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1.xml" ContentType="application/vnd.openxmlformats-officedocument.themeOverride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60" r:id="rId1"/>
  </p:sldMasterIdLst>
  <p:notesMasterIdLst>
    <p:notesMasterId r:id="rId16"/>
  </p:notesMasterIdLst>
  <p:sldIdLst>
    <p:sldId id="256" r:id="rId2"/>
    <p:sldId id="300" r:id="rId3"/>
    <p:sldId id="260" r:id="rId4"/>
    <p:sldId id="261" r:id="rId5"/>
    <p:sldId id="302" r:id="rId6"/>
    <p:sldId id="305" r:id="rId7"/>
    <p:sldId id="287" r:id="rId8"/>
    <p:sldId id="275" r:id="rId9"/>
    <p:sldId id="290" r:id="rId10"/>
    <p:sldId id="266" r:id="rId11"/>
    <p:sldId id="303" r:id="rId12"/>
    <p:sldId id="292" r:id="rId13"/>
    <p:sldId id="304" r:id="rId14"/>
    <p:sldId id="306" r:id="rId15"/>
  </p:sldIdLst>
  <p:sldSz cx="9144000" cy="6858000" type="screen4x3"/>
  <p:notesSz cx="6858000" cy="9144000"/>
  <p:embeddedFontLst>
    <p:embeddedFont>
      <p:font typeface="Arial Narrow" panose="020B0606020202030204" pitchFamily="34" charset="0"/>
      <p:regular r:id="rId17"/>
      <p:bold r:id="rId18"/>
      <p:italic r:id="rId19"/>
      <p:boldItalic r:id="rId20"/>
    </p:embeddedFont>
    <p:embeddedFont>
      <p:font typeface="Calibri" panose="020F0502020204030204" pitchFamily="34" charset="0"/>
      <p:regular r:id="rId21"/>
      <p:bold r:id="rId22"/>
      <p:italic r:id="rId23"/>
      <p:boldItalic r:id="rId24"/>
    </p:embeddedFont>
  </p:embeddedFontLst>
  <p:custDataLst>
    <p:tags r:id="rId25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0E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 horzBarState="maximized">
    <p:restoredLeft sz="34560" autoAdjust="0"/>
    <p:restoredTop sz="86435" autoAdjust="0"/>
  </p:normalViewPr>
  <p:slideViewPr>
    <p:cSldViewPr>
      <p:cViewPr>
        <p:scale>
          <a:sx n="130" d="100"/>
          <a:sy n="130" d="100"/>
        </p:scale>
        <p:origin x="-1397" y="-115"/>
      </p:cViewPr>
      <p:guideLst>
        <p:guide orient="horz" pos="2251"/>
        <p:guide pos="158"/>
        <p:guide pos="555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2.fntdata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font" Target="fonts/font5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1.fntdata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font" Target="fonts/font4.fntdata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8.fntdata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7.fntdata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font" Target="fonts/font3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6.fntdata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4829959-B62F-4FB5-BB7D-1B93C30F243A}" type="datetimeFigureOut">
              <a:rPr lang="ru-RU" smtClean="0"/>
              <a:t>11.03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80BA2B1-D657-41A1-B586-976719CEE7F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791366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0BA2B1-D657-41A1-B586-976719CEE7FD}" type="slidenum">
              <a:rPr lang="ru-RU" smtClean="0"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18073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ackGroundTitleSlide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572000" y="3644900"/>
            <a:ext cx="4284663" cy="1801900"/>
          </a:xfrm>
        </p:spPr>
        <p:txBody>
          <a:bodyPr anchor="t">
            <a:noAutofit/>
          </a:bodyPr>
          <a:lstStyle>
            <a:lvl1pPr>
              <a:defRPr sz="1600" cap="none" baseline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ru-RU" dirty="0" smtClean="0"/>
              <a:t>Введите название презентации</a:t>
            </a:r>
            <a:br>
              <a:rPr lang="ru-RU" dirty="0" smtClean="0"/>
            </a:br>
            <a:r>
              <a:rPr lang="en-US" dirty="0" smtClean="0"/>
              <a:t>(</a:t>
            </a:r>
            <a:r>
              <a:rPr lang="ru-RU" dirty="0" smtClean="0"/>
              <a:t>оставайтесь в пределах области)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38" y="6129705"/>
            <a:ext cx="3924612" cy="180000"/>
          </a:xfrm>
        </p:spPr>
        <p:txBody>
          <a:bodyPr anchor="b">
            <a:noAutofit/>
          </a:bodyPr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900" b="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Введите дату</a:t>
            </a:r>
            <a:endParaRPr lang="ru-RU" dirty="0"/>
          </a:p>
        </p:txBody>
      </p:sp>
      <p:grpSp>
        <p:nvGrpSpPr>
          <p:cNvPr id="7" name="TitleLogoRus"/>
          <p:cNvGrpSpPr>
            <a:grpSpLocks noChangeAspect="1"/>
          </p:cNvGrpSpPr>
          <p:nvPr/>
        </p:nvGrpSpPr>
        <p:grpSpPr bwMode="auto">
          <a:xfrm>
            <a:off x="7895863" y="5860720"/>
            <a:ext cx="957932" cy="452631"/>
            <a:chOff x="264" y="1159"/>
            <a:chExt cx="3492" cy="1650"/>
          </a:xfrm>
          <a:solidFill>
            <a:schemeClr val="accent3"/>
          </a:solidFill>
        </p:grpSpPr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3" name="Freeform 10"/>
            <p:cNvSpPr>
              <a:spLocks noEditPoints="1"/>
            </p:cNvSpPr>
            <p:nvPr/>
          </p:nvSpPr>
          <p:spPr bwMode="auto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8" name="Freeform 15"/>
            <p:cNvSpPr>
              <a:spLocks noEditPoints="1"/>
            </p:cNvSpPr>
            <p:nvPr/>
          </p:nvSpPr>
          <p:spPr bwMode="auto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22" name="Freeform 19"/>
            <p:cNvSpPr>
              <a:spLocks/>
            </p:cNvSpPr>
            <p:nvPr/>
          </p:nvSpPr>
          <p:spPr bwMode="auto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23" name="Freeform 20"/>
            <p:cNvSpPr>
              <a:spLocks noEditPoints="1"/>
            </p:cNvSpPr>
            <p:nvPr/>
          </p:nvSpPr>
          <p:spPr bwMode="auto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30" name="Freeform 27"/>
            <p:cNvSpPr>
              <a:spLocks/>
            </p:cNvSpPr>
            <p:nvPr/>
          </p:nvSpPr>
          <p:spPr bwMode="auto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31" name="Freeform 28"/>
            <p:cNvSpPr>
              <a:spLocks/>
            </p:cNvSpPr>
            <p:nvPr/>
          </p:nvSpPr>
          <p:spPr bwMode="auto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024" name="Freeform 29"/>
            <p:cNvSpPr>
              <a:spLocks/>
            </p:cNvSpPr>
            <p:nvPr/>
          </p:nvSpPr>
          <p:spPr bwMode="auto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</p:grpSp>
      <p:sp>
        <p:nvSpPr>
          <p:cNvPr id="19" name="TitleLogoEng" hidden="1"/>
          <p:cNvSpPr>
            <a:spLocks noEditPoints="1"/>
          </p:cNvSpPr>
          <p:nvPr/>
        </p:nvSpPr>
        <p:spPr bwMode="auto">
          <a:xfrm>
            <a:off x="7879606" y="5873922"/>
            <a:ext cx="974189" cy="4536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7338" y="5940871"/>
            <a:ext cx="3924622" cy="18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900" b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600"/>
              </a:spcBef>
            </a:pPr>
            <a:r>
              <a:rPr lang="ru-RU" dirty="0" smtClean="0"/>
              <a:t>Введите имя автора</a:t>
            </a:r>
            <a:endParaRPr lang="ru-RU" dirty="0"/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5752038"/>
            <a:ext cx="3924622" cy="18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900" b="0" baseline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600"/>
              </a:spcBef>
            </a:pPr>
            <a:r>
              <a:rPr lang="ru-RU" dirty="0" smtClean="0"/>
              <a:t>Введите название подразделения</a:t>
            </a:r>
            <a:endParaRPr lang="ru-RU" dirty="0"/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5563205"/>
            <a:ext cx="3924622" cy="18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900" b="0" baseline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600"/>
              </a:spcBef>
            </a:pPr>
            <a:r>
              <a:rPr lang="ru-RU" dirty="0" smtClean="0"/>
              <a:t>Введите название предприятия</a:t>
            </a:r>
            <a:endParaRPr lang="ru-RU" dirty="0"/>
          </a:p>
        </p:txBody>
      </p:sp>
      <p:sp>
        <p:nvSpPr>
          <p:cNvPr id="41" name="TradeSecretEng" hidden="1"/>
          <p:cNvSpPr txBox="1"/>
          <p:nvPr/>
        </p:nvSpPr>
        <p:spPr>
          <a:xfrm>
            <a:off x="7227156" y="176804"/>
            <a:ext cx="921278" cy="25853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</a:pPr>
            <a:r>
              <a:rPr lang="en-US" sz="1200" b="1" dirty="0" smtClean="0">
                <a:solidFill>
                  <a:schemeClr val="bg2"/>
                </a:solidFill>
              </a:rPr>
              <a:t>Trade Secret</a:t>
            </a:r>
            <a:endParaRPr lang="ru-RU" sz="1200" b="1" baseline="0" dirty="0" smtClean="0">
              <a:solidFill>
                <a:schemeClr val="bg2"/>
              </a:solidFill>
            </a:endParaRPr>
          </a:p>
        </p:txBody>
      </p:sp>
      <p:sp>
        <p:nvSpPr>
          <p:cNvPr id="42" name="ConfidentialEng" hidden="1"/>
          <p:cNvSpPr txBox="1"/>
          <p:nvPr/>
        </p:nvSpPr>
        <p:spPr>
          <a:xfrm>
            <a:off x="7242160" y="176804"/>
            <a:ext cx="891270" cy="25853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</a:pPr>
            <a:r>
              <a:rPr lang="en-US" sz="1200" b="1" dirty="0" smtClean="0">
                <a:solidFill>
                  <a:schemeClr val="bg2"/>
                </a:solidFill>
              </a:rPr>
              <a:t>Confidential</a:t>
            </a:r>
            <a:endParaRPr lang="ru-RU" sz="1100" b="1" baseline="0" dirty="0" smtClean="0">
              <a:solidFill>
                <a:schemeClr val="bg2"/>
              </a:solidFill>
            </a:endParaRPr>
          </a:p>
        </p:txBody>
      </p:sp>
      <p:sp>
        <p:nvSpPr>
          <p:cNvPr id="26" name="TradeSecretRus" hidden="1"/>
          <p:cNvSpPr txBox="1"/>
          <p:nvPr/>
        </p:nvSpPr>
        <p:spPr>
          <a:xfrm>
            <a:off x="6899887" y="176804"/>
            <a:ext cx="1575816" cy="25853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</a:pPr>
            <a:r>
              <a:rPr lang="ru-RU" sz="1200" b="1" dirty="0" smtClean="0">
                <a:solidFill>
                  <a:schemeClr val="bg2"/>
                </a:solidFill>
              </a:rPr>
              <a:t>Коммерческая</a:t>
            </a:r>
            <a:r>
              <a:rPr lang="ru-RU" sz="1200" b="1" baseline="0" dirty="0" smtClean="0">
                <a:solidFill>
                  <a:schemeClr val="bg2"/>
                </a:solidFill>
              </a:rPr>
              <a:t> тайна</a:t>
            </a:r>
          </a:p>
        </p:txBody>
      </p:sp>
      <p:sp>
        <p:nvSpPr>
          <p:cNvPr id="28" name="ConfidentialRus" hidden="1"/>
          <p:cNvSpPr txBox="1"/>
          <p:nvPr/>
        </p:nvSpPr>
        <p:spPr>
          <a:xfrm>
            <a:off x="6967245" y="176804"/>
            <a:ext cx="1441100" cy="25853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</a:pPr>
            <a:r>
              <a:rPr lang="ru-RU" sz="1200" b="1" dirty="0" smtClean="0">
                <a:solidFill>
                  <a:schemeClr val="bg2"/>
                </a:solidFill>
              </a:rPr>
              <a:t>Конфиденциально</a:t>
            </a:r>
            <a:endParaRPr lang="ru-RU" sz="1100" b="1" baseline="0" dirty="0" smtClean="0">
              <a:solidFill>
                <a:schemeClr val="bg2"/>
              </a:solidFill>
            </a:endParaRPr>
          </a:p>
        </p:txBody>
      </p:sp>
      <p:sp>
        <p:nvSpPr>
          <p:cNvPr id="25" name="CompanyName" hidden="1"/>
          <p:cNvSpPr txBox="1"/>
          <p:nvPr/>
        </p:nvSpPr>
        <p:spPr>
          <a:xfrm>
            <a:off x="6490352" y="404664"/>
            <a:ext cx="2394886" cy="46628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900" baseline="0" smtClean="0">
                <a:solidFill>
                  <a:schemeClr val="bg2"/>
                </a:solidFill>
              </a:rPr>
              <a:t>Публичное акционерное </a:t>
            </a:r>
            <a:r>
              <a:rPr lang="ru-RU" sz="900" baseline="0" dirty="0" smtClean="0">
                <a:solidFill>
                  <a:schemeClr val="bg2"/>
                </a:solidFill>
              </a:rPr>
              <a:t>общество</a:t>
            </a:r>
            <a:br>
              <a:rPr lang="ru-RU" sz="900" baseline="0" dirty="0" smtClean="0">
                <a:solidFill>
                  <a:schemeClr val="bg2"/>
                </a:solidFill>
              </a:rPr>
            </a:br>
            <a:r>
              <a:rPr lang="ru-RU" sz="900" baseline="0" dirty="0" smtClean="0">
                <a:solidFill>
                  <a:schemeClr val="bg2"/>
                </a:solidFill>
              </a:rPr>
              <a:t>«Газпром нефть», ул. Галерная, д. 5, лит. А,</a:t>
            </a:r>
            <a:br>
              <a:rPr lang="ru-RU" sz="900" baseline="0" dirty="0" smtClean="0">
                <a:solidFill>
                  <a:schemeClr val="bg2"/>
                </a:solidFill>
              </a:rPr>
            </a:br>
            <a:r>
              <a:rPr lang="ru-RU" sz="900" baseline="0" dirty="0" smtClean="0">
                <a:solidFill>
                  <a:schemeClr val="bg2"/>
                </a:solidFill>
              </a:rPr>
              <a:t>г. Санкт-Петербург, 190000</a:t>
            </a:r>
            <a:endParaRPr lang="ru-RU" sz="900" dirty="0" smtClean="0">
              <a:solidFill>
                <a:schemeClr val="bg2"/>
              </a:solidFill>
            </a:endParaRPr>
          </a:p>
        </p:txBody>
      </p:sp>
      <p:pic>
        <p:nvPicPr>
          <p:cNvPr id="29" name="Logo_GPN_arctic_eng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0060" y="5733256"/>
            <a:ext cx="2326603" cy="579600"/>
          </a:xfrm>
          <a:prstGeom prst="rect">
            <a:avLst/>
          </a:prstGeom>
        </p:spPr>
      </p:pic>
      <p:grpSp>
        <p:nvGrpSpPr>
          <p:cNvPr id="32" name="Logo_GPN_arctic_rus" hidden="1"/>
          <p:cNvGrpSpPr>
            <a:grpSpLocks noChangeAspect="1"/>
          </p:cNvGrpSpPr>
          <p:nvPr/>
        </p:nvGrpSpPr>
        <p:grpSpPr>
          <a:xfrm>
            <a:off x="6441273" y="5733256"/>
            <a:ext cx="2415390" cy="579600"/>
            <a:chOff x="5064695" y="1536503"/>
            <a:chExt cx="3281363" cy="787400"/>
          </a:xfrm>
        </p:grpSpPr>
        <p:sp>
          <p:nvSpPr>
            <p:cNvPr id="33" name="Freeform 6"/>
            <p:cNvSpPr>
              <a:spLocks noEditPoints="1"/>
            </p:cNvSpPr>
            <p:nvPr/>
          </p:nvSpPr>
          <p:spPr bwMode="auto">
            <a:xfrm>
              <a:off x="5064695" y="1536503"/>
              <a:ext cx="1506538" cy="787400"/>
            </a:xfrm>
            <a:custGeom>
              <a:avLst/>
              <a:gdLst>
                <a:gd name="T0" fmla="*/ 4579 w 6641"/>
                <a:gd name="T1" fmla="*/ 929 h 3472"/>
                <a:gd name="T2" fmla="*/ 4637 w 6641"/>
                <a:gd name="T3" fmla="*/ 1603 h 3472"/>
                <a:gd name="T4" fmla="*/ 2711 w 6641"/>
                <a:gd name="T5" fmla="*/ 1741 h 3472"/>
                <a:gd name="T6" fmla="*/ 3024 w 6641"/>
                <a:gd name="T7" fmla="*/ 1601 h 3472"/>
                <a:gd name="T8" fmla="*/ 2880 w 6641"/>
                <a:gd name="T9" fmla="*/ 1209 h 3472"/>
                <a:gd name="T10" fmla="*/ 3013 w 6641"/>
                <a:gd name="T11" fmla="*/ 929 h 3472"/>
                <a:gd name="T12" fmla="*/ 2802 w 6641"/>
                <a:gd name="T13" fmla="*/ 879 h 3472"/>
                <a:gd name="T14" fmla="*/ 3103 w 6641"/>
                <a:gd name="T15" fmla="*/ 810 h 3472"/>
                <a:gd name="T16" fmla="*/ 3205 w 6641"/>
                <a:gd name="T17" fmla="*/ 1142 h 3472"/>
                <a:gd name="T18" fmla="*/ 3114 w 6641"/>
                <a:gd name="T19" fmla="*/ 1261 h 3472"/>
                <a:gd name="T20" fmla="*/ 3191 w 6641"/>
                <a:gd name="T21" fmla="*/ 1669 h 3472"/>
                <a:gd name="T22" fmla="*/ 2890 w 6641"/>
                <a:gd name="T23" fmla="*/ 1738 h 3472"/>
                <a:gd name="T24" fmla="*/ 2969 w 6641"/>
                <a:gd name="T25" fmla="*/ 1414 h 3472"/>
                <a:gd name="T26" fmla="*/ 4213 w 6641"/>
                <a:gd name="T27" fmla="*/ 1413 h 3472"/>
                <a:gd name="T28" fmla="*/ 4292 w 6641"/>
                <a:gd name="T29" fmla="*/ 921 h 3472"/>
                <a:gd name="T30" fmla="*/ 5381 w 6641"/>
                <a:gd name="T31" fmla="*/ 808 h 3472"/>
                <a:gd name="T32" fmla="*/ 1482 w 6641"/>
                <a:gd name="T33" fmla="*/ 1009 h 3472"/>
                <a:gd name="T34" fmla="*/ 1327 w 6641"/>
                <a:gd name="T35" fmla="*/ 489 h 3472"/>
                <a:gd name="T36" fmla="*/ 1118 w 6641"/>
                <a:gd name="T37" fmla="*/ 959 h 3472"/>
                <a:gd name="T38" fmla="*/ 1123 w 6641"/>
                <a:gd name="T39" fmla="*/ 543 h 3472"/>
                <a:gd name="T40" fmla="*/ 1405 w 6641"/>
                <a:gd name="T41" fmla="*/ 387 h 3472"/>
                <a:gd name="T42" fmla="*/ 959 w 6641"/>
                <a:gd name="T43" fmla="*/ 2014 h 3472"/>
                <a:gd name="T44" fmla="*/ 1188 w 6641"/>
                <a:gd name="T45" fmla="*/ 1963 h 3472"/>
                <a:gd name="T46" fmla="*/ 1369 w 6641"/>
                <a:gd name="T47" fmla="*/ 2119 h 3472"/>
                <a:gd name="T48" fmla="*/ 1352 w 6641"/>
                <a:gd name="T49" fmla="*/ 2351 h 3472"/>
                <a:gd name="T50" fmla="*/ 1110 w 6641"/>
                <a:gd name="T51" fmla="*/ 2528 h 3472"/>
                <a:gd name="T52" fmla="*/ 648 w 6641"/>
                <a:gd name="T53" fmla="*/ 2471 h 3472"/>
                <a:gd name="T54" fmla="*/ 416 w 6641"/>
                <a:gd name="T55" fmla="*/ 2104 h 3472"/>
                <a:gd name="T56" fmla="*/ 531 w 6641"/>
                <a:gd name="T57" fmla="*/ 1703 h 3472"/>
                <a:gd name="T58" fmla="*/ 937 w 6641"/>
                <a:gd name="T59" fmla="*/ 813 h 3472"/>
                <a:gd name="T60" fmla="*/ 186 w 6641"/>
                <a:gd name="T61" fmla="*/ 1186 h 3472"/>
                <a:gd name="T62" fmla="*/ 42 w 6641"/>
                <a:gd name="T63" fmla="*/ 2020 h 3472"/>
                <a:gd name="T64" fmla="*/ 616 w 6641"/>
                <a:gd name="T65" fmla="*/ 2616 h 3472"/>
                <a:gd name="T66" fmla="*/ 1228 w 6641"/>
                <a:gd name="T67" fmla="*/ 2628 h 3472"/>
                <a:gd name="T68" fmla="*/ 1605 w 6641"/>
                <a:gd name="T69" fmla="*/ 2395 h 3472"/>
                <a:gd name="T70" fmla="*/ 5322 w 6641"/>
                <a:gd name="T71" fmla="*/ 2557 h 3472"/>
                <a:gd name="T72" fmla="*/ 5444 w 6641"/>
                <a:gd name="T73" fmla="*/ 2372 h 3472"/>
                <a:gd name="T74" fmla="*/ 4655 w 6641"/>
                <a:gd name="T75" fmla="*/ 2229 h 3472"/>
                <a:gd name="T76" fmla="*/ 3790 w 6641"/>
                <a:gd name="T77" fmla="*/ 2557 h 3472"/>
                <a:gd name="T78" fmla="*/ 3562 w 6641"/>
                <a:gd name="T79" fmla="*/ 2286 h 3472"/>
                <a:gd name="T80" fmla="*/ 3790 w 6641"/>
                <a:gd name="T81" fmla="*/ 2182 h 3472"/>
                <a:gd name="T82" fmla="*/ 3065 w 6641"/>
                <a:gd name="T83" fmla="*/ 2229 h 3472"/>
                <a:gd name="T84" fmla="*/ 2040 w 6641"/>
                <a:gd name="T85" fmla="*/ 2557 h 3472"/>
                <a:gd name="T86" fmla="*/ 3657 w 6641"/>
                <a:gd name="T87" fmla="*/ 2434 h 3472"/>
                <a:gd name="T88" fmla="*/ 5304 w 6641"/>
                <a:gd name="T89" fmla="*/ 2380 h 3472"/>
                <a:gd name="T90" fmla="*/ 5324 w 6641"/>
                <a:gd name="T91" fmla="*/ 2380 h 3472"/>
                <a:gd name="T92" fmla="*/ 3823 w 6641"/>
                <a:gd name="T93" fmla="*/ 2256 h 3472"/>
                <a:gd name="T94" fmla="*/ 1213 w 6641"/>
                <a:gd name="T95" fmla="*/ 1266 h 3472"/>
                <a:gd name="T96" fmla="*/ 1352 w 6641"/>
                <a:gd name="T97" fmla="*/ 1226 h 3472"/>
                <a:gd name="T98" fmla="*/ 1480 w 6641"/>
                <a:gd name="T99" fmla="*/ 392 h 3472"/>
                <a:gd name="T100" fmla="*/ 1121 w 6641"/>
                <a:gd name="T101" fmla="*/ 314 h 3472"/>
                <a:gd name="T102" fmla="*/ 1033 w 6641"/>
                <a:gd name="T103" fmla="*/ 1029 h 3472"/>
                <a:gd name="T104" fmla="*/ 1270 w 6641"/>
                <a:gd name="T105" fmla="*/ 1666 h 3472"/>
                <a:gd name="T106" fmla="*/ 1536 w 6641"/>
                <a:gd name="T107" fmla="*/ 1057 h 3472"/>
                <a:gd name="T108" fmla="*/ 4050 w 6641"/>
                <a:gd name="T109" fmla="*/ 924 h 3472"/>
                <a:gd name="T110" fmla="*/ 4050 w 6641"/>
                <a:gd name="T111" fmla="*/ 1321 h 3472"/>
                <a:gd name="T112" fmla="*/ 4438 w 6641"/>
                <a:gd name="T113" fmla="*/ 834 h 3472"/>
                <a:gd name="T114" fmla="*/ 4428 w 6641"/>
                <a:gd name="T115" fmla="*/ 1705 h 3472"/>
                <a:gd name="T116" fmla="*/ 4734 w 6641"/>
                <a:gd name="T117" fmla="*/ 1731 h 3472"/>
                <a:gd name="T118" fmla="*/ 4799 w 6641"/>
                <a:gd name="T119" fmla="*/ 893 h 3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641" h="3472">
                  <a:moveTo>
                    <a:pt x="4600" y="1626"/>
                  </a:moveTo>
                  <a:lnTo>
                    <a:pt x="4591" y="1625"/>
                  </a:lnTo>
                  <a:lnTo>
                    <a:pt x="4584" y="1622"/>
                  </a:lnTo>
                  <a:lnTo>
                    <a:pt x="4578" y="1619"/>
                  </a:lnTo>
                  <a:lnTo>
                    <a:pt x="4572" y="1614"/>
                  </a:lnTo>
                  <a:lnTo>
                    <a:pt x="4566" y="1609"/>
                  </a:lnTo>
                  <a:lnTo>
                    <a:pt x="4563" y="1603"/>
                  </a:lnTo>
                  <a:lnTo>
                    <a:pt x="4560" y="1596"/>
                  </a:lnTo>
                  <a:lnTo>
                    <a:pt x="4559" y="1588"/>
                  </a:lnTo>
                  <a:lnTo>
                    <a:pt x="4560" y="1587"/>
                  </a:lnTo>
                  <a:lnTo>
                    <a:pt x="4560" y="1587"/>
                  </a:lnTo>
                  <a:lnTo>
                    <a:pt x="4560" y="962"/>
                  </a:lnTo>
                  <a:lnTo>
                    <a:pt x="4560" y="959"/>
                  </a:lnTo>
                  <a:lnTo>
                    <a:pt x="4560" y="957"/>
                  </a:lnTo>
                  <a:lnTo>
                    <a:pt x="4562" y="950"/>
                  </a:lnTo>
                  <a:lnTo>
                    <a:pt x="4564" y="943"/>
                  </a:lnTo>
                  <a:lnTo>
                    <a:pt x="4568" y="938"/>
                  </a:lnTo>
                  <a:lnTo>
                    <a:pt x="4573" y="933"/>
                  </a:lnTo>
                  <a:lnTo>
                    <a:pt x="4579" y="929"/>
                  </a:lnTo>
                  <a:lnTo>
                    <a:pt x="4586" y="926"/>
                  </a:lnTo>
                  <a:lnTo>
                    <a:pt x="4592" y="924"/>
                  </a:lnTo>
                  <a:lnTo>
                    <a:pt x="4599" y="924"/>
                  </a:lnTo>
                  <a:lnTo>
                    <a:pt x="4607" y="924"/>
                  </a:lnTo>
                  <a:lnTo>
                    <a:pt x="4614" y="926"/>
                  </a:lnTo>
                  <a:lnTo>
                    <a:pt x="4621" y="929"/>
                  </a:lnTo>
                  <a:lnTo>
                    <a:pt x="4627" y="933"/>
                  </a:lnTo>
                  <a:lnTo>
                    <a:pt x="4631" y="938"/>
                  </a:lnTo>
                  <a:lnTo>
                    <a:pt x="4635" y="943"/>
                  </a:lnTo>
                  <a:lnTo>
                    <a:pt x="4638" y="950"/>
                  </a:lnTo>
                  <a:lnTo>
                    <a:pt x="4639" y="957"/>
                  </a:lnTo>
                  <a:lnTo>
                    <a:pt x="4639" y="959"/>
                  </a:lnTo>
                  <a:lnTo>
                    <a:pt x="4639" y="960"/>
                  </a:lnTo>
                  <a:lnTo>
                    <a:pt x="4639" y="962"/>
                  </a:lnTo>
                  <a:lnTo>
                    <a:pt x="4639" y="1587"/>
                  </a:lnTo>
                  <a:lnTo>
                    <a:pt x="4639" y="1587"/>
                  </a:lnTo>
                  <a:lnTo>
                    <a:pt x="4639" y="1588"/>
                  </a:lnTo>
                  <a:lnTo>
                    <a:pt x="4639" y="1596"/>
                  </a:lnTo>
                  <a:lnTo>
                    <a:pt x="4637" y="1603"/>
                  </a:lnTo>
                  <a:lnTo>
                    <a:pt x="4632" y="1609"/>
                  </a:lnTo>
                  <a:lnTo>
                    <a:pt x="4628" y="1614"/>
                  </a:lnTo>
                  <a:lnTo>
                    <a:pt x="4622" y="1619"/>
                  </a:lnTo>
                  <a:lnTo>
                    <a:pt x="4615" y="1622"/>
                  </a:lnTo>
                  <a:lnTo>
                    <a:pt x="4608" y="1625"/>
                  </a:lnTo>
                  <a:lnTo>
                    <a:pt x="4600" y="1626"/>
                  </a:lnTo>
                  <a:close/>
                  <a:moveTo>
                    <a:pt x="1872" y="808"/>
                  </a:moveTo>
                  <a:lnTo>
                    <a:pt x="2215" y="808"/>
                  </a:lnTo>
                  <a:lnTo>
                    <a:pt x="2215" y="924"/>
                  </a:lnTo>
                  <a:lnTo>
                    <a:pt x="2051" y="924"/>
                  </a:lnTo>
                  <a:lnTo>
                    <a:pt x="2051" y="1741"/>
                  </a:lnTo>
                  <a:lnTo>
                    <a:pt x="1872" y="1741"/>
                  </a:lnTo>
                  <a:lnTo>
                    <a:pt x="1872" y="808"/>
                  </a:lnTo>
                  <a:close/>
                  <a:moveTo>
                    <a:pt x="2241" y="1741"/>
                  </a:moveTo>
                  <a:lnTo>
                    <a:pt x="2417" y="1741"/>
                  </a:lnTo>
                  <a:lnTo>
                    <a:pt x="2434" y="1493"/>
                  </a:lnTo>
                  <a:lnTo>
                    <a:pt x="2518" y="1493"/>
                  </a:lnTo>
                  <a:lnTo>
                    <a:pt x="2536" y="1741"/>
                  </a:lnTo>
                  <a:lnTo>
                    <a:pt x="2711" y="1741"/>
                  </a:lnTo>
                  <a:lnTo>
                    <a:pt x="2618" y="808"/>
                  </a:lnTo>
                  <a:lnTo>
                    <a:pt x="2335" y="808"/>
                  </a:lnTo>
                  <a:lnTo>
                    <a:pt x="2241" y="1741"/>
                  </a:lnTo>
                  <a:close/>
                  <a:moveTo>
                    <a:pt x="2969" y="1414"/>
                  </a:moveTo>
                  <a:lnTo>
                    <a:pt x="2969" y="1589"/>
                  </a:lnTo>
                  <a:lnTo>
                    <a:pt x="2970" y="1597"/>
                  </a:lnTo>
                  <a:lnTo>
                    <a:pt x="2972" y="1604"/>
                  </a:lnTo>
                  <a:lnTo>
                    <a:pt x="2975" y="1610"/>
                  </a:lnTo>
                  <a:lnTo>
                    <a:pt x="2979" y="1614"/>
                  </a:lnTo>
                  <a:lnTo>
                    <a:pt x="2984" y="1617"/>
                  </a:lnTo>
                  <a:lnTo>
                    <a:pt x="2988" y="1619"/>
                  </a:lnTo>
                  <a:lnTo>
                    <a:pt x="2993" y="1620"/>
                  </a:lnTo>
                  <a:lnTo>
                    <a:pt x="2997" y="1620"/>
                  </a:lnTo>
                  <a:lnTo>
                    <a:pt x="3003" y="1620"/>
                  </a:lnTo>
                  <a:lnTo>
                    <a:pt x="3009" y="1618"/>
                  </a:lnTo>
                  <a:lnTo>
                    <a:pt x="3013" y="1614"/>
                  </a:lnTo>
                  <a:lnTo>
                    <a:pt x="3018" y="1611"/>
                  </a:lnTo>
                  <a:lnTo>
                    <a:pt x="3020" y="1606"/>
                  </a:lnTo>
                  <a:lnTo>
                    <a:pt x="3024" y="1601"/>
                  </a:lnTo>
                  <a:lnTo>
                    <a:pt x="3025" y="1595"/>
                  </a:lnTo>
                  <a:lnTo>
                    <a:pt x="3025" y="1589"/>
                  </a:lnTo>
                  <a:lnTo>
                    <a:pt x="3025" y="1372"/>
                  </a:lnTo>
                  <a:lnTo>
                    <a:pt x="3025" y="1362"/>
                  </a:lnTo>
                  <a:lnTo>
                    <a:pt x="3024" y="1351"/>
                  </a:lnTo>
                  <a:lnTo>
                    <a:pt x="3022" y="1345"/>
                  </a:lnTo>
                  <a:lnTo>
                    <a:pt x="3020" y="1341"/>
                  </a:lnTo>
                  <a:lnTo>
                    <a:pt x="3018" y="1336"/>
                  </a:lnTo>
                  <a:lnTo>
                    <a:pt x="3014" y="1332"/>
                  </a:lnTo>
                  <a:lnTo>
                    <a:pt x="3010" y="1327"/>
                  </a:lnTo>
                  <a:lnTo>
                    <a:pt x="3005" y="1324"/>
                  </a:lnTo>
                  <a:lnTo>
                    <a:pt x="3000" y="1320"/>
                  </a:lnTo>
                  <a:lnTo>
                    <a:pt x="2993" y="1317"/>
                  </a:lnTo>
                  <a:lnTo>
                    <a:pt x="2985" y="1314"/>
                  </a:lnTo>
                  <a:lnTo>
                    <a:pt x="2976" y="1313"/>
                  </a:lnTo>
                  <a:lnTo>
                    <a:pt x="2965" y="1312"/>
                  </a:lnTo>
                  <a:lnTo>
                    <a:pt x="2953" y="1312"/>
                  </a:lnTo>
                  <a:lnTo>
                    <a:pt x="2880" y="1312"/>
                  </a:lnTo>
                  <a:lnTo>
                    <a:pt x="2880" y="1209"/>
                  </a:lnTo>
                  <a:lnTo>
                    <a:pt x="2955" y="1209"/>
                  </a:lnTo>
                  <a:lnTo>
                    <a:pt x="2973" y="1209"/>
                  </a:lnTo>
                  <a:lnTo>
                    <a:pt x="2988" y="1207"/>
                  </a:lnTo>
                  <a:lnTo>
                    <a:pt x="2995" y="1204"/>
                  </a:lnTo>
                  <a:lnTo>
                    <a:pt x="3001" y="1202"/>
                  </a:lnTo>
                  <a:lnTo>
                    <a:pt x="3005" y="1200"/>
                  </a:lnTo>
                  <a:lnTo>
                    <a:pt x="3010" y="1196"/>
                  </a:lnTo>
                  <a:lnTo>
                    <a:pt x="3013" y="1192"/>
                  </a:lnTo>
                  <a:lnTo>
                    <a:pt x="3017" y="1187"/>
                  </a:lnTo>
                  <a:lnTo>
                    <a:pt x="3019" y="1182"/>
                  </a:lnTo>
                  <a:lnTo>
                    <a:pt x="3021" y="1175"/>
                  </a:lnTo>
                  <a:lnTo>
                    <a:pt x="3025" y="1159"/>
                  </a:lnTo>
                  <a:lnTo>
                    <a:pt x="3025" y="1140"/>
                  </a:lnTo>
                  <a:lnTo>
                    <a:pt x="3025" y="954"/>
                  </a:lnTo>
                  <a:lnTo>
                    <a:pt x="3025" y="949"/>
                  </a:lnTo>
                  <a:lnTo>
                    <a:pt x="3024" y="943"/>
                  </a:lnTo>
                  <a:lnTo>
                    <a:pt x="3020" y="937"/>
                  </a:lnTo>
                  <a:lnTo>
                    <a:pt x="3018" y="933"/>
                  </a:lnTo>
                  <a:lnTo>
                    <a:pt x="3013" y="929"/>
                  </a:lnTo>
                  <a:lnTo>
                    <a:pt x="3009" y="926"/>
                  </a:lnTo>
                  <a:lnTo>
                    <a:pt x="3003" y="925"/>
                  </a:lnTo>
                  <a:lnTo>
                    <a:pt x="2997" y="924"/>
                  </a:lnTo>
                  <a:lnTo>
                    <a:pt x="2993" y="924"/>
                  </a:lnTo>
                  <a:lnTo>
                    <a:pt x="2988" y="925"/>
                  </a:lnTo>
                  <a:lnTo>
                    <a:pt x="2984" y="927"/>
                  </a:lnTo>
                  <a:lnTo>
                    <a:pt x="2979" y="930"/>
                  </a:lnTo>
                  <a:lnTo>
                    <a:pt x="2975" y="934"/>
                  </a:lnTo>
                  <a:lnTo>
                    <a:pt x="2972" y="940"/>
                  </a:lnTo>
                  <a:lnTo>
                    <a:pt x="2970" y="946"/>
                  </a:lnTo>
                  <a:lnTo>
                    <a:pt x="2969" y="954"/>
                  </a:lnTo>
                  <a:lnTo>
                    <a:pt x="2969" y="1107"/>
                  </a:lnTo>
                  <a:lnTo>
                    <a:pt x="2789" y="1107"/>
                  </a:lnTo>
                  <a:lnTo>
                    <a:pt x="2789" y="975"/>
                  </a:lnTo>
                  <a:lnTo>
                    <a:pt x="2790" y="949"/>
                  </a:lnTo>
                  <a:lnTo>
                    <a:pt x="2792" y="921"/>
                  </a:lnTo>
                  <a:lnTo>
                    <a:pt x="2794" y="907"/>
                  </a:lnTo>
                  <a:lnTo>
                    <a:pt x="2798" y="893"/>
                  </a:lnTo>
                  <a:lnTo>
                    <a:pt x="2802" y="879"/>
                  </a:lnTo>
                  <a:lnTo>
                    <a:pt x="2808" y="867"/>
                  </a:lnTo>
                  <a:lnTo>
                    <a:pt x="2816" y="854"/>
                  </a:lnTo>
                  <a:lnTo>
                    <a:pt x="2825" y="843"/>
                  </a:lnTo>
                  <a:lnTo>
                    <a:pt x="2830" y="838"/>
                  </a:lnTo>
                  <a:lnTo>
                    <a:pt x="2835" y="834"/>
                  </a:lnTo>
                  <a:lnTo>
                    <a:pt x="2842" y="829"/>
                  </a:lnTo>
                  <a:lnTo>
                    <a:pt x="2848" y="825"/>
                  </a:lnTo>
                  <a:lnTo>
                    <a:pt x="2856" y="821"/>
                  </a:lnTo>
                  <a:lnTo>
                    <a:pt x="2864" y="818"/>
                  </a:lnTo>
                  <a:lnTo>
                    <a:pt x="2872" y="815"/>
                  </a:lnTo>
                  <a:lnTo>
                    <a:pt x="2881" y="812"/>
                  </a:lnTo>
                  <a:lnTo>
                    <a:pt x="2890" y="810"/>
                  </a:lnTo>
                  <a:lnTo>
                    <a:pt x="2900" y="809"/>
                  </a:lnTo>
                  <a:lnTo>
                    <a:pt x="2911" y="808"/>
                  </a:lnTo>
                  <a:lnTo>
                    <a:pt x="2922" y="808"/>
                  </a:lnTo>
                  <a:lnTo>
                    <a:pt x="3071" y="808"/>
                  </a:lnTo>
                  <a:lnTo>
                    <a:pt x="3083" y="808"/>
                  </a:lnTo>
                  <a:lnTo>
                    <a:pt x="3094" y="809"/>
                  </a:lnTo>
                  <a:lnTo>
                    <a:pt x="3103" y="810"/>
                  </a:lnTo>
                  <a:lnTo>
                    <a:pt x="3114" y="812"/>
                  </a:lnTo>
                  <a:lnTo>
                    <a:pt x="3123" y="815"/>
                  </a:lnTo>
                  <a:lnTo>
                    <a:pt x="3131" y="818"/>
                  </a:lnTo>
                  <a:lnTo>
                    <a:pt x="3139" y="821"/>
                  </a:lnTo>
                  <a:lnTo>
                    <a:pt x="3146" y="825"/>
                  </a:lnTo>
                  <a:lnTo>
                    <a:pt x="3152" y="829"/>
                  </a:lnTo>
                  <a:lnTo>
                    <a:pt x="3158" y="834"/>
                  </a:lnTo>
                  <a:lnTo>
                    <a:pt x="3164" y="838"/>
                  </a:lnTo>
                  <a:lnTo>
                    <a:pt x="3169" y="843"/>
                  </a:lnTo>
                  <a:lnTo>
                    <a:pt x="3179" y="854"/>
                  </a:lnTo>
                  <a:lnTo>
                    <a:pt x="3185" y="867"/>
                  </a:lnTo>
                  <a:lnTo>
                    <a:pt x="3191" y="879"/>
                  </a:lnTo>
                  <a:lnTo>
                    <a:pt x="3196" y="893"/>
                  </a:lnTo>
                  <a:lnTo>
                    <a:pt x="3199" y="907"/>
                  </a:lnTo>
                  <a:lnTo>
                    <a:pt x="3201" y="921"/>
                  </a:lnTo>
                  <a:lnTo>
                    <a:pt x="3205" y="949"/>
                  </a:lnTo>
                  <a:lnTo>
                    <a:pt x="3205" y="975"/>
                  </a:lnTo>
                  <a:lnTo>
                    <a:pt x="3205" y="1124"/>
                  </a:lnTo>
                  <a:lnTo>
                    <a:pt x="3205" y="1142"/>
                  </a:lnTo>
                  <a:lnTo>
                    <a:pt x="3203" y="1159"/>
                  </a:lnTo>
                  <a:lnTo>
                    <a:pt x="3198" y="1174"/>
                  </a:lnTo>
                  <a:lnTo>
                    <a:pt x="3193" y="1187"/>
                  </a:lnTo>
                  <a:lnTo>
                    <a:pt x="3188" y="1199"/>
                  </a:lnTo>
                  <a:lnTo>
                    <a:pt x="3181" y="1209"/>
                  </a:lnTo>
                  <a:lnTo>
                    <a:pt x="3173" y="1218"/>
                  </a:lnTo>
                  <a:lnTo>
                    <a:pt x="3164" y="1226"/>
                  </a:lnTo>
                  <a:lnTo>
                    <a:pt x="3155" y="1233"/>
                  </a:lnTo>
                  <a:lnTo>
                    <a:pt x="3146" y="1238"/>
                  </a:lnTo>
                  <a:lnTo>
                    <a:pt x="3135" y="1243"/>
                  </a:lnTo>
                  <a:lnTo>
                    <a:pt x="3125" y="1246"/>
                  </a:lnTo>
                  <a:lnTo>
                    <a:pt x="3115" y="1249"/>
                  </a:lnTo>
                  <a:lnTo>
                    <a:pt x="3103" y="1250"/>
                  </a:lnTo>
                  <a:lnTo>
                    <a:pt x="3093" y="1251"/>
                  </a:lnTo>
                  <a:lnTo>
                    <a:pt x="3083" y="1251"/>
                  </a:lnTo>
                  <a:lnTo>
                    <a:pt x="3083" y="1260"/>
                  </a:lnTo>
                  <a:lnTo>
                    <a:pt x="3094" y="1260"/>
                  </a:lnTo>
                  <a:lnTo>
                    <a:pt x="3104" y="1260"/>
                  </a:lnTo>
                  <a:lnTo>
                    <a:pt x="3114" y="1261"/>
                  </a:lnTo>
                  <a:lnTo>
                    <a:pt x="3123" y="1263"/>
                  </a:lnTo>
                  <a:lnTo>
                    <a:pt x="3139" y="1268"/>
                  </a:lnTo>
                  <a:lnTo>
                    <a:pt x="3152" y="1274"/>
                  </a:lnTo>
                  <a:lnTo>
                    <a:pt x="3165" y="1282"/>
                  </a:lnTo>
                  <a:lnTo>
                    <a:pt x="3174" y="1289"/>
                  </a:lnTo>
                  <a:lnTo>
                    <a:pt x="3183" y="1300"/>
                  </a:lnTo>
                  <a:lnTo>
                    <a:pt x="3189" y="1310"/>
                  </a:lnTo>
                  <a:lnTo>
                    <a:pt x="3195" y="1320"/>
                  </a:lnTo>
                  <a:lnTo>
                    <a:pt x="3198" y="1330"/>
                  </a:lnTo>
                  <a:lnTo>
                    <a:pt x="3201" y="1342"/>
                  </a:lnTo>
                  <a:lnTo>
                    <a:pt x="3203" y="1352"/>
                  </a:lnTo>
                  <a:lnTo>
                    <a:pt x="3205" y="1371"/>
                  </a:lnTo>
                  <a:lnTo>
                    <a:pt x="3205" y="1386"/>
                  </a:lnTo>
                  <a:lnTo>
                    <a:pt x="3205" y="1574"/>
                  </a:lnTo>
                  <a:lnTo>
                    <a:pt x="3205" y="1600"/>
                  </a:lnTo>
                  <a:lnTo>
                    <a:pt x="3201" y="1628"/>
                  </a:lnTo>
                  <a:lnTo>
                    <a:pt x="3199" y="1642"/>
                  </a:lnTo>
                  <a:lnTo>
                    <a:pt x="3196" y="1655"/>
                  </a:lnTo>
                  <a:lnTo>
                    <a:pt x="3191" y="1669"/>
                  </a:lnTo>
                  <a:lnTo>
                    <a:pt x="3185" y="1681"/>
                  </a:lnTo>
                  <a:lnTo>
                    <a:pt x="3179" y="1694"/>
                  </a:lnTo>
                  <a:lnTo>
                    <a:pt x="3169" y="1705"/>
                  </a:lnTo>
                  <a:lnTo>
                    <a:pt x="3164" y="1710"/>
                  </a:lnTo>
                  <a:lnTo>
                    <a:pt x="3158" y="1716"/>
                  </a:lnTo>
                  <a:lnTo>
                    <a:pt x="3152" y="1720"/>
                  </a:lnTo>
                  <a:lnTo>
                    <a:pt x="3146" y="1723"/>
                  </a:lnTo>
                  <a:lnTo>
                    <a:pt x="3139" y="1728"/>
                  </a:lnTo>
                  <a:lnTo>
                    <a:pt x="3131" y="1731"/>
                  </a:lnTo>
                  <a:lnTo>
                    <a:pt x="3123" y="1734"/>
                  </a:lnTo>
                  <a:lnTo>
                    <a:pt x="3114" y="1736"/>
                  </a:lnTo>
                  <a:lnTo>
                    <a:pt x="3103" y="1738"/>
                  </a:lnTo>
                  <a:lnTo>
                    <a:pt x="3094" y="1739"/>
                  </a:lnTo>
                  <a:lnTo>
                    <a:pt x="3083" y="1741"/>
                  </a:lnTo>
                  <a:lnTo>
                    <a:pt x="3071" y="1741"/>
                  </a:lnTo>
                  <a:lnTo>
                    <a:pt x="2922" y="1741"/>
                  </a:lnTo>
                  <a:lnTo>
                    <a:pt x="2911" y="1741"/>
                  </a:lnTo>
                  <a:lnTo>
                    <a:pt x="2900" y="1739"/>
                  </a:lnTo>
                  <a:lnTo>
                    <a:pt x="2890" y="1738"/>
                  </a:lnTo>
                  <a:lnTo>
                    <a:pt x="2881" y="1736"/>
                  </a:lnTo>
                  <a:lnTo>
                    <a:pt x="2872" y="1734"/>
                  </a:lnTo>
                  <a:lnTo>
                    <a:pt x="2864" y="1731"/>
                  </a:lnTo>
                  <a:lnTo>
                    <a:pt x="2856" y="1728"/>
                  </a:lnTo>
                  <a:lnTo>
                    <a:pt x="2848" y="1723"/>
                  </a:lnTo>
                  <a:lnTo>
                    <a:pt x="2842" y="1720"/>
                  </a:lnTo>
                  <a:lnTo>
                    <a:pt x="2835" y="1716"/>
                  </a:lnTo>
                  <a:lnTo>
                    <a:pt x="2830" y="1710"/>
                  </a:lnTo>
                  <a:lnTo>
                    <a:pt x="2825" y="1705"/>
                  </a:lnTo>
                  <a:lnTo>
                    <a:pt x="2816" y="1694"/>
                  </a:lnTo>
                  <a:lnTo>
                    <a:pt x="2808" y="1681"/>
                  </a:lnTo>
                  <a:lnTo>
                    <a:pt x="2802" y="1669"/>
                  </a:lnTo>
                  <a:lnTo>
                    <a:pt x="2798" y="1655"/>
                  </a:lnTo>
                  <a:lnTo>
                    <a:pt x="2794" y="1642"/>
                  </a:lnTo>
                  <a:lnTo>
                    <a:pt x="2792" y="1628"/>
                  </a:lnTo>
                  <a:lnTo>
                    <a:pt x="2790" y="1600"/>
                  </a:lnTo>
                  <a:lnTo>
                    <a:pt x="2789" y="1574"/>
                  </a:lnTo>
                  <a:lnTo>
                    <a:pt x="2789" y="1414"/>
                  </a:lnTo>
                  <a:lnTo>
                    <a:pt x="2969" y="1414"/>
                  </a:lnTo>
                  <a:close/>
                  <a:moveTo>
                    <a:pt x="3323" y="808"/>
                  </a:moveTo>
                  <a:lnTo>
                    <a:pt x="3740" y="808"/>
                  </a:lnTo>
                  <a:lnTo>
                    <a:pt x="3740" y="1741"/>
                  </a:lnTo>
                  <a:lnTo>
                    <a:pt x="3572" y="1741"/>
                  </a:lnTo>
                  <a:lnTo>
                    <a:pt x="3572" y="924"/>
                  </a:lnTo>
                  <a:lnTo>
                    <a:pt x="3491" y="924"/>
                  </a:lnTo>
                  <a:lnTo>
                    <a:pt x="3491" y="1741"/>
                  </a:lnTo>
                  <a:lnTo>
                    <a:pt x="3323" y="1741"/>
                  </a:lnTo>
                  <a:lnTo>
                    <a:pt x="3323" y="808"/>
                  </a:lnTo>
                  <a:close/>
                  <a:moveTo>
                    <a:pt x="3870" y="1741"/>
                  </a:moveTo>
                  <a:lnTo>
                    <a:pt x="4050" y="1741"/>
                  </a:lnTo>
                  <a:lnTo>
                    <a:pt x="4050" y="1424"/>
                  </a:lnTo>
                  <a:lnTo>
                    <a:pt x="4152" y="1424"/>
                  </a:lnTo>
                  <a:lnTo>
                    <a:pt x="4164" y="1424"/>
                  </a:lnTo>
                  <a:lnTo>
                    <a:pt x="4174" y="1422"/>
                  </a:lnTo>
                  <a:lnTo>
                    <a:pt x="4184" y="1421"/>
                  </a:lnTo>
                  <a:lnTo>
                    <a:pt x="4194" y="1419"/>
                  </a:lnTo>
                  <a:lnTo>
                    <a:pt x="4204" y="1417"/>
                  </a:lnTo>
                  <a:lnTo>
                    <a:pt x="4213" y="1413"/>
                  </a:lnTo>
                  <a:lnTo>
                    <a:pt x="4221" y="1411"/>
                  </a:lnTo>
                  <a:lnTo>
                    <a:pt x="4228" y="1407"/>
                  </a:lnTo>
                  <a:lnTo>
                    <a:pt x="4241" y="1399"/>
                  </a:lnTo>
                  <a:lnTo>
                    <a:pt x="4254" y="1388"/>
                  </a:lnTo>
                  <a:lnTo>
                    <a:pt x="4264" y="1377"/>
                  </a:lnTo>
                  <a:lnTo>
                    <a:pt x="4272" y="1364"/>
                  </a:lnTo>
                  <a:lnTo>
                    <a:pt x="4279" y="1352"/>
                  </a:lnTo>
                  <a:lnTo>
                    <a:pt x="4285" y="1338"/>
                  </a:lnTo>
                  <a:lnTo>
                    <a:pt x="4289" y="1325"/>
                  </a:lnTo>
                  <a:lnTo>
                    <a:pt x="4292" y="1311"/>
                  </a:lnTo>
                  <a:lnTo>
                    <a:pt x="4295" y="1296"/>
                  </a:lnTo>
                  <a:lnTo>
                    <a:pt x="4297" y="1283"/>
                  </a:lnTo>
                  <a:lnTo>
                    <a:pt x="4298" y="1269"/>
                  </a:lnTo>
                  <a:lnTo>
                    <a:pt x="4298" y="1257"/>
                  </a:lnTo>
                  <a:lnTo>
                    <a:pt x="4298" y="975"/>
                  </a:lnTo>
                  <a:lnTo>
                    <a:pt x="4298" y="962"/>
                  </a:lnTo>
                  <a:lnTo>
                    <a:pt x="4297" y="949"/>
                  </a:lnTo>
                  <a:lnTo>
                    <a:pt x="4295" y="935"/>
                  </a:lnTo>
                  <a:lnTo>
                    <a:pt x="4292" y="921"/>
                  </a:lnTo>
                  <a:lnTo>
                    <a:pt x="4289" y="907"/>
                  </a:lnTo>
                  <a:lnTo>
                    <a:pt x="4285" y="893"/>
                  </a:lnTo>
                  <a:lnTo>
                    <a:pt x="4279" y="879"/>
                  </a:lnTo>
                  <a:lnTo>
                    <a:pt x="4272" y="867"/>
                  </a:lnTo>
                  <a:lnTo>
                    <a:pt x="4264" y="854"/>
                  </a:lnTo>
                  <a:lnTo>
                    <a:pt x="4254" y="843"/>
                  </a:lnTo>
                  <a:lnTo>
                    <a:pt x="4241" y="834"/>
                  </a:lnTo>
                  <a:lnTo>
                    <a:pt x="4228" y="825"/>
                  </a:lnTo>
                  <a:lnTo>
                    <a:pt x="4221" y="821"/>
                  </a:lnTo>
                  <a:lnTo>
                    <a:pt x="4213" y="818"/>
                  </a:lnTo>
                  <a:lnTo>
                    <a:pt x="4204" y="815"/>
                  </a:lnTo>
                  <a:lnTo>
                    <a:pt x="4194" y="812"/>
                  </a:lnTo>
                  <a:lnTo>
                    <a:pt x="4184" y="810"/>
                  </a:lnTo>
                  <a:lnTo>
                    <a:pt x="4174" y="809"/>
                  </a:lnTo>
                  <a:lnTo>
                    <a:pt x="4164" y="808"/>
                  </a:lnTo>
                  <a:lnTo>
                    <a:pt x="4152" y="808"/>
                  </a:lnTo>
                  <a:lnTo>
                    <a:pt x="3870" y="808"/>
                  </a:lnTo>
                  <a:lnTo>
                    <a:pt x="3870" y="1741"/>
                  </a:lnTo>
                  <a:close/>
                  <a:moveTo>
                    <a:pt x="5381" y="808"/>
                  </a:moveTo>
                  <a:lnTo>
                    <a:pt x="5615" y="808"/>
                  </a:lnTo>
                  <a:lnTo>
                    <a:pt x="5615" y="1741"/>
                  </a:lnTo>
                  <a:lnTo>
                    <a:pt x="5435" y="1741"/>
                  </a:lnTo>
                  <a:lnTo>
                    <a:pt x="5435" y="1155"/>
                  </a:lnTo>
                  <a:lnTo>
                    <a:pt x="5429" y="1155"/>
                  </a:lnTo>
                  <a:lnTo>
                    <a:pt x="5337" y="1741"/>
                  </a:lnTo>
                  <a:lnTo>
                    <a:pt x="5193" y="1741"/>
                  </a:lnTo>
                  <a:lnTo>
                    <a:pt x="5100" y="1155"/>
                  </a:lnTo>
                  <a:lnTo>
                    <a:pt x="5094" y="1155"/>
                  </a:lnTo>
                  <a:lnTo>
                    <a:pt x="5094" y="1741"/>
                  </a:lnTo>
                  <a:lnTo>
                    <a:pt x="4914" y="1741"/>
                  </a:lnTo>
                  <a:lnTo>
                    <a:pt x="4914" y="808"/>
                  </a:lnTo>
                  <a:lnTo>
                    <a:pt x="5148" y="808"/>
                  </a:lnTo>
                  <a:lnTo>
                    <a:pt x="5264" y="1463"/>
                  </a:lnTo>
                  <a:lnTo>
                    <a:pt x="5381" y="808"/>
                  </a:lnTo>
                  <a:close/>
                  <a:moveTo>
                    <a:pt x="1488" y="903"/>
                  </a:moveTo>
                  <a:lnTo>
                    <a:pt x="1487" y="938"/>
                  </a:lnTo>
                  <a:lnTo>
                    <a:pt x="1486" y="974"/>
                  </a:lnTo>
                  <a:lnTo>
                    <a:pt x="1482" y="1009"/>
                  </a:lnTo>
                  <a:lnTo>
                    <a:pt x="1479" y="1043"/>
                  </a:lnTo>
                  <a:lnTo>
                    <a:pt x="1475" y="1075"/>
                  </a:lnTo>
                  <a:lnTo>
                    <a:pt x="1471" y="1105"/>
                  </a:lnTo>
                  <a:lnTo>
                    <a:pt x="1466" y="1133"/>
                  </a:lnTo>
                  <a:lnTo>
                    <a:pt x="1460" y="1157"/>
                  </a:lnTo>
                  <a:lnTo>
                    <a:pt x="1462" y="1117"/>
                  </a:lnTo>
                  <a:lnTo>
                    <a:pt x="1462" y="1072"/>
                  </a:lnTo>
                  <a:lnTo>
                    <a:pt x="1459" y="1027"/>
                  </a:lnTo>
                  <a:lnTo>
                    <a:pt x="1456" y="980"/>
                  </a:lnTo>
                  <a:lnTo>
                    <a:pt x="1451" y="933"/>
                  </a:lnTo>
                  <a:lnTo>
                    <a:pt x="1444" y="885"/>
                  </a:lnTo>
                  <a:lnTo>
                    <a:pt x="1438" y="840"/>
                  </a:lnTo>
                  <a:lnTo>
                    <a:pt x="1430" y="795"/>
                  </a:lnTo>
                  <a:lnTo>
                    <a:pt x="1418" y="750"/>
                  </a:lnTo>
                  <a:lnTo>
                    <a:pt x="1405" y="700"/>
                  </a:lnTo>
                  <a:lnTo>
                    <a:pt x="1387" y="645"/>
                  </a:lnTo>
                  <a:lnTo>
                    <a:pt x="1368" y="591"/>
                  </a:lnTo>
                  <a:lnTo>
                    <a:pt x="1348" y="539"/>
                  </a:lnTo>
                  <a:lnTo>
                    <a:pt x="1327" y="489"/>
                  </a:lnTo>
                  <a:lnTo>
                    <a:pt x="1316" y="465"/>
                  </a:lnTo>
                  <a:lnTo>
                    <a:pt x="1305" y="443"/>
                  </a:lnTo>
                  <a:lnTo>
                    <a:pt x="1295" y="424"/>
                  </a:lnTo>
                  <a:lnTo>
                    <a:pt x="1285" y="406"/>
                  </a:lnTo>
                  <a:lnTo>
                    <a:pt x="1276" y="423"/>
                  </a:lnTo>
                  <a:lnTo>
                    <a:pt x="1265" y="441"/>
                  </a:lnTo>
                  <a:lnTo>
                    <a:pt x="1256" y="461"/>
                  </a:lnTo>
                  <a:lnTo>
                    <a:pt x="1246" y="482"/>
                  </a:lnTo>
                  <a:lnTo>
                    <a:pt x="1227" y="528"/>
                  </a:lnTo>
                  <a:lnTo>
                    <a:pt x="1207" y="578"/>
                  </a:lnTo>
                  <a:lnTo>
                    <a:pt x="1189" y="632"/>
                  </a:lnTo>
                  <a:lnTo>
                    <a:pt x="1171" y="686"/>
                  </a:lnTo>
                  <a:lnTo>
                    <a:pt x="1156" y="741"/>
                  </a:lnTo>
                  <a:lnTo>
                    <a:pt x="1142" y="795"/>
                  </a:lnTo>
                  <a:lnTo>
                    <a:pt x="1137" y="821"/>
                  </a:lnTo>
                  <a:lnTo>
                    <a:pt x="1132" y="849"/>
                  </a:lnTo>
                  <a:lnTo>
                    <a:pt x="1128" y="877"/>
                  </a:lnTo>
                  <a:lnTo>
                    <a:pt x="1124" y="904"/>
                  </a:lnTo>
                  <a:lnTo>
                    <a:pt x="1118" y="959"/>
                  </a:lnTo>
                  <a:lnTo>
                    <a:pt x="1114" y="1011"/>
                  </a:lnTo>
                  <a:lnTo>
                    <a:pt x="1112" y="1059"/>
                  </a:lnTo>
                  <a:lnTo>
                    <a:pt x="1110" y="1101"/>
                  </a:lnTo>
                  <a:lnTo>
                    <a:pt x="1109" y="1135"/>
                  </a:lnTo>
                  <a:lnTo>
                    <a:pt x="1109" y="1160"/>
                  </a:lnTo>
                  <a:lnTo>
                    <a:pt x="1106" y="1138"/>
                  </a:lnTo>
                  <a:lnTo>
                    <a:pt x="1101" y="1109"/>
                  </a:lnTo>
                  <a:lnTo>
                    <a:pt x="1097" y="1070"/>
                  </a:lnTo>
                  <a:lnTo>
                    <a:pt x="1092" y="1025"/>
                  </a:lnTo>
                  <a:lnTo>
                    <a:pt x="1089" y="975"/>
                  </a:lnTo>
                  <a:lnTo>
                    <a:pt x="1085" y="921"/>
                  </a:lnTo>
                  <a:lnTo>
                    <a:pt x="1084" y="865"/>
                  </a:lnTo>
                  <a:lnTo>
                    <a:pt x="1085" y="807"/>
                  </a:lnTo>
                  <a:lnTo>
                    <a:pt x="1089" y="758"/>
                  </a:lnTo>
                  <a:lnTo>
                    <a:pt x="1093" y="710"/>
                  </a:lnTo>
                  <a:lnTo>
                    <a:pt x="1100" y="665"/>
                  </a:lnTo>
                  <a:lnTo>
                    <a:pt x="1107" y="620"/>
                  </a:lnTo>
                  <a:lnTo>
                    <a:pt x="1115" y="579"/>
                  </a:lnTo>
                  <a:lnTo>
                    <a:pt x="1123" y="543"/>
                  </a:lnTo>
                  <a:lnTo>
                    <a:pt x="1131" y="511"/>
                  </a:lnTo>
                  <a:lnTo>
                    <a:pt x="1138" y="485"/>
                  </a:lnTo>
                  <a:lnTo>
                    <a:pt x="1149" y="448"/>
                  </a:lnTo>
                  <a:lnTo>
                    <a:pt x="1161" y="412"/>
                  </a:lnTo>
                  <a:lnTo>
                    <a:pt x="1173" y="379"/>
                  </a:lnTo>
                  <a:lnTo>
                    <a:pt x="1185" y="348"/>
                  </a:lnTo>
                  <a:lnTo>
                    <a:pt x="1208" y="290"/>
                  </a:lnTo>
                  <a:lnTo>
                    <a:pt x="1230" y="241"/>
                  </a:lnTo>
                  <a:lnTo>
                    <a:pt x="1248" y="200"/>
                  </a:lnTo>
                  <a:lnTo>
                    <a:pt x="1265" y="168"/>
                  </a:lnTo>
                  <a:lnTo>
                    <a:pt x="1277" y="145"/>
                  </a:lnTo>
                  <a:lnTo>
                    <a:pt x="1285" y="133"/>
                  </a:lnTo>
                  <a:lnTo>
                    <a:pt x="1293" y="147"/>
                  </a:lnTo>
                  <a:lnTo>
                    <a:pt x="1308" y="172"/>
                  </a:lnTo>
                  <a:lnTo>
                    <a:pt x="1326" y="208"/>
                  </a:lnTo>
                  <a:lnTo>
                    <a:pt x="1348" y="251"/>
                  </a:lnTo>
                  <a:lnTo>
                    <a:pt x="1370" y="302"/>
                  </a:lnTo>
                  <a:lnTo>
                    <a:pt x="1393" y="358"/>
                  </a:lnTo>
                  <a:lnTo>
                    <a:pt x="1405" y="387"/>
                  </a:lnTo>
                  <a:lnTo>
                    <a:pt x="1416" y="418"/>
                  </a:lnTo>
                  <a:lnTo>
                    <a:pt x="1425" y="449"/>
                  </a:lnTo>
                  <a:lnTo>
                    <a:pt x="1434" y="481"/>
                  </a:lnTo>
                  <a:lnTo>
                    <a:pt x="1443" y="511"/>
                  </a:lnTo>
                  <a:lnTo>
                    <a:pt x="1450" y="543"/>
                  </a:lnTo>
                  <a:lnTo>
                    <a:pt x="1457" y="574"/>
                  </a:lnTo>
                  <a:lnTo>
                    <a:pt x="1463" y="603"/>
                  </a:lnTo>
                  <a:lnTo>
                    <a:pt x="1473" y="662"/>
                  </a:lnTo>
                  <a:lnTo>
                    <a:pt x="1480" y="719"/>
                  </a:lnTo>
                  <a:lnTo>
                    <a:pt x="1484" y="771"/>
                  </a:lnTo>
                  <a:lnTo>
                    <a:pt x="1487" y="820"/>
                  </a:lnTo>
                  <a:lnTo>
                    <a:pt x="1489" y="865"/>
                  </a:lnTo>
                  <a:lnTo>
                    <a:pt x="1488" y="903"/>
                  </a:lnTo>
                  <a:close/>
                  <a:moveTo>
                    <a:pt x="937" y="1741"/>
                  </a:moveTo>
                  <a:lnTo>
                    <a:pt x="937" y="2034"/>
                  </a:lnTo>
                  <a:lnTo>
                    <a:pt x="938" y="2034"/>
                  </a:lnTo>
                  <a:lnTo>
                    <a:pt x="938" y="2032"/>
                  </a:lnTo>
                  <a:lnTo>
                    <a:pt x="949" y="2023"/>
                  </a:lnTo>
                  <a:lnTo>
                    <a:pt x="959" y="2014"/>
                  </a:lnTo>
                  <a:lnTo>
                    <a:pt x="969" y="2006"/>
                  </a:lnTo>
                  <a:lnTo>
                    <a:pt x="980" y="2000"/>
                  </a:lnTo>
                  <a:lnTo>
                    <a:pt x="991" y="1992"/>
                  </a:lnTo>
                  <a:lnTo>
                    <a:pt x="1002" y="1986"/>
                  </a:lnTo>
                  <a:lnTo>
                    <a:pt x="1013" y="1980"/>
                  </a:lnTo>
                  <a:lnTo>
                    <a:pt x="1026" y="1975"/>
                  </a:lnTo>
                  <a:lnTo>
                    <a:pt x="1037" y="1971"/>
                  </a:lnTo>
                  <a:lnTo>
                    <a:pt x="1050" y="1967"/>
                  </a:lnTo>
                  <a:lnTo>
                    <a:pt x="1063" y="1963"/>
                  </a:lnTo>
                  <a:lnTo>
                    <a:pt x="1075" y="1961"/>
                  </a:lnTo>
                  <a:lnTo>
                    <a:pt x="1088" y="1959"/>
                  </a:lnTo>
                  <a:lnTo>
                    <a:pt x="1100" y="1958"/>
                  </a:lnTo>
                  <a:lnTo>
                    <a:pt x="1113" y="1956"/>
                  </a:lnTo>
                  <a:lnTo>
                    <a:pt x="1125" y="1956"/>
                  </a:lnTo>
                  <a:lnTo>
                    <a:pt x="1138" y="1956"/>
                  </a:lnTo>
                  <a:lnTo>
                    <a:pt x="1150" y="1958"/>
                  </a:lnTo>
                  <a:lnTo>
                    <a:pt x="1163" y="1959"/>
                  </a:lnTo>
                  <a:lnTo>
                    <a:pt x="1175" y="1961"/>
                  </a:lnTo>
                  <a:lnTo>
                    <a:pt x="1188" y="1963"/>
                  </a:lnTo>
                  <a:lnTo>
                    <a:pt x="1199" y="1967"/>
                  </a:lnTo>
                  <a:lnTo>
                    <a:pt x="1212" y="1971"/>
                  </a:lnTo>
                  <a:lnTo>
                    <a:pt x="1224" y="1975"/>
                  </a:lnTo>
                  <a:lnTo>
                    <a:pt x="1236" y="1980"/>
                  </a:lnTo>
                  <a:lnTo>
                    <a:pt x="1247" y="1986"/>
                  </a:lnTo>
                  <a:lnTo>
                    <a:pt x="1259" y="1992"/>
                  </a:lnTo>
                  <a:lnTo>
                    <a:pt x="1270" y="2000"/>
                  </a:lnTo>
                  <a:lnTo>
                    <a:pt x="1280" y="2006"/>
                  </a:lnTo>
                  <a:lnTo>
                    <a:pt x="1292" y="2014"/>
                  </a:lnTo>
                  <a:lnTo>
                    <a:pt x="1301" y="2023"/>
                  </a:lnTo>
                  <a:lnTo>
                    <a:pt x="1311" y="2032"/>
                  </a:lnTo>
                  <a:lnTo>
                    <a:pt x="1320" y="2043"/>
                  </a:lnTo>
                  <a:lnTo>
                    <a:pt x="1329" y="2052"/>
                  </a:lnTo>
                  <a:lnTo>
                    <a:pt x="1337" y="2063"/>
                  </a:lnTo>
                  <a:lnTo>
                    <a:pt x="1345" y="2073"/>
                  </a:lnTo>
                  <a:lnTo>
                    <a:pt x="1352" y="2085"/>
                  </a:lnTo>
                  <a:lnTo>
                    <a:pt x="1358" y="2096"/>
                  </a:lnTo>
                  <a:lnTo>
                    <a:pt x="1364" y="2107"/>
                  </a:lnTo>
                  <a:lnTo>
                    <a:pt x="1369" y="2119"/>
                  </a:lnTo>
                  <a:lnTo>
                    <a:pt x="1374" y="2131"/>
                  </a:lnTo>
                  <a:lnTo>
                    <a:pt x="1377" y="2143"/>
                  </a:lnTo>
                  <a:lnTo>
                    <a:pt x="1381" y="2155"/>
                  </a:lnTo>
                  <a:lnTo>
                    <a:pt x="1384" y="2168"/>
                  </a:lnTo>
                  <a:lnTo>
                    <a:pt x="1385" y="2180"/>
                  </a:lnTo>
                  <a:lnTo>
                    <a:pt x="1387" y="2193"/>
                  </a:lnTo>
                  <a:lnTo>
                    <a:pt x="1389" y="2205"/>
                  </a:lnTo>
                  <a:lnTo>
                    <a:pt x="1389" y="2218"/>
                  </a:lnTo>
                  <a:lnTo>
                    <a:pt x="1389" y="2230"/>
                  </a:lnTo>
                  <a:lnTo>
                    <a:pt x="1387" y="2243"/>
                  </a:lnTo>
                  <a:lnTo>
                    <a:pt x="1385" y="2255"/>
                  </a:lnTo>
                  <a:lnTo>
                    <a:pt x="1384" y="2268"/>
                  </a:lnTo>
                  <a:lnTo>
                    <a:pt x="1381" y="2280"/>
                  </a:lnTo>
                  <a:lnTo>
                    <a:pt x="1377" y="2292"/>
                  </a:lnTo>
                  <a:lnTo>
                    <a:pt x="1374" y="2304"/>
                  </a:lnTo>
                  <a:lnTo>
                    <a:pt x="1369" y="2315"/>
                  </a:lnTo>
                  <a:lnTo>
                    <a:pt x="1364" y="2328"/>
                  </a:lnTo>
                  <a:lnTo>
                    <a:pt x="1358" y="2339"/>
                  </a:lnTo>
                  <a:lnTo>
                    <a:pt x="1352" y="2351"/>
                  </a:lnTo>
                  <a:lnTo>
                    <a:pt x="1345" y="2361"/>
                  </a:lnTo>
                  <a:lnTo>
                    <a:pt x="1337" y="2372"/>
                  </a:lnTo>
                  <a:lnTo>
                    <a:pt x="1329" y="2382"/>
                  </a:lnTo>
                  <a:lnTo>
                    <a:pt x="1320" y="2393"/>
                  </a:lnTo>
                  <a:lnTo>
                    <a:pt x="1311" y="2403"/>
                  </a:lnTo>
                  <a:lnTo>
                    <a:pt x="1311" y="2403"/>
                  </a:lnTo>
                  <a:lnTo>
                    <a:pt x="1310" y="2404"/>
                  </a:lnTo>
                  <a:lnTo>
                    <a:pt x="1310" y="2404"/>
                  </a:lnTo>
                  <a:lnTo>
                    <a:pt x="1309" y="2404"/>
                  </a:lnTo>
                  <a:lnTo>
                    <a:pt x="1309" y="2405"/>
                  </a:lnTo>
                  <a:lnTo>
                    <a:pt x="1288" y="2423"/>
                  </a:lnTo>
                  <a:lnTo>
                    <a:pt x="1269" y="2440"/>
                  </a:lnTo>
                  <a:lnTo>
                    <a:pt x="1247" y="2456"/>
                  </a:lnTo>
                  <a:lnTo>
                    <a:pt x="1226" y="2471"/>
                  </a:lnTo>
                  <a:lnTo>
                    <a:pt x="1204" y="2485"/>
                  </a:lnTo>
                  <a:lnTo>
                    <a:pt x="1181" y="2497"/>
                  </a:lnTo>
                  <a:lnTo>
                    <a:pt x="1158" y="2509"/>
                  </a:lnTo>
                  <a:lnTo>
                    <a:pt x="1134" y="2519"/>
                  </a:lnTo>
                  <a:lnTo>
                    <a:pt x="1110" y="2528"/>
                  </a:lnTo>
                  <a:lnTo>
                    <a:pt x="1086" y="2536"/>
                  </a:lnTo>
                  <a:lnTo>
                    <a:pt x="1063" y="2541"/>
                  </a:lnTo>
                  <a:lnTo>
                    <a:pt x="1037" y="2547"/>
                  </a:lnTo>
                  <a:lnTo>
                    <a:pt x="1012" y="2552"/>
                  </a:lnTo>
                  <a:lnTo>
                    <a:pt x="987" y="2554"/>
                  </a:lnTo>
                  <a:lnTo>
                    <a:pt x="962" y="2556"/>
                  </a:lnTo>
                  <a:lnTo>
                    <a:pt x="937" y="2556"/>
                  </a:lnTo>
                  <a:lnTo>
                    <a:pt x="912" y="2556"/>
                  </a:lnTo>
                  <a:lnTo>
                    <a:pt x="887" y="2554"/>
                  </a:lnTo>
                  <a:lnTo>
                    <a:pt x="862" y="2552"/>
                  </a:lnTo>
                  <a:lnTo>
                    <a:pt x="837" y="2547"/>
                  </a:lnTo>
                  <a:lnTo>
                    <a:pt x="812" y="2541"/>
                  </a:lnTo>
                  <a:lnTo>
                    <a:pt x="788" y="2535"/>
                  </a:lnTo>
                  <a:lnTo>
                    <a:pt x="764" y="2528"/>
                  </a:lnTo>
                  <a:lnTo>
                    <a:pt x="740" y="2519"/>
                  </a:lnTo>
                  <a:lnTo>
                    <a:pt x="716" y="2509"/>
                  </a:lnTo>
                  <a:lnTo>
                    <a:pt x="693" y="2497"/>
                  </a:lnTo>
                  <a:lnTo>
                    <a:pt x="670" y="2485"/>
                  </a:lnTo>
                  <a:lnTo>
                    <a:pt x="648" y="2471"/>
                  </a:lnTo>
                  <a:lnTo>
                    <a:pt x="626" y="2456"/>
                  </a:lnTo>
                  <a:lnTo>
                    <a:pt x="605" y="2439"/>
                  </a:lnTo>
                  <a:lnTo>
                    <a:pt x="585" y="2422"/>
                  </a:lnTo>
                  <a:lnTo>
                    <a:pt x="565" y="2404"/>
                  </a:lnTo>
                  <a:lnTo>
                    <a:pt x="548" y="2387"/>
                  </a:lnTo>
                  <a:lnTo>
                    <a:pt x="534" y="2369"/>
                  </a:lnTo>
                  <a:lnTo>
                    <a:pt x="519" y="2351"/>
                  </a:lnTo>
                  <a:lnTo>
                    <a:pt x="505" y="2332"/>
                  </a:lnTo>
                  <a:lnTo>
                    <a:pt x="492" y="2313"/>
                  </a:lnTo>
                  <a:lnTo>
                    <a:pt x="480" y="2294"/>
                  </a:lnTo>
                  <a:lnTo>
                    <a:pt x="470" y="2273"/>
                  </a:lnTo>
                  <a:lnTo>
                    <a:pt x="459" y="2253"/>
                  </a:lnTo>
                  <a:lnTo>
                    <a:pt x="450" y="2232"/>
                  </a:lnTo>
                  <a:lnTo>
                    <a:pt x="442" y="2212"/>
                  </a:lnTo>
                  <a:lnTo>
                    <a:pt x="435" y="2190"/>
                  </a:lnTo>
                  <a:lnTo>
                    <a:pt x="429" y="2169"/>
                  </a:lnTo>
                  <a:lnTo>
                    <a:pt x="424" y="2147"/>
                  </a:lnTo>
                  <a:lnTo>
                    <a:pt x="419" y="2126"/>
                  </a:lnTo>
                  <a:lnTo>
                    <a:pt x="416" y="2104"/>
                  </a:lnTo>
                  <a:lnTo>
                    <a:pt x="414" y="2082"/>
                  </a:lnTo>
                  <a:lnTo>
                    <a:pt x="412" y="2060"/>
                  </a:lnTo>
                  <a:lnTo>
                    <a:pt x="412" y="2038"/>
                  </a:lnTo>
                  <a:lnTo>
                    <a:pt x="412" y="2015"/>
                  </a:lnTo>
                  <a:lnTo>
                    <a:pt x="413" y="1994"/>
                  </a:lnTo>
                  <a:lnTo>
                    <a:pt x="415" y="1972"/>
                  </a:lnTo>
                  <a:lnTo>
                    <a:pt x="418" y="1950"/>
                  </a:lnTo>
                  <a:lnTo>
                    <a:pt x="422" y="1928"/>
                  </a:lnTo>
                  <a:lnTo>
                    <a:pt x="427" y="1906"/>
                  </a:lnTo>
                  <a:lnTo>
                    <a:pt x="433" y="1885"/>
                  </a:lnTo>
                  <a:lnTo>
                    <a:pt x="440" y="1864"/>
                  </a:lnTo>
                  <a:lnTo>
                    <a:pt x="448" y="1843"/>
                  </a:lnTo>
                  <a:lnTo>
                    <a:pt x="456" y="1822"/>
                  </a:lnTo>
                  <a:lnTo>
                    <a:pt x="466" y="1802"/>
                  </a:lnTo>
                  <a:lnTo>
                    <a:pt x="476" y="1781"/>
                  </a:lnTo>
                  <a:lnTo>
                    <a:pt x="488" y="1762"/>
                  </a:lnTo>
                  <a:lnTo>
                    <a:pt x="500" y="1743"/>
                  </a:lnTo>
                  <a:lnTo>
                    <a:pt x="515" y="1722"/>
                  </a:lnTo>
                  <a:lnTo>
                    <a:pt x="531" y="1703"/>
                  </a:lnTo>
                  <a:lnTo>
                    <a:pt x="547" y="1684"/>
                  </a:lnTo>
                  <a:lnTo>
                    <a:pt x="565" y="1666"/>
                  </a:lnTo>
                  <a:lnTo>
                    <a:pt x="585" y="1646"/>
                  </a:lnTo>
                  <a:lnTo>
                    <a:pt x="605" y="1629"/>
                  </a:lnTo>
                  <a:lnTo>
                    <a:pt x="626" y="1613"/>
                  </a:lnTo>
                  <a:lnTo>
                    <a:pt x="648" y="1599"/>
                  </a:lnTo>
                  <a:lnTo>
                    <a:pt x="670" y="1585"/>
                  </a:lnTo>
                  <a:lnTo>
                    <a:pt x="693" y="1572"/>
                  </a:lnTo>
                  <a:lnTo>
                    <a:pt x="716" y="1561"/>
                  </a:lnTo>
                  <a:lnTo>
                    <a:pt x="740" y="1551"/>
                  </a:lnTo>
                  <a:lnTo>
                    <a:pt x="764" y="1542"/>
                  </a:lnTo>
                  <a:lnTo>
                    <a:pt x="788" y="1534"/>
                  </a:lnTo>
                  <a:lnTo>
                    <a:pt x="812" y="1527"/>
                  </a:lnTo>
                  <a:lnTo>
                    <a:pt x="837" y="1522"/>
                  </a:lnTo>
                  <a:lnTo>
                    <a:pt x="862" y="1518"/>
                  </a:lnTo>
                  <a:lnTo>
                    <a:pt x="887" y="1514"/>
                  </a:lnTo>
                  <a:lnTo>
                    <a:pt x="912" y="1513"/>
                  </a:lnTo>
                  <a:lnTo>
                    <a:pt x="937" y="1512"/>
                  </a:lnTo>
                  <a:lnTo>
                    <a:pt x="937" y="813"/>
                  </a:lnTo>
                  <a:lnTo>
                    <a:pt x="889" y="815"/>
                  </a:lnTo>
                  <a:lnTo>
                    <a:pt x="841" y="818"/>
                  </a:lnTo>
                  <a:lnTo>
                    <a:pt x="795" y="824"/>
                  </a:lnTo>
                  <a:lnTo>
                    <a:pt x="749" y="832"/>
                  </a:lnTo>
                  <a:lnTo>
                    <a:pt x="703" y="842"/>
                  </a:lnTo>
                  <a:lnTo>
                    <a:pt x="659" y="854"/>
                  </a:lnTo>
                  <a:lnTo>
                    <a:pt x="616" y="869"/>
                  </a:lnTo>
                  <a:lnTo>
                    <a:pt x="572" y="886"/>
                  </a:lnTo>
                  <a:lnTo>
                    <a:pt x="531" y="904"/>
                  </a:lnTo>
                  <a:lnTo>
                    <a:pt x="490" y="925"/>
                  </a:lnTo>
                  <a:lnTo>
                    <a:pt x="451" y="948"/>
                  </a:lnTo>
                  <a:lnTo>
                    <a:pt x="414" y="971"/>
                  </a:lnTo>
                  <a:lnTo>
                    <a:pt x="376" y="998"/>
                  </a:lnTo>
                  <a:lnTo>
                    <a:pt x="341" y="1026"/>
                  </a:lnTo>
                  <a:lnTo>
                    <a:pt x="307" y="1054"/>
                  </a:lnTo>
                  <a:lnTo>
                    <a:pt x="275" y="1085"/>
                  </a:lnTo>
                  <a:lnTo>
                    <a:pt x="244" y="1118"/>
                  </a:lnTo>
                  <a:lnTo>
                    <a:pt x="214" y="1152"/>
                  </a:lnTo>
                  <a:lnTo>
                    <a:pt x="186" y="1186"/>
                  </a:lnTo>
                  <a:lnTo>
                    <a:pt x="160" y="1224"/>
                  </a:lnTo>
                  <a:lnTo>
                    <a:pt x="136" y="1261"/>
                  </a:lnTo>
                  <a:lnTo>
                    <a:pt x="113" y="1300"/>
                  </a:lnTo>
                  <a:lnTo>
                    <a:pt x="92" y="1339"/>
                  </a:lnTo>
                  <a:lnTo>
                    <a:pt x="74" y="1382"/>
                  </a:lnTo>
                  <a:lnTo>
                    <a:pt x="57" y="1424"/>
                  </a:lnTo>
                  <a:lnTo>
                    <a:pt x="42" y="1467"/>
                  </a:lnTo>
                  <a:lnTo>
                    <a:pt x="30" y="1511"/>
                  </a:lnTo>
                  <a:lnTo>
                    <a:pt x="19" y="1555"/>
                  </a:lnTo>
                  <a:lnTo>
                    <a:pt x="10" y="1601"/>
                  </a:lnTo>
                  <a:lnTo>
                    <a:pt x="4" y="1647"/>
                  </a:lnTo>
                  <a:lnTo>
                    <a:pt x="1" y="1695"/>
                  </a:lnTo>
                  <a:lnTo>
                    <a:pt x="0" y="1743"/>
                  </a:lnTo>
                  <a:lnTo>
                    <a:pt x="1" y="1791"/>
                  </a:lnTo>
                  <a:lnTo>
                    <a:pt x="4" y="1838"/>
                  </a:lnTo>
                  <a:lnTo>
                    <a:pt x="10" y="1885"/>
                  </a:lnTo>
                  <a:lnTo>
                    <a:pt x="19" y="1930"/>
                  </a:lnTo>
                  <a:lnTo>
                    <a:pt x="30" y="1976"/>
                  </a:lnTo>
                  <a:lnTo>
                    <a:pt x="42" y="2020"/>
                  </a:lnTo>
                  <a:lnTo>
                    <a:pt x="57" y="2063"/>
                  </a:lnTo>
                  <a:lnTo>
                    <a:pt x="74" y="2105"/>
                  </a:lnTo>
                  <a:lnTo>
                    <a:pt x="92" y="2146"/>
                  </a:lnTo>
                  <a:lnTo>
                    <a:pt x="113" y="2186"/>
                  </a:lnTo>
                  <a:lnTo>
                    <a:pt x="136" y="2226"/>
                  </a:lnTo>
                  <a:lnTo>
                    <a:pt x="160" y="2263"/>
                  </a:lnTo>
                  <a:lnTo>
                    <a:pt x="186" y="2299"/>
                  </a:lnTo>
                  <a:lnTo>
                    <a:pt x="214" y="2335"/>
                  </a:lnTo>
                  <a:lnTo>
                    <a:pt x="244" y="2369"/>
                  </a:lnTo>
                  <a:lnTo>
                    <a:pt x="275" y="2401"/>
                  </a:lnTo>
                  <a:lnTo>
                    <a:pt x="307" y="2431"/>
                  </a:lnTo>
                  <a:lnTo>
                    <a:pt x="341" y="2461"/>
                  </a:lnTo>
                  <a:lnTo>
                    <a:pt x="376" y="2488"/>
                  </a:lnTo>
                  <a:lnTo>
                    <a:pt x="414" y="2514"/>
                  </a:lnTo>
                  <a:lnTo>
                    <a:pt x="451" y="2538"/>
                  </a:lnTo>
                  <a:lnTo>
                    <a:pt x="490" y="2561"/>
                  </a:lnTo>
                  <a:lnTo>
                    <a:pt x="531" y="2581"/>
                  </a:lnTo>
                  <a:lnTo>
                    <a:pt x="572" y="2601"/>
                  </a:lnTo>
                  <a:lnTo>
                    <a:pt x="616" y="2616"/>
                  </a:lnTo>
                  <a:lnTo>
                    <a:pt x="659" y="2631"/>
                  </a:lnTo>
                  <a:lnTo>
                    <a:pt x="703" y="2644"/>
                  </a:lnTo>
                  <a:lnTo>
                    <a:pt x="749" y="2654"/>
                  </a:lnTo>
                  <a:lnTo>
                    <a:pt x="795" y="2662"/>
                  </a:lnTo>
                  <a:lnTo>
                    <a:pt x="841" y="2669"/>
                  </a:lnTo>
                  <a:lnTo>
                    <a:pt x="889" y="2672"/>
                  </a:lnTo>
                  <a:lnTo>
                    <a:pt x="937" y="2673"/>
                  </a:lnTo>
                  <a:lnTo>
                    <a:pt x="962" y="2673"/>
                  </a:lnTo>
                  <a:lnTo>
                    <a:pt x="987" y="2672"/>
                  </a:lnTo>
                  <a:lnTo>
                    <a:pt x="1012" y="2670"/>
                  </a:lnTo>
                  <a:lnTo>
                    <a:pt x="1037" y="2668"/>
                  </a:lnTo>
                  <a:lnTo>
                    <a:pt x="1061" y="2665"/>
                  </a:lnTo>
                  <a:lnTo>
                    <a:pt x="1086" y="2662"/>
                  </a:lnTo>
                  <a:lnTo>
                    <a:pt x="1110" y="2657"/>
                  </a:lnTo>
                  <a:lnTo>
                    <a:pt x="1134" y="2653"/>
                  </a:lnTo>
                  <a:lnTo>
                    <a:pt x="1158" y="2647"/>
                  </a:lnTo>
                  <a:lnTo>
                    <a:pt x="1181" y="2641"/>
                  </a:lnTo>
                  <a:lnTo>
                    <a:pt x="1205" y="2635"/>
                  </a:lnTo>
                  <a:lnTo>
                    <a:pt x="1228" y="2628"/>
                  </a:lnTo>
                  <a:lnTo>
                    <a:pt x="1251" y="2620"/>
                  </a:lnTo>
                  <a:lnTo>
                    <a:pt x="1272" y="2612"/>
                  </a:lnTo>
                  <a:lnTo>
                    <a:pt x="1295" y="2603"/>
                  </a:lnTo>
                  <a:lnTo>
                    <a:pt x="1317" y="2594"/>
                  </a:lnTo>
                  <a:lnTo>
                    <a:pt x="1338" y="2584"/>
                  </a:lnTo>
                  <a:lnTo>
                    <a:pt x="1359" y="2573"/>
                  </a:lnTo>
                  <a:lnTo>
                    <a:pt x="1381" y="2563"/>
                  </a:lnTo>
                  <a:lnTo>
                    <a:pt x="1401" y="2552"/>
                  </a:lnTo>
                  <a:lnTo>
                    <a:pt x="1422" y="2539"/>
                  </a:lnTo>
                  <a:lnTo>
                    <a:pt x="1441" y="2527"/>
                  </a:lnTo>
                  <a:lnTo>
                    <a:pt x="1462" y="2514"/>
                  </a:lnTo>
                  <a:lnTo>
                    <a:pt x="1481" y="2501"/>
                  </a:lnTo>
                  <a:lnTo>
                    <a:pt x="1499" y="2487"/>
                  </a:lnTo>
                  <a:lnTo>
                    <a:pt x="1517" y="2473"/>
                  </a:lnTo>
                  <a:lnTo>
                    <a:pt x="1536" y="2459"/>
                  </a:lnTo>
                  <a:lnTo>
                    <a:pt x="1554" y="2444"/>
                  </a:lnTo>
                  <a:lnTo>
                    <a:pt x="1571" y="2428"/>
                  </a:lnTo>
                  <a:lnTo>
                    <a:pt x="1588" y="2412"/>
                  </a:lnTo>
                  <a:lnTo>
                    <a:pt x="1605" y="2395"/>
                  </a:lnTo>
                  <a:lnTo>
                    <a:pt x="1621" y="2379"/>
                  </a:lnTo>
                  <a:lnTo>
                    <a:pt x="1621" y="1741"/>
                  </a:lnTo>
                  <a:lnTo>
                    <a:pt x="937" y="1741"/>
                  </a:lnTo>
                  <a:close/>
                  <a:moveTo>
                    <a:pt x="5447" y="2453"/>
                  </a:moveTo>
                  <a:lnTo>
                    <a:pt x="5446" y="2469"/>
                  </a:lnTo>
                  <a:lnTo>
                    <a:pt x="5445" y="2482"/>
                  </a:lnTo>
                  <a:lnTo>
                    <a:pt x="5443" y="2495"/>
                  </a:lnTo>
                  <a:lnTo>
                    <a:pt x="5439" y="2506"/>
                  </a:lnTo>
                  <a:lnTo>
                    <a:pt x="5435" y="2516"/>
                  </a:lnTo>
                  <a:lnTo>
                    <a:pt x="5429" y="2524"/>
                  </a:lnTo>
                  <a:lnTo>
                    <a:pt x="5422" y="2532"/>
                  </a:lnTo>
                  <a:lnTo>
                    <a:pt x="5414" y="2538"/>
                  </a:lnTo>
                  <a:lnTo>
                    <a:pt x="5405" y="2544"/>
                  </a:lnTo>
                  <a:lnTo>
                    <a:pt x="5395" y="2547"/>
                  </a:lnTo>
                  <a:lnTo>
                    <a:pt x="5382" y="2551"/>
                  </a:lnTo>
                  <a:lnTo>
                    <a:pt x="5370" y="2553"/>
                  </a:lnTo>
                  <a:lnTo>
                    <a:pt x="5355" y="2555"/>
                  </a:lnTo>
                  <a:lnTo>
                    <a:pt x="5339" y="2556"/>
                  </a:lnTo>
                  <a:lnTo>
                    <a:pt x="5322" y="2557"/>
                  </a:lnTo>
                  <a:lnTo>
                    <a:pt x="5304" y="2557"/>
                  </a:lnTo>
                  <a:lnTo>
                    <a:pt x="5209" y="2557"/>
                  </a:lnTo>
                  <a:lnTo>
                    <a:pt x="5209" y="2152"/>
                  </a:lnTo>
                  <a:lnTo>
                    <a:pt x="5304" y="2152"/>
                  </a:lnTo>
                  <a:lnTo>
                    <a:pt x="5304" y="2309"/>
                  </a:lnTo>
                  <a:lnTo>
                    <a:pt x="5320" y="2309"/>
                  </a:lnTo>
                  <a:lnTo>
                    <a:pt x="5337" y="2309"/>
                  </a:lnTo>
                  <a:lnTo>
                    <a:pt x="5352" y="2310"/>
                  </a:lnTo>
                  <a:lnTo>
                    <a:pt x="5366" y="2311"/>
                  </a:lnTo>
                  <a:lnTo>
                    <a:pt x="5379" y="2313"/>
                  </a:lnTo>
                  <a:lnTo>
                    <a:pt x="5390" y="2317"/>
                  </a:lnTo>
                  <a:lnTo>
                    <a:pt x="5401" y="2320"/>
                  </a:lnTo>
                  <a:lnTo>
                    <a:pt x="5410" y="2324"/>
                  </a:lnTo>
                  <a:lnTo>
                    <a:pt x="5419" y="2329"/>
                  </a:lnTo>
                  <a:lnTo>
                    <a:pt x="5426" y="2336"/>
                  </a:lnTo>
                  <a:lnTo>
                    <a:pt x="5431" y="2343"/>
                  </a:lnTo>
                  <a:lnTo>
                    <a:pt x="5436" y="2352"/>
                  </a:lnTo>
                  <a:lnTo>
                    <a:pt x="5441" y="2361"/>
                  </a:lnTo>
                  <a:lnTo>
                    <a:pt x="5444" y="2372"/>
                  </a:lnTo>
                  <a:lnTo>
                    <a:pt x="5445" y="2384"/>
                  </a:lnTo>
                  <a:lnTo>
                    <a:pt x="5447" y="2397"/>
                  </a:lnTo>
                  <a:lnTo>
                    <a:pt x="5447" y="2411"/>
                  </a:lnTo>
                  <a:lnTo>
                    <a:pt x="5447" y="2453"/>
                  </a:lnTo>
                  <a:close/>
                  <a:moveTo>
                    <a:pt x="6551" y="0"/>
                  </a:moveTo>
                  <a:lnTo>
                    <a:pt x="6641" y="0"/>
                  </a:lnTo>
                  <a:lnTo>
                    <a:pt x="6641" y="3472"/>
                  </a:lnTo>
                  <a:lnTo>
                    <a:pt x="6551" y="3472"/>
                  </a:lnTo>
                  <a:lnTo>
                    <a:pt x="6551" y="0"/>
                  </a:lnTo>
                  <a:close/>
                  <a:moveTo>
                    <a:pt x="4655" y="2229"/>
                  </a:moveTo>
                  <a:lnTo>
                    <a:pt x="4655" y="2229"/>
                  </a:lnTo>
                  <a:lnTo>
                    <a:pt x="4583" y="2229"/>
                  </a:lnTo>
                  <a:lnTo>
                    <a:pt x="4583" y="2557"/>
                  </a:lnTo>
                  <a:lnTo>
                    <a:pt x="4493" y="2557"/>
                  </a:lnTo>
                  <a:lnTo>
                    <a:pt x="4493" y="2229"/>
                  </a:lnTo>
                  <a:lnTo>
                    <a:pt x="4417" y="2229"/>
                  </a:lnTo>
                  <a:lnTo>
                    <a:pt x="4417" y="2152"/>
                  </a:lnTo>
                  <a:lnTo>
                    <a:pt x="4655" y="2152"/>
                  </a:lnTo>
                  <a:lnTo>
                    <a:pt x="4655" y="2229"/>
                  </a:lnTo>
                  <a:close/>
                  <a:moveTo>
                    <a:pt x="3925" y="2413"/>
                  </a:moveTo>
                  <a:lnTo>
                    <a:pt x="3925" y="2413"/>
                  </a:lnTo>
                  <a:lnTo>
                    <a:pt x="3925" y="2428"/>
                  </a:lnTo>
                  <a:lnTo>
                    <a:pt x="3923" y="2440"/>
                  </a:lnTo>
                  <a:lnTo>
                    <a:pt x="3921" y="2453"/>
                  </a:lnTo>
                  <a:lnTo>
                    <a:pt x="3917" y="2464"/>
                  </a:lnTo>
                  <a:lnTo>
                    <a:pt x="3913" y="2473"/>
                  </a:lnTo>
                  <a:lnTo>
                    <a:pt x="3907" y="2482"/>
                  </a:lnTo>
                  <a:lnTo>
                    <a:pt x="3900" y="2489"/>
                  </a:lnTo>
                  <a:lnTo>
                    <a:pt x="3892" y="2496"/>
                  </a:lnTo>
                  <a:lnTo>
                    <a:pt x="3884" y="2502"/>
                  </a:lnTo>
                  <a:lnTo>
                    <a:pt x="3874" y="2506"/>
                  </a:lnTo>
                  <a:lnTo>
                    <a:pt x="3863" y="2510"/>
                  </a:lnTo>
                  <a:lnTo>
                    <a:pt x="3850" y="2512"/>
                  </a:lnTo>
                  <a:lnTo>
                    <a:pt x="3838" y="2514"/>
                  </a:lnTo>
                  <a:lnTo>
                    <a:pt x="3823" y="2516"/>
                  </a:lnTo>
                  <a:lnTo>
                    <a:pt x="3807" y="2516"/>
                  </a:lnTo>
                  <a:lnTo>
                    <a:pt x="3790" y="2518"/>
                  </a:lnTo>
                  <a:lnTo>
                    <a:pt x="3790" y="2557"/>
                  </a:lnTo>
                  <a:lnTo>
                    <a:pt x="3697" y="2557"/>
                  </a:lnTo>
                  <a:lnTo>
                    <a:pt x="3697" y="2518"/>
                  </a:lnTo>
                  <a:lnTo>
                    <a:pt x="3680" y="2516"/>
                  </a:lnTo>
                  <a:lnTo>
                    <a:pt x="3665" y="2516"/>
                  </a:lnTo>
                  <a:lnTo>
                    <a:pt x="3651" y="2514"/>
                  </a:lnTo>
                  <a:lnTo>
                    <a:pt x="3637" y="2512"/>
                  </a:lnTo>
                  <a:lnTo>
                    <a:pt x="3624" y="2510"/>
                  </a:lnTo>
                  <a:lnTo>
                    <a:pt x="3613" y="2506"/>
                  </a:lnTo>
                  <a:lnTo>
                    <a:pt x="3604" y="2502"/>
                  </a:lnTo>
                  <a:lnTo>
                    <a:pt x="3595" y="2496"/>
                  </a:lnTo>
                  <a:lnTo>
                    <a:pt x="3587" y="2489"/>
                  </a:lnTo>
                  <a:lnTo>
                    <a:pt x="3580" y="2482"/>
                  </a:lnTo>
                  <a:lnTo>
                    <a:pt x="3574" y="2473"/>
                  </a:lnTo>
                  <a:lnTo>
                    <a:pt x="3570" y="2464"/>
                  </a:lnTo>
                  <a:lnTo>
                    <a:pt x="3566" y="2453"/>
                  </a:lnTo>
                  <a:lnTo>
                    <a:pt x="3564" y="2440"/>
                  </a:lnTo>
                  <a:lnTo>
                    <a:pt x="3562" y="2428"/>
                  </a:lnTo>
                  <a:lnTo>
                    <a:pt x="3562" y="2413"/>
                  </a:lnTo>
                  <a:lnTo>
                    <a:pt x="3562" y="2286"/>
                  </a:lnTo>
                  <a:lnTo>
                    <a:pt x="3562" y="2271"/>
                  </a:lnTo>
                  <a:lnTo>
                    <a:pt x="3564" y="2259"/>
                  </a:lnTo>
                  <a:lnTo>
                    <a:pt x="3566" y="2246"/>
                  </a:lnTo>
                  <a:lnTo>
                    <a:pt x="3570" y="2235"/>
                  </a:lnTo>
                  <a:lnTo>
                    <a:pt x="3574" y="2226"/>
                  </a:lnTo>
                  <a:lnTo>
                    <a:pt x="3580" y="2218"/>
                  </a:lnTo>
                  <a:lnTo>
                    <a:pt x="3586" y="2210"/>
                  </a:lnTo>
                  <a:lnTo>
                    <a:pt x="3594" y="2204"/>
                  </a:lnTo>
                  <a:lnTo>
                    <a:pt x="3603" y="2198"/>
                  </a:lnTo>
                  <a:lnTo>
                    <a:pt x="3613" y="2194"/>
                  </a:lnTo>
                  <a:lnTo>
                    <a:pt x="3623" y="2190"/>
                  </a:lnTo>
                  <a:lnTo>
                    <a:pt x="3636" y="2187"/>
                  </a:lnTo>
                  <a:lnTo>
                    <a:pt x="3649" y="2185"/>
                  </a:lnTo>
                  <a:lnTo>
                    <a:pt x="3664" y="2184"/>
                  </a:lnTo>
                  <a:lnTo>
                    <a:pt x="3680" y="2182"/>
                  </a:lnTo>
                  <a:lnTo>
                    <a:pt x="3697" y="2182"/>
                  </a:lnTo>
                  <a:lnTo>
                    <a:pt x="3697" y="2152"/>
                  </a:lnTo>
                  <a:lnTo>
                    <a:pt x="3790" y="2152"/>
                  </a:lnTo>
                  <a:lnTo>
                    <a:pt x="3790" y="2182"/>
                  </a:lnTo>
                  <a:lnTo>
                    <a:pt x="3807" y="2182"/>
                  </a:lnTo>
                  <a:lnTo>
                    <a:pt x="3823" y="2184"/>
                  </a:lnTo>
                  <a:lnTo>
                    <a:pt x="3838" y="2185"/>
                  </a:lnTo>
                  <a:lnTo>
                    <a:pt x="3851" y="2187"/>
                  </a:lnTo>
                  <a:lnTo>
                    <a:pt x="3864" y="2190"/>
                  </a:lnTo>
                  <a:lnTo>
                    <a:pt x="3874" y="2194"/>
                  </a:lnTo>
                  <a:lnTo>
                    <a:pt x="3884" y="2198"/>
                  </a:lnTo>
                  <a:lnTo>
                    <a:pt x="3893" y="2204"/>
                  </a:lnTo>
                  <a:lnTo>
                    <a:pt x="3901" y="2210"/>
                  </a:lnTo>
                  <a:lnTo>
                    <a:pt x="3907" y="2218"/>
                  </a:lnTo>
                  <a:lnTo>
                    <a:pt x="3913" y="2226"/>
                  </a:lnTo>
                  <a:lnTo>
                    <a:pt x="3917" y="2235"/>
                  </a:lnTo>
                  <a:lnTo>
                    <a:pt x="3921" y="2246"/>
                  </a:lnTo>
                  <a:lnTo>
                    <a:pt x="3923" y="2259"/>
                  </a:lnTo>
                  <a:lnTo>
                    <a:pt x="3925" y="2271"/>
                  </a:lnTo>
                  <a:lnTo>
                    <a:pt x="3925" y="2286"/>
                  </a:lnTo>
                  <a:lnTo>
                    <a:pt x="3925" y="2413"/>
                  </a:lnTo>
                  <a:close/>
                  <a:moveTo>
                    <a:pt x="3065" y="2229"/>
                  </a:moveTo>
                  <a:lnTo>
                    <a:pt x="3065" y="2229"/>
                  </a:lnTo>
                  <a:lnTo>
                    <a:pt x="2936" y="2229"/>
                  </a:lnTo>
                  <a:lnTo>
                    <a:pt x="2936" y="2309"/>
                  </a:lnTo>
                  <a:lnTo>
                    <a:pt x="3052" y="2309"/>
                  </a:lnTo>
                  <a:lnTo>
                    <a:pt x="3052" y="2385"/>
                  </a:lnTo>
                  <a:lnTo>
                    <a:pt x="2936" y="2385"/>
                  </a:lnTo>
                  <a:lnTo>
                    <a:pt x="2936" y="2480"/>
                  </a:lnTo>
                  <a:lnTo>
                    <a:pt x="3065" y="2480"/>
                  </a:lnTo>
                  <a:lnTo>
                    <a:pt x="3065" y="2557"/>
                  </a:lnTo>
                  <a:lnTo>
                    <a:pt x="2838" y="2557"/>
                  </a:lnTo>
                  <a:lnTo>
                    <a:pt x="2838" y="2152"/>
                  </a:lnTo>
                  <a:lnTo>
                    <a:pt x="3065" y="2152"/>
                  </a:lnTo>
                  <a:lnTo>
                    <a:pt x="3065" y="2229"/>
                  </a:lnTo>
                  <a:close/>
                  <a:moveTo>
                    <a:pt x="2278" y="2557"/>
                  </a:moveTo>
                  <a:lnTo>
                    <a:pt x="2278" y="2557"/>
                  </a:lnTo>
                  <a:lnTo>
                    <a:pt x="2183" y="2557"/>
                  </a:lnTo>
                  <a:lnTo>
                    <a:pt x="2183" y="2380"/>
                  </a:lnTo>
                  <a:lnTo>
                    <a:pt x="2134" y="2380"/>
                  </a:lnTo>
                  <a:lnTo>
                    <a:pt x="2134" y="2557"/>
                  </a:lnTo>
                  <a:lnTo>
                    <a:pt x="2040" y="2557"/>
                  </a:lnTo>
                  <a:lnTo>
                    <a:pt x="2040" y="2152"/>
                  </a:lnTo>
                  <a:lnTo>
                    <a:pt x="2134" y="2152"/>
                  </a:lnTo>
                  <a:lnTo>
                    <a:pt x="2134" y="2309"/>
                  </a:lnTo>
                  <a:lnTo>
                    <a:pt x="2183" y="2309"/>
                  </a:lnTo>
                  <a:lnTo>
                    <a:pt x="2183" y="2152"/>
                  </a:lnTo>
                  <a:lnTo>
                    <a:pt x="2278" y="2152"/>
                  </a:lnTo>
                  <a:lnTo>
                    <a:pt x="2278" y="2557"/>
                  </a:lnTo>
                  <a:close/>
                  <a:moveTo>
                    <a:pt x="5615" y="2052"/>
                  </a:moveTo>
                  <a:lnTo>
                    <a:pt x="5615" y="2052"/>
                  </a:lnTo>
                  <a:lnTo>
                    <a:pt x="1872" y="2052"/>
                  </a:lnTo>
                  <a:lnTo>
                    <a:pt x="1872" y="2673"/>
                  </a:lnTo>
                  <a:lnTo>
                    <a:pt x="5615" y="2673"/>
                  </a:lnTo>
                  <a:lnTo>
                    <a:pt x="5615" y="2052"/>
                  </a:lnTo>
                  <a:close/>
                  <a:moveTo>
                    <a:pt x="3654" y="2284"/>
                  </a:moveTo>
                  <a:lnTo>
                    <a:pt x="3654" y="2284"/>
                  </a:lnTo>
                  <a:lnTo>
                    <a:pt x="3654" y="2413"/>
                  </a:lnTo>
                  <a:lnTo>
                    <a:pt x="3654" y="2421"/>
                  </a:lnTo>
                  <a:lnTo>
                    <a:pt x="3655" y="2428"/>
                  </a:lnTo>
                  <a:lnTo>
                    <a:pt x="3657" y="2434"/>
                  </a:lnTo>
                  <a:lnTo>
                    <a:pt x="3660" y="2437"/>
                  </a:lnTo>
                  <a:lnTo>
                    <a:pt x="3664" y="2439"/>
                  </a:lnTo>
                  <a:lnTo>
                    <a:pt x="3669" y="2441"/>
                  </a:lnTo>
                  <a:lnTo>
                    <a:pt x="3676" y="2443"/>
                  </a:lnTo>
                  <a:lnTo>
                    <a:pt x="3683" y="2443"/>
                  </a:lnTo>
                  <a:lnTo>
                    <a:pt x="3697" y="2443"/>
                  </a:lnTo>
                  <a:lnTo>
                    <a:pt x="3697" y="2254"/>
                  </a:lnTo>
                  <a:lnTo>
                    <a:pt x="3683" y="2254"/>
                  </a:lnTo>
                  <a:lnTo>
                    <a:pt x="3676" y="2254"/>
                  </a:lnTo>
                  <a:lnTo>
                    <a:pt x="3669" y="2255"/>
                  </a:lnTo>
                  <a:lnTo>
                    <a:pt x="3664" y="2257"/>
                  </a:lnTo>
                  <a:lnTo>
                    <a:pt x="3660" y="2260"/>
                  </a:lnTo>
                  <a:lnTo>
                    <a:pt x="3657" y="2264"/>
                  </a:lnTo>
                  <a:lnTo>
                    <a:pt x="3655" y="2269"/>
                  </a:lnTo>
                  <a:lnTo>
                    <a:pt x="3654" y="2276"/>
                  </a:lnTo>
                  <a:lnTo>
                    <a:pt x="3654" y="2284"/>
                  </a:lnTo>
                  <a:close/>
                  <a:moveTo>
                    <a:pt x="5324" y="2380"/>
                  </a:moveTo>
                  <a:lnTo>
                    <a:pt x="5324" y="2380"/>
                  </a:lnTo>
                  <a:lnTo>
                    <a:pt x="5304" y="2380"/>
                  </a:lnTo>
                  <a:lnTo>
                    <a:pt x="5304" y="2486"/>
                  </a:lnTo>
                  <a:lnTo>
                    <a:pt x="5324" y="2486"/>
                  </a:lnTo>
                  <a:lnTo>
                    <a:pt x="5332" y="2486"/>
                  </a:lnTo>
                  <a:lnTo>
                    <a:pt x="5338" y="2485"/>
                  </a:lnTo>
                  <a:lnTo>
                    <a:pt x="5343" y="2482"/>
                  </a:lnTo>
                  <a:lnTo>
                    <a:pt x="5347" y="2480"/>
                  </a:lnTo>
                  <a:lnTo>
                    <a:pt x="5349" y="2477"/>
                  </a:lnTo>
                  <a:lnTo>
                    <a:pt x="5352" y="2471"/>
                  </a:lnTo>
                  <a:lnTo>
                    <a:pt x="5352" y="2465"/>
                  </a:lnTo>
                  <a:lnTo>
                    <a:pt x="5353" y="2457"/>
                  </a:lnTo>
                  <a:lnTo>
                    <a:pt x="5353" y="2409"/>
                  </a:lnTo>
                  <a:lnTo>
                    <a:pt x="5352" y="2401"/>
                  </a:lnTo>
                  <a:lnTo>
                    <a:pt x="5352" y="2394"/>
                  </a:lnTo>
                  <a:lnTo>
                    <a:pt x="5349" y="2389"/>
                  </a:lnTo>
                  <a:lnTo>
                    <a:pt x="5347" y="2386"/>
                  </a:lnTo>
                  <a:lnTo>
                    <a:pt x="5343" y="2382"/>
                  </a:lnTo>
                  <a:lnTo>
                    <a:pt x="5338" y="2381"/>
                  </a:lnTo>
                  <a:lnTo>
                    <a:pt x="5332" y="2380"/>
                  </a:lnTo>
                  <a:lnTo>
                    <a:pt x="5324" y="2380"/>
                  </a:lnTo>
                  <a:close/>
                  <a:moveTo>
                    <a:pt x="3805" y="2254"/>
                  </a:moveTo>
                  <a:lnTo>
                    <a:pt x="3805" y="2254"/>
                  </a:lnTo>
                  <a:lnTo>
                    <a:pt x="3790" y="2254"/>
                  </a:lnTo>
                  <a:lnTo>
                    <a:pt x="3790" y="2443"/>
                  </a:lnTo>
                  <a:lnTo>
                    <a:pt x="3805" y="2443"/>
                  </a:lnTo>
                  <a:lnTo>
                    <a:pt x="3811" y="2443"/>
                  </a:lnTo>
                  <a:lnTo>
                    <a:pt x="3818" y="2441"/>
                  </a:lnTo>
                  <a:lnTo>
                    <a:pt x="3823" y="2439"/>
                  </a:lnTo>
                  <a:lnTo>
                    <a:pt x="3827" y="2437"/>
                  </a:lnTo>
                  <a:lnTo>
                    <a:pt x="3830" y="2432"/>
                  </a:lnTo>
                  <a:lnTo>
                    <a:pt x="3832" y="2428"/>
                  </a:lnTo>
                  <a:lnTo>
                    <a:pt x="3833" y="2421"/>
                  </a:lnTo>
                  <a:lnTo>
                    <a:pt x="3833" y="2413"/>
                  </a:lnTo>
                  <a:lnTo>
                    <a:pt x="3833" y="2282"/>
                  </a:lnTo>
                  <a:lnTo>
                    <a:pt x="3833" y="2274"/>
                  </a:lnTo>
                  <a:lnTo>
                    <a:pt x="3832" y="2268"/>
                  </a:lnTo>
                  <a:lnTo>
                    <a:pt x="3830" y="2263"/>
                  </a:lnTo>
                  <a:lnTo>
                    <a:pt x="3827" y="2260"/>
                  </a:lnTo>
                  <a:lnTo>
                    <a:pt x="3823" y="2256"/>
                  </a:lnTo>
                  <a:lnTo>
                    <a:pt x="3818" y="2255"/>
                  </a:lnTo>
                  <a:lnTo>
                    <a:pt x="3811" y="2254"/>
                  </a:lnTo>
                  <a:lnTo>
                    <a:pt x="3805" y="2254"/>
                  </a:lnTo>
                  <a:close/>
                  <a:moveTo>
                    <a:pt x="1286" y="1627"/>
                  </a:moveTo>
                  <a:lnTo>
                    <a:pt x="1286" y="1627"/>
                  </a:lnTo>
                  <a:lnTo>
                    <a:pt x="1275" y="1604"/>
                  </a:lnTo>
                  <a:lnTo>
                    <a:pt x="1263" y="1578"/>
                  </a:lnTo>
                  <a:lnTo>
                    <a:pt x="1251" y="1547"/>
                  </a:lnTo>
                  <a:lnTo>
                    <a:pt x="1239" y="1512"/>
                  </a:lnTo>
                  <a:lnTo>
                    <a:pt x="1234" y="1492"/>
                  </a:lnTo>
                  <a:lnTo>
                    <a:pt x="1229" y="1471"/>
                  </a:lnTo>
                  <a:lnTo>
                    <a:pt x="1224" y="1450"/>
                  </a:lnTo>
                  <a:lnTo>
                    <a:pt x="1220" y="1426"/>
                  </a:lnTo>
                  <a:lnTo>
                    <a:pt x="1216" y="1402"/>
                  </a:lnTo>
                  <a:lnTo>
                    <a:pt x="1214" y="1376"/>
                  </a:lnTo>
                  <a:lnTo>
                    <a:pt x="1212" y="1349"/>
                  </a:lnTo>
                  <a:lnTo>
                    <a:pt x="1211" y="1320"/>
                  </a:lnTo>
                  <a:lnTo>
                    <a:pt x="1211" y="1293"/>
                  </a:lnTo>
                  <a:lnTo>
                    <a:pt x="1213" y="1266"/>
                  </a:lnTo>
                  <a:lnTo>
                    <a:pt x="1215" y="1239"/>
                  </a:lnTo>
                  <a:lnTo>
                    <a:pt x="1220" y="1213"/>
                  </a:lnTo>
                  <a:lnTo>
                    <a:pt x="1224" y="1190"/>
                  </a:lnTo>
                  <a:lnTo>
                    <a:pt x="1229" y="1166"/>
                  </a:lnTo>
                  <a:lnTo>
                    <a:pt x="1236" y="1144"/>
                  </a:lnTo>
                  <a:lnTo>
                    <a:pt x="1242" y="1122"/>
                  </a:lnTo>
                  <a:lnTo>
                    <a:pt x="1255" y="1085"/>
                  </a:lnTo>
                  <a:lnTo>
                    <a:pt x="1268" y="1054"/>
                  </a:lnTo>
                  <a:lnTo>
                    <a:pt x="1278" y="1032"/>
                  </a:lnTo>
                  <a:lnTo>
                    <a:pt x="1287" y="1017"/>
                  </a:lnTo>
                  <a:lnTo>
                    <a:pt x="1294" y="1030"/>
                  </a:lnTo>
                  <a:lnTo>
                    <a:pt x="1304" y="1052"/>
                  </a:lnTo>
                  <a:lnTo>
                    <a:pt x="1316" y="1080"/>
                  </a:lnTo>
                  <a:lnTo>
                    <a:pt x="1327" y="1115"/>
                  </a:lnTo>
                  <a:lnTo>
                    <a:pt x="1333" y="1135"/>
                  </a:lnTo>
                  <a:lnTo>
                    <a:pt x="1338" y="1155"/>
                  </a:lnTo>
                  <a:lnTo>
                    <a:pt x="1343" y="1178"/>
                  </a:lnTo>
                  <a:lnTo>
                    <a:pt x="1349" y="1201"/>
                  </a:lnTo>
                  <a:lnTo>
                    <a:pt x="1352" y="1226"/>
                  </a:lnTo>
                  <a:lnTo>
                    <a:pt x="1356" y="1252"/>
                  </a:lnTo>
                  <a:lnTo>
                    <a:pt x="1359" y="1279"/>
                  </a:lnTo>
                  <a:lnTo>
                    <a:pt x="1360" y="1307"/>
                  </a:lnTo>
                  <a:lnTo>
                    <a:pt x="1360" y="1335"/>
                  </a:lnTo>
                  <a:lnTo>
                    <a:pt x="1359" y="1361"/>
                  </a:lnTo>
                  <a:lnTo>
                    <a:pt x="1358" y="1387"/>
                  </a:lnTo>
                  <a:lnTo>
                    <a:pt x="1354" y="1412"/>
                  </a:lnTo>
                  <a:lnTo>
                    <a:pt x="1351" y="1436"/>
                  </a:lnTo>
                  <a:lnTo>
                    <a:pt x="1346" y="1460"/>
                  </a:lnTo>
                  <a:lnTo>
                    <a:pt x="1341" y="1481"/>
                  </a:lnTo>
                  <a:lnTo>
                    <a:pt x="1335" y="1503"/>
                  </a:lnTo>
                  <a:lnTo>
                    <a:pt x="1324" y="1542"/>
                  </a:lnTo>
                  <a:lnTo>
                    <a:pt x="1310" y="1575"/>
                  </a:lnTo>
                  <a:lnTo>
                    <a:pt x="1297" y="1603"/>
                  </a:lnTo>
                  <a:lnTo>
                    <a:pt x="1286" y="1627"/>
                  </a:lnTo>
                  <a:close/>
                  <a:moveTo>
                    <a:pt x="1505" y="482"/>
                  </a:moveTo>
                  <a:lnTo>
                    <a:pt x="1505" y="482"/>
                  </a:lnTo>
                  <a:lnTo>
                    <a:pt x="1493" y="436"/>
                  </a:lnTo>
                  <a:lnTo>
                    <a:pt x="1480" y="392"/>
                  </a:lnTo>
                  <a:lnTo>
                    <a:pt x="1465" y="349"/>
                  </a:lnTo>
                  <a:lnTo>
                    <a:pt x="1449" y="307"/>
                  </a:lnTo>
                  <a:lnTo>
                    <a:pt x="1433" y="267"/>
                  </a:lnTo>
                  <a:lnTo>
                    <a:pt x="1416" y="229"/>
                  </a:lnTo>
                  <a:lnTo>
                    <a:pt x="1399" y="194"/>
                  </a:lnTo>
                  <a:lnTo>
                    <a:pt x="1382" y="160"/>
                  </a:lnTo>
                  <a:lnTo>
                    <a:pt x="1349" y="101"/>
                  </a:lnTo>
                  <a:lnTo>
                    <a:pt x="1320" y="55"/>
                  </a:lnTo>
                  <a:lnTo>
                    <a:pt x="1299" y="20"/>
                  </a:lnTo>
                  <a:lnTo>
                    <a:pt x="1286" y="0"/>
                  </a:lnTo>
                  <a:lnTo>
                    <a:pt x="1271" y="23"/>
                  </a:lnTo>
                  <a:lnTo>
                    <a:pt x="1250" y="58"/>
                  </a:lnTo>
                  <a:lnTo>
                    <a:pt x="1223" y="101"/>
                  </a:lnTo>
                  <a:lnTo>
                    <a:pt x="1195" y="155"/>
                  </a:lnTo>
                  <a:lnTo>
                    <a:pt x="1180" y="183"/>
                  </a:lnTo>
                  <a:lnTo>
                    <a:pt x="1165" y="214"/>
                  </a:lnTo>
                  <a:lnTo>
                    <a:pt x="1150" y="245"/>
                  </a:lnTo>
                  <a:lnTo>
                    <a:pt x="1135" y="278"/>
                  </a:lnTo>
                  <a:lnTo>
                    <a:pt x="1121" y="314"/>
                  </a:lnTo>
                  <a:lnTo>
                    <a:pt x="1108" y="349"/>
                  </a:lnTo>
                  <a:lnTo>
                    <a:pt x="1096" y="385"/>
                  </a:lnTo>
                  <a:lnTo>
                    <a:pt x="1084" y="421"/>
                  </a:lnTo>
                  <a:lnTo>
                    <a:pt x="1073" y="462"/>
                  </a:lnTo>
                  <a:lnTo>
                    <a:pt x="1063" y="503"/>
                  </a:lnTo>
                  <a:lnTo>
                    <a:pt x="1053" y="543"/>
                  </a:lnTo>
                  <a:lnTo>
                    <a:pt x="1047" y="583"/>
                  </a:lnTo>
                  <a:lnTo>
                    <a:pt x="1040" y="621"/>
                  </a:lnTo>
                  <a:lnTo>
                    <a:pt x="1034" y="660"/>
                  </a:lnTo>
                  <a:lnTo>
                    <a:pt x="1029" y="698"/>
                  </a:lnTo>
                  <a:lnTo>
                    <a:pt x="1026" y="736"/>
                  </a:lnTo>
                  <a:lnTo>
                    <a:pt x="1024" y="774"/>
                  </a:lnTo>
                  <a:lnTo>
                    <a:pt x="1023" y="810"/>
                  </a:lnTo>
                  <a:lnTo>
                    <a:pt x="1023" y="848"/>
                  </a:lnTo>
                  <a:lnTo>
                    <a:pt x="1023" y="884"/>
                  </a:lnTo>
                  <a:lnTo>
                    <a:pt x="1024" y="920"/>
                  </a:lnTo>
                  <a:lnTo>
                    <a:pt x="1026" y="957"/>
                  </a:lnTo>
                  <a:lnTo>
                    <a:pt x="1029" y="993"/>
                  </a:lnTo>
                  <a:lnTo>
                    <a:pt x="1033" y="1029"/>
                  </a:lnTo>
                  <a:lnTo>
                    <a:pt x="1037" y="1066"/>
                  </a:lnTo>
                  <a:lnTo>
                    <a:pt x="1043" y="1101"/>
                  </a:lnTo>
                  <a:lnTo>
                    <a:pt x="1051" y="1137"/>
                  </a:lnTo>
                  <a:lnTo>
                    <a:pt x="1058" y="1171"/>
                  </a:lnTo>
                  <a:lnTo>
                    <a:pt x="1067" y="1205"/>
                  </a:lnTo>
                  <a:lnTo>
                    <a:pt x="1075" y="1237"/>
                  </a:lnTo>
                  <a:lnTo>
                    <a:pt x="1084" y="1268"/>
                  </a:lnTo>
                  <a:lnTo>
                    <a:pt x="1093" y="1296"/>
                  </a:lnTo>
                  <a:lnTo>
                    <a:pt x="1109" y="1346"/>
                  </a:lnTo>
                  <a:lnTo>
                    <a:pt x="1123" y="1385"/>
                  </a:lnTo>
                  <a:lnTo>
                    <a:pt x="1133" y="1410"/>
                  </a:lnTo>
                  <a:lnTo>
                    <a:pt x="1137" y="1419"/>
                  </a:lnTo>
                  <a:lnTo>
                    <a:pt x="1154" y="1458"/>
                  </a:lnTo>
                  <a:lnTo>
                    <a:pt x="1172" y="1497"/>
                  </a:lnTo>
                  <a:lnTo>
                    <a:pt x="1191" y="1535"/>
                  </a:lnTo>
                  <a:lnTo>
                    <a:pt x="1212" y="1572"/>
                  </a:lnTo>
                  <a:lnTo>
                    <a:pt x="1232" y="1606"/>
                  </a:lnTo>
                  <a:lnTo>
                    <a:pt x="1252" y="1638"/>
                  </a:lnTo>
                  <a:lnTo>
                    <a:pt x="1270" y="1666"/>
                  </a:lnTo>
                  <a:lnTo>
                    <a:pt x="1287" y="1688"/>
                  </a:lnTo>
                  <a:lnTo>
                    <a:pt x="1300" y="1671"/>
                  </a:lnTo>
                  <a:lnTo>
                    <a:pt x="1313" y="1651"/>
                  </a:lnTo>
                  <a:lnTo>
                    <a:pt x="1329" y="1627"/>
                  </a:lnTo>
                  <a:lnTo>
                    <a:pt x="1345" y="1600"/>
                  </a:lnTo>
                  <a:lnTo>
                    <a:pt x="1364" y="1569"/>
                  </a:lnTo>
                  <a:lnTo>
                    <a:pt x="1381" y="1535"/>
                  </a:lnTo>
                  <a:lnTo>
                    <a:pt x="1400" y="1499"/>
                  </a:lnTo>
                  <a:lnTo>
                    <a:pt x="1418" y="1460"/>
                  </a:lnTo>
                  <a:lnTo>
                    <a:pt x="1436" y="1417"/>
                  </a:lnTo>
                  <a:lnTo>
                    <a:pt x="1454" y="1372"/>
                  </a:lnTo>
                  <a:lnTo>
                    <a:pt x="1471" y="1325"/>
                  </a:lnTo>
                  <a:lnTo>
                    <a:pt x="1487" y="1276"/>
                  </a:lnTo>
                  <a:lnTo>
                    <a:pt x="1501" y="1224"/>
                  </a:lnTo>
                  <a:lnTo>
                    <a:pt x="1515" y="1170"/>
                  </a:lnTo>
                  <a:lnTo>
                    <a:pt x="1521" y="1142"/>
                  </a:lnTo>
                  <a:lnTo>
                    <a:pt x="1527" y="1113"/>
                  </a:lnTo>
                  <a:lnTo>
                    <a:pt x="1531" y="1085"/>
                  </a:lnTo>
                  <a:lnTo>
                    <a:pt x="1536" y="1057"/>
                  </a:lnTo>
                  <a:lnTo>
                    <a:pt x="1540" y="1024"/>
                  </a:lnTo>
                  <a:lnTo>
                    <a:pt x="1544" y="992"/>
                  </a:lnTo>
                  <a:lnTo>
                    <a:pt x="1547" y="960"/>
                  </a:lnTo>
                  <a:lnTo>
                    <a:pt x="1549" y="928"/>
                  </a:lnTo>
                  <a:lnTo>
                    <a:pt x="1550" y="896"/>
                  </a:lnTo>
                  <a:lnTo>
                    <a:pt x="1552" y="863"/>
                  </a:lnTo>
                  <a:lnTo>
                    <a:pt x="1552" y="830"/>
                  </a:lnTo>
                  <a:lnTo>
                    <a:pt x="1550" y="796"/>
                  </a:lnTo>
                  <a:lnTo>
                    <a:pt x="1548" y="762"/>
                  </a:lnTo>
                  <a:lnTo>
                    <a:pt x="1546" y="727"/>
                  </a:lnTo>
                  <a:lnTo>
                    <a:pt x="1541" y="690"/>
                  </a:lnTo>
                  <a:lnTo>
                    <a:pt x="1537" y="652"/>
                  </a:lnTo>
                  <a:lnTo>
                    <a:pt x="1531" y="612"/>
                  </a:lnTo>
                  <a:lnTo>
                    <a:pt x="1523" y="571"/>
                  </a:lnTo>
                  <a:lnTo>
                    <a:pt x="1515" y="527"/>
                  </a:lnTo>
                  <a:lnTo>
                    <a:pt x="1505" y="482"/>
                  </a:lnTo>
                  <a:close/>
                  <a:moveTo>
                    <a:pt x="4050" y="1321"/>
                  </a:moveTo>
                  <a:lnTo>
                    <a:pt x="4050" y="1321"/>
                  </a:lnTo>
                  <a:lnTo>
                    <a:pt x="4050" y="924"/>
                  </a:lnTo>
                  <a:lnTo>
                    <a:pt x="4096" y="924"/>
                  </a:lnTo>
                  <a:lnTo>
                    <a:pt x="4103" y="925"/>
                  </a:lnTo>
                  <a:lnTo>
                    <a:pt x="4110" y="927"/>
                  </a:lnTo>
                  <a:lnTo>
                    <a:pt x="4116" y="930"/>
                  </a:lnTo>
                  <a:lnTo>
                    <a:pt x="4120" y="936"/>
                  </a:lnTo>
                  <a:lnTo>
                    <a:pt x="4125" y="943"/>
                  </a:lnTo>
                  <a:lnTo>
                    <a:pt x="4127" y="951"/>
                  </a:lnTo>
                  <a:lnTo>
                    <a:pt x="4129" y="960"/>
                  </a:lnTo>
                  <a:lnTo>
                    <a:pt x="4131" y="970"/>
                  </a:lnTo>
                  <a:lnTo>
                    <a:pt x="4131" y="1275"/>
                  </a:lnTo>
                  <a:lnTo>
                    <a:pt x="4129" y="1285"/>
                  </a:lnTo>
                  <a:lnTo>
                    <a:pt x="4127" y="1294"/>
                  </a:lnTo>
                  <a:lnTo>
                    <a:pt x="4125" y="1302"/>
                  </a:lnTo>
                  <a:lnTo>
                    <a:pt x="4120" y="1309"/>
                  </a:lnTo>
                  <a:lnTo>
                    <a:pt x="4116" y="1313"/>
                  </a:lnTo>
                  <a:lnTo>
                    <a:pt x="4110" y="1318"/>
                  </a:lnTo>
                  <a:lnTo>
                    <a:pt x="4103" y="1320"/>
                  </a:lnTo>
                  <a:lnTo>
                    <a:pt x="4096" y="1321"/>
                  </a:lnTo>
                  <a:lnTo>
                    <a:pt x="4050" y="1321"/>
                  </a:lnTo>
                  <a:close/>
                  <a:moveTo>
                    <a:pt x="2440" y="1391"/>
                  </a:moveTo>
                  <a:lnTo>
                    <a:pt x="2440" y="1391"/>
                  </a:lnTo>
                  <a:lnTo>
                    <a:pt x="2472" y="924"/>
                  </a:lnTo>
                  <a:lnTo>
                    <a:pt x="2481" y="924"/>
                  </a:lnTo>
                  <a:lnTo>
                    <a:pt x="2512" y="1391"/>
                  </a:lnTo>
                  <a:lnTo>
                    <a:pt x="2440" y="1391"/>
                  </a:lnTo>
                  <a:close/>
                  <a:moveTo>
                    <a:pt x="4674" y="808"/>
                  </a:moveTo>
                  <a:lnTo>
                    <a:pt x="4674" y="808"/>
                  </a:lnTo>
                  <a:lnTo>
                    <a:pt x="4525" y="808"/>
                  </a:lnTo>
                  <a:lnTo>
                    <a:pt x="4514" y="808"/>
                  </a:lnTo>
                  <a:lnTo>
                    <a:pt x="4503" y="809"/>
                  </a:lnTo>
                  <a:lnTo>
                    <a:pt x="4493" y="810"/>
                  </a:lnTo>
                  <a:lnTo>
                    <a:pt x="4483" y="812"/>
                  </a:lnTo>
                  <a:lnTo>
                    <a:pt x="4475" y="815"/>
                  </a:lnTo>
                  <a:lnTo>
                    <a:pt x="4466" y="818"/>
                  </a:lnTo>
                  <a:lnTo>
                    <a:pt x="4459" y="821"/>
                  </a:lnTo>
                  <a:lnTo>
                    <a:pt x="4451" y="825"/>
                  </a:lnTo>
                  <a:lnTo>
                    <a:pt x="4444" y="829"/>
                  </a:lnTo>
                  <a:lnTo>
                    <a:pt x="4438" y="834"/>
                  </a:lnTo>
                  <a:lnTo>
                    <a:pt x="4433" y="838"/>
                  </a:lnTo>
                  <a:lnTo>
                    <a:pt x="4428" y="843"/>
                  </a:lnTo>
                  <a:lnTo>
                    <a:pt x="4419" y="854"/>
                  </a:lnTo>
                  <a:lnTo>
                    <a:pt x="4411" y="867"/>
                  </a:lnTo>
                  <a:lnTo>
                    <a:pt x="4405" y="879"/>
                  </a:lnTo>
                  <a:lnTo>
                    <a:pt x="4401" y="893"/>
                  </a:lnTo>
                  <a:lnTo>
                    <a:pt x="4397" y="907"/>
                  </a:lnTo>
                  <a:lnTo>
                    <a:pt x="4395" y="921"/>
                  </a:lnTo>
                  <a:lnTo>
                    <a:pt x="4393" y="949"/>
                  </a:lnTo>
                  <a:lnTo>
                    <a:pt x="4392" y="975"/>
                  </a:lnTo>
                  <a:lnTo>
                    <a:pt x="4392" y="1574"/>
                  </a:lnTo>
                  <a:lnTo>
                    <a:pt x="4393" y="1600"/>
                  </a:lnTo>
                  <a:lnTo>
                    <a:pt x="4395" y="1628"/>
                  </a:lnTo>
                  <a:lnTo>
                    <a:pt x="4397" y="1642"/>
                  </a:lnTo>
                  <a:lnTo>
                    <a:pt x="4401" y="1655"/>
                  </a:lnTo>
                  <a:lnTo>
                    <a:pt x="4405" y="1669"/>
                  </a:lnTo>
                  <a:lnTo>
                    <a:pt x="4411" y="1681"/>
                  </a:lnTo>
                  <a:lnTo>
                    <a:pt x="4419" y="1694"/>
                  </a:lnTo>
                  <a:lnTo>
                    <a:pt x="4428" y="1705"/>
                  </a:lnTo>
                  <a:lnTo>
                    <a:pt x="4433" y="1710"/>
                  </a:lnTo>
                  <a:lnTo>
                    <a:pt x="4438" y="1716"/>
                  </a:lnTo>
                  <a:lnTo>
                    <a:pt x="4444" y="1720"/>
                  </a:lnTo>
                  <a:lnTo>
                    <a:pt x="4451" y="1723"/>
                  </a:lnTo>
                  <a:lnTo>
                    <a:pt x="4459" y="1728"/>
                  </a:lnTo>
                  <a:lnTo>
                    <a:pt x="4466" y="1731"/>
                  </a:lnTo>
                  <a:lnTo>
                    <a:pt x="4475" y="1734"/>
                  </a:lnTo>
                  <a:lnTo>
                    <a:pt x="4483" y="1736"/>
                  </a:lnTo>
                  <a:lnTo>
                    <a:pt x="4493" y="1738"/>
                  </a:lnTo>
                  <a:lnTo>
                    <a:pt x="4503" y="1739"/>
                  </a:lnTo>
                  <a:lnTo>
                    <a:pt x="4514" y="1741"/>
                  </a:lnTo>
                  <a:lnTo>
                    <a:pt x="4525" y="1741"/>
                  </a:lnTo>
                  <a:lnTo>
                    <a:pt x="4674" y="1741"/>
                  </a:lnTo>
                  <a:lnTo>
                    <a:pt x="4686" y="1741"/>
                  </a:lnTo>
                  <a:lnTo>
                    <a:pt x="4696" y="1739"/>
                  </a:lnTo>
                  <a:lnTo>
                    <a:pt x="4706" y="1738"/>
                  </a:lnTo>
                  <a:lnTo>
                    <a:pt x="4715" y="1736"/>
                  </a:lnTo>
                  <a:lnTo>
                    <a:pt x="4725" y="1734"/>
                  </a:lnTo>
                  <a:lnTo>
                    <a:pt x="4734" y="1731"/>
                  </a:lnTo>
                  <a:lnTo>
                    <a:pt x="4741" y="1728"/>
                  </a:lnTo>
                  <a:lnTo>
                    <a:pt x="4749" y="1723"/>
                  </a:lnTo>
                  <a:lnTo>
                    <a:pt x="4754" y="1720"/>
                  </a:lnTo>
                  <a:lnTo>
                    <a:pt x="4761" y="1716"/>
                  </a:lnTo>
                  <a:lnTo>
                    <a:pt x="4767" y="1710"/>
                  </a:lnTo>
                  <a:lnTo>
                    <a:pt x="4771" y="1705"/>
                  </a:lnTo>
                  <a:lnTo>
                    <a:pt x="4780" y="1694"/>
                  </a:lnTo>
                  <a:lnTo>
                    <a:pt x="4788" y="1681"/>
                  </a:lnTo>
                  <a:lnTo>
                    <a:pt x="4794" y="1669"/>
                  </a:lnTo>
                  <a:lnTo>
                    <a:pt x="4799" y="1655"/>
                  </a:lnTo>
                  <a:lnTo>
                    <a:pt x="4802" y="1642"/>
                  </a:lnTo>
                  <a:lnTo>
                    <a:pt x="4804" y="1628"/>
                  </a:lnTo>
                  <a:lnTo>
                    <a:pt x="4807" y="1600"/>
                  </a:lnTo>
                  <a:lnTo>
                    <a:pt x="4808" y="1574"/>
                  </a:lnTo>
                  <a:lnTo>
                    <a:pt x="4808" y="975"/>
                  </a:lnTo>
                  <a:lnTo>
                    <a:pt x="4807" y="949"/>
                  </a:lnTo>
                  <a:lnTo>
                    <a:pt x="4804" y="921"/>
                  </a:lnTo>
                  <a:lnTo>
                    <a:pt x="4802" y="907"/>
                  </a:lnTo>
                  <a:lnTo>
                    <a:pt x="4799" y="893"/>
                  </a:lnTo>
                  <a:lnTo>
                    <a:pt x="4794" y="879"/>
                  </a:lnTo>
                  <a:lnTo>
                    <a:pt x="4788" y="867"/>
                  </a:lnTo>
                  <a:lnTo>
                    <a:pt x="4780" y="854"/>
                  </a:lnTo>
                  <a:lnTo>
                    <a:pt x="4771" y="843"/>
                  </a:lnTo>
                  <a:lnTo>
                    <a:pt x="4767" y="838"/>
                  </a:lnTo>
                  <a:lnTo>
                    <a:pt x="4761" y="834"/>
                  </a:lnTo>
                  <a:lnTo>
                    <a:pt x="4754" y="829"/>
                  </a:lnTo>
                  <a:lnTo>
                    <a:pt x="4749" y="825"/>
                  </a:lnTo>
                  <a:lnTo>
                    <a:pt x="4741" y="821"/>
                  </a:lnTo>
                  <a:lnTo>
                    <a:pt x="4734" y="818"/>
                  </a:lnTo>
                  <a:lnTo>
                    <a:pt x="4725" y="815"/>
                  </a:lnTo>
                  <a:lnTo>
                    <a:pt x="4715" y="812"/>
                  </a:lnTo>
                  <a:lnTo>
                    <a:pt x="4706" y="810"/>
                  </a:lnTo>
                  <a:lnTo>
                    <a:pt x="4696" y="809"/>
                  </a:lnTo>
                  <a:lnTo>
                    <a:pt x="4686" y="808"/>
                  </a:lnTo>
                  <a:lnTo>
                    <a:pt x="4674" y="808"/>
                  </a:lnTo>
                  <a:close/>
                </a:path>
              </a:pathLst>
            </a:custGeom>
            <a:solidFill>
              <a:srgbClr val="0073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" name="Freeform 7"/>
            <p:cNvSpPr>
              <a:spLocks noEditPoints="1"/>
            </p:cNvSpPr>
            <p:nvPr/>
          </p:nvSpPr>
          <p:spPr bwMode="auto">
            <a:xfrm>
              <a:off x="6783958" y="1655566"/>
              <a:ext cx="585788" cy="549275"/>
            </a:xfrm>
            <a:custGeom>
              <a:avLst/>
              <a:gdLst>
                <a:gd name="T0" fmla="*/ 1029 w 2583"/>
                <a:gd name="T1" fmla="*/ 52 h 2418"/>
                <a:gd name="T2" fmla="*/ 712 w 2583"/>
                <a:gd name="T3" fmla="*/ 166 h 2418"/>
                <a:gd name="T4" fmla="*/ 434 w 2583"/>
                <a:gd name="T5" fmla="*/ 333 h 2418"/>
                <a:gd name="T6" fmla="*/ 210 w 2583"/>
                <a:gd name="T7" fmla="*/ 544 h 2418"/>
                <a:gd name="T8" fmla="*/ 61 w 2583"/>
                <a:gd name="T9" fmla="*/ 792 h 2418"/>
                <a:gd name="T10" fmla="*/ 0 w 2583"/>
                <a:gd name="T11" fmla="*/ 1069 h 2418"/>
                <a:gd name="T12" fmla="*/ 40 w 2583"/>
                <a:gd name="T13" fmla="*/ 1362 h 2418"/>
                <a:gd name="T14" fmla="*/ 135 w 2583"/>
                <a:gd name="T15" fmla="*/ 1643 h 2418"/>
                <a:gd name="T16" fmla="*/ 269 w 2583"/>
                <a:gd name="T17" fmla="*/ 1895 h 2418"/>
                <a:gd name="T18" fmla="*/ 447 w 2583"/>
                <a:gd name="T19" fmla="*/ 2109 h 2418"/>
                <a:gd name="T20" fmla="*/ 667 w 2583"/>
                <a:gd name="T21" fmla="*/ 2274 h 2418"/>
                <a:gd name="T22" fmla="*/ 931 w 2583"/>
                <a:gd name="T23" fmla="*/ 2379 h 2418"/>
                <a:gd name="T24" fmla="*/ 1240 w 2583"/>
                <a:gd name="T25" fmla="*/ 2418 h 2418"/>
                <a:gd name="T26" fmla="*/ 1557 w 2583"/>
                <a:gd name="T27" fmla="*/ 2366 h 2418"/>
                <a:gd name="T28" fmla="*/ 1843 w 2583"/>
                <a:gd name="T29" fmla="*/ 2229 h 2418"/>
                <a:gd name="T30" fmla="*/ 2092 w 2583"/>
                <a:gd name="T31" fmla="*/ 2030 h 2418"/>
                <a:gd name="T32" fmla="*/ 2298 w 2583"/>
                <a:gd name="T33" fmla="*/ 1797 h 2418"/>
                <a:gd name="T34" fmla="*/ 2452 w 2583"/>
                <a:gd name="T35" fmla="*/ 1554 h 2418"/>
                <a:gd name="T36" fmla="*/ 2547 w 2583"/>
                <a:gd name="T37" fmla="*/ 1326 h 2418"/>
                <a:gd name="T38" fmla="*/ 2583 w 2583"/>
                <a:gd name="T39" fmla="*/ 1066 h 2418"/>
                <a:gd name="T40" fmla="*/ 2521 w 2583"/>
                <a:gd name="T41" fmla="*/ 774 h 2418"/>
                <a:gd name="T42" fmla="*/ 2371 w 2583"/>
                <a:gd name="T43" fmla="*/ 505 h 2418"/>
                <a:gd name="T44" fmla="*/ 2147 w 2583"/>
                <a:gd name="T45" fmla="*/ 276 h 2418"/>
                <a:gd name="T46" fmla="*/ 1871 w 2583"/>
                <a:gd name="T47" fmla="*/ 106 h 2418"/>
                <a:gd name="T48" fmla="*/ 1560 w 2583"/>
                <a:gd name="T49" fmla="*/ 13 h 2418"/>
                <a:gd name="T50" fmla="*/ 2295 w 2583"/>
                <a:gd name="T51" fmla="*/ 1161 h 2418"/>
                <a:gd name="T52" fmla="*/ 2251 w 2583"/>
                <a:gd name="T53" fmla="*/ 1308 h 2418"/>
                <a:gd name="T54" fmla="*/ 2147 w 2583"/>
                <a:gd name="T55" fmla="*/ 1521 h 2418"/>
                <a:gd name="T56" fmla="*/ 1996 w 2583"/>
                <a:gd name="T57" fmla="*/ 1744 h 2418"/>
                <a:gd name="T58" fmla="*/ 1805 w 2583"/>
                <a:gd name="T59" fmla="*/ 1951 h 2418"/>
                <a:gd name="T60" fmla="*/ 1584 w 2583"/>
                <a:gd name="T61" fmla="*/ 2117 h 2418"/>
                <a:gd name="T62" fmla="*/ 1340 w 2583"/>
                <a:gd name="T63" fmla="*/ 2217 h 2418"/>
                <a:gd name="T64" fmla="*/ 1087 w 2583"/>
                <a:gd name="T65" fmla="*/ 2229 h 2418"/>
                <a:gd name="T66" fmla="*/ 867 w 2583"/>
                <a:gd name="T67" fmla="*/ 2168 h 2418"/>
                <a:gd name="T68" fmla="*/ 687 w 2583"/>
                <a:gd name="T69" fmla="*/ 2050 h 2418"/>
                <a:gd name="T70" fmla="*/ 542 w 2583"/>
                <a:gd name="T71" fmla="*/ 1883 h 2418"/>
                <a:gd name="T72" fmla="*/ 429 w 2583"/>
                <a:gd name="T73" fmla="*/ 1678 h 2418"/>
                <a:gd name="T74" fmla="*/ 347 w 2583"/>
                <a:gd name="T75" fmla="*/ 1446 h 2418"/>
                <a:gd name="T76" fmla="*/ 290 w 2583"/>
                <a:gd name="T77" fmla="*/ 1198 h 2418"/>
                <a:gd name="T78" fmla="*/ 285 w 2583"/>
                <a:gd name="T79" fmla="*/ 954 h 2418"/>
                <a:gd name="T80" fmla="*/ 354 w 2583"/>
                <a:gd name="T81" fmla="*/ 735 h 2418"/>
                <a:gd name="T82" fmla="*/ 486 w 2583"/>
                <a:gd name="T83" fmla="*/ 545 h 2418"/>
                <a:gd name="T84" fmla="*/ 668 w 2583"/>
                <a:gd name="T85" fmla="*/ 391 h 2418"/>
                <a:gd name="T86" fmla="*/ 891 w 2583"/>
                <a:gd name="T87" fmla="*/ 275 h 2418"/>
                <a:gd name="T88" fmla="*/ 1140 w 2583"/>
                <a:gd name="T89" fmla="*/ 202 h 2418"/>
                <a:gd name="T90" fmla="*/ 1402 w 2583"/>
                <a:gd name="T91" fmla="*/ 185 h 2418"/>
                <a:gd name="T92" fmla="*/ 1656 w 2583"/>
                <a:gd name="T93" fmla="*/ 239 h 2418"/>
                <a:gd name="T94" fmla="*/ 1890 w 2583"/>
                <a:gd name="T95" fmla="*/ 355 h 2418"/>
                <a:gd name="T96" fmla="*/ 2087 w 2583"/>
                <a:gd name="T97" fmla="*/ 522 h 2418"/>
                <a:gd name="T98" fmla="*/ 2229 w 2583"/>
                <a:gd name="T99" fmla="*/ 727 h 2418"/>
                <a:gd name="T100" fmla="*/ 2301 w 2583"/>
                <a:gd name="T101" fmla="*/ 961 h 2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583" h="2418">
                  <a:moveTo>
                    <a:pt x="1299" y="5"/>
                  </a:moveTo>
                  <a:lnTo>
                    <a:pt x="1231" y="13"/>
                  </a:lnTo>
                  <a:lnTo>
                    <a:pt x="1163" y="24"/>
                  </a:lnTo>
                  <a:lnTo>
                    <a:pt x="1096" y="37"/>
                  </a:lnTo>
                  <a:lnTo>
                    <a:pt x="1029" y="52"/>
                  </a:lnTo>
                  <a:lnTo>
                    <a:pt x="964" y="71"/>
                  </a:lnTo>
                  <a:lnTo>
                    <a:pt x="899" y="91"/>
                  </a:lnTo>
                  <a:lnTo>
                    <a:pt x="835" y="114"/>
                  </a:lnTo>
                  <a:lnTo>
                    <a:pt x="773" y="139"/>
                  </a:lnTo>
                  <a:lnTo>
                    <a:pt x="712" y="166"/>
                  </a:lnTo>
                  <a:lnTo>
                    <a:pt x="652" y="196"/>
                  </a:lnTo>
                  <a:lnTo>
                    <a:pt x="595" y="227"/>
                  </a:lnTo>
                  <a:lnTo>
                    <a:pt x="540" y="260"/>
                  </a:lnTo>
                  <a:lnTo>
                    <a:pt x="485" y="296"/>
                  </a:lnTo>
                  <a:lnTo>
                    <a:pt x="434" y="333"/>
                  </a:lnTo>
                  <a:lnTo>
                    <a:pt x="385" y="372"/>
                  </a:lnTo>
                  <a:lnTo>
                    <a:pt x="337" y="413"/>
                  </a:lnTo>
                  <a:lnTo>
                    <a:pt x="292" y="456"/>
                  </a:lnTo>
                  <a:lnTo>
                    <a:pt x="250" y="499"/>
                  </a:lnTo>
                  <a:lnTo>
                    <a:pt x="210" y="544"/>
                  </a:lnTo>
                  <a:lnTo>
                    <a:pt x="174" y="591"/>
                  </a:lnTo>
                  <a:lnTo>
                    <a:pt x="141" y="640"/>
                  </a:lnTo>
                  <a:lnTo>
                    <a:pt x="111" y="690"/>
                  </a:lnTo>
                  <a:lnTo>
                    <a:pt x="84" y="741"/>
                  </a:lnTo>
                  <a:lnTo>
                    <a:pt x="61" y="792"/>
                  </a:lnTo>
                  <a:lnTo>
                    <a:pt x="40" y="845"/>
                  </a:lnTo>
                  <a:lnTo>
                    <a:pt x="24" y="900"/>
                  </a:lnTo>
                  <a:lnTo>
                    <a:pt x="12" y="956"/>
                  </a:lnTo>
                  <a:lnTo>
                    <a:pt x="4" y="1011"/>
                  </a:lnTo>
                  <a:lnTo>
                    <a:pt x="0" y="1069"/>
                  </a:lnTo>
                  <a:lnTo>
                    <a:pt x="0" y="1127"/>
                  </a:lnTo>
                  <a:lnTo>
                    <a:pt x="5" y="1185"/>
                  </a:lnTo>
                  <a:lnTo>
                    <a:pt x="14" y="1245"/>
                  </a:lnTo>
                  <a:lnTo>
                    <a:pt x="27" y="1304"/>
                  </a:lnTo>
                  <a:lnTo>
                    <a:pt x="40" y="1362"/>
                  </a:lnTo>
                  <a:lnTo>
                    <a:pt x="56" y="1420"/>
                  </a:lnTo>
                  <a:lnTo>
                    <a:pt x="73" y="1477"/>
                  </a:lnTo>
                  <a:lnTo>
                    <a:pt x="92" y="1534"/>
                  </a:lnTo>
                  <a:lnTo>
                    <a:pt x="112" y="1588"/>
                  </a:lnTo>
                  <a:lnTo>
                    <a:pt x="135" y="1643"/>
                  </a:lnTo>
                  <a:lnTo>
                    <a:pt x="159" y="1696"/>
                  </a:lnTo>
                  <a:lnTo>
                    <a:pt x="184" y="1747"/>
                  </a:lnTo>
                  <a:lnTo>
                    <a:pt x="211" y="1799"/>
                  </a:lnTo>
                  <a:lnTo>
                    <a:pt x="240" y="1847"/>
                  </a:lnTo>
                  <a:lnTo>
                    <a:pt x="269" y="1895"/>
                  </a:lnTo>
                  <a:lnTo>
                    <a:pt x="302" y="1941"/>
                  </a:lnTo>
                  <a:lnTo>
                    <a:pt x="336" y="1985"/>
                  </a:lnTo>
                  <a:lnTo>
                    <a:pt x="371" y="2028"/>
                  </a:lnTo>
                  <a:lnTo>
                    <a:pt x="408" y="2069"/>
                  </a:lnTo>
                  <a:lnTo>
                    <a:pt x="447" y="2109"/>
                  </a:lnTo>
                  <a:lnTo>
                    <a:pt x="488" y="2145"/>
                  </a:lnTo>
                  <a:lnTo>
                    <a:pt x="530" y="2180"/>
                  </a:lnTo>
                  <a:lnTo>
                    <a:pt x="574" y="2213"/>
                  </a:lnTo>
                  <a:lnTo>
                    <a:pt x="619" y="2245"/>
                  </a:lnTo>
                  <a:lnTo>
                    <a:pt x="667" y="2274"/>
                  </a:lnTo>
                  <a:lnTo>
                    <a:pt x="716" y="2300"/>
                  </a:lnTo>
                  <a:lnTo>
                    <a:pt x="768" y="2323"/>
                  </a:lnTo>
                  <a:lnTo>
                    <a:pt x="820" y="2345"/>
                  </a:lnTo>
                  <a:lnTo>
                    <a:pt x="875" y="2363"/>
                  </a:lnTo>
                  <a:lnTo>
                    <a:pt x="931" y="2379"/>
                  </a:lnTo>
                  <a:lnTo>
                    <a:pt x="989" y="2393"/>
                  </a:lnTo>
                  <a:lnTo>
                    <a:pt x="1049" y="2403"/>
                  </a:lnTo>
                  <a:lnTo>
                    <a:pt x="1111" y="2411"/>
                  </a:lnTo>
                  <a:lnTo>
                    <a:pt x="1174" y="2416"/>
                  </a:lnTo>
                  <a:lnTo>
                    <a:pt x="1240" y="2418"/>
                  </a:lnTo>
                  <a:lnTo>
                    <a:pt x="1305" y="2416"/>
                  </a:lnTo>
                  <a:lnTo>
                    <a:pt x="1370" y="2409"/>
                  </a:lnTo>
                  <a:lnTo>
                    <a:pt x="1433" y="2398"/>
                  </a:lnTo>
                  <a:lnTo>
                    <a:pt x="1495" y="2384"/>
                  </a:lnTo>
                  <a:lnTo>
                    <a:pt x="1557" y="2366"/>
                  </a:lnTo>
                  <a:lnTo>
                    <a:pt x="1617" y="2345"/>
                  </a:lnTo>
                  <a:lnTo>
                    <a:pt x="1675" y="2320"/>
                  </a:lnTo>
                  <a:lnTo>
                    <a:pt x="1732" y="2293"/>
                  </a:lnTo>
                  <a:lnTo>
                    <a:pt x="1789" y="2262"/>
                  </a:lnTo>
                  <a:lnTo>
                    <a:pt x="1843" y="2229"/>
                  </a:lnTo>
                  <a:lnTo>
                    <a:pt x="1896" y="2193"/>
                  </a:lnTo>
                  <a:lnTo>
                    <a:pt x="1948" y="2155"/>
                  </a:lnTo>
                  <a:lnTo>
                    <a:pt x="1998" y="2116"/>
                  </a:lnTo>
                  <a:lnTo>
                    <a:pt x="2046" y="2074"/>
                  </a:lnTo>
                  <a:lnTo>
                    <a:pt x="2092" y="2030"/>
                  </a:lnTo>
                  <a:lnTo>
                    <a:pt x="2137" y="1986"/>
                  </a:lnTo>
                  <a:lnTo>
                    <a:pt x="2180" y="1941"/>
                  </a:lnTo>
                  <a:lnTo>
                    <a:pt x="2221" y="1894"/>
                  </a:lnTo>
                  <a:lnTo>
                    <a:pt x="2260" y="1846"/>
                  </a:lnTo>
                  <a:lnTo>
                    <a:pt x="2298" y="1797"/>
                  </a:lnTo>
                  <a:lnTo>
                    <a:pt x="2332" y="1749"/>
                  </a:lnTo>
                  <a:lnTo>
                    <a:pt x="2365" y="1700"/>
                  </a:lnTo>
                  <a:lnTo>
                    <a:pt x="2396" y="1651"/>
                  </a:lnTo>
                  <a:lnTo>
                    <a:pt x="2424" y="1603"/>
                  </a:lnTo>
                  <a:lnTo>
                    <a:pt x="2452" y="1554"/>
                  </a:lnTo>
                  <a:lnTo>
                    <a:pt x="2476" y="1507"/>
                  </a:lnTo>
                  <a:lnTo>
                    <a:pt x="2497" y="1460"/>
                  </a:lnTo>
                  <a:lnTo>
                    <a:pt x="2517" y="1415"/>
                  </a:lnTo>
                  <a:lnTo>
                    <a:pt x="2533" y="1369"/>
                  </a:lnTo>
                  <a:lnTo>
                    <a:pt x="2547" y="1326"/>
                  </a:lnTo>
                  <a:lnTo>
                    <a:pt x="2559" y="1285"/>
                  </a:lnTo>
                  <a:lnTo>
                    <a:pt x="2568" y="1245"/>
                  </a:lnTo>
                  <a:lnTo>
                    <a:pt x="2577" y="1185"/>
                  </a:lnTo>
                  <a:lnTo>
                    <a:pt x="2583" y="1126"/>
                  </a:lnTo>
                  <a:lnTo>
                    <a:pt x="2583" y="1066"/>
                  </a:lnTo>
                  <a:lnTo>
                    <a:pt x="2578" y="1007"/>
                  </a:lnTo>
                  <a:lnTo>
                    <a:pt x="2570" y="948"/>
                  </a:lnTo>
                  <a:lnTo>
                    <a:pt x="2558" y="890"/>
                  </a:lnTo>
                  <a:lnTo>
                    <a:pt x="2542" y="832"/>
                  </a:lnTo>
                  <a:lnTo>
                    <a:pt x="2521" y="774"/>
                  </a:lnTo>
                  <a:lnTo>
                    <a:pt x="2498" y="718"/>
                  </a:lnTo>
                  <a:lnTo>
                    <a:pt x="2471" y="663"/>
                  </a:lnTo>
                  <a:lnTo>
                    <a:pt x="2440" y="609"/>
                  </a:lnTo>
                  <a:lnTo>
                    <a:pt x="2407" y="556"/>
                  </a:lnTo>
                  <a:lnTo>
                    <a:pt x="2371" y="505"/>
                  </a:lnTo>
                  <a:lnTo>
                    <a:pt x="2331" y="456"/>
                  </a:lnTo>
                  <a:lnTo>
                    <a:pt x="2289" y="407"/>
                  </a:lnTo>
                  <a:lnTo>
                    <a:pt x="2244" y="361"/>
                  </a:lnTo>
                  <a:lnTo>
                    <a:pt x="2196" y="318"/>
                  </a:lnTo>
                  <a:lnTo>
                    <a:pt x="2147" y="276"/>
                  </a:lnTo>
                  <a:lnTo>
                    <a:pt x="2096" y="236"/>
                  </a:lnTo>
                  <a:lnTo>
                    <a:pt x="2042" y="200"/>
                  </a:lnTo>
                  <a:lnTo>
                    <a:pt x="1986" y="166"/>
                  </a:lnTo>
                  <a:lnTo>
                    <a:pt x="1929" y="134"/>
                  </a:lnTo>
                  <a:lnTo>
                    <a:pt x="1871" y="106"/>
                  </a:lnTo>
                  <a:lnTo>
                    <a:pt x="1811" y="81"/>
                  </a:lnTo>
                  <a:lnTo>
                    <a:pt x="1749" y="58"/>
                  </a:lnTo>
                  <a:lnTo>
                    <a:pt x="1688" y="40"/>
                  </a:lnTo>
                  <a:lnTo>
                    <a:pt x="1624" y="24"/>
                  </a:lnTo>
                  <a:lnTo>
                    <a:pt x="1560" y="13"/>
                  </a:lnTo>
                  <a:lnTo>
                    <a:pt x="1495" y="5"/>
                  </a:lnTo>
                  <a:lnTo>
                    <a:pt x="1430" y="0"/>
                  </a:lnTo>
                  <a:lnTo>
                    <a:pt x="1365" y="0"/>
                  </a:lnTo>
                  <a:lnTo>
                    <a:pt x="1299" y="5"/>
                  </a:lnTo>
                  <a:close/>
                  <a:moveTo>
                    <a:pt x="2295" y="1161"/>
                  </a:moveTo>
                  <a:lnTo>
                    <a:pt x="2295" y="1161"/>
                  </a:lnTo>
                  <a:lnTo>
                    <a:pt x="2287" y="1195"/>
                  </a:lnTo>
                  <a:lnTo>
                    <a:pt x="2278" y="1231"/>
                  </a:lnTo>
                  <a:lnTo>
                    <a:pt x="2266" y="1269"/>
                  </a:lnTo>
                  <a:lnTo>
                    <a:pt x="2251" y="1308"/>
                  </a:lnTo>
                  <a:lnTo>
                    <a:pt x="2235" y="1349"/>
                  </a:lnTo>
                  <a:lnTo>
                    <a:pt x="2216" y="1391"/>
                  </a:lnTo>
                  <a:lnTo>
                    <a:pt x="2195" y="1434"/>
                  </a:lnTo>
                  <a:lnTo>
                    <a:pt x="2172" y="1477"/>
                  </a:lnTo>
                  <a:lnTo>
                    <a:pt x="2147" y="1521"/>
                  </a:lnTo>
                  <a:lnTo>
                    <a:pt x="2120" y="1567"/>
                  </a:lnTo>
                  <a:lnTo>
                    <a:pt x="2091" y="1611"/>
                  </a:lnTo>
                  <a:lnTo>
                    <a:pt x="2062" y="1655"/>
                  </a:lnTo>
                  <a:lnTo>
                    <a:pt x="2030" y="1700"/>
                  </a:lnTo>
                  <a:lnTo>
                    <a:pt x="1996" y="1744"/>
                  </a:lnTo>
                  <a:lnTo>
                    <a:pt x="1960" y="1787"/>
                  </a:lnTo>
                  <a:lnTo>
                    <a:pt x="1924" y="1830"/>
                  </a:lnTo>
                  <a:lnTo>
                    <a:pt x="1885" y="1871"/>
                  </a:lnTo>
                  <a:lnTo>
                    <a:pt x="1846" y="1912"/>
                  </a:lnTo>
                  <a:lnTo>
                    <a:pt x="1805" y="1951"/>
                  </a:lnTo>
                  <a:lnTo>
                    <a:pt x="1763" y="1988"/>
                  </a:lnTo>
                  <a:lnTo>
                    <a:pt x="1720" y="2024"/>
                  </a:lnTo>
                  <a:lnTo>
                    <a:pt x="1675" y="2057"/>
                  </a:lnTo>
                  <a:lnTo>
                    <a:pt x="1630" y="2088"/>
                  </a:lnTo>
                  <a:lnTo>
                    <a:pt x="1584" y="2117"/>
                  </a:lnTo>
                  <a:lnTo>
                    <a:pt x="1536" y="2143"/>
                  </a:lnTo>
                  <a:lnTo>
                    <a:pt x="1488" y="2166"/>
                  </a:lnTo>
                  <a:lnTo>
                    <a:pt x="1439" y="2186"/>
                  </a:lnTo>
                  <a:lnTo>
                    <a:pt x="1390" y="2203"/>
                  </a:lnTo>
                  <a:lnTo>
                    <a:pt x="1340" y="2217"/>
                  </a:lnTo>
                  <a:lnTo>
                    <a:pt x="1290" y="2227"/>
                  </a:lnTo>
                  <a:lnTo>
                    <a:pt x="1239" y="2233"/>
                  </a:lnTo>
                  <a:lnTo>
                    <a:pt x="1187" y="2235"/>
                  </a:lnTo>
                  <a:lnTo>
                    <a:pt x="1136" y="2234"/>
                  </a:lnTo>
                  <a:lnTo>
                    <a:pt x="1087" y="2229"/>
                  </a:lnTo>
                  <a:lnTo>
                    <a:pt x="1040" y="2222"/>
                  </a:lnTo>
                  <a:lnTo>
                    <a:pt x="995" y="2212"/>
                  </a:lnTo>
                  <a:lnTo>
                    <a:pt x="950" y="2200"/>
                  </a:lnTo>
                  <a:lnTo>
                    <a:pt x="908" y="2186"/>
                  </a:lnTo>
                  <a:lnTo>
                    <a:pt x="867" y="2168"/>
                  </a:lnTo>
                  <a:lnTo>
                    <a:pt x="828" y="2149"/>
                  </a:lnTo>
                  <a:lnTo>
                    <a:pt x="790" y="2127"/>
                  </a:lnTo>
                  <a:lnTo>
                    <a:pt x="754" y="2103"/>
                  </a:lnTo>
                  <a:lnTo>
                    <a:pt x="720" y="2077"/>
                  </a:lnTo>
                  <a:lnTo>
                    <a:pt x="687" y="2050"/>
                  </a:lnTo>
                  <a:lnTo>
                    <a:pt x="655" y="2020"/>
                  </a:lnTo>
                  <a:lnTo>
                    <a:pt x="624" y="1988"/>
                  </a:lnTo>
                  <a:lnTo>
                    <a:pt x="595" y="1954"/>
                  </a:lnTo>
                  <a:lnTo>
                    <a:pt x="568" y="1919"/>
                  </a:lnTo>
                  <a:lnTo>
                    <a:pt x="542" y="1883"/>
                  </a:lnTo>
                  <a:lnTo>
                    <a:pt x="517" y="1844"/>
                  </a:lnTo>
                  <a:lnTo>
                    <a:pt x="493" y="1805"/>
                  </a:lnTo>
                  <a:lnTo>
                    <a:pt x="470" y="1765"/>
                  </a:lnTo>
                  <a:lnTo>
                    <a:pt x="450" y="1721"/>
                  </a:lnTo>
                  <a:lnTo>
                    <a:pt x="429" y="1678"/>
                  </a:lnTo>
                  <a:lnTo>
                    <a:pt x="411" y="1634"/>
                  </a:lnTo>
                  <a:lnTo>
                    <a:pt x="393" y="1588"/>
                  </a:lnTo>
                  <a:lnTo>
                    <a:pt x="377" y="1542"/>
                  </a:lnTo>
                  <a:lnTo>
                    <a:pt x="361" y="1495"/>
                  </a:lnTo>
                  <a:lnTo>
                    <a:pt x="347" y="1446"/>
                  </a:lnTo>
                  <a:lnTo>
                    <a:pt x="333" y="1398"/>
                  </a:lnTo>
                  <a:lnTo>
                    <a:pt x="321" y="1349"/>
                  </a:lnTo>
                  <a:lnTo>
                    <a:pt x="309" y="1299"/>
                  </a:lnTo>
                  <a:lnTo>
                    <a:pt x="299" y="1249"/>
                  </a:lnTo>
                  <a:lnTo>
                    <a:pt x="290" y="1198"/>
                  </a:lnTo>
                  <a:lnTo>
                    <a:pt x="282" y="1148"/>
                  </a:lnTo>
                  <a:lnTo>
                    <a:pt x="279" y="1098"/>
                  </a:lnTo>
                  <a:lnTo>
                    <a:pt x="277" y="1049"/>
                  </a:lnTo>
                  <a:lnTo>
                    <a:pt x="280" y="1001"/>
                  </a:lnTo>
                  <a:lnTo>
                    <a:pt x="285" y="954"/>
                  </a:lnTo>
                  <a:lnTo>
                    <a:pt x="293" y="908"/>
                  </a:lnTo>
                  <a:lnTo>
                    <a:pt x="305" y="864"/>
                  </a:lnTo>
                  <a:lnTo>
                    <a:pt x="318" y="819"/>
                  </a:lnTo>
                  <a:lnTo>
                    <a:pt x="336" y="776"/>
                  </a:lnTo>
                  <a:lnTo>
                    <a:pt x="354" y="735"/>
                  </a:lnTo>
                  <a:lnTo>
                    <a:pt x="375" y="694"/>
                  </a:lnTo>
                  <a:lnTo>
                    <a:pt x="399" y="656"/>
                  </a:lnTo>
                  <a:lnTo>
                    <a:pt x="427" y="617"/>
                  </a:lnTo>
                  <a:lnTo>
                    <a:pt x="455" y="581"/>
                  </a:lnTo>
                  <a:lnTo>
                    <a:pt x="486" y="545"/>
                  </a:lnTo>
                  <a:lnTo>
                    <a:pt x="518" y="511"/>
                  </a:lnTo>
                  <a:lnTo>
                    <a:pt x="553" y="480"/>
                  </a:lnTo>
                  <a:lnTo>
                    <a:pt x="590" y="448"/>
                  </a:lnTo>
                  <a:lnTo>
                    <a:pt x="629" y="418"/>
                  </a:lnTo>
                  <a:lnTo>
                    <a:pt x="668" y="391"/>
                  </a:lnTo>
                  <a:lnTo>
                    <a:pt x="709" y="364"/>
                  </a:lnTo>
                  <a:lnTo>
                    <a:pt x="753" y="339"/>
                  </a:lnTo>
                  <a:lnTo>
                    <a:pt x="797" y="316"/>
                  </a:lnTo>
                  <a:lnTo>
                    <a:pt x="843" y="294"/>
                  </a:lnTo>
                  <a:lnTo>
                    <a:pt x="891" y="275"/>
                  </a:lnTo>
                  <a:lnTo>
                    <a:pt x="939" y="257"/>
                  </a:lnTo>
                  <a:lnTo>
                    <a:pt x="988" y="240"/>
                  </a:lnTo>
                  <a:lnTo>
                    <a:pt x="1038" y="226"/>
                  </a:lnTo>
                  <a:lnTo>
                    <a:pt x="1089" y="214"/>
                  </a:lnTo>
                  <a:lnTo>
                    <a:pt x="1140" y="202"/>
                  </a:lnTo>
                  <a:lnTo>
                    <a:pt x="1193" y="194"/>
                  </a:lnTo>
                  <a:lnTo>
                    <a:pt x="1246" y="188"/>
                  </a:lnTo>
                  <a:lnTo>
                    <a:pt x="1298" y="183"/>
                  </a:lnTo>
                  <a:lnTo>
                    <a:pt x="1349" y="183"/>
                  </a:lnTo>
                  <a:lnTo>
                    <a:pt x="1402" y="185"/>
                  </a:lnTo>
                  <a:lnTo>
                    <a:pt x="1453" y="190"/>
                  </a:lnTo>
                  <a:lnTo>
                    <a:pt x="1504" y="198"/>
                  </a:lnTo>
                  <a:lnTo>
                    <a:pt x="1555" y="209"/>
                  </a:lnTo>
                  <a:lnTo>
                    <a:pt x="1606" y="223"/>
                  </a:lnTo>
                  <a:lnTo>
                    <a:pt x="1656" y="239"/>
                  </a:lnTo>
                  <a:lnTo>
                    <a:pt x="1704" y="257"/>
                  </a:lnTo>
                  <a:lnTo>
                    <a:pt x="1753" y="278"/>
                  </a:lnTo>
                  <a:lnTo>
                    <a:pt x="1799" y="301"/>
                  </a:lnTo>
                  <a:lnTo>
                    <a:pt x="1845" y="327"/>
                  </a:lnTo>
                  <a:lnTo>
                    <a:pt x="1890" y="355"/>
                  </a:lnTo>
                  <a:lnTo>
                    <a:pt x="1933" y="384"/>
                  </a:lnTo>
                  <a:lnTo>
                    <a:pt x="1974" y="416"/>
                  </a:lnTo>
                  <a:lnTo>
                    <a:pt x="2013" y="449"/>
                  </a:lnTo>
                  <a:lnTo>
                    <a:pt x="2050" y="484"/>
                  </a:lnTo>
                  <a:lnTo>
                    <a:pt x="2087" y="522"/>
                  </a:lnTo>
                  <a:lnTo>
                    <a:pt x="2120" y="559"/>
                  </a:lnTo>
                  <a:lnTo>
                    <a:pt x="2151" y="600"/>
                  </a:lnTo>
                  <a:lnTo>
                    <a:pt x="2180" y="641"/>
                  </a:lnTo>
                  <a:lnTo>
                    <a:pt x="2205" y="683"/>
                  </a:lnTo>
                  <a:lnTo>
                    <a:pt x="2229" y="727"/>
                  </a:lnTo>
                  <a:lnTo>
                    <a:pt x="2250" y="773"/>
                  </a:lnTo>
                  <a:lnTo>
                    <a:pt x="2267" y="818"/>
                  </a:lnTo>
                  <a:lnTo>
                    <a:pt x="2282" y="865"/>
                  </a:lnTo>
                  <a:lnTo>
                    <a:pt x="2293" y="912"/>
                  </a:lnTo>
                  <a:lnTo>
                    <a:pt x="2301" y="961"/>
                  </a:lnTo>
                  <a:lnTo>
                    <a:pt x="2305" y="1010"/>
                  </a:lnTo>
                  <a:lnTo>
                    <a:pt x="2306" y="1060"/>
                  </a:lnTo>
                  <a:lnTo>
                    <a:pt x="2302" y="1110"/>
                  </a:lnTo>
                  <a:lnTo>
                    <a:pt x="2295" y="1161"/>
                  </a:lnTo>
                  <a:close/>
                </a:path>
              </a:pathLst>
            </a:custGeom>
            <a:solidFill>
              <a:srgbClr val="162F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" name="Freeform 8"/>
            <p:cNvSpPr>
              <a:spLocks noEditPoints="1"/>
            </p:cNvSpPr>
            <p:nvPr/>
          </p:nvSpPr>
          <p:spPr bwMode="auto">
            <a:xfrm>
              <a:off x="6845870" y="1696841"/>
              <a:ext cx="460375" cy="466725"/>
            </a:xfrm>
            <a:custGeom>
              <a:avLst/>
              <a:gdLst>
                <a:gd name="T0" fmla="*/ 761 w 2029"/>
                <a:gd name="T1" fmla="*/ 43 h 2052"/>
                <a:gd name="T2" fmla="*/ 520 w 2029"/>
                <a:gd name="T3" fmla="*/ 133 h 2052"/>
                <a:gd name="T4" fmla="*/ 313 w 2029"/>
                <a:gd name="T5" fmla="*/ 265 h 2052"/>
                <a:gd name="T6" fmla="*/ 150 w 2029"/>
                <a:gd name="T7" fmla="*/ 434 h 2052"/>
                <a:gd name="T8" fmla="*/ 41 w 2029"/>
                <a:gd name="T9" fmla="*/ 636 h 2052"/>
                <a:gd name="T10" fmla="*/ 0 w 2029"/>
                <a:gd name="T11" fmla="*/ 866 h 2052"/>
                <a:gd name="T12" fmla="*/ 32 w 2029"/>
                <a:gd name="T13" fmla="*/ 1116 h 2052"/>
                <a:gd name="T14" fmla="*/ 100 w 2029"/>
                <a:gd name="T15" fmla="*/ 1359 h 2052"/>
                <a:gd name="T16" fmla="*/ 193 w 2029"/>
                <a:gd name="T17" fmla="*/ 1582 h 2052"/>
                <a:gd name="T18" fmla="*/ 318 w 2029"/>
                <a:gd name="T19" fmla="*/ 1771 h 2052"/>
                <a:gd name="T20" fmla="*/ 477 w 2029"/>
                <a:gd name="T21" fmla="*/ 1920 h 2052"/>
                <a:gd name="T22" fmla="*/ 673 w 2029"/>
                <a:gd name="T23" fmla="*/ 2017 h 2052"/>
                <a:gd name="T24" fmla="*/ 910 w 2029"/>
                <a:gd name="T25" fmla="*/ 2052 h 2052"/>
                <a:gd name="T26" fmla="*/ 1162 w 2029"/>
                <a:gd name="T27" fmla="*/ 2003 h 2052"/>
                <a:gd name="T28" fmla="*/ 1398 w 2029"/>
                <a:gd name="T29" fmla="*/ 1874 h 2052"/>
                <a:gd name="T30" fmla="*/ 1608 w 2029"/>
                <a:gd name="T31" fmla="*/ 1688 h 2052"/>
                <a:gd name="T32" fmla="*/ 1785 w 2029"/>
                <a:gd name="T33" fmla="*/ 1472 h 2052"/>
                <a:gd name="T34" fmla="*/ 1918 w 2029"/>
                <a:gd name="T35" fmla="*/ 1251 h 2052"/>
                <a:gd name="T36" fmla="*/ 2001 w 2029"/>
                <a:gd name="T37" fmla="*/ 1048 h 2052"/>
                <a:gd name="T38" fmla="*/ 2028 w 2029"/>
                <a:gd name="T39" fmla="*/ 827 h 2052"/>
                <a:gd name="T40" fmla="*/ 1973 w 2029"/>
                <a:gd name="T41" fmla="*/ 590 h 2052"/>
                <a:gd name="T42" fmla="*/ 1843 w 2029"/>
                <a:gd name="T43" fmla="*/ 376 h 2052"/>
                <a:gd name="T44" fmla="*/ 1656 w 2029"/>
                <a:gd name="T45" fmla="*/ 201 h 2052"/>
                <a:gd name="T46" fmla="*/ 1427 w 2029"/>
                <a:gd name="T47" fmla="*/ 74 h 2052"/>
                <a:gd name="T48" fmla="*/ 1176 w 2029"/>
                <a:gd name="T49" fmla="*/ 7 h 2052"/>
                <a:gd name="T50" fmla="*/ 1678 w 2029"/>
                <a:gd name="T51" fmla="*/ 1321 h 2052"/>
                <a:gd name="T52" fmla="*/ 1603 w 2029"/>
                <a:gd name="T53" fmla="*/ 1419 h 2052"/>
                <a:gd name="T54" fmla="*/ 1469 w 2029"/>
                <a:gd name="T55" fmla="*/ 1546 h 2052"/>
                <a:gd name="T56" fmla="*/ 1301 w 2029"/>
                <a:gd name="T57" fmla="*/ 1666 h 2052"/>
                <a:gd name="T58" fmla="*/ 1112 w 2029"/>
                <a:gd name="T59" fmla="*/ 1762 h 2052"/>
                <a:gd name="T60" fmla="*/ 912 w 2029"/>
                <a:gd name="T61" fmla="*/ 1820 h 2052"/>
                <a:gd name="T62" fmla="*/ 716 w 2029"/>
                <a:gd name="T63" fmla="*/ 1824 h 2052"/>
                <a:gd name="T64" fmla="*/ 539 w 2029"/>
                <a:gd name="T65" fmla="*/ 1762 h 2052"/>
                <a:gd name="T66" fmla="*/ 405 w 2029"/>
                <a:gd name="T67" fmla="*/ 1655 h 2052"/>
                <a:gd name="T68" fmla="*/ 317 w 2029"/>
                <a:gd name="T69" fmla="*/ 1517 h 2052"/>
                <a:gd name="T70" fmla="*/ 267 w 2029"/>
                <a:gd name="T71" fmla="*/ 1351 h 2052"/>
                <a:gd name="T72" fmla="*/ 252 w 2029"/>
                <a:gd name="T73" fmla="*/ 1167 h 2052"/>
                <a:gd name="T74" fmla="*/ 265 w 2029"/>
                <a:gd name="T75" fmla="*/ 970 h 2052"/>
                <a:gd name="T76" fmla="*/ 301 w 2029"/>
                <a:gd name="T77" fmla="*/ 768 h 2052"/>
                <a:gd name="T78" fmla="*/ 375 w 2029"/>
                <a:gd name="T79" fmla="*/ 583 h 2052"/>
                <a:gd name="T80" fmla="*/ 497 w 2029"/>
                <a:gd name="T81" fmla="*/ 434 h 2052"/>
                <a:gd name="T82" fmla="*/ 656 w 2029"/>
                <a:gd name="T83" fmla="*/ 323 h 2052"/>
                <a:gd name="T84" fmla="*/ 840 w 2029"/>
                <a:gd name="T85" fmla="*/ 252 h 2052"/>
                <a:gd name="T86" fmla="*/ 1037 w 2029"/>
                <a:gd name="T87" fmla="*/ 223 h 2052"/>
                <a:gd name="T88" fmla="*/ 1237 w 2029"/>
                <a:gd name="T89" fmla="*/ 235 h 2052"/>
                <a:gd name="T90" fmla="*/ 1421 w 2029"/>
                <a:gd name="T91" fmla="*/ 295 h 2052"/>
                <a:gd name="T92" fmla="*/ 1571 w 2029"/>
                <a:gd name="T93" fmla="*/ 412 h 2052"/>
                <a:gd name="T94" fmla="*/ 1684 w 2029"/>
                <a:gd name="T95" fmla="*/ 574 h 2052"/>
                <a:gd name="T96" fmla="*/ 1754 w 2029"/>
                <a:gd name="T97" fmla="*/ 765 h 2052"/>
                <a:gd name="T98" fmla="*/ 1777 w 2029"/>
                <a:gd name="T99" fmla="*/ 969 h 2052"/>
                <a:gd name="T100" fmla="*/ 1745 w 2029"/>
                <a:gd name="T101" fmla="*/ 1171 h 2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029" h="2052">
                  <a:moveTo>
                    <a:pt x="969" y="5"/>
                  </a:moveTo>
                  <a:lnTo>
                    <a:pt x="916" y="11"/>
                  </a:lnTo>
                  <a:lnTo>
                    <a:pt x="863" y="19"/>
                  </a:lnTo>
                  <a:lnTo>
                    <a:pt x="812" y="31"/>
                  </a:lnTo>
                  <a:lnTo>
                    <a:pt x="761" y="43"/>
                  </a:lnTo>
                  <a:lnTo>
                    <a:pt x="711" y="57"/>
                  </a:lnTo>
                  <a:lnTo>
                    <a:pt x="662" y="74"/>
                  </a:lnTo>
                  <a:lnTo>
                    <a:pt x="614" y="92"/>
                  </a:lnTo>
                  <a:lnTo>
                    <a:pt x="566" y="111"/>
                  </a:lnTo>
                  <a:lnTo>
                    <a:pt x="520" y="133"/>
                  </a:lnTo>
                  <a:lnTo>
                    <a:pt x="476" y="156"/>
                  </a:lnTo>
                  <a:lnTo>
                    <a:pt x="432" y="181"/>
                  </a:lnTo>
                  <a:lnTo>
                    <a:pt x="391" y="208"/>
                  </a:lnTo>
                  <a:lnTo>
                    <a:pt x="352" y="235"/>
                  </a:lnTo>
                  <a:lnTo>
                    <a:pt x="313" y="265"/>
                  </a:lnTo>
                  <a:lnTo>
                    <a:pt x="276" y="297"/>
                  </a:lnTo>
                  <a:lnTo>
                    <a:pt x="241" y="328"/>
                  </a:lnTo>
                  <a:lnTo>
                    <a:pt x="209" y="362"/>
                  </a:lnTo>
                  <a:lnTo>
                    <a:pt x="178" y="398"/>
                  </a:lnTo>
                  <a:lnTo>
                    <a:pt x="150" y="434"/>
                  </a:lnTo>
                  <a:lnTo>
                    <a:pt x="122" y="473"/>
                  </a:lnTo>
                  <a:lnTo>
                    <a:pt x="98" y="511"/>
                  </a:lnTo>
                  <a:lnTo>
                    <a:pt x="77" y="552"/>
                  </a:lnTo>
                  <a:lnTo>
                    <a:pt x="59" y="593"/>
                  </a:lnTo>
                  <a:lnTo>
                    <a:pt x="41" y="636"/>
                  </a:lnTo>
                  <a:lnTo>
                    <a:pt x="28" y="681"/>
                  </a:lnTo>
                  <a:lnTo>
                    <a:pt x="16" y="725"/>
                  </a:lnTo>
                  <a:lnTo>
                    <a:pt x="8" y="771"/>
                  </a:lnTo>
                  <a:lnTo>
                    <a:pt x="3" y="818"/>
                  </a:lnTo>
                  <a:lnTo>
                    <a:pt x="0" y="866"/>
                  </a:lnTo>
                  <a:lnTo>
                    <a:pt x="2" y="915"/>
                  </a:lnTo>
                  <a:lnTo>
                    <a:pt x="5" y="965"/>
                  </a:lnTo>
                  <a:lnTo>
                    <a:pt x="13" y="1015"/>
                  </a:lnTo>
                  <a:lnTo>
                    <a:pt x="22" y="1066"/>
                  </a:lnTo>
                  <a:lnTo>
                    <a:pt x="32" y="1116"/>
                  </a:lnTo>
                  <a:lnTo>
                    <a:pt x="44" y="1166"/>
                  </a:lnTo>
                  <a:lnTo>
                    <a:pt x="56" y="1215"/>
                  </a:lnTo>
                  <a:lnTo>
                    <a:pt x="70" y="1263"/>
                  </a:lnTo>
                  <a:lnTo>
                    <a:pt x="84" y="1312"/>
                  </a:lnTo>
                  <a:lnTo>
                    <a:pt x="100" y="1359"/>
                  </a:lnTo>
                  <a:lnTo>
                    <a:pt x="116" y="1405"/>
                  </a:lnTo>
                  <a:lnTo>
                    <a:pt x="134" y="1451"/>
                  </a:lnTo>
                  <a:lnTo>
                    <a:pt x="152" y="1495"/>
                  </a:lnTo>
                  <a:lnTo>
                    <a:pt x="173" y="1538"/>
                  </a:lnTo>
                  <a:lnTo>
                    <a:pt x="193" y="1582"/>
                  </a:lnTo>
                  <a:lnTo>
                    <a:pt x="216" y="1622"/>
                  </a:lnTo>
                  <a:lnTo>
                    <a:pt x="240" y="1661"/>
                  </a:lnTo>
                  <a:lnTo>
                    <a:pt x="265" y="1700"/>
                  </a:lnTo>
                  <a:lnTo>
                    <a:pt x="291" y="1736"/>
                  </a:lnTo>
                  <a:lnTo>
                    <a:pt x="318" y="1771"/>
                  </a:lnTo>
                  <a:lnTo>
                    <a:pt x="347" y="1805"/>
                  </a:lnTo>
                  <a:lnTo>
                    <a:pt x="378" y="1837"/>
                  </a:lnTo>
                  <a:lnTo>
                    <a:pt x="410" y="1867"/>
                  </a:lnTo>
                  <a:lnTo>
                    <a:pt x="443" y="1894"/>
                  </a:lnTo>
                  <a:lnTo>
                    <a:pt x="477" y="1920"/>
                  </a:lnTo>
                  <a:lnTo>
                    <a:pt x="513" y="1944"/>
                  </a:lnTo>
                  <a:lnTo>
                    <a:pt x="551" y="1966"/>
                  </a:lnTo>
                  <a:lnTo>
                    <a:pt x="590" y="1985"/>
                  </a:lnTo>
                  <a:lnTo>
                    <a:pt x="631" y="2003"/>
                  </a:lnTo>
                  <a:lnTo>
                    <a:pt x="673" y="2017"/>
                  </a:lnTo>
                  <a:lnTo>
                    <a:pt x="718" y="2029"/>
                  </a:lnTo>
                  <a:lnTo>
                    <a:pt x="763" y="2039"/>
                  </a:lnTo>
                  <a:lnTo>
                    <a:pt x="810" y="2046"/>
                  </a:lnTo>
                  <a:lnTo>
                    <a:pt x="859" y="2051"/>
                  </a:lnTo>
                  <a:lnTo>
                    <a:pt x="910" y="2052"/>
                  </a:lnTo>
                  <a:lnTo>
                    <a:pt x="962" y="2050"/>
                  </a:lnTo>
                  <a:lnTo>
                    <a:pt x="1013" y="2044"/>
                  </a:lnTo>
                  <a:lnTo>
                    <a:pt x="1063" y="2034"/>
                  </a:lnTo>
                  <a:lnTo>
                    <a:pt x="1113" y="2020"/>
                  </a:lnTo>
                  <a:lnTo>
                    <a:pt x="1162" y="2003"/>
                  </a:lnTo>
                  <a:lnTo>
                    <a:pt x="1211" y="1983"/>
                  </a:lnTo>
                  <a:lnTo>
                    <a:pt x="1259" y="1960"/>
                  </a:lnTo>
                  <a:lnTo>
                    <a:pt x="1307" y="1934"/>
                  </a:lnTo>
                  <a:lnTo>
                    <a:pt x="1353" y="1905"/>
                  </a:lnTo>
                  <a:lnTo>
                    <a:pt x="1398" y="1874"/>
                  </a:lnTo>
                  <a:lnTo>
                    <a:pt x="1443" y="1841"/>
                  </a:lnTo>
                  <a:lnTo>
                    <a:pt x="1486" y="1805"/>
                  </a:lnTo>
                  <a:lnTo>
                    <a:pt x="1528" y="1768"/>
                  </a:lnTo>
                  <a:lnTo>
                    <a:pt x="1569" y="1729"/>
                  </a:lnTo>
                  <a:lnTo>
                    <a:pt x="1608" y="1688"/>
                  </a:lnTo>
                  <a:lnTo>
                    <a:pt x="1647" y="1647"/>
                  </a:lnTo>
                  <a:lnTo>
                    <a:pt x="1683" y="1604"/>
                  </a:lnTo>
                  <a:lnTo>
                    <a:pt x="1719" y="1561"/>
                  </a:lnTo>
                  <a:lnTo>
                    <a:pt x="1753" y="1517"/>
                  </a:lnTo>
                  <a:lnTo>
                    <a:pt x="1785" y="1472"/>
                  </a:lnTo>
                  <a:lnTo>
                    <a:pt x="1814" y="1428"/>
                  </a:lnTo>
                  <a:lnTo>
                    <a:pt x="1843" y="1384"/>
                  </a:lnTo>
                  <a:lnTo>
                    <a:pt x="1870" y="1338"/>
                  </a:lnTo>
                  <a:lnTo>
                    <a:pt x="1895" y="1294"/>
                  </a:lnTo>
                  <a:lnTo>
                    <a:pt x="1918" y="1251"/>
                  </a:lnTo>
                  <a:lnTo>
                    <a:pt x="1939" y="1208"/>
                  </a:lnTo>
                  <a:lnTo>
                    <a:pt x="1958" y="1166"/>
                  </a:lnTo>
                  <a:lnTo>
                    <a:pt x="1974" y="1125"/>
                  </a:lnTo>
                  <a:lnTo>
                    <a:pt x="1989" y="1086"/>
                  </a:lnTo>
                  <a:lnTo>
                    <a:pt x="2001" y="1048"/>
                  </a:lnTo>
                  <a:lnTo>
                    <a:pt x="2010" y="1012"/>
                  </a:lnTo>
                  <a:lnTo>
                    <a:pt x="2018" y="978"/>
                  </a:lnTo>
                  <a:lnTo>
                    <a:pt x="2025" y="927"/>
                  </a:lnTo>
                  <a:lnTo>
                    <a:pt x="2029" y="877"/>
                  </a:lnTo>
                  <a:lnTo>
                    <a:pt x="2028" y="827"/>
                  </a:lnTo>
                  <a:lnTo>
                    <a:pt x="2024" y="778"/>
                  </a:lnTo>
                  <a:lnTo>
                    <a:pt x="2016" y="729"/>
                  </a:lnTo>
                  <a:lnTo>
                    <a:pt x="2005" y="682"/>
                  </a:lnTo>
                  <a:lnTo>
                    <a:pt x="1990" y="635"/>
                  </a:lnTo>
                  <a:lnTo>
                    <a:pt x="1973" y="590"/>
                  </a:lnTo>
                  <a:lnTo>
                    <a:pt x="1952" y="544"/>
                  </a:lnTo>
                  <a:lnTo>
                    <a:pt x="1928" y="500"/>
                  </a:lnTo>
                  <a:lnTo>
                    <a:pt x="1903" y="458"/>
                  </a:lnTo>
                  <a:lnTo>
                    <a:pt x="1874" y="417"/>
                  </a:lnTo>
                  <a:lnTo>
                    <a:pt x="1843" y="376"/>
                  </a:lnTo>
                  <a:lnTo>
                    <a:pt x="1810" y="339"/>
                  </a:lnTo>
                  <a:lnTo>
                    <a:pt x="1773" y="301"/>
                  </a:lnTo>
                  <a:lnTo>
                    <a:pt x="1736" y="266"/>
                  </a:lnTo>
                  <a:lnTo>
                    <a:pt x="1697" y="233"/>
                  </a:lnTo>
                  <a:lnTo>
                    <a:pt x="1656" y="201"/>
                  </a:lnTo>
                  <a:lnTo>
                    <a:pt x="1613" y="172"/>
                  </a:lnTo>
                  <a:lnTo>
                    <a:pt x="1568" y="144"/>
                  </a:lnTo>
                  <a:lnTo>
                    <a:pt x="1522" y="118"/>
                  </a:lnTo>
                  <a:lnTo>
                    <a:pt x="1476" y="95"/>
                  </a:lnTo>
                  <a:lnTo>
                    <a:pt x="1427" y="74"/>
                  </a:lnTo>
                  <a:lnTo>
                    <a:pt x="1379" y="56"/>
                  </a:lnTo>
                  <a:lnTo>
                    <a:pt x="1329" y="40"/>
                  </a:lnTo>
                  <a:lnTo>
                    <a:pt x="1278" y="26"/>
                  </a:lnTo>
                  <a:lnTo>
                    <a:pt x="1227" y="15"/>
                  </a:lnTo>
                  <a:lnTo>
                    <a:pt x="1176" y="7"/>
                  </a:lnTo>
                  <a:lnTo>
                    <a:pt x="1125" y="2"/>
                  </a:lnTo>
                  <a:lnTo>
                    <a:pt x="1072" y="0"/>
                  </a:lnTo>
                  <a:lnTo>
                    <a:pt x="1021" y="0"/>
                  </a:lnTo>
                  <a:lnTo>
                    <a:pt x="969" y="5"/>
                  </a:lnTo>
                  <a:close/>
                  <a:moveTo>
                    <a:pt x="1678" y="1321"/>
                  </a:moveTo>
                  <a:lnTo>
                    <a:pt x="1678" y="1321"/>
                  </a:lnTo>
                  <a:lnTo>
                    <a:pt x="1662" y="1345"/>
                  </a:lnTo>
                  <a:lnTo>
                    <a:pt x="1644" y="1369"/>
                  </a:lnTo>
                  <a:lnTo>
                    <a:pt x="1625" y="1394"/>
                  </a:lnTo>
                  <a:lnTo>
                    <a:pt x="1603" y="1419"/>
                  </a:lnTo>
                  <a:lnTo>
                    <a:pt x="1579" y="1444"/>
                  </a:lnTo>
                  <a:lnTo>
                    <a:pt x="1554" y="1470"/>
                  </a:lnTo>
                  <a:lnTo>
                    <a:pt x="1528" y="1495"/>
                  </a:lnTo>
                  <a:lnTo>
                    <a:pt x="1500" y="1521"/>
                  </a:lnTo>
                  <a:lnTo>
                    <a:pt x="1469" y="1546"/>
                  </a:lnTo>
                  <a:lnTo>
                    <a:pt x="1438" y="1571"/>
                  </a:lnTo>
                  <a:lnTo>
                    <a:pt x="1405" y="1596"/>
                  </a:lnTo>
                  <a:lnTo>
                    <a:pt x="1372" y="1620"/>
                  </a:lnTo>
                  <a:lnTo>
                    <a:pt x="1337" y="1643"/>
                  </a:lnTo>
                  <a:lnTo>
                    <a:pt x="1301" y="1666"/>
                  </a:lnTo>
                  <a:lnTo>
                    <a:pt x="1265" y="1687"/>
                  </a:lnTo>
                  <a:lnTo>
                    <a:pt x="1227" y="1708"/>
                  </a:lnTo>
                  <a:lnTo>
                    <a:pt x="1190" y="1727"/>
                  </a:lnTo>
                  <a:lnTo>
                    <a:pt x="1151" y="1745"/>
                  </a:lnTo>
                  <a:lnTo>
                    <a:pt x="1112" y="1762"/>
                  </a:lnTo>
                  <a:lnTo>
                    <a:pt x="1072" y="1777"/>
                  </a:lnTo>
                  <a:lnTo>
                    <a:pt x="1032" y="1791"/>
                  </a:lnTo>
                  <a:lnTo>
                    <a:pt x="992" y="1802"/>
                  </a:lnTo>
                  <a:lnTo>
                    <a:pt x="952" y="1812"/>
                  </a:lnTo>
                  <a:lnTo>
                    <a:pt x="912" y="1820"/>
                  </a:lnTo>
                  <a:lnTo>
                    <a:pt x="873" y="1826"/>
                  </a:lnTo>
                  <a:lnTo>
                    <a:pt x="833" y="1828"/>
                  </a:lnTo>
                  <a:lnTo>
                    <a:pt x="794" y="1829"/>
                  </a:lnTo>
                  <a:lnTo>
                    <a:pt x="755" y="1828"/>
                  </a:lnTo>
                  <a:lnTo>
                    <a:pt x="716" y="1824"/>
                  </a:lnTo>
                  <a:lnTo>
                    <a:pt x="679" y="1817"/>
                  </a:lnTo>
                  <a:lnTo>
                    <a:pt x="642" y="1806"/>
                  </a:lnTo>
                  <a:lnTo>
                    <a:pt x="606" y="1794"/>
                  </a:lnTo>
                  <a:lnTo>
                    <a:pt x="572" y="1779"/>
                  </a:lnTo>
                  <a:lnTo>
                    <a:pt x="539" y="1762"/>
                  </a:lnTo>
                  <a:lnTo>
                    <a:pt x="509" y="1744"/>
                  </a:lnTo>
                  <a:lnTo>
                    <a:pt x="480" y="1724"/>
                  </a:lnTo>
                  <a:lnTo>
                    <a:pt x="453" y="1703"/>
                  </a:lnTo>
                  <a:lnTo>
                    <a:pt x="429" y="1680"/>
                  </a:lnTo>
                  <a:lnTo>
                    <a:pt x="405" y="1655"/>
                  </a:lnTo>
                  <a:lnTo>
                    <a:pt x="385" y="1630"/>
                  </a:lnTo>
                  <a:lnTo>
                    <a:pt x="365" y="1603"/>
                  </a:lnTo>
                  <a:lnTo>
                    <a:pt x="347" y="1576"/>
                  </a:lnTo>
                  <a:lnTo>
                    <a:pt x="331" y="1546"/>
                  </a:lnTo>
                  <a:lnTo>
                    <a:pt x="317" y="1517"/>
                  </a:lnTo>
                  <a:lnTo>
                    <a:pt x="304" y="1485"/>
                  </a:lnTo>
                  <a:lnTo>
                    <a:pt x="293" y="1453"/>
                  </a:lnTo>
                  <a:lnTo>
                    <a:pt x="283" y="1420"/>
                  </a:lnTo>
                  <a:lnTo>
                    <a:pt x="275" y="1386"/>
                  </a:lnTo>
                  <a:lnTo>
                    <a:pt x="267" y="1351"/>
                  </a:lnTo>
                  <a:lnTo>
                    <a:pt x="263" y="1316"/>
                  </a:lnTo>
                  <a:lnTo>
                    <a:pt x="258" y="1279"/>
                  </a:lnTo>
                  <a:lnTo>
                    <a:pt x="255" y="1243"/>
                  </a:lnTo>
                  <a:lnTo>
                    <a:pt x="252" y="1205"/>
                  </a:lnTo>
                  <a:lnTo>
                    <a:pt x="252" y="1167"/>
                  </a:lnTo>
                  <a:lnTo>
                    <a:pt x="252" y="1128"/>
                  </a:lnTo>
                  <a:lnTo>
                    <a:pt x="255" y="1090"/>
                  </a:lnTo>
                  <a:lnTo>
                    <a:pt x="257" y="1050"/>
                  </a:lnTo>
                  <a:lnTo>
                    <a:pt x="260" y="1010"/>
                  </a:lnTo>
                  <a:lnTo>
                    <a:pt x="265" y="970"/>
                  </a:lnTo>
                  <a:lnTo>
                    <a:pt x="271" y="931"/>
                  </a:lnTo>
                  <a:lnTo>
                    <a:pt x="277" y="890"/>
                  </a:lnTo>
                  <a:lnTo>
                    <a:pt x="284" y="849"/>
                  </a:lnTo>
                  <a:lnTo>
                    <a:pt x="293" y="809"/>
                  </a:lnTo>
                  <a:lnTo>
                    <a:pt x="301" y="768"/>
                  </a:lnTo>
                  <a:lnTo>
                    <a:pt x="312" y="728"/>
                  </a:lnTo>
                  <a:lnTo>
                    <a:pt x="325" y="690"/>
                  </a:lnTo>
                  <a:lnTo>
                    <a:pt x="340" y="652"/>
                  </a:lnTo>
                  <a:lnTo>
                    <a:pt x="357" y="617"/>
                  </a:lnTo>
                  <a:lnTo>
                    <a:pt x="375" y="583"/>
                  </a:lnTo>
                  <a:lnTo>
                    <a:pt x="397" y="550"/>
                  </a:lnTo>
                  <a:lnTo>
                    <a:pt x="419" y="518"/>
                  </a:lnTo>
                  <a:lnTo>
                    <a:pt x="444" y="489"/>
                  </a:lnTo>
                  <a:lnTo>
                    <a:pt x="470" y="460"/>
                  </a:lnTo>
                  <a:lnTo>
                    <a:pt x="497" y="434"/>
                  </a:lnTo>
                  <a:lnTo>
                    <a:pt x="527" y="408"/>
                  </a:lnTo>
                  <a:lnTo>
                    <a:pt x="557" y="385"/>
                  </a:lnTo>
                  <a:lnTo>
                    <a:pt x="589" y="362"/>
                  </a:lnTo>
                  <a:lnTo>
                    <a:pt x="622" y="342"/>
                  </a:lnTo>
                  <a:lnTo>
                    <a:pt x="656" y="323"/>
                  </a:lnTo>
                  <a:lnTo>
                    <a:pt x="691" y="306"/>
                  </a:lnTo>
                  <a:lnTo>
                    <a:pt x="727" y="290"/>
                  </a:lnTo>
                  <a:lnTo>
                    <a:pt x="764" y="276"/>
                  </a:lnTo>
                  <a:lnTo>
                    <a:pt x="802" y="264"/>
                  </a:lnTo>
                  <a:lnTo>
                    <a:pt x="840" y="252"/>
                  </a:lnTo>
                  <a:lnTo>
                    <a:pt x="878" y="243"/>
                  </a:lnTo>
                  <a:lnTo>
                    <a:pt x="918" y="235"/>
                  </a:lnTo>
                  <a:lnTo>
                    <a:pt x="957" y="230"/>
                  </a:lnTo>
                  <a:lnTo>
                    <a:pt x="997" y="225"/>
                  </a:lnTo>
                  <a:lnTo>
                    <a:pt x="1037" y="223"/>
                  </a:lnTo>
                  <a:lnTo>
                    <a:pt x="1078" y="222"/>
                  </a:lnTo>
                  <a:lnTo>
                    <a:pt x="1118" y="223"/>
                  </a:lnTo>
                  <a:lnTo>
                    <a:pt x="1158" y="225"/>
                  </a:lnTo>
                  <a:lnTo>
                    <a:pt x="1198" y="230"/>
                  </a:lnTo>
                  <a:lnTo>
                    <a:pt x="1237" y="235"/>
                  </a:lnTo>
                  <a:lnTo>
                    <a:pt x="1276" y="243"/>
                  </a:lnTo>
                  <a:lnTo>
                    <a:pt x="1315" y="253"/>
                  </a:lnTo>
                  <a:lnTo>
                    <a:pt x="1351" y="265"/>
                  </a:lnTo>
                  <a:lnTo>
                    <a:pt x="1387" y="278"/>
                  </a:lnTo>
                  <a:lnTo>
                    <a:pt x="1421" y="295"/>
                  </a:lnTo>
                  <a:lnTo>
                    <a:pt x="1454" y="315"/>
                  </a:lnTo>
                  <a:lnTo>
                    <a:pt x="1485" y="336"/>
                  </a:lnTo>
                  <a:lnTo>
                    <a:pt x="1516" y="359"/>
                  </a:lnTo>
                  <a:lnTo>
                    <a:pt x="1544" y="385"/>
                  </a:lnTo>
                  <a:lnTo>
                    <a:pt x="1571" y="412"/>
                  </a:lnTo>
                  <a:lnTo>
                    <a:pt x="1597" y="442"/>
                  </a:lnTo>
                  <a:lnTo>
                    <a:pt x="1622" y="473"/>
                  </a:lnTo>
                  <a:lnTo>
                    <a:pt x="1643" y="506"/>
                  </a:lnTo>
                  <a:lnTo>
                    <a:pt x="1665" y="539"/>
                  </a:lnTo>
                  <a:lnTo>
                    <a:pt x="1684" y="574"/>
                  </a:lnTo>
                  <a:lnTo>
                    <a:pt x="1701" y="610"/>
                  </a:lnTo>
                  <a:lnTo>
                    <a:pt x="1717" y="648"/>
                  </a:lnTo>
                  <a:lnTo>
                    <a:pt x="1731" y="686"/>
                  </a:lnTo>
                  <a:lnTo>
                    <a:pt x="1744" y="725"/>
                  </a:lnTo>
                  <a:lnTo>
                    <a:pt x="1754" y="765"/>
                  </a:lnTo>
                  <a:lnTo>
                    <a:pt x="1763" y="806"/>
                  </a:lnTo>
                  <a:lnTo>
                    <a:pt x="1769" y="845"/>
                  </a:lnTo>
                  <a:lnTo>
                    <a:pt x="1773" y="887"/>
                  </a:lnTo>
                  <a:lnTo>
                    <a:pt x="1776" y="928"/>
                  </a:lnTo>
                  <a:lnTo>
                    <a:pt x="1777" y="969"/>
                  </a:lnTo>
                  <a:lnTo>
                    <a:pt x="1774" y="1010"/>
                  </a:lnTo>
                  <a:lnTo>
                    <a:pt x="1770" y="1051"/>
                  </a:lnTo>
                  <a:lnTo>
                    <a:pt x="1764" y="1092"/>
                  </a:lnTo>
                  <a:lnTo>
                    <a:pt x="1755" y="1132"/>
                  </a:lnTo>
                  <a:lnTo>
                    <a:pt x="1745" y="1171"/>
                  </a:lnTo>
                  <a:lnTo>
                    <a:pt x="1731" y="1210"/>
                  </a:lnTo>
                  <a:lnTo>
                    <a:pt x="1716" y="1249"/>
                  </a:lnTo>
                  <a:lnTo>
                    <a:pt x="1698" y="1285"/>
                  </a:lnTo>
                  <a:lnTo>
                    <a:pt x="1678" y="1321"/>
                  </a:lnTo>
                  <a:close/>
                </a:path>
              </a:pathLst>
            </a:custGeom>
            <a:solidFill>
              <a:srgbClr val="61BA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6" name="Freeform 9"/>
            <p:cNvSpPr>
              <a:spLocks noEditPoints="1"/>
            </p:cNvSpPr>
            <p:nvPr/>
          </p:nvSpPr>
          <p:spPr bwMode="auto">
            <a:xfrm>
              <a:off x="6903020" y="1747641"/>
              <a:ext cx="346075" cy="365125"/>
            </a:xfrm>
            <a:custGeom>
              <a:avLst/>
              <a:gdLst>
                <a:gd name="T0" fmla="*/ 906 w 1525"/>
                <a:gd name="T1" fmla="*/ 3 h 1607"/>
                <a:gd name="T2" fmla="*/ 705 w 1525"/>
                <a:gd name="T3" fmla="*/ 8 h 1607"/>
                <a:gd name="T4" fmla="*/ 512 w 1525"/>
                <a:gd name="T5" fmla="*/ 54 h 1607"/>
                <a:gd name="T6" fmla="*/ 337 w 1525"/>
                <a:gd name="T7" fmla="*/ 140 h 1607"/>
                <a:gd name="T8" fmla="*/ 192 w 1525"/>
                <a:gd name="T9" fmla="*/ 267 h 1607"/>
                <a:gd name="T10" fmla="*/ 88 w 1525"/>
                <a:gd name="T11" fmla="*/ 430 h 1607"/>
                <a:gd name="T12" fmla="*/ 32 w 1525"/>
                <a:gd name="T13" fmla="*/ 627 h 1607"/>
                <a:gd name="T14" fmla="*/ 5 w 1525"/>
                <a:gd name="T15" fmla="*/ 828 h 1607"/>
                <a:gd name="T16" fmla="*/ 3 w 1525"/>
                <a:gd name="T17" fmla="*/ 1021 h 1607"/>
                <a:gd name="T18" fmla="*/ 31 w 1525"/>
                <a:gd name="T19" fmla="*/ 1198 h 1607"/>
                <a:gd name="T20" fmla="*/ 95 w 1525"/>
                <a:gd name="T21" fmla="*/ 1354 h 1607"/>
                <a:gd name="T22" fmla="*/ 201 w 1525"/>
                <a:gd name="T23" fmla="*/ 1481 h 1607"/>
                <a:gd name="T24" fmla="*/ 354 w 1525"/>
                <a:gd name="T25" fmla="*/ 1572 h 1607"/>
                <a:gd name="T26" fmla="*/ 542 w 1525"/>
                <a:gd name="T27" fmla="*/ 1607 h 1607"/>
                <a:gd name="T28" fmla="*/ 740 w 1525"/>
                <a:gd name="T29" fmla="*/ 1580 h 1607"/>
                <a:gd name="T30" fmla="*/ 938 w 1525"/>
                <a:gd name="T31" fmla="*/ 1505 h 1607"/>
                <a:gd name="T32" fmla="*/ 1120 w 1525"/>
                <a:gd name="T33" fmla="*/ 1398 h 1607"/>
                <a:gd name="T34" fmla="*/ 1276 w 1525"/>
                <a:gd name="T35" fmla="*/ 1273 h 1607"/>
                <a:gd name="T36" fmla="*/ 1392 w 1525"/>
                <a:gd name="T37" fmla="*/ 1147 h 1607"/>
                <a:gd name="T38" fmla="*/ 1479 w 1525"/>
                <a:gd name="T39" fmla="*/ 988 h 1607"/>
                <a:gd name="T40" fmla="*/ 1522 w 1525"/>
                <a:gd name="T41" fmla="*/ 788 h 1607"/>
                <a:gd name="T42" fmla="*/ 1511 w 1525"/>
                <a:gd name="T43" fmla="*/ 584 h 1607"/>
                <a:gd name="T44" fmla="*/ 1449 w 1525"/>
                <a:gd name="T45" fmla="*/ 388 h 1607"/>
                <a:gd name="T46" fmla="*/ 1345 w 1525"/>
                <a:gd name="T47" fmla="*/ 220 h 1607"/>
                <a:gd name="T48" fmla="*/ 1202 w 1525"/>
                <a:gd name="T49" fmla="*/ 93 h 1607"/>
                <a:gd name="T50" fmla="*/ 1288 w 1525"/>
                <a:gd name="T51" fmla="*/ 1105 h 1607"/>
                <a:gd name="T52" fmla="*/ 1229 w 1525"/>
                <a:gd name="T53" fmla="*/ 1178 h 1607"/>
                <a:gd name="T54" fmla="*/ 1122 w 1525"/>
                <a:gd name="T55" fmla="*/ 1268 h 1607"/>
                <a:gd name="T56" fmla="*/ 987 w 1525"/>
                <a:gd name="T57" fmla="*/ 1347 h 1607"/>
                <a:gd name="T58" fmla="*/ 834 w 1525"/>
                <a:gd name="T59" fmla="*/ 1407 h 1607"/>
                <a:gd name="T60" fmla="*/ 673 w 1525"/>
                <a:gd name="T61" fmla="*/ 1440 h 1607"/>
                <a:gd name="T62" fmla="*/ 518 w 1525"/>
                <a:gd name="T63" fmla="*/ 1435 h 1607"/>
                <a:gd name="T64" fmla="*/ 379 w 1525"/>
                <a:gd name="T65" fmla="*/ 1386 h 1607"/>
                <a:gd name="T66" fmla="*/ 275 w 1525"/>
                <a:gd name="T67" fmla="*/ 1303 h 1607"/>
                <a:gd name="T68" fmla="*/ 206 w 1525"/>
                <a:gd name="T69" fmla="*/ 1195 h 1607"/>
                <a:gd name="T70" fmla="*/ 167 w 1525"/>
                <a:gd name="T71" fmla="*/ 1066 h 1607"/>
                <a:gd name="T72" fmla="*/ 154 w 1525"/>
                <a:gd name="T73" fmla="*/ 924 h 1607"/>
                <a:gd name="T74" fmla="*/ 165 w 1525"/>
                <a:gd name="T75" fmla="*/ 772 h 1607"/>
                <a:gd name="T76" fmla="*/ 192 w 1525"/>
                <a:gd name="T77" fmla="*/ 617 h 1607"/>
                <a:gd name="T78" fmla="*/ 251 w 1525"/>
                <a:gd name="T79" fmla="*/ 470 h 1607"/>
                <a:gd name="T80" fmla="*/ 350 w 1525"/>
                <a:gd name="T81" fmla="*/ 348 h 1607"/>
                <a:gd name="T82" fmla="*/ 479 w 1525"/>
                <a:gd name="T83" fmla="*/ 255 h 1607"/>
                <a:gd name="T84" fmla="*/ 627 w 1525"/>
                <a:gd name="T85" fmla="*/ 193 h 1607"/>
                <a:gd name="T86" fmla="*/ 786 w 1525"/>
                <a:gd name="T87" fmla="*/ 165 h 1607"/>
                <a:gd name="T88" fmla="*/ 943 w 1525"/>
                <a:gd name="T89" fmla="*/ 177 h 1607"/>
                <a:gd name="T90" fmla="*/ 1089 w 1525"/>
                <a:gd name="T91" fmla="*/ 231 h 1607"/>
                <a:gd name="T92" fmla="*/ 1211 w 1525"/>
                <a:gd name="T93" fmla="*/ 336 h 1607"/>
                <a:gd name="T94" fmla="*/ 1300 w 1525"/>
                <a:gd name="T95" fmla="*/ 476 h 1607"/>
                <a:gd name="T96" fmla="*/ 1355 w 1525"/>
                <a:gd name="T97" fmla="*/ 638 h 1607"/>
                <a:gd name="T98" fmla="*/ 1370 w 1525"/>
                <a:gd name="T99" fmla="*/ 811 h 1607"/>
                <a:gd name="T100" fmla="*/ 1342 w 1525"/>
                <a:gd name="T101" fmla="*/ 980 h 16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25" h="1607">
                  <a:moveTo>
                    <a:pt x="1063" y="31"/>
                  </a:moveTo>
                  <a:lnTo>
                    <a:pt x="1024" y="21"/>
                  </a:lnTo>
                  <a:lnTo>
                    <a:pt x="985" y="13"/>
                  </a:lnTo>
                  <a:lnTo>
                    <a:pt x="946" y="8"/>
                  </a:lnTo>
                  <a:lnTo>
                    <a:pt x="906" y="3"/>
                  </a:lnTo>
                  <a:lnTo>
                    <a:pt x="866" y="1"/>
                  </a:lnTo>
                  <a:lnTo>
                    <a:pt x="826" y="0"/>
                  </a:lnTo>
                  <a:lnTo>
                    <a:pt x="785" y="1"/>
                  </a:lnTo>
                  <a:lnTo>
                    <a:pt x="745" y="3"/>
                  </a:lnTo>
                  <a:lnTo>
                    <a:pt x="705" y="8"/>
                  </a:lnTo>
                  <a:lnTo>
                    <a:pt x="666" y="13"/>
                  </a:lnTo>
                  <a:lnTo>
                    <a:pt x="626" y="21"/>
                  </a:lnTo>
                  <a:lnTo>
                    <a:pt x="588" y="30"/>
                  </a:lnTo>
                  <a:lnTo>
                    <a:pt x="550" y="42"/>
                  </a:lnTo>
                  <a:lnTo>
                    <a:pt x="512" y="54"/>
                  </a:lnTo>
                  <a:lnTo>
                    <a:pt x="475" y="68"/>
                  </a:lnTo>
                  <a:lnTo>
                    <a:pt x="439" y="84"/>
                  </a:lnTo>
                  <a:lnTo>
                    <a:pt x="404" y="101"/>
                  </a:lnTo>
                  <a:lnTo>
                    <a:pt x="370" y="120"/>
                  </a:lnTo>
                  <a:lnTo>
                    <a:pt x="337" y="140"/>
                  </a:lnTo>
                  <a:lnTo>
                    <a:pt x="305" y="163"/>
                  </a:lnTo>
                  <a:lnTo>
                    <a:pt x="275" y="186"/>
                  </a:lnTo>
                  <a:lnTo>
                    <a:pt x="245" y="212"/>
                  </a:lnTo>
                  <a:lnTo>
                    <a:pt x="218" y="238"/>
                  </a:lnTo>
                  <a:lnTo>
                    <a:pt x="192" y="267"/>
                  </a:lnTo>
                  <a:lnTo>
                    <a:pt x="167" y="296"/>
                  </a:lnTo>
                  <a:lnTo>
                    <a:pt x="145" y="328"/>
                  </a:lnTo>
                  <a:lnTo>
                    <a:pt x="123" y="361"/>
                  </a:lnTo>
                  <a:lnTo>
                    <a:pt x="105" y="395"/>
                  </a:lnTo>
                  <a:lnTo>
                    <a:pt x="88" y="430"/>
                  </a:lnTo>
                  <a:lnTo>
                    <a:pt x="73" y="468"/>
                  </a:lnTo>
                  <a:lnTo>
                    <a:pt x="60" y="506"/>
                  </a:lnTo>
                  <a:lnTo>
                    <a:pt x="49" y="546"/>
                  </a:lnTo>
                  <a:lnTo>
                    <a:pt x="41" y="587"/>
                  </a:lnTo>
                  <a:lnTo>
                    <a:pt x="32" y="627"/>
                  </a:lnTo>
                  <a:lnTo>
                    <a:pt x="25" y="668"/>
                  </a:lnTo>
                  <a:lnTo>
                    <a:pt x="19" y="709"/>
                  </a:lnTo>
                  <a:lnTo>
                    <a:pt x="13" y="748"/>
                  </a:lnTo>
                  <a:lnTo>
                    <a:pt x="8" y="788"/>
                  </a:lnTo>
                  <a:lnTo>
                    <a:pt x="5" y="828"/>
                  </a:lnTo>
                  <a:lnTo>
                    <a:pt x="3" y="868"/>
                  </a:lnTo>
                  <a:lnTo>
                    <a:pt x="0" y="906"/>
                  </a:lnTo>
                  <a:lnTo>
                    <a:pt x="0" y="945"/>
                  </a:lnTo>
                  <a:lnTo>
                    <a:pt x="0" y="983"/>
                  </a:lnTo>
                  <a:lnTo>
                    <a:pt x="3" y="1021"/>
                  </a:lnTo>
                  <a:lnTo>
                    <a:pt x="6" y="1057"/>
                  </a:lnTo>
                  <a:lnTo>
                    <a:pt x="11" y="1094"/>
                  </a:lnTo>
                  <a:lnTo>
                    <a:pt x="15" y="1129"/>
                  </a:lnTo>
                  <a:lnTo>
                    <a:pt x="23" y="1164"/>
                  </a:lnTo>
                  <a:lnTo>
                    <a:pt x="31" y="1198"/>
                  </a:lnTo>
                  <a:lnTo>
                    <a:pt x="41" y="1231"/>
                  </a:lnTo>
                  <a:lnTo>
                    <a:pt x="52" y="1263"/>
                  </a:lnTo>
                  <a:lnTo>
                    <a:pt x="65" y="1295"/>
                  </a:lnTo>
                  <a:lnTo>
                    <a:pt x="79" y="1324"/>
                  </a:lnTo>
                  <a:lnTo>
                    <a:pt x="95" y="1354"/>
                  </a:lnTo>
                  <a:lnTo>
                    <a:pt x="113" y="1381"/>
                  </a:lnTo>
                  <a:lnTo>
                    <a:pt x="133" y="1408"/>
                  </a:lnTo>
                  <a:lnTo>
                    <a:pt x="153" y="1433"/>
                  </a:lnTo>
                  <a:lnTo>
                    <a:pt x="177" y="1458"/>
                  </a:lnTo>
                  <a:lnTo>
                    <a:pt x="201" y="1481"/>
                  </a:lnTo>
                  <a:lnTo>
                    <a:pt x="228" y="1502"/>
                  </a:lnTo>
                  <a:lnTo>
                    <a:pt x="257" y="1522"/>
                  </a:lnTo>
                  <a:lnTo>
                    <a:pt x="287" y="1540"/>
                  </a:lnTo>
                  <a:lnTo>
                    <a:pt x="320" y="1557"/>
                  </a:lnTo>
                  <a:lnTo>
                    <a:pt x="354" y="1572"/>
                  </a:lnTo>
                  <a:lnTo>
                    <a:pt x="390" y="1584"/>
                  </a:lnTo>
                  <a:lnTo>
                    <a:pt x="427" y="1595"/>
                  </a:lnTo>
                  <a:lnTo>
                    <a:pt x="464" y="1602"/>
                  </a:lnTo>
                  <a:lnTo>
                    <a:pt x="503" y="1606"/>
                  </a:lnTo>
                  <a:lnTo>
                    <a:pt x="542" y="1607"/>
                  </a:lnTo>
                  <a:lnTo>
                    <a:pt x="581" y="1606"/>
                  </a:lnTo>
                  <a:lnTo>
                    <a:pt x="621" y="1604"/>
                  </a:lnTo>
                  <a:lnTo>
                    <a:pt x="660" y="1598"/>
                  </a:lnTo>
                  <a:lnTo>
                    <a:pt x="700" y="1590"/>
                  </a:lnTo>
                  <a:lnTo>
                    <a:pt x="740" y="1580"/>
                  </a:lnTo>
                  <a:lnTo>
                    <a:pt x="780" y="1569"/>
                  </a:lnTo>
                  <a:lnTo>
                    <a:pt x="820" y="1555"/>
                  </a:lnTo>
                  <a:lnTo>
                    <a:pt x="860" y="1540"/>
                  </a:lnTo>
                  <a:lnTo>
                    <a:pt x="899" y="1523"/>
                  </a:lnTo>
                  <a:lnTo>
                    <a:pt x="938" y="1505"/>
                  </a:lnTo>
                  <a:lnTo>
                    <a:pt x="975" y="1486"/>
                  </a:lnTo>
                  <a:lnTo>
                    <a:pt x="1013" y="1465"/>
                  </a:lnTo>
                  <a:lnTo>
                    <a:pt x="1049" y="1444"/>
                  </a:lnTo>
                  <a:lnTo>
                    <a:pt x="1085" y="1421"/>
                  </a:lnTo>
                  <a:lnTo>
                    <a:pt x="1120" y="1398"/>
                  </a:lnTo>
                  <a:lnTo>
                    <a:pt x="1153" y="1374"/>
                  </a:lnTo>
                  <a:lnTo>
                    <a:pt x="1186" y="1349"/>
                  </a:lnTo>
                  <a:lnTo>
                    <a:pt x="1217" y="1324"/>
                  </a:lnTo>
                  <a:lnTo>
                    <a:pt x="1248" y="1299"/>
                  </a:lnTo>
                  <a:lnTo>
                    <a:pt x="1276" y="1273"/>
                  </a:lnTo>
                  <a:lnTo>
                    <a:pt x="1302" y="1248"/>
                  </a:lnTo>
                  <a:lnTo>
                    <a:pt x="1327" y="1222"/>
                  </a:lnTo>
                  <a:lnTo>
                    <a:pt x="1351" y="1197"/>
                  </a:lnTo>
                  <a:lnTo>
                    <a:pt x="1373" y="1172"/>
                  </a:lnTo>
                  <a:lnTo>
                    <a:pt x="1392" y="1147"/>
                  </a:lnTo>
                  <a:lnTo>
                    <a:pt x="1410" y="1123"/>
                  </a:lnTo>
                  <a:lnTo>
                    <a:pt x="1426" y="1099"/>
                  </a:lnTo>
                  <a:lnTo>
                    <a:pt x="1446" y="1063"/>
                  </a:lnTo>
                  <a:lnTo>
                    <a:pt x="1464" y="1027"/>
                  </a:lnTo>
                  <a:lnTo>
                    <a:pt x="1479" y="988"/>
                  </a:lnTo>
                  <a:lnTo>
                    <a:pt x="1493" y="949"/>
                  </a:lnTo>
                  <a:lnTo>
                    <a:pt x="1503" y="910"/>
                  </a:lnTo>
                  <a:lnTo>
                    <a:pt x="1512" y="870"/>
                  </a:lnTo>
                  <a:lnTo>
                    <a:pt x="1518" y="829"/>
                  </a:lnTo>
                  <a:lnTo>
                    <a:pt x="1522" y="788"/>
                  </a:lnTo>
                  <a:lnTo>
                    <a:pt x="1525" y="747"/>
                  </a:lnTo>
                  <a:lnTo>
                    <a:pt x="1524" y="706"/>
                  </a:lnTo>
                  <a:lnTo>
                    <a:pt x="1521" y="665"/>
                  </a:lnTo>
                  <a:lnTo>
                    <a:pt x="1517" y="623"/>
                  </a:lnTo>
                  <a:lnTo>
                    <a:pt x="1511" y="584"/>
                  </a:lnTo>
                  <a:lnTo>
                    <a:pt x="1502" y="543"/>
                  </a:lnTo>
                  <a:lnTo>
                    <a:pt x="1492" y="503"/>
                  </a:lnTo>
                  <a:lnTo>
                    <a:pt x="1479" y="464"/>
                  </a:lnTo>
                  <a:lnTo>
                    <a:pt x="1465" y="426"/>
                  </a:lnTo>
                  <a:lnTo>
                    <a:pt x="1449" y="388"/>
                  </a:lnTo>
                  <a:lnTo>
                    <a:pt x="1432" y="352"/>
                  </a:lnTo>
                  <a:lnTo>
                    <a:pt x="1413" y="317"/>
                  </a:lnTo>
                  <a:lnTo>
                    <a:pt x="1391" y="284"/>
                  </a:lnTo>
                  <a:lnTo>
                    <a:pt x="1370" y="251"/>
                  </a:lnTo>
                  <a:lnTo>
                    <a:pt x="1345" y="220"/>
                  </a:lnTo>
                  <a:lnTo>
                    <a:pt x="1319" y="190"/>
                  </a:lnTo>
                  <a:lnTo>
                    <a:pt x="1292" y="163"/>
                  </a:lnTo>
                  <a:lnTo>
                    <a:pt x="1264" y="137"/>
                  </a:lnTo>
                  <a:lnTo>
                    <a:pt x="1233" y="114"/>
                  </a:lnTo>
                  <a:lnTo>
                    <a:pt x="1202" y="93"/>
                  </a:lnTo>
                  <a:lnTo>
                    <a:pt x="1169" y="73"/>
                  </a:lnTo>
                  <a:lnTo>
                    <a:pt x="1135" y="56"/>
                  </a:lnTo>
                  <a:lnTo>
                    <a:pt x="1099" y="43"/>
                  </a:lnTo>
                  <a:lnTo>
                    <a:pt x="1063" y="31"/>
                  </a:lnTo>
                  <a:close/>
                  <a:moveTo>
                    <a:pt x="1288" y="1105"/>
                  </a:moveTo>
                  <a:lnTo>
                    <a:pt x="1288" y="1105"/>
                  </a:lnTo>
                  <a:lnTo>
                    <a:pt x="1276" y="1123"/>
                  </a:lnTo>
                  <a:lnTo>
                    <a:pt x="1262" y="1141"/>
                  </a:lnTo>
                  <a:lnTo>
                    <a:pt x="1247" y="1160"/>
                  </a:lnTo>
                  <a:lnTo>
                    <a:pt x="1229" y="1178"/>
                  </a:lnTo>
                  <a:lnTo>
                    <a:pt x="1211" y="1196"/>
                  </a:lnTo>
                  <a:lnTo>
                    <a:pt x="1191" y="1214"/>
                  </a:lnTo>
                  <a:lnTo>
                    <a:pt x="1169" y="1232"/>
                  </a:lnTo>
                  <a:lnTo>
                    <a:pt x="1146" y="1250"/>
                  </a:lnTo>
                  <a:lnTo>
                    <a:pt x="1122" y="1268"/>
                  </a:lnTo>
                  <a:lnTo>
                    <a:pt x="1097" y="1285"/>
                  </a:lnTo>
                  <a:lnTo>
                    <a:pt x="1071" y="1300"/>
                  </a:lnTo>
                  <a:lnTo>
                    <a:pt x="1044" y="1316"/>
                  </a:lnTo>
                  <a:lnTo>
                    <a:pt x="1015" y="1332"/>
                  </a:lnTo>
                  <a:lnTo>
                    <a:pt x="987" y="1347"/>
                  </a:lnTo>
                  <a:lnTo>
                    <a:pt x="957" y="1361"/>
                  </a:lnTo>
                  <a:lnTo>
                    <a:pt x="927" y="1374"/>
                  </a:lnTo>
                  <a:lnTo>
                    <a:pt x="896" y="1386"/>
                  </a:lnTo>
                  <a:lnTo>
                    <a:pt x="865" y="1397"/>
                  </a:lnTo>
                  <a:lnTo>
                    <a:pt x="834" y="1407"/>
                  </a:lnTo>
                  <a:lnTo>
                    <a:pt x="802" y="1416"/>
                  </a:lnTo>
                  <a:lnTo>
                    <a:pt x="770" y="1424"/>
                  </a:lnTo>
                  <a:lnTo>
                    <a:pt x="738" y="1431"/>
                  </a:lnTo>
                  <a:lnTo>
                    <a:pt x="705" y="1436"/>
                  </a:lnTo>
                  <a:lnTo>
                    <a:pt x="673" y="1440"/>
                  </a:lnTo>
                  <a:lnTo>
                    <a:pt x="641" y="1442"/>
                  </a:lnTo>
                  <a:lnTo>
                    <a:pt x="610" y="1442"/>
                  </a:lnTo>
                  <a:lnTo>
                    <a:pt x="578" y="1442"/>
                  </a:lnTo>
                  <a:lnTo>
                    <a:pt x="548" y="1439"/>
                  </a:lnTo>
                  <a:lnTo>
                    <a:pt x="518" y="1435"/>
                  </a:lnTo>
                  <a:lnTo>
                    <a:pt x="488" y="1429"/>
                  </a:lnTo>
                  <a:lnTo>
                    <a:pt x="459" y="1421"/>
                  </a:lnTo>
                  <a:lnTo>
                    <a:pt x="431" y="1411"/>
                  </a:lnTo>
                  <a:lnTo>
                    <a:pt x="404" y="1398"/>
                  </a:lnTo>
                  <a:lnTo>
                    <a:pt x="379" y="1386"/>
                  </a:lnTo>
                  <a:lnTo>
                    <a:pt x="355" y="1371"/>
                  </a:lnTo>
                  <a:lnTo>
                    <a:pt x="333" y="1356"/>
                  </a:lnTo>
                  <a:lnTo>
                    <a:pt x="312" y="1339"/>
                  </a:lnTo>
                  <a:lnTo>
                    <a:pt x="292" y="1321"/>
                  </a:lnTo>
                  <a:lnTo>
                    <a:pt x="275" y="1303"/>
                  </a:lnTo>
                  <a:lnTo>
                    <a:pt x="258" y="1283"/>
                  </a:lnTo>
                  <a:lnTo>
                    <a:pt x="243" y="1262"/>
                  </a:lnTo>
                  <a:lnTo>
                    <a:pt x="230" y="1240"/>
                  </a:lnTo>
                  <a:lnTo>
                    <a:pt x="217" y="1219"/>
                  </a:lnTo>
                  <a:lnTo>
                    <a:pt x="206" y="1195"/>
                  </a:lnTo>
                  <a:lnTo>
                    <a:pt x="195" y="1171"/>
                  </a:lnTo>
                  <a:lnTo>
                    <a:pt x="186" y="1146"/>
                  </a:lnTo>
                  <a:lnTo>
                    <a:pt x="179" y="1120"/>
                  </a:lnTo>
                  <a:lnTo>
                    <a:pt x="173" y="1094"/>
                  </a:lnTo>
                  <a:lnTo>
                    <a:pt x="167" y="1066"/>
                  </a:lnTo>
                  <a:lnTo>
                    <a:pt x="162" y="1039"/>
                  </a:lnTo>
                  <a:lnTo>
                    <a:pt x="159" y="1012"/>
                  </a:lnTo>
                  <a:lnTo>
                    <a:pt x="157" y="982"/>
                  </a:lnTo>
                  <a:lnTo>
                    <a:pt x="155" y="954"/>
                  </a:lnTo>
                  <a:lnTo>
                    <a:pt x="154" y="924"/>
                  </a:lnTo>
                  <a:lnTo>
                    <a:pt x="154" y="895"/>
                  </a:lnTo>
                  <a:lnTo>
                    <a:pt x="155" y="864"/>
                  </a:lnTo>
                  <a:lnTo>
                    <a:pt x="158" y="835"/>
                  </a:lnTo>
                  <a:lnTo>
                    <a:pt x="161" y="804"/>
                  </a:lnTo>
                  <a:lnTo>
                    <a:pt x="165" y="772"/>
                  </a:lnTo>
                  <a:lnTo>
                    <a:pt x="168" y="741"/>
                  </a:lnTo>
                  <a:lnTo>
                    <a:pt x="174" y="711"/>
                  </a:lnTo>
                  <a:lnTo>
                    <a:pt x="179" y="679"/>
                  </a:lnTo>
                  <a:lnTo>
                    <a:pt x="185" y="647"/>
                  </a:lnTo>
                  <a:lnTo>
                    <a:pt x="192" y="617"/>
                  </a:lnTo>
                  <a:lnTo>
                    <a:pt x="200" y="586"/>
                  </a:lnTo>
                  <a:lnTo>
                    <a:pt x="210" y="555"/>
                  </a:lnTo>
                  <a:lnTo>
                    <a:pt x="222" y="526"/>
                  </a:lnTo>
                  <a:lnTo>
                    <a:pt x="235" y="497"/>
                  </a:lnTo>
                  <a:lnTo>
                    <a:pt x="251" y="470"/>
                  </a:lnTo>
                  <a:lnTo>
                    <a:pt x="268" y="444"/>
                  </a:lnTo>
                  <a:lnTo>
                    <a:pt x="287" y="419"/>
                  </a:lnTo>
                  <a:lnTo>
                    <a:pt x="306" y="394"/>
                  </a:lnTo>
                  <a:lnTo>
                    <a:pt x="328" y="371"/>
                  </a:lnTo>
                  <a:lnTo>
                    <a:pt x="350" y="348"/>
                  </a:lnTo>
                  <a:lnTo>
                    <a:pt x="373" y="328"/>
                  </a:lnTo>
                  <a:lnTo>
                    <a:pt x="398" y="307"/>
                  </a:lnTo>
                  <a:lnTo>
                    <a:pt x="424" y="289"/>
                  </a:lnTo>
                  <a:lnTo>
                    <a:pt x="452" y="271"/>
                  </a:lnTo>
                  <a:lnTo>
                    <a:pt x="479" y="255"/>
                  </a:lnTo>
                  <a:lnTo>
                    <a:pt x="508" y="240"/>
                  </a:lnTo>
                  <a:lnTo>
                    <a:pt x="536" y="227"/>
                  </a:lnTo>
                  <a:lnTo>
                    <a:pt x="567" y="214"/>
                  </a:lnTo>
                  <a:lnTo>
                    <a:pt x="597" y="203"/>
                  </a:lnTo>
                  <a:lnTo>
                    <a:pt x="627" y="193"/>
                  </a:lnTo>
                  <a:lnTo>
                    <a:pt x="659" y="185"/>
                  </a:lnTo>
                  <a:lnTo>
                    <a:pt x="690" y="178"/>
                  </a:lnTo>
                  <a:lnTo>
                    <a:pt x="722" y="172"/>
                  </a:lnTo>
                  <a:lnTo>
                    <a:pt x="754" y="168"/>
                  </a:lnTo>
                  <a:lnTo>
                    <a:pt x="786" y="165"/>
                  </a:lnTo>
                  <a:lnTo>
                    <a:pt x="818" y="164"/>
                  </a:lnTo>
                  <a:lnTo>
                    <a:pt x="850" y="165"/>
                  </a:lnTo>
                  <a:lnTo>
                    <a:pt x="881" y="168"/>
                  </a:lnTo>
                  <a:lnTo>
                    <a:pt x="912" y="171"/>
                  </a:lnTo>
                  <a:lnTo>
                    <a:pt x="943" y="177"/>
                  </a:lnTo>
                  <a:lnTo>
                    <a:pt x="973" y="184"/>
                  </a:lnTo>
                  <a:lnTo>
                    <a:pt x="1004" y="193"/>
                  </a:lnTo>
                  <a:lnTo>
                    <a:pt x="1033" y="203"/>
                  </a:lnTo>
                  <a:lnTo>
                    <a:pt x="1062" y="217"/>
                  </a:lnTo>
                  <a:lnTo>
                    <a:pt x="1089" y="231"/>
                  </a:lnTo>
                  <a:lnTo>
                    <a:pt x="1117" y="250"/>
                  </a:lnTo>
                  <a:lnTo>
                    <a:pt x="1142" y="268"/>
                  </a:lnTo>
                  <a:lnTo>
                    <a:pt x="1166" y="289"/>
                  </a:lnTo>
                  <a:lnTo>
                    <a:pt x="1188" y="312"/>
                  </a:lnTo>
                  <a:lnTo>
                    <a:pt x="1211" y="336"/>
                  </a:lnTo>
                  <a:lnTo>
                    <a:pt x="1232" y="361"/>
                  </a:lnTo>
                  <a:lnTo>
                    <a:pt x="1251" y="388"/>
                  </a:lnTo>
                  <a:lnTo>
                    <a:pt x="1268" y="417"/>
                  </a:lnTo>
                  <a:lnTo>
                    <a:pt x="1285" y="445"/>
                  </a:lnTo>
                  <a:lnTo>
                    <a:pt x="1300" y="476"/>
                  </a:lnTo>
                  <a:lnTo>
                    <a:pt x="1314" y="506"/>
                  </a:lnTo>
                  <a:lnTo>
                    <a:pt x="1326" y="539"/>
                  </a:lnTo>
                  <a:lnTo>
                    <a:pt x="1338" y="571"/>
                  </a:lnTo>
                  <a:lnTo>
                    <a:pt x="1347" y="605"/>
                  </a:lnTo>
                  <a:lnTo>
                    <a:pt x="1355" y="638"/>
                  </a:lnTo>
                  <a:lnTo>
                    <a:pt x="1361" y="672"/>
                  </a:lnTo>
                  <a:lnTo>
                    <a:pt x="1366" y="707"/>
                  </a:lnTo>
                  <a:lnTo>
                    <a:pt x="1369" y="741"/>
                  </a:lnTo>
                  <a:lnTo>
                    <a:pt x="1371" y="777"/>
                  </a:lnTo>
                  <a:lnTo>
                    <a:pt x="1370" y="811"/>
                  </a:lnTo>
                  <a:lnTo>
                    <a:pt x="1369" y="846"/>
                  </a:lnTo>
                  <a:lnTo>
                    <a:pt x="1364" y="880"/>
                  </a:lnTo>
                  <a:lnTo>
                    <a:pt x="1359" y="914"/>
                  </a:lnTo>
                  <a:lnTo>
                    <a:pt x="1351" y="947"/>
                  </a:lnTo>
                  <a:lnTo>
                    <a:pt x="1342" y="980"/>
                  </a:lnTo>
                  <a:lnTo>
                    <a:pt x="1332" y="1013"/>
                  </a:lnTo>
                  <a:lnTo>
                    <a:pt x="1319" y="1045"/>
                  </a:lnTo>
                  <a:lnTo>
                    <a:pt x="1305" y="1076"/>
                  </a:lnTo>
                  <a:lnTo>
                    <a:pt x="1288" y="1105"/>
                  </a:lnTo>
                  <a:close/>
                </a:path>
              </a:pathLst>
            </a:custGeom>
            <a:solidFill>
              <a:srgbClr val="D8E7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" name="Freeform 10"/>
            <p:cNvSpPr>
              <a:spLocks noEditPoints="1"/>
            </p:cNvSpPr>
            <p:nvPr/>
          </p:nvSpPr>
          <p:spPr bwMode="auto">
            <a:xfrm>
              <a:off x="6937945" y="1785741"/>
              <a:ext cx="276225" cy="288925"/>
            </a:xfrm>
            <a:custGeom>
              <a:avLst/>
              <a:gdLst>
                <a:gd name="T0" fmla="*/ 758 w 1217"/>
                <a:gd name="T1" fmla="*/ 7 h 1278"/>
                <a:gd name="T2" fmla="*/ 632 w 1217"/>
                <a:gd name="T3" fmla="*/ 1 h 1278"/>
                <a:gd name="T4" fmla="*/ 505 w 1217"/>
                <a:gd name="T5" fmla="*/ 21 h 1278"/>
                <a:gd name="T6" fmla="*/ 382 w 1217"/>
                <a:gd name="T7" fmla="*/ 63 h 1278"/>
                <a:gd name="T8" fmla="*/ 270 w 1217"/>
                <a:gd name="T9" fmla="*/ 125 h 1278"/>
                <a:gd name="T10" fmla="*/ 174 w 1217"/>
                <a:gd name="T11" fmla="*/ 207 h 1278"/>
                <a:gd name="T12" fmla="*/ 97 w 1217"/>
                <a:gd name="T13" fmla="*/ 306 h 1278"/>
                <a:gd name="T14" fmla="*/ 46 w 1217"/>
                <a:gd name="T15" fmla="*/ 422 h 1278"/>
                <a:gd name="T16" fmla="*/ 20 w 1217"/>
                <a:gd name="T17" fmla="*/ 547 h 1278"/>
                <a:gd name="T18" fmla="*/ 4 w 1217"/>
                <a:gd name="T19" fmla="*/ 671 h 1278"/>
                <a:gd name="T20" fmla="*/ 1 w 1217"/>
                <a:gd name="T21" fmla="*/ 790 h 1278"/>
                <a:gd name="T22" fmla="*/ 13 w 1217"/>
                <a:gd name="T23" fmla="*/ 902 h 1278"/>
                <a:gd name="T24" fmla="*/ 41 w 1217"/>
                <a:gd name="T25" fmla="*/ 1007 h 1278"/>
                <a:gd name="T26" fmla="*/ 89 w 1217"/>
                <a:gd name="T27" fmla="*/ 1098 h 1278"/>
                <a:gd name="T28" fmla="*/ 158 w 1217"/>
                <a:gd name="T29" fmla="*/ 1175 h 1278"/>
                <a:gd name="T30" fmla="*/ 250 w 1217"/>
                <a:gd name="T31" fmla="*/ 1234 h 1278"/>
                <a:gd name="T32" fmla="*/ 364 w 1217"/>
                <a:gd name="T33" fmla="*/ 1271 h 1278"/>
                <a:gd name="T34" fmla="*/ 487 w 1217"/>
                <a:gd name="T35" fmla="*/ 1278 h 1278"/>
                <a:gd name="T36" fmla="*/ 616 w 1217"/>
                <a:gd name="T37" fmla="*/ 1260 h 1278"/>
                <a:gd name="T38" fmla="*/ 742 w 1217"/>
                <a:gd name="T39" fmla="*/ 1222 h 1278"/>
                <a:gd name="T40" fmla="*/ 861 w 1217"/>
                <a:gd name="T41" fmla="*/ 1168 h 1278"/>
                <a:gd name="T42" fmla="*/ 968 w 1217"/>
                <a:gd name="T43" fmla="*/ 1104 h 1278"/>
                <a:gd name="T44" fmla="*/ 1057 w 1217"/>
                <a:gd name="T45" fmla="*/ 1032 h 1278"/>
                <a:gd name="T46" fmla="*/ 1122 w 1217"/>
                <a:gd name="T47" fmla="*/ 959 h 1278"/>
                <a:gd name="T48" fmla="*/ 1178 w 1217"/>
                <a:gd name="T49" fmla="*/ 849 h 1278"/>
                <a:gd name="T50" fmla="*/ 1210 w 1217"/>
                <a:gd name="T51" fmla="*/ 716 h 1278"/>
                <a:gd name="T52" fmla="*/ 1215 w 1217"/>
                <a:gd name="T53" fmla="*/ 577 h 1278"/>
                <a:gd name="T54" fmla="*/ 1193 w 1217"/>
                <a:gd name="T55" fmla="*/ 441 h 1278"/>
                <a:gd name="T56" fmla="*/ 1146 w 1217"/>
                <a:gd name="T57" fmla="*/ 312 h 1278"/>
                <a:gd name="T58" fmla="*/ 1078 w 1217"/>
                <a:gd name="T59" fmla="*/ 197 h 1278"/>
                <a:gd name="T60" fmla="*/ 988 w 1217"/>
                <a:gd name="T61" fmla="*/ 104 h 1278"/>
                <a:gd name="T62" fmla="*/ 879 w 1217"/>
                <a:gd name="T63" fmla="*/ 39 h 1278"/>
                <a:gd name="T64" fmla="*/ 888 w 1217"/>
                <a:gd name="T65" fmla="*/ 956 h 1278"/>
                <a:gd name="T66" fmla="*/ 820 w 1217"/>
                <a:gd name="T67" fmla="*/ 1015 h 1278"/>
                <a:gd name="T68" fmla="*/ 741 w 1217"/>
                <a:gd name="T69" fmla="*/ 1054 h 1278"/>
                <a:gd name="T70" fmla="*/ 655 w 1217"/>
                <a:gd name="T71" fmla="*/ 1073 h 1278"/>
                <a:gd name="T72" fmla="*/ 565 w 1217"/>
                <a:gd name="T73" fmla="*/ 1075 h 1278"/>
                <a:gd name="T74" fmla="*/ 473 w 1217"/>
                <a:gd name="T75" fmla="*/ 1059 h 1278"/>
                <a:gd name="T76" fmla="*/ 384 w 1217"/>
                <a:gd name="T77" fmla="*/ 1029 h 1278"/>
                <a:gd name="T78" fmla="*/ 301 w 1217"/>
                <a:gd name="T79" fmla="*/ 983 h 1278"/>
                <a:gd name="T80" fmla="*/ 228 w 1217"/>
                <a:gd name="T81" fmla="*/ 924 h 1278"/>
                <a:gd name="T82" fmla="*/ 175 w 1217"/>
                <a:gd name="T83" fmla="*/ 852 h 1278"/>
                <a:gd name="T84" fmla="*/ 141 w 1217"/>
                <a:gd name="T85" fmla="*/ 768 h 1278"/>
                <a:gd name="T86" fmla="*/ 126 w 1217"/>
                <a:gd name="T87" fmla="*/ 676 h 1278"/>
                <a:gd name="T88" fmla="*/ 130 w 1217"/>
                <a:gd name="T89" fmla="*/ 583 h 1278"/>
                <a:gd name="T90" fmla="*/ 153 w 1217"/>
                <a:gd name="T91" fmla="*/ 491 h 1278"/>
                <a:gd name="T92" fmla="*/ 194 w 1217"/>
                <a:gd name="T93" fmla="*/ 406 h 1278"/>
                <a:gd name="T94" fmla="*/ 252 w 1217"/>
                <a:gd name="T95" fmla="*/ 334 h 1278"/>
                <a:gd name="T96" fmla="*/ 321 w 1217"/>
                <a:gd name="T97" fmla="*/ 282 h 1278"/>
                <a:gd name="T98" fmla="*/ 389 w 1217"/>
                <a:gd name="T99" fmla="*/ 251 h 1278"/>
                <a:gd name="T100" fmla="*/ 476 w 1217"/>
                <a:gd name="T101" fmla="*/ 226 h 1278"/>
                <a:gd name="T102" fmla="*/ 573 w 1217"/>
                <a:gd name="T103" fmla="*/ 209 h 1278"/>
                <a:gd name="T104" fmla="*/ 676 w 1217"/>
                <a:gd name="T105" fmla="*/ 204 h 1278"/>
                <a:gd name="T106" fmla="*/ 779 w 1217"/>
                <a:gd name="T107" fmla="*/ 209 h 1278"/>
                <a:gd name="T108" fmla="*/ 876 w 1217"/>
                <a:gd name="T109" fmla="*/ 232 h 1278"/>
                <a:gd name="T110" fmla="*/ 960 w 1217"/>
                <a:gd name="T111" fmla="*/ 273 h 1278"/>
                <a:gd name="T112" fmla="*/ 1028 w 1217"/>
                <a:gd name="T113" fmla="*/ 334 h 1278"/>
                <a:gd name="T114" fmla="*/ 1070 w 1217"/>
                <a:gd name="T115" fmla="*/ 405 h 1278"/>
                <a:gd name="T116" fmla="*/ 1089 w 1217"/>
                <a:gd name="T117" fmla="*/ 481 h 1278"/>
                <a:gd name="T118" fmla="*/ 1089 w 1217"/>
                <a:gd name="T119" fmla="*/ 559 h 1278"/>
                <a:gd name="T120" fmla="*/ 1072 w 1217"/>
                <a:gd name="T121" fmla="*/ 640 h 1278"/>
                <a:gd name="T122" fmla="*/ 1040 w 1217"/>
                <a:gd name="T123" fmla="*/ 722 h 1278"/>
                <a:gd name="T124" fmla="*/ 985 w 1217"/>
                <a:gd name="T125" fmla="*/ 822 h 1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17" h="1278">
                  <a:moveTo>
                    <a:pt x="850" y="29"/>
                  </a:moveTo>
                  <a:lnTo>
                    <a:pt x="819" y="20"/>
                  </a:lnTo>
                  <a:lnTo>
                    <a:pt x="789" y="13"/>
                  </a:lnTo>
                  <a:lnTo>
                    <a:pt x="758" y="7"/>
                  </a:lnTo>
                  <a:lnTo>
                    <a:pt x="727" y="4"/>
                  </a:lnTo>
                  <a:lnTo>
                    <a:pt x="696" y="1"/>
                  </a:lnTo>
                  <a:lnTo>
                    <a:pt x="664" y="0"/>
                  </a:lnTo>
                  <a:lnTo>
                    <a:pt x="632" y="1"/>
                  </a:lnTo>
                  <a:lnTo>
                    <a:pt x="600" y="4"/>
                  </a:lnTo>
                  <a:lnTo>
                    <a:pt x="568" y="8"/>
                  </a:lnTo>
                  <a:lnTo>
                    <a:pt x="536" y="14"/>
                  </a:lnTo>
                  <a:lnTo>
                    <a:pt x="505" y="21"/>
                  </a:lnTo>
                  <a:lnTo>
                    <a:pt x="473" y="29"/>
                  </a:lnTo>
                  <a:lnTo>
                    <a:pt x="443" y="39"/>
                  </a:lnTo>
                  <a:lnTo>
                    <a:pt x="413" y="50"/>
                  </a:lnTo>
                  <a:lnTo>
                    <a:pt x="382" y="63"/>
                  </a:lnTo>
                  <a:lnTo>
                    <a:pt x="354" y="76"/>
                  </a:lnTo>
                  <a:lnTo>
                    <a:pt x="325" y="91"/>
                  </a:lnTo>
                  <a:lnTo>
                    <a:pt x="298" y="107"/>
                  </a:lnTo>
                  <a:lnTo>
                    <a:pt x="270" y="125"/>
                  </a:lnTo>
                  <a:lnTo>
                    <a:pt x="244" y="143"/>
                  </a:lnTo>
                  <a:lnTo>
                    <a:pt x="219" y="164"/>
                  </a:lnTo>
                  <a:lnTo>
                    <a:pt x="196" y="184"/>
                  </a:lnTo>
                  <a:lnTo>
                    <a:pt x="174" y="207"/>
                  </a:lnTo>
                  <a:lnTo>
                    <a:pt x="152" y="230"/>
                  </a:lnTo>
                  <a:lnTo>
                    <a:pt x="133" y="255"/>
                  </a:lnTo>
                  <a:lnTo>
                    <a:pt x="114" y="280"/>
                  </a:lnTo>
                  <a:lnTo>
                    <a:pt x="97" y="306"/>
                  </a:lnTo>
                  <a:lnTo>
                    <a:pt x="81" y="333"/>
                  </a:lnTo>
                  <a:lnTo>
                    <a:pt x="68" y="362"/>
                  </a:lnTo>
                  <a:lnTo>
                    <a:pt x="56" y="391"/>
                  </a:lnTo>
                  <a:lnTo>
                    <a:pt x="46" y="422"/>
                  </a:lnTo>
                  <a:lnTo>
                    <a:pt x="38" y="453"/>
                  </a:lnTo>
                  <a:lnTo>
                    <a:pt x="31" y="483"/>
                  </a:lnTo>
                  <a:lnTo>
                    <a:pt x="25" y="515"/>
                  </a:lnTo>
                  <a:lnTo>
                    <a:pt x="20" y="547"/>
                  </a:lnTo>
                  <a:lnTo>
                    <a:pt x="14" y="577"/>
                  </a:lnTo>
                  <a:lnTo>
                    <a:pt x="11" y="608"/>
                  </a:lnTo>
                  <a:lnTo>
                    <a:pt x="7" y="640"/>
                  </a:lnTo>
                  <a:lnTo>
                    <a:pt x="4" y="671"/>
                  </a:lnTo>
                  <a:lnTo>
                    <a:pt x="1" y="700"/>
                  </a:lnTo>
                  <a:lnTo>
                    <a:pt x="0" y="731"/>
                  </a:lnTo>
                  <a:lnTo>
                    <a:pt x="0" y="760"/>
                  </a:lnTo>
                  <a:lnTo>
                    <a:pt x="1" y="790"/>
                  </a:lnTo>
                  <a:lnTo>
                    <a:pt x="3" y="818"/>
                  </a:lnTo>
                  <a:lnTo>
                    <a:pt x="5" y="848"/>
                  </a:lnTo>
                  <a:lnTo>
                    <a:pt x="8" y="875"/>
                  </a:lnTo>
                  <a:lnTo>
                    <a:pt x="13" y="902"/>
                  </a:lnTo>
                  <a:lnTo>
                    <a:pt x="19" y="930"/>
                  </a:lnTo>
                  <a:lnTo>
                    <a:pt x="25" y="956"/>
                  </a:lnTo>
                  <a:lnTo>
                    <a:pt x="32" y="982"/>
                  </a:lnTo>
                  <a:lnTo>
                    <a:pt x="41" y="1007"/>
                  </a:lnTo>
                  <a:lnTo>
                    <a:pt x="52" y="1031"/>
                  </a:lnTo>
                  <a:lnTo>
                    <a:pt x="63" y="1055"/>
                  </a:lnTo>
                  <a:lnTo>
                    <a:pt x="76" y="1076"/>
                  </a:lnTo>
                  <a:lnTo>
                    <a:pt x="89" y="1098"/>
                  </a:lnTo>
                  <a:lnTo>
                    <a:pt x="104" y="1119"/>
                  </a:lnTo>
                  <a:lnTo>
                    <a:pt x="121" y="1139"/>
                  </a:lnTo>
                  <a:lnTo>
                    <a:pt x="138" y="1157"/>
                  </a:lnTo>
                  <a:lnTo>
                    <a:pt x="158" y="1175"/>
                  </a:lnTo>
                  <a:lnTo>
                    <a:pt x="179" y="1192"/>
                  </a:lnTo>
                  <a:lnTo>
                    <a:pt x="201" y="1207"/>
                  </a:lnTo>
                  <a:lnTo>
                    <a:pt x="225" y="1222"/>
                  </a:lnTo>
                  <a:lnTo>
                    <a:pt x="250" y="1234"/>
                  </a:lnTo>
                  <a:lnTo>
                    <a:pt x="277" y="1247"/>
                  </a:lnTo>
                  <a:lnTo>
                    <a:pt x="305" y="1257"/>
                  </a:lnTo>
                  <a:lnTo>
                    <a:pt x="334" y="1265"/>
                  </a:lnTo>
                  <a:lnTo>
                    <a:pt x="364" y="1271"/>
                  </a:lnTo>
                  <a:lnTo>
                    <a:pt x="394" y="1275"/>
                  </a:lnTo>
                  <a:lnTo>
                    <a:pt x="424" y="1278"/>
                  </a:lnTo>
                  <a:lnTo>
                    <a:pt x="456" y="1278"/>
                  </a:lnTo>
                  <a:lnTo>
                    <a:pt x="487" y="1278"/>
                  </a:lnTo>
                  <a:lnTo>
                    <a:pt x="519" y="1276"/>
                  </a:lnTo>
                  <a:lnTo>
                    <a:pt x="551" y="1272"/>
                  </a:lnTo>
                  <a:lnTo>
                    <a:pt x="584" y="1267"/>
                  </a:lnTo>
                  <a:lnTo>
                    <a:pt x="616" y="1260"/>
                  </a:lnTo>
                  <a:lnTo>
                    <a:pt x="648" y="1252"/>
                  </a:lnTo>
                  <a:lnTo>
                    <a:pt x="680" y="1243"/>
                  </a:lnTo>
                  <a:lnTo>
                    <a:pt x="711" y="1233"/>
                  </a:lnTo>
                  <a:lnTo>
                    <a:pt x="742" y="1222"/>
                  </a:lnTo>
                  <a:lnTo>
                    <a:pt x="773" y="1210"/>
                  </a:lnTo>
                  <a:lnTo>
                    <a:pt x="803" y="1197"/>
                  </a:lnTo>
                  <a:lnTo>
                    <a:pt x="833" y="1183"/>
                  </a:lnTo>
                  <a:lnTo>
                    <a:pt x="861" y="1168"/>
                  </a:lnTo>
                  <a:lnTo>
                    <a:pt x="890" y="1152"/>
                  </a:lnTo>
                  <a:lnTo>
                    <a:pt x="917" y="1136"/>
                  </a:lnTo>
                  <a:lnTo>
                    <a:pt x="943" y="1121"/>
                  </a:lnTo>
                  <a:lnTo>
                    <a:pt x="968" y="1104"/>
                  </a:lnTo>
                  <a:lnTo>
                    <a:pt x="992" y="1086"/>
                  </a:lnTo>
                  <a:lnTo>
                    <a:pt x="1015" y="1068"/>
                  </a:lnTo>
                  <a:lnTo>
                    <a:pt x="1037" y="1050"/>
                  </a:lnTo>
                  <a:lnTo>
                    <a:pt x="1057" y="1032"/>
                  </a:lnTo>
                  <a:lnTo>
                    <a:pt x="1075" y="1014"/>
                  </a:lnTo>
                  <a:lnTo>
                    <a:pt x="1093" y="996"/>
                  </a:lnTo>
                  <a:lnTo>
                    <a:pt x="1108" y="977"/>
                  </a:lnTo>
                  <a:lnTo>
                    <a:pt x="1122" y="959"/>
                  </a:lnTo>
                  <a:lnTo>
                    <a:pt x="1134" y="941"/>
                  </a:lnTo>
                  <a:lnTo>
                    <a:pt x="1151" y="912"/>
                  </a:lnTo>
                  <a:lnTo>
                    <a:pt x="1165" y="881"/>
                  </a:lnTo>
                  <a:lnTo>
                    <a:pt x="1178" y="849"/>
                  </a:lnTo>
                  <a:lnTo>
                    <a:pt x="1188" y="816"/>
                  </a:lnTo>
                  <a:lnTo>
                    <a:pt x="1197" y="783"/>
                  </a:lnTo>
                  <a:lnTo>
                    <a:pt x="1205" y="750"/>
                  </a:lnTo>
                  <a:lnTo>
                    <a:pt x="1210" y="716"/>
                  </a:lnTo>
                  <a:lnTo>
                    <a:pt x="1215" y="682"/>
                  </a:lnTo>
                  <a:lnTo>
                    <a:pt x="1216" y="647"/>
                  </a:lnTo>
                  <a:lnTo>
                    <a:pt x="1217" y="613"/>
                  </a:lnTo>
                  <a:lnTo>
                    <a:pt x="1215" y="577"/>
                  </a:lnTo>
                  <a:lnTo>
                    <a:pt x="1212" y="543"/>
                  </a:lnTo>
                  <a:lnTo>
                    <a:pt x="1207" y="508"/>
                  </a:lnTo>
                  <a:lnTo>
                    <a:pt x="1201" y="474"/>
                  </a:lnTo>
                  <a:lnTo>
                    <a:pt x="1193" y="441"/>
                  </a:lnTo>
                  <a:lnTo>
                    <a:pt x="1184" y="407"/>
                  </a:lnTo>
                  <a:lnTo>
                    <a:pt x="1172" y="375"/>
                  </a:lnTo>
                  <a:lnTo>
                    <a:pt x="1160" y="342"/>
                  </a:lnTo>
                  <a:lnTo>
                    <a:pt x="1146" y="312"/>
                  </a:lnTo>
                  <a:lnTo>
                    <a:pt x="1131" y="281"/>
                  </a:lnTo>
                  <a:lnTo>
                    <a:pt x="1114" y="253"/>
                  </a:lnTo>
                  <a:lnTo>
                    <a:pt x="1097" y="224"/>
                  </a:lnTo>
                  <a:lnTo>
                    <a:pt x="1078" y="197"/>
                  </a:lnTo>
                  <a:lnTo>
                    <a:pt x="1057" y="172"/>
                  </a:lnTo>
                  <a:lnTo>
                    <a:pt x="1034" y="148"/>
                  </a:lnTo>
                  <a:lnTo>
                    <a:pt x="1012" y="125"/>
                  </a:lnTo>
                  <a:lnTo>
                    <a:pt x="988" y="104"/>
                  </a:lnTo>
                  <a:lnTo>
                    <a:pt x="963" y="86"/>
                  </a:lnTo>
                  <a:lnTo>
                    <a:pt x="935" y="67"/>
                  </a:lnTo>
                  <a:lnTo>
                    <a:pt x="908" y="53"/>
                  </a:lnTo>
                  <a:lnTo>
                    <a:pt x="879" y="39"/>
                  </a:lnTo>
                  <a:lnTo>
                    <a:pt x="850" y="29"/>
                  </a:lnTo>
                  <a:close/>
                  <a:moveTo>
                    <a:pt x="903" y="938"/>
                  </a:moveTo>
                  <a:lnTo>
                    <a:pt x="903" y="938"/>
                  </a:lnTo>
                  <a:lnTo>
                    <a:pt x="888" y="956"/>
                  </a:lnTo>
                  <a:lnTo>
                    <a:pt x="872" y="972"/>
                  </a:lnTo>
                  <a:lnTo>
                    <a:pt x="855" y="988"/>
                  </a:lnTo>
                  <a:lnTo>
                    <a:pt x="838" y="1001"/>
                  </a:lnTo>
                  <a:lnTo>
                    <a:pt x="820" y="1015"/>
                  </a:lnTo>
                  <a:lnTo>
                    <a:pt x="802" y="1026"/>
                  </a:lnTo>
                  <a:lnTo>
                    <a:pt x="781" y="1036"/>
                  </a:lnTo>
                  <a:lnTo>
                    <a:pt x="762" y="1046"/>
                  </a:lnTo>
                  <a:lnTo>
                    <a:pt x="741" y="1054"/>
                  </a:lnTo>
                  <a:lnTo>
                    <a:pt x="720" y="1060"/>
                  </a:lnTo>
                  <a:lnTo>
                    <a:pt x="699" y="1066"/>
                  </a:lnTo>
                  <a:lnTo>
                    <a:pt x="676" y="1069"/>
                  </a:lnTo>
                  <a:lnTo>
                    <a:pt x="655" y="1073"/>
                  </a:lnTo>
                  <a:lnTo>
                    <a:pt x="633" y="1075"/>
                  </a:lnTo>
                  <a:lnTo>
                    <a:pt x="610" y="1076"/>
                  </a:lnTo>
                  <a:lnTo>
                    <a:pt x="587" y="1076"/>
                  </a:lnTo>
                  <a:lnTo>
                    <a:pt x="565" y="1075"/>
                  </a:lnTo>
                  <a:lnTo>
                    <a:pt x="542" y="1073"/>
                  </a:lnTo>
                  <a:lnTo>
                    <a:pt x="519" y="1069"/>
                  </a:lnTo>
                  <a:lnTo>
                    <a:pt x="496" y="1065"/>
                  </a:lnTo>
                  <a:lnTo>
                    <a:pt x="473" y="1059"/>
                  </a:lnTo>
                  <a:lnTo>
                    <a:pt x="451" y="1054"/>
                  </a:lnTo>
                  <a:lnTo>
                    <a:pt x="428" y="1046"/>
                  </a:lnTo>
                  <a:lnTo>
                    <a:pt x="406" y="1038"/>
                  </a:lnTo>
                  <a:lnTo>
                    <a:pt x="384" y="1029"/>
                  </a:lnTo>
                  <a:lnTo>
                    <a:pt x="363" y="1018"/>
                  </a:lnTo>
                  <a:lnTo>
                    <a:pt x="342" y="1008"/>
                  </a:lnTo>
                  <a:lnTo>
                    <a:pt x="322" y="996"/>
                  </a:lnTo>
                  <a:lnTo>
                    <a:pt x="301" y="983"/>
                  </a:lnTo>
                  <a:lnTo>
                    <a:pt x="282" y="969"/>
                  </a:lnTo>
                  <a:lnTo>
                    <a:pt x="262" y="955"/>
                  </a:lnTo>
                  <a:lnTo>
                    <a:pt x="244" y="940"/>
                  </a:lnTo>
                  <a:lnTo>
                    <a:pt x="228" y="924"/>
                  </a:lnTo>
                  <a:lnTo>
                    <a:pt x="212" y="908"/>
                  </a:lnTo>
                  <a:lnTo>
                    <a:pt x="199" y="890"/>
                  </a:lnTo>
                  <a:lnTo>
                    <a:pt x="186" y="872"/>
                  </a:lnTo>
                  <a:lnTo>
                    <a:pt x="175" y="852"/>
                  </a:lnTo>
                  <a:lnTo>
                    <a:pt x="164" y="832"/>
                  </a:lnTo>
                  <a:lnTo>
                    <a:pt x="155" y="812"/>
                  </a:lnTo>
                  <a:lnTo>
                    <a:pt x="147" y="790"/>
                  </a:lnTo>
                  <a:lnTo>
                    <a:pt x="141" y="768"/>
                  </a:lnTo>
                  <a:lnTo>
                    <a:pt x="135" y="746"/>
                  </a:lnTo>
                  <a:lnTo>
                    <a:pt x="130" y="723"/>
                  </a:lnTo>
                  <a:lnTo>
                    <a:pt x="128" y="700"/>
                  </a:lnTo>
                  <a:lnTo>
                    <a:pt x="126" y="676"/>
                  </a:lnTo>
                  <a:lnTo>
                    <a:pt x="125" y="654"/>
                  </a:lnTo>
                  <a:lnTo>
                    <a:pt x="126" y="630"/>
                  </a:lnTo>
                  <a:lnTo>
                    <a:pt x="127" y="606"/>
                  </a:lnTo>
                  <a:lnTo>
                    <a:pt x="130" y="583"/>
                  </a:lnTo>
                  <a:lnTo>
                    <a:pt x="134" y="559"/>
                  </a:lnTo>
                  <a:lnTo>
                    <a:pt x="139" y="537"/>
                  </a:lnTo>
                  <a:lnTo>
                    <a:pt x="145" y="514"/>
                  </a:lnTo>
                  <a:lnTo>
                    <a:pt x="153" y="491"/>
                  </a:lnTo>
                  <a:lnTo>
                    <a:pt x="161" y="470"/>
                  </a:lnTo>
                  <a:lnTo>
                    <a:pt x="171" y="448"/>
                  </a:lnTo>
                  <a:lnTo>
                    <a:pt x="182" y="426"/>
                  </a:lnTo>
                  <a:lnTo>
                    <a:pt x="194" y="406"/>
                  </a:lnTo>
                  <a:lnTo>
                    <a:pt x="207" y="387"/>
                  </a:lnTo>
                  <a:lnTo>
                    <a:pt x="220" y="368"/>
                  </a:lnTo>
                  <a:lnTo>
                    <a:pt x="236" y="350"/>
                  </a:lnTo>
                  <a:lnTo>
                    <a:pt x="252" y="334"/>
                  </a:lnTo>
                  <a:lnTo>
                    <a:pt x="269" y="318"/>
                  </a:lnTo>
                  <a:lnTo>
                    <a:pt x="288" y="304"/>
                  </a:lnTo>
                  <a:lnTo>
                    <a:pt x="307" y="290"/>
                  </a:lnTo>
                  <a:lnTo>
                    <a:pt x="321" y="282"/>
                  </a:lnTo>
                  <a:lnTo>
                    <a:pt x="337" y="274"/>
                  </a:lnTo>
                  <a:lnTo>
                    <a:pt x="353" y="266"/>
                  </a:lnTo>
                  <a:lnTo>
                    <a:pt x="371" y="258"/>
                  </a:lnTo>
                  <a:lnTo>
                    <a:pt x="389" y="251"/>
                  </a:lnTo>
                  <a:lnTo>
                    <a:pt x="410" y="245"/>
                  </a:lnTo>
                  <a:lnTo>
                    <a:pt x="431" y="238"/>
                  </a:lnTo>
                  <a:lnTo>
                    <a:pt x="453" y="232"/>
                  </a:lnTo>
                  <a:lnTo>
                    <a:pt x="476" y="226"/>
                  </a:lnTo>
                  <a:lnTo>
                    <a:pt x="499" y="222"/>
                  </a:lnTo>
                  <a:lnTo>
                    <a:pt x="524" y="217"/>
                  </a:lnTo>
                  <a:lnTo>
                    <a:pt x="548" y="213"/>
                  </a:lnTo>
                  <a:lnTo>
                    <a:pt x="573" y="209"/>
                  </a:lnTo>
                  <a:lnTo>
                    <a:pt x="599" y="207"/>
                  </a:lnTo>
                  <a:lnTo>
                    <a:pt x="624" y="205"/>
                  </a:lnTo>
                  <a:lnTo>
                    <a:pt x="650" y="204"/>
                  </a:lnTo>
                  <a:lnTo>
                    <a:pt x="676" y="204"/>
                  </a:lnTo>
                  <a:lnTo>
                    <a:pt x="701" y="204"/>
                  </a:lnTo>
                  <a:lnTo>
                    <a:pt x="728" y="205"/>
                  </a:lnTo>
                  <a:lnTo>
                    <a:pt x="754" y="207"/>
                  </a:lnTo>
                  <a:lnTo>
                    <a:pt x="779" y="209"/>
                  </a:lnTo>
                  <a:lnTo>
                    <a:pt x="804" y="214"/>
                  </a:lnTo>
                  <a:lnTo>
                    <a:pt x="828" y="218"/>
                  </a:lnTo>
                  <a:lnTo>
                    <a:pt x="852" y="225"/>
                  </a:lnTo>
                  <a:lnTo>
                    <a:pt x="876" y="232"/>
                  </a:lnTo>
                  <a:lnTo>
                    <a:pt x="899" y="241"/>
                  </a:lnTo>
                  <a:lnTo>
                    <a:pt x="920" y="250"/>
                  </a:lnTo>
                  <a:lnTo>
                    <a:pt x="941" y="261"/>
                  </a:lnTo>
                  <a:lnTo>
                    <a:pt x="960" y="273"/>
                  </a:lnTo>
                  <a:lnTo>
                    <a:pt x="978" y="287"/>
                  </a:lnTo>
                  <a:lnTo>
                    <a:pt x="997" y="301"/>
                  </a:lnTo>
                  <a:lnTo>
                    <a:pt x="1013" y="317"/>
                  </a:lnTo>
                  <a:lnTo>
                    <a:pt x="1028" y="334"/>
                  </a:lnTo>
                  <a:lnTo>
                    <a:pt x="1040" y="351"/>
                  </a:lnTo>
                  <a:lnTo>
                    <a:pt x="1051" y="368"/>
                  </a:lnTo>
                  <a:lnTo>
                    <a:pt x="1062" y="387"/>
                  </a:lnTo>
                  <a:lnTo>
                    <a:pt x="1070" y="405"/>
                  </a:lnTo>
                  <a:lnTo>
                    <a:pt x="1077" y="424"/>
                  </a:lnTo>
                  <a:lnTo>
                    <a:pt x="1082" y="442"/>
                  </a:lnTo>
                  <a:lnTo>
                    <a:pt x="1087" y="462"/>
                  </a:lnTo>
                  <a:lnTo>
                    <a:pt x="1089" y="481"/>
                  </a:lnTo>
                  <a:lnTo>
                    <a:pt x="1091" y="500"/>
                  </a:lnTo>
                  <a:lnTo>
                    <a:pt x="1091" y="520"/>
                  </a:lnTo>
                  <a:lnTo>
                    <a:pt x="1091" y="540"/>
                  </a:lnTo>
                  <a:lnTo>
                    <a:pt x="1089" y="559"/>
                  </a:lnTo>
                  <a:lnTo>
                    <a:pt x="1087" y="580"/>
                  </a:lnTo>
                  <a:lnTo>
                    <a:pt x="1082" y="599"/>
                  </a:lnTo>
                  <a:lnTo>
                    <a:pt x="1078" y="620"/>
                  </a:lnTo>
                  <a:lnTo>
                    <a:pt x="1072" y="640"/>
                  </a:lnTo>
                  <a:lnTo>
                    <a:pt x="1065" y="660"/>
                  </a:lnTo>
                  <a:lnTo>
                    <a:pt x="1057" y="681"/>
                  </a:lnTo>
                  <a:lnTo>
                    <a:pt x="1049" y="701"/>
                  </a:lnTo>
                  <a:lnTo>
                    <a:pt x="1040" y="722"/>
                  </a:lnTo>
                  <a:lnTo>
                    <a:pt x="1030" y="741"/>
                  </a:lnTo>
                  <a:lnTo>
                    <a:pt x="1020" y="762"/>
                  </a:lnTo>
                  <a:lnTo>
                    <a:pt x="1009" y="782"/>
                  </a:lnTo>
                  <a:lnTo>
                    <a:pt x="985" y="822"/>
                  </a:lnTo>
                  <a:lnTo>
                    <a:pt x="959" y="862"/>
                  </a:lnTo>
                  <a:lnTo>
                    <a:pt x="932" y="900"/>
                  </a:lnTo>
                  <a:lnTo>
                    <a:pt x="903" y="938"/>
                  </a:lnTo>
                  <a:close/>
                </a:path>
              </a:pathLst>
            </a:custGeom>
            <a:solidFill>
              <a:srgbClr val="F08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" name="Freeform 11"/>
            <p:cNvSpPr>
              <a:spLocks noEditPoints="1"/>
            </p:cNvSpPr>
            <p:nvPr/>
          </p:nvSpPr>
          <p:spPr bwMode="auto">
            <a:xfrm>
              <a:off x="6966520" y="1831778"/>
              <a:ext cx="219075" cy="196850"/>
            </a:xfrm>
            <a:custGeom>
              <a:avLst/>
              <a:gdLst>
                <a:gd name="T0" fmla="*/ 127 w 966"/>
                <a:gd name="T1" fmla="*/ 130 h 872"/>
                <a:gd name="T2" fmla="*/ 69 w 966"/>
                <a:gd name="T3" fmla="*/ 202 h 872"/>
                <a:gd name="T4" fmla="*/ 28 w 966"/>
                <a:gd name="T5" fmla="*/ 287 h 872"/>
                <a:gd name="T6" fmla="*/ 5 w 966"/>
                <a:gd name="T7" fmla="*/ 379 h 872"/>
                <a:gd name="T8" fmla="*/ 1 w 966"/>
                <a:gd name="T9" fmla="*/ 472 h 872"/>
                <a:gd name="T10" fmla="*/ 16 w 966"/>
                <a:gd name="T11" fmla="*/ 564 h 872"/>
                <a:gd name="T12" fmla="*/ 50 w 966"/>
                <a:gd name="T13" fmla="*/ 648 h 872"/>
                <a:gd name="T14" fmla="*/ 103 w 966"/>
                <a:gd name="T15" fmla="*/ 720 h 872"/>
                <a:gd name="T16" fmla="*/ 176 w 966"/>
                <a:gd name="T17" fmla="*/ 779 h 872"/>
                <a:gd name="T18" fmla="*/ 259 w 966"/>
                <a:gd name="T19" fmla="*/ 825 h 872"/>
                <a:gd name="T20" fmla="*/ 348 w 966"/>
                <a:gd name="T21" fmla="*/ 855 h 872"/>
                <a:gd name="T22" fmla="*/ 440 w 966"/>
                <a:gd name="T23" fmla="*/ 871 h 872"/>
                <a:gd name="T24" fmla="*/ 530 w 966"/>
                <a:gd name="T25" fmla="*/ 869 h 872"/>
                <a:gd name="T26" fmla="*/ 616 w 966"/>
                <a:gd name="T27" fmla="*/ 850 h 872"/>
                <a:gd name="T28" fmla="*/ 695 w 966"/>
                <a:gd name="T29" fmla="*/ 811 h 872"/>
                <a:gd name="T30" fmla="*/ 763 w 966"/>
                <a:gd name="T31" fmla="*/ 752 h 872"/>
                <a:gd name="T32" fmla="*/ 860 w 966"/>
                <a:gd name="T33" fmla="*/ 618 h 872"/>
                <a:gd name="T34" fmla="*/ 915 w 966"/>
                <a:gd name="T35" fmla="*/ 518 h 872"/>
                <a:gd name="T36" fmla="*/ 947 w 966"/>
                <a:gd name="T37" fmla="*/ 436 h 872"/>
                <a:gd name="T38" fmla="*/ 964 w 966"/>
                <a:gd name="T39" fmla="*/ 355 h 872"/>
                <a:gd name="T40" fmla="*/ 964 w 966"/>
                <a:gd name="T41" fmla="*/ 277 h 872"/>
                <a:gd name="T42" fmla="*/ 945 w 966"/>
                <a:gd name="T43" fmla="*/ 201 h 872"/>
                <a:gd name="T44" fmla="*/ 903 w 966"/>
                <a:gd name="T45" fmla="*/ 130 h 872"/>
                <a:gd name="T46" fmla="*/ 835 w 966"/>
                <a:gd name="T47" fmla="*/ 69 h 872"/>
                <a:gd name="T48" fmla="*/ 751 w 966"/>
                <a:gd name="T49" fmla="*/ 28 h 872"/>
                <a:gd name="T50" fmla="*/ 654 w 966"/>
                <a:gd name="T51" fmla="*/ 5 h 872"/>
                <a:gd name="T52" fmla="*/ 551 w 966"/>
                <a:gd name="T53" fmla="*/ 0 h 872"/>
                <a:gd name="T54" fmla="*/ 448 w 966"/>
                <a:gd name="T55" fmla="*/ 5 h 872"/>
                <a:gd name="T56" fmla="*/ 351 w 966"/>
                <a:gd name="T57" fmla="*/ 22 h 872"/>
                <a:gd name="T58" fmla="*/ 264 w 966"/>
                <a:gd name="T59" fmla="*/ 47 h 872"/>
                <a:gd name="T60" fmla="*/ 196 w 966"/>
                <a:gd name="T61" fmla="*/ 78 h 872"/>
                <a:gd name="T62" fmla="*/ 689 w 966"/>
                <a:gd name="T63" fmla="*/ 654 h 872"/>
                <a:gd name="T64" fmla="*/ 632 w 966"/>
                <a:gd name="T65" fmla="*/ 704 h 872"/>
                <a:gd name="T66" fmla="*/ 570 w 966"/>
                <a:gd name="T67" fmla="*/ 738 h 872"/>
                <a:gd name="T68" fmla="*/ 505 w 966"/>
                <a:gd name="T69" fmla="*/ 757 h 872"/>
                <a:gd name="T70" fmla="*/ 437 w 966"/>
                <a:gd name="T71" fmla="*/ 763 h 872"/>
                <a:gd name="T72" fmla="*/ 370 w 966"/>
                <a:gd name="T73" fmla="*/ 755 h 872"/>
                <a:gd name="T74" fmla="*/ 306 w 966"/>
                <a:gd name="T75" fmla="*/ 736 h 872"/>
                <a:gd name="T76" fmla="*/ 247 w 966"/>
                <a:gd name="T77" fmla="*/ 706 h 872"/>
                <a:gd name="T78" fmla="*/ 195 w 966"/>
                <a:gd name="T79" fmla="*/ 667 h 872"/>
                <a:gd name="T80" fmla="*/ 157 w 966"/>
                <a:gd name="T81" fmla="*/ 617 h 872"/>
                <a:gd name="T82" fmla="*/ 135 w 966"/>
                <a:gd name="T83" fmla="*/ 556 h 872"/>
                <a:gd name="T84" fmla="*/ 127 w 966"/>
                <a:gd name="T85" fmla="*/ 491 h 872"/>
                <a:gd name="T86" fmla="*/ 134 w 966"/>
                <a:gd name="T87" fmla="*/ 420 h 872"/>
                <a:gd name="T88" fmla="*/ 156 w 966"/>
                <a:gd name="T89" fmla="*/ 351 h 872"/>
                <a:gd name="T90" fmla="*/ 192 w 966"/>
                <a:gd name="T91" fmla="*/ 285 h 872"/>
                <a:gd name="T92" fmla="*/ 241 w 966"/>
                <a:gd name="T93" fmla="*/ 226 h 872"/>
                <a:gd name="T94" fmla="*/ 311 w 966"/>
                <a:gd name="T95" fmla="*/ 174 h 872"/>
                <a:gd name="T96" fmla="*/ 429 w 966"/>
                <a:gd name="T97" fmla="*/ 127 h 872"/>
                <a:gd name="T98" fmla="*/ 550 w 966"/>
                <a:gd name="T99" fmla="*/ 109 h 872"/>
                <a:gd name="T100" fmla="*/ 619 w 966"/>
                <a:gd name="T101" fmla="*/ 112 h 872"/>
                <a:gd name="T102" fmla="*/ 684 w 966"/>
                <a:gd name="T103" fmla="*/ 126 h 872"/>
                <a:gd name="T104" fmla="*/ 741 w 966"/>
                <a:gd name="T105" fmla="*/ 154 h 872"/>
                <a:gd name="T106" fmla="*/ 786 w 966"/>
                <a:gd name="T107" fmla="*/ 196 h 872"/>
                <a:gd name="T108" fmla="*/ 818 w 966"/>
                <a:gd name="T109" fmla="*/ 245 h 872"/>
                <a:gd name="T110" fmla="*/ 835 w 966"/>
                <a:gd name="T111" fmla="*/ 297 h 872"/>
                <a:gd name="T112" fmla="*/ 839 w 966"/>
                <a:gd name="T113" fmla="*/ 353 h 872"/>
                <a:gd name="T114" fmla="*/ 831 w 966"/>
                <a:gd name="T115" fmla="*/ 411 h 872"/>
                <a:gd name="T116" fmla="*/ 803 w 966"/>
                <a:gd name="T117" fmla="*/ 485 h 872"/>
                <a:gd name="T118" fmla="*/ 727 w 966"/>
                <a:gd name="T119" fmla="*/ 608 h 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66" h="872">
                  <a:moveTo>
                    <a:pt x="182" y="86"/>
                  </a:moveTo>
                  <a:lnTo>
                    <a:pt x="163" y="100"/>
                  </a:lnTo>
                  <a:lnTo>
                    <a:pt x="144" y="114"/>
                  </a:lnTo>
                  <a:lnTo>
                    <a:pt x="127" y="130"/>
                  </a:lnTo>
                  <a:lnTo>
                    <a:pt x="111" y="146"/>
                  </a:lnTo>
                  <a:lnTo>
                    <a:pt x="95" y="164"/>
                  </a:lnTo>
                  <a:lnTo>
                    <a:pt x="82" y="183"/>
                  </a:lnTo>
                  <a:lnTo>
                    <a:pt x="69" y="202"/>
                  </a:lnTo>
                  <a:lnTo>
                    <a:pt x="57" y="222"/>
                  </a:lnTo>
                  <a:lnTo>
                    <a:pt x="46" y="244"/>
                  </a:lnTo>
                  <a:lnTo>
                    <a:pt x="36" y="266"/>
                  </a:lnTo>
                  <a:lnTo>
                    <a:pt x="28" y="287"/>
                  </a:lnTo>
                  <a:lnTo>
                    <a:pt x="20" y="310"/>
                  </a:lnTo>
                  <a:lnTo>
                    <a:pt x="14" y="333"/>
                  </a:lnTo>
                  <a:lnTo>
                    <a:pt x="9" y="355"/>
                  </a:lnTo>
                  <a:lnTo>
                    <a:pt x="5" y="379"/>
                  </a:lnTo>
                  <a:lnTo>
                    <a:pt x="2" y="402"/>
                  </a:lnTo>
                  <a:lnTo>
                    <a:pt x="1" y="426"/>
                  </a:lnTo>
                  <a:lnTo>
                    <a:pt x="0" y="450"/>
                  </a:lnTo>
                  <a:lnTo>
                    <a:pt x="1" y="472"/>
                  </a:lnTo>
                  <a:lnTo>
                    <a:pt x="3" y="496"/>
                  </a:lnTo>
                  <a:lnTo>
                    <a:pt x="5" y="519"/>
                  </a:lnTo>
                  <a:lnTo>
                    <a:pt x="10" y="542"/>
                  </a:lnTo>
                  <a:lnTo>
                    <a:pt x="16" y="564"/>
                  </a:lnTo>
                  <a:lnTo>
                    <a:pt x="22" y="586"/>
                  </a:lnTo>
                  <a:lnTo>
                    <a:pt x="30" y="608"/>
                  </a:lnTo>
                  <a:lnTo>
                    <a:pt x="39" y="628"/>
                  </a:lnTo>
                  <a:lnTo>
                    <a:pt x="50" y="648"/>
                  </a:lnTo>
                  <a:lnTo>
                    <a:pt x="61" y="668"/>
                  </a:lnTo>
                  <a:lnTo>
                    <a:pt x="74" y="686"/>
                  </a:lnTo>
                  <a:lnTo>
                    <a:pt x="87" y="704"/>
                  </a:lnTo>
                  <a:lnTo>
                    <a:pt x="103" y="720"/>
                  </a:lnTo>
                  <a:lnTo>
                    <a:pt x="119" y="736"/>
                  </a:lnTo>
                  <a:lnTo>
                    <a:pt x="137" y="751"/>
                  </a:lnTo>
                  <a:lnTo>
                    <a:pt x="157" y="765"/>
                  </a:lnTo>
                  <a:lnTo>
                    <a:pt x="176" y="779"/>
                  </a:lnTo>
                  <a:lnTo>
                    <a:pt x="197" y="792"/>
                  </a:lnTo>
                  <a:lnTo>
                    <a:pt x="217" y="804"/>
                  </a:lnTo>
                  <a:lnTo>
                    <a:pt x="238" y="814"/>
                  </a:lnTo>
                  <a:lnTo>
                    <a:pt x="259" y="825"/>
                  </a:lnTo>
                  <a:lnTo>
                    <a:pt x="281" y="834"/>
                  </a:lnTo>
                  <a:lnTo>
                    <a:pt x="303" y="842"/>
                  </a:lnTo>
                  <a:lnTo>
                    <a:pt x="326" y="850"/>
                  </a:lnTo>
                  <a:lnTo>
                    <a:pt x="348" y="855"/>
                  </a:lnTo>
                  <a:lnTo>
                    <a:pt x="371" y="861"/>
                  </a:lnTo>
                  <a:lnTo>
                    <a:pt x="394" y="865"/>
                  </a:lnTo>
                  <a:lnTo>
                    <a:pt x="417" y="869"/>
                  </a:lnTo>
                  <a:lnTo>
                    <a:pt x="440" y="871"/>
                  </a:lnTo>
                  <a:lnTo>
                    <a:pt x="462" y="872"/>
                  </a:lnTo>
                  <a:lnTo>
                    <a:pt x="485" y="872"/>
                  </a:lnTo>
                  <a:lnTo>
                    <a:pt x="508" y="871"/>
                  </a:lnTo>
                  <a:lnTo>
                    <a:pt x="530" y="869"/>
                  </a:lnTo>
                  <a:lnTo>
                    <a:pt x="551" y="865"/>
                  </a:lnTo>
                  <a:lnTo>
                    <a:pt x="574" y="862"/>
                  </a:lnTo>
                  <a:lnTo>
                    <a:pt x="595" y="856"/>
                  </a:lnTo>
                  <a:lnTo>
                    <a:pt x="616" y="850"/>
                  </a:lnTo>
                  <a:lnTo>
                    <a:pt x="637" y="842"/>
                  </a:lnTo>
                  <a:lnTo>
                    <a:pt x="656" y="832"/>
                  </a:lnTo>
                  <a:lnTo>
                    <a:pt x="677" y="822"/>
                  </a:lnTo>
                  <a:lnTo>
                    <a:pt x="695" y="811"/>
                  </a:lnTo>
                  <a:lnTo>
                    <a:pt x="713" y="797"/>
                  </a:lnTo>
                  <a:lnTo>
                    <a:pt x="730" y="784"/>
                  </a:lnTo>
                  <a:lnTo>
                    <a:pt x="747" y="768"/>
                  </a:lnTo>
                  <a:lnTo>
                    <a:pt x="763" y="752"/>
                  </a:lnTo>
                  <a:lnTo>
                    <a:pt x="778" y="734"/>
                  </a:lnTo>
                  <a:lnTo>
                    <a:pt x="807" y="696"/>
                  </a:lnTo>
                  <a:lnTo>
                    <a:pt x="834" y="658"/>
                  </a:lnTo>
                  <a:lnTo>
                    <a:pt x="860" y="618"/>
                  </a:lnTo>
                  <a:lnTo>
                    <a:pt x="884" y="578"/>
                  </a:lnTo>
                  <a:lnTo>
                    <a:pt x="895" y="558"/>
                  </a:lnTo>
                  <a:lnTo>
                    <a:pt x="905" y="537"/>
                  </a:lnTo>
                  <a:lnTo>
                    <a:pt x="915" y="518"/>
                  </a:lnTo>
                  <a:lnTo>
                    <a:pt x="924" y="497"/>
                  </a:lnTo>
                  <a:lnTo>
                    <a:pt x="932" y="477"/>
                  </a:lnTo>
                  <a:lnTo>
                    <a:pt x="940" y="456"/>
                  </a:lnTo>
                  <a:lnTo>
                    <a:pt x="947" y="436"/>
                  </a:lnTo>
                  <a:lnTo>
                    <a:pt x="953" y="416"/>
                  </a:lnTo>
                  <a:lnTo>
                    <a:pt x="957" y="395"/>
                  </a:lnTo>
                  <a:lnTo>
                    <a:pt x="962" y="376"/>
                  </a:lnTo>
                  <a:lnTo>
                    <a:pt x="964" y="355"/>
                  </a:lnTo>
                  <a:lnTo>
                    <a:pt x="966" y="336"/>
                  </a:lnTo>
                  <a:lnTo>
                    <a:pt x="966" y="316"/>
                  </a:lnTo>
                  <a:lnTo>
                    <a:pt x="966" y="296"/>
                  </a:lnTo>
                  <a:lnTo>
                    <a:pt x="964" y="277"/>
                  </a:lnTo>
                  <a:lnTo>
                    <a:pt x="962" y="258"/>
                  </a:lnTo>
                  <a:lnTo>
                    <a:pt x="957" y="238"/>
                  </a:lnTo>
                  <a:lnTo>
                    <a:pt x="952" y="220"/>
                  </a:lnTo>
                  <a:lnTo>
                    <a:pt x="945" y="201"/>
                  </a:lnTo>
                  <a:lnTo>
                    <a:pt x="937" y="183"/>
                  </a:lnTo>
                  <a:lnTo>
                    <a:pt x="926" y="164"/>
                  </a:lnTo>
                  <a:lnTo>
                    <a:pt x="915" y="147"/>
                  </a:lnTo>
                  <a:lnTo>
                    <a:pt x="903" y="130"/>
                  </a:lnTo>
                  <a:lnTo>
                    <a:pt x="888" y="113"/>
                  </a:lnTo>
                  <a:lnTo>
                    <a:pt x="872" y="97"/>
                  </a:lnTo>
                  <a:lnTo>
                    <a:pt x="853" y="83"/>
                  </a:lnTo>
                  <a:lnTo>
                    <a:pt x="835" y="69"/>
                  </a:lnTo>
                  <a:lnTo>
                    <a:pt x="816" y="57"/>
                  </a:lnTo>
                  <a:lnTo>
                    <a:pt x="795" y="46"/>
                  </a:lnTo>
                  <a:lnTo>
                    <a:pt x="774" y="37"/>
                  </a:lnTo>
                  <a:lnTo>
                    <a:pt x="751" y="28"/>
                  </a:lnTo>
                  <a:lnTo>
                    <a:pt x="727" y="21"/>
                  </a:lnTo>
                  <a:lnTo>
                    <a:pt x="703" y="14"/>
                  </a:lnTo>
                  <a:lnTo>
                    <a:pt x="679" y="10"/>
                  </a:lnTo>
                  <a:lnTo>
                    <a:pt x="654" y="5"/>
                  </a:lnTo>
                  <a:lnTo>
                    <a:pt x="629" y="3"/>
                  </a:lnTo>
                  <a:lnTo>
                    <a:pt x="603" y="1"/>
                  </a:lnTo>
                  <a:lnTo>
                    <a:pt x="576" y="0"/>
                  </a:lnTo>
                  <a:lnTo>
                    <a:pt x="551" y="0"/>
                  </a:lnTo>
                  <a:lnTo>
                    <a:pt x="525" y="0"/>
                  </a:lnTo>
                  <a:lnTo>
                    <a:pt x="499" y="1"/>
                  </a:lnTo>
                  <a:lnTo>
                    <a:pt x="474" y="3"/>
                  </a:lnTo>
                  <a:lnTo>
                    <a:pt x="448" y="5"/>
                  </a:lnTo>
                  <a:lnTo>
                    <a:pt x="423" y="9"/>
                  </a:lnTo>
                  <a:lnTo>
                    <a:pt x="399" y="13"/>
                  </a:lnTo>
                  <a:lnTo>
                    <a:pt x="374" y="18"/>
                  </a:lnTo>
                  <a:lnTo>
                    <a:pt x="351" y="22"/>
                  </a:lnTo>
                  <a:lnTo>
                    <a:pt x="328" y="28"/>
                  </a:lnTo>
                  <a:lnTo>
                    <a:pt x="306" y="34"/>
                  </a:lnTo>
                  <a:lnTo>
                    <a:pt x="285" y="41"/>
                  </a:lnTo>
                  <a:lnTo>
                    <a:pt x="264" y="47"/>
                  </a:lnTo>
                  <a:lnTo>
                    <a:pt x="246" y="54"/>
                  </a:lnTo>
                  <a:lnTo>
                    <a:pt x="228" y="62"/>
                  </a:lnTo>
                  <a:lnTo>
                    <a:pt x="212" y="70"/>
                  </a:lnTo>
                  <a:lnTo>
                    <a:pt x="196" y="78"/>
                  </a:lnTo>
                  <a:lnTo>
                    <a:pt x="182" y="86"/>
                  </a:lnTo>
                  <a:close/>
                  <a:moveTo>
                    <a:pt x="703" y="638"/>
                  </a:moveTo>
                  <a:lnTo>
                    <a:pt x="703" y="638"/>
                  </a:lnTo>
                  <a:lnTo>
                    <a:pt x="689" y="654"/>
                  </a:lnTo>
                  <a:lnTo>
                    <a:pt x="676" y="668"/>
                  </a:lnTo>
                  <a:lnTo>
                    <a:pt x="662" y="680"/>
                  </a:lnTo>
                  <a:lnTo>
                    <a:pt x="647" y="693"/>
                  </a:lnTo>
                  <a:lnTo>
                    <a:pt x="632" y="704"/>
                  </a:lnTo>
                  <a:lnTo>
                    <a:pt x="617" y="713"/>
                  </a:lnTo>
                  <a:lnTo>
                    <a:pt x="602" y="722"/>
                  </a:lnTo>
                  <a:lnTo>
                    <a:pt x="586" y="730"/>
                  </a:lnTo>
                  <a:lnTo>
                    <a:pt x="570" y="738"/>
                  </a:lnTo>
                  <a:lnTo>
                    <a:pt x="554" y="744"/>
                  </a:lnTo>
                  <a:lnTo>
                    <a:pt x="538" y="750"/>
                  </a:lnTo>
                  <a:lnTo>
                    <a:pt x="521" y="754"/>
                  </a:lnTo>
                  <a:lnTo>
                    <a:pt x="505" y="757"/>
                  </a:lnTo>
                  <a:lnTo>
                    <a:pt x="488" y="760"/>
                  </a:lnTo>
                  <a:lnTo>
                    <a:pt x="470" y="762"/>
                  </a:lnTo>
                  <a:lnTo>
                    <a:pt x="454" y="762"/>
                  </a:lnTo>
                  <a:lnTo>
                    <a:pt x="437" y="763"/>
                  </a:lnTo>
                  <a:lnTo>
                    <a:pt x="420" y="762"/>
                  </a:lnTo>
                  <a:lnTo>
                    <a:pt x="403" y="761"/>
                  </a:lnTo>
                  <a:lnTo>
                    <a:pt x="387" y="759"/>
                  </a:lnTo>
                  <a:lnTo>
                    <a:pt x="370" y="755"/>
                  </a:lnTo>
                  <a:lnTo>
                    <a:pt x="354" y="752"/>
                  </a:lnTo>
                  <a:lnTo>
                    <a:pt x="338" y="747"/>
                  </a:lnTo>
                  <a:lnTo>
                    <a:pt x="322" y="743"/>
                  </a:lnTo>
                  <a:lnTo>
                    <a:pt x="306" y="736"/>
                  </a:lnTo>
                  <a:lnTo>
                    <a:pt x="291" y="730"/>
                  </a:lnTo>
                  <a:lnTo>
                    <a:pt x="277" y="722"/>
                  </a:lnTo>
                  <a:lnTo>
                    <a:pt x="262" y="714"/>
                  </a:lnTo>
                  <a:lnTo>
                    <a:pt x="247" y="706"/>
                  </a:lnTo>
                  <a:lnTo>
                    <a:pt x="233" y="697"/>
                  </a:lnTo>
                  <a:lnTo>
                    <a:pt x="220" y="688"/>
                  </a:lnTo>
                  <a:lnTo>
                    <a:pt x="207" y="678"/>
                  </a:lnTo>
                  <a:lnTo>
                    <a:pt x="195" y="667"/>
                  </a:lnTo>
                  <a:lnTo>
                    <a:pt x="184" y="655"/>
                  </a:lnTo>
                  <a:lnTo>
                    <a:pt x="174" y="643"/>
                  </a:lnTo>
                  <a:lnTo>
                    <a:pt x="165" y="630"/>
                  </a:lnTo>
                  <a:lnTo>
                    <a:pt x="157" y="617"/>
                  </a:lnTo>
                  <a:lnTo>
                    <a:pt x="150" y="603"/>
                  </a:lnTo>
                  <a:lnTo>
                    <a:pt x="144" y="588"/>
                  </a:lnTo>
                  <a:lnTo>
                    <a:pt x="139" y="572"/>
                  </a:lnTo>
                  <a:lnTo>
                    <a:pt x="135" y="556"/>
                  </a:lnTo>
                  <a:lnTo>
                    <a:pt x="132" y="540"/>
                  </a:lnTo>
                  <a:lnTo>
                    <a:pt x="130" y="523"/>
                  </a:lnTo>
                  <a:lnTo>
                    <a:pt x="127" y="508"/>
                  </a:lnTo>
                  <a:lnTo>
                    <a:pt x="127" y="491"/>
                  </a:lnTo>
                  <a:lnTo>
                    <a:pt x="127" y="472"/>
                  </a:lnTo>
                  <a:lnTo>
                    <a:pt x="130" y="455"/>
                  </a:lnTo>
                  <a:lnTo>
                    <a:pt x="132" y="438"/>
                  </a:lnTo>
                  <a:lnTo>
                    <a:pt x="134" y="420"/>
                  </a:lnTo>
                  <a:lnTo>
                    <a:pt x="139" y="403"/>
                  </a:lnTo>
                  <a:lnTo>
                    <a:pt x="143" y="385"/>
                  </a:lnTo>
                  <a:lnTo>
                    <a:pt x="149" y="368"/>
                  </a:lnTo>
                  <a:lnTo>
                    <a:pt x="156" y="351"/>
                  </a:lnTo>
                  <a:lnTo>
                    <a:pt x="164" y="334"/>
                  </a:lnTo>
                  <a:lnTo>
                    <a:pt x="172" y="317"/>
                  </a:lnTo>
                  <a:lnTo>
                    <a:pt x="182" y="301"/>
                  </a:lnTo>
                  <a:lnTo>
                    <a:pt x="192" y="285"/>
                  </a:lnTo>
                  <a:lnTo>
                    <a:pt x="202" y="269"/>
                  </a:lnTo>
                  <a:lnTo>
                    <a:pt x="215" y="254"/>
                  </a:lnTo>
                  <a:lnTo>
                    <a:pt x="228" y="239"/>
                  </a:lnTo>
                  <a:lnTo>
                    <a:pt x="241" y="226"/>
                  </a:lnTo>
                  <a:lnTo>
                    <a:pt x="256" y="212"/>
                  </a:lnTo>
                  <a:lnTo>
                    <a:pt x="271" y="200"/>
                  </a:lnTo>
                  <a:lnTo>
                    <a:pt x="288" y="188"/>
                  </a:lnTo>
                  <a:lnTo>
                    <a:pt x="311" y="174"/>
                  </a:lnTo>
                  <a:lnTo>
                    <a:pt x="337" y="160"/>
                  </a:lnTo>
                  <a:lnTo>
                    <a:pt x="366" y="147"/>
                  </a:lnTo>
                  <a:lnTo>
                    <a:pt x="396" y="137"/>
                  </a:lnTo>
                  <a:lnTo>
                    <a:pt x="429" y="127"/>
                  </a:lnTo>
                  <a:lnTo>
                    <a:pt x="462" y="119"/>
                  </a:lnTo>
                  <a:lnTo>
                    <a:pt x="498" y="113"/>
                  </a:lnTo>
                  <a:lnTo>
                    <a:pt x="532" y="110"/>
                  </a:lnTo>
                  <a:lnTo>
                    <a:pt x="550" y="109"/>
                  </a:lnTo>
                  <a:lnTo>
                    <a:pt x="567" y="109"/>
                  </a:lnTo>
                  <a:lnTo>
                    <a:pt x="584" y="109"/>
                  </a:lnTo>
                  <a:lnTo>
                    <a:pt x="602" y="110"/>
                  </a:lnTo>
                  <a:lnTo>
                    <a:pt x="619" y="112"/>
                  </a:lnTo>
                  <a:lnTo>
                    <a:pt x="636" y="114"/>
                  </a:lnTo>
                  <a:lnTo>
                    <a:pt x="652" y="118"/>
                  </a:lnTo>
                  <a:lnTo>
                    <a:pt x="668" y="121"/>
                  </a:lnTo>
                  <a:lnTo>
                    <a:pt x="684" y="126"/>
                  </a:lnTo>
                  <a:lnTo>
                    <a:pt x="698" y="131"/>
                  </a:lnTo>
                  <a:lnTo>
                    <a:pt x="713" y="138"/>
                  </a:lnTo>
                  <a:lnTo>
                    <a:pt x="727" y="145"/>
                  </a:lnTo>
                  <a:lnTo>
                    <a:pt x="741" y="154"/>
                  </a:lnTo>
                  <a:lnTo>
                    <a:pt x="753" y="163"/>
                  </a:lnTo>
                  <a:lnTo>
                    <a:pt x="765" y="174"/>
                  </a:lnTo>
                  <a:lnTo>
                    <a:pt x="776" y="184"/>
                  </a:lnTo>
                  <a:lnTo>
                    <a:pt x="786" y="196"/>
                  </a:lnTo>
                  <a:lnTo>
                    <a:pt x="795" y="208"/>
                  </a:lnTo>
                  <a:lnTo>
                    <a:pt x="804" y="220"/>
                  </a:lnTo>
                  <a:lnTo>
                    <a:pt x="811" y="233"/>
                  </a:lnTo>
                  <a:lnTo>
                    <a:pt x="818" y="245"/>
                  </a:lnTo>
                  <a:lnTo>
                    <a:pt x="824" y="259"/>
                  </a:lnTo>
                  <a:lnTo>
                    <a:pt x="828" y="271"/>
                  </a:lnTo>
                  <a:lnTo>
                    <a:pt x="832" y="285"/>
                  </a:lnTo>
                  <a:lnTo>
                    <a:pt x="835" y="297"/>
                  </a:lnTo>
                  <a:lnTo>
                    <a:pt x="838" y="311"/>
                  </a:lnTo>
                  <a:lnTo>
                    <a:pt x="839" y="325"/>
                  </a:lnTo>
                  <a:lnTo>
                    <a:pt x="840" y="339"/>
                  </a:lnTo>
                  <a:lnTo>
                    <a:pt x="839" y="353"/>
                  </a:lnTo>
                  <a:lnTo>
                    <a:pt x="839" y="368"/>
                  </a:lnTo>
                  <a:lnTo>
                    <a:pt x="836" y="381"/>
                  </a:lnTo>
                  <a:lnTo>
                    <a:pt x="834" y="396"/>
                  </a:lnTo>
                  <a:lnTo>
                    <a:pt x="831" y="411"/>
                  </a:lnTo>
                  <a:lnTo>
                    <a:pt x="826" y="426"/>
                  </a:lnTo>
                  <a:lnTo>
                    <a:pt x="822" y="441"/>
                  </a:lnTo>
                  <a:lnTo>
                    <a:pt x="816" y="455"/>
                  </a:lnTo>
                  <a:lnTo>
                    <a:pt x="803" y="485"/>
                  </a:lnTo>
                  <a:lnTo>
                    <a:pt x="789" y="515"/>
                  </a:lnTo>
                  <a:lnTo>
                    <a:pt x="770" y="546"/>
                  </a:lnTo>
                  <a:lnTo>
                    <a:pt x="750" y="577"/>
                  </a:lnTo>
                  <a:lnTo>
                    <a:pt x="727" y="608"/>
                  </a:lnTo>
                  <a:lnTo>
                    <a:pt x="703" y="638"/>
                  </a:lnTo>
                  <a:close/>
                </a:path>
              </a:pathLst>
            </a:custGeom>
            <a:solidFill>
              <a:srgbClr val="FDD7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" name="Freeform 12"/>
            <p:cNvSpPr>
              <a:spLocks/>
            </p:cNvSpPr>
            <p:nvPr/>
          </p:nvSpPr>
          <p:spPr bwMode="auto">
            <a:xfrm>
              <a:off x="6995095" y="1855591"/>
              <a:ext cx="161925" cy="149225"/>
            </a:xfrm>
            <a:custGeom>
              <a:avLst/>
              <a:gdLst>
                <a:gd name="T0" fmla="*/ 144 w 713"/>
                <a:gd name="T1" fmla="*/ 91 h 654"/>
                <a:gd name="T2" fmla="*/ 114 w 713"/>
                <a:gd name="T3" fmla="*/ 117 h 654"/>
                <a:gd name="T4" fmla="*/ 88 w 713"/>
                <a:gd name="T5" fmla="*/ 145 h 654"/>
                <a:gd name="T6" fmla="*/ 65 w 713"/>
                <a:gd name="T7" fmla="*/ 176 h 654"/>
                <a:gd name="T8" fmla="*/ 45 w 713"/>
                <a:gd name="T9" fmla="*/ 208 h 654"/>
                <a:gd name="T10" fmla="*/ 29 w 713"/>
                <a:gd name="T11" fmla="*/ 242 h 654"/>
                <a:gd name="T12" fmla="*/ 16 w 713"/>
                <a:gd name="T13" fmla="*/ 276 h 654"/>
                <a:gd name="T14" fmla="*/ 7 w 713"/>
                <a:gd name="T15" fmla="*/ 311 h 654"/>
                <a:gd name="T16" fmla="*/ 3 w 713"/>
                <a:gd name="T17" fmla="*/ 346 h 654"/>
                <a:gd name="T18" fmla="*/ 0 w 713"/>
                <a:gd name="T19" fmla="*/ 382 h 654"/>
                <a:gd name="T20" fmla="*/ 3 w 713"/>
                <a:gd name="T21" fmla="*/ 414 h 654"/>
                <a:gd name="T22" fmla="*/ 8 w 713"/>
                <a:gd name="T23" fmla="*/ 447 h 654"/>
                <a:gd name="T24" fmla="*/ 17 w 713"/>
                <a:gd name="T25" fmla="*/ 479 h 654"/>
                <a:gd name="T26" fmla="*/ 30 w 713"/>
                <a:gd name="T27" fmla="*/ 508 h 654"/>
                <a:gd name="T28" fmla="*/ 47 w 713"/>
                <a:gd name="T29" fmla="*/ 534 h 654"/>
                <a:gd name="T30" fmla="*/ 68 w 713"/>
                <a:gd name="T31" fmla="*/ 558 h 654"/>
                <a:gd name="T32" fmla="*/ 93 w 713"/>
                <a:gd name="T33" fmla="*/ 579 h 654"/>
                <a:gd name="T34" fmla="*/ 120 w 713"/>
                <a:gd name="T35" fmla="*/ 597 h 654"/>
                <a:gd name="T36" fmla="*/ 150 w 713"/>
                <a:gd name="T37" fmla="*/ 613 h 654"/>
                <a:gd name="T38" fmla="*/ 179 w 713"/>
                <a:gd name="T39" fmla="*/ 627 h 654"/>
                <a:gd name="T40" fmla="*/ 211 w 713"/>
                <a:gd name="T41" fmla="*/ 638 h 654"/>
                <a:gd name="T42" fmla="*/ 243 w 713"/>
                <a:gd name="T43" fmla="*/ 646 h 654"/>
                <a:gd name="T44" fmla="*/ 276 w 713"/>
                <a:gd name="T45" fmla="*/ 652 h 654"/>
                <a:gd name="T46" fmla="*/ 310 w 713"/>
                <a:gd name="T47" fmla="*/ 654 h 654"/>
                <a:gd name="T48" fmla="*/ 343 w 713"/>
                <a:gd name="T49" fmla="*/ 653 h 654"/>
                <a:gd name="T50" fmla="*/ 378 w 713"/>
                <a:gd name="T51" fmla="*/ 648 h 654"/>
                <a:gd name="T52" fmla="*/ 411 w 713"/>
                <a:gd name="T53" fmla="*/ 641 h 654"/>
                <a:gd name="T54" fmla="*/ 443 w 713"/>
                <a:gd name="T55" fmla="*/ 629 h 654"/>
                <a:gd name="T56" fmla="*/ 475 w 713"/>
                <a:gd name="T57" fmla="*/ 613 h 654"/>
                <a:gd name="T58" fmla="*/ 505 w 713"/>
                <a:gd name="T59" fmla="*/ 595 h 654"/>
                <a:gd name="T60" fmla="*/ 535 w 713"/>
                <a:gd name="T61" fmla="*/ 571 h 654"/>
                <a:gd name="T62" fmla="*/ 562 w 713"/>
                <a:gd name="T63" fmla="*/ 545 h 654"/>
                <a:gd name="T64" fmla="*/ 600 w 713"/>
                <a:gd name="T65" fmla="*/ 499 h 654"/>
                <a:gd name="T66" fmla="*/ 643 w 713"/>
                <a:gd name="T67" fmla="*/ 437 h 654"/>
                <a:gd name="T68" fmla="*/ 676 w 713"/>
                <a:gd name="T69" fmla="*/ 376 h 654"/>
                <a:gd name="T70" fmla="*/ 695 w 713"/>
                <a:gd name="T71" fmla="*/ 332 h 654"/>
                <a:gd name="T72" fmla="*/ 704 w 713"/>
                <a:gd name="T73" fmla="*/ 302 h 654"/>
                <a:gd name="T74" fmla="*/ 709 w 713"/>
                <a:gd name="T75" fmla="*/ 272 h 654"/>
                <a:gd name="T76" fmla="*/ 712 w 713"/>
                <a:gd name="T77" fmla="*/ 244 h 654"/>
                <a:gd name="T78" fmla="*/ 712 w 713"/>
                <a:gd name="T79" fmla="*/ 216 h 654"/>
                <a:gd name="T80" fmla="*/ 708 w 713"/>
                <a:gd name="T81" fmla="*/ 188 h 654"/>
                <a:gd name="T82" fmla="*/ 701 w 713"/>
                <a:gd name="T83" fmla="*/ 162 h 654"/>
                <a:gd name="T84" fmla="*/ 691 w 713"/>
                <a:gd name="T85" fmla="*/ 136 h 654"/>
                <a:gd name="T86" fmla="*/ 677 w 713"/>
                <a:gd name="T87" fmla="*/ 111 h 654"/>
                <a:gd name="T88" fmla="*/ 659 w 713"/>
                <a:gd name="T89" fmla="*/ 87 h 654"/>
                <a:gd name="T90" fmla="*/ 638 w 713"/>
                <a:gd name="T91" fmla="*/ 65 h 654"/>
                <a:gd name="T92" fmla="*/ 614 w 713"/>
                <a:gd name="T93" fmla="*/ 45 h 654"/>
                <a:gd name="T94" fmla="*/ 586 w 713"/>
                <a:gd name="T95" fmla="*/ 29 h 654"/>
                <a:gd name="T96" fmla="*/ 557 w 713"/>
                <a:gd name="T97" fmla="*/ 17 h 654"/>
                <a:gd name="T98" fmla="*/ 525 w 713"/>
                <a:gd name="T99" fmla="*/ 9 h 654"/>
                <a:gd name="T100" fmla="*/ 492 w 713"/>
                <a:gd name="T101" fmla="*/ 3 h 654"/>
                <a:gd name="T102" fmla="*/ 457 w 713"/>
                <a:gd name="T103" fmla="*/ 0 h 654"/>
                <a:gd name="T104" fmla="*/ 423 w 713"/>
                <a:gd name="T105" fmla="*/ 0 h 654"/>
                <a:gd name="T106" fmla="*/ 371 w 713"/>
                <a:gd name="T107" fmla="*/ 4 h 654"/>
                <a:gd name="T108" fmla="*/ 302 w 713"/>
                <a:gd name="T109" fmla="*/ 18 h 654"/>
                <a:gd name="T110" fmla="*/ 239 w 713"/>
                <a:gd name="T111" fmla="*/ 38 h 654"/>
                <a:gd name="T112" fmla="*/ 184 w 713"/>
                <a:gd name="T113" fmla="*/ 65 h 6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13" h="654">
                  <a:moveTo>
                    <a:pt x="161" y="79"/>
                  </a:moveTo>
                  <a:lnTo>
                    <a:pt x="144" y="91"/>
                  </a:lnTo>
                  <a:lnTo>
                    <a:pt x="129" y="103"/>
                  </a:lnTo>
                  <a:lnTo>
                    <a:pt x="114" y="117"/>
                  </a:lnTo>
                  <a:lnTo>
                    <a:pt x="101" y="130"/>
                  </a:lnTo>
                  <a:lnTo>
                    <a:pt x="88" y="145"/>
                  </a:lnTo>
                  <a:lnTo>
                    <a:pt x="75" y="160"/>
                  </a:lnTo>
                  <a:lnTo>
                    <a:pt x="65" y="176"/>
                  </a:lnTo>
                  <a:lnTo>
                    <a:pt x="55" y="192"/>
                  </a:lnTo>
                  <a:lnTo>
                    <a:pt x="45" y="208"/>
                  </a:lnTo>
                  <a:lnTo>
                    <a:pt x="37" y="225"/>
                  </a:lnTo>
                  <a:lnTo>
                    <a:pt x="29" y="242"/>
                  </a:lnTo>
                  <a:lnTo>
                    <a:pt x="22" y="259"/>
                  </a:lnTo>
                  <a:lnTo>
                    <a:pt x="16" y="276"/>
                  </a:lnTo>
                  <a:lnTo>
                    <a:pt x="12" y="294"/>
                  </a:lnTo>
                  <a:lnTo>
                    <a:pt x="7" y="311"/>
                  </a:lnTo>
                  <a:lnTo>
                    <a:pt x="5" y="329"/>
                  </a:lnTo>
                  <a:lnTo>
                    <a:pt x="3" y="346"/>
                  </a:lnTo>
                  <a:lnTo>
                    <a:pt x="0" y="363"/>
                  </a:lnTo>
                  <a:lnTo>
                    <a:pt x="0" y="382"/>
                  </a:lnTo>
                  <a:lnTo>
                    <a:pt x="0" y="399"/>
                  </a:lnTo>
                  <a:lnTo>
                    <a:pt x="3" y="414"/>
                  </a:lnTo>
                  <a:lnTo>
                    <a:pt x="5" y="431"/>
                  </a:lnTo>
                  <a:lnTo>
                    <a:pt x="8" y="447"/>
                  </a:lnTo>
                  <a:lnTo>
                    <a:pt x="12" y="463"/>
                  </a:lnTo>
                  <a:lnTo>
                    <a:pt x="17" y="479"/>
                  </a:lnTo>
                  <a:lnTo>
                    <a:pt x="23" y="494"/>
                  </a:lnTo>
                  <a:lnTo>
                    <a:pt x="30" y="508"/>
                  </a:lnTo>
                  <a:lnTo>
                    <a:pt x="38" y="521"/>
                  </a:lnTo>
                  <a:lnTo>
                    <a:pt x="47" y="534"/>
                  </a:lnTo>
                  <a:lnTo>
                    <a:pt x="57" y="546"/>
                  </a:lnTo>
                  <a:lnTo>
                    <a:pt x="68" y="558"/>
                  </a:lnTo>
                  <a:lnTo>
                    <a:pt x="80" y="569"/>
                  </a:lnTo>
                  <a:lnTo>
                    <a:pt x="93" y="579"/>
                  </a:lnTo>
                  <a:lnTo>
                    <a:pt x="106" y="588"/>
                  </a:lnTo>
                  <a:lnTo>
                    <a:pt x="120" y="597"/>
                  </a:lnTo>
                  <a:lnTo>
                    <a:pt x="135" y="605"/>
                  </a:lnTo>
                  <a:lnTo>
                    <a:pt x="150" y="613"/>
                  </a:lnTo>
                  <a:lnTo>
                    <a:pt x="164" y="621"/>
                  </a:lnTo>
                  <a:lnTo>
                    <a:pt x="179" y="627"/>
                  </a:lnTo>
                  <a:lnTo>
                    <a:pt x="195" y="634"/>
                  </a:lnTo>
                  <a:lnTo>
                    <a:pt x="211" y="638"/>
                  </a:lnTo>
                  <a:lnTo>
                    <a:pt x="227" y="643"/>
                  </a:lnTo>
                  <a:lnTo>
                    <a:pt x="243" y="646"/>
                  </a:lnTo>
                  <a:lnTo>
                    <a:pt x="260" y="650"/>
                  </a:lnTo>
                  <a:lnTo>
                    <a:pt x="276" y="652"/>
                  </a:lnTo>
                  <a:lnTo>
                    <a:pt x="293" y="653"/>
                  </a:lnTo>
                  <a:lnTo>
                    <a:pt x="310" y="654"/>
                  </a:lnTo>
                  <a:lnTo>
                    <a:pt x="327" y="653"/>
                  </a:lnTo>
                  <a:lnTo>
                    <a:pt x="343" y="653"/>
                  </a:lnTo>
                  <a:lnTo>
                    <a:pt x="361" y="651"/>
                  </a:lnTo>
                  <a:lnTo>
                    <a:pt x="378" y="648"/>
                  </a:lnTo>
                  <a:lnTo>
                    <a:pt x="394" y="645"/>
                  </a:lnTo>
                  <a:lnTo>
                    <a:pt x="411" y="641"/>
                  </a:lnTo>
                  <a:lnTo>
                    <a:pt x="427" y="635"/>
                  </a:lnTo>
                  <a:lnTo>
                    <a:pt x="443" y="629"/>
                  </a:lnTo>
                  <a:lnTo>
                    <a:pt x="459" y="621"/>
                  </a:lnTo>
                  <a:lnTo>
                    <a:pt x="475" y="613"/>
                  </a:lnTo>
                  <a:lnTo>
                    <a:pt x="490" y="604"/>
                  </a:lnTo>
                  <a:lnTo>
                    <a:pt x="505" y="595"/>
                  </a:lnTo>
                  <a:lnTo>
                    <a:pt x="520" y="584"/>
                  </a:lnTo>
                  <a:lnTo>
                    <a:pt x="535" y="571"/>
                  </a:lnTo>
                  <a:lnTo>
                    <a:pt x="549" y="559"/>
                  </a:lnTo>
                  <a:lnTo>
                    <a:pt x="562" y="545"/>
                  </a:lnTo>
                  <a:lnTo>
                    <a:pt x="576" y="529"/>
                  </a:lnTo>
                  <a:lnTo>
                    <a:pt x="600" y="499"/>
                  </a:lnTo>
                  <a:lnTo>
                    <a:pt x="623" y="468"/>
                  </a:lnTo>
                  <a:lnTo>
                    <a:pt x="643" y="437"/>
                  </a:lnTo>
                  <a:lnTo>
                    <a:pt x="662" y="406"/>
                  </a:lnTo>
                  <a:lnTo>
                    <a:pt x="676" y="376"/>
                  </a:lnTo>
                  <a:lnTo>
                    <a:pt x="689" y="346"/>
                  </a:lnTo>
                  <a:lnTo>
                    <a:pt x="695" y="332"/>
                  </a:lnTo>
                  <a:lnTo>
                    <a:pt x="699" y="317"/>
                  </a:lnTo>
                  <a:lnTo>
                    <a:pt x="704" y="302"/>
                  </a:lnTo>
                  <a:lnTo>
                    <a:pt x="707" y="287"/>
                  </a:lnTo>
                  <a:lnTo>
                    <a:pt x="709" y="272"/>
                  </a:lnTo>
                  <a:lnTo>
                    <a:pt x="712" y="259"/>
                  </a:lnTo>
                  <a:lnTo>
                    <a:pt x="712" y="244"/>
                  </a:lnTo>
                  <a:lnTo>
                    <a:pt x="713" y="230"/>
                  </a:lnTo>
                  <a:lnTo>
                    <a:pt x="712" y="216"/>
                  </a:lnTo>
                  <a:lnTo>
                    <a:pt x="711" y="202"/>
                  </a:lnTo>
                  <a:lnTo>
                    <a:pt x="708" y="188"/>
                  </a:lnTo>
                  <a:lnTo>
                    <a:pt x="705" y="176"/>
                  </a:lnTo>
                  <a:lnTo>
                    <a:pt x="701" y="162"/>
                  </a:lnTo>
                  <a:lnTo>
                    <a:pt x="697" y="150"/>
                  </a:lnTo>
                  <a:lnTo>
                    <a:pt x="691" y="136"/>
                  </a:lnTo>
                  <a:lnTo>
                    <a:pt x="684" y="124"/>
                  </a:lnTo>
                  <a:lnTo>
                    <a:pt x="677" y="111"/>
                  </a:lnTo>
                  <a:lnTo>
                    <a:pt x="668" y="99"/>
                  </a:lnTo>
                  <a:lnTo>
                    <a:pt x="659" y="87"/>
                  </a:lnTo>
                  <a:lnTo>
                    <a:pt x="649" y="75"/>
                  </a:lnTo>
                  <a:lnTo>
                    <a:pt x="638" y="65"/>
                  </a:lnTo>
                  <a:lnTo>
                    <a:pt x="626" y="54"/>
                  </a:lnTo>
                  <a:lnTo>
                    <a:pt x="614" y="45"/>
                  </a:lnTo>
                  <a:lnTo>
                    <a:pt x="600" y="36"/>
                  </a:lnTo>
                  <a:lnTo>
                    <a:pt x="586" y="29"/>
                  </a:lnTo>
                  <a:lnTo>
                    <a:pt x="571" y="22"/>
                  </a:lnTo>
                  <a:lnTo>
                    <a:pt x="557" y="17"/>
                  </a:lnTo>
                  <a:lnTo>
                    <a:pt x="541" y="12"/>
                  </a:lnTo>
                  <a:lnTo>
                    <a:pt x="525" y="9"/>
                  </a:lnTo>
                  <a:lnTo>
                    <a:pt x="509" y="5"/>
                  </a:lnTo>
                  <a:lnTo>
                    <a:pt x="492" y="3"/>
                  </a:lnTo>
                  <a:lnTo>
                    <a:pt x="475" y="1"/>
                  </a:lnTo>
                  <a:lnTo>
                    <a:pt x="457" y="0"/>
                  </a:lnTo>
                  <a:lnTo>
                    <a:pt x="440" y="0"/>
                  </a:lnTo>
                  <a:lnTo>
                    <a:pt x="423" y="0"/>
                  </a:lnTo>
                  <a:lnTo>
                    <a:pt x="405" y="1"/>
                  </a:lnTo>
                  <a:lnTo>
                    <a:pt x="371" y="4"/>
                  </a:lnTo>
                  <a:lnTo>
                    <a:pt x="335" y="10"/>
                  </a:lnTo>
                  <a:lnTo>
                    <a:pt x="302" y="18"/>
                  </a:lnTo>
                  <a:lnTo>
                    <a:pt x="269" y="28"/>
                  </a:lnTo>
                  <a:lnTo>
                    <a:pt x="239" y="38"/>
                  </a:lnTo>
                  <a:lnTo>
                    <a:pt x="210" y="51"/>
                  </a:lnTo>
                  <a:lnTo>
                    <a:pt x="184" y="65"/>
                  </a:lnTo>
                  <a:lnTo>
                    <a:pt x="161" y="79"/>
                  </a:ln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0" name="Freeform 13"/>
            <p:cNvSpPr>
              <a:spLocks noEditPoints="1"/>
            </p:cNvSpPr>
            <p:nvPr/>
          </p:nvSpPr>
          <p:spPr bwMode="auto">
            <a:xfrm>
              <a:off x="7453883" y="1717478"/>
              <a:ext cx="892175" cy="425450"/>
            </a:xfrm>
            <a:custGeom>
              <a:avLst/>
              <a:gdLst>
                <a:gd name="T0" fmla="*/ 129 w 3933"/>
                <a:gd name="T1" fmla="*/ 1398 h 1874"/>
                <a:gd name="T2" fmla="*/ 927 w 3933"/>
                <a:gd name="T3" fmla="*/ 1637 h 1874"/>
                <a:gd name="T4" fmla="*/ 3807 w 3933"/>
                <a:gd name="T5" fmla="*/ 1806 h 1874"/>
                <a:gd name="T6" fmla="*/ 3840 w 3933"/>
                <a:gd name="T7" fmla="*/ 1671 h 1874"/>
                <a:gd name="T8" fmla="*/ 3533 w 3933"/>
                <a:gd name="T9" fmla="*/ 1869 h 1874"/>
                <a:gd name="T10" fmla="*/ 3450 w 3933"/>
                <a:gd name="T11" fmla="*/ 1715 h 1874"/>
                <a:gd name="T12" fmla="*/ 3395 w 3933"/>
                <a:gd name="T13" fmla="*/ 1745 h 1874"/>
                <a:gd name="T14" fmla="*/ 3089 w 3933"/>
                <a:gd name="T15" fmla="*/ 1864 h 1874"/>
                <a:gd name="T16" fmla="*/ 3064 w 3933"/>
                <a:gd name="T17" fmla="*/ 1763 h 1874"/>
                <a:gd name="T18" fmla="*/ 3083 w 3933"/>
                <a:gd name="T19" fmla="*/ 1697 h 1874"/>
                <a:gd name="T20" fmla="*/ 2799 w 3933"/>
                <a:gd name="T21" fmla="*/ 1871 h 1874"/>
                <a:gd name="T22" fmla="*/ 2809 w 3933"/>
                <a:gd name="T23" fmla="*/ 1681 h 1874"/>
                <a:gd name="T24" fmla="*/ 2567 w 3933"/>
                <a:gd name="T25" fmla="*/ 1679 h 1874"/>
                <a:gd name="T26" fmla="*/ 2619 w 3933"/>
                <a:gd name="T27" fmla="*/ 1678 h 1874"/>
                <a:gd name="T28" fmla="*/ 2461 w 3933"/>
                <a:gd name="T29" fmla="*/ 1783 h 1874"/>
                <a:gd name="T30" fmla="*/ 2486 w 3933"/>
                <a:gd name="T31" fmla="*/ 1690 h 1874"/>
                <a:gd name="T32" fmla="*/ 2293 w 3933"/>
                <a:gd name="T33" fmla="*/ 1691 h 1874"/>
                <a:gd name="T34" fmla="*/ 2331 w 3933"/>
                <a:gd name="T35" fmla="*/ 1666 h 1874"/>
                <a:gd name="T36" fmla="*/ 2049 w 3933"/>
                <a:gd name="T37" fmla="*/ 1871 h 1874"/>
                <a:gd name="T38" fmla="*/ 2005 w 3933"/>
                <a:gd name="T39" fmla="*/ 1672 h 1874"/>
                <a:gd name="T40" fmla="*/ 1747 w 3933"/>
                <a:gd name="T41" fmla="*/ 1649 h 1874"/>
                <a:gd name="T42" fmla="*/ 1550 w 3933"/>
                <a:gd name="T43" fmla="*/ 1867 h 1874"/>
                <a:gd name="T44" fmla="*/ 1446 w 3933"/>
                <a:gd name="T45" fmla="*/ 1873 h 1874"/>
                <a:gd name="T46" fmla="*/ 1476 w 3933"/>
                <a:gd name="T47" fmla="*/ 1644 h 1874"/>
                <a:gd name="T48" fmla="*/ 1470 w 3933"/>
                <a:gd name="T49" fmla="*/ 1833 h 1874"/>
                <a:gd name="T50" fmla="*/ 1208 w 3933"/>
                <a:gd name="T51" fmla="*/ 1640 h 1874"/>
                <a:gd name="T52" fmla="*/ 1219 w 3933"/>
                <a:gd name="T53" fmla="*/ 1810 h 1874"/>
                <a:gd name="T54" fmla="*/ 1131 w 3933"/>
                <a:gd name="T55" fmla="*/ 1637 h 1874"/>
                <a:gd name="T56" fmla="*/ 679 w 3933"/>
                <a:gd name="T57" fmla="*/ 1870 h 1874"/>
                <a:gd name="T58" fmla="*/ 399 w 3933"/>
                <a:gd name="T59" fmla="*/ 1870 h 1874"/>
                <a:gd name="T60" fmla="*/ 298 w 3933"/>
                <a:gd name="T61" fmla="*/ 1783 h 1874"/>
                <a:gd name="T62" fmla="*/ 323 w 3933"/>
                <a:gd name="T63" fmla="*/ 1690 h 1874"/>
                <a:gd name="T64" fmla="*/ 129 w 3933"/>
                <a:gd name="T65" fmla="*/ 1806 h 1874"/>
                <a:gd name="T66" fmla="*/ 95 w 3933"/>
                <a:gd name="T67" fmla="*/ 1671 h 1874"/>
                <a:gd name="T68" fmla="*/ 615 w 3933"/>
                <a:gd name="T69" fmla="*/ 590 h 1874"/>
                <a:gd name="T70" fmla="*/ 1070 w 3933"/>
                <a:gd name="T71" fmla="*/ 214 h 1874"/>
                <a:gd name="T72" fmla="*/ 871 w 3933"/>
                <a:gd name="T73" fmla="*/ 292 h 1874"/>
                <a:gd name="T74" fmla="*/ 2350 w 3933"/>
                <a:gd name="T75" fmla="*/ 163 h 1874"/>
                <a:gd name="T76" fmla="*/ 2647 w 3933"/>
                <a:gd name="T77" fmla="*/ 397 h 1874"/>
                <a:gd name="T78" fmla="*/ 2488 w 3933"/>
                <a:gd name="T79" fmla="*/ 241 h 1874"/>
                <a:gd name="T80" fmla="*/ 1957 w 3933"/>
                <a:gd name="T81" fmla="*/ 276 h 1874"/>
                <a:gd name="T82" fmla="*/ 1875 w 3933"/>
                <a:gd name="T83" fmla="*/ 385 h 1874"/>
                <a:gd name="T84" fmla="*/ 1308 w 3933"/>
                <a:gd name="T85" fmla="*/ 119 h 1874"/>
                <a:gd name="T86" fmla="*/ 1208 w 3933"/>
                <a:gd name="T87" fmla="*/ 38 h 1874"/>
                <a:gd name="T88" fmla="*/ 1410 w 3933"/>
                <a:gd name="T89" fmla="*/ 611 h 1874"/>
                <a:gd name="T90" fmla="*/ 1528 w 3933"/>
                <a:gd name="T91" fmla="*/ 344 h 1874"/>
                <a:gd name="T92" fmla="*/ 469 w 3933"/>
                <a:gd name="T93" fmla="*/ 84 h 1874"/>
                <a:gd name="T94" fmla="*/ 125 w 3933"/>
                <a:gd name="T95" fmla="*/ 608 h 1874"/>
                <a:gd name="T96" fmla="*/ 233 w 3933"/>
                <a:gd name="T97" fmla="*/ 502 h 1874"/>
                <a:gd name="T98" fmla="*/ 340 w 3933"/>
                <a:gd name="T99" fmla="*/ 233 h 1874"/>
                <a:gd name="T100" fmla="*/ 1623 w 3933"/>
                <a:gd name="T101" fmla="*/ 810 h 1874"/>
                <a:gd name="T102" fmla="*/ 1276 w 3933"/>
                <a:gd name="T103" fmla="*/ 1401 h 1874"/>
                <a:gd name="T104" fmla="*/ 2367 w 3933"/>
                <a:gd name="T105" fmla="*/ 819 h 1874"/>
                <a:gd name="T106" fmla="*/ 2608 w 3933"/>
                <a:gd name="T107" fmla="*/ 1404 h 1874"/>
                <a:gd name="T108" fmla="*/ 3447 w 3933"/>
                <a:gd name="T109" fmla="*/ 806 h 1874"/>
                <a:gd name="T110" fmla="*/ 3927 w 3933"/>
                <a:gd name="T111" fmla="*/ 1385 h 1874"/>
                <a:gd name="T112" fmla="*/ 2862 w 3933"/>
                <a:gd name="T113" fmla="*/ 818 h 1874"/>
                <a:gd name="T114" fmla="*/ 2134 w 3933"/>
                <a:gd name="T115" fmla="*/ 805 h 1874"/>
                <a:gd name="T116" fmla="*/ 2140 w 3933"/>
                <a:gd name="T117" fmla="*/ 913 h 1874"/>
                <a:gd name="T118" fmla="*/ 613 w 3933"/>
                <a:gd name="T119" fmla="*/ 842 h 1874"/>
                <a:gd name="T120" fmla="*/ 1064 w 3933"/>
                <a:gd name="T121" fmla="*/ 1052 h 1874"/>
                <a:gd name="T122" fmla="*/ 900 w 3933"/>
                <a:gd name="T123" fmla="*/ 1079 h 18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933" h="1874">
                  <a:moveTo>
                    <a:pt x="393" y="889"/>
                  </a:moveTo>
                  <a:lnTo>
                    <a:pt x="388" y="874"/>
                  </a:lnTo>
                  <a:lnTo>
                    <a:pt x="383" y="861"/>
                  </a:lnTo>
                  <a:lnTo>
                    <a:pt x="377" y="849"/>
                  </a:lnTo>
                  <a:lnTo>
                    <a:pt x="370" y="839"/>
                  </a:lnTo>
                  <a:lnTo>
                    <a:pt x="362" y="831"/>
                  </a:lnTo>
                  <a:lnTo>
                    <a:pt x="353" y="824"/>
                  </a:lnTo>
                  <a:lnTo>
                    <a:pt x="345" y="818"/>
                  </a:lnTo>
                  <a:lnTo>
                    <a:pt x="336" y="813"/>
                  </a:lnTo>
                  <a:lnTo>
                    <a:pt x="328" y="809"/>
                  </a:lnTo>
                  <a:lnTo>
                    <a:pt x="318" y="805"/>
                  </a:lnTo>
                  <a:lnTo>
                    <a:pt x="309" y="803"/>
                  </a:lnTo>
                  <a:lnTo>
                    <a:pt x="299" y="801"/>
                  </a:lnTo>
                  <a:lnTo>
                    <a:pt x="283" y="800"/>
                  </a:lnTo>
                  <a:lnTo>
                    <a:pt x="268" y="798"/>
                  </a:lnTo>
                  <a:lnTo>
                    <a:pt x="252" y="800"/>
                  </a:lnTo>
                  <a:lnTo>
                    <a:pt x="235" y="801"/>
                  </a:lnTo>
                  <a:lnTo>
                    <a:pt x="226" y="803"/>
                  </a:lnTo>
                  <a:lnTo>
                    <a:pt x="217" y="805"/>
                  </a:lnTo>
                  <a:lnTo>
                    <a:pt x="208" y="809"/>
                  </a:lnTo>
                  <a:lnTo>
                    <a:pt x="199" y="813"/>
                  </a:lnTo>
                  <a:lnTo>
                    <a:pt x="191" y="818"/>
                  </a:lnTo>
                  <a:lnTo>
                    <a:pt x="182" y="824"/>
                  </a:lnTo>
                  <a:lnTo>
                    <a:pt x="174" y="831"/>
                  </a:lnTo>
                  <a:lnTo>
                    <a:pt x="166" y="840"/>
                  </a:lnTo>
                  <a:lnTo>
                    <a:pt x="158" y="849"/>
                  </a:lnTo>
                  <a:lnTo>
                    <a:pt x="152" y="861"/>
                  </a:lnTo>
                  <a:lnTo>
                    <a:pt x="146" y="873"/>
                  </a:lnTo>
                  <a:lnTo>
                    <a:pt x="142" y="888"/>
                  </a:lnTo>
                  <a:lnTo>
                    <a:pt x="0" y="1382"/>
                  </a:lnTo>
                  <a:lnTo>
                    <a:pt x="2" y="1388"/>
                  </a:lnTo>
                  <a:lnTo>
                    <a:pt x="3" y="1393"/>
                  </a:lnTo>
                  <a:lnTo>
                    <a:pt x="5" y="1396"/>
                  </a:lnTo>
                  <a:lnTo>
                    <a:pt x="8" y="1398"/>
                  </a:lnTo>
                  <a:lnTo>
                    <a:pt x="11" y="1402"/>
                  </a:lnTo>
                  <a:lnTo>
                    <a:pt x="15" y="1403"/>
                  </a:lnTo>
                  <a:lnTo>
                    <a:pt x="19" y="1404"/>
                  </a:lnTo>
                  <a:lnTo>
                    <a:pt x="24" y="1404"/>
                  </a:lnTo>
                  <a:lnTo>
                    <a:pt x="114" y="1404"/>
                  </a:lnTo>
                  <a:lnTo>
                    <a:pt x="119" y="1404"/>
                  </a:lnTo>
                  <a:lnTo>
                    <a:pt x="122" y="1403"/>
                  </a:lnTo>
                  <a:lnTo>
                    <a:pt x="126" y="1401"/>
                  </a:lnTo>
                  <a:lnTo>
                    <a:pt x="129" y="1398"/>
                  </a:lnTo>
                  <a:lnTo>
                    <a:pt x="135" y="1393"/>
                  </a:lnTo>
                  <a:lnTo>
                    <a:pt x="137" y="1385"/>
                  </a:lnTo>
                  <a:lnTo>
                    <a:pt x="175" y="1263"/>
                  </a:lnTo>
                  <a:lnTo>
                    <a:pt x="360" y="1263"/>
                  </a:lnTo>
                  <a:lnTo>
                    <a:pt x="397" y="1385"/>
                  </a:lnTo>
                  <a:lnTo>
                    <a:pt x="401" y="1391"/>
                  </a:lnTo>
                  <a:lnTo>
                    <a:pt x="405" y="1398"/>
                  </a:lnTo>
                  <a:lnTo>
                    <a:pt x="409" y="1402"/>
                  </a:lnTo>
                  <a:lnTo>
                    <a:pt x="413" y="1403"/>
                  </a:lnTo>
                  <a:lnTo>
                    <a:pt x="417" y="1404"/>
                  </a:lnTo>
                  <a:lnTo>
                    <a:pt x="421" y="1404"/>
                  </a:lnTo>
                  <a:lnTo>
                    <a:pt x="511" y="1404"/>
                  </a:lnTo>
                  <a:lnTo>
                    <a:pt x="516" y="1404"/>
                  </a:lnTo>
                  <a:lnTo>
                    <a:pt x="520" y="1403"/>
                  </a:lnTo>
                  <a:lnTo>
                    <a:pt x="524" y="1402"/>
                  </a:lnTo>
                  <a:lnTo>
                    <a:pt x="526" y="1399"/>
                  </a:lnTo>
                  <a:lnTo>
                    <a:pt x="529" y="1397"/>
                  </a:lnTo>
                  <a:lnTo>
                    <a:pt x="532" y="1393"/>
                  </a:lnTo>
                  <a:lnTo>
                    <a:pt x="533" y="1388"/>
                  </a:lnTo>
                  <a:lnTo>
                    <a:pt x="534" y="1382"/>
                  </a:lnTo>
                  <a:lnTo>
                    <a:pt x="393" y="889"/>
                  </a:lnTo>
                  <a:close/>
                  <a:moveTo>
                    <a:pt x="768" y="1642"/>
                  </a:moveTo>
                  <a:lnTo>
                    <a:pt x="768" y="1639"/>
                  </a:lnTo>
                  <a:lnTo>
                    <a:pt x="769" y="1638"/>
                  </a:lnTo>
                  <a:lnTo>
                    <a:pt x="771" y="1637"/>
                  </a:lnTo>
                  <a:lnTo>
                    <a:pt x="773" y="1636"/>
                  </a:lnTo>
                  <a:lnTo>
                    <a:pt x="803" y="1636"/>
                  </a:lnTo>
                  <a:lnTo>
                    <a:pt x="805" y="1637"/>
                  </a:lnTo>
                  <a:lnTo>
                    <a:pt x="808" y="1638"/>
                  </a:lnTo>
                  <a:lnTo>
                    <a:pt x="809" y="1639"/>
                  </a:lnTo>
                  <a:lnTo>
                    <a:pt x="809" y="1642"/>
                  </a:lnTo>
                  <a:lnTo>
                    <a:pt x="809" y="1810"/>
                  </a:lnTo>
                  <a:lnTo>
                    <a:pt x="810" y="1811"/>
                  </a:lnTo>
                  <a:lnTo>
                    <a:pt x="811" y="1812"/>
                  </a:lnTo>
                  <a:lnTo>
                    <a:pt x="812" y="1812"/>
                  </a:lnTo>
                  <a:lnTo>
                    <a:pt x="813" y="1810"/>
                  </a:lnTo>
                  <a:lnTo>
                    <a:pt x="878" y="1646"/>
                  </a:lnTo>
                  <a:lnTo>
                    <a:pt x="881" y="1641"/>
                  </a:lnTo>
                  <a:lnTo>
                    <a:pt x="883" y="1638"/>
                  </a:lnTo>
                  <a:lnTo>
                    <a:pt x="886" y="1637"/>
                  </a:lnTo>
                  <a:lnTo>
                    <a:pt x="891" y="1636"/>
                  </a:lnTo>
                  <a:lnTo>
                    <a:pt x="923" y="1636"/>
                  </a:lnTo>
                  <a:lnTo>
                    <a:pt x="927" y="1637"/>
                  </a:lnTo>
                  <a:lnTo>
                    <a:pt x="932" y="1640"/>
                  </a:lnTo>
                  <a:lnTo>
                    <a:pt x="934" y="1644"/>
                  </a:lnTo>
                  <a:lnTo>
                    <a:pt x="935" y="1649"/>
                  </a:lnTo>
                  <a:lnTo>
                    <a:pt x="935" y="1865"/>
                  </a:lnTo>
                  <a:lnTo>
                    <a:pt x="934" y="1867"/>
                  </a:lnTo>
                  <a:lnTo>
                    <a:pt x="933" y="1870"/>
                  </a:lnTo>
                  <a:lnTo>
                    <a:pt x="932" y="1871"/>
                  </a:lnTo>
                  <a:lnTo>
                    <a:pt x="930" y="1872"/>
                  </a:lnTo>
                  <a:lnTo>
                    <a:pt x="899" y="1872"/>
                  </a:lnTo>
                  <a:lnTo>
                    <a:pt x="897" y="1871"/>
                  </a:lnTo>
                  <a:lnTo>
                    <a:pt x="895" y="1870"/>
                  </a:lnTo>
                  <a:lnTo>
                    <a:pt x="894" y="1867"/>
                  </a:lnTo>
                  <a:lnTo>
                    <a:pt x="893" y="1865"/>
                  </a:lnTo>
                  <a:lnTo>
                    <a:pt x="893" y="1706"/>
                  </a:lnTo>
                  <a:lnTo>
                    <a:pt x="893" y="1704"/>
                  </a:lnTo>
                  <a:lnTo>
                    <a:pt x="892" y="1704"/>
                  </a:lnTo>
                  <a:lnTo>
                    <a:pt x="891" y="1704"/>
                  </a:lnTo>
                  <a:lnTo>
                    <a:pt x="890" y="1706"/>
                  </a:lnTo>
                  <a:lnTo>
                    <a:pt x="828" y="1861"/>
                  </a:lnTo>
                  <a:lnTo>
                    <a:pt x="826" y="1864"/>
                  </a:lnTo>
                  <a:lnTo>
                    <a:pt x="824" y="1867"/>
                  </a:lnTo>
                  <a:lnTo>
                    <a:pt x="821" y="1869"/>
                  </a:lnTo>
                  <a:lnTo>
                    <a:pt x="819" y="1871"/>
                  </a:lnTo>
                  <a:lnTo>
                    <a:pt x="814" y="1871"/>
                  </a:lnTo>
                  <a:lnTo>
                    <a:pt x="810" y="1872"/>
                  </a:lnTo>
                  <a:lnTo>
                    <a:pt x="779" y="1872"/>
                  </a:lnTo>
                  <a:lnTo>
                    <a:pt x="775" y="1871"/>
                  </a:lnTo>
                  <a:lnTo>
                    <a:pt x="771" y="1869"/>
                  </a:lnTo>
                  <a:lnTo>
                    <a:pt x="768" y="1864"/>
                  </a:lnTo>
                  <a:lnTo>
                    <a:pt x="768" y="1859"/>
                  </a:lnTo>
                  <a:lnTo>
                    <a:pt x="768" y="1642"/>
                  </a:lnTo>
                  <a:close/>
                  <a:moveTo>
                    <a:pt x="3933" y="1866"/>
                  </a:moveTo>
                  <a:lnTo>
                    <a:pt x="3933" y="1869"/>
                  </a:lnTo>
                  <a:lnTo>
                    <a:pt x="3932" y="1870"/>
                  </a:lnTo>
                  <a:lnTo>
                    <a:pt x="3929" y="1871"/>
                  </a:lnTo>
                  <a:lnTo>
                    <a:pt x="3927" y="1871"/>
                  </a:lnTo>
                  <a:lnTo>
                    <a:pt x="3896" y="1871"/>
                  </a:lnTo>
                  <a:lnTo>
                    <a:pt x="3894" y="1871"/>
                  </a:lnTo>
                  <a:lnTo>
                    <a:pt x="3892" y="1870"/>
                  </a:lnTo>
                  <a:lnTo>
                    <a:pt x="3891" y="1869"/>
                  </a:lnTo>
                  <a:lnTo>
                    <a:pt x="3891" y="1866"/>
                  </a:lnTo>
                  <a:lnTo>
                    <a:pt x="3877" y="1806"/>
                  </a:lnTo>
                  <a:lnTo>
                    <a:pt x="3807" y="1806"/>
                  </a:lnTo>
                  <a:lnTo>
                    <a:pt x="3794" y="1866"/>
                  </a:lnTo>
                  <a:lnTo>
                    <a:pt x="3794" y="1869"/>
                  </a:lnTo>
                  <a:lnTo>
                    <a:pt x="3791" y="1870"/>
                  </a:lnTo>
                  <a:lnTo>
                    <a:pt x="3790" y="1871"/>
                  </a:lnTo>
                  <a:lnTo>
                    <a:pt x="3788" y="1871"/>
                  </a:lnTo>
                  <a:lnTo>
                    <a:pt x="3757" y="1871"/>
                  </a:lnTo>
                  <a:lnTo>
                    <a:pt x="3755" y="1871"/>
                  </a:lnTo>
                  <a:lnTo>
                    <a:pt x="3753" y="1870"/>
                  </a:lnTo>
                  <a:lnTo>
                    <a:pt x="3751" y="1869"/>
                  </a:lnTo>
                  <a:lnTo>
                    <a:pt x="3751" y="1866"/>
                  </a:lnTo>
                  <a:lnTo>
                    <a:pt x="3751" y="1865"/>
                  </a:lnTo>
                  <a:lnTo>
                    <a:pt x="3751" y="1865"/>
                  </a:lnTo>
                  <a:lnTo>
                    <a:pt x="3751" y="1865"/>
                  </a:lnTo>
                  <a:lnTo>
                    <a:pt x="3751" y="1864"/>
                  </a:lnTo>
                  <a:lnTo>
                    <a:pt x="3800" y="1666"/>
                  </a:lnTo>
                  <a:lnTo>
                    <a:pt x="3804" y="1656"/>
                  </a:lnTo>
                  <a:lnTo>
                    <a:pt x="3808" y="1649"/>
                  </a:lnTo>
                  <a:lnTo>
                    <a:pt x="3813" y="1644"/>
                  </a:lnTo>
                  <a:lnTo>
                    <a:pt x="3819" y="1639"/>
                  </a:lnTo>
                  <a:lnTo>
                    <a:pt x="3826" y="1637"/>
                  </a:lnTo>
                  <a:lnTo>
                    <a:pt x="3831" y="1635"/>
                  </a:lnTo>
                  <a:lnTo>
                    <a:pt x="3837" y="1635"/>
                  </a:lnTo>
                  <a:lnTo>
                    <a:pt x="3841" y="1633"/>
                  </a:lnTo>
                  <a:lnTo>
                    <a:pt x="3847" y="1635"/>
                  </a:lnTo>
                  <a:lnTo>
                    <a:pt x="3853" y="1635"/>
                  </a:lnTo>
                  <a:lnTo>
                    <a:pt x="3859" y="1637"/>
                  </a:lnTo>
                  <a:lnTo>
                    <a:pt x="3865" y="1639"/>
                  </a:lnTo>
                  <a:lnTo>
                    <a:pt x="3870" y="1644"/>
                  </a:lnTo>
                  <a:lnTo>
                    <a:pt x="3876" y="1649"/>
                  </a:lnTo>
                  <a:lnTo>
                    <a:pt x="3880" y="1656"/>
                  </a:lnTo>
                  <a:lnTo>
                    <a:pt x="3884" y="1666"/>
                  </a:lnTo>
                  <a:lnTo>
                    <a:pt x="3933" y="1864"/>
                  </a:lnTo>
                  <a:lnTo>
                    <a:pt x="3933" y="1865"/>
                  </a:lnTo>
                  <a:lnTo>
                    <a:pt x="3933" y="1865"/>
                  </a:lnTo>
                  <a:lnTo>
                    <a:pt x="3933" y="1865"/>
                  </a:lnTo>
                  <a:lnTo>
                    <a:pt x="3933" y="1866"/>
                  </a:lnTo>
                  <a:close/>
                  <a:moveTo>
                    <a:pt x="3847" y="1677"/>
                  </a:moveTo>
                  <a:lnTo>
                    <a:pt x="3847" y="1677"/>
                  </a:lnTo>
                  <a:lnTo>
                    <a:pt x="3846" y="1673"/>
                  </a:lnTo>
                  <a:lnTo>
                    <a:pt x="3845" y="1672"/>
                  </a:lnTo>
                  <a:lnTo>
                    <a:pt x="3844" y="1671"/>
                  </a:lnTo>
                  <a:lnTo>
                    <a:pt x="3841" y="1671"/>
                  </a:lnTo>
                  <a:lnTo>
                    <a:pt x="3840" y="1671"/>
                  </a:lnTo>
                  <a:lnTo>
                    <a:pt x="3839" y="1672"/>
                  </a:lnTo>
                  <a:lnTo>
                    <a:pt x="3838" y="1673"/>
                  </a:lnTo>
                  <a:lnTo>
                    <a:pt x="3837" y="1677"/>
                  </a:lnTo>
                  <a:lnTo>
                    <a:pt x="3815" y="1770"/>
                  </a:lnTo>
                  <a:lnTo>
                    <a:pt x="3868" y="1770"/>
                  </a:lnTo>
                  <a:lnTo>
                    <a:pt x="3847" y="1677"/>
                  </a:lnTo>
                  <a:close/>
                  <a:moveTo>
                    <a:pt x="3722" y="1871"/>
                  </a:moveTo>
                  <a:lnTo>
                    <a:pt x="3721" y="1871"/>
                  </a:lnTo>
                  <a:lnTo>
                    <a:pt x="3718" y="1871"/>
                  </a:lnTo>
                  <a:lnTo>
                    <a:pt x="3689" y="1871"/>
                  </a:lnTo>
                  <a:lnTo>
                    <a:pt x="3686" y="1871"/>
                  </a:lnTo>
                  <a:lnTo>
                    <a:pt x="3685" y="1870"/>
                  </a:lnTo>
                  <a:lnTo>
                    <a:pt x="3684" y="1867"/>
                  </a:lnTo>
                  <a:lnTo>
                    <a:pt x="3683" y="1865"/>
                  </a:lnTo>
                  <a:lnTo>
                    <a:pt x="3683" y="1719"/>
                  </a:lnTo>
                  <a:lnTo>
                    <a:pt x="3683" y="1715"/>
                  </a:lnTo>
                  <a:lnTo>
                    <a:pt x="3683" y="1715"/>
                  </a:lnTo>
                  <a:lnTo>
                    <a:pt x="3682" y="1715"/>
                  </a:lnTo>
                  <a:lnTo>
                    <a:pt x="3681" y="1716"/>
                  </a:lnTo>
                  <a:lnTo>
                    <a:pt x="3652" y="1778"/>
                  </a:lnTo>
                  <a:lnTo>
                    <a:pt x="3651" y="1780"/>
                  </a:lnTo>
                  <a:lnTo>
                    <a:pt x="3649" y="1781"/>
                  </a:lnTo>
                  <a:lnTo>
                    <a:pt x="3645" y="1782"/>
                  </a:lnTo>
                  <a:lnTo>
                    <a:pt x="3643" y="1782"/>
                  </a:lnTo>
                  <a:lnTo>
                    <a:pt x="3612" y="1782"/>
                  </a:lnTo>
                  <a:lnTo>
                    <a:pt x="3610" y="1782"/>
                  </a:lnTo>
                  <a:lnTo>
                    <a:pt x="3607" y="1781"/>
                  </a:lnTo>
                  <a:lnTo>
                    <a:pt x="3604" y="1780"/>
                  </a:lnTo>
                  <a:lnTo>
                    <a:pt x="3603" y="1778"/>
                  </a:lnTo>
                  <a:lnTo>
                    <a:pt x="3574" y="1716"/>
                  </a:lnTo>
                  <a:lnTo>
                    <a:pt x="3574" y="1715"/>
                  </a:lnTo>
                  <a:lnTo>
                    <a:pt x="3572" y="1715"/>
                  </a:lnTo>
                  <a:lnTo>
                    <a:pt x="3572" y="1715"/>
                  </a:lnTo>
                  <a:lnTo>
                    <a:pt x="3571" y="1719"/>
                  </a:lnTo>
                  <a:lnTo>
                    <a:pt x="3571" y="1865"/>
                  </a:lnTo>
                  <a:lnTo>
                    <a:pt x="3571" y="1867"/>
                  </a:lnTo>
                  <a:lnTo>
                    <a:pt x="3570" y="1870"/>
                  </a:lnTo>
                  <a:lnTo>
                    <a:pt x="3569" y="1871"/>
                  </a:lnTo>
                  <a:lnTo>
                    <a:pt x="3567" y="1871"/>
                  </a:lnTo>
                  <a:lnTo>
                    <a:pt x="3537" y="1871"/>
                  </a:lnTo>
                  <a:lnTo>
                    <a:pt x="3535" y="1871"/>
                  </a:lnTo>
                  <a:lnTo>
                    <a:pt x="3534" y="1871"/>
                  </a:lnTo>
                  <a:lnTo>
                    <a:pt x="3533" y="1869"/>
                  </a:lnTo>
                  <a:lnTo>
                    <a:pt x="3531" y="1866"/>
                  </a:lnTo>
                  <a:lnTo>
                    <a:pt x="3531" y="1649"/>
                  </a:lnTo>
                  <a:lnTo>
                    <a:pt x="3533" y="1645"/>
                  </a:lnTo>
                  <a:lnTo>
                    <a:pt x="3535" y="1640"/>
                  </a:lnTo>
                  <a:lnTo>
                    <a:pt x="3539" y="1638"/>
                  </a:lnTo>
                  <a:lnTo>
                    <a:pt x="3544" y="1637"/>
                  </a:lnTo>
                  <a:lnTo>
                    <a:pt x="3568" y="1637"/>
                  </a:lnTo>
                  <a:lnTo>
                    <a:pt x="3571" y="1637"/>
                  </a:lnTo>
                  <a:lnTo>
                    <a:pt x="3575" y="1639"/>
                  </a:lnTo>
                  <a:lnTo>
                    <a:pt x="3577" y="1641"/>
                  </a:lnTo>
                  <a:lnTo>
                    <a:pt x="3579" y="1644"/>
                  </a:lnTo>
                  <a:lnTo>
                    <a:pt x="3625" y="1741"/>
                  </a:lnTo>
                  <a:lnTo>
                    <a:pt x="3625" y="1742"/>
                  </a:lnTo>
                  <a:lnTo>
                    <a:pt x="3626" y="1744"/>
                  </a:lnTo>
                  <a:lnTo>
                    <a:pt x="3627" y="1745"/>
                  </a:lnTo>
                  <a:lnTo>
                    <a:pt x="3627" y="1745"/>
                  </a:lnTo>
                  <a:lnTo>
                    <a:pt x="3628" y="1745"/>
                  </a:lnTo>
                  <a:lnTo>
                    <a:pt x="3629" y="1744"/>
                  </a:lnTo>
                  <a:lnTo>
                    <a:pt x="3629" y="1742"/>
                  </a:lnTo>
                  <a:lnTo>
                    <a:pt x="3631" y="1741"/>
                  </a:lnTo>
                  <a:lnTo>
                    <a:pt x="3676" y="1644"/>
                  </a:lnTo>
                  <a:lnTo>
                    <a:pt x="3677" y="1641"/>
                  </a:lnTo>
                  <a:lnTo>
                    <a:pt x="3681" y="1639"/>
                  </a:lnTo>
                  <a:lnTo>
                    <a:pt x="3684" y="1637"/>
                  </a:lnTo>
                  <a:lnTo>
                    <a:pt x="3688" y="1637"/>
                  </a:lnTo>
                  <a:lnTo>
                    <a:pt x="3712" y="1637"/>
                  </a:lnTo>
                  <a:lnTo>
                    <a:pt x="3716" y="1638"/>
                  </a:lnTo>
                  <a:lnTo>
                    <a:pt x="3719" y="1640"/>
                  </a:lnTo>
                  <a:lnTo>
                    <a:pt x="3723" y="1645"/>
                  </a:lnTo>
                  <a:lnTo>
                    <a:pt x="3723" y="1649"/>
                  </a:lnTo>
                  <a:lnTo>
                    <a:pt x="3723" y="1866"/>
                  </a:lnTo>
                  <a:lnTo>
                    <a:pt x="3723" y="1869"/>
                  </a:lnTo>
                  <a:lnTo>
                    <a:pt x="3722" y="1871"/>
                  </a:lnTo>
                  <a:close/>
                  <a:moveTo>
                    <a:pt x="3488" y="1871"/>
                  </a:moveTo>
                  <a:lnTo>
                    <a:pt x="3487" y="1871"/>
                  </a:lnTo>
                  <a:lnTo>
                    <a:pt x="3485" y="1871"/>
                  </a:lnTo>
                  <a:lnTo>
                    <a:pt x="3455" y="1871"/>
                  </a:lnTo>
                  <a:lnTo>
                    <a:pt x="3453" y="1871"/>
                  </a:lnTo>
                  <a:lnTo>
                    <a:pt x="3452" y="1870"/>
                  </a:lnTo>
                  <a:lnTo>
                    <a:pt x="3450" y="1867"/>
                  </a:lnTo>
                  <a:lnTo>
                    <a:pt x="3450" y="1865"/>
                  </a:lnTo>
                  <a:lnTo>
                    <a:pt x="3450" y="1719"/>
                  </a:lnTo>
                  <a:lnTo>
                    <a:pt x="3450" y="1715"/>
                  </a:lnTo>
                  <a:lnTo>
                    <a:pt x="3449" y="1715"/>
                  </a:lnTo>
                  <a:lnTo>
                    <a:pt x="3448" y="1715"/>
                  </a:lnTo>
                  <a:lnTo>
                    <a:pt x="3448" y="1716"/>
                  </a:lnTo>
                  <a:lnTo>
                    <a:pt x="3418" y="1778"/>
                  </a:lnTo>
                  <a:lnTo>
                    <a:pt x="3417" y="1780"/>
                  </a:lnTo>
                  <a:lnTo>
                    <a:pt x="3415" y="1781"/>
                  </a:lnTo>
                  <a:lnTo>
                    <a:pt x="3413" y="1782"/>
                  </a:lnTo>
                  <a:lnTo>
                    <a:pt x="3409" y="1782"/>
                  </a:lnTo>
                  <a:lnTo>
                    <a:pt x="3380" y="1782"/>
                  </a:lnTo>
                  <a:lnTo>
                    <a:pt x="3376" y="1782"/>
                  </a:lnTo>
                  <a:lnTo>
                    <a:pt x="3374" y="1781"/>
                  </a:lnTo>
                  <a:lnTo>
                    <a:pt x="3372" y="1780"/>
                  </a:lnTo>
                  <a:lnTo>
                    <a:pt x="3369" y="1778"/>
                  </a:lnTo>
                  <a:lnTo>
                    <a:pt x="3341" y="1716"/>
                  </a:lnTo>
                  <a:lnTo>
                    <a:pt x="3340" y="1715"/>
                  </a:lnTo>
                  <a:lnTo>
                    <a:pt x="3339" y="1715"/>
                  </a:lnTo>
                  <a:lnTo>
                    <a:pt x="3339" y="1715"/>
                  </a:lnTo>
                  <a:lnTo>
                    <a:pt x="3339" y="1719"/>
                  </a:lnTo>
                  <a:lnTo>
                    <a:pt x="3339" y="1865"/>
                  </a:lnTo>
                  <a:lnTo>
                    <a:pt x="3338" y="1867"/>
                  </a:lnTo>
                  <a:lnTo>
                    <a:pt x="3338" y="1870"/>
                  </a:lnTo>
                  <a:lnTo>
                    <a:pt x="3335" y="1871"/>
                  </a:lnTo>
                  <a:lnTo>
                    <a:pt x="3334" y="1871"/>
                  </a:lnTo>
                  <a:lnTo>
                    <a:pt x="3303" y="1871"/>
                  </a:lnTo>
                  <a:lnTo>
                    <a:pt x="3301" y="1871"/>
                  </a:lnTo>
                  <a:lnTo>
                    <a:pt x="3300" y="1871"/>
                  </a:lnTo>
                  <a:lnTo>
                    <a:pt x="3299" y="1869"/>
                  </a:lnTo>
                  <a:lnTo>
                    <a:pt x="3299" y="1866"/>
                  </a:lnTo>
                  <a:lnTo>
                    <a:pt x="3299" y="1649"/>
                  </a:lnTo>
                  <a:lnTo>
                    <a:pt x="3299" y="1645"/>
                  </a:lnTo>
                  <a:lnTo>
                    <a:pt x="3302" y="1640"/>
                  </a:lnTo>
                  <a:lnTo>
                    <a:pt x="3306" y="1638"/>
                  </a:lnTo>
                  <a:lnTo>
                    <a:pt x="3310" y="1637"/>
                  </a:lnTo>
                  <a:lnTo>
                    <a:pt x="3335" y="1637"/>
                  </a:lnTo>
                  <a:lnTo>
                    <a:pt x="3339" y="1637"/>
                  </a:lnTo>
                  <a:lnTo>
                    <a:pt x="3341" y="1639"/>
                  </a:lnTo>
                  <a:lnTo>
                    <a:pt x="3344" y="1641"/>
                  </a:lnTo>
                  <a:lnTo>
                    <a:pt x="3346" y="1644"/>
                  </a:lnTo>
                  <a:lnTo>
                    <a:pt x="3391" y="1741"/>
                  </a:lnTo>
                  <a:lnTo>
                    <a:pt x="3392" y="1742"/>
                  </a:lnTo>
                  <a:lnTo>
                    <a:pt x="3392" y="1744"/>
                  </a:lnTo>
                  <a:lnTo>
                    <a:pt x="3393" y="1745"/>
                  </a:lnTo>
                  <a:lnTo>
                    <a:pt x="3395" y="1745"/>
                  </a:lnTo>
                  <a:lnTo>
                    <a:pt x="3395" y="1745"/>
                  </a:lnTo>
                  <a:lnTo>
                    <a:pt x="3396" y="1744"/>
                  </a:lnTo>
                  <a:lnTo>
                    <a:pt x="3397" y="1742"/>
                  </a:lnTo>
                  <a:lnTo>
                    <a:pt x="3398" y="1741"/>
                  </a:lnTo>
                  <a:lnTo>
                    <a:pt x="3442" y="1644"/>
                  </a:lnTo>
                  <a:lnTo>
                    <a:pt x="3445" y="1641"/>
                  </a:lnTo>
                  <a:lnTo>
                    <a:pt x="3447" y="1639"/>
                  </a:lnTo>
                  <a:lnTo>
                    <a:pt x="3450" y="1637"/>
                  </a:lnTo>
                  <a:lnTo>
                    <a:pt x="3454" y="1637"/>
                  </a:lnTo>
                  <a:lnTo>
                    <a:pt x="3478" y="1637"/>
                  </a:lnTo>
                  <a:lnTo>
                    <a:pt x="3482" y="1638"/>
                  </a:lnTo>
                  <a:lnTo>
                    <a:pt x="3487" y="1640"/>
                  </a:lnTo>
                  <a:lnTo>
                    <a:pt x="3489" y="1645"/>
                  </a:lnTo>
                  <a:lnTo>
                    <a:pt x="3490" y="1649"/>
                  </a:lnTo>
                  <a:lnTo>
                    <a:pt x="3490" y="1866"/>
                  </a:lnTo>
                  <a:lnTo>
                    <a:pt x="3489" y="1869"/>
                  </a:lnTo>
                  <a:lnTo>
                    <a:pt x="3488" y="1871"/>
                  </a:lnTo>
                  <a:close/>
                  <a:moveTo>
                    <a:pt x="3270" y="1866"/>
                  </a:moveTo>
                  <a:lnTo>
                    <a:pt x="3270" y="1869"/>
                  </a:lnTo>
                  <a:lnTo>
                    <a:pt x="3269" y="1870"/>
                  </a:lnTo>
                  <a:lnTo>
                    <a:pt x="3267" y="1871"/>
                  </a:lnTo>
                  <a:lnTo>
                    <a:pt x="3265" y="1871"/>
                  </a:lnTo>
                  <a:lnTo>
                    <a:pt x="3234" y="1871"/>
                  </a:lnTo>
                  <a:lnTo>
                    <a:pt x="3232" y="1871"/>
                  </a:lnTo>
                  <a:lnTo>
                    <a:pt x="3229" y="1870"/>
                  </a:lnTo>
                  <a:lnTo>
                    <a:pt x="3228" y="1869"/>
                  </a:lnTo>
                  <a:lnTo>
                    <a:pt x="3228" y="1866"/>
                  </a:lnTo>
                  <a:lnTo>
                    <a:pt x="3214" y="1806"/>
                  </a:lnTo>
                  <a:lnTo>
                    <a:pt x="3145" y="1806"/>
                  </a:lnTo>
                  <a:lnTo>
                    <a:pt x="3131" y="1866"/>
                  </a:lnTo>
                  <a:lnTo>
                    <a:pt x="3131" y="1869"/>
                  </a:lnTo>
                  <a:lnTo>
                    <a:pt x="3130" y="1870"/>
                  </a:lnTo>
                  <a:lnTo>
                    <a:pt x="3128" y="1871"/>
                  </a:lnTo>
                  <a:lnTo>
                    <a:pt x="3125" y="1871"/>
                  </a:lnTo>
                  <a:lnTo>
                    <a:pt x="3095" y="1871"/>
                  </a:lnTo>
                  <a:lnTo>
                    <a:pt x="3092" y="1871"/>
                  </a:lnTo>
                  <a:lnTo>
                    <a:pt x="3090" y="1870"/>
                  </a:lnTo>
                  <a:lnTo>
                    <a:pt x="3089" y="1869"/>
                  </a:lnTo>
                  <a:lnTo>
                    <a:pt x="3089" y="1866"/>
                  </a:lnTo>
                  <a:lnTo>
                    <a:pt x="3089" y="1865"/>
                  </a:lnTo>
                  <a:lnTo>
                    <a:pt x="3089" y="1865"/>
                  </a:lnTo>
                  <a:lnTo>
                    <a:pt x="3089" y="1865"/>
                  </a:lnTo>
                  <a:lnTo>
                    <a:pt x="3089" y="1864"/>
                  </a:lnTo>
                  <a:lnTo>
                    <a:pt x="3138" y="1666"/>
                  </a:lnTo>
                  <a:lnTo>
                    <a:pt x="3141" y="1656"/>
                  </a:lnTo>
                  <a:lnTo>
                    <a:pt x="3146" y="1649"/>
                  </a:lnTo>
                  <a:lnTo>
                    <a:pt x="3152" y="1644"/>
                  </a:lnTo>
                  <a:lnTo>
                    <a:pt x="3156" y="1639"/>
                  </a:lnTo>
                  <a:lnTo>
                    <a:pt x="3163" y="1637"/>
                  </a:lnTo>
                  <a:lnTo>
                    <a:pt x="3169" y="1635"/>
                  </a:lnTo>
                  <a:lnTo>
                    <a:pt x="3175" y="1635"/>
                  </a:lnTo>
                  <a:lnTo>
                    <a:pt x="3179" y="1633"/>
                  </a:lnTo>
                  <a:lnTo>
                    <a:pt x="3185" y="1635"/>
                  </a:lnTo>
                  <a:lnTo>
                    <a:pt x="3190" y="1635"/>
                  </a:lnTo>
                  <a:lnTo>
                    <a:pt x="3196" y="1637"/>
                  </a:lnTo>
                  <a:lnTo>
                    <a:pt x="3203" y="1639"/>
                  </a:lnTo>
                  <a:lnTo>
                    <a:pt x="3209" y="1644"/>
                  </a:lnTo>
                  <a:lnTo>
                    <a:pt x="3213" y="1649"/>
                  </a:lnTo>
                  <a:lnTo>
                    <a:pt x="3218" y="1656"/>
                  </a:lnTo>
                  <a:lnTo>
                    <a:pt x="3221" y="1666"/>
                  </a:lnTo>
                  <a:lnTo>
                    <a:pt x="3270" y="1864"/>
                  </a:lnTo>
                  <a:lnTo>
                    <a:pt x="3270" y="1865"/>
                  </a:lnTo>
                  <a:lnTo>
                    <a:pt x="3270" y="1865"/>
                  </a:lnTo>
                  <a:lnTo>
                    <a:pt x="3270" y="1865"/>
                  </a:lnTo>
                  <a:lnTo>
                    <a:pt x="3270" y="1866"/>
                  </a:lnTo>
                  <a:close/>
                  <a:moveTo>
                    <a:pt x="3185" y="1677"/>
                  </a:moveTo>
                  <a:lnTo>
                    <a:pt x="3185" y="1677"/>
                  </a:lnTo>
                  <a:lnTo>
                    <a:pt x="3184" y="1673"/>
                  </a:lnTo>
                  <a:lnTo>
                    <a:pt x="3182" y="1672"/>
                  </a:lnTo>
                  <a:lnTo>
                    <a:pt x="3181" y="1671"/>
                  </a:lnTo>
                  <a:lnTo>
                    <a:pt x="3179" y="1671"/>
                  </a:lnTo>
                  <a:lnTo>
                    <a:pt x="3178" y="1671"/>
                  </a:lnTo>
                  <a:lnTo>
                    <a:pt x="3177" y="1672"/>
                  </a:lnTo>
                  <a:lnTo>
                    <a:pt x="3176" y="1673"/>
                  </a:lnTo>
                  <a:lnTo>
                    <a:pt x="3175" y="1677"/>
                  </a:lnTo>
                  <a:lnTo>
                    <a:pt x="3153" y="1770"/>
                  </a:lnTo>
                  <a:lnTo>
                    <a:pt x="3206" y="1770"/>
                  </a:lnTo>
                  <a:lnTo>
                    <a:pt x="3185" y="1677"/>
                  </a:lnTo>
                  <a:close/>
                  <a:moveTo>
                    <a:pt x="3083" y="1710"/>
                  </a:moveTo>
                  <a:lnTo>
                    <a:pt x="3083" y="1720"/>
                  </a:lnTo>
                  <a:lnTo>
                    <a:pt x="3082" y="1729"/>
                  </a:lnTo>
                  <a:lnTo>
                    <a:pt x="3080" y="1738"/>
                  </a:lnTo>
                  <a:lnTo>
                    <a:pt x="3076" y="1745"/>
                  </a:lnTo>
                  <a:lnTo>
                    <a:pt x="3073" y="1752"/>
                  </a:lnTo>
                  <a:lnTo>
                    <a:pt x="3068" y="1757"/>
                  </a:lnTo>
                  <a:lnTo>
                    <a:pt x="3064" y="1763"/>
                  </a:lnTo>
                  <a:lnTo>
                    <a:pt x="3058" y="1767"/>
                  </a:lnTo>
                  <a:lnTo>
                    <a:pt x="3051" y="1772"/>
                  </a:lnTo>
                  <a:lnTo>
                    <a:pt x="3045" y="1775"/>
                  </a:lnTo>
                  <a:lnTo>
                    <a:pt x="3038" y="1778"/>
                  </a:lnTo>
                  <a:lnTo>
                    <a:pt x="3031" y="1780"/>
                  </a:lnTo>
                  <a:lnTo>
                    <a:pt x="3015" y="1783"/>
                  </a:lnTo>
                  <a:lnTo>
                    <a:pt x="2998" y="1783"/>
                  </a:lnTo>
                  <a:lnTo>
                    <a:pt x="2991" y="1783"/>
                  </a:lnTo>
                  <a:lnTo>
                    <a:pt x="2984" y="1783"/>
                  </a:lnTo>
                  <a:lnTo>
                    <a:pt x="2976" y="1783"/>
                  </a:lnTo>
                  <a:lnTo>
                    <a:pt x="2970" y="1782"/>
                  </a:lnTo>
                  <a:lnTo>
                    <a:pt x="2970" y="1865"/>
                  </a:lnTo>
                  <a:lnTo>
                    <a:pt x="2970" y="1867"/>
                  </a:lnTo>
                  <a:lnTo>
                    <a:pt x="2969" y="1870"/>
                  </a:lnTo>
                  <a:lnTo>
                    <a:pt x="2967" y="1871"/>
                  </a:lnTo>
                  <a:lnTo>
                    <a:pt x="2965" y="1871"/>
                  </a:lnTo>
                  <a:lnTo>
                    <a:pt x="2935" y="1871"/>
                  </a:lnTo>
                  <a:lnTo>
                    <a:pt x="2933" y="1871"/>
                  </a:lnTo>
                  <a:lnTo>
                    <a:pt x="2932" y="1870"/>
                  </a:lnTo>
                  <a:lnTo>
                    <a:pt x="2929" y="1867"/>
                  </a:lnTo>
                  <a:lnTo>
                    <a:pt x="2929" y="1865"/>
                  </a:lnTo>
                  <a:lnTo>
                    <a:pt x="2929" y="1648"/>
                  </a:lnTo>
                  <a:lnTo>
                    <a:pt x="2931" y="1644"/>
                  </a:lnTo>
                  <a:lnTo>
                    <a:pt x="2932" y="1640"/>
                  </a:lnTo>
                  <a:lnTo>
                    <a:pt x="2935" y="1639"/>
                  </a:lnTo>
                  <a:lnTo>
                    <a:pt x="2939" y="1638"/>
                  </a:lnTo>
                  <a:lnTo>
                    <a:pt x="2951" y="1637"/>
                  </a:lnTo>
                  <a:lnTo>
                    <a:pt x="2966" y="1635"/>
                  </a:lnTo>
                  <a:lnTo>
                    <a:pt x="2982" y="1635"/>
                  </a:lnTo>
                  <a:lnTo>
                    <a:pt x="2998" y="1633"/>
                  </a:lnTo>
                  <a:lnTo>
                    <a:pt x="3015" y="1635"/>
                  </a:lnTo>
                  <a:lnTo>
                    <a:pt x="3031" y="1638"/>
                  </a:lnTo>
                  <a:lnTo>
                    <a:pt x="3038" y="1639"/>
                  </a:lnTo>
                  <a:lnTo>
                    <a:pt x="3046" y="1642"/>
                  </a:lnTo>
                  <a:lnTo>
                    <a:pt x="3051" y="1646"/>
                  </a:lnTo>
                  <a:lnTo>
                    <a:pt x="3058" y="1649"/>
                  </a:lnTo>
                  <a:lnTo>
                    <a:pt x="3064" y="1654"/>
                  </a:lnTo>
                  <a:lnTo>
                    <a:pt x="3068" y="1660"/>
                  </a:lnTo>
                  <a:lnTo>
                    <a:pt x="3073" y="1665"/>
                  </a:lnTo>
                  <a:lnTo>
                    <a:pt x="3076" y="1672"/>
                  </a:lnTo>
                  <a:lnTo>
                    <a:pt x="3080" y="1680"/>
                  </a:lnTo>
                  <a:lnTo>
                    <a:pt x="3082" y="1688"/>
                  </a:lnTo>
                  <a:lnTo>
                    <a:pt x="3083" y="1697"/>
                  </a:lnTo>
                  <a:lnTo>
                    <a:pt x="3083" y="1707"/>
                  </a:lnTo>
                  <a:lnTo>
                    <a:pt x="3083" y="1710"/>
                  </a:lnTo>
                  <a:close/>
                  <a:moveTo>
                    <a:pt x="3042" y="1707"/>
                  </a:moveTo>
                  <a:lnTo>
                    <a:pt x="3042" y="1707"/>
                  </a:lnTo>
                  <a:lnTo>
                    <a:pt x="3041" y="1698"/>
                  </a:lnTo>
                  <a:lnTo>
                    <a:pt x="3040" y="1690"/>
                  </a:lnTo>
                  <a:lnTo>
                    <a:pt x="3035" y="1683"/>
                  </a:lnTo>
                  <a:lnTo>
                    <a:pt x="3031" y="1679"/>
                  </a:lnTo>
                  <a:lnTo>
                    <a:pt x="3025" y="1675"/>
                  </a:lnTo>
                  <a:lnTo>
                    <a:pt x="3017" y="1672"/>
                  </a:lnTo>
                  <a:lnTo>
                    <a:pt x="3008" y="1671"/>
                  </a:lnTo>
                  <a:lnTo>
                    <a:pt x="2998" y="1670"/>
                  </a:lnTo>
                  <a:lnTo>
                    <a:pt x="2994" y="1671"/>
                  </a:lnTo>
                  <a:lnTo>
                    <a:pt x="2991" y="1671"/>
                  </a:lnTo>
                  <a:lnTo>
                    <a:pt x="2988" y="1671"/>
                  </a:lnTo>
                  <a:lnTo>
                    <a:pt x="2984" y="1671"/>
                  </a:lnTo>
                  <a:lnTo>
                    <a:pt x="2980" y="1671"/>
                  </a:lnTo>
                  <a:lnTo>
                    <a:pt x="2976" y="1671"/>
                  </a:lnTo>
                  <a:lnTo>
                    <a:pt x="2973" y="1671"/>
                  </a:lnTo>
                  <a:lnTo>
                    <a:pt x="2970" y="1672"/>
                  </a:lnTo>
                  <a:lnTo>
                    <a:pt x="2970" y="1747"/>
                  </a:lnTo>
                  <a:lnTo>
                    <a:pt x="2973" y="1747"/>
                  </a:lnTo>
                  <a:lnTo>
                    <a:pt x="2976" y="1747"/>
                  </a:lnTo>
                  <a:lnTo>
                    <a:pt x="2981" y="1747"/>
                  </a:lnTo>
                  <a:lnTo>
                    <a:pt x="2984" y="1747"/>
                  </a:lnTo>
                  <a:lnTo>
                    <a:pt x="2989" y="1747"/>
                  </a:lnTo>
                  <a:lnTo>
                    <a:pt x="2992" y="1748"/>
                  </a:lnTo>
                  <a:lnTo>
                    <a:pt x="2996" y="1748"/>
                  </a:lnTo>
                  <a:lnTo>
                    <a:pt x="2998" y="1748"/>
                  </a:lnTo>
                  <a:lnTo>
                    <a:pt x="3009" y="1747"/>
                  </a:lnTo>
                  <a:lnTo>
                    <a:pt x="3018" y="1746"/>
                  </a:lnTo>
                  <a:lnTo>
                    <a:pt x="3026" y="1742"/>
                  </a:lnTo>
                  <a:lnTo>
                    <a:pt x="3032" y="1738"/>
                  </a:lnTo>
                  <a:lnTo>
                    <a:pt x="3037" y="1733"/>
                  </a:lnTo>
                  <a:lnTo>
                    <a:pt x="3040" y="1727"/>
                  </a:lnTo>
                  <a:lnTo>
                    <a:pt x="3041" y="1719"/>
                  </a:lnTo>
                  <a:lnTo>
                    <a:pt x="3042" y="1710"/>
                  </a:lnTo>
                  <a:lnTo>
                    <a:pt x="3042" y="1707"/>
                  </a:lnTo>
                  <a:close/>
                  <a:moveTo>
                    <a:pt x="2805" y="1865"/>
                  </a:moveTo>
                  <a:lnTo>
                    <a:pt x="2805" y="1867"/>
                  </a:lnTo>
                  <a:lnTo>
                    <a:pt x="2803" y="1870"/>
                  </a:lnTo>
                  <a:lnTo>
                    <a:pt x="2802" y="1871"/>
                  </a:lnTo>
                  <a:lnTo>
                    <a:pt x="2799" y="1871"/>
                  </a:lnTo>
                  <a:lnTo>
                    <a:pt x="2770" y="1871"/>
                  </a:lnTo>
                  <a:lnTo>
                    <a:pt x="2767" y="1871"/>
                  </a:lnTo>
                  <a:lnTo>
                    <a:pt x="2765" y="1870"/>
                  </a:lnTo>
                  <a:lnTo>
                    <a:pt x="2764" y="1867"/>
                  </a:lnTo>
                  <a:lnTo>
                    <a:pt x="2763" y="1865"/>
                  </a:lnTo>
                  <a:lnTo>
                    <a:pt x="2763" y="1699"/>
                  </a:lnTo>
                  <a:lnTo>
                    <a:pt x="2764" y="1689"/>
                  </a:lnTo>
                  <a:lnTo>
                    <a:pt x="2765" y="1680"/>
                  </a:lnTo>
                  <a:lnTo>
                    <a:pt x="2766" y="1673"/>
                  </a:lnTo>
                  <a:lnTo>
                    <a:pt x="2769" y="1666"/>
                  </a:lnTo>
                  <a:lnTo>
                    <a:pt x="2772" y="1660"/>
                  </a:lnTo>
                  <a:lnTo>
                    <a:pt x="2775" y="1655"/>
                  </a:lnTo>
                  <a:lnTo>
                    <a:pt x="2779" y="1650"/>
                  </a:lnTo>
                  <a:lnTo>
                    <a:pt x="2783" y="1646"/>
                  </a:lnTo>
                  <a:lnTo>
                    <a:pt x="2788" y="1642"/>
                  </a:lnTo>
                  <a:lnTo>
                    <a:pt x="2794" y="1640"/>
                  </a:lnTo>
                  <a:lnTo>
                    <a:pt x="2799" y="1638"/>
                  </a:lnTo>
                  <a:lnTo>
                    <a:pt x="2805" y="1637"/>
                  </a:lnTo>
                  <a:lnTo>
                    <a:pt x="2819" y="1635"/>
                  </a:lnTo>
                  <a:lnTo>
                    <a:pt x="2832" y="1633"/>
                  </a:lnTo>
                  <a:lnTo>
                    <a:pt x="2845" y="1635"/>
                  </a:lnTo>
                  <a:lnTo>
                    <a:pt x="2855" y="1635"/>
                  </a:lnTo>
                  <a:lnTo>
                    <a:pt x="2863" y="1635"/>
                  </a:lnTo>
                  <a:lnTo>
                    <a:pt x="2871" y="1636"/>
                  </a:lnTo>
                  <a:lnTo>
                    <a:pt x="2877" y="1636"/>
                  </a:lnTo>
                  <a:lnTo>
                    <a:pt x="2881" y="1637"/>
                  </a:lnTo>
                  <a:lnTo>
                    <a:pt x="2886" y="1638"/>
                  </a:lnTo>
                  <a:lnTo>
                    <a:pt x="2889" y="1638"/>
                  </a:lnTo>
                  <a:lnTo>
                    <a:pt x="2893" y="1639"/>
                  </a:lnTo>
                  <a:lnTo>
                    <a:pt x="2894" y="1640"/>
                  </a:lnTo>
                  <a:lnTo>
                    <a:pt x="2895" y="1642"/>
                  </a:lnTo>
                  <a:lnTo>
                    <a:pt x="2895" y="1645"/>
                  </a:lnTo>
                  <a:lnTo>
                    <a:pt x="2895" y="1665"/>
                  </a:lnTo>
                  <a:lnTo>
                    <a:pt x="2895" y="1667"/>
                  </a:lnTo>
                  <a:lnTo>
                    <a:pt x="2894" y="1670"/>
                  </a:lnTo>
                  <a:lnTo>
                    <a:pt x="2892" y="1671"/>
                  </a:lnTo>
                  <a:lnTo>
                    <a:pt x="2889" y="1672"/>
                  </a:lnTo>
                  <a:lnTo>
                    <a:pt x="2829" y="1672"/>
                  </a:lnTo>
                  <a:lnTo>
                    <a:pt x="2822" y="1672"/>
                  </a:lnTo>
                  <a:lnTo>
                    <a:pt x="2818" y="1673"/>
                  </a:lnTo>
                  <a:lnTo>
                    <a:pt x="2813" y="1674"/>
                  </a:lnTo>
                  <a:lnTo>
                    <a:pt x="2811" y="1678"/>
                  </a:lnTo>
                  <a:lnTo>
                    <a:pt x="2809" y="1681"/>
                  </a:lnTo>
                  <a:lnTo>
                    <a:pt x="2806" y="1686"/>
                  </a:lnTo>
                  <a:lnTo>
                    <a:pt x="2805" y="1691"/>
                  </a:lnTo>
                  <a:lnTo>
                    <a:pt x="2805" y="1699"/>
                  </a:lnTo>
                  <a:lnTo>
                    <a:pt x="2805" y="1865"/>
                  </a:lnTo>
                  <a:close/>
                  <a:moveTo>
                    <a:pt x="2728" y="1775"/>
                  </a:moveTo>
                  <a:lnTo>
                    <a:pt x="2726" y="1788"/>
                  </a:lnTo>
                  <a:lnTo>
                    <a:pt x="2725" y="1799"/>
                  </a:lnTo>
                  <a:lnTo>
                    <a:pt x="2724" y="1811"/>
                  </a:lnTo>
                  <a:lnTo>
                    <a:pt x="2721" y="1820"/>
                  </a:lnTo>
                  <a:lnTo>
                    <a:pt x="2717" y="1829"/>
                  </a:lnTo>
                  <a:lnTo>
                    <a:pt x="2713" y="1837"/>
                  </a:lnTo>
                  <a:lnTo>
                    <a:pt x="2708" y="1845"/>
                  </a:lnTo>
                  <a:lnTo>
                    <a:pt x="2704" y="1850"/>
                  </a:lnTo>
                  <a:lnTo>
                    <a:pt x="2697" y="1856"/>
                  </a:lnTo>
                  <a:lnTo>
                    <a:pt x="2691" y="1861"/>
                  </a:lnTo>
                  <a:lnTo>
                    <a:pt x="2684" y="1865"/>
                  </a:lnTo>
                  <a:lnTo>
                    <a:pt x="2676" y="1869"/>
                  </a:lnTo>
                  <a:lnTo>
                    <a:pt x="2668" y="1871"/>
                  </a:lnTo>
                  <a:lnTo>
                    <a:pt x="2660" y="1872"/>
                  </a:lnTo>
                  <a:lnTo>
                    <a:pt x="2651" y="1873"/>
                  </a:lnTo>
                  <a:lnTo>
                    <a:pt x="2642" y="1874"/>
                  </a:lnTo>
                  <a:lnTo>
                    <a:pt x="2633" y="1873"/>
                  </a:lnTo>
                  <a:lnTo>
                    <a:pt x="2625" y="1872"/>
                  </a:lnTo>
                  <a:lnTo>
                    <a:pt x="2616" y="1871"/>
                  </a:lnTo>
                  <a:lnTo>
                    <a:pt x="2608" y="1869"/>
                  </a:lnTo>
                  <a:lnTo>
                    <a:pt x="2601" y="1865"/>
                  </a:lnTo>
                  <a:lnTo>
                    <a:pt x="2594" y="1861"/>
                  </a:lnTo>
                  <a:lnTo>
                    <a:pt x="2587" y="1856"/>
                  </a:lnTo>
                  <a:lnTo>
                    <a:pt x="2582" y="1850"/>
                  </a:lnTo>
                  <a:lnTo>
                    <a:pt x="2576" y="1845"/>
                  </a:lnTo>
                  <a:lnTo>
                    <a:pt x="2571" y="1837"/>
                  </a:lnTo>
                  <a:lnTo>
                    <a:pt x="2567" y="1829"/>
                  </a:lnTo>
                  <a:lnTo>
                    <a:pt x="2563" y="1820"/>
                  </a:lnTo>
                  <a:lnTo>
                    <a:pt x="2561" y="1811"/>
                  </a:lnTo>
                  <a:lnTo>
                    <a:pt x="2559" y="1799"/>
                  </a:lnTo>
                  <a:lnTo>
                    <a:pt x="2558" y="1788"/>
                  </a:lnTo>
                  <a:lnTo>
                    <a:pt x="2558" y="1775"/>
                  </a:lnTo>
                  <a:lnTo>
                    <a:pt x="2558" y="1732"/>
                  </a:lnTo>
                  <a:lnTo>
                    <a:pt x="2558" y="1720"/>
                  </a:lnTo>
                  <a:lnTo>
                    <a:pt x="2559" y="1708"/>
                  </a:lnTo>
                  <a:lnTo>
                    <a:pt x="2561" y="1698"/>
                  </a:lnTo>
                  <a:lnTo>
                    <a:pt x="2563" y="1688"/>
                  </a:lnTo>
                  <a:lnTo>
                    <a:pt x="2567" y="1679"/>
                  </a:lnTo>
                  <a:lnTo>
                    <a:pt x="2571" y="1671"/>
                  </a:lnTo>
                  <a:lnTo>
                    <a:pt x="2576" y="1664"/>
                  </a:lnTo>
                  <a:lnTo>
                    <a:pt x="2582" y="1657"/>
                  </a:lnTo>
                  <a:lnTo>
                    <a:pt x="2587" y="1652"/>
                  </a:lnTo>
                  <a:lnTo>
                    <a:pt x="2594" y="1647"/>
                  </a:lnTo>
                  <a:lnTo>
                    <a:pt x="2601" y="1642"/>
                  </a:lnTo>
                  <a:lnTo>
                    <a:pt x="2608" y="1639"/>
                  </a:lnTo>
                  <a:lnTo>
                    <a:pt x="2616" y="1637"/>
                  </a:lnTo>
                  <a:lnTo>
                    <a:pt x="2625" y="1636"/>
                  </a:lnTo>
                  <a:lnTo>
                    <a:pt x="2633" y="1635"/>
                  </a:lnTo>
                  <a:lnTo>
                    <a:pt x="2642" y="1633"/>
                  </a:lnTo>
                  <a:lnTo>
                    <a:pt x="2651" y="1635"/>
                  </a:lnTo>
                  <a:lnTo>
                    <a:pt x="2660" y="1636"/>
                  </a:lnTo>
                  <a:lnTo>
                    <a:pt x="2668" y="1637"/>
                  </a:lnTo>
                  <a:lnTo>
                    <a:pt x="2676" y="1639"/>
                  </a:lnTo>
                  <a:lnTo>
                    <a:pt x="2684" y="1642"/>
                  </a:lnTo>
                  <a:lnTo>
                    <a:pt x="2691" y="1647"/>
                  </a:lnTo>
                  <a:lnTo>
                    <a:pt x="2697" y="1652"/>
                  </a:lnTo>
                  <a:lnTo>
                    <a:pt x="2704" y="1657"/>
                  </a:lnTo>
                  <a:lnTo>
                    <a:pt x="2708" y="1664"/>
                  </a:lnTo>
                  <a:lnTo>
                    <a:pt x="2713" y="1671"/>
                  </a:lnTo>
                  <a:lnTo>
                    <a:pt x="2717" y="1679"/>
                  </a:lnTo>
                  <a:lnTo>
                    <a:pt x="2721" y="1688"/>
                  </a:lnTo>
                  <a:lnTo>
                    <a:pt x="2724" y="1698"/>
                  </a:lnTo>
                  <a:lnTo>
                    <a:pt x="2725" y="1708"/>
                  </a:lnTo>
                  <a:lnTo>
                    <a:pt x="2726" y="1720"/>
                  </a:lnTo>
                  <a:lnTo>
                    <a:pt x="2728" y="1732"/>
                  </a:lnTo>
                  <a:lnTo>
                    <a:pt x="2728" y="1775"/>
                  </a:lnTo>
                  <a:close/>
                  <a:moveTo>
                    <a:pt x="2685" y="1732"/>
                  </a:moveTo>
                  <a:lnTo>
                    <a:pt x="2685" y="1732"/>
                  </a:lnTo>
                  <a:lnTo>
                    <a:pt x="2685" y="1717"/>
                  </a:lnTo>
                  <a:lnTo>
                    <a:pt x="2683" y="1705"/>
                  </a:lnTo>
                  <a:lnTo>
                    <a:pt x="2680" y="1695"/>
                  </a:lnTo>
                  <a:lnTo>
                    <a:pt x="2675" y="1687"/>
                  </a:lnTo>
                  <a:lnTo>
                    <a:pt x="2673" y="1683"/>
                  </a:lnTo>
                  <a:lnTo>
                    <a:pt x="2669" y="1680"/>
                  </a:lnTo>
                  <a:lnTo>
                    <a:pt x="2666" y="1678"/>
                  </a:lnTo>
                  <a:lnTo>
                    <a:pt x="2661" y="1675"/>
                  </a:lnTo>
                  <a:lnTo>
                    <a:pt x="2652" y="1673"/>
                  </a:lnTo>
                  <a:lnTo>
                    <a:pt x="2642" y="1672"/>
                  </a:lnTo>
                  <a:lnTo>
                    <a:pt x="2632" y="1673"/>
                  </a:lnTo>
                  <a:lnTo>
                    <a:pt x="2623" y="1675"/>
                  </a:lnTo>
                  <a:lnTo>
                    <a:pt x="2619" y="1678"/>
                  </a:lnTo>
                  <a:lnTo>
                    <a:pt x="2616" y="1680"/>
                  </a:lnTo>
                  <a:lnTo>
                    <a:pt x="2612" y="1683"/>
                  </a:lnTo>
                  <a:lnTo>
                    <a:pt x="2609" y="1687"/>
                  </a:lnTo>
                  <a:lnTo>
                    <a:pt x="2604" y="1695"/>
                  </a:lnTo>
                  <a:lnTo>
                    <a:pt x="2602" y="1705"/>
                  </a:lnTo>
                  <a:lnTo>
                    <a:pt x="2600" y="1717"/>
                  </a:lnTo>
                  <a:lnTo>
                    <a:pt x="2599" y="1732"/>
                  </a:lnTo>
                  <a:lnTo>
                    <a:pt x="2599" y="1775"/>
                  </a:lnTo>
                  <a:lnTo>
                    <a:pt x="2600" y="1790"/>
                  </a:lnTo>
                  <a:lnTo>
                    <a:pt x="2602" y="1803"/>
                  </a:lnTo>
                  <a:lnTo>
                    <a:pt x="2604" y="1813"/>
                  </a:lnTo>
                  <a:lnTo>
                    <a:pt x="2609" y="1821"/>
                  </a:lnTo>
                  <a:lnTo>
                    <a:pt x="2612" y="1824"/>
                  </a:lnTo>
                  <a:lnTo>
                    <a:pt x="2616" y="1828"/>
                  </a:lnTo>
                  <a:lnTo>
                    <a:pt x="2619" y="1830"/>
                  </a:lnTo>
                  <a:lnTo>
                    <a:pt x="2623" y="1832"/>
                  </a:lnTo>
                  <a:lnTo>
                    <a:pt x="2632" y="1834"/>
                  </a:lnTo>
                  <a:lnTo>
                    <a:pt x="2642" y="1836"/>
                  </a:lnTo>
                  <a:lnTo>
                    <a:pt x="2652" y="1834"/>
                  </a:lnTo>
                  <a:lnTo>
                    <a:pt x="2661" y="1832"/>
                  </a:lnTo>
                  <a:lnTo>
                    <a:pt x="2666" y="1830"/>
                  </a:lnTo>
                  <a:lnTo>
                    <a:pt x="2669" y="1828"/>
                  </a:lnTo>
                  <a:lnTo>
                    <a:pt x="2673" y="1824"/>
                  </a:lnTo>
                  <a:lnTo>
                    <a:pt x="2675" y="1821"/>
                  </a:lnTo>
                  <a:lnTo>
                    <a:pt x="2680" y="1813"/>
                  </a:lnTo>
                  <a:lnTo>
                    <a:pt x="2683" y="1803"/>
                  </a:lnTo>
                  <a:lnTo>
                    <a:pt x="2685" y="1790"/>
                  </a:lnTo>
                  <a:lnTo>
                    <a:pt x="2685" y="1775"/>
                  </a:lnTo>
                  <a:lnTo>
                    <a:pt x="2685" y="1732"/>
                  </a:lnTo>
                  <a:close/>
                  <a:moveTo>
                    <a:pt x="2530" y="1710"/>
                  </a:moveTo>
                  <a:lnTo>
                    <a:pt x="2530" y="1720"/>
                  </a:lnTo>
                  <a:lnTo>
                    <a:pt x="2528" y="1729"/>
                  </a:lnTo>
                  <a:lnTo>
                    <a:pt x="2526" y="1738"/>
                  </a:lnTo>
                  <a:lnTo>
                    <a:pt x="2523" y="1745"/>
                  </a:lnTo>
                  <a:lnTo>
                    <a:pt x="2519" y="1752"/>
                  </a:lnTo>
                  <a:lnTo>
                    <a:pt x="2516" y="1757"/>
                  </a:lnTo>
                  <a:lnTo>
                    <a:pt x="2510" y="1763"/>
                  </a:lnTo>
                  <a:lnTo>
                    <a:pt x="2504" y="1767"/>
                  </a:lnTo>
                  <a:lnTo>
                    <a:pt x="2498" y="1772"/>
                  </a:lnTo>
                  <a:lnTo>
                    <a:pt x="2492" y="1775"/>
                  </a:lnTo>
                  <a:lnTo>
                    <a:pt x="2485" y="1778"/>
                  </a:lnTo>
                  <a:lnTo>
                    <a:pt x="2477" y="1780"/>
                  </a:lnTo>
                  <a:lnTo>
                    <a:pt x="2461" y="1783"/>
                  </a:lnTo>
                  <a:lnTo>
                    <a:pt x="2444" y="1783"/>
                  </a:lnTo>
                  <a:lnTo>
                    <a:pt x="2438" y="1783"/>
                  </a:lnTo>
                  <a:lnTo>
                    <a:pt x="2430" y="1783"/>
                  </a:lnTo>
                  <a:lnTo>
                    <a:pt x="2423" y="1783"/>
                  </a:lnTo>
                  <a:lnTo>
                    <a:pt x="2417" y="1782"/>
                  </a:lnTo>
                  <a:lnTo>
                    <a:pt x="2417" y="1865"/>
                  </a:lnTo>
                  <a:lnTo>
                    <a:pt x="2417" y="1867"/>
                  </a:lnTo>
                  <a:lnTo>
                    <a:pt x="2416" y="1870"/>
                  </a:lnTo>
                  <a:lnTo>
                    <a:pt x="2414" y="1871"/>
                  </a:lnTo>
                  <a:lnTo>
                    <a:pt x="2412" y="1871"/>
                  </a:lnTo>
                  <a:lnTo>
                    <a:pt x="2382" y="1871"/>
                  </a:lnTo>
                  <a:lnTo>
                    <a:pt x="2380" y="1871"/>
                  </a:lnTo>
                  <a:lnTo>
                    <a:pt x="2378" y="1870"/>
                  </a:lnTo>
                  <a:lnTo>
                    <a:pt x="2376" y="1867"/>
                  </a:lnTo>
                  <a:lnTo>
                    <a:pt x="2375" y="1865"/>
                  </a:lnTo>
                  <a:lnTo>
                    <a:pt x="2375" y="1648"/>
                  </a:lnTo>
                  <a:lnTo>
                    <a:pt x="2376" y="1644"/>
                  </a:lnTo>
                  <a:lnTo>
                    <a:pt x="2379" y="1640"/>
                  </a:lnTo>
                  <a:lnTo>
                    <a:pt x="2381" y="1639"/>
                  </a:lnTo>
                  <a:lnTo>
                    <a:pt x="2386" y="1638"/>
                  </a:lnTo>
                  <a:lnTo>
                    <a:pt x="2398" y="1637"/>
                  </a:lnTo>
                  <a:lnTo>
                    <a:pt x="2413" y="1635"/>
                  </a:lnTo>
                  <a:lnTo>
                    <a:pt x="2428" y="1635"/>
                  </a:lnTo>
                  <a:lnTo>
                    <a:pt x="2444" y="1633"/>
                  </a:lnTo>
                  <a:lnTo>
                    <a:pt x="2461" y="1635"/>
                  </a:lnTo>
                  <a:lnTo>
                    <a:pt x="2477" y="1638"/>
                  </a:lnTo>
                  <a:lnTo>
                    <a:pt x="2485" y="1639"/>
                  </a:lnTo>
                  <a:lnTo>
                    <a:pt x="2492" y="1642"/>
                  </a:lnTo>
                  <a:lnTo>
                    <a:pt x="2498" y="1646"/>
                  </a:lnTo>
                  <a:lnTo>
                    <a:pt x="2504" y="1649"/>
                  </a:lnTo>
                  <a:lnTo>
                    <a:pt x="2510" y="1654"/>
                  </a:lnTo>
                  <a:lnTo>
                    <a:pt x="2516" y="1660"/>
                  </a:lnTo>
                  <a:lnTo>
                    <a:pt x="2519" y="1665"/>
                  </a:lnTo>
                  <a:lnTo>
                    <a:pt x="2523" y="1672"/>
                  </a:lnTo>
                  <a:lnTo>
                    <a:pt x="2526" y="1680"/>
                  </a:lnTo>
                  <a:lnTo>
                    <a:pt x="2528" y="1688"/>
                  </a:lnTo>
                  <a:lnTo>
                    <a:pt x="2530" y="1697"/>
                  </a:lnTo>
                  <a:lnTo>
                    <a:pt x="2530" y="1707"/>
                  </a:lnTo>
                  <a:lnTo>
                    <a:pt x="2530" y="1710"/>
                  </a:lnTo>
                  <a:close/>
                  <a:moveTo>
                    <a:pt x="2489" y="1707"/>
                  </a:moveTo>
                  <a:lnTo>
                    <a:pt x="2489" y="1707"/>
                  </a:lnTo>
                  <a:lnTo>
                    <a:pt x="2488" y="1698"/>
                  </a:lnTo>
                  <a:lnTo>
                    <a:pt x="2486" y="1690"/>
                  </a:lnTo>
                  <a:lnTo>
                    <a:pt x="2482" y="1683"/>
                  </a:lnTo>
                  <a:lnTo>
                    <a:pt x="2478" y="1679"/>
                  </a:lnTo>
                  <a:lnTo>
                    <a:pt x="2471" y="1675"/>
                  </a:lnTo>
                  <a:lnTo>
                    <a:pt x="2463" y="1672"/>
                  </a:lnTo>
                  <a:lnTo>
                    <a:pt x="2454" y="1671"/>
                  </a:lnTo>
                  <a:lnTo>
                    <a:pt x="2444" y="1670"/>
                  </a:lnTo>
                  <a:lnTo>
                    <a:pt x="2441" y="1671"/>
                  </a:lnTo>
                  <a:lnTo>
                    <a:pt x="2438" y="1671"/>
                  </a:lnTo>
                  <a:lnTo>
                    <a:pt x="2435" y="1671"/>
                  </a:lnTo>
                  <a:lnTo>
                    <a:pt x="2430" y="1671"/>
                  </a:lnTo>
                  <a:lnTo>
                    <a:pt x="2427" y="1671"/>
                  </a:lnTo>
                  <a:lnTo>
                    <a:pt x="2423" y="1671"/>
                  </a:lnTo>
                  <a:lnTo>
                    <a:pt x="2420" y="1671"/>
                  </a:lnTo>
                  <a:lnTo>
                    <a:pt x="2417" y="1672"/>
                  </a:lnTo>
                  <a:lnTo>
                    <a:pt x="2417" y="1747"/>
                  </a:lnTo>
                  <a:lnTo>
                    <a:pt x="2420" y="1747"/>
                  </a:lnTo>
                  <a:lnTo>
                    <a:pt x="2423" y="1747"/>
                  </a:lnTo>
                  <a:lnTo>
                    <a:pt x="2427" y="1747"/>
                  </a:lnTo>
                  <a:lnTo>
                    <a:pt x="2431" y="1747"/>
                  </a:lnTo>
                  <a:lnTo>
                    <a:pt x="2435" y="1747"/>
                  </a:lnTo>
                  <a:lnTo>
                    <a:pt x="2438" y="1748"/>
                  </a:lnTo>
                  <a:lnTo>
                    <a:pt x="2441" y="1748"/>
                  </a:lnTo>
                  <a:lnTo>
                    <a:pt x="2444" y="1748"/>
                  </a:lnTo>
                  <a:lnTo>
                    <a:pt x="2455" y="1747"/>
                  </a:lnTo>
                  <a:lnTo>
                    <a:pt x="2464" y="1746"/>
                  </a:lnTo>
                  <a:lnTo>
                    <a:pt x="2472" y="1742"/>
                  </a:lnTo>
                  <a:lnTo>
                    <a:pt x="2478" y="1738"/>
                  </a:lnTo>
                  <a:lnTo>
                    <a:pt x="2482" y="1733"/>
                  </a:lnTo>
                  <a:lnTo>
                    <a:pt x="2486" y="1727"/>
                  </a:lnTo>
                  <a:lnTo>
                    <a:pt x="2488" y="1719"/>
                  </a:lnTo>
                  <a:lnTo>
                    <a:pt x="2489" y="1710"/>
                  </a:lnTo>
                  <a:lnTo>
                    <a:pt x="2489" y="1707"/>
                  </a:lnTo>
                  <a:close/>
                  <a:moveTo>
                    <a:pt x="2334" y="1865"/>
                  </a:moveTo>
                  <a:lnTo>
                    <a:pt x="2334" y="1867"/>
                  </a:lnTo>
                  <a:lnTo>
                    <a:pt x="2332" y="1870"/>
                  </a:lnTo>
                  <a:lnTo>
                    <a:pt x="2331" y="1871"/>
                  </a:lnTo>
                  <a:lnTo>
                    <a:pt x="2329" y="1871"/>
                  </a:lnTo>
                  <a:lnTo>
                    <a:pt x="2299" y="1871"/>
                  </a:lnTo>
                  <a:lnTo>
                    <a:pt x="2297" y="1871"/>
                  </a:lnTo>
                  <a:lnTo>
                    <a:pt x="2294" y="1870"/>
                  </a:lnTo>
                  <a:lnTo>
                    <a:pt x="2293" y="1867"/>
                  </a:lnTo>
                  <a:lnTo>
                    <a:pt x="2293" y="1865"/>
                  </a:lnTo>
                  <a:lnTo>
                    <a:pt x="2293" y="1691"/>
                  </a:lnTo>
                  <a:lnTo>
                    <a:pt x="2292" y="1683"/>
                  </a:lnTo>
                  <a:lnTo>
                    <a:pt x="2290" y="1679"/>
                  </a:lnTo>
                  <a:lnTo>
                    <a:pt x="2286" y="1677"/>
                  </a:lnTo>
                  <a:lnTo>
                    <a:pt x="2281" y="1675"/>
                  </a:lnTo>
                  <a:lnTo>
                    <a:pt x="2220" y="1675"/>
                  </a:lnTo>
                  <a:lnTo>
                    <a:pt x="2215" y="1677"/>
                  </a:lnTo>
                  <a:lnTo>
                    <a:pt x="2211" y="1679"/>
                  </a:lnTo>
                  <a:lnTo>
                    <a:pt x="2209" y="1683"/>
                  </a:lnTo>
                  <a:lnTo>
                    <a:pt x="2208" y="1691"/>
                  </a:lnTo>
                  <a:lnTo>
                    <a:pt x="2208" y="1865"/>
                  </a:lnTo>
                  <a:lnTo>
                    <a:pt x="2208" y="1867"/>
                  </a:lnTo>
                  <a:lnTo>
                    <a:pt x="2207" y="1870"/>
                  </a:lnTo>
                  <a:lnTo>
                    <a:pt x="2204" y="1871"/>
                  </a:lnTo>
                  <a:lnTo>
                    <a:pt x="2202" y="1871"/>
                  </a:lnTo>
                  <a:lnTo>
                    <a:pt x="2172" y="1871"/>
                  </a:lnTo>
                  <a:lnTo>
                    <a:pt x="2170" y="1871"/>
                  </a:lnTo>
                  <a:lnTo>
                    <a:pt x="2168" y="1870"/>
                  </a:lnTo>
                  <a:lnTo>
                    <a:pt x="2167" y="1867"/>
                  </a:lnTo>
                  <a:lnTo>
                    <a:pt x="2167" y="1865"/>
                  </a:lnTo>
                  <a:lnTo>
                    <a:pt x="2167" y="1691"/>
                  </a:lnTo>
                  <a:lnTo>
                    <a:pt x="2168" y="1678"/>
                  </a:lnTo>
                  <a:lnTo>
                    <a:pt x="2170" y="1666"/>
                  </a:lnTo>
                  <a:lnTo>
                    <a:pt x="2171" y="1662"/>
                  </a:lnTo>
                  <a:lnTo>
                    <a:pt x="2173" y="1657"/>
                  </a:lnTo>
                  <a:lnTo>
                    <a:pt x="2176" y="1653"/>
                  </a:lnTo>
                  <a:lnTo>
                    <a:pt x="2179" y="1649"/>
                  </a:lnTo>
                  <a:lnTo>
                    <a:pt x="2183" y="1646"/>
                  </a:lnTo>
                  <a:lnTo>
                    <a:pt x="2186" y="1644"/>
                  </a:lnTo>
                  <a:lnTo>
                    <a:pt x="2191" y="1641"/>
                  </a:lnTo>
                  <a:lnTo>
                    <a:pt x="2195" y="1640"/>
                  </a:lnTo>
                  <a:lnTo>
                    <a:pt x="2207" y="1637"/>
                  </a:lnTo>
                  <a:lnTo>
                    <a:pt x="2220" y="1637"/>
                  </a:lnTo>
                  <a:lnTo>
                    <a:pt x="2281" y="1637"/>
                  </a:lnTo>
                  <a:lnTo>
                    <a:pt x="2293" y="1637"/>
                  </a:lnTo>
                  <a:lnTo>
                    <a:pt x="2305" y="1640"/>
                  </a:lnTo>
                  <a:lnTo>
                    <a:pt x="2310" y="1641"/>
                  </a:lnTo>
                  <a:lnTo>
                    <a:pt x="2315" y="1644"/>
                  </a:lnTo>
                  <a:lnTo>
                    <a:pt x="2318" y="1646"/>
                  </a:lnTo>
                  <a:lnTo>
                    <a:pt x="2322" y="1649"/>
                  </a:lnTo>
                  <a:lnTo>
                    <a:pt x="2325" y="1653"/>
                  </a:lnTo>
                  <a:lnTo>
                    <a:pt x="2327" y="1657"/>
                  </a:lnTo>
                  <a:lnTo>
                    <a:pt x="2330" y="1662"/>
                  </a:lnTo>
                  <a:lnTo>
                    <a:pt x="2331" y="1666"/>
                  </a:lnTo>
                  <a:lnTo>
                    <a:pt x="2333" y="1678"/>
                  </a:lnTo>
                  <a:lnTo>
                    <a:pt x="2334" y="1691"/>
                  </a:lnTo>
                  <a:lnTo>
                    <a:pt x="2334" y="1865"/>
                  </a:lnTo>
                  <a:close/>
                  <a:moveTo>
                    <a:pt x="1894" y="1867"/>
                  </a:moveTo>
                  <a:lnTo>
                    <a:pt x="1894" y="1866"/>
                  </a:lnTo>
                  <a:lnTo>
                    <a:pt x="1895" y="1865"/>
                  </a:lnTo>
                  <a:lnTo>
                    <a:pt x="1942" y="1773"/>
                  </a:lnTo>
                  <a:lnTo>
                    <a:pt x="1933" y="1769"/>
                  </a:lnTo>
                  <a:lnTo>
                    <a:pt x="1925" y="1763"/>
                  </a:lnTo>
                  <a:lnTo>
                    <a:pt x="1918" y="1757"/>
                  </a:lnTo>
                  <a:lnTo>
                    <a:pt x="1912" y="1749"/>
                  </a:lnTo>
                  <a:lnTo>
                    <a:pt x="1908" y="1741"/>
                  </a:lnTo>
                  <a:lnTo>
                    <a:pt x="1904" y="1731"/>
                  </a:lnTo>
                  <a:lnTo>
                    <a:pt x="1902" y="1721"/>
                  </a:lnTo>
                  <a:lnTo>
                    <a:pt x="1901" y="1708"/>
                  </a:lnTo>
                  <a:lnTo>
                    <a:pt x="1901" y="1705"/>
                  </a:lnTo>
                  <a:lnTo>
                    <a:pt x="1902" y="1696"/>
                  </a:lnTo>
                  <a:lnTo>
                    <a:pt x="1903" y="1687"/>
                  </a:lnTo>
                  <a:lnTo>
                    <a:pt x="1906" y="1679"/>
                  </a:lnTo>
                  <a:lnTo>
                    <a:pt x="1908" y="1671"/>
                  </a:lnTo>
                  <a:lnTo>
                    <a:pt x="1912" y="1665"/>
                  </a:lnTo>
                  <a:lnTo>
                    <a:pt x="1917" y="1660"/>
                  </a:lnTo>
                  <a:lnTo>
                    <a:pt x="1922" y="1654"/>
                  </a:lnTo>
                  <a:lnTo>
                    <a:pt x="1927" y="1649"/>
                  </a:lnTo>
                  <a:lnTo>
                    <a:pt x="1933" y="1646"/>
                  </a:lnTo>
                  <a:lnTo>
                    <a:pt x="1940" y="1642"/>
                  </a:lnTo>
                  <a:lnTo>
                    <a:pt x="1947" y="1640"/>
                  </a:lnTo>
                  <a:lnTo>
                    <a:pt x="1955" y="1638"/>
                  </a:lnTo>
                  <a:lnTo>
                    <a:pt x="1971" y="1635"/>
                  </a:lnTo>
                  <a:lnTo>
                    <a:pt x="1988" y="1633"/>
                  </a:lnTo>
                  <a:lnTo>
                    <a:pt x="2004" y="1635"/>
                  </a:lnTo>
                  <a:lnTo>
                    <a:pt x="2018" y="1635"/>
                  </a:lnTo>
                  <a:lnTo>
                    <a:pt x="2033" y="1637"/>
                  </a:lnTo>
                  <a:lnTo>
                    <a:pt x="2046" y="1638"/>
                  </a:lnTo>
                  <a:lnTo>
                    <a:pt x="2050" y="1639"/>
                  </a:lnTo>
                  <a:lnTo>
                    <a:pt x="2053" y="1640"/>
                  </a:lnTo>
                  <a:lnTo>
                    <a:pt x="2055" y="1644"/>
                  </a:lnTo>
                  <a:lnTo>
                    <a:pt x="2055" y="1648"/>
                  </a:lnTo>
                  <a:lnTo>
                    <a:pt x="2055" y="1865"/>
                  </a:lnTo>
                  <a:lnTo>
                    <a:pt x="2055" y="1867"/>
                  </a:lnTo>
                  <a:lnTo>
                    <a:pt x="2054" y="1870"/>
                  </a:lnTo>
                  <a:lnTo>
                    <a:pt x="2051" y="1871"/>
                  </a:lnTo>
                  <a:lnTo>
                    <a:pt x="2049" y="1871"/>
                  </a:lnTo>
                  <a:lnTo>
                    <a:pt x="2020" y="1871"/>
                  </a:lnTo>
                  <a:lnTo>
                    <a:pt x="2017" y="1871"/>
                  </a:lnTo>
                  <a:lnTo>
                    <a:pt x="2015" y="1870"/>
                  </a:lnTo>
                  <a:lnTo>
                    <a:pt x="2014" y="1867"/>
                  </a:lnTo>
                  <a:lnTo>
                    <a:pt x="2014" y="1865"/>
                  </a:lnTo>
                  <a:lnTo>
                    <a:pt x="2014" y="1780"/>
                  </a:lnTo>
                  <a:lnTo>
                    <a:pt x="2008" y="1780"/>
                  </a:lnTo>
                  <a:lnTo>
                    <a:pt x="2001" y="1780"/>
                  </a:lnTo>
                  <a:lnTo>
                    <a:pt x="1993" y="1781"/>
                  </a:lnTo>
                  <a:lnTo>
                    <a:pt x="1988" y="1781"/>
                  </a:lnTo>
                  <a:lnTo>
                    <a:pt x="1983" y="1781"/>
                  </a:lnTo>
                  <a:lnTo>
                    <a:pt x="1941" y="1865"/>
                  </a:lnTo>
                  <a:lnTo>
                    <a:pt x="1940" y="1867"/>
                  </a:lnTo>
                  <a:lnTo>
                    <a:pt x="1937" y="1870"/>
                  </a:lnTo>
                  <a:lnTo>
                    <a:pt x="1936" y="1871"/>
                  </a:lnTo>
                  <a:lnTo>
                    <a:pt x="1934" y="1871"/>
                  </a:lnTo>
                  <a:lnTo>
                    <a:pt x="1898" y="1871"/>
                  </a:lnTo>
                  <a:lnTo>
                    <a:pt x="1896" y="1871"/>
                  </a:lnTo>
                  <a:lnTo>
                    <a:pt x="1895" y="1871"/>
                  </a:lnTo>
                  <a:lnTo>
                    <a:pt x="1894" y="1870"/>
                  </a:lnTo>
                  <a:lnTo>
                    <a:pt x="1894" y="1867"/>
                  </a:lnTo>
                  <a:close/>
                  <a:moveTo>
                    <a:pt x="1943" y="1708"/>
                  </a:moveTo>
                  <a:lnTo>
                    <a:pt x="1943" y="1708"/>
                  </a:lnTo>
                  <a:lnTo>
                    <a:pt x="1943" y="1717"/>
                  </a:lnTo>
                  <a:lnTo>
                    <a:pt x="1945" y="1725"/>
                  </a:lnTo>
                  <a:lnTo>
                    <a:pt x="1949" y="1732"/>
                  </a:lnTo>
                  <a:lnTo>
                    <a:pt x="1953" y="1737"/>
                  </a:lnTo>
                  <a:lnTo>
                    <a:pt x="1959" y="1740"/>
                  </a:lnTo>
                  <a:lnTo>
                    <a:pt x="1967" y="1742"/>
                  </a:lnTo>
                  <a:lnTo>
                    <a:pt x="1976" y="1745"/>
                  </a:lnTo>
                  <a:lnTo>
                    <a:pt x="1988" y="1745"/>
                  </a:lnTo>
                  <a:lnTo>
                    <a:pt x="1990" y="1745"/>
                  </a:lnTo>
                  <a:lnTo>
                    <a:pt x="1993" y="1745"/>
                  </a:lnTo>
                  <a:lnTo>
                    <a:pt x="1997" y="1745"/>
                  </a:lnTo>
                  <a:lnTo>
                    <a:pt x="2000" y="1745"/>
                  </a:lnTo>
                  <a:lnTo>
                    <a:pt x="2005" y="1745"/>
                  </a:lnTo>
                  <a:lnTo>
                    <a:pt x="2008" y="1744"/>
                  </a:lnTo>
                  <a:lnTo>
                    <a:pt x="2012" y="1744"/>
                  </a:lnTo>
                  <a:lnTo>
                    <a:pt x="2014" y="1744"/>
                  </a:lnTo>
                  <a:lnTo>
                    <a:pt x="2014" y="1673"/>
                  </a:lnTo>
                  <a:lnTo>
                    <a:pt x="2012" y="1672"/>
                  </a:lnTo>
                  <a:lnTo>
                    <a:pt x="2008" y="1672"/>
                  </a:lnTo>
                  <a:lnTo>
                    <a:pt x="2005" y="1672"/>
                  </a:lnTo>
                  <a:lnTo>
                    <a:pt x="2001" y="1672"/>
                  </a:lnTo>
                  <a:lnTo>
                    <a:pt x="1997" y="1672"/>
                  </a:lnTo>
                  <a:lnTo>
                    <a:pt x="1993" y="1672"/>
                  </a:lnTo>
                  <a:lnTo>
                    <a:pt x="1990" y="1672"/>
                  </a:lnTo>
                  <a:lnTo>
                    <a:pt x="1988" y="1672"/>
                  </a:lnTo>
                  <a:lnTo>
                    <a:pt x="1977" y="1672"/>
                  </a:lnTo>
                  <a:lnTo>
                    <a:pt x="1968" y="1673"/>
                  </a:lnTo>
                  <a:lnTo>
                    <a:pt x="1960" y="1677"/>
                  </a:lnTo>
                  <a:lnTo>
                    <a:pt x="1955" y="1680"/>
                  </a:lnTo>
                  <a:lnTo>
                    <a:pt x="1949" y="1685"/>
                  </a:lnTo>
                  <a:lnTo>
                    <a:pt x="1945" y="1690"/>
                  </a:lnTo>
                  <a:lnTo>
                    <a:pt x="1943" y="1697"/>
                  </a:lnTo>
                  <a:lnTo>
                    <a:pt x="1943" y="1705"/>
                  </a:lnTo>
                  <a:lnTo>
                    <a:pt x="1943" y="1708"/>
                  </a:lnTo>
                  <a:close/>
                  <a:moveTo>
                    <a:pt x="1872" y="1866"/>
                  </a:moveTo>
                  <a:lnTo>
                    <a:pt x="1871" y="1869"/>
                  </a:lnTo>
                  <a:lnTo>
                    <a:pt x="1870" y="1870"/>
                  </a:lnTo>
                  <a:lnTo>
                    <a:pt x="1869" y="1871"/>
                  </a:lnTo>
                  <a:lnTo>
                    <a:pt x="1867" y="1871"/>
                  </a:lnTo>
                  <a:lnTo>
                    <a:pt x="1835" y="1871"/>
                  </a:lnTo>
                  <a:lnTo>
                    <a:pt x="1833" y="1871"/>
                  </a:lnTo>
                  <a:lnTo>
                    <a:pt x="1831" y="1870"/>
                  </a:lnTo>
                  <a:lnTo>
                    <a:pt x="1830" y="1869"/>
                  </a:lnTo>
                  <a:lnTo>
                    <a:pt x="1829" y="1866"/>
                  </a:lnTo>
                  <a:lnTo>
                    <a:pt x="1815" y="1806"/>
                  </a:lnTo>
                  <a:lnTo>
                    <a:pt x="1747" y="1806"/>
                  </a:lnTo>
                  <a:lnTo>
                    <a:pt x="1733" y="1866"/>
                  </a:lnTo>
                  <a:lnTo>
                    <a:pt x="1732" y="1869"/>
                  </a:lnTo>
                  <a:lnTo>
                    <a:pt x="1731" y="1870"/>
                  </a:lnTo>
                  <a:lnTo>
                    <a:pt x="1729" y="1871"/>
                  </a:lnTo>
                  <a:lnTo>
                    <a:pt x="1728" y="1871"/>
                  </a:lnTo>
                  <a:lnTo>
                    <a:pt x="1696" y="1871"/>
                  </a:lnTo>
                  <a:lnTo>
                    <a:pt x="1693" y="1871"/>
                  </a:lnTo>
                  <a:lnTo>
                    <a:pt x="1692" y="1870"/>
                  </a:lnTo>
                  <a:lnTo>
                    <a:pt x="1691" y="1869"/>
                  </a:lnTo>
                  <a:lnTo>
                    <a:pt x="1690" y="1866"/>
                  </a:lnTo>
                  <a:lnTo>
                    <a:pt x="1690" y="1865"/>
                  </a:lnTo>
                  <a:lnTo>
                    <a:pt x="1690" y="1865"/>
                  </a:lnTo>
                  <a:lnTo>
                    <a:pt x="1691" y="1865"/>
                  </a:lnTo>
                  <a:lnTo>
                    <a:pt x="1691" y="1864"/>
                  </a:lnTo>
                  <a:lnTo>
                    <a:pt x="1740" y="1666"/>
                  </a:lnTo>
                  <a:lnTo>
                    <a:pt x="1743" y="1656"/>
                  </a:lnTo>
                  <a:lnTo>
                    <a:pt x="1747" y="1649"/>
                  </a:lnTo>
                  <a:lnTo>
                    <a:pt x="1753" y="1644"/>
                  </a:lnTo>
                  <a:lnTo>
                    <a:pt x="1758" y="1639"/>
                  </a:lnTo>
                  <a:lnTo>
                    <a:pt x="1764" y="1637"/>
                  </a:lnTo>
                  <a:lnTo>
                    <a:pt x="1770" y="1635"/>
                  </a:lnTo>
                  <a:lnTo>
                    <a:pt x="1776" y="1635"/>
                  </a:lnTo>
                  <a:lnTo>
                    <a:pt x="1781" y="1633"/>
                  </a:lnTo>
                  <a:lnTo>
                    <a:pt x="1786" y="1635"/>
                  </a:lnTo>
                  <a:lnTo>
                    <a:pt x="1792" y="1635"/>
                  </a:lnTo>
                  <a:lnTo>
                    <a:pt x="1798" y="1637"/>
                  </a:lnTo>
                  <a:lnTo>
                    <a:pt x="1804" y="1639"/>
                  </a:lnTo>
                  <a:lnTo>
                    <a:pt x="1810" y="1644"/>
                  </a:lnTo>
                  <a:lnTo>
                    <a:pt x="1814" y="1649"/>
                  </a:lnTo>
                  <a:lnTo>
                    <a:pt x="1819" y="1656"/>
                  </a:lnTo>
                  <a:lnTo>
                    <a:pt x="1822" y="1666"/>
                  </a:lnTo>
                  <a:lnTo>
                    <a:pt x="1871" y="1864"/>
                  </a:lnTo>
                  <a:lnTo>
                    <a:pt x="1871" y="1865"/>
                  </a:lnTo>
                  <a:lnTo>
                    <a:pt x="1871" y="1865"/>
                  </a:lnTo>
                  <a:lnTo>
                    <a:pt x="1871" y="1865"/>
                  </a:lnTo>
                  <a:lnTo>
                    <a:pt x="1872" y="1866"/>
                  </a:lnTo>
                  <a:close/>
                  <a:moveTo>
                    <a:pt x="1786" y="1677"/>
                  </a:moveTo>
                  <a:lnTo>
                    <a:pt x="1786" y="1677"/>
                  </a:lnTo>
                  <a:lnTo>
                    <a:pt x="1786" y="1673"/>
                  </a:lnTo>
                  <a:lnTo>
                    <a:pt x="1785" y="1672"/>
                  </a:lnTo>
                  <a:lnTo>
                    <a:pt x="1784" y="1671"/>
                  </a:lnTo>
                  <a:lnTo>
                    <a:pt x="1781" y="1671"/>
                  </a:lnTo>
                  <a:lnTo>
                    <a:pt x="1779" y="1671"/>
                  </a:lnTo>
                  <a:lnTo>
                    <a:pt x="1778" y="1672"/>
                  </a:lnTo>
                  <a:lnTo>
                    <a:pt x="1777" y="1673"/>
                  </a:lnTo>
                  <a:lnTo>
                    <a:pt x="1777" y="1677"/>
                  </a:lnTo>
                  <a:lnTo>
                    <a:pt x="1755" y="1770"/>
                  </a:lnTo>
                  <a:lnTo>
                    <a:pt x="1807" y="1770"/>
                  </a:lnTo>
                  <a:lnTo>
                    <a:pt x="1786" y="1677"/>
                  </a:lnTo>
                  <a:close/>
                  <a:moveTo>
                    <a:pt x="1670" y="1869"/>
                  </a:moveTo>
                  <a:lnTo>
                    <a:pt x="1670" y="1870"/>
                  </a:lnTo>
                  <a:lnTo>
                    <a:pt x="1668" y="1871"/>
                  </a:lnTo>
                  <a:lnTo>
                    <a:pt x="1667" y="1871"/>
                  </a:lnTo>
                  <a:lnTo>
                    <a:pt x="1665" y="1871"/>
                  </a:lnTo>
                  <a:lnTo>
                    <a:pt x="1625" y="1871"/>
                  </a:lnTo>
                  <a:lnTo>
                    <a:pt x="1621" y="1871"/>
                  </a:lnTo>
                  <a:lnTo>
                    <a:pt x="1618" y="1867"/>
                  </a:lnTo>
                  <a:lnTo>
                    <a:pt x="1550" y="1760"/>
                  </a:lnTo>
                  <a:lnTo>
                    <a:pt x="1550" y="1865"/>
                  </a:lnTo>
                  <a:lnTo>
                    <a:pt x="1550" y="1867"/>
                  </a:lnTo>
                  <a:lnTo>
                    <a:pt x="1549" y="1870"/>
                  </a:lnTo>
                  <a:lnTo>
                    <a:pt x="1546" y="1871"/>
                  </a:lnTo>
                  <a:lnTo>
                    <a:pt x="1544" y="1871"/>
                  </a:lnTo>
                  <a:lnTo>
                    <a:pt x="1514" y="1871"/>
                  </a:lnTo>
                  <a:lnTo>
                    <a:pt x="1512" y="1871"/>
                  </a:lnTo>
                  <a:lnTo>
                    <a:pt x="1510" y="1870"/>
                  </a:lnTo>
                  <a:lnTo>
                    <a:pt x="1509" y="1867"/>
                  </a:lnTo>
                  <a:lnTo>
                    <a:pt x="1509" y="1865"/>
                  </a:lnTo>
                  <a:lnTo>
                    <a:pt x="1509" y="1642"/>
                  </a:lnTo>
                  <a:lnTo>
                    <a:pt x="1509" y="1640"/>
                  </a:lnTo>
                  <a:lnTo>
                    <a:pt x="1510" y="1639"/>
                  </a:lnTo>
                  <a:lnTo>
                    <a:pt x="1512" y="1637"/>
                  </a:lnTo>
                  <a:lnTo>
                    <a:pt x="1514" y="1637"/>
                  </a:lnTo>
                  <a:lnTo>
                    <a:pt x="1544" y="1637"/>
                  </a:lnTo>
                  <a:lnTo>
                    <a:pt x="1546" y="1637"/>
                  </a:lnTo>
                  <a:lnTo>
                    <a:pt x="1549" y="1639"/>
                  </a:lnTo>
                  <a:lnTo>
                    <a:pt x="1550" y="1640"/>
                  </a:lnTo>
                  <a:lnTo>
                    <a:pt x="1550" y="1642"/>
                  </a:lnTo>
                  <a:lnTo>
                    <a:pt x="1550" y="1744"/>
                  </a:lnTo>
                  <a:lnTo>
                    <a:pt x="1623" y="1639"/>
                  </a:lnTo>
                  <a:lnTo>
                    <a:pt x="1624" y="1638"/>
                  </a:lnTo>
                  <a:lnTo>
                    <a:pt x="1626" y="1637"/>
                  </a:lnTo>
                  <a:lnTo>
                    <a:pt x="1627" y="1637"/>
                  </a:lnTo>
                  <a:lnTo>
                    <a:pt x="1630" y="1637"/>
                  </a:lnTo>
                  <a:lnTo>
                    <a:pt x="1664" y="1637"/>
                  </a:lnTo>
                  <a:lnTo>
                    <a:pt x="1666" y="1637"/>
                  </a:lnTo>
                  <a:lnTo>
                    <a:pt x="1668" y="1638"/>
                  </a:lnTo>
                  <a:lnTo>
                    <a:pt x="1670" y="1639"/>
                  </a:lnTo>
                  <a:lnTo>
                    <a:pt x="1670" y="1640"/>
                  </a:lnTo>
                  <a:lnTo>
                    <a:pt x="1670" y="1642"/>
                  </a:lnTo>
                  <a:lnTo>
                    <a:pt x="1667" y="1646"/>
                  </a:lnTo>
                  <a:lnTo>
                    <a:pt x="1591" y="1750"/>
                  </a:lnTo>
                  <a:lnTo>
                    <a:pt x="1668" y="1865"/>
                  </a:lnTo>
                  <a:lnTo>
                    <a:pt x="1670" y="1867"/>
                  </a:lnTo>
                  <a:lnTo>
                    <a:pt x="1670" y="1869"/>
                  </a:lnTo>
                  <a:close/>
                  <a:moveTo>
                    <a:pt x="1475" y="1866"/>
                  </a:moveTo>
                  <a:lnTo>
                    <a:pt x="1472" y="1867"/>
                  </a:lnTo>
                  <a:lnTo>
                    <a:pt x="1470" y="1869"/>
                  </a:lnTo>
                  <a:lnTo>
                    <a:pt x="1468" y="1870"/>
                  </a:lnTo>
                  <a:lnTo>
                    <a:pt x="1464" y="1871"/>
                  </a:lnTo>
                  <a:lnTo>
                    <a:pt x="1459" y="1871"/>
                  </a:lnTo>
                  <a:lnTo>
                    <a:pt x="1453" y="1872"/>
                  </a:lnTo>
                  <a:lnTo>
                    <a:pt x="1446" y="1873"/>
                  </a:lnTo>
                  <a:lnTo>
                    <a:pt x="1439" y="1873"/>
                  </a:lnTo>
                  <a:lnTo>
                    <a:pt x="1431" y="1874"/>
                  </a:lnTo>
                  <a:lnTo>
                    <a:pt x="1423" y="1874"/>
                  </a:lnTo>
                  <a:lnTo>
                    <a:pt x="1408" y="1873"/>
                  </a:lnTo>
                  <a:lnTo>
                    <a:pt x="1395" y="1870"/>
                  </a:lnTo>
                  <a:lnTo>
                    <a:pt x="1387" y="1867"/>
                  </a:lnTo>
                  <a:lnTo>
                    <a:pt x="1380" y="1864"/>
                  </a:lnTo>
                  <a:lnTo>
                    <a:pt x="1373" y="1859"/>
                  </a:lnTo>
                  <a:lnTo>
                    <a:pt x="1367" y="1855"/>
                  </a:lnTo>
                  <a:lnTo>
                    <a:pt x="1362" y="1849"/>
                  </a:lnTo>
                  <a:lnTo>
                    <a:pt x="1356" y="1842"/>
                  </a:lnTo>
                  <a:lnTo>
                    <a:pt x="1351" y="1834"/>
                  </a:lnTo>
                  <a:lnTo>
                    <a:pt x="1347" y="1825"/>
                  </a:lnTo>
                  <a:lnTo>
                    <a:pt x="1343" y="1815"/>
                  </a:lnTo>
                  <a:lnTo>
                    <a:pt x="1340" y="1804"/>
                  </a:lnTo>
                  <a:lnTo>
                    <a:pt x="1339" y="1791"/>
                  </a:lnTo>
                  <a:lnTo>
                    <a:pt x="1339" y="1778"/>
                  </a:lnTo>
                  <a:lnTo>
                    <a:pt x="1339" y="1731"/>
                  </a:lnTo>
                  <a:lnTo>
                    <a:pt x="1339" y="1716"/>
                  </a:lnTo>
                  <a:lnTo>
                    <a:pt x="1340" y="1704"/>
                  </a:lnTo>
                  <a:lnTo>
                    <a:pt x="1343" y="1692"/>
                  </a:lnTo>
                  <a:lnTo>
                    <a:pt x="1347" y="1682"/>
                  </a:lnTo>
                  <a:lnTo>
                    <a:pt x="1351" y="1673"/>
                  </a:lnTo>
                  <a:lnTo>
                    <a:pt x="1356" y="1665"/>
                  </a:lnTo>
                  <a:lnTo>
                    <a:pt x="1362" y="1658"/>
                  </a:lnTo>
                  <a:lnTo>
                    <a:pt x="1367" y="1653"/>
                  </a:lnTo>
                  <a:lnTo>
                    <a:pt x="1373" y="1648"/>
                  </a:lnTo>
                  <a:lnTo>
                    <a:pt x="1380" y="1644"/>
                  </a:lnTo>
                  <a:lnTo>
                    <a:pt x="1387" y="1640"/>
                  </a:lnTo>
                  <a:lnTo>
                    <a:pt x="1395" y="1638"/>
                  </a:lnTo>
                  <a:lnTo>
                    <a:pt x="1408" y="1635"/>
                  </a:lnTo>
                  <a:lnTo>
                    <a:pt x="1423" y="1633"/>
                  </a:lnTo>
                  <a:lnTo>
                    <a:pt x="1431" y="1635"/>
                  </a:lnTo>
                  <a:lnTo>
                    <a:pt x="1439" y="1635"/>
                  </a:lnTo>
                  <a:lnTo>
                    <a:pt x="1446" y="1636"/>
                  </a:lnTo>
                  <a:lnTo>
                    <a:pt x="1453" y="1636"/>
                  </a:lnTo>
                  <a:lnTo>
                    <a:pt x="1459" y="1637"/>
                  </a:lnTo>
                  <a:lnTo>
                    <a:pt x="1464" y="1638"/>
                  </a:lnTo>
                  <a:lnTo>
                    <a:pt x="1468" y="1639"/>
                  </a:lnTo>
                  <a:lnTo>
                    <a:pt x="1470" y="1639"/>
                  </a:lnTo>
                  <a:lnTo>
                    <a:pt x="1472" y="1640"/>
                  </a:lnTo>
                  <a:lnTo>
                    <a:pt x="1475" y="1641"/>
                  </a:lnTo>
                  <a:lnTo>
                    <a:pt x="1476" y="1644"/>
                  </a:lnTo>
                  <a:lnTo>
                    <a:pt x="1477" y="1646"/>
                  </a:lnTo>
                  <a:lnTo>
                    <a:pt x="1477" y="1667"/>
                  </a:lnTo>
                  <a:lnTo>
                    <a:pt x="1476" y="1670"/>
                  </a:lnTo>
                  <a:lnTo>
                    <a:pt x="1476" y="1672"/>
                  </a:lnTo>
                  <a:lnTo>
                    <a:pt x="1473" y="1673"/>
                  </a:lnTo>
                  <a:lnTo>
                    <a:pt x="1470" y="1674"/>
                  </a:lnTo>
                  <a:lnTo>
                    <a:pt x="1470" y="1674"/>
                  </a:lnTo>
                  <a:lnTo>
                    <a:pt x="1465" y="1674"/>
                  </a:lnTo>
                  <a:lnTo>
                    <a:pt x="1461" y="1673"/>
                  </a:lnTo>
                  <a:lnTo>
                    <a:pt x="1455" y="1673"/>
                  </a:lnTo>
                  <a:lnTo>
                    <a:pt x="1448" y="1672"/>
                  </a:lnTo>
                  <a:lnTo>
                    <a:pt x="1443" y="1672"/>
                  </a:lnTo>
                  <a:lnTo>
                    <a:pt x="1436" y="1672"/>
                  </a:lnTo>
                  <a:lnTo>
                    <a:pt x="1429" y="1672"/>
                  </a:lnTo>
                  <a:lnTo>
                    <a:pt x="1423" y="1672"/>
                  </a:lnTo>
                  <a:lnTo>
                    <a:pt x="1414" y="1672"/>
                  </a:lnTo>
                  <a:lnTo>
                    <a:pt x="1406" y="1674"/>
                  </a:lnTo>
                  <a:lnTo>
                    <a:pt x="1398" y="1679"/>
                  </a:lnTo>
                  <a:lnTo>
                    <a:pt x="1392" y="1685"/>
                  </a:lnTo>
                  <a:lnTo>
                    <a:pt x="1387" y="1692"/>
                  </a:lnTo>
                  <a:lnTo>
                    <a:pt x="1383" y="1703"/>
                  </a:lnTo>
                  <a:lnTo>
                    <a:pt x="1381" y="1715"/>
                  </a:lnTo>
                  <a:lnTo>
                    <a:pt x="1380" y="1731"/>
                  </a:lnTo>
                  <a:lnTo>
                    <a:pt x="1380" y="1778"/>
                  </a:lnTo>
                  <a:lnTo>
                    <a:pt x="1381" y="1792"/>
                  </a:lnTo>
                  <a:lnTo>
                    <a:pt x="1383" y="1805"/>
                  </a:lnTo>
                  <a:lnTo>
                    <a:pt x="1387" y="1815"/>
                  </a:lnTo>
                  <a:lnTo>
                    <a:pt x="1392" y="1823"/>
                  </a:lnTo>
                  <a:lnTo>
                    <a:pt x="1395" y="1827"/>
                  </a:lnTo>
                  <a:lnTo>
                    <a:pt x="1398" y="1829"/>
                  </a:lnTo>
                  <a:lnTo>
                    <a:pt x="1402" y="1831"/>
                  </a:lnTo>
                  <a:lnTo>
                    <a:pt x="1406" y="1833"/>
                  </a:lnTo>
                  <a:lnTo>
                    <a:pt x="1414" y="1836"/>
                  </a:lnTo>
                  <a:lnTo>
                    <a:pt x="1423" y="1837"/>
                  </a:lnTo>
                  <a:lnTo>
                    <a:pt x="1429" y="1837"/>
                  </a:lnTo>
                  <a:lnTo>
                    <a:pt x="1436" y="1836"/>
                  </a:lnTo>
                  <a:lnTo>
                    <a:pt x="1443" y="1836"/>
                  </a:lnTo>
                  <a:lnTo>
                    <a:pt x="1448" y="1836"/>
                  </a:lnTo>
                  <a:lnTo>
                    <a:pt x="1455" y="1834"/>
                  </a:lnTo>
                  <a:lnTo>
                    <a:pt x="1461" y="1834"/>
                  </a:lnTo>
                  <a:lnTo>
                    <a:pt x="1465" y="1834"/>
                  </a:lnTo>
                  <a:lnTo>
                    <a:pt x="1470" y="1833"/>
                  </a:lnTo>
                  <a:lnTo>
                    <a:pt x="1470" y="1833"/>
                  </a:lnTo>
                  <a:lnTo>
                    <a:pt x="1473" y="1834"/>
                  </a:lnTo>
                  <a:lnTo>
                    <a:pt x="1476" y="1836"/>
                  </a:lnTo>
                  <a:lnTo>
                    <a:pt x="1476" y="1838"/>
                  </a:lnTo>
                  <a:lnTo>
                    <a:pt x="1477" y="1840"/>
                  </a:lnTo>
                  <a:lnTo>
                    <a:pt x="1477" y="1862"/>
                  </a:lnTo>
                  <a:lnTo>
                    <a:pt x="1476" y="1864"/>
                  </a:lnTo>
                  <a:lnTo>
                    <a:pt x="1475" y="1866"/>
                  </a:lnTo>
                  <a:close/>
                  <a:moveTo>
                    <a:pt x="1308" y="1867"/>
                  </a:moveTo>
                  <a:lnTo>
                    <a:pt x="1306" y="1869"/>
                  </a:lnTo>
                  <a:lnTo>
                    <a:pt x="1304" y="1870"/>
                  </a:lnTo>
                  <a:lnTo>
                    <a:pt x="1300" y="1870"/>
                  </a:lnTo>
                  <a:lnTo>
                    <a:pt x="1296" y="1871"/>
                  </a:lnTo>
                  <a:lnTo>
                    <a:pt x="1291" y="1872"/>
                  </a:lnTo>
                  <a:lnTo>
                    <a:pt x="1285" y="1872"/>
                  </a:lnTo>
                  <a:lnTo>
                    <a:pt x="1277" y="1873"/>
                  </a:lnTo>
                  <a:lnTo>
                    <a:pt x="1269" y="1873"/>
                  </a:lnTo>
                  <a:lnTo>
                    <a:pt x="1259" y="1874"/>
                  </a:lnTo>
                  <a:lnTo>
                    <a:pt x="1247" y="1874"/>
                  </a:lnTo>
                  <a:lnTo>
                    <a:pt x="1233" y="1873"/>
                  </a:lnTo>
                  <a:lnTo>
                    <a:pt x="1219" y="1871"/>
                  </a:lnTo>
                  <a:lnTo>
                    <a:pt x="1213" y="1870"/>
                  </a:lnTo>
                  <a:lnTo>
                    <a:pt x="1208" y="1867"/>
                  </a:lnTo>
                  <a:lnTo>
                    <a:pt x="1202" y="1865"/>
                  </a:lnTo>
                  <a:lnTo>
                    <a:pt x="1198" y="1862"/>
                  </a:lnTo>
                  <a:lnTo>
                    <a:pt x="1193" y="1858"/>
                  </a:lnTo>
                  <a:lnTo>
                    <a:pt x="1190" y="1854"/>
                  </a:lnTo>
                  <a:lnTo>
                    <a:pt x="1186" y="1848"/>
                  </a:lnTo>
                  <a:lnTo>
                    <a:pt x="1183" y="1842"/>
                  </a:lnTo>
                  <a:lnTo>
                    <a:pt x="1180" y="1836"/>
                  </a:lnTo>
                  <a:lnTo>
                    <a:pt x="1179" y="1828"/>
                  </a:lnTo>
                  <a:lnTo>
                    <a:pt x="1178" y="1819"/>
                  </a:lnTo>
                  <a:lnTo>
                    <a:pt x="1177" y="1810"/>
                  </a:lnTo>
                  <a:lnTo>
                    <a:pt x="1177" y="1699"/>
                  </a:lnTo>
                  <a:lnTo>
                    <a:pt x="1178" y="1689"/>
                  </a:lnTo>
                  <a:lnTo>
                    <a:pt x="1179" y="1680"/>
                  </a:lnTo>
                  <a:lnTo>
                    <a:pt x="1180" y="1673"/>
                  </a:lnTo>
                  <a:lnTo>
                    <a:pt x="1183" y="1666"/>
                  </a:lnTo>
                  <a:lnTo>
                    <a:pt x="1186" y="1660"/>
                  </a:lnTo>
                  <a:lnTo>
                    <a:pt x="1190" y="1655"/>
                  </a:lnTo>
                  <a:lnTo>
                    <a:pt x="1193" y="1650"/>
                  </a:lnTo>
                  <a:lnTo>
                    <a:pt x="1198" y="1646"/>
                  </a:lnTo>
                  <a:lnTo>
                    <a:pt x="1202" y="1642"/>
                  </a:lnTo>
                  <a:lnTo>
                    <a:pt x="1208" y="1640"/>
                  </a:lnTo>
                  <a:lnTo>
                    <a:pt x="1213" y="1638"/>
                  </a:lnTo>
                  <a:lnTo>
                    <a:pt x="1219" y="1637"/>
                  </a:lnTo>
                  <a:lnTo>
                    <a:pt x="1233" y="1635"/>
                  </a:lnTo>
                  <a:lnTo>
                    <a:pt x="1247" y="1633"/>
                  </a:lnTo>
                  <a:lnTo>
                    <a:pt x="1259" y="1635"/>
                  </a:lnTo>
                  <a:lnTo>
                    <a:pt x="1269" y="1635"/>
                  </a:lnTo>
                  <a:lnTo>
                    <a:pt x="1277" y="1635"/>
                  </a:lnTo>
                  <a:lnTo>
                    <a:pt x="1285" y="1636"/>
                  </a:lnTo>
                  <a:lnTo>
                    <a:pt x="1291" y="1636"/>
                  </a:lnTo>
                  <a:lnTo>
                    <a:pt x="1296" y="1637"/>
                  </a:lnTo>
                  <a:lnTo>
                    <a:pt x="1300" y="1638"/>
                  </a:lnTo>
                  <a:lnTo>
                    <a:pt x="1304" y="1638"/>
                  </a:lnTo>
                  <a:lnTo>
                    <a:pt x="1306" y="1639"/>
                  </a:lnTo>
                  <a:lnTo>
                    <a:pt x="1308" y="1640"/>
                  </a:lnTo>
                  <a:lnTo>
                    <a:pt x="1309" y="1642"/>
                  </a:lnTo>
                  <a:lnTo>
                    <a:pt x="1309" y="1645"/>
                  </a:lnTo>
                  <a:lnTo>
                    <a:pt x="1309" y="1665"/>
                  </a:lnTo>
                  <a:lnTo>
                    <a:pt x="1309" y="1667"/>
                  </a:lnTo>
                  <a:lnTo>
                    <a:pt x="1308" y="1670"/>
                  </a:lnTo>
                  <a:lnTo>
                    <a:pt x="1306" y="1671"/>
                  </a:lnTo>
                  <a:lnTo>
                    <a:pt x="1304" y="1672"/>
                  </a:lnTo>
                  <a:lnTo>
                    <a:pt x="1243" y="1672"/>
                  </a:lnTo>
                  <a:lnTo>
                    <a:pt x="1236" y="1672"/>
                  </a:lnTo>
                  <a:lnTo>
                    <a:pt x="1232" y="1673"/>
                  </a:lnTo>
                  <a:lnTo>
                    <a:pt x="1227" y="1674"/>
                  </a:lnTo>
                  <a:lnTo>
                    <a:pt x="1224" y="1678"/>
                  </a:lnTo>
                  <a:lnTo>
                    <a:pt x="1221" y="1681"/>
                  </a:lnTo>
                  <a:lnTo>
                    <a:pt x="1220" y="1686"/>
                  </a:lnTo>
                  <a:lnTo>
                    <a:pt x="1219" y="1691"/>
                  </a:lnTo>
                  <a:lnTo>
                    <a:pt x="1219" y="1699"/>
                  </a:lnTo>
                  <a:lnTo>
                    <a:pt x="1219" y="1733"/>
                  </a:lnTo>
                  <a:lnTo>
                    <a:pt x="1300" y="1733"/>
                  </a:lnTo>
                  <a:lnTo>
                    <a:pt x="1302" y="1733"/>
                  </a:lnTo>
                  <a:lnTo>
                    <a:pt x="1304" y="1735"/>
                  </a:lnTo>
                  <a:lnTo>
                    <a:pt x="1306" y="1737"/>
                  </a:lnTo>
                  <a:lnTo>
                    <a:pt x="1306" y="1739"/>
                  </a:lnTo>
                  <a:lnTo>
                    <a:pt x="1306" y="1762"/>
                  </a:lnTo>
                  <a:lnTo>
                    <a:pt x="1306" y="1764"/>
                  </a:lnTo>
                  <a:lnTo>
                    <a:pt x="1304" y="1766"/>
                  </a:lnTo>
                  <a:lnTo>
                    <a:pt x="1302" y="1767"/>
                  </a:lnTo>
                  <a:lnTo>
                    <a:pt x="1300" y="1769"/>
                  </a:lnTo>
                  <a:lnTo>
                    <a:pt x="1219" y="1769"/>
                  </a:lnTo>
                  <a:lnTo>
                    <a:pt x="1219" y="1810"/>
                  </a:lnTo>
                  <a:lnTo>
                    <a:pt x="1219" y="1816"/>
                  </a:lnTo>
                  <a:lnTo>
                    <a:pt x="1220" y="1822"/>
                  </a:lnTo>
                  <a:lnTo>
                    <a:pt x="1221" y="1828"/>
                  </a:lnTo>
                  <a:lnTo>
                    <a:pt x="1224" y="1831"/>
                  </a:lnTo>
                  <a:lnTo>
                    <a:pt x="1227" y="1833"/>
                  </a:lnTo>
                  <a:lnTo>
                    <a:pt x="1232" y="1834"/>
                  </a:lnTo>
                  <a:lnTo>
                    <a:pt x="1236" y="1836"/>
                  </a:lnTo>
                  <a:lnTo>
                    <a:pt x="1243" y="1837"/>
                  </a:lnTo>
                  <a:lnTo>
                    <a:pt x="1304" y="1837"/>
                  </a:lnTo>
                  <a:lnTo>
                    <a:pt x="1306" y="1837"/>
                  </a:lnTo>
                  <a:lnTo>
                    <a:pt x="1308" y="1838"/>
                  </a:lnTo>
                  <a:lnTo>
                    <a:pt x="1309" y="1840"/>
                  </a:lnTo>
                  <a:lnTo>
                    <a:pt x="1309" y="1842"/>
                  </a:lnTo>
                  <a:lnTo>
                    <a:pt x="1309" y="1863"/>
                  </a:lnTo>
                  <a:lnTo>
                    <a:pt x="1309" y="1866"/>
                  </a:lnTo>
                  <a:lnTo>
                    <a:pt x="1308" y="1867"/>
                  </a:lnTo>
                  <a:close/>
                  <a:moveTo>
                    <a:pt x="972" y="1639"/>
                  </a:moveTo>
                  <a:lnTo>
                    <a:pt x="974" y="1637"/>
                  </a:lnTo>
                  <a:lnTo>
                    <a:pt x="976" y="1637"/>
                  </a:lnTo>
                  <a:lnTo>
                    <a:pt x="1005" y="1637"/>
                  </a:lnTo>
                  <a:lnTo>
                    <a:pt x="1007" y="1637"/>
                  </a:lnTo>
                  <a:lnTo>
                    <a:pt x="1009" y="1639"/>
                  </a:lnTo>
                  <a:lnTo>
                    <a:pt x="1011" y="1640"/>
                  </a:lnTo>
                  <a:lnTo>
                    <a:pt x="1012" y="1644"/>
                  </a:lnTo>
                  <a:lnTo>
                    <a:pt x="1012" y="1715"/>
                  </a:lnTo>
                  <a:lnTo>
                    <a:pt x="1012" y="1725"/>
                  </a:lnTo>
                  <a:lnTo>
                    <a:pt x="1014" y="1732"/>
                  </a:lnTo>
                  <a:lnTo>
                    <a:pt x="1016" y="1738"/>
                  </a:lnTo>
                  <a:lnTo>
                    <a:pt x="1021" y="1742"/>
                  </a:lnTo>
                  <a:lnTo>
                    <a:pt x="1027" y="1746"/>
                  </a:lnTo>
                  <a:lnTo>
                    <a:pt x="1032" y="1748"/>
                  </a:lnTo>
                  <a:lnTo>
                    <a:pt x="1040" y="1749"/>
                  </a:lnTo>
                  <a:lnTo>
                    <a:pt x="1049" y="1749"/>
                  </a:lnTo>
                  <a:lnTo>
                    <a:pt x="1062" y="1748"/>
                  </a:lnTo>
                  <a:lnTo>
                    <a:pt x="1074" y="1746"/>
                  </a:lnTo>
                  <a:lnTo>
                    <a:pt x="1086" y="1742"/>
                  </a:lnTo>
                  <a:lnTo>
                    <a:pt x="1096" y="1739"/>
                  </a:lnTo>
                  <a:lnTo>
                    <a:pt x="1096" y="1644"/>
                  </a:lnTo>
                  <a:lnTo>
                    <a:pt x="1097" y="1640"/>
                  </a:lnTo>
                  <a:lnTo>
                    <a:pt x="1098" y="1639"/>
                  </a:lnTo>
                  <a:lnTo>
                    <a:pt x="1099" y="1637"/>
                  </a:lnTo>
                  <a:lnTo>
                    <a:pt x="1102" y="1637"/>
                  </a:lnTo>
                  <a:lnTo>
                    <a:pt x="1131" y="1637"/>
                  </a:lnTo>
                  <a:lnTo>
                    <a:pt x="1134" y="1637"/>
                  </a:lnTo>
                  <a:lnTo>
                    <a:pt x="1136" y="1639"/>
                  </a:lnTo>
                  <a:lnTo>
                    <a:pt x="1137" y="1640"/>
                  </a:lnTo>
                  <a:lnTo>
                    <a:pt x="1138" y="1644"/>
                  </a:lnTo>
                  <a:lnTo>
                    <a:pt x="1138" y="1865"/>
                  </a:lnTo>
                  <a:lnTo>
                    <a:pt x="1137" y="1867"/>
                  </a:lnTo>
                  <a:lnTo>
                    <a:pt x="1136" y="1870"/>
                  </a:lnTo>
                  <a:lnTo>
                    <a:pt x="1134" y="1871"/>
                  </a:lnTo>
                  <a:lnTo>
                    <a:pt x="1131" y="1871"/>
                  </a:lnTo>
                  <a:lnTo>
                    <a:pt x="1102" y="1871"/>
                  </a:lnTo>
                  <a:lnTo>
                    <a:pt x="1099" y="1871"/>
                  </a:lnTo>
                  <a:lnTo>
                    <a:pt x="1098" y="1870"/>
                  </a:lnTo>
                  <a:lnTo>
                    <a:pt x="1097" y="1867"/>
                  </a:lnTo>
                  <a:lnTo>
                    <a:pt x="1096" y="1865"/>
                  </a:lnTo>
                  <a:lnTo>
                    <a:pt x="1096" y="1774"/>
                  </a:lnTo>
                  <a:lnTo>
                    <a:pt x="1086" y="1778"/>
                  </a:lnTo>
                  <a:lnTo>
                    <a:pt x="1072" y="1782"/>
                  </a:lnTo>
                  <a:lnTo>
                    <a:pt x="1056" y="1785"/>
                  </a:lnTo>
                  <a:lnTo>
                    <a:pt x="1038" y="1786"/>
                  </a:lnTo>
                  <a:lnTo>
                    <a:pt x="1029" y="1786"/>
                  </a:lnTo>
                  <a:lnTo>
                    <a:pt x="1021" y="1785"/>
                  </a:lnTo>
                  <a:lnTo>
                    <a:pt x="1014" y="1782"/>
                  </a:lnTo>
                  <a:lnTo>
                    <a:pt x="1007" y="1780"/>
                  </a:lnTo>
                  <a:lnTo>
                    <a:pt x="1000" y="1778"/>
                  </a:lnTo>
                  <a:lnTo>
                    <a:pt x="995" y="1774"/>
                  </a:lnTo>
                  <a:lnTo>
                    <a:pt x="990" y="1770"/>
                  </a:lnTo>
                  <a:lnTo>
                    <a:pt x="985" y="1765"/>
                  </a:lnTo>
                  <a:lnTo>
                    <a:pt x="982" y="1761"/>
                  </a:lnTo>
                  <a:lnTo>
                    <a:pt x="979" y="1755"/>
                  </a:lnTo>
                  <a:lnTo>
                    <a:pt x="976" y="1749"/>
                  </a:lnTo>
                  <a:lnTo>
                    <a:pt x="974" y="1744"/>
                  </a:lnTo>
                  <a:lnTo>
                    <a:pt x="971" y="1730"/>
                  </a:lnTo>
                  <a:lnTo>
                    <a:pt x="970" y="1716"/>
                  </a:lnTo>
                  <a:lnTo>
                    <a:pt x="970" y="1644"/>
                  </a:lnTo>
                  <a:lnTo>
                    <a:pt x="971" y="1640"/>
                  </a:lnTo>
                  <a:lnTo>
                    <a:pt x="972" y="1639"/>
                  </a:lnTo>
                  <a:close/>
                  <a:moveTo>
                    <a:pt x="737" y="1672"/>
                  </a:moveTo>
                  <a:lnTo>
                    <a:pt x="735" y="1673"/>
                  </a:lnTo>
                  <a:lnTo>
                    <a:pt x="732" y="1673"/>
                  </a:lnTo>
                  <a:lnTo>
                    <a:pt x="680" y="1673"/>
                  </a:lnTo>
                  <a:lnTo>
                    <a:pt x="680" y="1865"/>
                  </a:lnTo>
                  <a:lnTo>
                    <a:pt x="680" y="1867"/>
                  </a:lnTo>
                  <a:lnTo>
                    <a:pt x="679" y="1870"/>
                  </a:lnTo>
                  <a:lnTo>
                    <a:pt x="676" y="1871"/>
                  </a:lnTo>
                  <a:lnTo>
                    <a:pt x="674" y="1871"/>
                  </a:lnTo>
                  <a:lnTo>
                    <a:pt x="645" y="1871"/>
                  </a:lnTo>
                  <a:lnTo>
                    <a:pt x="642" y="1871"/>
                  </a:lnTo>
                  <a:lnTo>
                    <a:pt x="641" y="1870"/>
                  </a:lnTo>
                  <a:lnTo>
                    <a:pt x="639" y="1867"/>
                  </a:lnTo>
                  <a:lnTo>
                    <a:pt x="639" y="1865"/>
                  </a:lnTo>
                  <a:lnTo>
                    <a:pt x="639" y="1673"/>
                  </a:lnTo>
                  <a:lnTo>
                    <a:pt x="586" y="1673"/>
                  </a:lnTo>
                  <a:lnTo>
                    <a:pt x="584" y="1673"/>
                  </a:lnTo>
                  <a:lnTo>
                    <a:pt x="582" y="1672"/>
                  </a:lnTo>
                  <a:lnTo>
                    <a:pt x="581" y="1670"/>
                  </a:lnTo>
                  <a:lnTo>
                    <a:pt x="581" y="1667"/>
                  </a:lnTo>
                  <a:lnTo>
                    <a:pt x="581" y="1642"/>
                  </a:lnTo>
                  <a:lnTo>
                    <a:pt x="581" y="1640"/>
                  </a:lnTo>
                  <a:lnTo>
                    <a:pt x="582" y="1638"/>
                  </a:lnTo>
                  <a:lnTo>
                    <a:pt x="584" y="1637"/>
                  </a:lnTo>
                  <a:lnTo>
                    <a:pt x="586" y="1637"/>
                  </a:lnTo>
                  <a:lnTo>
                    <a:pt x="732" y="1637"/>
                  </a:lnTo>
                  <a:lnTo>
                    <a:pt x="735" y="1637"/>
                  </a:lnTo>
                  <a:lnTo>
                    <a:pt x="737" y="1638"/>
                  </a:lnTo>
                  <a:lnTo>
                    <a:pt x="738" y="1640"/>
                  </a:lnTo>
                  <a:lnTo>
                    <a:pt x="738" y="1642"/>
                  </a:lnTo>
                  <a:lnTo>
                    <a:pt x="738" y="1667"/>
                  </a:lnTo>
                  <a:lnTo>
                    <a:pt x="738" y="1670"/>
                  </a:lnTo>
                  <a:lnTo>
                    <a:pt x="737" y="1672"/>
                  </a:lnTo>
                  <a:close/>
                  <a:moveTo>
                    <a:pt x="559" y="1869"/>
                  </a:moveTo>
                  <a:lnTo>
                    <a:pt x="559" y="1870"/>
                  </a:lnTo>
                  <a:lnTo>
                    <a:pt x="558" y="1871"/>
                  </a:lnTo>
                  <a:lnTo>
                    <a:pt x="557" y="1871"/>
                  </a:lnTo>
                  <a:lnTo>
                    <a:pt x="554" y="1871"/>
                  </a:lnTo>
                  <a:lnTo>
                    <a:pt x="515" y="1871"/>
                  </a:lnTo>
                  <a:lnTo>
                    <a:pt x="510" y="1871"/>
                  </a:lnTo>
                  <a:lnTo>
                    <a:pt x="508" y="1867"/>
                  </a:lnTo>
                  <a:lnTo>
                    <a:pt x="439" y="1760"/>
                  </a:lnTo>
                  <a:lnTo>
                    <a:pt x="439" y="1865"/>
                  </a:lnTo>
                  <a:lnTo>
                    <a:pt x="439" y="1867"/>
                  </a:lnTo>
                  <a:lnTo>
                    <a:pt x="437" y="1870"/>
                  </a:lnTo>
                  <a:lnTo>
                    <a:pt x="436" y="1871"/>
                  </a:lnTo>
                  <a:lnTo>
                    <a:pt x="434" y="1871"/>
                  </a:lnTo>
                  <a:lnTo>
                    <a:pt x="404" y="1871"/>
                  </a:lnTo>
                  <a:lnTo>
                    <a:pt x="402" y="1871"/>
                  </a:lnTo>
                  <a:lnTo>
                    <a:pt x="399" y="1870"/>
                  </a:lnTo>
                  <a:lnTo>
                    <a:pt x="398" y="1867"/>
                  </a:lnTo>
                  <a:lnTo>
                    <a:pt x="397" y="1865"/>
                  </a:lnTo>
                  <a:lnTo>
                    <a:pt x="397" y="1642"/>
                  </a:lnTo>
                  <a:lnTo>
                    <a:pt x="398" y="1640"/>
                  </a:lnTo>
                  <a:lnTo>
                    <a:pt x="399" y="1639"/>
                  </a:lnTo>
                  <a:lnTo>
                    <a:pt x="402" y="1637"/>
                  </a:lnTo>
                  <a:lnTo>
                    <a:pt x="404" y="1637"/>
                  </a:lnTo>
                  <a:lnTo>
                    <a:pt x="434" y="1637"/>
                  </a:lnTo>
                  <a:lnTo>
                    <a:pt x="436" y="1637"/>
                  </a:lnTo>
                  <a:lnTo>
                    <a:pt x="437" y="1639"/>
                  </a:lnTo>
                  <a:lnTo>
                    <a:pt x="439" y="1640"/>
                  </a:lnTo>
                  <a:lnTo>
                    <a:pt x="439" y="1642"/>
                  </a:lnTo>
                  <a:lnTo>
                    <a:pt x="439" y="1744"/>
                  </a:lnTo>
                  <a:lnTo>
                    <a:pt x="512" y="1639"/>
                  </a:lnTo>
                  <a:lnTo>
                    <a:pt x="513" y="1638"/>
                  </a:lnTo>
                  <a:lnTo>
                    <a:pt x="516" y="1637"/>
                  </a:lnTo>
                  <a:lnTo>
                    <a:pt x="517" y="1637"/>
                  </a:lnTo>
                  <a:lnTo>
                    <a:pt x="519" y="1637"/>
                  </a:lnTo>
                  <a:lnTo>
                    <a:pt x="553" y="1637"/>
                  </a:lnTo>
                  <a:lnTo>
                    <a:pt x="556" y="1637"/>
                  </a:lnTo>
                  <a:lnTo>
                    <a:pt x="558" y="1638"/>
                  </a:lnTo>
                  <a:lnTo>
                    <a:pt x="559" y="1639"/>
                  </a:lnTo>
                  <a:lnTo>
                    <a:pt x="559" y="1640"/>
                  </a:lnTo>
                  <a:lnTo>
                    <a:pt x="559" y="1642"/>
                  </a:lnTo>
                  <a:lnTo>
                    <a:pt x="557" y="1646"/>
                  </a:lnTo>
                  <a:lnTo>
                    <a:pt x="480" y="1750"/>
                  </a:lnTo>
                  <a:lnTo>
                    <a:pt x="558" y="1865"/>
                  </a:lnTo>
                  <a:lnTo>
                    <a:pt x="559" y="1867"/>
                  </a:lnTo>
                  <a:lnTo>
                    <a:pt x="559" y="1869"/>
                  </a:lnTo>
                  <a:close/>
                  <a:moveTo>
                    <a:pt x="368" y="1710"/>
                  </a:moveTo>
                  <a:lnTo>
                    <a:pt x="368" y="1720"/>
                  </a:lnTo>
                  <a:lnTo>
                    <a:pt x="366" y="1729"/>
                  </a:lnTo>
                  <a:lnTo>
                    <a:pt x="364" y="1738"/>
                  </a:lnTo>
                  <a:lnTo>
                    <a:pt x="361" y="1745"/>
                  </a:lnTo>
                  <a:lnTo>
                    <a:pt x="357" y="1752"/>
                  </a:lnTo>
                  <a:lnTo>
                    <a:pt x="353" y="1757"/>
                  </a:lnTo>
                  <a:lnTo>
                    <a:pt x="347" y="1763"/>
                  </a:lnTo>
                  <a:lnTo>
                    <a:pt x="341" y="1767"/>
                  </a:lnTo>
                  <a:lnTo>
                    <a:pt x="336" y="1772"/>
                  </a:lnTo>
                  <a:lnTo>
                    <a:pt x="329" y="1775"/>
                  </a:lnTo>
                  <a:lnTo>
                    <a:pt x="322" y="1778"/>
                  </a:lnTo>
                  <a:lnTo>
                    <a:pt x="314" y="1780"/>
                  </a:lnTo>
                  <a:lnTo>
                    <a:pt x="298" y="1783"/>
                  </a:lnTo>
                  <a:lnTo>
                    <a:pt x="282" y="1783"/>
                  </a:lnTo>
                  <a:lnTo>
                    <a:pt x="275" y="1783"/>
                  </a:lnTo>
                  <a:lnTo>
                    <a:pt x="267" y="1783"/>
                  </a:lnTo>
                  <a:lnTo>
                    <a:pt x="260" y="1783"/>
                  </a:lnTo>
                  <a:lnTo>
                    <a:pt x="255" y="1782"/>
                  </a:lnTo>
                  <a:lnTo>
                    <a:pt x="255" y="1865"/>
                  </a:lnTo>
                  <a:lnTo>
                    <a:pt x="255" y="1867"/>
                  </a:lnTo>
                  <a:lnTo>
                    <a:pt x="254" y="1870"/>
                  </a:lnTo>
                  <a:lnTo>
                    <a:pt x="251" y="1871"/>
                  </a:lnTo>
                  <a:lnTo>
                    <a:pt x="249" y="1871"/>
                  </a:lnTo>
                  <a:lnTo>
                    <a:pt x="219" y="1871"/>
                  </a:lnTo>
                  <a:lnTo>
                    <a:pt x="217" y="1871"/>
                  </a:lnTo>
                  <a:lnTo>
                    <a:pt x="215" y="1870"/>
                  </a:lnTo>
                  <a:lnTo>
                    <a:pt x="214" y="1867"/>
                  </a:lnTo>
                  <a:lnTo>
                    <a:pt x="214" y="1865"/>
                  </a:lnTo>
                  <a:lnTo>
                    <a:pt x="214" y="1648"/>
                  </a:lnTo>
                  <a:lnTo>
                    <a:pt x="214" y="1644"/>
                  </a:lnTo>
                  <a:lnTo>
                    <a:pt x="216" y="1640"/>
                  </a:lnTo>
                  <a:lnTo>
                    <a:pt x="219" y="1639"/>
                  </a:lnTo>
                  <a:lnTo>
                    <a:pt x="223" y="1638"/>
                  </a:lnTo>
                  <a:lnTo>
                    <a:pt x="235" y="1637"/>
                  </a:lnTo>
                  <a:lnTo>
                    <a:pt x="250" y="1635"/>
                  </a:lnTo>
                  <a:lnTo>
                    <a:pt x="265" y="1635"/>
                  </a:lnTo>
                  <a:lnTo>
                    <a:pt x="282" y="1633"/>
                  </a:lnTo>
                  <a:lnTo>
                    <a:pt x="298" y="1635"/>
                  </a:lnTo>
                  <a:lnTo>
                    <a:pt x="314" y="1638"/>
                  </a:lnTo>
                  <a:lnTo>
                    <a:pt x="322" y="1639"/>
                  </a:lnTo>
                  <a:lnTo>
                    <a:pt x="329" y="1642"/>
                  </a:lnTo>
                  <a:lnTo>
                    <a:pt x="336" y="1646"/>
                  </a:lnTo>
                  <a:lnTo>
                    <a:pt x="341" y="1649"/>
                  </a:lnTo>
                  <a:lnTo>
                    <a:pt x="347" y="1654"/>
                  </a:lnTo>
                  <a:lnTo>
                    <a:pt x="353" y="1660"/>
                  </a:lnTo>
                  <a:lnTo>
                    <a:pt x="357" y="1665"/>
                  </a:lnTo>
                  <a:lnTo>
                    <a:pt x="361" y="1672"/>
                  </a:lnTo>
                  <a:lnTo>
                    <a:pt x="364" y="1680"/>
                  </a:lnTo>
                  <a:lnTo>
                    <a:pt x="366" y="1688"/>
                  </a:lnTo>
                  <a:lnTo>
                    <a:pt x="368" y="1697"/>
                  </a:lnTo>
                  <a:lnTo>
                    <a:pt x="368" y="1707"/>
                  </a:lnTo>
                  <a:lnTo>
                    <a:pt x="368" y="1710"/>
                  </a:lnTo>
                  <a:close/>
                  <a:moveTo>
                    <a:pt x="326" y="1707"/>
                  </a:moveTo>
                  <a:lnTo>
                    <a:pt x="326" y="1707"/>
                  </a:lnTo>
                  <a:lnTo>
                    <a:pt x="325" y="1698"/>
                  </a:lnTo>
                  <a:lnTo>
                    <a:pt x="323" y="1690"/>
                  </a:lnTo>
                  <a:lnTo>
                    <a:pt x="320" y="1683"/>
                  </a:lnTo>
                  <a:lnTo>
                    <a:pt x="315" y="1679"/>
                  </a:lnTo>
                  <a:lnTo>
                    <a:pt x="308" y="1675"/>
                  </a:lnTo>
                  <a:lnTo>
                    <a:pt x="301" y="1672"/>
                  </a:lnTo>
                  <a:lnTo>
                    <a:pt x="292" y="1671"/>
                  </a:lnTo>
                  <a:lnTo>
                    <a:pt x="281" y="1670"/>
                  </a:lnTo>
                  <a:lnTo>
                    <a:pt x="279" y="1671"/>
                  </a:lnTo>
                  <a:lnTo>
                    <a:pt x="275" y="1671"/>
                  </a:lnTo>
                  <a:lnTo>
                    <a:pt x="272" y="1671"/>
                  </a:lnTo>
                  <a:lnTo>
                    <a:pt x="267" y="1671"/>
                  </a:lnTo>
                  <a:lnTo>
                    <a:pt x="264" y="1671"/>
                  </a:lnTo>
                  <a:lnTo>
                    <a:pt x="260" y="1671"/>
                  </a:lnTo>
                  <a:lnTo>
                    <a:pt x="257" y="1671"/>
                  </a:lnTo>
                  <a:lnTo>
                    <a:pt x="255" y="1672"/>
                  </a:lnTo>
                  <a:lnTo>
                    <a:pt x="255" y="1747"/>
                  </a:lnTo>
                  <a:lnTo>
                    <a:pt x="257" y="1747"/>
                  </a:lnTo>
                  <a:lnTo>
                    <a:pt x="260" y="1747"/>
                  </a:lnTo>
                  <a:lnTo>
                    <a:pt x="264" y="1747"/>
                  </a:lnTo>
                  <a:lnTo>
                    <a:pt x="268" y="1747"/>
                  </a:lnTo>
                  <a:lnTo>
                    <a:pt x="272" y="1747"/>
                  </a:lnTo>
                  <a:lnTo>
                    <a:pt x="276" y="1748"/>
                  </a:lnTo>
                  <a:lnTo>
                    <a:pt x="279" y="1748"/>
                  </a:lnTo>
                  <a:lnTo>
                    <a:pt x="281" y="1748"/>
                  </a:lnTo>
                  <a:lnTo>
                    <a:pt x="292" y="1747"/>
                  </a:lnTo>
                  <a:lnTo>
                    <a:pt x="303" y="1746"/>
                  </a:lnTo>
                  <a:lnTo>
                    <a:pt x="309" y="1742"/>
                  </a:lnTo>
                  <a:lnTo>
                    <a:pt x="316" y="1738"/>
                  </a:lnTo>
                  <a:lnTo>
                    <a:pt x="321" y="1733"/>
                  </a:lnTo>
                  <a:lnTo>
                    <a:pt x="323" y="1727"/>
                  </a:lnTo>
                  <a:lnTo>
                    <a:pt x="325" y="1719"/>
                  </a:lnTo>
                  <a:lnTo>
                    <a:pt x="326" y="1710"/>
                  </a:lnTo>
                  <a:lnTo>
                    <a:pt x="326" y="1707"/>
                  </a:lnTo>
                  <a:close/>
                  <a:moveTo>
                    <a:pt x="185" y="1866"/>
                  </a:moveTo>
                  <a:lnTo>
                    <a:pt x="185" y="1869"/>
                  </a:lnTo>
                  <a:lnTo>
                    <a:pt x="184" y="1870"/>
                  </a:lnTo>
                  <a:lnTo>
                    <a:pt x="182" y="1871"/>
                  </a:lnTo>
                  <a:lnTo>
                    <a:pt x="179" y="1871"/>
                  </a:lnTo>
                  <a:lnTo>
                    <a:pt x="149" y="1871"/>
                  </a:lnTo>
                  <a:lnTo>
                    <a:pt x="146" y="1871"/>
                  </a:lnTo>
                  <a:lnTo>
                    <a:pt x="145" y="1870"/>
                  </a:lnTo>
                  <a:lnTo>
                    <a:pt x="143" y="1869"/>
                  </a:lnTo>
                  <a:lnTo>
                    <a:pt x="143" y="1866"/>
                  </a:lnTo>
                  <a:lnTo>
                    <a:pt x="129" y="1806"/>
                  </a:lnTo>
                  <a:lnTo>
                    <a:pt x="60" y="1806"/>
                  </a:lnTo>
                  <a:lnTo>
                    <a:pt x="46" y="1866"/>
                  </a:lnTo>
                  <a:lnTo>
                    <a:pt x="46" y="1869"/>
                  </a:lnTo>
                  <a:lnTo>
                    <a:pt x="45" y="1870"/>
                  </a:lnTo>
                  <a:lnTo>
                    <a:pt x="43" y="1871"/>
                  </a:lnTo>
                  <a:lnTo>
                    <a:pt x="40" y="1871"/>
                  </a:lnTo>
                  <a:lnTo>
                    <a:pt x="10" y="1871"/>
                  </a:lnTo>
                  <a:lnTo>
                    <a:pt x="7" y="1871"/>
                  </a:lnTo>
                  <a:lnTo>
                    <a:pt x="5" y="1870"/>
                  </a:lnTo>
                  <a:lnTo>
                    <a:pt x="4" y="1869"/>
                  </a:lnTo>
                  <a:lnTo>
                    <a:pt x="4" y="1866"/>
                  </a:lnTo>
                  <a:lnTo>
                    <a:pt x="4" y="1865"/>
                  </a:lnTo>
                  <a:lnTo>
                    <a:pt x="4" y="1865"/>
                  </a:lnTo>
                  <a:lnTo>
                    <a:pt x="4" y="1865"/>
                  </a:lnTo>
                  <a:lnTo>
                    <a:pt x="4" y="1864"/>
                  </a:lnTo>
                  <a:lnTo>
                    <a:pt x="53" y="1666"/>
                  </a:lnTo>
                  <a:lnTo>
                    <a:pt x="56" y="1656"/>
                  </a:lnTo>
                  <a:lnTo>
                    <a:pt x="61" y="1649"/>
                  </a:lnTo>
                  <a:lnTo>
                    <a:pt x="67" y="1644"/>
                  </a:lnTo>
                  <a:lnTo>
                    <a:pt x="72" y="1639"/>
                  </a:lnTo>
                  <a:lnTo>
                    <a:pt x="78" y="1637"/>
                  </a:lnTo>
                  <a:lnTo>
                    <a:pt x="84" y="1635"/>
                  </a:lnTo>
                  <a:lnTo>
                    <a:pt x="89" y="1635"/>
                  </a:lnTo>
                  <a:lnTo>
                    <a:pt x="95" y="1633"/>
                  </a:lnTo>
                  <a:lnTo>
                    <a:pt x="100" y="1635"/>
                  </a:lnTo>
                  <a:lnTo>
                    <a:pt x="105" y="1635"/>
                  </a:lnTo>
                  <a:lnTo>
                    <a:pt x="111" y="1637"/>
                  </a:lnTo>
                  <a:lnTo>
                    <a:pt x="118" y="1639"/>
                  </a:lnTo>
                  <a:lnTo>
                    <a:pt x="124" y="1644"/>
                  </a:lnTo>
                  <a:lnTo>
                    <a:pt x="128" y="1649"/>
                  </a:lnTo>
                  <a:lnTo>
                    <a:pt x="133" y="1656"/>
                  </a:lnTo>
                  <a:lnTo>
                    <a:pt x="136" y="1666"/>
                  </a:lnTo>
                  <a:lnTo>
                    <a:pt x="185" y="1864"/>
                  </a:lnTo>
                  <a:lnTo>
                    <a:pt x="185" y="1865"/>
                  </a:lnTo>
                  <a:lnTo>
                    <a:pt x="185" y="1865"/>
                  </a:lnTo>
                  <a:lnTo>
                    <a:pt x="185" y="1865"/>
                  </a:lnTo>
                  <a:lnTo>
                    <a:pt x="185" y="1866"/>
                  </a:lnTo>
                  <a:close/>
                  <a:moveTo>
                    <a:pt x="100" y="1677"/>
                  </a:moveTo>
                  <a:lnTo>
                    <a:pt x="100" y="1677"/>
                  </a:lnTo>
                  <a:lnTo>
                    <a:pt x="98" y="1673"/>
                  </a:lnTo>
                  <a:lnTo>
                    <a:pt x="97" y="1672"/>
                  </a:lnTo>
                  <a:lnTo>
                    <a:pt x="96" y="1671"/>
                  </a:lnTo>
                  <a:lnTo>
                    <a:pt x="95" y="1671"/>
                  </a:lnTo>
                  <a:lnTo>
                    <a:pt x="93" y="1671"/>
                  </a:lnTo>
                  <a:lnTo>
                    <a:pt x="92" y="1672"/>
                  </a:lnTo>
                  <a:lnTo>
                    <a:pt x="90" y="1673"/>
                  </a:lnTo>
                  <a:lnTo>
                    <a:pt x="89" y="1677"/>
                  </a:lnTo>
                  <a:lnTo>
                    <a:pt x="69" y="1770"/>
                  </a:lnTo>
                  <a:lnTo>
                    <a:pt x="121" y="1770"/>
                  </a:lnTo>
                  <a:lnTo>
                    <a:pt x="100" y="1677"/>
                  </a:lnTo>
                  <a:close/>
                  <a:moveTo>
                    <a:pt x="1047" y="103"/>
                  </a:moveTo>
                  <a:lnTo>
                    <a:pt x="1041" y="94"/>
                  </a:lnTo>
                  <a:lnTo>
                    <a:pt x="1036" y="85"/>
                  </a:lnTo>
                  <a:lnTo>
                    <a:pt x="1029" y="76"/>
                  </a:lnTo>
                  <a:lnTo>
                    <a:pt x="1022" y="68"/>
                  </a:lnTo>
                  <a:lnTo>
                    <a:pt x="1015" y="61"/>
                  </a:lnTo>
                  <a:lnTo>
                    <a:pt x="1007" y="54"/>
                  </a:lnTo>
                  <a:lnTo>
                    <a:pt x="999" y="47"/>
                  </a:lnTo>
                  <a:lnTo>
                    <a:pt x="991" y="42"/>
                  </a:lnTo>
                  <a:lnTo>
                    <a:pt x="973" y="30"/>
                  </a:lnTo>
                  <a:lnTo>
                    <a:pt x="954" y="21"/>
                  </a:lnTo>
                  <a:lnTo>
                    <a:pt x="932" y="14"/>
                  </a:lnTo>
                  <a:lnTo>
                    <a:pt x="910" y="9"/>
                  </a:lnTo>
                  <a:lnTo>
                    <a:pt x="886" y="4"/>
                  </a:lnTo>
                  <a:lnTo>
                    <a:pt x="863" y="2"/>
                  </a:lnTo>
                  <a:lnTo>
                    <a:pt x="840" y="0"/>
                  </a:lnTo>
                  <a:lnTo>
                    <a:pt x="814" y="0"/>
                  </a:lnTo>
                  <a:lnTo>
                    <a:pt x="789" y="0"/>
                  </a:lnTo>
                  <a:lnTo>
                    <a:pt x="765" y="0"/>
                  </a:lnTo>
                  <a:lnTo>
                    <a:pt x="744" y="1"/>
                  </a:lnTo>
                  <a:lnTo>
                    <a:pt x="723" y="3"/>
                  </a:lnTo>
                  <a:lnTo>
                    <a:pt x="700" y="4"/>
                  </a:lnTo>
                  <a:lnTo>
                    <a:pt x="680" y="6"/>
                  </a:lnTo>
                  <a:lnTo>
                    <a:pt x="663" y="8"/>
                  </a:lnTo>
                  <a:lnTo>
                    <a:pt x="647" y="10"/>
                  </a:lnTo>
                  <a:lnTo>
                    <a:pt x="639" y="11"/>
                  </a:lnTo>
                  <a:lnTo>
                    <a:pt x="633" y="13"/>
                  </a:lnTo>
                  <a:lnTo>
                    <a:pt x="627" y="16"/>
                  </a:lnTo>
                  <a:lnTo>
                    <a:pt x="623" y="19"/>
                  </a:lnTo>
                  <a:lnTo>
                    <a:pt x="618" y="22"/>
                  </a:lnTo>
                  <a:lnTo>
                    <a:pt x="615" y="28"/>
                  </a:lnTo>
                  <a:lnTo>
                    <a:pt x="614" y="35"/>
                  </a:lnTo>
                  <a:lnTo>
                    <a:pt x="613" y="42"/>
                  </a:lnTo>
                  <a:lnTo>
                    <a:pt x="613" y="581"/>
                  </a:lnTo>
                  <a:lnTo>
                    <a:pt x="613" y="586"/>
                  </a:lnTo>
                  <a:lnTo>
                    <a:pt x="615" y="590"/>
                  </a:lnTo>
                  <a:lnTo>
                    <a:pt x="617" y="595"/>
                  </a:lnTo>
                  <a:lnTo>
                    <a:pt x="619" y="598"/>
                  </a:lnTo>
                  <a:lnTo>
                    <a:pt x="624" y="602"/>
                  </a:lnTo>
                  <a:lnTo>
                    <a:pt x="627" y="604"/>
                  </a:lnTo>
                  <a:lnTo>
                    <a:pt x="632" y="605"/>
                  </a:lnTo>
                  <a:lnTo>
                    <a:pt x="637" y="605"/>
                  </a:lnTo>
                  <a:lnTo>
                    <a:pt x="722" y="605"/>
                  </a:lnTo>
                  <a:lnTo>
                    <a:pt x="728" y="605"/>
                  </a:lnTo>
                  <a:lnTo>
                    <a:pt x="731" y="603"/>
                  </a:lnTo>
                  <a:lnTo>
                    <a:pt x="736" y="602"/>
                  </a:lnTo>
                  <a:lnTo>
                    <a:pt x="739" y="598"/>
                  </a:lnTo>
                  <a:lnTo>
                    <a:pt x="743" y="595"/>
                  </a:lnTo>
                  <a:lnTo>
                    <a:pt x="744" y="590"/>
                  </a:lnTo>
                  <a:lnTo>
                    <a:pt x="746" y="586"/>
                  </a:lnTo>
                  <a:lnTo>
                    <a:pt x="746" y="581"/>
                  </a:lnTo>
                  <a:lnTo>
                    <a:pt x="746" y="403"/>
                  </a:lnTo>
                  <a:lnTo>
                    <a:pt x="756" y="403"/>
                  </a:lnTo>
                  <a:lnTo>
                    <a:pt x="778" y="404"/>
                  </a:lnTo>
                  <a:lnTo>
                    <a:pt x="801" y="405"/>
                  </a:lnTo>
                  <a:lnTo>
                    <a:pt x="814" y="405"/>
                  </a:lnTo>
                  <a:lnTo>
                    <a:pt x="838" y="405"/>
                  </a:lnTo>
                  <a:lnTo>
                    <a:pt x="862" y="403"/>
                  </a:lnTo>
                  <a:lnTo>
                    <a:pt x="886" y="401"/>
                  </a:lnTo>
                  <a:lnTo>
                    <a:pt x="910" y="396"/>
                  </a:lnTo>
                  <a:lnTo>
                    <a:pt x="932" y="391"/>
                  </a:lnTo>
                  <a:lnTo>
                    <a:pt x="952" y="383"/>
                  </a:lnTo>
                  <a:lnTo>
                    <a:pt x="973" y="373"/>
                  </a:lnTo>
                  <a:lnTo>
                    <a:pt x="990" y="362"/>
                  </a:lnTo>
                  <a:lnTo>
                    <a:pt x="999" y="356"/>
                  </a:lnTo>
                  <a:lnTo>
                    <a:pt x="1007" y="350"/>
                  </a:lnTo>
                  <a:lnTo>
                    <a:pt x="1015" y="343"/>
                  </a:lnTo>
                  <a:lnTo>
                    <a:pt x="1022" y="336"/>
                  </a:lnTo>
                  <a:lnTo>
                    <a:pt x="1029" y="328"/>
                  </a:lnTo>
                  <a:lnTo>
                    <a:pt x="1036" y="319"/>
                  </a:lnTo>
                  <a:lnTo>
                    <a:pt x="1041" y="310"/>
                  </a:lnTo>
                  <a:lnTo>
                    <a:pt x="1047" y="301"/>
                  </a:lnTo>
                  <a:lnTo>
                    <a:pt x="1053" y="289"/>
                  </a:lnTo>
                  <a:lnTo>
                    <a:pt x="1057" y="277"/>
                  </a:lnTo>
                  <a:lnTo>
                    <a:pt x="1061" y="266"/>
                  </a:lnTo>
                  <a:lnTo>
                    <a:pt x="1064" y="253"/>
                  </a:lnTo>
                  <a:lnTo>
                    <a:pt x="1066" y="241"/>
                  </a:lnTo>
                  <a:lnTo>
                    <a:pt x="1069" y="227"/>
                  </a:lnTo>
                  <a:lnTo>
                    <a:pt x="1070" y="214"/>
                  </a:lnTo>
                  <a:lnTo>
                    <a:pt x="1070" y="201"/>
                  </a:lnTo>
                  <a:lnTo>
                    <a:pt x="1070" y="188"/>
                  </a:lnTo>
                  <a:lnTo>
                    <a:pt x="1069" y="175"/>
                  </a:lnTo>
                  <a:lnTo>
                    <a:pt x="1066" y="162"/>
                  </a:lnTo>
                  <a:lnTo>
                    <a:pt x="1064" y="150"/>
                  </a:lnTo>
                  <a:lnTo>
                    <a:pt x="1061" y="137"/>
                  </a:lnTo>
                  <a:lnTo>
                    <a:pt x="1057" y="126"/>
                  </a:lnTo>
                  <a:lnTo>
                    <a:pt x="1053" y="114"/>
                  </a:lnTo>
                  <a:lnTo>
                    <a:pt x="1047" y="103"/>
                  </a:lnTo>
                  <a:close/>
                  <a:moveTo>
                    <a:pt x="746" y="112"/>
                  </a:moveTo>
                  <a:lnTo>
                    <a:pt x="746" y="112"/>
                  </a:lnTo>
                  <a:lnTo>
                    <a:pt x="756" y="111"/>
                  </a:lnTo>
                  <a:lnTo>
                    <a:pt x="779" y="111"/>
                  </a:lnTo>
                  <a:lnTo>
                    <a:pt x="802" y="110"/>
                  </a:lnTo>
                  <a:lnTo>
                    <a:pt x="814" y="109"/>
                  </a:lnTo>
                  <a:lnTo>
                    <a:pt x="829" y="110"/>
                  </a:lnTo>
                  <a:lnTo>
                    <a:pt x="843" y="110"/>
                  </a:lnTo>
                  <a:lnTo>
                    <a:pt x="857" y="112"/>
                  </a:lnTo>
                  <a:lnTo>
                    <a:pt x="868" y="114"/>
                  </a:lnTo>
                  <a:lnTo>
                    <a:pt x="879" y="117"/>
                  </a:lnTo>
                  <a:lnTo>
                    <a:pt x="889" y="121"/>
                  </a:lnTo>
                  <a:lnTo>
                    <a:pt x="898" y="125"/>
                  </a:lnTo>
                  <a:lnTo>
                    <a:pt x="906" y="130"/>
                  </a:lnTo>
                  <a:lnTo>
                    <a:pt x="914" y="136"/>
                  </a:lnTo>
                  <a:lnTo>
                    <a:pt x="920" y="144"/>
                  </a:lnTo>
                  <a:lnTo>
                    <a:pt x="926" y="152"/>
                  </a:lnTo>
                  <a:lnTo>
                    <a:pt x="931" y="161"/>
                  </a:lnTo>
                  <a:lnTo>
                    <a:pt x="934" y="170"/>
                  </a:lnTo>
                  <a:lnTo>
                    <a:pt x="936" y="180"/>
                  </a:lnTo>
                  <a:lnTo>
                    <a:pt x="938" y="191"/>
                  </a:lnTo>
                  <a:lnTo>
                    <a:pt x="939" y="201"/>
                  </a:lnTo>
                  <a:lnTo>
                    <a:pt x="938" y="212"/>
                  </a:lnTo>
                  <a:lnTo>
                    <a:pt x="936" y="222"/>
                  </a:lnTo>
                  <a:lnTo>
                    <a:pt x="934" y="233"/>
                  </a:lnTo>
                  <a:lnTo>
                    <a:pt x="931" y="242"/>
                  </a:lnTo>
                  <a:lnTo>
                    <a:pt x="926" y="251"/>
                  </a:lnTo>
                  <a:lnTo>
                    <a:pt x="920" y="260"/>
                  </a:lnTo>
                  <a:lnTo>
                    <a:pt x="915" y="268"/>
                  </a:lnTo>
                  <a:lnTo>
                    <a:pt x="908" y="275"/>
                  </a:lnTo>
                  <a:lnTo>
                    <a:pt x="900" y="279"/>
                  </a:lnTo>
                  <a:lnTo>
                    <a:pt x="892" y="284"/>
                  </a:lnTo>
                  <a:lnTo>
                    <a:pt x="882" y="288"/>
                  </a:lnTo>
                  <a:lnTo>
                    <a:pt x="871" y="292"/>
                  </a:lnTo>
                  <a:lnTo>
                    <a:pt x="859" y="294"/>
                  </a:lnTo>
                  <a:lnTo>
                    <a:pt x="845" y="295"/>
                  </a:lnTo>
                  <a:lnTo>
                    <a:pt x="830" y="296"/>
                  </a:lnTo>
                  <a:lnTo>
                    <a:pt x="814" y="297"/>
                  </a:lnTo>
                  <a:lnTo>
                    <a:pt x="802" y="296"/>
                  </a:lnTo>
                  <a:lnTo>
                    <a:pt x="779" y="296"/>
                  </a:lnTo>
                  <a:lnTo>
                    <a:pt x="756" y="295"/>
                  </a:lnTo>
                  <a:lnTo>
                    <a:pt x="746" y="294"/>
                  </a:lnTo>
                  <a:lnTo>
                    <a:pt x="746" y="112"/>
                  </a:lnTo>
                  <a:close/>
                  <a:moveTo>
                    <a:pt x="2795" y="19"/>
                  </a:moveTo>
                  <a:lnTo>
                    <a:pt x="2789" y="16"/>
                  </a:lnTo>
                  <a:lnTo>
                    <a:pt x="2782" y="12"/>
                  </a:lnTo>
                  <a:lnTo>
                    <a:pt x="2777" y="11"/>
                  </a:lnTo>
                  <a:lnTo>
                    <a:pt x="2771" y="10"/>
                  </a:lnTo>
                  <a:lnTo>
                    <a:pt x="2753" y="8"/>
                  </a:lnTo>
                  <a:lnTo>
                    <a:pt x="2733" y="5"/>
                  </a:lnTo>
                  <a:lnTo>
                    <a:pt x="2714" y="4"/>
                  </a:lnTo>
                  <a:lnTo>
                    <a:pt x="2693" y="3"/>
                  </a:lnTo>
                  <a:lnTo>
                    <a:pt x="2669" y="1"/>
                  </a:lnTo>
                  <a:lnTo>
                    <a:pt x="2645" y="0"/>
                  </a:lnTo>
                  <a:lnTo>
                    <a:pt x="2622" y="0"/>
                  </a:lnTo>
                  <a:lnTo>
                    <a:pt x="2598" y="0"/>
                  </a:lnTo>
                  <a:lnTo>
                    <a:pt x="2575" y="1"/>
                  </a:lnTo>
                  <a:lnTo>
                    <a:pt x="2552" y="2"/>
                  </a:lnTo>
                  <a:lnTo>
                    <a:pt x="2529" y="5"/>
                  </a:lnTo>
                  <a:lnTo>
                    <a:pt x="2508" y="9"/>
                  </a:lnTo>
                  <a:lnTo>
                    <a:pt x="2485" y="14"/>
                  </a:lnTo>
                  <a:lnTo>
                    <a:pt x="2464" y="22"/>
                  </a:lnTo>
                  <a:lnTo>
                    <a:pt x="2445" y="30"/>
                  </a:lnTo>
                  <a:lnTo>
                    <a:pt x="2427" y="41"/>
                  </a:lnTo>
                  <a:lnTo>
                    <a:pt x="2419" y="46"/>
                  </a:lnTo>
                  <a:lnTo>
                    <a:pt x="2411" y="53"/>
                  </a:lnTo>
                  <a:lnTo>
                    <a:pt x="2403" y="60"/>
                  </a:lnTo>
                  <a:lnTo>
                    <a:pt x="2396" y="67"/>
                  </a:lnTo>
                  <a:lnTo>
                    <a:pt x="2389" y="75"/>
                  </a:lnTo>
                  <a:lnTo>
                    <a:pt x="2382" y="84"/>
                  </a:lnTo>
                  <a:lnTo>
                    <a:pt x="2376" y="92"/>
                  </a:lnTo>
                  <a:lnTo>
                    <a:pt x="2371" y="101"/>
                  </a:lnTo>
                  <a:lnTo>
                    <a:pt x="2365" y="112"/>
                  </a:lnTo>
                  <a:lnTo>
                    <a:pt x="2360" y="124"/>
                  </a:lnTo>
                  <a:lnTo>
                    <a:pt x="2356" y="136"/>
                  </a:lnTo>
                  <a:lnTo>
                    <a:pt x="2352" y="150"/>
                  </a:lnTo>
                  <a:lnTo>
                    <a:pt x="2350" y="163"/>
                  </a:lnTo>
                  <a:lnTo>
                    <a:pt x="2348" y="177"/>
                  </a:lnTo>
                  <a:lnTo>
                    <a:pt x="2347" y="191"/>
                  </a:lnTo>
                  <a:lnTo>
                    <a:pt x="2347" y="205"/>
                  </a:lnTo>
                  <a:lnTo>
                    <a:pt x="2348" y="219"/>
                  </a:lnTo>
                  <a:lnTo>
                    <a:pt x="2350" y="234"/>
                  </a:lnTo>
                  <a:lnTo>
                    <a:pt x="2352" y="247"/>
                  </a:lnTo>
                  <a:lnTo>
                    <a:pt x="2357" y="261"/>
                  </a:lnTo>
                  <a:lnTo>
                    <a:pt x="2362" y="275"/>
                  </a:lnTo>
                  <a:lnTo>
                    <a:pt x="2367" y="288"/>
                  </a:lnTo>
                  <a:lnTo>
                    <a:pt x="2374" y="301"/>
                  </a:lnTo>
                  <a:lnTo>
                    <a:pt x="2382" y="313"/>
                  </a:lnTo>
                  <a:lnTo>
                    <a:pt x="2390" y="322"/>
                  </a:lnTo>
                  <a:lnTo>
                    <a:pt x="2399" y="331"/>
                  </a:lnTo>
                  <a:lnTo>
                    <a:pt x="2408" y="339"/>
                  </a:lnTo>
                  <a:lnTo>
                    <a:pt x="2417" y="347"/>
                  </a:lnTo>
                  <a:lnTo>
                    <a:pt x="2428" y="355"/>
                  </a:lnTo>
                  <a:lnTo>
                    <a:pt x="2438" y="361"/>
                  </a:lnTo>
                  <a:lnTo>
                    <a:pt x="2449" y="368"/>
                  </a:lnTo>
                  <a:lnTo>
                    <a:pt x="2462" y="372"/>
                  </a:lnTo>
                  <a:lnTo>
                    <a:pt x="2333" y="577"/>
                  </a:lnTo>
                  <a:lnTo>
                    <a:pt x="2331" y="581"/>
                  </a:lnTo>
                  <a:lnTo>
                    <a:pt x="2330" y="588"/>
                  </a:lnTo>
                  <a:lnTo>
                    <a:pt x="2330" y="592"/>
                  </a:lnTo>
                  <a:lnTo>
                    <a:pt x="2331" y="595"/>
                  </a:lnTo>
                  <a:lnTo>
                    <a:pt x="2333" y="598"/>
                  </a:lnTo>
                  <a:lnTo>
                    <a:pt x="2335" y="601"/>
                  </a:lnTo>
                  <a:lnTo>
                    <a:pt x="2338" y="603"/>
                  </a:lnTo>
                  <a:lnTo>
                    <a:pt x="2341" y="604"/>
                  </a:lnTo>
                  <a:lnTo>
                    <a:pt x="2344" y="605"/>
                  </a:lnTo>
                  <a:lnTo>
                    <a:pt x="2348" y="605"/>
                  </a:lnTo>
                  <a:lnTo>
                    <a:pt x="2452" y="605"/>
                  </a:lnTo>
                  <a:lnTo>
                    <a:pt x="2456" y="605"/>
                  </a:lnTo>
                  <a:lnTo>
                    <a:pt x="2461" y="603"/>
                  </a:lnTo>
                  <a:lnTo>
                    <a:pt x="2465" y="601"/>
                  </a:lnTo>
                  <a:lnTo>
                    <a:pt x="2469" y="597"/>
                  </a:lnTo>
                  <a:lnTo>
                    <a:pt x="2471" y="592"/>
                  </a:lnTo>
                  <a:lnTo>
                    <a:pt x="2474" y="587"/>
                  </a:lnTo>
                  <a:lnTo>
                    <a:pt x="2595" y="397"/>
                  </a:lnTo>
                  <a:lnTo>
                    <a:pt x="2598" y="397"/>
                  </a:lnTo>
                  <a:lnTo>
                    <a:pt x="2606" y="398"/>
                  </a:lnTo>
                  <a:lnTo>
                    <a:pt x="2618" y="398"/>
                  </a:lnTo>
                  <a:lnTo>
                    <a:pt x="2632" y="398"/>
                  </a:lnTo>
                  <a:lnTo>
                    <a:pt x="2647" y="397"/>
                  </a:lnTo>
                  <a:lnTo>
                    <a:pt x="2659" y="396"/>
                  </a:lnTo>
                  <a:lnTo>
                    <a:pt x="2667" y="395"/>
                  </a:lnTo>
                  <a:lnTo>
                    <a:pt x="2671" y="395"/>
                  </a:lnTo>
                  <a:lnTo>
                    <a:pt x="2671" y="581"/>
                  </a:lnTo>
                  <a:lnTo>
                    <a:pt x="2672" y="586"/>
                  </a:lnTo>
                  <a:lnTo>
                    <a:pt x="2673" y="590"/>
                  </a:lnTo>
                  <a:lnTo>
                    <a:pt x="2675" y="594"/>
                  </a:lnTo>
                  <a:lnTo>
                    <a:pt x="2677" y="597"/>
                  </a:lnTo>
                  <a:lnTo>
                    <a:pt x="2681" y="601"/>
                  </a:lnTo>
                  <a:lnTo>
                    <a:pt x="2685" y="603"/>
                  </a:lnTo>
                  <a:lnTo>
                    <a:pt x="2690" y="605"/>
                  </a:lnTo>
                  <a:lnTo>
                    <a:pt x="2695" y="605"/>
                  </a:lnTo>
                  <a:lnTo>
                    <a:pt x="2780" y="605"/>
                  </a:lnTo>
                  <a:lnTo>
                    <a:pt x="2785" y="605"/>
                  </a:lnTo>
                  <a:lnTo>
                    <a:pt x="2789" y="603"/>
                  </a:lnTo>
                  <a:lnTo>
                    <a:pt x="2794" y="601"/>
                  </a:lnTo>
                  <a:lnTo>
                    <a:pt x="2797" y="598"/>
                  </a:lnTo>
                  <a:lnTo>
                    <a:pt x="2801" y="594"/>
                  </a:lnTo>
                  <a:lnTo>
                    <a:pt x="2803" y="590"/>
                  </a:lnTo>
                  <a:lnTo>
                    <a:pt x="2804" y="586"/>
                  </a:lnTo>
                  <a:lnTo>
                    <a:pt x="2805" y="581"/>
                  </a:lnTo>
                  <a:lnTo>
                    <a:pt x="2805" y="43"/>
                  </a:lnTo>
                  <a:lnTo>
                    <a:pt x="2804" y="35"/>
                  </a:lnTo>
                  <a:lnTo>
                    <a:pt x="2802" y="28"/>
                  </a:lnTo>
                  <a:lnTo>
                    <a:pt x="2798" y="22"/>
                  </a:lnTo>
                  <a:lnTo>
                    <a:pt x="2795" y="19"/>
                  </a:lnTo>
                  <a:close/>
                  <a:moveTo>
                    <a:pt x="2671" y="114"/>
                  </a:moveTo>
                  <a:lnTo>
                    <a:pt x="2671" y="114"/>
                  </a:lnTo>
                  <a:lnTo>
                    <a:pt x="2671" y="287"/>
                  </a:lnTo>
                  <a:lnTo>
                    <a:pt x="2665" y="288"/>
                  </a:lnTo>
                  <a:lnTo>
                    <a:pt x="2648" y="289"/>
                  </a:lnTo>
                  <a:lnTo>
                    <a:pt x="2624" y="292"/>
                  </a:lnTo>
                  <a:lnTo>
                    <a:pt x="2594" y="291"/>
                  </a:lnTo>
                  <a:lnTo>
                    <a:pt x="2565" y="288"/>
                  </a:lnTo>
                  <a:lnTo>
                    <a:pt x="2543" y="285"/>
                  </a:lnTo>
                  <a:lnTo>
                    <a:pt x="2534" y="281"/>
                  </a:lnTo>
                  <a:lnTo>
                    <a:pt x="2525" y="278"/>
                  </a:lnTo>
                  <a:lnTo>
                    <a:pt x="2518" y="275"/>
                  </a:lnTo>
                  <a:lnTo>
                    <a:pt x="2511" y="270"/>
                  </a:lnTo>
                  <a:lnTo>
                    <a:pt x="2503" y="264"/>
                  </a:lnTo>
                  <a:lnTo>
                    <a:pt x="2497" y="258"/>
                  </a:lnTo>
                  <a:lnTo>
                    <a:pt x="2493" y="250"/>
                  </a:lnTo>
                  <a:lnTo>
                    <a:pt x="2488" y="241"/>
                  </a:lnTo>
                  <a:lnTo>
                    <a:pt x="2486" y="231"/>
                  </a:lnTo>
                  <a:lnTo>
                    <a:pt x="2484" y="221"/>
                  </a:lnTo>
                  <a:lnTo>
                    <a:pt x="2482" y="211"/>
                  </a:lnTo>
                  <a:lnTo>
                    <a:pt x="2481" y="201"/>
                  </a:lnTo>
                  <a:lnTo>
                    <a:pt x="2482" y="189"/>
                  </a:lnTo>
                  <a:lnTo>
                    <a:pt x="2484" y="179"/>
                  </a:lnTo>
                  <a:lnTo>
                    <a:pt x="2486" y="170"/>
                  </a:lnTo>
                  <a:lnTo>
                    <a:pt x="2489" y="160"/>
                  </a:lnTo>
                  <a:lnTo>
                    <a:pt x="2494" y="152"/>
                  </a:lnTo>
                  <a:lnTo>
                    <a:pt x="2498" y="144"/>
                  </a:lnTo>
                  <a:lnTo>
                    <a:pt x="2504" y="137"/>
                  </a:lnTo>
                  <a:lnTo>
                    <a:pt x="2511" y="131"/>
                  </a:lnTo>
                  <a:lnTo>
                    <a:pt x="2520" y="127"/>
                  </a:lnTo>
                  <a:lnTo>
                    <a:pt x="2528" y="124"/>
                  </a:lnTo>
                  <a:lnTo>
                    <a:pt x="2538" y="120"/>
                  </a:lnTo>
                  <a:lnTo>
                    <a:pt x="2550" y="117"/>
                  </a:lnTo>
                  <a:lnTo>
                    <a:pt x="2561" y="114"/>
                  </a:lnTo>
                  <a:lnTo>
                    <a:pt x="2575" y="113"/>
                  </a:lnTo>
                  <a:lnTo>
                    <a:pt x="2588" y="112"/>
                  </a:lnTo>
                  <a:lnTo>
                    <a:pt x="2603" y="112"/>
                  </a:lnTo>
                  <a:lnTo>
                    <a:pt x="2634" y="112"/>
                  </a:lnTo>
                  <a:lnTo>
                    <a:pt x="2656" y="113"/>
                  </a:lnTo>
                  <a:lnTo>
                    <a:pt x="2667" y="114"/>
                  </a:lnTo>
                  <a:lnTo>
                    <a:pt x="2671" y="114"/>
                  </a:lnTo>
                  <a:close/>
                  <a:moveTo>
                    <a:pt x="2219" y="18"/>
                  </a:moveTo>
                  <a:lnTo>
                    <a:pt x="2213" y="12"/>
                  </a:lnTo>
                  <a:lnTo>
                    <a:pt x="2207" y="9"/>
                  </a:lnTo>
                  <a:lnTo>
                    <a:pt x="2199" y="6"/>
                  </a:lnTo>
                  <a:lnTo>
                    <a:pt x="2189" y="6"/>
                  </a:lnTo>
                  <a:lnTo>
                    <a:pt x="2120" y="6"/>
                  </a:lnTo>
                  <a:lnTo>
                    <a:pt x="2112" y="6"/>
                  </a:lnTo>
                  <a:lnTo>
                    <a:pt x="2104" y="9"/>
                  </a:lnTo>
                  <a:lnTo>
                    <a:pt x="2098" y="12"/>
                  </a:lnTo>
                  <a:lnTo>
                    <a:pt x="2093" y="16"/>
                  </a:lnTo>
                  <a:lnTo>
                    <a:pt x="2086" y="24"/>
                  </a:lnTo>
                  <a:lnTo>
                    <a:pt x="2082" y="29"/>
                  </a:lnTo>
                  <a:lnTo>
                    <a:pt x="2077" y="41"/>
                  </a:lnTo>
                  <a:lnTo>
                    <a:pt x="2062" y="70"/>
                  </a:lnTo>
                  <a:lnTo>
                    <a:pt x="2040" y="111"/>
                  </a:lnTo>
                  <a:lnTo>
                    <a:pt x="2016" y="158"/>
                  </a:lnTo>
                  <a:lnTo>
                    <a:pt x="1992" y="205"/>
                  </a:lnTo>
                  <a:lnTo>
                    <a:pt x="1972" y="246"/>
                  </a:lnTo>
                  <a:lnTo>
                    <a:pt x="1957" y="276"/>
                  </a:lnTo>
                  <a:lnTo>
                    <a:pt x="1950" y="287"/>
                  </a:lnTo>
                  <a:lnTo>
                    <a:pt x="1944" y="276"/>
                  </a:lnTo>
                  <a:lnTo>
                    <a:pt x="1929" y="246"/>
                  </a:lnTo>
                  <a:lnTo>
                    <a:pt x="1909" y="205"/>
                  </a:lnTo>
                  <a:lnTo>
                    <a:pt x="1885" y="159"/>
                  </a:lnTo>
                  <a:lnTo>
                    <a:pt x="1860" y="111"/>
                  </a:lnTo>
                  <a:lnTo>
                    <a:pt x="1839" y="70"/>
                  </a:lnTo>
                  <a:lnTo>
                    <a:pt x="1825" y="41"/>
                  </a:lnTo>
                  <a:lnTo>
                    <a:pt x="1819" y="30"/>
                  </a:lnTo>
                  <a:lnTo>
                    <a:pt x="1815" y="24"/>
                  </a:lnTo>
                  <a:lnTo>
                    <a:pt x="1807" y="16"/>
                  </a:lnTo>
                  <a:lnTo>
                    <a:pt x="1803" y="12"/>
                  </a:lnTo>
                  <a:lnTo>
                    <a:pt x="1796" y="9"/>
                  </a:lnTo>
                  <a:lnTo>
                    <a:pt x="1789" y="6"/>
                  </a:lnTo>
                  <a:lnTo>
                    <a:pt x="1781" y="6"/>
                  </a:lnTo>
                  <a:lnTo>
                    <a:pt x="1711" y="6"/>
                  </a:lnTo>
                  <a:lnTo>
                    <a:pt x="1703" y="6"/>
                  </a:lnTo>
                  <a:lnTo>
                    <a:pt x="1695" y="9"/>
                  </a:lnTo>
                  <a:lnTo>
                    <a:pt x="1688" y="12"/>
                  </a:lnTo>
                  <a:lnTo>
                    <a:pt x="1682" y="18"/>
                  </a:lnTo>
                  <a:lnTo>
                    <a:pt x="1676" y="24"/>
                  </a:lnTo>
                  <a:lnTo>
                    <a:pt x="1673" y="30"/>
                  </a:lnTo>
                  <a:lnTo>
                    <a:pt x="1671" y="38"/>
                  </a:lnTo>
                  <a:lnTo>
                    <a:pt x="1670" y="46"/>
                  </a:lnTo>
                  <a:lnTo>
                    <a:pt x="1670" y="586"/>
                  </a:lnTo>
                  <a:lnTo>
                    <a:pt x="1671" y="592"/>
                  </a:lnTo>
                  <a:lnTo>
                    <a:pt x="1672" y="596"/>
                  </a:lnTo>
                  <a:lnTo>
                    <a:pt x="1675" y="600"/>
                  </a:lnTo>
                  <a:lnTo>
                    <a:pt x="1678" y="601"/>
                  </a:lnTo>
                  <a:lnTo>
                    <a:pt x="1684" y="604"/>
                  </a:lnTo>
                  <a:lnTo>
                    <a:pt x="1691" y="605"/>
                  </a:lnTo>
                  <a:lnTo>
                    <a:pt x="1778" y="605"/>
                  </a:lnTo>
                  <a:lnTo>
                    <a:pt x="1782" y="605"/>
                  </a:lnTo>
                  <a:lnTo>
                    <a:pt x="1786" y="603"/>
                  </a:lnTo>
                  <a:lnTo>
                    <a:pt x="1789" y="601"/>
                  </a:lnTo>
                  <a:lnTo>
                    <a:pt x="1793" y="597"/>
                  </a:lnTo>
                  <a:lnTo>
                    <a:pt x="1795" y="594"/>
                  </a:lnTo>
                  <a:lnTo>
                    <a:pt x="1797" y="590"/>
                  </a:lnTo>
                  <a:lnTo>
                    <a:pt x="1798" y="586"/>
                  </a:lnTo>
                  <a:lnTo>
                    <a:pt x="1798" y="581"/>
                  </a:lnTo>
                  <a:lnTo>
                    <a:pt x="1798" y="247"/>
                  </a:lnTo>
                  <a:lnTo>
                    <a:pt x="1801" y="247"/>
                  </a:lnTo>
                  <a:lnTo>
                    <a:pt x="1875" y="385"/>
                  </a:lnTo>
                  <a:lnTo>
                    <a:pt x="1882" y="393"/>
                  </a:lnTo>
                  <a:lnTo>
                    <a:pt x="1888" y="397"/>
                  </a:lnTo>
                  <a:lnTo>
                    <a:pt x="1893" y="400"/>
                  </a:lnTo>
                  <a:lnTo>
                    <a:pt x="1898" y="402"/>
                  </a:lnTo>
                  <a:lnTo>
                    <a:pt x="1903" y="402"/>
                  </a:lnTo>
                  <a:lnTo>
                    <a:pt x="1908" y="403"/>
                  </a:lnTo>
                  <a:lnTo>
                    <a:pt x="1993" y="403"/>
                  </a:lnTo>
                  <a:lnTo>
                    <a:pt x="1999" y="402"/>
                  </a:lnTo>
                  <a:lnTo>
                    <a:pt x="2005" y="401"/>
                  </a:lnTo>
                  <a:lnTo>
                    <a:pt x="2009" y="400"/>
                  </a:lnTo>
                  <a:lnTo>
                    <a:pt x="2013" y="397"/>
                  </a:lnTo>
                  <a:lnTo>
                    <a:pt x="2017" y="395"/>
                  </a:lnTo>
                  <a:lnTo>
                    <a:pt x="2022" y="392"/>
                  </a:lnTo>
                  <a:lnTo>
                    <a:pt x="2025" y="388"/>
                  </a:lnTo>
                  <a:lnTo>
                    <a:pt x="2028" y="385"/>
                  </a:lnTo>
                  <a:lnTo>
                    <a:pt x="2099" y="247"/>
                  </a:lnTo>
                  <a:lnTo>
                    <a:pt x="2103" y="247"/>
                  </a:lnTo>
                  <a:lnTo>
                    <a:pt x="2103" y="581"/>
                  </a:lnTo>
                  <a:lnTo>
                    <a:pt x="2103" y="586"/>
                  </a:lnTo>
                  <a:lnTo>
                    <a:pt x="2104" y="590"/>
                  </a:lnTo>
                  <a:lnTo>
                    <a:pt x="2105" y="594"/>
                  </a:lnTo>
                  <a:lnTo>
                    <a:pt x="2107" y="597"/>
                  </a:lnTo>
                  <a:lnTo>
                    <a:pt x="2111" y="601"/>
                  </a:lnTo>
                  <a:lnTo>
                    <a:pt x="2115" y="603"/>
                  </a:lnTo>
                  <a:lnTo>
                    <a:pt x="2119" y="605"/>
                  </a:lnTo>
                  <a:lnTo>
                    <a:pt x="2123" y="605"/>
                  </a:lnTo>
                  <a:lnTo>
                    <a:pt x="2210" y="605"/>
                  </a:lnTo>
                  <a:lnTo>
                    <a:pt x="2213" y="605"/>
                  </a:lnTo>
                  <a:lnTo>
                    <a:pt x="2217" y="604"/>
                  </a:lnTo>
                  <a:lnTo>
                    <a:pt x="2220" y="603"/>
                  </a:lnTo>
                  <a:lnTo>
                    <a:pt x="2224" y="601"/>
                  </a:lnTo>
                  <a:lnTo>
                    <a:pt x="2227" y="598"/>
                  </a:lnTo>
                  <a:lnTo>
                    <a:pt x="2229" y="595"/>
                  </a:lnTo>
                  <a:lnTo>
                    <a:pt x="2230" y="590"/>
                  </a:lnTo>
                  <a:lnTo>
                    <a:pt x="2232" y="586"/>
                  </a:lnTo>
                  <a:lnTo>
                    <a:pt x="2232" y="46"/>
                  </a:lnTo>
                  <a:lnTo>
                    <a:pt x="2230" y="38"/>
                  </a:lnTo>
                  <a:lnTo>
                    <a:pt x="2228" y="30"/>
                  </a:lnTo>
                  <a:lnTo>
                    <a:pt x="2225" y="24"/>
                  </a:lnTo>
                  <a:lnTo>
                    <a:pt x="2219" y="18"/>
                  </a:lnTo>
                  <a:close/>
                  <a:moveTo>
                    <a:pt x="1300" y="125"/>
                  </a:moveTo>
                  <a:lnTo>
                    <a:pt x="1304" y="122"/>
                  </a:lnTo>
                  <a:lnTo>
                    <a:pt x="1308" y="119"/>
                  </a:lnTo>
                  <a:lnTo>
                    <a:pt x="1313" y="117"/>
                  </a:lnTo>
                  <a:lnTo>
                    <a:pt x="1318" y="116"/>
                  </a:lnTo>
                  <a:lnTo>
                    <a:pt x="1332" y="113"/>
                  </a:lnTo>
                  <a:lnTo>
                    <a:pt x="1347" y="112"/>
                  </a:lnTo>
                  <a:lnTo>
                    <a:pt x="1521" y="112"/>
                  </a:lnTo>
                  <a:lnTo>
                    <a:pt x="1526" y="112"/>
                  </a:lnTo>
                  <a:lnTo>
                    <a:pt x="1530" y="110"/>
                  </a:lnTo>
                  <a:lnTo>
                    <a:pt x="1535" y="108"/>
                  </a:lnTo>
                  <a:lnTo>
                    <a:pt x="1538" y="105"/>
                  </a:lnTo>
                  <a:lnTo>
                    <a:pt x="1542" y="101"/>
                  </a:lnTo>
                  <a:lnTo>
                    <a:pt x="1544" y="97"/>
                  </a:lnTo>
                  <a:lnTo>
                    <a:pt x="1545" y="93"/>
                  </a:lnTo>
                  <a:lnTo>
                    <a:pt x="1545" y="88"/>
                  </a:lnTo>
                  <a:lnTo>
                    <a:pt x="1545" y="36"/>
                  </a:lnTo>
                  <a:lnTo>
                    <a:pt x="1545" y="30"/>
                  </a:lnTo>
                  <a:lnTo>
                    <a:pt x="1544" y="26"/>
                  </a:lnTo>
                  <a:lnTo>
                    <a:pt x="1543" y="21"/>
                  </a:lnTo>
                  <a:lnTo>
                    <a:pt x="1540" y="18"/>
                  </a:lnTo>
                  <a:lnTo>
                    <a:pt x="1538" y="17"/>
                  </a:lnTo>
                  <a:lnTo>
                    <a:pt x="1532" y="13"/>
                  </a:lnTo>
                  <a:lnTo>
                    <a:pt x="1522" y="11"/>
                  </a:lnTo>
                  <a:lnTo>
                    <a:pt x="1516" y="10"/>
                  </a:lnTo>
                  <a:lnTo>
                    <a:pt x="1508" y="9"/>
                  </a:lnTo>
                  <a:lnTo>
                    <a:pt x="1500" y="8"/>
                  </a:lnTo>
                  <a:lnTo>
                    <a:pt x="1486" y="5"/>
                  </a:lnTo>
                  <a:lnTo>
                    <a:pt x="1468" y="4"/>
                  </a:lnTo>
                  <a:lnTo>
                    <a:pt x="1459" y="3"/>
                  </a:lnTo>
                  <a:lnTo>
                    <a:pt x="1448" y="2"/>
                  </a:lnTo>
                  <a:lnTo>
                    <a:pt x="1437" y="1"/>
                  </a:lnTo>
                  <a:lnTo>
                    <a:pt x="1424" y="1"/>
                  </a:lnTo>
                  <a:lnTo>
                    <a:pt x="1410" y="0"/>
                  </a:lnTo>
                  <a:lnTo>
                    <a:pt x="1394" y="0"/>
                  </a:lnTo>
                  <a:lnTo>
                    <a:pt x="1378" y="0"/>
                  </a:lnTo>
                  <a:lnTo>
                    <a:pt x="1359" y="0"/>
                  </a:lnTo>
                  <a:lnTo>
                    <a:pt x="1339" y="0"/>
                  </a:lnTo>
                  <a:lnTo>
                    <a:pt x="1320" y="1"/>
                  </a:lnTo>
                  <a:lnTo>
                    <a:pt x="1300" y="3"/>
                  </a:lnTo>
                  <a:lnTo>
                    <a:pt x="1281" y="6"/>
                  </a:lnTo>
                  <a:lnTo>
                    <a:pt x="1263" y="10"/>
                  </a:lnTo>
                  <a:lnTo>
                    <a:pt x="1245" y="16"/>
                  </a:lnTo>
                  <a:lnTo>
                    <a:pt x="1229" y="24"/>
                  </a:lnTo>
                  <a:lnTo>
                    <a:pt x="1215" y="33"/>
                  </a:lnTo>
                  <a:lnTo>
                    <a:pt x="1208" y="38"/>
                  </a:lnTo>
                  <a:lnTo>
                    <a:pt x="1201" y="44"/>
                  </a:lnTo>
                  <a:lnTo>
                    <a:pt x="1195" y="50"/>
                  </a:lnTo>
                  <a:lnTo>
                    <a:pt x="1190" y="56"/>
                  </a:lnTo>
                  <a:lnTo>
                    <a:pt x="1184" y="63"/>
                  </a:lnTo>
                  <a:lnTo>
                    <a:pt x="1179" y="71"/>
                  </a:lnTo>
                  <a:lnTo>
                    <a:pt x="1175" y="79"/>
                  </a:lnTo>
                  <a:lnTo>
                    <a:pt x="1171" y="87"/>
                  </a:lnTo>
                  <a:lnTo>
                    <a:pt x="1167" y="96"/>
                  </a:lnTo>
                  <a:lnTo>
                    <a:pt x="1163" y="105"/>
                  </a:lnTo>
                  <a:lnTo>
                    <a:pt x="1161" y="116"/>
                  </a:lnTo>
                  <a:lnTo>
                    <a:pt x="1159" y="126"/>
                  </a:lnTo>
                  <a:lnTo>
                    <a:pt x="1156" y="138"/>
                  </a:lnTo>
                  <a:lnTo>
                    <a:pt x="1155" y="150"/>
                  </a:lnTo>
                  <a:lnTo>
                    <a:pt x="1154" y="162"/>
                  </a:lnTo>
                  <a:lnTo>
                    <a:pt x="1154" y="176"/>
                  </a:lnTo>
                  <a:lnTo>
                    <a:pt x="1154" y="435"/>
                  </a:lnTo>
                  <a:lnTo>
                    <a:pt x="1154" y="448"/>
                  </a:lnTo>
                  <a:lnTo>
                    <a:pt x="1155" y="462"/>
                  </a:lnTo>
                  <a:lnTo>
                    <a:pt x="1156" y="473"/>
                  </a:lnTo>
                  <a:lnTo>
                    <a:pt x="1158" y="485"/>
                  </a:lnTo>
                  <a:lnTo>
                    <a:pt x="1160" y="496"/>
                  </a:lnTo>
                  <a:lnTo>
                    <a:pt x="1163" y="505"/>
                  </a:lnTo>
                  <a:lnTo>
                    <a:pt x="1167" y="515"/>
                  </a:lnTo>
                  <a:lnTo>
                    <a:pt x="1170" y="523"/>
                  </a:lnTo>
                  <a:lnTo>
                    <a:pt x="1175" y="533"/>
                  </a:lnTo>
                  <a:lnTo>
                    <a:pt x="1179" y="540"/>
                  </a:lnTo>
                  <a:lnTo>
                    <a:pt x="1184" y="548"/>
                  </a:lnTo>
                  <a:lnTo>
                    <a:pt x="1190" y="555"/>
                  </a:lnTo>
                  <a:lnTo>
                    <a:pt x="1195" y="562"/>
                  </a:lnTo>
                  <a:lnTo>
                    <a:pt x="1201" y="568"/>
                  </a:lnTo>
                  <a:lnTo>
                    <a:pt x="1208" y="573"/>
                  </a:lnTo>
                  <a:lnTo>
                    <a:pt x="1215" y="578"/>
                  </a:lnTo>
                  <a:lnTo>
                    <a:pt x="1229" y="587"/>
                  </a:lnTo>
                  <a:lnTo>
                    <a:pt x="1244" y="595"/>
                  </a:lnTo>
                  <a:lnTo>
                    <a:pt x="1261" y="601"/>
                  </a:lnTo>
                  <a:lnTo>
                    <a:pt x="1281" y="605"/>
                  </a:lnTo>
                  <a:lnTo>
                    <a:pt x="1299" y="608"/>
                  </a:lnTo>
                  <a:lnTo>
                    <a:pt x="1318" y="610"/>
                  </a:lnTo>
                  <a:lnTo>
                    <a:pt x="1338" y="611"/>
                  </a:lnTo>
                  <a:lnTo>
                    <a:pt x="1359" y="612"/>
                  </a:lnTo>
                  <a:lnTo>
                    <a:pt x="1378" y="611"/>
                  </a:lnTo>
                  <a:lnTo>
                    <a:pt x="1395" y="611"/>
                  </a:lnTo>
                  <a:lnTo>
                    <a:pt x="1410" y="611"/>
                  </a:lnTo>
                  <a:lnTo>
                    <a:pt x="1424" y="611"/>
                  </a:lnTo>
                  <a:lnTo>
                    <a:pt x="1436" y="610"/>
                  </a:lnTo>
                  <a:lnTo>
                    <a:pt x="1447" y="610"/>
                  </a:lnTo>
                  <a:lnTo>
                    <a:pt x="1459" y="609"/>
                  </a:lnTo>
                  <a:lnTo>
                    <a:pt x="1468" y="608"/>
                  </a:lnTo>
                  <a:lnTo>
                    <a:pt x="1486" y="606"/>
                  </a:lnTo>
                  <a:lnTo>
                    <a:pt x="1501" y="604"/>
                  </a:lnTo>
                  <a:lnTo>
                    <a:pt x="1520" y="600"/>
                  </a:lnTo>
                  <a:lnTo>
                    <a:pt x="1532" y="597"/>
                  </a:lnTo>
                  <a:lnTo>
                    <a:pt x="1537" y="595"/>
                  </a:lnTo>
                  <a:lnTo>
                    <a:pt x="1540" y="593"/>
                  </a:lnTo>
                  <a:lnTo>
                    <a:pt x="1542" y="590"/>
                  </a:lnTo>
                  <a:lnTo>
                    <a:pt x="1544" y="586"/>
                  </a:lnTo>
                  <a:lnTo>
                    <a:pt x="1545" y="581"/>
                  </a:lnTo>
                  <a:lnTo>
                    <a:pt x="1545" y="576"/>
                  </a:lnTo>
                  <a:lnTo>
                    <a:pt x="1545" y="522"/>
                  </a:lnTo>
                  <a:lnTo>
                    <a:pt x="1545" y="518"/>
                  </a:lnTo>
                  <a:lnTo>
                    <a:pt x="1544" y="514"/>
                  </a:lnTo>
                  <a:lnTo>
                    <a:pt x="1542" y="510"/>
                  </a:lnTo>
                  <a:lnTo>
                    <a:pt x="1538" y="505"/>
                  </a:lnTo>
                  <a:lnTo>
                    <a:pt x="1534" y="503"/>
                  </a:lnTo>
                  <a:lnTo>
                    <a:pt x="1530" y="501"/>
                  </a:lnTo>
                  <a:lnTo>
                    <a:pt x="1526" y="500"/>
                  </a:lnTo>
                  <a:lnTo>
                    <a:pt x="1521" y="498"/>
                  </a:lnTo>
                  <a:lnTo>
                    <a:pt x="1347" y="498"/>
                  </a:lnTo>
                  <a:lnTo>
                    <a:pt x="1332" y="498"/>
                  </a:lnTo>
                  <a:lnTo>
                    <a:pt x="1318" y="496"/>
                  </a:lnTo>
                  <a:lnTo>
                    <a:pt x="1313" y="494"/>
                  </a:lnTo>
                  <a:lnTo>
                    <a:pt x="1308" y="492"/>
                  </a:lnTo>
                  <a:lnTo>
                    <a:pt x="1304" y="489"/>
                  </a:lnTo>
                  <a:lnTo>
                    <a:pt x="1300" y="486"/>
                  </a:lnTo>
                  <a:lnTo>
                    <a:pt x="1298" y="483"/>
                  </a:lnTo>
                  <a:lnTo>
                    <a:pt x="1294" y="478"/>
                  </a:lnTo>
                  <a:lnTo>
                    <a:pt x="1292" y="472"/>
                  </a:lnTo>
                  <a:lnTo>
                    <a:pt x="1291" y="467"/>
                  </a:lnTo>
                  <a:lnTo>
                    <a:pt x="1289" y="452"/>
                  </a:lnTo>
                  <a:lnTo>
                    <a:pt x="1288" y="435"/>
                  </a:lnTo>
                  <a:lnTo>
                    <a:pt x="1288" y="351"/>
                  </a:lnTo>
                  <a:lnTo>
                    <a:pt x="1511" y="351"/>
                  </a:lnTo>
                  <a:lnTo>
                    <a:pt x="1517" y="350"/>
                  </a:lnTo>
                  <a:lnTo>
                    <a:pt x="1520" y="348"/>
                  </a:lnTo>
                  <a:lnTo>
                    <a:pt x="1525" y="346"/>
                  </a:lnTo>
                  <a:lnTo>
                    <a:pt x="1528" y="344"/>
                  </a:lnTo>
                  <a:lnTo>
                    <a:pt x="1532" y="339"/>
                  </a:lnTo>
                  <a:lnTo>
                    <a:pt x="1534" y="336"/>
                  </a:lnTo>
                  <a:lnTo>
                    <a:pt x="1535" y="331"/>
                  </a:lnTo>
                  <a:lnTo>
                    <a:pt x="1535" y="327"/>
                  </a:lnTo>
                  <a:lnTo>
                    <a:pt x="1535" y="268"/>
                  </a:lnTo>
                  <a:lnTo>
                    <a:pt x="1535" y="262"/>
                  </a:lnTo>
                  <a:lnTo>
                    <a:pt x="1534" y="258"/>
                  </a:lnTo>
                  <a:lnTo>
                    <a:pt x="1532" y="254"/>
                  </a:lnTo>
                  <a:lnTo>
                    <a:pt x="1528" y="251"/>
                  </a:lnTo>
                  <a:lnTo>
                    <a:pt x="1525" y="247"/>
                  </a:lnTo>
                  <a:lnTo>
                    <a:pt x="1520" y="245"/>
                  </a:lnTo>
                  <a:lnTo>
                    <a:pt x="1516" y="244"/>
                  </a:lnTo>
                  <a:lnTo>
                    <a:pt x="1511" y="243"/>
                  </a:lnTo>
                  <a:lnTo>
                    <a:pt x="1288" y="243"/>
                  </a:lnTo>
                  <a:lnTo>
                    <a:pt x="1288" y="176"/>
                  </a:lnTo>
                  <a:lnTo>
                    <a:pt x="1289" y="159"/>
                  </a:lnTo>
                  <a:lnTo>
                    <a:pt x="1291" y="145"/>
                  </a:lnTo>
                  <a:lnTo>
                    <a:pt x="1292" y="138"/>
                  </a:lnTo>
                  <a:lnTo>
                    <a:pt x="1294" y="134"/>
                  </a:lnTo>
                  <a:lnTo>
                    <a:pt x="1297" y="129"/>
                  </a:lnTo>
                  <a:lnTo>
                    <a:pt x="1300" y="125"/>
                  </a:lnTo>
                  <a:close/>
                  <a:moveTo>
                    <a:pt x="425" y="301"/>
                  </a:moveTo>
                  <a:lnTo>
                    <a:pt x="439" y="292"/>
                  </a:lnTo>
                  <a:lnTo>
                    <a:pt x="453" y="281"/>
                  </a:lnTo>
                  <a:lnTo>
                    <a:pt x="463" y="269"/>
                  </a:lnTo>
                  <a:lnTo>
                    <a:pt x="474" y="254"/>
                  </a:lnTo>
                  <a:lnTo>
                    <a:pt x="478" y="245"/>
                  </a:lnTo>
                  <a:lnTo>
                    <a:pt x="483" y="236"/>
                  </a:lnTo>
                  <a:lnTo>
                    <a:pt x="486" y="227"/>
                  </a:lnTo>
                  <a:lnTo>
                    <a:pt x="488" y="218"/>
                  </a:lnTo>
                  <a:lnTo>
                    <a:pt x="491" y="208"/>
                  </a:lnTo>
                  <a:lnTo>
                    <a:pt x="493" y="197"/>
                  </a:lnTo>
                  <a:lnTo>
                    <a:pt x="493" y="187"/>
                  </a:lnTo>
                  <a:lnTo>
                    <a:pt x="494" y="176"/>
                  </a:lnTo>
                  <a:lnTo>
                    <a:pt x="493" y="164"/>
                  </a:lnTo>
                  <a:lnTo>
                    <a:pt x="493" y="152"/>
                  </a:lnTo>
                  <a:lnTo>
                    <a:pt x="491" y="141"/>
                  </a:lnTo>
                  <a:lnTo>
                    <a:pt x="488" y="130"/>
                  </a:lnTo>
                  <a:lnTo>
                    <a:pt x="486" y="119"/>
                  </a:lnTo>
                  <a:lnTo>
                    <a:pt x="483" y="110"/>
                  </a:lnTo>
                  <a:lnTo>
                    <a:pt x="478" y="101"/>
                  </a:lnTo>
                  <a:lnTo>
                    <a:pt x="474" y="92"/>
                  </a:lnTo>
                  <a:lnTo>
                    <a:pt x="469" y="84"/>
                  </a:lnTo>
                  <a:lnTo>
                    <a:pt x="463" y="76"/>
                  </a:lnTo>
                  <a:lnTo>
                    <a:pt x="456" y="69"/>
                  </a:lnTo>
                  <a:lnTo>
                    <a:pt x="450" y="62"/>
                  </a:lnTo>
                  <a:lnTo>
                    <a:pt x="443" y="55"/>
                  </a:lnTo>
                  <a:lnTo>
                    <a:pt x="435" y="50"/>
                  </a:lnTo>
                  <a:lnTo>
                    <a:pt x="426" y="44"/>
                  </a:lnTo>
                  <a:lnTo>
                    <a:pt x="417" y="38"/>
                  </a:lnTo>
                  <a:lnTo>
                    <a:pt x="398" y="28"/>
                  </a:lnTo>
                  <a:lnTo>
                    <a:pt x="378" y="20"/>
                  </a:lnTo>
                  <a:lnTo>
                    <a:pt x="355" y="13"/>
                  </a:lnTo>
                  <a:lnTo>
                    <a:pt x="332" y="8"/>
                  </a:lnTo>
                  <a:lnTo>
                    <a:pt x="306" y="4"/>
                  </a:lnTo>
                  <a:lnTo>
                    <a:pt x="280" y="2"/>
                  </a:lnTo>
                  <a:lnTo>
                    <a:pt x="252" y="0"/>
                  </a:lnTo>
                  <a:lnTo>
                    <a:pt x="225" y="0"/>
                  </a:lnTo>
                  <a:lnTo>
                    <a:pt x="201" y="0"/>
                  </a:lnTo>
                  <a:lnTo>
                    <a:pt x="178" y="0"/>
                  </a:lnTo>
                  <a:lnTo>
                    <a:pt x="157" y="1"/>
                  </a:lnTo>
                  <a:lnTo>
                    <a:pt x="136" y="3"/>
                  </a:lnTo>
                  <a:lnTo>
                    <a:pt x="121" y="3"/>
                  </a:lnTo>
                  <a:lnTo>
                    <a:pt x="108" y="4"/>
                  </a:lnTo>
                  <a:lnTo>
                    <a:pt x="94" y="6"/>
                  </a:lnTo>
                  <a:lnTo>
                    <a:pt x="81" y="8"/>
                  </a:lnTo>
                  <a:lnTo>
                    <a:pt x="71" y="10"/>
                  </a:lnTo>
                  <a:lnTo>
                    <a:pt x="62" y="13"/>
                  </a:lnTo>
                  <a:lnTo>
                    <a:pt x="54" y="18"/>
                  </a:lnTo>
                  <a:lnTo>
                    <a:pt x="47" y="22"/>
                  </a:lnTo>
                  <a:lnTo>
                    <a:pt x="43" y="29"/>
                  </a:lnTo>
                  <a:lnTo>
                    <a:pt x="39" y="38"/>
                  </a:lnTo>
                  <a:lnTo>
                    <a:pt x="38" y="47"/>
                  </a:lnTo>
                  <a:lnTo>
                    <a:pt x="37" y="60"/>
                  </a:lnTo>
                  <a:lnTo>
                    <a:pt x="37" y="551"/>
                  </a:lnTo>
                  <a:lnTo>
                    <a:pt x="38" y="562"/>
                  </a:lnTo>
                  <a:lnTo>
                    <a:pt x="40" y="572"/>
                  </a:lnTo>
                  <a:lnTo>
                    <a:pt x="44" y="581"/>
                  </a:lnTo>
                  <a:lnTo>
                    <a:pt x="48" y="588"/>
                  </a:lnTo>
                  <a:lnTo>
                    <a:pt x="55" y="593"/>
                  </a:lnTo>
                  <a:lnTo>
                    <a:pt x="63" y="596"/>
                  </a:lnTo>
                  <a:lnTo>
                    <a:pt x="72" y="600"/>
                  </a:lnTo>
                  <a:lnTo>
                    <a:pt x="84" y="603"/>
                  </a:lnTo>
                  <a:lnTo>
                    <a:pt x="95" y="604"/>
                  </a:lnTo>
                  <a:lnTo>
                    <a:pt x="109" y="606"/>
                  </a:lnTo>
                  <a:lnTo>
                    <a:pt x="125" y="608"/>
                  </a:lnTo>
                  <a:lnTo>
                    <a:pt x="142" y="609"/>
                  </a:lnTo>
                  <a:lnTo>
                    <a:pt x="163" y="611"/>
                  </a:lnTo>
                  <a:lnTo>
                    <a:pt x="185" y="611"/>
                  </a:lnTo>
                  <a:lnTo>
                    <a:pt x="209" y="611"/>
                  </a:lnTo>
                  <a:lnTo>
                    <a:pt x="232" y="612"/>
                  </a:lnTo>
                  <a:lnTo>
                    <a:pt x="263" y="611"/>
                  </a:lnTo>
                  <a:lnTo>
                    <a:pt x="291" y="609"/>
                  </a:lnTo>
                  <a:lnTo>
                    <a:pt x="317" y="606"/>
                  </a:lnTo>
                  <a:lnTo>
                    <a:pt x="340" y="602"/>
                  </a:lnTo>
                  <a:lnTo>
                    <a:pt x="364" y="596"/>
                  </a:lnTo>
                  <a:lnTo>
                    <a:pt x="386" y="589"/>
                  </a:lnTo>
                  <a:lnTo>
                    <a:pt x="406" y="580"/>
                  </a:lnTo>
                  <a:lnTo>
                    <a:pt x="425" y="570"/>
                  </a:lnTo>
                  <a:lnTo>
                    <a:pt x="434" y="564"/>
                  </a:lnTo>
                  <a:lnTo>
                    <a:pt x="442" y="559"/>
                  </a:lnTo>
                  <a:lnTo>
                    <a:pt x="448" y="552"/>
                  </a:lnTo>
                  <a:lnTo>
                    <a:pt x="456" y="545"/>
                  </a:lnTo>
                  <a:lnTo>
                    <a:pt x="462" y="537"/>
                  </a:lnTo>
                  <a:lnTo>
                    <a:pt x="468" y="529"/>
                  </a:lnTo>
                  <a:lnTo>
                    <a:pt x="474" y="521"/>
                  </a:lnTo>
                  <a:lnTo>
                    <a:pt x="479" y="513"/>
                  </a:lnTo>
                  <a:lnTo>
                    <a:pt x="484" y="503"/>
                  </a:lnTo>
                  <a:lnTo>
                    <a:pt x="488" y="493"/>
                  </a:lnTo>
                  <a:lnTo>
                    <a:pt x="492" y="483"/>
                  </a:lnTo>
                  <a:lnTo>
                    <a:pt x="494" y="471"/>
                  </a:lnTo>
                  <a:lnTo>
                    <a:pt x="496" y="461"/>
                  </a:lnTo>
                  <a:lnTo>
                    <a:pt x="497" y="450"/>
                  </a:lnTo>
                  <a:lnTo>
                    <a:pt x="497" y="437"/>
                  </a:lnTo>
                  <a:lnTo>
                    <a:pt x="497" y="426"/>
                  </a:lnTo>
                  <a:lnTo>
                    <a:pt x="496" y="413"/>
                  </a:lnTo>
                  <a:lnTo>
                    <a:pt x="495" y="402"/>
                  </a:lnTo>
                  <a:lnTo>
                    <a:pt x="492" y="392"/>
                  </a:lnTo>
                  <a:lnTo>
                    <a:pt x="490" y="381"/>
                  </a:lnTo>
                  <a:lnTo>
                    <a:pt x="485" y="371"/>
                  </a:lnTo>
                  <a:lnTo>
                    <a:pt x="482" y="362"/>
                  </a:lnTo>
                  <a:lnTo>
                    <a:pt x="477" y="354"/>
                  </a:lnTo>
                  <a:lnTo>
                    <a:pt x="471" y="346"/>
                  </a:lnTo>
                  <a:lnTo>
                    <a:pt x="460" y="331"/>
                  </a:lnTo>
                  <a:lnTo>
                    <a:pt x="448" y="319"/>
                  </a:lnTo>
                  <a:lnTo>
                    <a:pt x="437" y="309"/>
                  </a:lnTo>
                  <a:lnTo>
                    <a:pt x="425" y="301"/>
                  </a:lnTo>
                  <a:close/>
                  <a:moveTo>
                    <a:pt x="233" y="502"/>
                  </a:moveTo>
                  <a:lnTo>
                    <a:pt x="233" y="502"/>
                  </a:lnTo>
                  <a:lnTo>
                    <a:pt x="217" y="502"/>
                  </a:lnTo>
                  <a:lnTo>
                    <a:pt x="199" y="501"/>
                  </a:lnTo>
                  <a:lnTo>
                    <a:pt x="184" y="501"/>
                  </a:lnTo>
                  <a:lnTo>
                    <a:pt x="170" y="501"/>
                  </a:lnTo>
                  <a:lnTo>
                    <a:pt x="170" y="348"/>
                  </a:lnTo>
                  <a:lnTo>
                    <a:pt x="271" y="348"/>
                  </a:lnTo>
                  <a:lnTo>
                    <a:pt x="284" y="348"/>
                  </a:lnTo>
                  <a:lnTo>
                    <a:pt x="297" y="350"/>
                  </a:lnTo>
                  <a:lnTo>
                    <a:pt x="308" y="352"/>
                  </a:lnTo>
                  <a:lnTo>
                    <a:pt x="317" y="354"/>
                  </a:lnTo>
                  <a:lnTo>
                    <a:pt x="326" y="359"/>
                  </a:lnTo>
                  <a:lnTo>
                    <a:pt x="334" y="363"/>
                  </a:lnTo>
                  <a:lnTo>
                    <a:pt x="341" y="368"/>
                  </a:lnTo>
                  <a:lnTo>
                    <a:pt x="348" y="373"/>
                  </a:lnTo>
                  <a:lnTo>
                    <a:pt x="355" y="381"/>
                  </a:lnTo>
                  <a:lnTo>
                    <a:pt x="361" y="389"/>
                  </a:lnTo>
                  <a:lnTo>
                    <a:pt x="364" y="398"/>
                  </a:lnTo>
                  <a:lnTo>
                    <a:pt x="366" y="406"/>
                  </a:lnTo>
                  <a:lnTo>
                    <a:pt x="369" y="419"/>
                  </a:lnTo>
                  <a:lnTo>
                    <a:pt x="369" y="425"/>
                  </a:lnTo>
                  <a:lnTo>
                    <a:pt x="368" y="435"/>
                  </a:lnTo>
                  <a:lnTo>
                    <a:pt x="366" y="444"/>
                  </a:lnTo>
                  <a:lnTo>
                    <a:pt x="364" y="452"/>
                  </a:lnTo>
                  <a:lnTo>
                    <a:pt x="362" y="459"/>
                  </a:lnTo>
                  <a:lnTo>
                    <a:pt x="358" y="465"/>
                  </a:lnTo>
                  <a:lnTo>
                    <a:pt x="354" y="471"/>
                  </a:lnTo>
                  <a:lnTo>
                    <a:pt x="347" y="477"/>
                  </a:lnTo>
                  <a:lnTo>
                    <a:pt x="340" y="483"/>
                  </a:lnTo>
                  <a:lnTo>
                    <a:pt x="332" y="487"/>
                  </a:lnTo>
                  <a:lnTo>
                    <a:pt x="322" y="492"/>
                  </a:lnTo>
                  <a:lnTo>
                    <a:pt x="311" y="495"/>
                  </a:lnTo>
                  <a:lnTo>
                    <a:pt x="299" y="497"/>
                  </a:lnTo>
                  <a:lnTo>
                    <a:pt x="284" y="500"/>
                  </a:lnTo>
                  <a:lnTo>
                    <a:pt x="268" y="501"/>
                  </a:lnTo>
                  <a:lnTo>
                    <a:pt x="251" y="502"/>
                  </a:lnTo>
                  <a:lnTo>
                    <a:pt x="233" y="502"/>
                  </a:lnTo>
                  <a:close/>
                  <a:moveTo>
                    <a:pt x="360" y="206"/>
                  </a:moveTo>
                  <a:lnTo>
                    <a:pt x="360" y="206"/>
                  </a:lnTo>
                  <a:lnTo>
                    <a:pt x="358" y="212"/>
                  </a:lnTo>
                  <a:lnTo>
                    <a:pt x="355" y="218"/>
                  </a:lnTo>
                  <a:lnTo>
                    <a:pt x="352" y="222"/>
                  </a:lnTo>
                  <a:lnTo>
                    <a:pt x="347" y="228"/>
                  </a:lnTo>
                  <a:lnTo>
                    <a:pt x="340" y="233"/>
                  </a:lnTo>
                  <a:lnTo>
                    <a:pt x="333" y="237"/>
                  </a:lnTo>
                  <a:lnTo>
                    <a:pt x="325" y="241"/>
                  </a:lnTo>
                  <a:lnTo>
                    <a:pt x="317" y="243"/>
                  </a:lnTo>
                  <a:lnTo>
                    <a:pt x="308" y="246"/>
                  </a:lnTo>
                  <a:lnTo>
                    <a:pt x="297" y="247"/>
                  </a:lnTo>
                  <a:lnTo>
                    <a:pt x="285" y="248"/>
                  </a:lnTo>
                  <a:lnTo>
                    <a:pt x="271" y="250"/>
                  </a:lnTo>
                  <a:lnTo>
                    <a:pt x="170" y="250"/>
                  </a:lnTo>
                  <a:lnTo>
                    <a:pt x="170" y="110"/>
                  </a:lnTo>
                  <a:lnTo>
                    <a:pt x="193" y="110"/>
                  </a:lnTo>
                  <a:lnTo>
                    <a:pt x="201" y="110"/>
                  </a:lnTo>
                  <a:lnTo>
                    <a:pt x="209" y="109"/>
                  </a:lnTo>
                  <a:lnTo>
                    <a:pt x="217" y="109"/>
                  </a:lnTo>
                  <a:lnTo>
                    <a:pt x="225" y="109"/>
                  </a:lnTo>
                  <a:lnTo>
                    <a:pt x="244" y="109"/>
                  </a:lnTo>
                  <a:lnTo>
                    <a:pt x="261" y="110"/>
                  </a:lnTo>
                  <a:lnTo>
                    <a:pt x="277" y="111"/>
                  </a:lnTo>
                  <a:lnTo>
                    <a:pt x="292" y="113"/>
                  </a:lnTo>
                  <a:lnTo>
                    <a:pt x="306" y="116"/>
                  </a:lnTo>
                  <a:lnTo>
                    <a:pt x="317" y="119"/>
                  </a:lnTo>
                  <a:lnTo>
                    <a:pt x="328" y="122"/>
                  </a:lnTo>
                  <a:lnTo>
                    <a:pt x="336" y="127"/>
                  </a:lnTo>
                  <a:lnTo>
                    <a:pt x="342" y="131"/>
                  </a:lnTo>
                  <a:lnTo>
                    <a:pt x="348" y="136"/>
                  </a:lnTo>
                  <a:lnTo>
                    <a:pt x="354" y="143"/>
                  </a:lnTo>
                  <a:lnTo>
                    <a:pt x="357" y="150"/>
                  </a:lnTo>
                  <a:lnTo>
                    <a:pt x="361" y="156"/>
                  </a:lnTo>
                  <a:lnTo>
                    <a:pt x="363" y="164"/>
                  </a:lnTo>
                  <a:lnTo>
                    <a:pt x="364" y="171"/>
                  </a:lnTo>
                  <a:lnTo>
                    <a:pt x="364" y="178"/>
                  </a:lnTo>
                  <a:lnTo>
                    <a:pt x="364" y="186"/>
                  </a:lnTo>
                  <a:lnTo>
                    <a:pt x="363" y="193"/>
                  </a:lnTo>
                  <a:lnTo>
                    <a:pt x="362" y="200"/>
                  </a:lnTo>
                  <a:lnTo>
                    <a:pt x="360" y="206"/>
                  </a:lnTo>
                  <a:close/>
                  <a:moveTo>
                    <a:pt x="1406" y="1096"/>
                  </a:moveTo>
                  <a:lnTo>
                    <a:pt x="1622" y="840"/>
                  </a:lnTo>
                  <a:lnTo>
                    <a:pt x="1625" y="836"/>
                  </a:lnTo>
                  <a:lnTo>
                    <a:pt x="1627" y="831"/>
                  </a:lnTo>
                  <a:lnTo>
                    <a:pt x="1628" y="827"/>
                  </a:lnTo>
                  <a:lnTo>
                    <a:pt x="1628" y="823"/>
                  </a:lnTo>
                  <a:lnTo>
                    <a:pt x="1628" y="819"/>
                  </a:lnTo>
                  <a:lnTo>
                    <a:pt x="1625" y="813"/>
                  </a:lnTo>
                  <a:lnTo>
                    <a:pt x="1623" y="810"/>
                  </a:lnTo>
                  <a:lnTo>
                    <a:pt x="1618" y="807"/>
                  </a:lnTo>
                  <a:lnTo>
                    <a:pt x="1613" y="806"/>
                  </a:lnTo>
                  <a:lnTo>
                    <a:pt x="1606" y="806"/>
                  </a:lnTo>
                  <a:lnTo>
                    <a:pt x="1509" y="806"/>
                  </a:lnTo>
                  <a:lnTo>
                    <a:pt x="1501" y="806"/>
                  </a:lnTo>
                  <a:lnTo>
                    <a:pt x="1495" y="807"/>
                  </a:lnTo>
                  <a:lnTo>
                    <a:pt x="1492" y="809"/>
                  </a:lnTo>
                  <a:lnTo>
                    <a:pt x="1488" y="810"/>
                  </a:lnTo>
                  <a:lnTo>
                    <a:pt x="1486" y="812"/>
                  </a:lnTo>
                  <a:lnTo>
                    <a:pt x="1483" y="815"/>
                  </a:lnTo>
                  <a:lnTo>
                    <a:pt x="1289" y="1056"/>
                  </a:lnTo>
                  <a:lnTo>
                    <a:pt x="1288" y="1056"/>
                  </a:lnTo>
                  <a:lnTo>
                    <a:pt x="1288" y="829"/>
                  </a:lnTo>
                  <a:lnTo>
                    <a:pt x="1286" y="824"/>
                  </a:lnTo>
                  <a:lnTo>
                    <a:pt x="1285" y="820"/>
                  </a:lnTo>
                  <a:lnTo>
                    <a:pt x="1283" y="815"/>
                  </a:lnTo>
                  <a:lnTo>
                    <a:pt x="1280" y="813"/>
                  </a:lnTo>
                  <a:lnTo>
                    <a:pt x="1276" y="810"/>
                  </a:lnTo>
                  <a:lnTo>
                    <a:pt x="1272" y="807"/>
                  </a:lnTo>
                  <a:lnTo>
                    <a:pt x="1267" y="806"/>
                  </a:lnTo>
                  <a:lnTo>
                    <a:pt x="1263" y="806"/>
                  </a:lnTo>
                  <a:lnTo>
                    <a:pt x="1178" y="806"/>
                  </a:lnTo>
                  <a:lnTo>
                    <a:pt x="1174" y="806"/>
                  </a:lnTo>
                  <a:lnTo>
                    <a:pt x="1169" y="807"/>
                  </a:lnTo>
                  <a:lnTo>
                    <a:pt x="1166" y="810"/>
                  </a:lnTo>
                  <a:lnTo>
                    <a:pt x="1162" y="812"/>
                  </a:lnTo>
                  <a:lnTo>
                    <a:pt x="1159" y="814"/>
                  </a:lnTo>
                  <a:lnTo>
                    <a:pt x="1156" y="818"/>
                  </a:lnTo>
                  <a:lnTo>
                    <a:pt x="1154" y="823"/>
                  </a:lnTo>
                  <a:lnTo>
                    <a:pt x="1154" y="829"/>
                  </a:lnTo>
                  <a:lnTo>
                    <a:pt x="1154" y="1380"/>
                  </a:lnTo>
                  <a:lnTo>
                    <a:pt x="1154" y="1386"/>
                  </a:lnTo>
                  <a:lnTo>
                    <a:pt x="1155" y="1390"/>
                  </a:lnTo>
                  <a:lnTo>
                    <a:pt x="1158" y="1394"/>
                  </a:lnTo>
                  <a:lnTo>
                    <a:pt x="1161" y="1397"/>
                  </a:lnTo>
                  <a:lnTo>
                    <a:pt x="1164" y="1401"/>
                  </a:lnTo>
                  <a:lnTo>
                    <a:pt x="1169" y="1403"/>
                  </a:lnTo>
                  <a:lnTo>
                    <a:pt x="1174" y="1404"/>
                  </a:lnTo>
                  <a:lnTo>
                    <a:pt x="1178" y="1404"/>
                  </a:lnTo>
                  <a:lnTo>
                    <a:pt x="1263" y="1404"/>
                  </a:lnTo>
                  <a:lnTo>
                    <a:pt x="1268" y="1404"/>
                  </a:lnTo>
                  <a:lnTo>
                    <a:pt x="1273" y="1403"/>
                  </a:lnTo>
                  <a:lnTo>
                    <a:pt x="1276" y="1401"/>
                  </a:lnTo>
                  <a:lnTo>
                    <a:pt x="1280" y="1397"/>
                  </a:lnTo>
                  <a:lnTo>
                    <a:pt x="1283" y="1394"/>
                  </a:lnTo>
                  <a:lnTo>
                    <a:pt x="1285" y="1390"/>
                  </a:lnTo>
                  <a:lnTo>
                    <a:pt x="1286" y="1386"/>
                  </a:lnTo>
                  <a:lnTo>
                    <a:pt x="1288" y="1380"/>
                  </a:lnTo>
                  <a:lnTo>
                    <a:pt x="1288" y="1146"/>
                  </a:lnTo>
                  <a:lnTo>
                    <a:pt x="1290" y="1146"/>
                  </a:lnTo>
                  <a:lnTo>
                    <a:pt x="1469" y="1393"/>
                  </a:lnTo>
                  <a:lnTo>
                    <a:pt x="1473" y="1398"/>
                  </a:lnTo>
                  <a:lnTo>
                    <a:pt x="1480" y="1402"/>
                  </a:lnTo>
                  <a:lnTo>
                    <a:pt x="1487" y="1404"/>
                  </a:lnTo>
                  <a:lnTo>
                    <a:pt x="1494" y="1404"/>
                  </a:lnTo>
                  <a:lnTo>
                    <a:pt x="1609" y="1404"/>
                  </a:lnTo>
                  <a:lnTo>
                    <a:pt x="1615" y="1404"/>
                  </a:lnTo>
                  <a:lnTo>
                    <a:pt x="1619" y="1403"/>
                  </a:lnTo>
                  <a:lnTo>
                    <a:pt x="1623" y="1401"/>
                  </a:lnTo>
                  <a:lnTo>
                    <a:pt x="1626" y="1398"/>
                  </a:lnTo>
                  <a:lnTo>
                    <a:pt x="1628" y="1394"/>
                  </a:lnTo>
                  <a:lnTo>
                    <a:pt x="1628" y="1390"/>
                  </a:lnTo>
                  <a:lnTo>
                    <a:pt x="1628" y="1387"/>
                  </a:lnTo>
                  <a:lnTo>
                    <a:pt x="1627" y="1383"/>
                  </a:lnTo>
                  <a:lnTo>
                    <a:pt x="1626" y="1380"/>
                  </a:lnTo>
                  <a:lnTo>
                    <a:pt x="1623" y="1376"/>
                  </a:lnTo>
                  <a:lnTo>
                    <a:pt x="1406" y="1096"/>
                  </a:lnTo>
                  <a:close/>
                  <a:moveTo>
                    <a:pt x="2714" y="817"/>
                  </a:moveTo>
                  <a:lnTo>
                    <a:pt x="2707" y="812"/>
                  </a:lnTo>
                  <a:lnTo>
                    <a:pt x="2700" y="807"/>
                  </a:lnTo>
                  <a:lnTo>
                    <a:pt x="2692" y="806"/>
                  </a:lnTo>
                  <a:lnTo>
                    <a:pt x="2684" y="805"/>
                  </a:lnTo>
                  <a:lnTo>
                    <a:pt x="2592" y="805"/>
                  </a:lnTo>
                  <a:lnTo>
                    <a:pt x="2585" y="805"/>
                  </a:lnTo>
                  <a:lnTo>
                    <a:pt x="2578" y="806"/>
                  </a:lnTo>
                  <a:lnTo>
                    <a:pt x="2571" y="809"/>
                  </a:lnTo>
                  <a:lnTo>
                    <a:pt x="2567" y="811"/>
                  </a:lnTo>
                  <a:lnTo>
                    <a:pt x="2562" y="814"/>
                  </a:lnTo>
                  <a:lnTo>
                    <a:pt x="2557" y="820"/>
                  </a:lnTo>
                  <a:lnTo>
                    <a:pt x="2553" y="827"/>
                  </a:lnTo>
                  <a:lnTo>
                    <a:pt x="2549" y="836"/>
                  </a:lnTo>
                  <a:lnTo>
                    <a:pt x="2371" y="1221"/>
                  </a:lnTo>
                  <a:lnTo>
                    <a:pt x="2370" y="1221"/>
                  </a:lnTo>
                  <a:lnTo>
                    <a:pt x="2370" y="828"/>
                  </a:lnTo>
                  <a:lnTo>
                    <a:pt x="2368" y="823"/>
                  </a:lnTo>
                  <a:lnTo>
                    <a:pt x="2367" y="819"/>
                  </a:lnTo>
                  <a:lnTo>
                    <a:pt x="2366" y="814"/>
                  </a:lnTo>
                  <a:lnTo>
                    <a:pt x="2363" y="811"/>
                  </a:lnTo>
                  <a:lnTo>
                    <a:pt x="2360" y="809"/>
                  </a:lnTo>
                  <a:lnTo>
                    <a:pt x="2356" y="806"/>
                  </a:lnTo>
                  <a:lnTo>
                    <a:pt x="2351" y="805"/>
                  </a:lnTo>
                  <a:lnTo>
                    <a:pt x="2346" y="805"/>
                  </a:lnTo>
                  <a:lnTo>
                    <a:pt x="2256" y="805"/>
                  </a:lnTo>
                  <a:lnTo>
                    <a:pt x="2250" y="805"/>
                  </a:lnTo>
                  <a:lnTo>
                    <a:pt x="2245" y="806"/>
                  </a:lnTo>
                  <a:lnTo>
                    <a:pt x="2242" y="809"/>
                  </a:lnTo>
                  <a:lnTo>
                    <a:pt x="2238" y="811"/>
                  </a:lnTo>
                  <a:lnTo>
                    <a:pt x="2236" y="814"/>
                  </a:lnTo>
                  <a:lnTo>
                    <a:pt x="2234" y="819"/>
                  </a:lnTo>
                  <a:lnTo>
                    <a:pt x="2233" y="823"/>
                  </a:lnTo>
                  <a:lnTo>
                    <a:pt x="2233" y="828"/>
                  </a:lnTo>
                  <a:lnTo>
                    <a:pt x="2233" y="1364"/>
                  </a:lnTo>
                  <a:lnTo>
                    <a:pt x="2233" y="1372"/>
                  </a:lnTo>
                  <a:lnTo>
                    <a:pt x="2235" y="1380"/>
                  </a:lnTo>
                  <a:lnTo>
                    <a:pt x="2238" y="1387"/>
                  </a:lnTo>
                  <a:lnTo>
                    <a:pt x="2244" y="1393"/>
                  </a:lnTo>
                  <a:lnTo>
                    <a:pt x="2251" y="1398"/>
                  </a:lnTo>
                  <a:lnTo>
                    <a:pt x="2258" y="1402"/>
                  </a:lnTo>
                  <a:lnTo>
                    <a:pt x="2265" y="1404"/>
                  </a:lnTo>
                  <a:lnTo>
                    <a:pt x="2274" y="1404"/>
                  </a:lnTo>
                  <a:lnTo>
                    <a:pt x="2359" y="1404"/>
                  </a:lnTo>
                  <a:lnTo>
                    <a:pt x="2375" y="1404"/>
                  </a:lnTo>
                  <a:lnTo>
                    <a:pt x="2390" y="1401"/>
                  </a:lnTo>
                  <a:lnTo>
                    <a:pt x="2395" y="1399"/>
                  </a:lnTo>
                  <a:lnTo>
                    <a:pt x="2398" y="1397"/>
                  </a:lnTo>
                  <a:lnTo>
                    <a:pt x="2402" y="1395"/>
                  </a:lnTo>
                  <a:lnTo>
                    <a:pt x="2405" y="1391"/>
                  </a:lnTo>
                  <a:lnTo>
                    <a:pt x="2412" y="1382"/>
                  </a:lnTo>
                  <a:lnTo>
                    <a:pt x="2419" y="1371"/>
                  </a:lnTo>
                  <a:lnTo>
                    <a:pt x="2586" y="1007"/>
                  </a:lnTo>
                  <a:lnTo>
                    <a:pt x="2588" y="1007"/>
                  </a:lnTo>
                  <a:lnTo>
                    <a:pt x="2588" y="1380"/>
                  </a:lnTo>
                  <a:lnTo>
                    <a:pt x="2588" y="1386"/>
                  </a:lnTo>
                  <a:lnTo>
                    <a:pt x="2591" y="1389"/>
                  </a:lnTo>
                  <a:lnTo>
                    <a:pt x="2592" y="1394"/>
                  </a:lnTo>
                  <a:lnTo>
                    <a:pt x="2595" y="1397"/>
                  </a:lnTo>
                  <a:lnTo>
                    <a:pt x="2599" y="1401"/>
                  </a:lnTo>
                  <a:lnTo>
                    <a:pt x="2603" y="1403"/>
                  </a:lnTo>
                  <a:lnTo>
                    <a:pt x="2608" y="1404"/>
                  </a:lnTo>
                  <a:lnTo>
                    <a:pt x="2612" y="1404"/>
                  </a:lnTo>
                  <a:lnTo>
                    <a:pt x="2701" y="1404"/>
                  </a:lnTo>
                  <a:lnTo>
                    <a:pt x="2706" y="1404"/>
                  </a:lnTo>
                  <a:lnTo>
                    <a:pt x="2710" y="1403"/>
                  </a:lnTo>
                  <a:lnTo>
                    <a:pt x="2715" y="1401"/>
                  </a:lnTo>
                  <a:lnTo>
                    <a:pt x="2718" y="1397"/>
                  </a:lnTo>
                  <a:lnTo>
                    <a:pt x="2722" y="1394"/>
                  </a:lnTo>
                  <a:lnTo>
                    <a:pt x="2724" y="1389"/>
                  </a:lnTo>
                  <a:lnTo>
                    <a:pt x="2725" y="1385"/>
                  </a:lnTo>
                  <a:lnTo>
                    <a:pt x="2726" y="1380"/>
                  </a:lnTo>
                  <a:lnTo>
                    <a:pt x="2726" y="845"/>
                  </a:lnTo>
                  <a:lnTo>
                    <a:pt x="2725" y="837"/>
                  </a:lnTo>
                  <a:lnTo>
                    <a:pt x="2723" y="829"/>
                  </a:lnTo>
                  <a:lnTo>
                    <a:pt x="2720" y="822"/>
                  </a:lnTo>
                  <a:lnTo>
                    <a:pt x="2714" y="817"/>
                  </a:lnTo>
                  <a:close/>
                  <a:moveTo>
                    <a:pt x="3916" y="817"/>
                  </a:moveTo>
                  <a:lnTo>
                    <a:pt x="3909" y="812"/>
                  </a:lnTo>
                  <a:lnTo>
                    <a:pt x="3902" y="807"/>
                  </a:lnTo>
                  <a:lnTo>
                    <a:pt x="3894" y="806"/>
                  </a:lnTo>
                  <a:lnTo>
                    <a:pt x="3886" y="805"/>
                  </a:lnTo>
                  <a:lnTo>
                    <a:pt x="3794" y="805"/>
                  </a:lnTo>
                  <a:lnTo>
                    <a:pt x="3787" y="805"/>
                  </a:lnTo>
                  <a:lnTo>
                    <a:pt x="3780" y="806"/>
                  </a:lnTo>
                  <a:lnTo>
                    <a:pt x="3774" y="809"/>
                  </a:lnTo>
                  <a:lnTo>
                    <a:pt x="3769" y="811"/>
                  </a:lnTo>
                  <a:lnTo>
                    <a:pt x="3764" y="814"/>
                  </a:lnTo>
                  <a:lnTo>
                    <a:pt x="3758" y="820"/>
                  </a:lnTo>
                  <a:lnTo>
                    <a:pt x="3755" y="827"/>
                  </a:lnTo>
                  <a:lnTo>
                    <a:pt x="3750" y="836"/>
                  </a:lnTo>
                  <a:lnTo>
                    <a:pt x="3572" y="1221"/>
                  </a:lnTo>
                  <a:lnTo>
                    <a:pt x="3571" y="1221"/>
                  </a:lnTo>
                  <a:lnTo>
                    <a:pt x="3571" y="828"/>
                  </a:lnTo>
                  <a:lnTo>
                    <a:pt x="3570" y="823"/>
                  </a:lnTo>
                  <a:lnTo>
                    <a:pt x="3569" y="819"/>
                  </a:lnTo>
                  <a:lnTo>
                    <a:pt x="3568" y="814"/>
                  </a:lnTo>
                  <a:lnTo>
                    <a:pt x="3564" y="811"/>
                  </a:lnTo>
                  <a:lnTo>
                    <a:pt x="3562" y="809"/>
                  </a:lnTo>
                  <a:lnTo>
                    <a:pt x="3558" y="806"/>
                  </a:lnTo>
                  <a:lnTo>
                    <a:pt x="3553" y="805"/>
                  </a:lnTo>
                  <a:lnTo>
                    <a:pt x="3547" y="805"/>
                  </a:lnTo>
                  <a:lnTo>
                    <a:pt x="3457" y="805"/>
                  </a:lnTo>
                  <a:lnTo>
                    <a:pt x="3452" y="805"/>
                  </a:lnTo>
                  <a:lnTo>
                    <a:pt x="3447" y="806"/>
                  </a:lnTo>
                  <a:lnTo>
                    <a:pt x="3444" y="809"/>
                  </a:lnTo>
                  <a:lnTo>
                    <a:pt x="3440" y="811"/>
                  </a:lnTo>
                  <a:lnTo>
                    <a:pt x="3438" y="814"/>
                  </a:lnTo>
                  <a:lnTo>
                    <a:pt x="3436" y="819"/>
                  </a:lnTo>
                  <a:lnTo>
                    <a:pt x="3434" y="823"/>
                  </a:lnTo>
                  <a:lnTo>
                    <a:pt x="3434" y="828"/>
                  </a:lnTo>
                  <a:lnTo>
                    <a:pt x="3434" y="1364"/>
                  </a:lnTo>
                  <a:lnTo>
                    <a:pt x="3434" y="1372"/>
                  </a:lnTo>
                  <a:lnTo>
                    <a:pt x="3437" y="1380"/>
                  </a:lnTo>
                  <a:lnTo>
                    <a:pt x="3441" y="1387"/>
                  </a:lnTo>
                  <a:lnTo>
                    <a:pt x="3446" y="1393"/>
                  </a:lnTo>
                  <a:lnTo>
                    <a:pt x="3453" y="1398"/>
                  </a:lnTo>
                  <a:lnTo>
                    <a:pt x="3460" y="1402"/>
                  </a:lnTo>
                  <a:lnTo>
                    <a:pt x="3466" y="1404"/>
                  </a:lnTo>
                  <a:lnTo>
                    <a:pt x="3475" y="1404"/>
                  </a:lnTo>
                  <a:lnTo>
                    <a:pt x="3561" y="1404"/>
                  </a:lnTo>
                  <a:lnTo>
                    <a:pt x="3577" y="1404"/>
                  </a:lnTo>
                  <a:lnTo>
                    <a:pt x="3592" y="1401"/>
                  </a:lnTo>
                  <a:lnTo>
                    <a:pt x="3596" y="1399"/>
                  </a:lnTo>
                  <a:lnTo>
                    <a:pt x="3600" y="1397"/>
                  </a:lnTo>
                  <a:lnTo>
                    <a:pt x="3603" y="1395"/>
                  </a:lnTo>
                  <a:lnTo>
                    <a:pt x="3607" y="1391"/>
                  </a:lnTo>
                  <a:lnTo>
                    <a:pt x="3613" y="1382"/>
                  </a:lnTo>
                  <a:lnTo>
                    <a:pt x="3620" y="1371"/>
                  </a:lnTo>
                  <a:lnTo>
                    <a:pt x="3788" y="1007"/>
                  </a:lnTo>
                  <a:lnTo>
                    <a:pt x="3790" y="1007"/>
                  </a:lnTo>
                  <a:lnTo>
                    <a:pt x="3790" y="1380"/>
                  </a:lnTo>
                  <a:lnTo>
                    <a:pt x="3790" y="1386"/>
                  </a:lnTo>
                  <a:lnTo>
                    <a:pt x="3792" y="1389"/>
                  </a:lnTo>
                  <a:lnTo>
                    <a:pt x="3794" y="1394"/>
                  </a:lnTo>
                  <a:lnTo>
                    <a:pt x="3797" y="1397"/>
                  </a:lnTo>
                  <a:lnTo>
                    <a:pt x="3800" y="1401"/>
                  </a:lnTo>
                  <a:lnTo>
                    <a:pt x="3805" y="1403"/>
                  </a:lnTo>
                  <a:lnTo>
                    <a:pt x="3810" y="1404"/>
                  </a:lnTo>
                  <a:lnTo>
                    <a:pt x="3814" y="1404"/>
                  </a:lnTo>
                  <a:lnTo>
                    <a:pt x="3903" y="1404"/>
                  </a:lnTo>
                  <a:lnTo>
                    <a:pt x="3908" y="1404"/>
                  </a:lnTo>
                  <a:lnTo>
                    <a:pt x="3912" y="1403"/>
                  </a:lnTo>
                  <a:lnTo>
                    <a:pt x="3917" y="1401"/>
                  </a:lnTo>
                  <a:lnTo>
                    <a:pt x="3920" y="1397"/>
                  </a:lnTo>
                  <a:lnTo>
                    <a:pt x="3924" y="1394"/>
                  </a:lnTo>
                  <a:lnTo>
                    <a:pt x="3926" y="1389"/>
                  </a:lnTo>
                  <a:lnTo>
                    <a:pt x="3927" y="1385"/>
                  </a:lnTo>
                  <a:lnTo>
                    <a:pt x="3928" y="1380"/>
                  </a:lnTo>
                  <a:lnTo>
                    <a:pt x="3928" y="845"/>
                  </a:lnTo>
                  <a:lnTo>
                    <a:pt x="3927" y="837"/>
                  </a:lnTo>
                  <a:lnTo>
                    <a:pt x="3925" y="829"/>
                  </a:lnTo>
                  <a:lnTo>
                    <a:pt x="3920" y="822"/>
                  </a:lnTo>
                  <a:lnTo>
                    <a:pt x="3916" y="817"/>
                  </a:lnTo>
                  <a:close/>
                  <a:moveTo>
                    <a:pt x="3112" y="1096"/>
                  </a:moveTo>
                  <a:lnTo>
                    <a:pt x="3327" y="840"/>
                  </a:lnTo>
                  <a:lnTo>
                    <a:pt x="3331" y="836"/>
                  </a:lnTo>
                  <a:lnTo>
                    <a:pt x="3333" y="831"/>
                  </a:lnTo>
                  <a:lnTo>
                    <a:pt x="3334" y="827"/>
                  </a:lnTo>
                  <a:lnTo>
                    <a:pt x="3334" y="823"/>
                  </a:lnTo>
                  <a:lnTo>
                    <a:pt x="3334" y="819"/>
                  </a:lnTo>
                  <a:lnTo>
                    <a:pt x="3331" y="813"/>
                  </a:lnTo>
                  <a:lnTo>
                    <a:pt x="3327" y="810"/>
                  </a:lnTo>
                  <a:lnTo>
                    <a:pt x="3324" y="807"/>
                  </a:lnTo>
                  <a:lnTo>
                    <a:pt x="3318" y="806"/>
                  </a:lnTo>
                  <a:lnTo>
                    <a:pt x="3311" y="806"/>
                  </a:lnTo>
                  <a:lnTo>
                    <a:pt x="3213" y="806"/>
                  </a:lnTo>
                  <a:lnTo>
                    <a:pt x="3206" y="806"/>
                  </a:lnTo>
                  <a:lnTo>
                    <a:pt x="3201" y="807"/>
                  </a:lnTo>
                  <a:lnTo>
                    <a:pt x="3197" y="809"/>
                  </a:lnTo>
                  <a:lnTo>
                    <a:pt x="3194" y="810"/>
                  </a:lnTo>
                  <a:lnTo>
                    <a:pt x="3190" y="812"/>
                  </a:lnTo>
                  <a:lnTo>
                    <a:pt x="3188" y="815"/>
                  </a:lnTo>
                  <a:lnTo>
                    <a:pt x="2994" y="1056"/>
                  </a:lnTo>
                  <a:lnTo>
                    <a:pt x="2993" y="1056"/>
                  </a:lnTo>
                  <a:lnTo>
                    <a:pt x="2993" y="829"/>
                  </a:lnTo>
                  <a:lnTo>
                    <a:pt x="2992" y="824"/>
                  </a:lnTo>
                  <a:lnTo>
                    <a:pt x="2991" y="820"/>
                  </a:lnTo>
                  <a:lnTo>
                    <a:pt x="2989" y="815"/>
                  </a:lnTo>
                  <a:lnTo>
                    <a:pt x="2985" y="813"/>
                  </a:lnTo>
                  <a:lnTo>
                    <a:pt x="2982" y="810"/>
                  </a:lnTo>
                  <a:lnTo>
                    <a:pt x="2977" y="807"/>
                  </a:lnTo>
                  <a:lnTo>
                    <a:pt x="2973" y="806"/>
                  </a:lnTo>
                  <a:lnTo>
                    <a:pt x="2968" y="806"/>
                  </a:lnTo>
                  <a:lnTo>
                    <a:pt x="2884" y="806"/>
                  </a:lnTo>
                  <a:lnTo>
                    <a:pt x="2879" y="806"/>
                  </a:lnTo>
                  <a:lnTo>
                    <a:pt x="2875" y="807"/>
                  </a:lnTo>
                  <a:lnTo>
                    <a:pt x="2871" y="810"/>
                  </a:lnTo>
                  <a:lnTo>
                    <a:pt x="2868" y="812"/>
                  </a:lnTo>
                  <a:lnTo>
                    <a:pt x="2864" y="814"/>
                  </a:lnTo>
                  <a:lnTo>
                    <a:pt x="2862" y="818"/>
                  </a:lnTo>
                  <a:lnTo>
                    <a:pt x="2860" y="823"/>
                  </a:lnTo>
                  <a:lnTo>
                    <a:pt x="2860" y="829"/>
                  </a:lnTo>
                  <a:lnTo>
                    <a:pt x="2860" y="1380"/>
                  </a:lnTo>
                  <a:lnTo>
                    <a:pt x="2860" y="1386"/>
                  </a:lnTo>
                  <a:lnTo>
                    <a:pt x="2861" y="1390"/>
                  </a:lnTo>
                  <a:lnTo>
                    <a:pt x="2863" y="1394"/>
                  </a:lnTo>
                  <a:lnTo>
                    <a:pt x="2867" y="1397"/>
                  </a:lnTo>
                  <a:lnTo>
                    <a:pt x="2870" y="1401"/>
                  </a:lnTo>
                  <a:lnTo>
                    <a:pt x="2875" y="1403"/>
                  </a:lnTo>
                  <a:lnTo>
                    <a:pt x="2879" y="1404"/>
                  </a:lnTo>
                  <a:lnTo>
                    <a:pt x="2884" y="1404"/>
                  </a:lnTo>
                  <a:lnTo>
                    <a:pt x="2968" y="1404"/>
                  </a:lnTo>
                  <a:lnTo>
                    <a:pt x="2974" y="1404"/>
                  </a:lnTo>
                  <a:lnTo>
                    <a:pt x="2977" y="1403"/>
                  </a:lnTo>
                  <a:lnTo>
                    <a:pt x="2982" y="1401"/>
                  </a:lnTo>
                  <a:lnTo>
                    <a:pt x="2985" y="1397"/>
                  </a:lnTo>
                  <a:lnTo>
                    <a:pt x="2989" y="1394"/>
                  </a:lnTo>
                  <a:lnTo>
                    <a:pt x="2991" y="1390"/>
                  </a:lnTo>
                  <a:lnTo>
                    <a:pt x="2992" y="1386"/>
                  </a:lnTo>
                  <a:lnTo>
                    <a:pt x="2993" y="1380"/>
                  </a:lnTo>
                  <a:lnTo>
                    <a:pt x="2993" y="1146"/>
                  </a:lnTo>
                  <a:lnTo>
                    <a:pt x="2996" y="1146"/>
                  </a:lnTo>
                  <a:lnTo>
                    <a:pt x="3175" y="1393"/>
                  </a:lnTo>
                  <a:lnTo>
                    <a:pt x="3179" y="1398"/>
                  </a:lnTo>
                  <a:lnTo>
                    <a:pt x="3185" y="1402"/>
                  </a:lnTo>
                  <a:lnTo>
                    <a:pt x="3192" y="1404"/>
                  </a:lnTo>
                  <a:lnTo>
                    <a:pt x="3200" y="1404"/>
                  </a:lnTo>
                  <a:lnTo>
                    <a:pt x="3315" y="1404"/>
                  </a:lnTo>
                  <a:lnTo>
                    <a:pt x="3320" y="1404"/>
                  </a:lnTo>
                  <a:lnTo>
                    <a:pt x="3325" y="1403"/>
                  </a:lnTo>
                  <a:lnTo>
                    <a:pt x="3328" y="1401"/>
                  </a:lnTo>
                  <a:lnTo>
                    <a:pt x="3331" y="1398"/>
                  </a:lnTo>
                  <a:lnTo>
                    <a:pt x="3334" y="1394"/>
                  </a:lnTo>
                  <a:lnTo>
                    <a:pt x="3334" y="1390"/>
                  </a:lnTo>
                  <a:lnTo>
                    <a:pt x="3334" y="1387"/>
                  </a:lnTo>
                  <a:lnTo>
                    <a:pt x="3333" y="1383"/>
                  </a:lnTo>
                  <a:lnTo>
                    <a:pt x="3331" y="1380"/>
                  </a:lnTo>
                  <a:lnTo>
                    <a:pt x="3328" y="1376"/>
                  </a:lnTo>
                  <a:lnTo>
                    <a:pt x="3112" y="1096"/>
                  </a:lnTo>
                  <a:close/>
                  <a:moveTo>
                    <a:pt x="2146" y="812"/>
                  </a:moveTo>
                  <a:lnTo>
                    <a:pt x="2143" y="809"/>
                  </a:lnTo>
                  <a:lnTo>
                    <a:pt x="2138" y="807"/>
                  </a:lnTo>
                  <a:lnTo>
                    <a:pt x="2134" y="805"/>
                  </a:lnTo>
                  <a:lnTo>
                    <a:pt x="2129" y="805"/>
                  </a:lnTo>
                  <a:lnTo>
                    <a:pt x="1712" y="805"/>
                  </a:lnTo>
                  <a:lnTo>
                    <a:pt x="1707" y="805"/>
                  </a:lnTo>
                  <a:lnTo>
                    <a:pt x="1703" y="806"/>
                  </a:lnTo>
                  <a:lnTo>
                    <a:pt x="1698" y="809"/>
                  </a:lnTo>
                  <a:lnTo>
                    <a:pt x="1696" y="812"/>
                  </a:lnTo>
                  <a:lnTo>
                    <a:pt x="1692" y="815"/>
                  </a:lnTo>
                  <a:lnTo>
                    <a:pt x="1690" y="819"/>
                  </a:lnTo>
                  <a:lnTo>
                    <a:pt x="1688" y="823"/>
                  </a:lnTo>
                  <a:lnTo>
                    <a:pt x="1688" y="828"/>
                  </a:lnTo>
                  <a:lnTo>
                    <a:pt x="1688" y="894"/>
                  </a:lnTo>
                  <a:lnTo>
                    <a:pt x="1688" y="898"/>
                  </a:lnTo>
                  <a:lnTo>
                    <a:pt x="1690" y="903"/>
                  </a:lnTo>
                  <a:lnTo>
                    <a:pt x="1692" y="906"/>
                  </a:lnTo>
                  <a:lnTo>
                    <a:pt x="1696" y="910"/>
                  </a:lnTo>
                  <a:lnTo>
                    <a:pt x="1699" y="913"/>
                  </a:lnTo>
                  <a:lnTo>
                    <a:pt x="1704" y="914"/>
                  </a:lnTo>
                  <a:lnTo>
                    <a:pt x="1708" y="915"/>
                  </a:lnTo>
                  <a:lnTo>
                    <a:pt x="1712" y="917"/>
                  </a:lnTo>
                  <a:lnTo>
                    <a:pt x="1854" y="917"/>
                  </a:lnTo>
                  <a:lnTo>
                    <a:pt x="1854" y="1380"/>
                  </a:lnTo>
                  <a:lnTo>
                    <a:pt x="1854" y="1386"/>
                  </a:lnTo>
                  <a:lnTo>
                    <a:pt x="1855" y="1390"/>
                  </a:lnTo>
                  <a:lnTo>
                    <a:pt x="1858" y="1394"/>
                  </a:lnTo>
                  <a:lnTo>
                    <a:pt x="1861" y="1397"/>
                  </a:lnTo>
                  <a:lnTo>
                    <a:pt x="1865" y="1401"/>
                  </a:lnTo>
                  <a:lnTo>
                    <a:pt x="1869" y="1403"/>
                  </a:lnTo>
                  <a:lnTo>
                    <a:pt x="1874" y="1404"/>
                  </a:lnTo>
                  <a:lnTo>
                    <a:pt x="1878" y="1404"/>
                  </a:lnTo>
                  <a:lnTo>
                    <a:pt x="1963" y="1404"/>
                  </a:lnTo>
                  <a:lnTo>
                    <a:pt x="1968" y="1404"/>
                  </a:lnTo>
                  <a:lnTo>
                    <a:pt x="1973" y="1403"/>
                  </a:lnTo>
                  <a:lnTo>
                    <a:pt x="1976" y="1401"/>
                  </a:lnTo>
                  <a:lnTo>
                    <a:pt x="1980" y="1397"/>
                  </a:lnTo>
                  <a:lnTo>
                    <a:pt x="1983" y="1394"/>
                  </a:lnTo>
                  <a:lnTo>
                    <a:pt x="1985" y="1390"/>
                  </a:lnTo>
                  <a:lnTo>
                    <a:pt x="1986" y="1386"/>
                  </a:lnTo>
                  <a:lnTo>
                    <a:pt x="1988" y="1380"/>
                  </a:lnTo>
                  <a:lnTo>
                    <a:pt x="1988" y="917"/>
                  </a:lnTo>
                  <a:lnTo>
                    <a:pt x="2129" y="917"/>
                  </a:lnTo>
                  <a:lnTo>
                    <a:pt x="2132" y="915"/>
                  </a:lnTo>
                  <a:lnTo>
                    <a:pt x="2137" y="914"/>
                  </a:lnTo>
                  <a:lnTo>
                    <a:pt x="2140" y="913"/>
                  </a:lnTo>
                  <a:lnTo>
                    <a:pt x="2145" y="911"/>
                  </a:lnTo>
                  <a:lnTo>
                    <a:pt x="2148" y="907"/>
                  </a:lnTo>
                  <a:lnTo>
                    <a:pt x="2151" y="903"/>
                  </a:lnTo>
                  <a:lnTo>
                    <a:pt x="2153" y="898"/>
                  </a:lnTo>
                  <a:lnTo>
                    <a:pt x="2153" y="894"/>
                  </a:lnTo>
                  <a:lnTo>
                    <a:pt x="2153" y="828"/>
                  </a:lnTo>
                  <a:lnTo>
                    <a:pt x="2153" y="823"/>
                  </a:lnTo>
                  <a:lnTo>
                    <a:pt x="2152" y="819"/>
                  </a:lnTo>
                  <a:lnTo>
                    <a:pt x="2148" y="815"/>
                  </a:lnTo>
                  <a:lnTo>
                    <a:pt x="2146" y="812"/>
                  </a:lnTo>
                  <a:close/>
                  <a:moveTo>
                    <a:pt x="1047" y="902"/>
                  </a:moveTo>
                  <a:lnTo>
                    <a:pt x="1041" y="893"/>
                  </a:lnTo>
                  <a:lnTo>
                    <a:pt x="1036" y="884"/>
                  </a:lnTo>
                  <a:lnTo>
                    <a:pt x="1029" y="876"/>
                  </a:lnTo>
                  <a:lnTo>
                    <a:pt x="1022" y="868"/>
                  </a:lnTo>
                  <a:lnTo>
                    <a:pt x="1015" y="860"/>
                  </a:lnTo>
                  <a:lnTo>
                    <a:pt x="1007" y="853"/>
                  </a:lnTo>
                  <a:lnTo>
                    <a:pt x="999" y="846"/>
                  </a:lnTo>
                  <a:lnTo>
                    <a:pt x="991" y="840"/>
                  </a:lnTo>
                  <a:lnTo>
                    <a:pt x="973" y="830"/>
                  </a:lnTo>
                  <a:lnTo>
                    <a:pt x="954" y="821"/>
                  </a:lnTo>
                  <a:lnTo>
                    <a:pt x="932" y="813"/>
                  </a:lnTo>
                  <a:lnTo>
                    <a:pt x="910" y="807"/>
                  </a:lnTo>
                  <a:lnTo>
                    <a:pt x="886" y="804"/>
                  </a:lnTo>
                  <a:lnTo>
                    <a:pt x="863" y="801"/>
                  </a:lnTo>
                  <a:lnTo>
                    <a:pt x="840" y="800"/>
                  </a:lnTo>
                  <a:lnTo>
                    <a:pt x="814" y="798"/>
                  </a:lnTo>
                  <a:lnTo>
                    <a:pt x="789" y="798"/>
                  </a:lnTo>
                  <a:lnTo>
                    <a:pt x="765" y="800"/>
                  </a:lnTo>
                  <a:lnTo>
                    <a:pt x="744" y="801"/>
                  </a:lnTo>
                  <a:lnTo>
                    <a:pt x="723" y="802"/>
                  </a:lnTo>
                  <a:lnTo>
                    <a:pt x="700" y="803"/>
                  </a:lnTo>
                  <a:lnTo>
                    <a:pt x="680" y="805"/>
                  </a:lnTo>
                  <a:lnTo>
                    <a:pt x="663" y="807"/>
                  </a:lnTo>
                  <a:lnTo>
                    <a:pt x="647" y="809"/>
                  </a:lnTo>
                  <a:lnTo>
                    <a:pt x="639" y="811"/>
                  </a:lnTo>
                  <a:lnTo>
                    <a:pt x="633" y="812"/>
                  </a:lnTo>
                  <a:lnTo>
                    <a:pt x="627" y="814"/>
                  </a:lnTo>
                  <a:lnTo>
                    <a:pt x="623" y="818"/>
                  </a:lnTo>
                  <a:lnTo>
                    <a:pt x="618" y="822"/>
                  </a:lnTo>
                  <a:lnTo>
                    <a:pt x="615" y="827"/>
                  </a:lnTo>
                  <a:lnTo>
                    <a:pt x="614" y="834"/>
                  </a:lnTo>
                  <a:lnTo>
                    <a:pt x="613" y="842"/>
                  </a:lnTo>
                  <a:lnTo>
                    <a:pt x="613" y="1380"/>
                  </a:lnTo>
                  <a:lnTo>
                    <a:pt x="613" y="1386"/>
                  </a:lnTo>
                  <a:lnTo>
                    <a:pt x="615" y="1389"/>
                  </a:lnTo>
                  <a:lnTo>
                    <a:pt x="617" y="1394"/>
                  </a:lnTo>
                  <a:lnTo>
                    <a:pt x="619" y="1397"/>
                  </a:lnTo>
                  <a:lnTo>
                    <a:pt x="624" y="1401"/>
                  </a:lnTo>
                  <a:lnTo>
                    <a:pt x="627" y="1403"/>
                  </a:lnTo>
                  <a:lnTo>
                    <a:pt x="632" y="1404"/>
                  </a:lnTo>
                  <a:lnTo>
                    <a:pt x="637" y="1404"/>
                  </a:lnTo>
                  <a:lnTo>
                    <a:pt x="722" y="1404"/>
                  </a:lnTo>
                  <a:lnTo>
                    <a:pt x="728" y="1404"/>
                  </a:lnTo>
                  <a:lnTo>
                    <a:pt x="731" y="1403"/>
                  </a:lnTo>
                  <a:lnTo>
                    <a:pt x="736" y="1401"/>
                  </a:lnTo>
                  <a:lnTo>
                    <a:pt x="739" y="1397"/>
                  </a:lnTo>
                  <a:lnTo>
                    <a:pt x="743" y="1394"/>
                  </a:lnTo>
                  <a:lnTo>
                    <a:pt x="744" y="1390"/>
                  </a:lnTo>
                  <a:lnTo>
                    <a:pt x="746" y="1386"/>
                  </a:lnTo>
                  <a:lnTo>
                    <a:pt x="746" y="1380"/>
                  </a:lnTo>
                  <a:lnTo>
                    <a:pt x="746" y="1202"/>
                  </a:lnTo>
                  <a:lnTo>
                    <a:pt x="756" y="1203"/>
                  </a:lnTo>
                  <a:lnTo>
                    <a:pt x="778" y="1203"/>
                  </a:lnTo>
                  <a:lnTo>
                    <a:pt x="801" y="1204"/>
                  </a:lnTo>
                  <a:lnTo>
                    <a:pt x="814" y="1205"/>
                  </a:lnTo>
                  <a:lnTo>
                    <a:pt x="838" y="1204"/>
                  </a:lnTo>
                  <a:lnTo>
                    <a:pt x="862" y="1203"/>
                  </a:lnTo>
                  <a:lnTo>
                    <a:pt x="886" y="1199"/>
                  </a:lnTo>
                  <a:lnTo>
                    <a:pt x="910" y="1195"/>
                  </a:lnTo>
                  <a:lnTo>
                    <a:pt x="932" y="1189"/>
                  </a:lnTo>
                  <a:lnTo>
                    <a:pt x="952" y="1182"/>
                  </a:lnTo>
                  <a:lnTo>
                    <a:pt x="973" y="1173"/>
                  </a:lnTo>
                  <a:lnTo>
                    <a:pt x="990" y="1162"/>
                  </a:lnTo>
                  <a:lnTo>
                    <a:pt x="999" y="1156"/>
                  </a:lnTo>
                  <a:lnTo>
                    <a:pt x="1007" y="1149"/>
                  </a:lnTo>
                  <a:lnTo>
                    <a:pt x="1015" y="1143"/>
                  </a:lnTo>
                  <a:lnTo>
                    <a:pt x="1022" y="1135"/>
                  </a:lnTo>
                  <a:lnTo>
                    <a:pt x="1029" y="1127"/>
                  </a:lnTo>
                  <a:lnTo>
                    <a:pt x="1036" y="1118"/>
                  </a:lnTo>
                  <a:lnTo>
                    <a:pt x="1041" y="1109"/>
                  </a:lnTo>
                  <a:lnTo>
                    <a:pt x="1047" y="1099"/>
                  </a:lnTo>
                  <a:lnTo>
                    <a:pt x="1053" y="1088"/>
                  </a:lnTo>
                  <a:lnTo>
                    <a:pt x="1057" y="1077"/>
                  </a:lnTo>
                  <a:lnTo>
                    <a:pt x="1061" y="1064"/>
                  </a:lnTo>
                  <a:lnTo>
                    <a:pt x="1064" y="1052"/>
                  </a:lnTo>
                  <a:lnTo>
                    <a:pt x="1066" y="1039"/>
                  </a:lnTo>
                  <a:lnTo>
                    <a:pt x="1069" y="1027"/>
                  </a:lnTo>
                  <a:lnTo>
                    <a:pt x="1070" y="1013"/>
                  </a:lnTo>
                  <a:lnTo>
                    <a:pt x="1070" y="1001"/>
                  </a:lnTo>
                  <a:lnTo>
                    <a:pt x="1070" y="987"/>
                  </a:lnTo>
                  <a:lnTo>
                    <a:pt x="1069" y="974"/>
                  </a:lnTo>
                  <a:lnTo>
                    <a:pt x="1066" y="961"/>
                  </a:lnTo>
                  <a:lnTo>
                    <a:pt x="1064" y="948"/>
                  </a:lnTo>
                  <a:lnTo>
                    <a:pt x="1061" y="937"/>
                  </a:lnTo>
                  <a:lnTo>
                    <a:pt x="1057" y="924"/>
                  </a:lnTo>
                  <a:lnTo>
                    <a:pt x="1053" y="913"/>
                  </a:lnTo>
                  <a:lnTo>
                    <a:pt x="1047" y="902"/>
                  </a:lnTo>
                  <a:close/>
                  <a:moveTo>
                    <a:pt x="746" y="911"/>
                  </a:moveTo>
                  <a:lnTo>
                    <a:pt x="746" y="911"/>
                  </a:lnTo>
                  <a:lnTo>
                    <a:pt x="756" y="911"/>
                  </a:lnTo>
                  <a:lnTo>
                    <a:pt x="779" y="910"/>
                  </a:lnTo>
                  <a:lnTo>
                    <a:pt x="802" y="909"/>
                  </a:lnTo>
                  <a:lnTo>
                    <a:pt x="814" y="909"/>
                  </a:lnTo>
                  <a:lnTo>
                    <a:pt x="829" y="909"/>
                  </a:lnTo>
                  <a:lnTo>
                    <a:pt x="843" y="910"/>
                  </a:lnTo>
                  <a:lnTo>
                    <a:pt x="857" y="911"/>
                  </a:lnTo>
                  <a:lnTo>
                    <a:pt x="868" y="913"/>
                  </a:lnTo>
                  <a:lnTo>
                    <a:pt x="879" y="917"/>
                  </a:lnTo>
                  <a:lnTo>
                    <a:pt x="889" y="920"/>
                  </a:lnTo>
                  <a:lnTo>
                    <a:pt x="898" y="924"/>
                  </a:lnTo>
                  <a:lnTo>
                    <a:pt x="906" y="929"/>
                  </a:lnTo>
                  <a:lnTo>
                    <a:pt x="914" y="936"/>
                  </a:lnTo>
                  <a:lnTo>
                    <a:pt x="920" y="943"/>
                  </a:lnTo>
                  <a:lnTo>
                    <a:pt x="926" y="951"/>
                  </a:lnTo>
                  <a:lnTo>
                    <a:pt x="931" y="960"/>
                  </a:lnTo>
                  <a:lnTo>
                    <a:pt x="934" y="970"/>
                  </a:lnTo>
                  <a:lnTo>
                    <a:pt x="936" y="979"/>
                  </a:lnTo>
                  <a:lnTo>
                    <a:pt x="938" y="989"/>
                  </a:lnTo>
                  <a:lnTo>
                    <a:pt x="939" y="1001"/>
                  </a:lnTo>
                  <a:lnTo>
                    <a:pt x="938" y="1011"/>
                  </a:lnTo>
                  <a:lnTo>
                    <a:pt x="936" y="1021"/>
                  </a:lnTo>
                  <a:lnTo>
                    <a:pt x="934" y="1031"/>
                  </a:lnTo>
                  <a:lnTo>
                    <a:pt x="931" y="1041"/>
                  </a:lnTo>
                  <a:lnTo>
                    <a:pt x="926" y="1051"/>
                  </a:lnTo>
                  <a:lnTo>
                    <a:pt x="920" y="1059"/>
                  </a:lnTo>
                  <a:lnTo>
                    <a:pt x="915" y="1066"/>
                  </a:lnTo>
                  <a:lnTo>
                    <a:pt x="908" y="1073"/>
                  </a:lnTo>
                  <a:lnTo>
                    <a:pt x="900" y="1079"/>
                  </a:lnTo>
                  <a:lnTo>
                    <a:pt x="892" y="1084"/>
                  </a:lnTo>
                  <a:lnTo>
                    <a:pt x="882" y="1087"/>
                  </a:lnTo>
                  <a:lnTo>
                    <a:pt x="871" y="1090"/>
                  </a:lnTo>
                  <a:lnTo>
                    <a:pt x="859" y="1093"/>
                  </a:lnTo>
                  <a:lnTo>
                    <a:pt x="845" y="1095"/>
                  </a:lnTo>
                  <a:lnTo>
                    <a:pt x="830" y="1096"/>
                  </a:lnTo>
                  <a:lnTo>
                    <a:pt x="814" y="1096"/>
                  </a:lnTo>
                  <a:lnTo>
                    <a:pt x="802" y="1096"/>
                  </a:lnTo>
                  <a:lnTo>
                    <a:pt x="779" y="1095"/>
                  </a:lnTo>
                  <a:lnTo>
                    <a:pt x="756" y="1094"/>
                  </a:lnTo>
                  <a:lnTo>
                    <a:pt x="746" y="1094"/>
                  </a:lnTo>
                  <a:lnTo>
                    <a:pt x="746" y="911"/>
                  </a:lnTo>
                  <a:close/>
                  <a:moveTo>
                    <a:pt x="333" y="1154"/>
                  </a:moveTo>
                  <a:lnTo>
                    <a:pt x="333" y="1154"/>
                  </a:lnTo>
                  <a:lnTo>
                    <a:pt x="202" y="1154"/>
                  </a:lnTo>
                  <a:lnTo>
                    <a:pt x="261" y="918"/>
                  </a:lnTo>
                  <a:lnTo>
                    <a:pt x="261" y="915"/>
                  </a:lnTo>
                  <a:lnTo>
                    <a:pt x="263" y="913"/>
                  </a:lnTo>
                  <a:lnTo>
                    <a:pt x="264" y="911"/>
                  </a:lnTo>
                  <a:lnTo>
                    <a:pt x="267" y="910"/>
                  </a:lnTo>
                  <a:lnTo>
                    <a:pt x="271" y="911"/>
                  </a:lnTo>
                  <a:lnTo>
                    <a:pt x="272" y="912"/>
                  </a:lnTo>
                  <a:lnTo>
                    <a:pt x="273" y="914"/>
                  </a:lnTo>
                  <a:lnTo>
                    <a:pt x="274" y="918"/>
                  </a:lnTo>
                  <a:lnTo>
                    <a:pt x="333" y="1154"/>
                  </a:lnTo>
                  <a:close/>
                </a:path>
              </a:pathLst>
            </a:custGeom>
            <a:solidFill>
              <a:srgbClr val="162F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20290559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лева и два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12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4679952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4679952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8573247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права и два объекта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38" y="188640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287338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5"/>
          </p:nvPr>
        </p:nvSpPr>
        <p:spPr>
          <a:xfrm>
            <a:off x="287338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1"/>
          </p:nvPr>
        </p:nvSpPr>
        <p:spPr>
          <a:xfrm>
            <a:off x="4670945" y="1268412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0138729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38" y="188640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6156325" y="1268412"/>
            <a:ext cx="269133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287338" y="1268412"/>
            <a:ext cx="269133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3221831" y="1268412"/>
            <a:ext cx="269133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3750015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низу и два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>
          <a:xfrm>
            <a:off x="287338" y="188640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287338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46709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5"/>
          </p:nvPr>
        </p:nvSpPr>
        <p:spPr>
          <a:xfrm>
            <a:off x="287338" y="3897311"/>
            <a:ext cx="8569325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0535191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верху и два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5"/>
          </p:nvPr>
        </p:nvSpPr>
        <p:spPr>
          <a:xfrm>
            <a:off x="287338" y="1268412"/>
            <a:ext cx="8569325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4"/>
          </p:nvPr>
        </p:nvSpPr>
        <p:spPr>
          <a:xfrm>
            <a:off x="287338" y="3904796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6"/>
          </p:nvPr>
        </p:nvSpPr>
        <p:spPr>
          <a:xfrm>
            <a:off x="4670945" y="3904796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831199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38" y="3933825"/>
            <a:ext cx="4176713" cy="24114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7"/>
          </p:nvPr>
        </p:nvSpPr>
        <p:spPr>
          <a:xfrm>
            <a:off x="4679950" y="3933825"/>
            <a:ext cx="4176713" cy="24114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287338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8"/>
          </p:nvPr>
        </p:nvSpPr>
        <p:spPr>
          <a:xfrm>
            <a:off x="46709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424040098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объекта с под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287338" y="3934473"/>
            <a:ext cx="4175125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287338" y="4371456"/>
            <a:ext cx="41751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4679951" y="3934473"/>
            <a:ext cx="4176711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4679951" y="4371456"/>
            <a:ext cx="417671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287338" y="1241223"/>
            <a:ext cx="4175125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287338" y="1679949"/>
            <a:ext cx="41751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4679951" y="1241223"/>
            <a:ext cx="4176711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4679951" y="1679949"/>
            <a:ext cx="417671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287338" y="1776413"/>
            <a:ext cx="4175125" cy="1876141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4679950" y="1776413"/>
            <a:ext cx="4176713" cy="1876141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287338" y="4467950"/>
            <a:ext cx="4175125" cy="18772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4679950" y="4467950"/>
            <a:ext cx="4176713" cy="18772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0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6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2486538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объект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287338" y="5978234"/>
            <a:ext cx="4175125" cy="360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4679951" y="5978234"/>
            <a:ext cx="4176711" cy="360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287338" y="3284984"/>
            <a:ext cx="4175125" cy="360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4679951" y="3284984"/>
            <a:ext cx="4176711" cy="360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287338" y="1254295"/>
            <a:ext cx="4175125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4679950" y="1254295"/>
            <a:ext cx="4176713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287338" y="3945802"/>
            <a:ext cx="4175125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4679950" y="3945802"/>
            <a:ext cx="4176713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0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423172998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 hasCustomPrompt="1"/>
          </p:nvPr>
        </p:nvSpPr>
        <p:spPr>
          <a:xfrm>
            <a:off x="287338" y="1268760"/>
            <a:ext cx="8560318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4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6099623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79950" y="1268759"/>
            <a:ext cx="4176712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87338" y="1268413"/>
            <a:ext cx="4176713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42166981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57305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3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</p:txBody>
      </p:sp>
      <p:sp>
        <p:nvSpPr>
          <p:cNvPr id="4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1652388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1268759"/>
            <a:ext cx="4161118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>
          <a:xfrm>
            <a:off x="287338" y="188640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4670943" y="1268413"/>
            <a:ext cx="4176713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0828046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37" y="3926849"/>
            <a:ext cx="8569325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87339" y="1268413"/>
            <a:ext cx="8560318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2477372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ри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3926849"/>
            <a:ext cx="2674318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1" name="Рисунок 3"/>
          <p:cNvSpPr>
            <a:spLocks noGrp="1"/>
          </p:cNvSpPr>
          <p:nvPr>
            <p:ph type="pic" sz="quarter" idx="14" hasCustomPrompt="1"/>
          </p:nvPr>
        </p:nvSpPr>
        <p:spPr>
          <a:xfrm>
            <a:off x="3240656" y="3926849"/>
            <a:ext cx="2664000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2" name="Рисунок 3"/>
          <p:cNvSpPr>
            <a:spLocks noGrp="1"/>
          </p:cNvSpPr>
          <p:nvPr>
            <p:ph type="pic" sz="quarter" idx="15" hasCustomPrompt="1"/>
          </p:nvPr>
        </p:nvSpPr>
        <p:spPr>
          <a:xfrm>
            <a:off x="6183655" y="3926849"/>
            <a:ext cx="2673007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39" y="1268413"/>
            <a:ext cx="8560318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586150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3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79950" y="1268759"/>
            <a:ext cx="4176712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287338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5"/>
          </p:nvPr>
        </p:nvSpPr>
        <p:spPr>
          <a:xfrm>
            <a:off x="287338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77886498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5" y="1268759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5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287338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7"/>
          </p:nvPr>
        </p:nvSpPr>
        <p:spPr>
          <a:xfrm>
            <a:off x="287338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78531200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5" y="1268759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5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38" y="1268413"/>
            <a:ext cx="4176712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87394767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5" y="1268759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5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7" name="Рисунок 7"/>
          <p:cNvSpPr>
            <a:spLocks noGrp="1"/>
          </p:cNvSpPr>
          <p:nvPr>
            <p:ph type="pic" sz="quarter" idx="16" hasCustomPrompt="1"/>
          </p:nvPr>
        </p:nvSpPr>
        <p:spPr>
          <a:xfrm>
            <a:off x="287338" y="1268759"/>
            <a:ext cx="4161118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10" name="Рисунок 7"/>
          <p:cNvSpPr>
            <a:spLocks noGrp="1"/>
          </p:cNvSpPr>
          <p:nvPr>
            <p:ph type="pic" sz="quarter" idx="17" hasCustomPrompt="1"/>
          </p:nvPr>
        </p:nvSpPr>
        <p:spPr>
          <a:xfrm>
            <a:off x="287338" y="3923099"/>
            <a:ext cx="4161118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1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63964622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ять дополне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4" name="Объект 4"/>
          <p:cNvSpPr>
            <a:spLocks noGrp="1"/>
          </p:cNvSpPr>
          <p:nvPr>
            <p:ph sz="quarter" idx="17"/>
          </p:nvPr>
        </p:nvSpPr>
        <p:spPr>
          <a:xfrm>
            <a:off x="287337" y="1268414"/>
            <a:ext cx="5653087" cy="33131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3"/>
          <p:cNvSpPr>
            <a:spLocks noGrp="1"/>
          </p:cNvSpPr>
          <p:nvPr>
            <p:ph sz="quarter" idx="18"/>
          </p:nvPr>
        </p:nvSpPr>
        <p:spPr>
          <a:xfrm>
            <a:off x="6156326" y="1272660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3"/>
          <p:cNvSpPr>
            <a:spLocks noGrp="1"/>
          </p:cNvSpPr>
          <p:nvPr>
            <p:ph sz="quarter" idx="19"/>
          </p:nvPr>
        </p:nvSpPr>
        <p:spPr>
          <a:xfrm>
            <a:off x="6156326" y="4809671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9" name="Объект 3"/>
          <p:cNvSpPr>
            <a:spLocks noGrp="1"/>
          </p:cNvSpPr>
          <p:nvPr>
            <p:ph sz="quarter" idx="20"/>
          </p:nvPr>
        </p:nvSpPr>
        <p:spPr>
          <a:xfrm>
            <a:off x="6156326" y="3041166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20" name="Объект 3"/>
          <p:cNvSpPr>
            <a:spLocks noGrp="1"/>
          </p:cNvSpPr>
          <p:nvPr>
            <p:ph sz="quarter" idx="21"/>
          </p:nvPr>
        </p:nvSpPr>
        <p:spPr>
          <a:xfrm>
            <a:off x="3221831" y="4809671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21" name="Объект 3"/>
          <p:cNvSpPr>
            <a:spLocks noGrp="1"/>
          </p:cNvSpPr>
          <p:nvPr>
            <p:ph sz="quarter" idx="22"/>
          </p:nvPr>
        </p:nvSpPr>
        <p:spPr>
          <a:xfrm>
            <a:off x="287338" y="4809671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77447990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объекта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7" y="188640"/>
            <a:ext cx="8569325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7" y="124122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3231621" y="124122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56326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36" y="1679949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31620" y="1679949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1679949"/>
            <a:ext cx="270015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Рисунок 18"/>
          <p:cNvSpPr>
            <a:spLocks noGrp="1"/>
          </p:cNvSpPr>
          <p:nvPr>
            <p:ph type="pic" sz="quarter" idx="14" hasCustomPrompt="1"/>
          </p:nvPr>
        </p:nvSpPr>
        <p:spPr>
          <a:xfrm>
            <a:off x="287338" y="3933825"/>
            <a:ext cx="8569325" cy="23955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21" name="Объект 20"/>
          <p:cNvSpPr>
            <a:spLocks noGrp="1"/>
          </p:cNvSpPr>
          <p:nvPr>
            <p:ph sz="quarter" idx="15" hasCustomPrompt="1"/>
          </p:nvPr>
        </p:nvSpPr>
        <p:spPr>
          <a:xfrm>
            <a:off x="287337" y="1726555"/>
            <a:ext cx="2700336" cy="19797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3" name="Объект 22"/>
          <p:cNvSpPr>
            <a:spLocks noGrp="1"/>
          </p:cNvSpPr>
          <p:nvPr>
            <p:ph sz="quarter" idx="16" hasCustomPrompt="1"/>
          </p:nvPr>
        </p:nvSpPr>
        <p:spPr>
          <a:xfrm>
            <a:off x="3231621" y="1726555"/>
            <a:ext cx="2700337" cy="19798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5" name="Объект 24"/>
          <p:cNvSpPr>
            <a:spLocks noGrp="1"/>
          </p:cNvSpPr>
          <p:nvPr>
            <p:ph sz="quarter" idx="17" hasCustomPrompt="1"/>
          </p:nvPr>
        </p:nvSpPr>
        <p:spPr>
          <a:xfrm>
            <a:off x="6156325" y="1726555"/>
            <a:ext cx="2700000" cy="19798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4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26901722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4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41223"/>
            <a:ext cx="2700337" cy="5087159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3221038" y="1739255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6156325" y="1739255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>
          <a:xfrm>
            <a:off x="3221038" y="4407372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3" name="Объект 12"/>
          <p:cNvSpPr>
            <a:spLocks noGrp="1"/>
          </p:cNvSpPr>
          <p:nvPr>
            <p:ph sz="quarter" idx="15" hasCustomPrompt="1"/>
          </p:nvPr>
        </p:nvSpPr>
        <p:spPr>
          <a:xfrm>
            <a:off x="6156325" y="4407372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3222000" y="1253923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3221038" y="16926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Текст 5"/>
          <p:cNvSpPr>
            <a:spLocks noGrp="1"/>
          </p:cNvSpPr>
          <p:nvPr>
            <p:ph type="body" sz="quarter" idx="17" hasCustomPrompt="1"/>
          </p:nvPr>
        </p:nvSpPr>
        <p:spPr>
          <a:xfrm>
            <a:off x="6156325" y="1253923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6155363" y="16926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Текст 5"/>
          <p:cNvSpPr>
            <a:spLocks noGrp="1"/>
          </p:cNvSpPr>
          <p:nvPr>
            <p:ph type="body" sz="quarter" idx="18" hasCustomPrompt="1"/>
          </p:nvPr>
        </p:nvSpPr>
        <p:spPr>
          <a:xfrm>
            <a:off x="3221038" y="3922040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3220076" y="436076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Текст 5"/>
          <p:cNvSpPr>
            <a:spLocks noGrp="1"/>
          </p:cNvSpPr>
          <p:nvPr>
            <p:ph type="body" sz="quarter" idx="19" hasCustomPrompt="1"/>
          </p:nvPr>
        </p:nvSpPr>
        <p:spPr>
          <a:xfrm>
            <a:off x="6156663" y="3922040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>
            <a:off x="6155701" y="436076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20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41413834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21" name="ContentsTitle5"/>
          <p:cNvSpPr txBox="1"/>
          <p:nvPr/>
        </p:nvSpPr>
        <p:spPr>
          <a:xfrm>
            <a:off x="641276" y="2628856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24" name="line5"/>
          <p:cNvCxnSpPr/>
          <p:nvPr/>
        </p:nvCxnSpPr>
        <p:spPr>
          <a:xfrm>
            <a:off x="297656" y="2891978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sNumber5"/>
          <p:cNvSpPr txBox="1"/>
          <p:nvPr/>
        </p:nvSpPr>
        <p:spPr>
          <a:xfrm>
            <a:off x="287524" y="249104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5</a:t>
            </a:r>
            <a:endParaRPr lang="ru-RU" sz="1800" dirty="0" smtClean="0">
              <a:solidFill>
                <a:schemeClr val="bg2"/>
              </a:solidFill>
            </a:endParaRPr>
          </a:p>
        </p:txBody>
      </p:sp>
      <p:sp>
        <p:nvSpPr>
          <p:cNvPr id="13" name="ContentsTitle3"/>
          <p:cNvSpPr txBox="1"/>
          <p:nvPr/>
        </p:nvSpPr>
        <p:spPr>
          <a:xfrm>
            <a:off x="641276" y="1964953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16" name="line3"/>
          <p:cNvCxnSpPr/>
          <p:nvPr/>
        </p:nvCxnSpPr>
        <p:spPr>
          <a:xfrm>
            <a:off x="297656" y="220136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sNumber3"/>
          <p:cNvSpPr txBox="1"/>
          <p:nvPr/>
        </p:nvSpPr>
        <p:spPr>
          <a:xfrm>
            <a:off x="287524" y="181443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3</a:t>
            </a:r>
            <a:endParaRPr lang="ru-RU" sz="1800" dirty="0" smtClean="0">
              <a:solidFill>
                <a:schemeClr val="bg2"/>
              </a:solidFill>
            </a:endParaRPr>
          </a:p>
        </p:txBody>
      </p:sp>
      <p:sp>
        <p:nvSpPr>
          <p:cNvPr id="17" name="ContentsTitle4"/>
          <p:cNvSpPr txBox="1"/>
          <p:nvPr/>
        </p:nvSpPr>
        <p:spPr>
          <a:xfrm>
            <a:off x="641276" y="2298492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20" name="line4"/>
          <p:cNvCxnSpPr/>
          <p:nvPr/>
        </p:nvCxnSpPr>
        <p:spPr>
          <a:xfrm>
            <a:off x="297656" y="254667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sNumber4"/>
          <p:cNvSpPr txBox="1"/>
          <p:nvPr/>
        </p:nvSpPr>
        <p:spPr>
          <a:xfrm>
            <a:off x="287524" y="2154327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4</a:t>
            </a:r>
            <a:endParaRPr lang="ru-RU" sz="1800" dirty="0" smtClean="0">
              <a:solidFill>
                <a:schemeClr val="bg2"/>
              </a:solidFill>
            </a:endParaRPr>
          </a:p>
        </p:txBody>
      </p:sp>
      <p:sp>
        <p:nvSpPr>
          <p:cNvPr id="4" name="ContentsTitle1"/>
          <p:cNvSpPr txBox="1"/>
          <p:nvPr/>
        </p:nvSpPr>
        <p:spPr>
          <a:xfrm>
            <a:off x="641276" y="127882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 smtClean="0"/>
              <a:t>Название раздела</a:t>
            </a:r>
          </a:p>
        </p:txBody>
      </p:sp>
      <p:cxnSp>
        <p:nvCxnSpPr>
          <p:cNvPr id="8" name="line1"/>
          <p:cNvCxnSpPr/>
          <p:nvPr/>
        </p:nvCxnSpPr>
        <p:spPr>
          <a:xfrm>
            <a:off x="297656" y="151075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tentsNumber1"/>
          <p:cNvSpPr txBox="1"/>
          <p:nvPr/>
        </p:nvSpPr>
        <p:spPr>
          <a:xfrm>
            <a:off x="287524" y="111561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25" name="ContentsTitle6"/>
          <p:cNvSpPr txBox="1"/>
          <p:nvPr/>
        </p:nvSpPr>
        <p:spPr>
          <a:xfrm>
            <a:off x="641276" y="296181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28" name="line6"/>
          <p:cNvCxnSpPr/>
          <p:nvPr/>
        </p:nvCxnSpPr>
        <p:spPr>
          <a:xfrm>
            <a:off x="297656" y="323728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ContentsNumber6"/>
          <p:cNvSpPr txBox="1"/>
          <p:nvPr/>
        </p:nvSpPr>
        <p:spPr>
          <a:xfrm>
            <a:off x="287524" y="2830351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6</a:t>
            </a:r>
            <a:endParaRPr lang="ru-RU" sz="1800" dirty="0" smtClean="0">
              <a:solidFill>
                <a:schemeClr val="bg2"/>
              </a:solidFill>
            </a:endParaRPr>
          </a:p>
        </p:txBody>
      </p:sp>
      <p:sp>
        <p:nvSpPr>
          <p:cNvPr id="9" name="ContentsTitle2"/>
          <p:cNvSpPr txBox="1"/>
          <p:nvPr/>
        </p:nvSpPr>
        <p:spPr>
          <a:xfrm>
            <a:off x="641276" y="1625065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</a:t>
            </a:r>
            <a:r>
              <a:rPr lang="ru-RU" sz="1600" dirty="0" smtClean="0"/>
              <a:t>раздела</a:t>
            </a:r>
            <a:endParaRPr lang="ru-RU" sz="1600" dirty="0"/>
          </a:p>
        </p:txBody>
      </p:sp>
      <p:cxnSp>
        <p:nvCxnSpPr>
          <p:cNvPr id="12" name="line2"/>
          <p:cNvCxnSpPr/>
          <p:nvPr/>
        </p:nvCxnSpPr>
        <p:spPr>
          <a:xfrm>
            <a:off x="297656" y="185606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sNumber2"/>
          <p:cNvSpPr txBox="1"/>
          <p:nvPr/>
        </p:nvSpPr>
        <p:spPr>
          <a:xfrm>
            <a:off x="287524" y="146820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2</a:t>
            </a:r>
            <a:endParaRPr lang="ru-RU" sz="1800" dirty="0" smtClean="0">
              <a:solidFill>
                <a:schemeClr val="bg2"/>
              </a:solidFill>
            </a:endParaRPr>
          </a:p>
        </p:txBody>
      </p:sp>
      <p:sp>
        <p:nvSpPr>
          <p:cNvPr id="29" name="ContentsTitle7"/>
          <p:cNvSpPr txBox="1"/>
          <p:nvPr/>
        </p:nvSpPr>
        <p:spPr>
          <a:xfrm>
            <a:off x="641276" y="3310651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sp>
        <p:nvSpPr>
          <p:cNvPr id="31" name="ContentsNumber7"/>
          <p:cNvSpPr txBox="1"/>
          <p:nvPr/>
        </p:nvSpPr>
        <p:spPr>
          <a:xfrm>
            <a:off x="287524" y="316013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7</a:t>
            </a:r>
            <a:endParaRPr lang="ru-RU" sz="1800" dirty="0" smtClean="0">
              <a:solidFill>
                <a:schemeClr val="bg2"/>
              </a:solidFill>
            </a:endParaRPr>
          </a:p>
        </p:txBody>
      </p:sp>
      <p:cxnSp>
        <p:nvCxnSpPr>
          <p:cNvPr id="32" name="line7"/>
          <p:cNvCxnSpPr/>
          <p:nvPr/>
        </p:nvCxnSpPr>
        <p:spPr>
          <a:xfrm>
            <a:off x="297656" y="358259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ContentsTitle8"/>
          <p:cNvSpPr txBox="1"/>
          <p:nvPr/>
        </p:nvSpPr>
        <p:spPr>
          <a:xfrm>
            <a:off x="641276" y="365053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50" name="line8"/>
          <p:cNvCxnSpPr/>
          <p:nvPr/>
        </p:nvCxnSpPr>
        <p:spPr>
          <a:xfrm>
            <a:off x="297656" y="392789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ContentsNumber8"/>
          <p:cNvSpPr txBox="1"/>
          <p:nvPr/>
        </p:nvSpPr>
        <p:spPr>
          <a:xfrm>
            <a:off x="287524" y="350002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8</a:t>
            </a:r>
          </a:p>
        </p:txBody>
      </p:sp>
      <p:sp>
        <p:nvSpPr>
          <p:cNvPr id="62" name="ContentsTitle13"/>
          <p:cNvSpPr txBox="1"/>
          <p:nvPr/>
        </p:nvSpPr>
        <p:spPr>
          <a:xfrm>
            <a:off x="649288" y="541347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63" name="line13"/>
          <p:cNvCxnSpPr/>
          <p:nvPr/>
        </p:nvCxnSpPr>
        <p:spPr>
          <a:xfrm>
            <a:off x="297656" y="565442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ContentsNumber13"/>
          <p:cNvSpPr txBox="1"/>
          <p:nvPr/>
        </p:nvSpPr>
        <p:spPr>
          <a:xfrm>
            <a:off x="287524" y="5262961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13</a:t>
            </a:r>
          </a:p>
        </p:txBody>
      </p:sp>
      <p:sp>
        <p:nvSpPr>
          <p:cNvPr id="66" name="ContentsTitle11"/>
          <p:cNvSpPr txBox="1"/>
          <p:nvPr/>
        </p:nvSpPr>
        <p:spPr>
          <a:xfrm>
            <a:off x="649288" y="472734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67" name="line11"/>
          <p:cNvCxnSpPr/>
          <p:nvPr/>
        </p:nvCxnSpPr>
        <p:spPr>
          <a:xfrm>
            <a:off x="297656" y="496381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ContentsNumber11"/>
          <p:cNvSpPr txBox="1"/>
          <p:nvPr/>
        </p:nvSpPr>
        <p:spPr>
          <a:xfrm>
            <a:off x="287524" y="4564134"/>
            <a:ext cx="239361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11</a:t>
            </a:r>
          </a:p>
        </p:txBody>
      </p:sp>
      <p:sp>
        <p:nvSpPr>
          <p:cNvPr id="70" name="ContentsTitle15"/>
          <p:cNvSpPr txBox="1"/>
          <p:nvPr/>
        </p:nvSpPr>
        <p:spPr>
          <a:xfrm>
            <a:off x="649288" y="609959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71" name="line15"/>
          <p:cNvCxnSpPr/>
          <p:nvPr/>
        </p:nvCxnSpPr>
        <p:spPr>
          <a:xfrm>
            <a:off x="297656" y="6345037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ContentsNumber15"/>
          <p:cNvSpPr txBox="1"/>
          <p:nvPr/>
        </p:nvSpPr>
        <p:spPr>
          <a:xfrm>
            <a:off x="287524" y="5936386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15</a:t>
            </a:r>
          </a:p>
        </p:txBody>
      </p:sp>
      <p:sp>
        <p:nvSpPr>
          <p:cNvPr id="74" name="ContentsTitle12"/>
          <p:cNvSpPr txBox="1"/>
          <p:nvPr/>
        </p:nvSpPr>
        <p:spPr>
          <a:xfrm>
            <a:off x="649288" y="507358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75" name="line12"/>
          <p:cNvCxnSpPr/>
          <p:nvPr/>
        </p:nvCxnSpPr>
        <p:spPr>
          <a:xfrm>
            <a:off x="297656" y="530912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ContentsNumber12"/>
          <p:cNvSpPr txBox="1"/>
          <p:nvPr/>
        </p:nvSpPr>
        <p:spPr>
          <a:xfrm>
            <a:off x="287524" y="4916722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12</a:t>
            </a:r>
          </a:p>
        </p:txBody>
      </p:sp>
      <p:sp>
        <p:nvSpPr>
          <p:cNvPr id="78" name="ContentsTitle9"/>
          <p:cNvSpPr txBox="1"/>
          <p:nvPr/>
        </p:nvSpPr>
        <p:spPr>
          <a:xfrm>
            <a:off x="649288" y="4015823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 smtClean="0"/>
              <a:t>Название раздела</a:t>
            </a:r>
          </a:p>
        </p:txBody>
      </p:sp>
      <p:cxnSp>
        <p:nvCxnSpPr>
          <p:cNvPr id="79" name="line9"/>
          <p:cNvCxnSpPr/>
          <p:nvPr/>
        </p:nvCxnSpPr>
        <p:spPr>
          <a:xfrm>
            <a:off x="297656" y="427320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ContentsNumber9"/>
          <p:cNvSpPr txBox="1"/>
          <p:nvPr/>
        </p:nvSpPr>
        <p:spPr>
          <a:xfrm>
            <a:off x="287524" y="3839911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9</a:t>
            </a:r>
          </a:p>
        </p:txBody>
      </p:sp>
      <p:sp>
        <p:nvSpPr>
          <p:cNvPr id="82" name="ContentsTitle14"/>
          <p:cNvSpPr txBox="1"/>
          <p:nvPr/>
        </p:nvSpPr>
        <p:spPr>
          <a:xfrm>
            <a:off x="649288" y="574701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83" name="line14"/>
          <p:cNvCxnSpPr/>
          <p:nvPr/>
        </p:nvCxnSpPr>
        <p:spPr>
          <a:xfrm>
            <a:off x="297656" y="599973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ContentsNumber14"/>
          <p:cNvSpPr txBox="1"/>
          <p:nvPr/>
        </p:nvSpPr>
        <p:spPr>
          <a:xfrm>
            <a:off x="287524" y="5602851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14</a:t>
            </a:r>
          </a:p>
        </p:txBody>
      </p:sp>
      <p:sp>
        <p:nvSpPr>
          <p:cNvPr id="86" name="ContentsTitle10"/>
          <p:cNvSpPr txBox="1"/>
          <p:nvPr/>
        </p:nvSpPr>
        <p:spPr>
          <a:xfrm>
            <a:off x="649288" y="4374760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</a:t>
            </a:r>
            <a:r>
              <a:rPr lang="ru-RU" sz="1600" dirty="0" smtClean="0"/>
              <a:t>раздела</a:t>
            </a:r>
            <a:endParaRPr lang="ru-RU" sz="1600" dirty="0"/>
          </a:p>
        </p:txBody>
      </p:sp>
      <p:cxnSp>
        <p:nvCxnSpPr>
          <p:cNvPr id="87" name="line10"/>
          <p:cNvCxnSpPr/>
          <p:nvPr/>
        </p:nvCxnSpPr>
        <p:spPr>
          <a:xfrm>
            <a:off x="297656" y="4618508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ContentsNumber10"/>
          <p:cNvSpPr txBox="1"/>
          <p:nvPr/>
        </p:nvSpPr>
        <p:spPr>
          <a:xfrm>
            <a:off x="287524" y="4205197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10</a:t>
            </a:r>
          </a:p>
        </p:txBody>
      </p:sp>
      <p:sp>
        <p:nvSpPr>
          <p:cNvPr id="85" name="Number1"/>
          <p:cNvSpPr txBox="1"/>
          <p:nvPr/>
        </p:nvSpPr>
        <p:spPr>
          <a:xfrm>
            <a:off x="8460432" y="115465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89" name="Number2"/>
          <p:cNvSpPr txBox="1"/>
          <p:nvPr/>
        </p:nvSpPr>
        <p:spPr>
          <a:xfrm>
            <a:off x="8460432" y="1499317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0" name="Number3"/>
          <p:cNvSpPr txBox="1"/>
          <p:nvPr/>
        </p:nvSpPr>
        <p:spPr>
          <a:xfrm>
            <a:off x="8460432" y="184398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1" name="Number5"/>
          <p:cNvSpPr txBox="1"/>
          <p:nvPr/>
        </p:nvSpPr>
        <p:spPr>
          <a:xfrm>
            <a:off x="8460432" y="253330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2" name="Number6"/>
          <p:cNvSpPr txBox="1"/>
          <p:nvPr/>
        </p:nvSpPr>
        <p:spPr>
          <a:xfrm>
            <a:off x="8460432" y="287796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3" name="Number7"/>
          <p:cNvSpPr txBox="1"/>
          <p:nvPr/>
        </p:nvSpPr>
        <p:spPr>
          <a:xfrm>
            <a:off x="8460432" y="322263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4" name="Number8"/>
          <p:cNvSpPr txBox="1"/>
          <p:nvPr/>
        </p:nvSpPr>
        <p:spPr>
          <a:xfrm>
            <a:off x="8460432" y="356729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5" name="Number4"/>
          <p:cNvSpPr txBox="1"/>
          <p:nvPr/>
        </p:nvSpPr>
        <p:spPr>
          <a:xfrm>
            <a:off x="8460432" y="2188643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6" name="Number9"/>
          <p:cNvSpPr txBox="1"/>
          <p:nvPr/>
        </p:nvSpPr>
        <p:spPr>
          <a:xfrm>
            <a:off x="8460432" y="3911958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7" name="Number10"/>
          <p:cNvSpPr txBox="1"/>
          <p:nvPr/>
        </p:nvSpPr>
        <p:spPr>
          <a:xfrm>
            <a:off x="8460432" y="425662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8" name="Number11"/>
          <p:cNvSpPr txBox="1"/>
          <p:nvPr/>
        </p:nvSpPr>
        <p:spPr>
          <a:xfrm>
            <a:off x="8460432" y="460128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9" name="Number12"/>
          <p:cNvSpPr txBox="1"/>
          <p:nvPr/>
        </p:nvSpPr>
        <p:spPr>
          <a:xfrm>
            <a:off x="8460432" y="4945944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100" name="Number13"/>
          <p:cNvSpPr txBox="1"/>
          <p:nvPr/>
        </p:nvSpPr>
        <p:spPr>
          <a:xfrm>
            <a:off x="8460432" y="529060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101" name="Number14"/>
          <p:cNvSpPr txBox="1"/>
          <p:nvPr/>
        </p:nvSpPr>
        <p:spPr>
          <a:xfrm>
            <a:off x="8460432" y="5635268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102" name="Number15"/>
          <p:cNvSpPr txBox="1"/>
          <p:nvPr/>
        </p:nvSpPr>
        <p:spPr>
          <a:xfrm>
            <a:off x="8460432" y="597993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69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05264873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 рисунка и 3 блока текс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2"/>
            <a:ext cx="2700337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3221038" y="1268412"/>
            <a:ext cx="2700337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6156325" y="1268412"/>
            <a:ext cx="2700338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288131" y="3068960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 baseline="0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5" hasCustomPrompt="1"/>
          </p:nvPr>
        </p:nvSpPr>
        <p:spPr>
          <a:xfrm>
            <a:off x="3221039" y="3068960"/>
            <a:ext cx="270113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6" hasCustomPrompt="1"/>
          </p:nvPr>
        </p:nvSpPr>
        <p:spPr>
          <a:xfrm>
            <a:off x="6157118" y="3068960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7338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>
            <a:off x="3221038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>
            <a:off x="6156325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Объект 5"/>
          <p:cNvSpPr>
            <a:spLocks noGrp="1"/>
          </p:cNvSpPr>
          <p:nvPr>
            <p:ph sz="quarter" idx="20" hasCustomPrompt="1"/>
          </p:nvPr>
        </p:nvSpPr>
        <p:spPr>
          <a:xfrm>
            <a:off x="287337" y="3554292"/>
            <a:ext cx="2700337" cy="279094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21" hasCustomPrompt="1"/>
          </p:nvPr>
        </p:nvSpPr>
        <p:spPr>
          <a:xfrm>
            <a:off x="3221039" y="3554292"/>
            <a:ext cx="2700337" cy="279094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Объект 13"/>
          <p:cNvSpPr>
            <a:spLocks noGrp="1"/>
          </p:cNvSpPr>
          <p:nvPr>
            <p:ph sz="quarter" idx="22" hasCustomPrompt="1"/>
          </p:nvPr>
        </p:nvSpPr>
        <p:spPr>
          <a:xfrm>
            <a:off x="6157118" y="3554292"/>
            <a:ext cx="2700338" cy="279094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8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6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84469990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3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484437" y="1268413"/>
            <a:ext cx="6372225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7"/>
          </p:nvPr>
        </p:nvSpPr>
        <p:spPr>
          <a:xfrm>
            <a:off x="287338" y="3068639"/>
            <a:ext cx="2016125" cy="3276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80982563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3 блока текс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3"/>
            <a:ext cx="2700337" cy="50609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8"/>
          </p:nvPr>
        </p:nvSpPr>
        <p:spPr>
          <a:xfrm>
            <a:off x="3240088" y="1268413"/>
            <a:ext cx="5616574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9"/>
          </p:nvPr>
        </p:nvSpPr>
        <p:spPr>
          <a:xfrm>
            <a:off x="3240088" y="3055144"/>
            <a:ext cx="5616574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>
          <a:xfrm>
            <a:off x="3240088" y="4841876"/>
            <a:ext cx="5616574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17010809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, объект слева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6156325" y="1268413"/>
            <a:ext cx="2700338" cy="3276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0" name="Объект 4"/>
          <p:cNvSpPr>
            <a:spLocks noGrp="1"/>
          </p:cNvSpPr>
          <p:nvPr>
            <p:ph sz="quarter" idx="18"/>
          </p:nvPr>
        </p:nvSpPr>
        <p:spPr>
          <a:xfrm>
            <a:off x="287337" y="1268413"/>
            <a:ext cx="5653087" cy="33131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9"/>
          </p:nvPr>
        </p:nvSpPr>
        <p:spPr>
          <a:xfrm>
            <a:off x="287337" y="4797424"/>
            <a:ext cx="8569326" cy="15478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49801286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3879772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221038" y="3879772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3879772"/>
            <a:ext cx="2700338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38" y="4318498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21038" y="4318498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4318498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287338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16" hasCustomPrompt="1"/>
          </p:nvPr>
        </p:nvSpPr>
        <p:spPr>
          <a:xfrm>
            <a:off x="3221038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17" hasCustomPrompt="1"/>
          </p:nvPr>
        </p:nvSpPr>
        <p:spPr>
          <a:xfrm>
            <a:off x="6156325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19"/>
          </p:nvPr>
        </p:nvSpPr>
        <p:spPr>
          <a:xfrm>
            <a:off x="287337" y="1262018"/>
            <a:ext cx="8569326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4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73544681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1241223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221038" y="1241223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1241223"/>
            <a:ext cx="2700338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38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21038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287338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Объект 18"/>
          <p:cNvSpPr>
            <a:spLocks noGrp="1"/>
          </p:cNvSpPr>
          <p:nvPr>
            <p:ph sz="quarter" idx="16" hasCustomPrompt="1"/>
          </p:nvPr>
        </p:nvSpPr>
        <p:spPr>
          <a:xfrm>
            <a:off x="3221038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6" name="Объект 18"/>
          <p:cNvSpPr>
            <a:spLocks noGrp="1"/>
          </p:cNvSpPr>
          <p:nvPr>
            <p:ph sz="quarter" idx="17" hasCustomPrompt="1"/>
          </p:nvPr>
        </p:nvSpPr>
        <p:spPr>
          <a:xfrm>
            <a:off x="6156325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1" name="Объект 4"/>
          <p:cNvSpPr>
            <a:spLocks noGrp="1"/>
          </p:cNvSpPr>
          <p:nvPr>
            <p:ph sz="quarter" idx="19"/>
          </p:nvPr>
        </p:nvSpPr>
        <p:spPr>
          <a:xfrm>
            <a:off x="287337" y="3890918"/>
            <a:ext cx="8569326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20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42332437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 и 2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287338" y="4421682"/>
            <a:ext cx="2700337" cy="19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6156325" y="1726555"/>
            <a:ext cx="2700338" cy="19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3933825"/>
            <a:ext cx="27000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87338" y="437507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6160028" y="1248594"/>
            <a:ext cx="27000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6160028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Объект 4"/>
          <p:cNvSpPr>
            <a:spLocks noGrp="1"/>
          </p:cNvSpPr>
          <p:nvPr>
            <p:ph sz="quarter" idx="19"/>
          </p:nvPr>
        </p:nvSpPr>
        <p:spPr>
          <a:xfrm>
            <a:off x="3240087" y="3890918"/>
            <a:ext cx="5616575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0"/>
          </p:nvPr>
        </p:nvSpPr>
        <p:spPr>
          <a:xfrm>
            <a:off x="287338" y="1262018"/>
            <a:ext cx="5616575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5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83135272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рисунка, 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2018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3221038" y="3933825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6156325" y="1262018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>
          <a:xfrm>
            <a:off x="3222000" y="1262018"/>
            <a:ext cx="2700000" cy="237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>
          <a:xfrm>
            <a:off x="287338" y="3933825"/>
            <a:ext cx="2700000" cy="237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22"/>
          </p:nvPr>
        </p:nvSpPr>
        <p:spPr>
          <a:xfrm>
            <a:off x="6156325" y="3933825"/>
            <a:ext cx="2700000" cy="237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80459826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объекта и три блока с текстом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287338" y="1268413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287338" y="3032919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287338" y="4797425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3" name="Объект 4"/>
          <p:cNvSpPr>
            <a:spLocks noGrp="1"/>
          </p:cNvSpPr>
          <p:nvPr>
            <p:ph sz="quarter" idx="19"/>
          </p:nvPr>
        </p:nvSpPr>
        <p:spPr>
          <a:xfrm>
            <a:off x="2484438" y="1262018"/>
            <a:ext cx="6372225" cy="151928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>
          <a:xfrm>
            <a:off x="2484438" y="3055223"/>
            <a:ext cx="6372225" cy="151928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>
          <a:xfrm>
            <a:off x="2484438" y="4825956"/>
            <a:ext cx="6372225" cy="151928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84650056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Кейс про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2483768" y="3032956"/>
            <a:ext cx="6372895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287338" y="1241223"/>
            <a:ext cx="6372895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87338" y="1679949"/>
            <a:ext cx="637289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9"/>
          <p:cNvCxnSpPr/>
          <p:nvPr/>
        </p:nvCxnSpPr>
        <p:spPr>
          <a:xfrm>
            <a:off x="2483769" y="3471682"/>
            <a:ext cx="637289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Объект 4"/>
          <p:cNvSpPr>
            <a:spLocks noGrp="1"/>
          </p:cNvSpPr>
          <p:nvPr>
            <p:ph sz="quarter" idx="20"/>
          </p:nvPr>
        </p:nvSpPr>
        <p:spPr>
          <a:xfrm>
            <a:off x="287338" y="3068638"/>
            <a:ext cx="2016125" cy="3276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23"/>
          </p:nvPr>
        </p:nvSpPr>
        <p:spPr>
          <a:xfrm>
            <a:off x="6877050" y="1243088"/>
            <a:ext cx="1979613" cy="152127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24"/>
          </p:nvPr>
        </p:nvSpPr>
        <p:spPr>
          <a:xfrm>
            <a:off x="287338" y="1736725"/>
            <a:ext cx="6408737" cy="1044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25"/>
          </p:nvPr>
        </p:nvSpPr>
        <p:spPr>
          <a:xfrm>
            <a:off x="2484438" y="3536950"/>
            <a:ext cx="6372225" cy="28082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3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9567142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Раздел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7" y="2611512"/>
            <a:ext cx="8569325" cy="610499"/>
          </a:xfrm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 smtClean="0"/>
              <a:t>Введите название раздела (максимум две строки)</a:t>
            </a:r>
            <a:endParaRPr lang="en-US" dirty="0"/>
          </a:p>
        </p:txBody>
      </p:sp>
      <p:cxnSp>
        <p:nvCxnSpPr>
          <p:cNvPr id="4" name="Прямая соединительная линия 7"/>
          <p:cNvCxnSpPr/>
          <p:nvPr/>
        </p:nvCxnSpPr>
        <p:spPr>
          <a:xfrm>
            <a:off x="297656" y="3429000"/>
            <a:ext cx="8550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9"/>
          <p:cNvCxnSpPr/>
          <p:nvPr/>
        </p:nvCxnSpPr>
        <p:spPr>
          <a:xfrm>
            <a:off x="8638360" y="6535169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fld id="{AF528B6D-1001-487C-8FFE-85B114390330}" type="slidenum">
              <a:rPr lang="ru-RU" sz="1000" b="1" smtClean="0">
                <a:solidFill>
                  <a:schemeClr val="tx1"/>
                </a:solidFill>
              </a:rPr>
              <a:pPr algn="l"/>
              <a:t>‹#›</a:t>
            </a:fld>
            <a:endParaRPr lang="ru-RU" sz="1000" b="1" dirty="0">
              <a:solidFill>
                <a:schemeClr val="tx1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37" y="3644900"/>
            <a:ext cx="8569325" cy="2684463"/>
          </a:xfrm>
        </p:spPr>
        <p:txBody>
          <a:bodyPr anchor="t">
            <a:noAutofit/>
          </a:bodyPr>
          <a:lstStyle>
            <a:lvl1pPr marL="0" indent="0" algn="l">
              <a:spcBef>
                <a:spcPts val="90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 Введите текст</a:t>
            </a:r>
            <a:endParaRPr lang="ru-RU" dirty="0"/>
          </a:p>
        </p:txBody>
      </p:sp>
      <p:sp>
        <p:nvSpPr>
          <p:cNvPr id="11" name="LogoRus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r"/>
            <a:r>
              <a:rPr lang="ru-RU" sz="1000" noProof="0" dirty="0" smtClean="0">
                <a:solidFill>
                  <a:schemeClr val="bg2"/>
                </a:solidFill>
              </a:rPr>
              <a:t>Газпром нефть</a:t>
            </a:r>
            <a:endParaRPr lang="ru-RU" sz="1000" noProof="0" dirty="0">
              <a:solidFill>
                <a:schemeClr val="bg2"/>
              </a:solidFill>
            </a:endParaRPr>
          </a:p>
        </p:txBody>
      </p:sp>
      <p:sp>
        <p:nvSpPr>
          <p:cNvPr id="14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r"/>
            <a:r>
              <a:rPr lang="en-US" sz="1000" noProof="0" dirty="0" smtClean="0">
                <a:solidFill>
                  <a:schemeClr val="bg2"/>
                </a:solidFill>
              </a:rPr>
              <a:t>Gazprom</a:t>
            </a:r>
            <a:r>
              <a:rPr lang="en-US" sz="1000" baseline="0" noProof="0" dirty="0" smtClean="0">
                <a:solidFill>
                  <a:schemeClr val="bg2"/>
                </a:solidFill>
              </a:rPr>
              <a:t> </a:t>
            </a:r>
            <a:r>
              <a:rPr lang="en-US" sz="1000" baseline="0" noProof="0" dirty="0" err="1" smtClean="0">
                <a:solidFill>
                  <a:schemeClr val="bg2"/>
                </a:solidFill>
              </a:rPr>
              <a:t>neft</a:t>
            </a:r>
            <a:endParaRPr lang="ru-RU" sz="1000" noProof="0" dirty="0">
              <a:solidFill>
                <a:schemeClr val="bg2"/>
              </a:solidFill>
            </a:endParaRPr>
          </a:p>
        </p:txBody>
      </p:sp>
      <p:sp>
        <p:nvSpPr>
          <p:cNvPr id="9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/>
            <a:endParaRPr lang="ru-RU" sz="1000" dirty="0" smtClean="0">
              <a:solidFill>
                <a:schemeClr val="bg2"/>
              </a:solidFill>
            </a:endParaRPr>
          </a:p>
        </p:txBody>
      </p:sp>
      <p:sp>
        <p:nvSpPr>
          <p:cNvPr id="12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88346525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подзаголовка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1241223"/>
            <a:ext cx="41402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287338" y="1726555"/>
            <a:ext cx="4140200" cy="46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4679366" y="1241223"/>
            <a:ext cx="4140200" cy="360000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7" name="Объект 16"/>
          <p:cNvSpPr>
            <a:spLocks noGrp="1"/>
          </p:cNvSpPr>
          <p:nvPr>
            <p:ph sz="quarter" idx="14" hasCustomPrompt="1"/>
          </p:nvPr>
        </p:nvSpPr>
        <p:spPr>
          <a:xfrm>
            <a:off x="4683126" y="1726555"/>
            <a:ext cx="4140200" cy="46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287338" y="1679949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4679366" y="1679949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74103164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3"/>
            <a:ext cx="5634037" cy="50609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6156325" y="1726554"/>
            <a:ext cx="2700338" cy="458276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6156325" y="1241223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6032134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6" name="Текст 5"/>
          <p:cNvSpPr>
            <a:spLocks noGrp="1"/>
          </p:cNvSpPr>
          <p:nvPr>
            <p:ph type="body" sz="quarter" idx="19" hasCustomPrompt="1"/>
          </p:nvPr>
        </p:nvSpPr>
        <p:spPr>
          <a:xfrm>
            <a:off x="287337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7337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3221038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3221038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6156325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6156325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Объект 4"/>
          <p:cNvSpPr>
            <a:spLocks noGrp="1"/>
          </p:cNvSpPr>
          <p:nvPr>
            <p:ph sz="quarter" idx="24" hasCustomPrompt="1"/>
          </p:nvPr>
        </p:nvSpPr>
        <p:spPr>
          <a:xfrm>
            <a:off x="287337" y="1726555"/>
            <a:ext cx="2700337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5" name="Текст 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7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287337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3221038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3221038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6156325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6156325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3221038" y="1726555"/>
            <a:ext cx="2700337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6156325" y="1726555"/>
            <a:ext cx="2700338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7" name="Объект 36"/>
          <p:cNvSpPr>
            <a:spLocks noGrp="1"/>
          </p:cNvSpPr>
          <p:nvPr>
            <p:ph sz="quarter" idx="32" hasCustomPrompt="1"/>
          </p:nvPr>
        </p:nvSpPr>
        <p:spPr>
          <a:xfrm>
            <a:off x="287338" y="4418062"/>
            <a:ext cx="2700337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3221038" y="4418062"/>
            <a:ext cx="2700337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6156325" y="4418062"/>
            <a:ext cx="2700338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0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27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41770031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2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3239852" y="1726555"/>
            <a:ext cx="2700337" cy="2916213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>
          <a:xfrm>
            <a:off x="6156325" y="1726555"/>
            <a:ext cx="2700338" cy="2916213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3239852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3239852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287339" y="1268412"/>
            <a:ext cx="273685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1"/>
          </p:nvPr>
        </p:nvSpPr>
        <p:spPr>
          <a:xfrm>
            <a:off x="3239851" y="4797425"/>
            <a:ext cx="5616811" cy="15478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22" hasCustomPrompt="1"/>
          </p:nvPr>
        </p:nvSpPr>
        <p:spPr>
          <a:xfrm>
            <a:off x="6156325" y="1241223"/>
            <a:ext cx="2700338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smtClean="0"/>
              <a:t>Введите заголовок</a:t>
            </a:r>
            <a:endParaRPr lang="ru-RU"/>
          </a:p>
        </p:txBody>
      </p:sp>
      <p:sp>
        <p:nvSpPr>
          <p:cNvPr id="14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65018695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1268412"/>
            <a:ext cx="8569325" cy="68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7" y="5645363"/>
            <a:ext cx="8569325" cy="68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287338" y="2204865"/>
            <a:ext cx="4176711" cy="32403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1"/>
          </p:nvPr>
        </p:nvSpPr>
        <p:spPr>
          <a:xfrm>
            <a:off x="4673600" y="2204865"/>
            <a:ext cx="4176711" cy="32403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25033885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объект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1268413"/>
            <a:ext cx="8569325" cy="68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5645363"/>
            <a:ext cx="8569325" cy="68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38" y="2204865"/>
            <a:ext cx="8569325" cy="32403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43023919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1" name="Объект 10"/>
          <p:cNvSpPr>
            <a:spLocks noGrp="1"/>
          </p:cNvSpPr>
          <p:nvPr>
            <p:ph sz="quarter" idx="13" hasCustomPrompt="1"/>
          </p:nvPr>
        </p:nvSpPr>
        <p:spPr>
          <a:xfrm>
            <a:off x="6156325" y="1726555"/>
            <a:ext cx="2700338" cy="4592551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1241223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>
          <a:xfrm>
            <a:off x="287339" y="1268412"/>
            <a:ext cx="273685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4"/>
          <p:cNvSpPr>
            <a:spLocks noGrp="1"/>
          </p:cNvSpPr>
          <p:nvPr>
            <p:ph sz="quarter" idx="21"/>
          </p:nvPr>
        </p:nvSpPr>
        <p:spPr>
          <a:xfrm>
            <a:off x="3203575" y="1268412"/>
            <a:ext cx="273685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421300744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6 рисунк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3033713"/>
            <a:ext cx="2700337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3221038" y="3033713"/>
            <a:ext cx="2700337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156325" y="3033713"/>
            <a:ext cx="2700338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5" hasCustomPrompt="1"/>
          </p:nvPr>
        </p:nvSpPr>
        <p:spPr>
          <a:xfrm>
            <a:off x="287338" y="4797425"/>
            <a:ext cx="2700337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16" hasCustomPrompt="1"/>
          </p:nvPr>
        </p:nvSpPr>
        <p:spPr>
          <a:xfrm>
            <a:off x="3221038" y="4797425"/>
            <a:ext cx="2700337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7" name="Рисунок 16"/>
          <p:cNvSpPr>
            <a:spLocks noGrp="1"/>
          </p:cNvSpPr>
          <p:nvPr>
            <p:ph type="pic" sz="quarter" idx="17" hasCustomPrompt="1"/>
          </p:nvPr>
        </p:nvSpPr>
        <p:spPr>
          <a:xfrm>
            <a:off x="6156325" y="4797425"/>
            <a:ext cx="2700338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287338" y="1268413"/>
            <a:ext cx="8569325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4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17471255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solidFill>
            <a:srgbClr val="FFFFFF">
              <a:alpha val="80000"/>
            </a:srgbClr>
          </a:solidFill>
        </p:spPr>
        <p:txBody>
          <a:bodyPr vert="horz" lIns="72000" tIns="72000" rIns="72000" bIns="72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466911" y="4797424"/>
            <a:ext cx="3960627" cy="1351645"/>
          </a:xfrm>
          <a:solidFill>
            <a:srgbClr val="FFFFFF">
              <a:alpha val="80000"/>
            </a:srgbClr>
          </a:solidFill>
        </p:spPr>
        <p:txBody>
          <a:bodyPr lIns="72000" tIns="72000" rIns="72000" bIns="72000"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92293742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одпись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5645363"/>
            <a:ext cx="8569325" cy="684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38" y="1268413"/>
            <a:ext cx="8569325" cy="41768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2134827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Вывод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7" y="1268412"/>
            <a:ext cx="8569325" cy="1584507"/>
          </a:xfrm>
        </p:spPr>
        <p:txBody>
          <a:bodyPr>
            <a:noAutofit/>
          </a:bodyPr>
          <a:lstStyle>
            <a:lvl1pPr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cxnSp>
        <p:nvCxnSpPr>
          <p:cNvPr id="6" name="Прямая соединительная линия 9"/>
          <p:cNvCxnSpPr/>
          <p:nvPr/>
        </p:nvCxnSpPr>
        <p:spPr>
          <a:xfrm>
            <a:off x="8638360" y="6535169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fld id="{AF528B6D-1001-487C-8FFE-85B114390330}" type="slidenum">
              <a:rPr lang="ru-RU" sz="1000" b="1" smtClean="0">
                <a:solidFill>
                  <a:schemeClr val="tx1"/>
                </a:solidFill>
              </a:rPr>
              <a:pPr algn="l"/>
              <a:t>‹#›</a:t>
            </a:fld>
            <a:endParaRPr lang="ru-RU" sz="1000" b="1" dirty="0">
              <a:solidFill>
                <a:schemeClr val="tx1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38" y="2924930"/>
            <a:ext cx="8569325" cy="3404433"/>
          </a:xfrm>
        </p:spPr>
        <p:txBody>
          <a:bodyPr vert="horz" lIns="0" tIns="0" rIns="0" bIns="0" rtlCol="0">
            <a:noAutofit/>
          </a:bodyPr>
          <a:lstStyle>
            <a:lvl1pPr>
              <a:defRPr lang="ru-RU" b="0" dirty="0"/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9" name="LogoRus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r"/>
            <a:r>
              <a:rPr lang="ru-RU" sz="1000" noProof="0" dirty="0" smtClean="0">
                <a:solidFill>
                  <a:schemeClr val="bg2"/>
                </a:solidFill>
              </a:rPr>
              <a:t>Газпром нефть</a:t>
            </a:r>
            <a:endParaRPr lang="ru-RU" sz="1000" noProof="0" dirty="0">
              <a:solidFill>
                <a:schemeClr val="bg2"/>
              </a:solidFill>
            </a:endParaRPr>
          </a:p>
        </p:txBody>
      </p:sp>
      <p:sp>
        <p:nvSpPr>
          <p:cNvPr id="11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r"/>
            <a:r>
              <a:rPr lang="en-US" sz="1000" noProof="0" dirty="0" smtClean="0">
                <a:solidFill>
                  <a:schemeClr val="bg2"/>
                </a:solidFill>
              </a:rPr>
              <a:t>Gazprom</a:t>
            </a:r>
            <a:r>
              <a:rPr lang="en-US" sz="1000" baseline="0" noProof="0" dirty="0" smtClean="0">
                <a:solidFill>
                  <a:schemeClr val="bg2"/>
                </a:solidFill>
              </a:rPr>
              <a:t> </a:t>
            </a:r>
            <a:r>
              <a:rPr lang="en-US" sz="1000" baseline="0" noProof="0" dirty="0" err="1" smtClean="0">
                <a:solidFill>
                  <a:schemeClr val="bg2"/>
                </a:solidFill>
              </a:rPr>
              <a:t>neft</a:t>
            </a:r>
            <a:endParaRPr lang="ru-RU" sz="1000" noProof="0" dirty="0">
              <a:solidFill>
                <a:schemeClr val="bg2"/>
              </a:solidFill>
            </a:endParaRPr>
          </a:p>
        </p:txBody>
      </p:sp>
      <p:sp>
        <p:nvSpPr>
          <p:cNvPr id="8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/>
            <a:endParaRPr lang="ru-RU" sz="1000" dirty="0" smtClean="0">
              <a:solidFill>
                <a:schemeClr val="bg2"/>
              </a:solidFill>
            </a:endParaRPr>
          </a:p>
        </p:txBody>
      </p:sp>
      <p:sp>
        <p:nvSpPr>
          <p:cNvPr id="12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88346525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три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6" hasCustomPrompt="1"/>
          </p:nvPr>
        </p:nvSpPr>
        <p:spPr>
          <a:xfrm>
            <a:off x="296053" y="3933825"/>
            <a:ext cx="2663825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ru-RU" dirty="0"/>
          </a:p>
        </p:txBody>
      </p:sp>
      <p:sp>
        <p:nvSpPr>
          <p:cNvPr id="13" name="Объект 12"/>
          <p:cNvSpPr>
            <a:spLocks noGrp="1"/>
          </p:cNvSpPr>
          <p:nvPr>
            <p:ph sz="quarter" idx="17" hasCustomPrompt="1"/>
          </p:nvPr>
        </p:nvSpPr>
        <p:spPr>
          <a:xfrm>
            <a:off x="3240088" y="3933825"/>
            <a:ext cx="2663825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5" name="Объект 14"/>
          <p:cNvSpPr>
            <a:spLocks noGrp="1"/>
          </p:cNvSpPr>
          <p:nvPr>
            <p:ph sz="quarter" idx="18" hasCustomPrompt="1"/>
          </p:nvPr>
        </p:nvSpPr>
        <p:spPr>
          <a:xfrm>
            <a:off x="6183656" y="3933825"/>
            <a:ext cx="2664000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ru-RU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38" y="1268413"/>
            <a:ext cx="8569325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5589870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рисунка и две подпис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4" hasCustomPrompt="1"/>
          </p:nvPr>
        </p:nvSpPr>
        <p:spPr>
          <a:xfrm>
            <a:off x="287338" y="1268413"/>
            <a:ext cx="8569325" cy="1944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5" hasCustomPrompt="1"/>
          </p:nvPr>
        </p:nvSpPr>
        <p:spPr>
          <a:xfrm>
            <a:off x="287338" y="3861048"/>
            <a:ext cx="8569325" cy="1944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287338" y="3293451"/>
            <a:ext cx="8569325" cy="426911"/>
          </a:xfrm>
        </p:spPr>
        <p:txBody>
          <a:bodyPr>
            <a:noAutofit/>
          </a:bodyPr>
          <a:lstStyle>
            <a:lvl1pPr>
              <a:defRPr sz="1400"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287338" y="5901467"/>
            <a:ext cx="8569325" cy="427896"/>
          </a:xfrm>
        </p:spPr>
        <p:txBody>
          <a:bodyPr>
            <a:noAutofit/>
          </a:bodyPr>
          <a:lstStyle>
            <a:lvl1pPr>
              <a:defRPr sz="1400"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83287197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два дополне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6156325" y="3068638"/>
            <a:ext cx="2700336" cy="3276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21"/>
          </p:nvPr>
        </p:nvSpPr>
        <p:spPr>
          <a:xfrm>
            <a:off x="6156325" y="1268412"/>
            <a:ext cx="2700336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2"/>
          </p:nvPr>
        </p:nvSpPr>
        <p:spPr>
          <a:xfrm>
            <a:off x="287337" y="1268412"/>
            <a:ext cx="5653087" cy="50768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8763019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6" name="Объект 5"/>
          <p:cNvSpPr>
            <a:spLocks noGrp="1"/>
          </p:cNvSpPr>
          <p:nvPr>
            <p:ph sz="quarter" idx="11" hasCustomPrompt="1"/>
          </p:nvPr>
        </p:nvSpPr>
        <p:spPr>
          <a:xfrm>
            <a:off x="287338" y="1268413"/>
            <a:ext cx="8569325" cy="5060950"/>
          </a:xfrm>
        </p:spPr>
        <p:txBody>
          <a:bodyPr/>
          <a:lstStyle>
            <a:lvl1pPr>
              <a:spcBef>
                <a:spcPts val="0"/>
              </a:spcBef>
              <a:spcAft>
                <a:spcPts val="1200"/>
              </a:spcAft>
              <a:buFont typeface="Wingdings" pitchFamily="2" charset="2"/>
              <a:buNone/>
              <a:defRPr lang="ru-RU" sz="1400" b="1" kern="120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120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и 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smtClean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n-lt"/>
              </a:rPr>
              <a:t>Первый 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n-lt"/>
              </a:rPr>
              <a:t>уровень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5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5868296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7B4CDC9-EEB7-46F4-87E7-1063372EAC01}" type="datetimeFigureOut">
              <a:rPr lang="ru-RU" smtClean="0"/>
              <a:t>11.03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F105E30-7B4B-40CB-BDFA-0303BD484FB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53182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13"/>
            <a:ext cx="8569324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5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2467985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Объект 3"/>
          <p:cNvSpPr>
            <a:spLocks noGrp="1"/>
          </p:cNvSpPr>
          <p:nvPr>
            <p:ph sz="quarter" idx="12"/>
          </p:nvPr>
        </p:nvSpPr>
        <p:spPr>
          <a:xfrm>
            <a:off x="287339" y="1268413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Объект 3"/>
          <p:cNvSpPr>
            <a:spLocks noGrp="1"/>
          </p:cNvSpPr>
          <p:nvPr>
            <p:ph sz="quarter" idx="13"/>
          </p:nvPr>
        </p:nvSpPr>
        <p:spPr>
          <a:xfrm>
            <a:off x="4679952" y="1268413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852465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(верси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13"/>
            <a:ext cx="8569324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3"/>
          </p:nvPr>
        </p:nvSpPr>
        <p:spPr>
          <a:xfrm>
            <a:off x="287339" y="3894137"/>
            <a:ext cx="8569324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3129572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екст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4797425"/>
            <a:ext cx="8569325" cy="1531938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defRPr b="0">
                <a:solidFill>
                  <a:schemeClr val="accent3"/>
                </a:solidFill>
              </a:defRPr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10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13"/>
            <a:ext cx="8569324" cy="2844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3129572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57"/>
            </p:custDataLst>
            <p:extLst>
              <p:ext uri="{D42A27DB-BD31-4B8C-83A1-F6EECF244321}">
                <p14:modId xmlns:p14="http://schemas.microsoft.com/office/powerpoint/2010/main" val="29572101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4" name="think-cell Slide" r:id="rId58" imgW="270" imgH="270" progId="TCLayout.ActiveDocument.1">
                  <p:embed/>
                </p:oleObj>
              </mc:Choice>
              <mc:Fallback>
                <p:oleObj name="think-cell Slide" r:id="rId5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8" y="188640"/>
            <a:ext cx="8560318" cy="61049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87339" y="1268413"/>
            <a:ext cx="8569324" cy="50609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Первый уровень</a:t>
            </a:r>
          </a:p>
          <a:p>
            <a:pPr lvl="2"/>
            <a:r>
              <a:rPr lang="ru-RU" dirty="0" smtClean="0"/>
              <a:t>Второй уровень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87338" y="1011208"/>
            <a:ext cx="8560318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8638360" y="6535169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fld id="{AF528B6D-1001-487C-8FFE-85B114390330}" type="slidenum">
              <a:rPr lang="ru-RU" sz="1000" b="1" smtClean="0">
                <a:solidFill>
                  <a:schemeClr val="tx1"/>
                </a:solidFill>
              </a:rPr>
              <a:pPr algn="l"/>
              <a:t>‹#›</a:t>
            </a:fld>
            <a:endParaRPr lang="ru-RU" sz="1000" b="1" dirty="0">
              <a:solidFill>
                <a:schemeClr val="tx1"/>
              </a:solidFill>
            </a:endParaRPr>
          </a:p>
        </p:txBody>
      </p:sp>
      <p:sp>
        <p:nvSpPr>
          <p:cNvPr id="12" name="LogoRus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r"/>
            <a:r>
              <a:rPr lang="ru-RU" sz="1000" noProof="0" dirty="0" smtClean="0">
                <a:solidFill>
                  <a:schemeClr val="bg2"/>
                </a:solidFill>
              </a:rPr>
              <a:t>Газпром нефть</a:t>
            </a:r>
            <a:endParaRPr lang="ru-RU" sz="1000" noProof="0" dirty="0">
              <a:solidFill>
                <a:schemeClr val="bg2"/>
              </a:solidFill>
            </a:endParaRPr>
          </a:p>
        </p:txBody>
      </p:sp>
      <p:sp>
        <p:nvSpPr>
          <p:cNvPr id="13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r"/>
            <a:r>
              <a:rPr lang="en-US" sz="1000" noProof="0" dirty="0" smtClean="0">
                <a:solidFill>
                  <a:schemeClr val="bg2"/>
                </a:solidFill>
              </a:rPr>
              <a:t>Gazprom</a:t>
            </a:r>
            <a:r>
              <a:rPr lang="en-US" sz="1000" baseline="0" noProof="0" dirty="0" smtClean="0">
                <a:solidFill>
                  <a:schemeClr val="bg2"/>
                </a:solidFill>
              </a:rPr>
              <a:t> </a:t>
            </a:r>
            <a:r>
              <a:rPr lang="en-US" sz="1000" baseline="0" noProof="0" dirty="0" err="1" smtClean="0">
                <a:solidFill>
                  <a:schemeClr val="bg2"/>
                </a:solidFill>
              </a:rPr>
              <a:t>Neft</a:t>
            </a:r>
            <a:endParaRPr lang="ru-RU" sz="1000" noProof="0" dirty="0">
              <a:solidFill>
                <a:schemeClr val="bg2"/>
              </a:solidFill>
            </a:endParaRPr>
          </a:p>
        </p:txBody>
      </p:sp>
      <p:sp>
        <p:nvSpPr>
          <p:cNvPr id="4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/>
            <a:endParaRPr lang="ru-RU" sz="1000" dirty="0" smtClean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7788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>
          <a:schemeClr val="accent1"/>
        </a:buClr>
        <a:buSzPct val="90000"/>
        <a:buFont typeface="Wingdings" pitchFamily="2" charset="2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marR="0" indent="-180975" algn="l" defTabSz="914400" rtl="0" eaLnBrk="1" fontAlgn="auto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chemeClr val="accent1"/>
        </a:buClr>
        <a:buSzPct val="100000"/>
        <a:buFont typeface="Wingdings" pitchFamily="2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0838" indent="-169863" algn="l" defTabSz="914400" rtl="0" eaLnBrk="1" latinLnBrk="0" hangingPunct="1">
        <a:spcBef>
          <a:spcPts val="600"/>
        </a:spcBef>
        <a:buClr>
          <a:schemeClr val="accent3"/>
        </a:buClr>
        <a:buFont typeface="Wingdings" pitchFamily="2" charset="2"/>
        <a:buChar char="§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tags" Target="../tags/tag17.xml"/><Relationship Id="rId7" Type="http://schemas.openxmlformats.org/officeDocument/2006/relationships/image" Target="../media/image33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emf"/><Relationship Id="rId11" Type="http://schemas.microsoft.com/office/2007/relationships/hdphoto" Target="../media/hdphoto6.wdp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34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1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tags" Target="../tags/tag19.xml"/><Relationship Id="rId7" Type="http://schemas.openxmlformats.org/officeDocument/2006/relationships/image" Target="../media/image35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2.xml"/><Relationship Id="rId9" Type="http://schemas.microsoft.com/office/2007/relationships/hdphoto" Target="../media/hdphoto7.wdp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tags" Target="../tags/tag21.xml"/><Relationship Id="rId7" Type="http://schemas.openxmlformats.org/officeDocument/2006/relationships/image" Target="../media/image37.tiff"/><Relationship Id="rId2" Type="http://schemas.openxmlformats.org/officeDocument/2006/relationships/tags" Target="../tags/tag20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2.xml"/><Relationship Id="rId9" Type="http://schemas.microsoft.com/office/2007/relationships/hdphoto" Target="../media/hdphoto6.wdp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hyperlink" Target="http://www.gazprom-neft.ru/" TargetMode="External"/><Relationship Id="rId3" Type="http://schemas.openxmlformats.org/officeDocument/2006/relationships/tags" Target="../tags/tag25.xml"/><Relationship Id="rId7" Type="http://schemas.openxmlformats.org/officeDocument/2006/relationships/hyperlink" Target="mailto:Gureev.sn@gazprom-neft.ru" TargetMode="External"/><Relationship Id="rId2" Type="http://schemas.openxmlformats.org/officeDocument/2006/relationships/tags" Target="../tags/tag2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10.png"/><Relationship Id="rId3" Type="http://schemas.openxmlformats.org/officeDocument/2006/relationships/tags" Target="../tags/tag7.xml"/><Relationship Id="rId7" Type="http://schemas.openxmlformats.org/officeDocument/2006/relationships/image" Target="../media/image5.png"/><Relationship Id="rId12" Type="http://schemas.openxmlformats.org/officeDocument/2006/relationships/image" Target="../media/image9.png"/><Relationship Id="rId2" Type="http://schemas.openxmlformats.org/officeDocument/2006/relationships/tags" Target="../tags/tag6.xml"/><Relationship Id="rId16" Type="http://schemas.openxmlformats.org/officeDocument/2006/relationships/image" Target="../media/image13.wmf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11" Type="http://schemas.openxmlformats.org/officeDocument/2006/relationships/image" Target="../media/image8.png"/><Relationship Id="rId5" Type="http://schemas.openxmlformats.org/officeDocument/2006/relationships/oleObject" Target="../embeddings/oleObject4.bin"/><Relationship Id="rId15" Type="http://schemas.openxmlformats.org/officeDocument/2006/relationships/image" Target="../media/image12.png"/><Relationship Id="rId10" Type="http://schemas.openxmlformats.org/officeDocument/2006/relationships/image" Target="../media/image7.wmf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.png"/><Relationship Id="rId14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9.xml"/><Relationship Id="rId7" Type="http://schemas.openxmlformats.org/officeDocument/2006/relationships/image" Target="../media/image4.emf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16.png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15.png"/><Relationship Id="rId4" Type="http://schemas.openxmlformats.org/officeDocument/2006/relationships/slideLayout" Target="../slideLayouts/slideLayout2.xml"/><Relationship Id="rId9" Type="http://schemas.microsoft.com/office/2007/relationships/hdphoto" Target="../media/hdphoto2.wdp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2.png"/><Relationship Id="rId3" Type="http://schemas.openxmlformats.org/officeDocument/2006/relationships/slideLayout" Target="../slideLayouts/slideLayout2.xml"/><Relationship Id="rId7" Type="http://schemas.microsoft.com/office/2007/relationships/hdphoto" Target="../media/hdphoto2.wdp"/><Relationship Id="rId12" Type="http://schemas.openxmlformats.org/officeDocument/2006/relationships/image" Target="../media/image21.png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7.png"/><Relationship Id="rId11" Type="http://schemas.microsoft.com/office/2007/relationships/hdphoto" Target="../media/hdphoto3.wdp"/><Relationship Id="rId5" Type="http://schemas.openxmlformats.org/officeDocument/2006/relationships/image" Target="../media/image4.emf"/><Relationship Id="rId15" Type="http://schemas.openxmlformats.org/officeDocument/2006/relationships/image" Target="../media/image24.jpeg"/><Relationship Id="rId10" Type="http://schemas.openxmlformats.org/officeDocument/2006/relationships/image" Target="../media/image20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19.png"/><Relationship Id="rId14" Type="http://schemas.openxmlformats.org/officeDocument/2006/relationships/image" Target="../media/image23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tags" Target="../tags/tag12.xml"/><Relationship Id="rId7" Type="http://schemas.openxmlformats.org/officeDocument/2006/relationships/image" Target="../media/image7.wmf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wmf"/><Relationship Id="rId3" Type="http://schemas.openxmlformats.org/officeDocument/2006/relationships/tags" Target="../tags/tag14.xml"/><Relationship Id="rId7" Type="http://schemas.openxmlformats.org/officeDocument/2006/relationships/image" Target="../media/image26.png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8.png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Relationship Id="rId9" Type="http://schemas.openxmlformats.org/officeDocument/2006/relationships/image" Target="../media/image2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5" Type="http://schemas.microsoft.com/office/2007/relationships/hdphoto" Target="../media/hdphoto5.wdp"/><Relationship Id="rId4" Type="http://schemas.openxmlformats.org/officeDocument/2006/relationships/image" Target="../media/image3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31852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600" dirty="0" smtClean="0">
              <a:solidFill>
                <a:schemeClr val="tx1"/>
              </a:solidFill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4572000" y="3933056"/>
            <a:ext cx="4104456" cy="1584300"/>
          </a:xfrm>
        </p:spPr>
        <p:txBody>
          <a:bodyPr/>
          <a:lstStyle/>
          <a:p>
            <a:r>
              <a:rPr lang="ru-RU" dirty="0" smtClean="0">
                <a:latin typeface="Arial Narrow" panose="020B0606020202030204" pitchFamily="34" charset="0"/>
              </a:rPr>
              <a:t>Концепция </a:t>
            </a:r>
            <a:r>
              <a:rPr lang="ru-RU" dirty="0">
                <a:latin typeface="Arial Narrow" panose="020B0606020202030204" pitchFamily="34" charset="0"/>
              </a:rPr>
              <a:t>и задачи отраслевой </a:t>
            </a:r>
            <a:r>
              <a:rPr lang="ru-RU" dirty="0" smtClean="0">
                <a:latin typeface="Arial Narrow" panose="020B0606020202030204" pitchFamily="34" charset="0"/>
              </a:rPr>
              <a:t>площадки</a:t>
            </a:r>
            <a:r>
              <a:rPr lang="en-US" dirty="0" smtClean="0">
                <a:latin typeface="Arial Narrow" panose="020B0606020202030204" pitchFamily="34" charset="0"/>
              </a:rPr>
              <a:t> </a:t>
            </a:r>
            <a:r>
              <a:rPr lang="ru-RU" dirty="0" smtClean="0">
                <a:latin typeface="Arial Narrow" panose="020B0606020202030204" pitchFamily="34" charset="0"/>
              </a:rPr>
              <a:t>— </a:t>
            </a:r>
            <a:r>
              <a:rPr lang="ru-RU" dirty="0">
                <a:latin typeface="Arial Narrow" panose="020B0606020202030204" pitchFamily="34" charset="0"/>
              </a:rPr>
              <a:t>Российский институт </a:t>
            </a:r>
            <a:r>
              <a:rPr lang="ru-RU" dirty="0" smtClean="0">
                <a:latin typeface="Arial Narrow" panose="020B0606020202030204" pitchFamily="34" charset="0"/>
              </a:rPr>
              <a:t>нефти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ru-RU" dirty="0" smtClean="0"/>
              <a:t>12.03.2019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ru-RU" dirty="0" smtClean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dirty="0" smtClean="0"/>
              <a:t>ПАО «Газпром нефть»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013296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7931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dirty="0" smtClean="0">
              <a:solidFill>
                <a:schemeClr val="tx1"/>
              </a:solidFill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863" name="Пятиугольник 862"/>
          <p:cNvSpPr/>
          <p:nvPr/>
        </p:nvSpPr>
        <p:spPr>
          <a:xfrm>
            <a:off x="1038798" y="2974022"/>
            <a:ext cx="2058426" cy="1656893"/>
          </a:xfrm>
          <a:prstGeom prst="homePlate">
            <a:avLst>
              <a:gd name="adj" fmla="val 26600"/>
            </a:avLst>
          </a:prstGeom>
          <a:solidFill>
            <a:schemeClr val="accent3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864" name="Пятиугольник 863"/>
          <p:cNvSpPr/>
          <p:nvPr/>
        </p:nvSpPr>
        <p:spPr>
          <a:xfrm>
            <a:off x="1008992" y="2974022"/>
            <a:ext cx="2058426" cy="1656893"/>
          </a:xfrm>
          <a:prstGeom prst="homePlate">
            <a:avLst>
              <a:gd name="adj" fmla="val 26600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835" name="Пятиугольник 834"/>
          <p:cNvSpPr/>
          <p:nvPr/>
        </p:nvSpPr>
        <p:spPr>
          <a:xfrm>
            <a:off x="4145377" y="2890512"/>
            <a:ext cx="2058426" cy="1656893"/>
          </a:xfrm>
          <a:prstGeom prst="homePlate">
            <a:avLst>
              <a:gd name="adj" fmla="val 26600"/>
            </a:avLst>
          </a:prstGeom>
          <a:solidFill>
            <a:schemeClr val="accent3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836" name="Пятиугольник 835"/>
          <p:cNvSpPr/>
          <p:nvPr/>
        </p:nvSpPr>
        <p:spPr>
          <a:xfrm>
            <a:off x="4115571" y="2890512"/>
            <a:ext cx="2058426" cy="1656893"/>
          </a:xfrm>
          <a:prstGeom prst="homePlate">
            <a:avLst>
              <a:gd name="adj" fmla="val 26600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latin typeface="Arial Narrow" panose="020B0606020202030204" pitchFamily="34" charset="0"/>
              </a:rPr>
              <a:t>Концепция формирования единых отраслевых требований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830" name="Овал 829"/>
          <p:cNvSpPr/>
          <p:nvPr/>
        </p:nvSpPr>
        <p:spPr>
          <a:xfrm>
            <a:off x="3841866" y="3199345"/>
            <a:ext cx="720000" cy="720000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3672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6836" algn="l" defTabSz="913672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3672" algn="l" defTabSz="913672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0508" algn="l" defTabSz="913672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7344" algn="l" defTabSz="913672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4181" algn="l" defTabSz="913672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1016" algn="l" defTabSz="913672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197852" algn="l" defTabSz="913672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4690" algn="l" defTabSz="913672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pic>
        <p:nvPicPr>
          <p:cNvPr id="831" name="Picture 4" descr="I:\My Pictures\5445445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3118" y="3352582"/>
            <a:ext cx="357496" cy="357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32" name="TextBox 96"/>
          <p:cNvSpPr txBox="1"/>
          <p:nvPr/>
        </p:nvSpPr>
        <p:spPr>
          <a:xfrm>
            <a:off x="3203808" y="4095498"/>
            <a:ext cx="2016224" cy="830997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</p:spPr>
        <p:txBody>
          <a:bodyPr wrap="square" lIns="0" rIns="0" rtlCol="0">
            <a:spAutoFit/>
          </a:bodyPr>
          <a:lstStyle>
            <a:defPPr>
              <a:defRPr lang="ru-RU"/>
            </a:defPPr>
            <a:lvl1pPr marL="0" algn="l" defTabSz="91367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6836" algn="l" defTabSz="91367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672" algn="l" defTabSz="91367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508" algn="l" defTabSz="91367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344" algn="l" defTabSz="91367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4181" algn="l" defTabSz="91367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1016" algn="l" defTabSz="91367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7852" algn="l" defTabSz="91367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4690" algn="l" defTabSz="91367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600"/>
              </a:spcBef>
            </a:pPr>
            <a:r>
              <a:rPr lang="ru-RU" sz="12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Формирование </a:t>
            </a:r>
          </a:p>
          <a:p>
            <a:pPr algn="ctr"/>
            <a:r>
              <a:rPr lang="ru-RU" sz="12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модели принятий решения </a:t>
            </a:r>
          </a:p>
          <a:p>
            <a:pPr algn="ctr"/>
            <a:r>
              <a:rPr lang="ru-RU" sz="12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на </a:t>
            </a:r>
            <a:r>
              <a:rPr lang="ru-RU" sz="1200" dirty="0">
                <a:solidFill>
                  <a:schemeClr val="bg1"/>
                </a:solidFill>
                <a:latin typeface="Arial Narrow" panose="020B0606020202030204" pitchFamily="34" charset="0"/>
              </a:rPr>
              <a:t>основе баланса </a:t>
            </a:r>
            <a:r>
              <a:rPr lang="ru-RU" sz="12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интересов и консенсуса </a:t>
            </a:r>
          </a:p>
        </p:txBody>
      </p:sp>
      <p:sp>
        <p:nvSpPr>
          <p:cNvPr id="837" name="Shape 2538"/>
          <p:cNvSpPr/>
          <p:nvPr/>
        </p:nvSpPr>
        <p:spPr>
          <a:xfrm>
            <a:off x="6966266" y="3142432"/>
            <a:ext cx="576064" cy="8338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400" y="5891"/>
                </a:moveTo>
                <a:lnTo>
                  <a:pt x="1200" y="5891"/>
                </a:lnTo>
                <a:lnTo>
                  <a:pt x="1200" y="3927"/>
                </a:lnTo>
                <a:lnTo>
                  <a:pt x="6000" y="3927"/>
                </a:lnTo>
                <a:cubicBezTo>
                  <a:pt x="6000" y="4469"/>
                  <a:pt x="6538" y="4909"/>
                  <a:pt x="7200" y="4909"/>
                </a:cubicBezTo>
                <a:lnTo>
                  <a:pt x="14400" y="4909"/>
                </a:lnTo>
                <a:cubicBezTo>
                  <a:pt x="15062" y="4909"/>
                  <a:pt x="15600" y="4469"/>
                  <a:pt x="15600" y="3927"/>
                </a:cubicBezTo>
                <a:lnTo>
                  <a:pt x="20400" y="3927"/>
                </a:lnTo>
                <a:cubicBezTo>
                  <a:pt x="20400" y="3927"/>
                  <a:pt x="20400" y="5891"/>
                  <a:pt x="20400" y="5891"/>
                </a:cubicBezTo>
                <a:close/>
                <a:moveTo>
                  <a:pt x="20400" y="20618"/>
                </a:moveTo>
                <a:lnTo>
                  <a:pt x="1200" y="20618"/>
                </a:lnTo>
                <a:lnTo>
                  <a:pt x="1200" y="6873"/>
                </a:lnTo>
                <a:lnTo>
                  <a:pt x="20400" y="6873"/>
                </a:lnTo>
                <a:cubicBezTo>
                  <a:pt x="20400" y="6873"/>
                  <a:pt x="20400" y="20618"/>
                  <a:pt x="20400" y="20618"/>
                </a:cubicBezTo>
                <a:close/>
                <a:moveTo>
                  <a:pt x="7200" y="1964"/>
                </a:moveTo>
                <a:lnTo>
                  <a:pt x="14400" y="1964"/>
                </a:lnTo>
                <a:lnTo>
                  <a:pt x="14400" y="3927"/>
                </a:lnTo>
                <a:lnTo>
                  <a:pt x="7200" y="3927"/>
                </a:lnTo>
                <a:cubicBezTo>
                  <a:pt x="7200" y="3927"/>
                  <a:pt x="7200" y="1964"/>
                  <a:pt x="7200" y="1964"/>
                </a:cubicBezTo>
                <a:close/>
                <a:moveTo>
                  <a:pt x="20400" y="2945"/>
                </a:moveTo>
                <a:lnTo>
                  <a:pt x="15600" y="2945"/>
                </a:lnTo>
                <a:lnTo>
                  <a:pt x="15600" y="1964"/>
                </a:lnTo>
                <a:cubicBezTo>
                  <a:pt x="15600" y="1422"/>
                  <a:pt x="15062" y="982"/>
                  <a:pt x="14400" y="982"/>
                </a:cubicBezTo>
                <a:lnTo>
                  <a:pt x="12000" y="982"/>
                </a:lnTo>
                <a:cubicBezTo>
                  <a:pt x="12000" y="440"/>
                  <a:pt x="11462" y="0"/>
                  <a:pt x="10800" y="0"/>
                </a:cubicBezTo>
                <a:cubicBezTo>
                  <a:pt x="10138" y="0"/>
                  <a:pt x="9600" y="440"/>
                  <a:pt x="9600" y="982"/>
                </a:cubicBezTo>
                <a:lnTo>
                  <a:pt x="7200" y="982"/>
                </a:lnTo>
                <a:cubicBezTo>
                  <a:pt x="6538" y="982"/>
                  <a:pt x="6000" y="1422"/>
                  <a:pt x="6000" y="1964"/>
                </a:cubicBezTo>
                <a:lnTo>
                  <a:pt x="6000" y="2945"/>
                </a:lnTo>
                <a:lnTo>
                  <a:pt x="1200" y="2945"/>
                </a:lnTo>
                <a:cubicBezTo>
                  <a:pt x="538" y="2945"/>
                  <a:pt x="0" y="3386"/>
                  <a:pt x="0" y="3927"/>
                </a:cubicBezTo>
                <a:lnTo>
                  <a:pt x="0" y="20618"/>
                </a:lnTo>
                <a:cubicBezTo>
                  <a:pt x="0" y="21160"/>
                  <a:pt x="538" y="21600"/>
                  <a:pt x="1200" y="21600"/>
                </a:cubicBezTo>
                <a:lnTo>
                  <a:pt x="20400" y="21600"/>
                </a:lnTo>
                <a:cubicBezTo>
                  <a:pt x="21062" y="21600"/>
                  <a:pt x="21600" y="21160"/>
                  <a:pt x="21600" y="20618"/>
                </a:cubicBezTo>
                <a:lnTo>
                  <a:pt x="21600" y="3927"/>
                </a:lnTo>
                <a:cubicBezTo>
                  <a:pt x="21600" y="3386"/>
                  <a:pt x="21062" y="2945"/>
                  <a:pt x="20400" y="2945"/>
                </a:cubicBezTo>
                <a:moveTo>
                  <a:pt x="4200" y="16691"/>
                </a:moveTo>
                <a:lnTo>
                  <a:pt x="15000" y="16691"/>
                </a:lnTo>
                <a:cubicBezTo>
                  <a:pt x="15331" y="16691"/>
                  <a:pt x="15600" y="16472"/>
                  <a:pt x="15600" y="16200"/>
                </a:cubicBezTo>
                <a:cubicBezTo>
                  <a:pt x="15600" y="15929"/>
                  <a:pt x="15331" y="15709"/>
                  <a:pt x="15000" y="15709"/>
                </a:cubicBezTo>
                <a:lnTo>
                  <a:pt x="4200" y="15709"/>
                </a:lnTo>
                <a:cubicBezTo>
                  <a:pt x="3869" y="15709"/>
                  <a:pt x="3600" y="15929"/>
                  <a:pt x="3600" y="16200"/>
                </a:cubicBezTo>
                <a:cubicBezTo>
                  <a:pt x="3600" y="16472"/>
                  <a:pt x="3869" y="16691"/>
                  <a:pt x="4200" y="16691"/>
                </a:cubicBezTo>
                <a:moveTo>
                  <a:pt x="4200" y="13745"/>
                </a:moveTo>
                <a:lnTo>
                  <a:pt x="17400" y="13745"/>
                </a:lnTo>
                <a:cubicBezTo>
                  <a:pt x="17731" y="13745"/>
                  <a:pt x="18000" y="13526"/>
                  <a:pt x="18000" y="13255"/>
                </a:cubicBezTo>
                <a:cubicBezTo>
                  <a:pt x="18000" y="12984"/>
                  <a:pt x="17731" y="12764"/>
                  <a:pt x="17400" y="12764"/>
                </a:cubicBezTo>
                <a:lnTo>
                  <a:pt x="4200" y="12764"/>
                </a:lnTo>
                <a:cubicBezTo>
                  <a:pt x="3869" y="12764"/>
                  <a:pt x="3600" y="12984"/>
                  <a:pt x="3600" y="13255"/>
                </a:cubicBezTo>
                <a:cubicBezTo>
                  <a:pt x="3600" y="13526"/>
                  <a:pt x="3869" y="13745"/>
                  <a:pt x="4200" y="13745"/>
                </a:cubicBezTo>
                <a:moveTo>
                  <a:pt x="4200" y="10800"/>
                </a:moveTo>
                <a:lnTo>
                  <a:pt x="11400" y="10800"/>
                </a:lnTo>
                <a:cubicBezTo>
                  <a:pt x="11731" y="10800"/>
                  <a:pt x="12000" y="10581"/>
                  <a:pt x="12000" y="10309"/>
                </a:cubicBezTo>
                <a:cubicBezTo>
                  <a:pt x="12000" y="10038"/>
                  <a:pt x="11731" y="9818"/>
                  <a:pt x="11400" y="9818"/>
                </a:cubicBezTo>
                <a:lnTo>
                  <a:pt x="4200" y="9818"/>
                </a:lnTo>
                <a:cubicBezTo>
                  <a:pt x="3869" y="9818"/>
                  <a:pt x="3600" y="10038"/>
                  <a:pt x="3600" y="10309"/>
                </a:cubicBezTo>
                <a:cubicBezTo>
                  <a:pt x="3600" y="10581"/>
                  <a:pt x="3869" y="10800"/>
                  <a:pt x="4200" y="10800"/>
                </a:cubicBezTo>
              </a:path>
            </a:pathLst>
          </a:custGeom>
          <a:solidFill>
            <a:srgbClr val="5D6A7D"/>
          </a:solidFill>
          <a:ln w="12700">
            <a:miter lim="400000"/>
          </a:ln>
        </p:spPr>
        <p:txBody>
          <a:bodyPr lIns="19045" tIns="19045" rIns="19045" bIns="19045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>
              <a:latin typeface="Source Sans Pro Light" charset="0"/>
              <a:ea typeface="Source Sans Pro Light" charset="0"/>
              <a:cs typeface="Source Sans Pro Light" charset="0"/>
            </a:endParaRPr>
          </a:p>
        </p:txBody>
      </p:sp>
      <p:sp>
        <p:nvSpPr>
          <p:cNvPr id="838" name="TextBox 96"/>
          <p:cNvSpPr txBox="1"/>
          <p:nvPr/>
        </p:nvSpPr>
        <p:spPr>
          <a:xfrm>
            <a:off x="6264188" y="4187832"/>
            <a:ext cx="1980220" cy="64633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ru-RU"/>
            </a:defPPr>
            <a:lvl1pPr marL="0" algn="l" defTabSz="91367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6836" algn="l" defTabSz="91367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672" algn="l" defTabSz="91367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508" algn="l" defTabSz="91367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344" algn="l" defTabSz="91367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4181" algn="l" defTabSz="91367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1016" algn="l" defTabSz="91367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7852" algn="l" defTabSz="91367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4690" algn="l" defTabSz="91367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600"/>
              </a:spcBef>
            </a:pPr>
            <a:r>
              <a:rPr lang="ru-RU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Единые отраслевые требования</a:t>
            </a:r>
          </a:p>
        </p:txBody>
      </p:sp>
      <p:pic>
        <p:nvPicPr>
          <p:cNvPr id="840" name="Picture 10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87" t="19701" r="18462" b="26082"/>
          <a:stretch/>
        </p:blipFill>
        <p:spPr bwMode="auto">
          <a:xfrm>
            <a:off x="249939" y="3362462"/>
            <a:ext cx="492594" cy="4525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41" name="Picture 64" descr="I:\My Pictures\965230-200766.png"/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447" y="4937095"/>
            <a:ext cx="508129" cy="5081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42" name="Picture42"/>
          <p:cNvSpPr>
            <a:spLocks noChangeAspect="1" noEditPoints="1"/>
          </p:cNvSpPr>
          <p:nvPr/>
        </p:nvSpPr>
        <p:spPr bwMode="auto">
          <a:xfrm>
            <a:off x="335199" y="4041373"/>
            <a:ext cx="322074" cy="553615"/>
          </a:xfrm>
          <a:custGeom>
            <a:avLst/>
            <a:gdLst>
              <a:gd name="T0" fmla="*/ 580 w 740"/>
              <a:gd name="T1" fmla="*/ 1238 h 1272"/>
              <a:gd name="T2" fmla="*/ 514 w 740"/>
              <a:gd name="T3" fmla="*/ 1188 h 1272"/>
              <a:gd name="T4" fmla="*/ 437 w 740"/>
              <a:gd name="T5" fmla="*/ 1205 h 1272"/>
              <a:gd name="T6" fmla="*/ 158 w 740"/>
              <a:gd name="T7" fmla="*/ 1251 h 1272"/>
              <a:gd name="T8" fmla="*/ 321 w 740"/>
              <a:gd name="T9" fmla="*/ 1226 h 1272"/>
              <a:gd name="T10" fmla="*/ 242 w 740"/>
              <a:gd name="T11" fmla="*/ 1187 h 1272"/>
              <a:gd name="T12" fmla="*/ 172 w 740"/>
              <a:gd name="T13" fmla="*/ 1215 h 1272"/>
              <a:gd name="T14" fmla="*/ 309 w 740"/>
              <a:gd name="T15" fmla="*/ 339 h 1272"/>
              <a:gd name="T16" fmla="*/ 176 w 740"/>
              <a:gd name="T17" fmla="*/ 363 h 1272"/>
              <a:gd name="T18" fmla="*/ 1 w 740"/>
              <a:gd name="T19" fmla="*/ 717 h 1272"/>
              <a:gd name="T20" fmla="*/ 19 w 740"/>
              <a:gd name="T21" fmla="*/ 770 h 1272"/>
              <a:gd name="T22" fmla="*/ 72 w 740"/>
              <a:gd name="T23" fmla="*/ 776 h 1272"/>
              <a:gd name="T24" fmla="*/ 190 w 740"/>
              <a:gd name="T25" fmla="*/ 357 h 1272"/>
              <a:gd name="T26" fmla="*/ 562 w 740"/>
              <a:gd name="T27" fmla="*/ 363 h 1272"/>
              <a:gd name="T28" fmla="*/ 647 w 740"/>
              <a:gd name="T29" fmla="*/ 759 h 1272"/>
              <a:gd name="T30" fmla="*/ 710 w 740"/>
              <a:gd name="T31" fmla="*/ 776 h 1272"/>
              <a:gd name="T32" fmla="*/ 740 w 740"/>
              <a:gd name="T33" fmla="*/ 737 h 1272"/>
              <a:gd name="T34" fmla="*/ 523 w 740"/>
              <a:gd name="T35" fmla="*/ 184 h 1272"/>
              <a:gd name="T36" fmla="*/ 308 w 740"/>
              <a:gd name="T37" fmla="*/ 188 h 1272"/>
              <a:gd name="T38" fmla="*/ 232 w 740"/>
              <a:gd name="T39" fmla="*/ 170 h 1272"/>
              <a:gd name="T40" fmla="*/ 266 w 740"/>
              <a:gd name="T41" fmla="*/ 247 h 1272"/>
              <a:gd name="T42" fmla="*/ 335 w 740"/>
              <a:gd name="T43" fmla="*/ 291 h 1272"/>
              <a:gd name="T44" fmla="*/ 404 w 740"/>
              <a:gd name="T45" fmla="*/ 294 h 1272"/>
              <a:gd name="T46" fmla="*/ 471 w 740"/>
              <a:gd name="T47" fmla="*/ 265 h 1272"/>
              <a:gd name="T48" fmla="*/ 514 w 740"/>
              <a:gd name="T49" fmla="*/ 208 h 1272"/>
              <a:gd name="T50" fmla="*/ 286 w 740"/>
              <a:gd name="T51" fmla="*/ 138 h 1272"/>
              <a:gd name="T52" fmla="*/ 454 w 740"/>
              <a:gd name="T53" fmla="*/ 155 h 1272"/>
              <a:gd name="T54" fmla="*/ 526 w 740"/>
              <a:gd name="T55" fmla="*/ 141 h 1272"/>
              <a:gd name="T56" fmla="*/ 517 w 740"/>
              <a:gd name="T57" fmla="*/ 97 h 1272"/>
              <a:gd name="T58" fmla="*/ 469 w 740"/>
              <a:gd name="T59" fmla="*/ 31 h 1272"/>
              <a:gd name="T60" fmla="*/ 393 w 740"/>
              <a:gd name="T61" fmla="*/ 1 h 1272"/>
              <a:gd name="T62" fmla="*/ 297 w 740"/>
              <a:gd name="T63" fmla="*/ 25 h 1272"/>
              <a:gd name="T64" fmla="*/ 362 w 740"/>
              <a:gd name="T65" fmla="*/ 82 h 1272"/>
              <a:gd name="T66" fmla="*/ 434 w 740"/>
              <a:gd name="T67" fmla="*/ 133 h 1272"/>
              <a:gd name="T68" fmla="*/ 339 w 740"/>
              <a:gd name="T69" fmla="*/ 108 h 1272"/>
              <a:gd name="T70" fmla="*/ 236 w 740"/>
              <a:gd name="T71" fmla="*/ 46 h 1272"/>
              <a:gd name="T72" fmla="*/ 151 w 740"/>
              <a:gd name="T73" fmla="*/ 52 h 1272"/>
              <a:gd name="T74" fmla="*/ 132 w 740"/>
              <a:gd name="T75" fmla="*/ 96 h 1272"/>
              <a:gd name="T76" fmla="*/ 163 w 740"/>
              <a:gd name="T77" fmla="*/ 112 h 1272"/>
              <a:gd name="T78" fmla="*/ 250 w 740"/>
              <a:gd name="T79" fmla="*/ 123 h 1272"/>
              <a:gd name="T80" fmla="*/ 431 w 740"/>
              <a:gd name="T81" fmla="*/ 623 h 1272"/>
              <a:gd name="T82" fmla="*/ 158 w 740"/>
              <a:gd name="T83" fmla="*/ 1157 h 1272"/>
              <a:gd name="T84" fmla="*/ 169 w 740"/>
              <a:gd name="T85" fmla="*/ 972 h 1272"/>
              <a:gd name="T86" fmla="*/ 217 w 740"/>
              <a:gd name="T87" fmla="*/ 921 h 1272"/>
              <a:gd name="T88" fmla="*/ 238 w 740"/>
              <a:gd name="T89" fmla="*/ 831 h 1272"/>
              <a:gd name="T90" fmla="*/ 507 w 740"/>
              <a:gd name="T91" fmla="*/ 865 h 1272"/>
              <a:gd name="T92" fmla="*/ 543 w 740"/>
              <a:gd name="T93" fmla="*/ 951 h 1272"/>
              <a:gd name="T94" fmla="*/ 387 w 740"/>
              <a:gd name="T95" fmla="*/ 1187 h 1272"/>
              <a:gd name="T96" fmla="*/ 522 w 740"/>
              <a:gd name="T97" fmla="*/ 341 h 1272"/>
              <a:gd name="T98" fmla="*/ 280 w 740"/>
              <a:gd name="T99" fmla="*/ 341 h 1272"/>
              <a:gd name="T100" fmla="*/ 218 w 740"/>
              <a:gd name="T101" fmla="*/ 604 h 1272"/>
              <a:gd name="T102" fmla="*/ 158 w 740"/>
              <a:gd name="T103" fmla="*/ 741 h 1272"/>
              <a:gd name="T104" fmla="*/ 263 w 740"/>
              <a:gd name="T105" fmla="*/ 868 h 1272"/>
              <a:gd name="T106" fmla="*/ 221 w 740"/>
              <a:gd name="T107" fmla="*/ 967 h 1272"/>
              <a:gd name="T108" fmla="*/ 158 w 740"/>
              <a:gd name="T109" fmla="*/ 1127 h 1272"/>
              <a:gd name="T110" fmla="*/ 582 w 740"/>
              <a:gd name="T111" fmla="*/ 1006 h 1272"/>
              <a:gd name="T112" fmla="*/ 517 w 740"/>
              <a:gd name="T113" fmla="*/ 967 h 1272"/>
              <a:gd name="T114" fmla="*/ 477 w 740"/>
              <a:gd name="T115" fmla="*/ 868 h 1272"/>
              <a:gd name="T116" fmla="*/ 582 w 740"/>
              <a:gd name="T117" fmla="*/ 741 h 1272"/>
              <a:gd name="T118" fmla="*/ 522 w 740"/>
              <a:gd name="T119" fmla="*/ 604 h 12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40" h="1272">
                <a:moveTo>
                  <a:pt x="413" y="1251"/>
                </a:moveTo>
                <a:lnTo>
                  <a:pt x="413" y="1272"/>
                </a:lnTo>
                <a:lnTo>
                  <a:pt x="582" y="1272"/>
                </a:lnTo>
                <a:lnTo>
                  <a:pt x="582" y="1251"/>
                </a:lnTo>
                <a:lnTo>
                  <a:pt x="582" y="1251"/>
                </a:lnTo>
                <a:lnTo>
                  <a:pt x="580" y="1238"/>
                </a:lnTo>
                <a:lnTo>
                  <a:pt x="576" y="1226"/>
                </a:lnTo>
                <a:lnTo>
                  <a:pt x="567" y="1215"/>
                </a:lnTo>
                <a:lnTo>
                  <a:pt x="556" y="1205"/>
                </a:lnTo>
                <a:lnTo>
                  <a:pt x="544" y="1197"/>
                </a:lnTo>
                <a:lnTo>
                  <a:pt x="529" y="1191"/>
                </a:lnTo>
                <a:lnTo>
                  <a:pt x="514" y="1188"/>
                </a:lnTo>
                <a:lnTo>
                  <a:pt x="496" y="1187"/>
                </a:lnTo>
                <a:lnTo>
                  <a:pt x="496" y="1187"/>
                </a:lnTo>
                <a:lnTo>
                  <a:pt x="480" y="1188"/>
                </a:lnTo>
                <a:lnTo>
                  <a:pt x="463" y="1191"/>
                </a:lnTo>
                <a:lnTo>
                  <a:pt x="450" y="1197"/>
                </a:lnTo>
                <a:lnTo>
                  <a:pt x="437" y="1205"/>
                </a:lnTo>
                <a:lnTo>
                  <a:pt x="426" y="1215"/>
                </a:lnTo>
                <a:lnTo>
                  <a:pt x="419" y="1226"/>
                </a:lnTo>
                <a:lnTo>
                  <a:pt x="414" y="1238"/>
                </a:lnTo>
                <a:lnTo>
                  <a:pt x="413" y="1251"/>
                </a:lnTo>
                <a:lnTo>
                  <a:pt x="413" y="1251"/>
                </a:lnTo>
                <a:close/>
                <a:moveTo>
                  <a:pt x="158" y="1251"/>
                </a:moveTo>
                <a:lnTo>
                  <a:pt x="158" y="1272"/>
                </a:lnTo>
                <a:lnTo>
                  <a:pt x="327" y="1272"/>
                </a:lnTo>
                <a:lnTo>
                  <a:pt x="327" y="1251"/>
                </a:lnTo>
                <a:lnTo>
                  <a:pt x="327" y="1251"/>
                </a:lnTo>
                <a:lnTo>
                  <a:pt x="326" y="1238"/>
                </a:lnTo>
                <a:lnTo>
                  <a:pt x="321" y="1226"/>
                </a:lnTo>
                <a:lnTo>
                  <a:pt x="312" y="1215"/>
                </a:lnTo>
                <a:lnTo>
                  <a:pt x="302" y="1205"/>
                </a:lnTo>
                <a:lnTo>
                  <a:pt x="290" y="1197"/>
                </a:lnTo>
                <a:lnTo>
                  <a:pt x="275" y="1191"/>
                </a:lnTo>
                <a:lnTo>
                  <a:pt x="260" y="1188"/>
                </a:lnTo>
                <a:lnTo>
                  <a:pt x="242" y="1187"/>
                </a:lnTo>
                <a:lnTo>
                  <a:pt x="242" y="1187"/>
                </a:lnTo>
                <a:lnTo>
                  <a:pt x="226" y="1188"/>
                </a:lnTo>
                <a:lnTo>
                  <a:pt x="209" y="1191"/>
                </a:lnTo>
                <a:lnTo>
                  <a:pt x="196" y="1197"/>
                </a:lnTo>
                <a:lnTo>
                  <a:pt x="182" y="1205"/>
                </a:lnTo>
                <a:lnTo>
                  <a:pt x="172" y="1215"/>
                </a:lnTo>
                <a:lnTo>
                  <a:pt x="164" y="1226"/>
                </a:lnTo>
                <a:lnTo>
                  <a:pt x="160" y="1238"/>
                </a:lnTo>
                <a:lnTo>
                  <a:pt x="158" y="1251"/>
                </a:lnTo>
                <a:lnTo>
                  <a:pt x="158" y="1251"/>
                </a:lnTo>
                <a:close/>
                <a:moveTo>
                  <a:pt x="431" y="339"/>
                </a:moveTo>
                <a:lnTo>
                  <a:pt x="309" y="339"/>
                </a:lnTo>
                <a:lnTo>
                  <a:pt x="309" y="432"/>
                </a:lnTo>
                <a:lnTo>
                  <a:pt x="431" y="432"/>
                </a:lnTo>
                <a:lnTo>
                  <a:pt x="431" y="339"/>
                </a:lnTo>
                <a:close/>
                <a:moveTo>
                  <a:pt x="190" y="357"/>
                </a:moveTo>
                <a:lnTo>
                  <a:pt x="190" y="357"/>
                </a:lnTo>
                <a:lnTo>
                  <a:pt x="176" y="363"/>
                </a:lnTo>
                <a:lnTo>
                  <a:pt x="166" y="371"/>
                </a:lnTo>
                <a:lnTo>
                  <a:pt x="155" y="381"/>
                </a:lnTo>
                <a:lnTo>
                  <a:pt x="149" y="393"/>
                </a:lnTo>
                <a:lnTo>
                  <a:pt x="4" y="707"/>
                </a:lnTo>
                <a:lnTo>
                  <a:pt x="4" y="707"/>
                </a:lnTo>
                <a:lnTo>
                  <a:pt x="1" y="717"/>
                </a:lnTo>
                <a:lnTo>
                  <a:pt x="0" y="726"/>
                </a:lnTo>
                <a:lnTo>
                  <a:pt x="0" y="737"/>
                </a:lnTo>
                <a:lnTo>
                  <a:pt x="1" y="746"/>
                </a:lnTo>
                <a:lnTo>
                  <a:pt x="6" y="755"/>
                </a:lnTo>
                <a:lnTo>
                  <a:pt x="12" y="762"/>
                </a:lnTo>
                <a:lnTo>
                  <a:pt x="19" y="770"/>
                </a:lnTo>
                <a:lnTo>
                  <a:pt x="30" y="776"/>
                </a:lnTo>
                <a:lnTo>
                  <a:pt x="30" y="776"/>
                </a:lnTo>
                <a:lnTo>
                  <a:pt x="39" y="780"/>
                </a:lnTo>
                <a:lnTo>
                  <a:pt x="51" y="782"/>
                </a:lnTo>
                <a:lnTo>
                  <a:pt x="61" y="780"/>
                </a:lnTo>
                <a:lnTo>
                  <a:pt x="72" y="776"/>
                </a:lnTo>
                <a:lnTo>
                  <a:pt x="82" y="768"/>
                </a:lnTo>
                <a:lnTo>
                  <a:pt x="93" y="759"/>
                </a:lnTo>
                <a:lnTo>
                  <a:pt x="102" y="750"/>
                </a:lnTo>
                <a:lnTo>
                  <a:pt x="109" y="738"/>
                </a:lnTo>
                <a:lnTo>
                  <a:pt x="190" y="568"/>
                </a:lnTo>
                <a:lnTo>
                  <a:pt x="190" y="357"/>
                </a:lnTo>
                <a:close/>
                <a:moveTo>
                  <a:pt x="736" y="707"/>
                </a:moveTo>
                <a:lnTo>
                  <a:pt x="591" y="393"/>
                </a:lnTo>
                <a:lnTo>
                  <a:pt x="591" y="393"/>
                </a:lnTo>
                <a:lnTo>
                  <a:pt x="583" y="381"/>
                </a:lnTo>
                <a:lnTo>
                  <a:pt x="574" y="371"/>
                </a:lnTo>
                <a:lnTo>
                  <a:pt x="562" y="363"/>
                </a:lnTo>
                <a:lnTo>
                  <a:pt x="550" y="357"/>
                </a:lnTo>
                <a:lnTo>
                  <a:pt x="550" y="568"/>
                </a:lnTo>
                <a:lnTo>
                  <a:pt x="631" y="738"/>
                </a:lnTo>
                <a:lnTo>
                  <a:pt x="631" y="738"/>
                </a:lnTo>
                <a:lnTo>
                  <a:pt x="638" y="750"/>
                </a:lnTo>
                <a:lnTo>
                  <a:pt x="647" y="759"/>
                </a:lnTo>
                <a:lnTo>
                  <a:pt x="656" y="768"/>
                </a:lnTo>
                <a:lnTo>
                  <a:pt x="667" y="776"/>
                </a:lnTo>
                <a:lnTo>
                  <a:pt x="679" y="780"/>
                </a:lnTo>
                <a:lnTo>
                  <a:pt x="689" y="782"/>
                </a:lnTo>
                <a:lnTo>
                  <a:pt x="700" y="780"/>
                </a:lnTo>
                <a:lnTo>
                  <a:pt x="710" y="776"/>
                </a:lnTo>
                <a:lnTo>
                  <a:pt x="710" y="776"/>
                </a:lnTo>
                <a:lnTo>
                  <a:pt x="719" y="770"/>
                </a:lnTo>
                <a:lnTo>
                  <a:pt x="727" y="762"/>
                </a:lnTo>
                <a:lnTo>
                  <a:pt x="733" y="755"/>
                </a:lnTo>
                <a:lnTo>
                  <a:pt x="737" y="746"/>
                </a:lnTo>
                <a:lnTo>
                  <a:pt x="740" y="737"/>
                </a:lnTo>
                <a:lnTo>
                  <a:pt x="740" y="726"/>
                </a:lnTo>
                <a:lnTo>
                  <a:pt x="739" y="717"/>
                </a:lnTo>
                <a:lnTo>
                  <a:pt x="736" y="707"/>
                </a:lnTo>
                <a:lnTo>
                  <a:pt x="736" y="707"/>
                </a:lnTo>
                <a:close/>
                <a:moveTo>
                  <a:pt x="523" y="184"/>
                </a:moveTo>
                <a:lnTo>
                  <a:pt x="523" y="184"/>
                </a:lnTo>
                <a:lnTo>
                  <a:pt x="480" y="193"/>
                </a:lnTo>
                <a:lnTo>
                  <a:pt x="441" y="199"/>
                </a:lnTo>
                <a:lnTo>
                  <a:pt x="404" y="200"/>
                </a:lnTo>
                <a:lnTo>
                  <a:pt x="371" y="199"/>
                </a:lnTo>
                <a:lnTo>
                  <a:pt x="338" y="194"/>
                </a:lnTo>
                <a:lnTo>
                  <a:pt x="308" y="188"/>
                </a:lnTo>
                <a:lnTo>
                  <a:pt x="280" y="179"/>
                </a:lnTo>
                <a:lnTo>
                  <a:pt x="251" y="167"/>
                </a:lnTo>
                <a:lnTo>
                  <a:pt x="251" y="167"/>
                </a:lnTo>
                <a:lnTo>
                  <a:pt x="230" y="155"/>
                </a:lnTo>
                <a:lnTo>
                  <a:pt x="230" y="155"/>
                </a:lnTo>
                <a:lnTo>
                  <a:pt x="232" y="170"/>
                </a:lnTo>
                <a:lnTo>
                  <a:pt x="235" y="184"/>
                </a:lnTo>
                <a:lnTo>
                  <a:pt x="239" y="199"/>
                </a:lnTo>
                <a:lnTo>
                  <a:pt x="244" y="211"/>
                </a:lnTo>
                <a:lnTo>
                  <a:pt x="250" y="223"/>
                </a:lnTo>
                <a:lnTo>
                  <a:pt x="257" y="235"/>
                </a:lnTo>
                <a:lnTo>
                  <a:pt x="266" y="247"/>
                </a:lnTo>
                <a:lnTo>
                  <a:pt x="277" y="256"/>
                </a:lnTo>
                <a:lnTo>
                  <a:pt x="287" y="265"/>
                </a:lnTo>
                <a:lnTo>
                  <a:pt x="297" y="274"/>
                </a:lnTo>
                <a:lnTo>
                  <a:pt x="309" y="280"/>
                </a:lnTo>
                <a:lnTo>
                  <a:pt x="323" y="285"/>
                </a:lnTo>
                <a:lnTo>
                  <a:pt x="335" y="291"/>
                </a:lnTo>
                <a:lnTo>
                  <a:pt x="350" y="294"/>
                </a:lnTo>
                <a:lnTo>
                  <a:pt x="363" y="296"/>
                </a:lnTo>
                <a:lnTo>
                  <a:pt x="378" y="297"/>
                </a:lnTo>
                <a:lnTo>
                  <a:pt x="378" y="297"/>
                </a:lnTo>
                <a:lnTo>
                  <a:pt x="392" y="296"/>
                </a:lnTo>
                <a:lnTo>
                  <a:pt x="404" y="294"/>
                </a:lnTo>
                <a:lnTo>
                  <a:pt x="416" y="291"/>
                </a:lnTo>
                <a:lnTo>
                  <a:pt x="428" y="288"/>
                </a:lnTo>
                <a:lnTo>
                  <a:pt x="440" y="284"/>
                </a:lnTo>
                <a:lnTo>
                  <a:pt x="450" y="278"/>
                </a:lnTo>
                <a:lnTo>
                  <a:pt x="460" y="272"/>
                </a:lnTo>
                <a:lnTo>
                  <a:pt x="471" y="265"/>
                </a:lnTo>
                <a:lnTo>
                  <a:pt x="480" y="257"/>
                </a:lnTo>
                <a:lnTo>
                  <a:pt x="489" y="248"/>
                </a:lnTo>
                <a:lnTo>
                  <a:pt x="496" y="239"/>
                </a:lnTo>
                <a:lnTo>
                  <a:pt x="504" y="229"/>
                </a:lnTo>
                <a:lnTo>
                  <a:pt x="510" y="218"/>
                </a:lnTo>
                <a:lnTo>
                  <a:pt x="514" y="208"/>
                </a:lnTo>
                <a:lnTo>
                  <a:pt x="519" y="196"/>
                </a:lnTo>
                <a:lnTo>
                  <a:pt x="523" y="184"/>
                </a:lnTo>
                <a:lnTo>
                  <a:pt x="523" y="184"/>
                </a:lnTo>
                <a:close/>
                <a:moveTo>
                  <a:pt x="268" y="130"/>
                </a:moveTo>
                <a:lnTo>
                  <a:pt x="268" y="130"/>
                </a:lnTo>
                <a:lnTo>
                  <a:pt x="286" y="138"/>
                </a:lnTo>
                <a:lnTo>
                  <a:pt x="305" y="145"/>
                </a:lnTo>
                <a:lnTo>
                  <a:pt x="327" y="151"/>
                </a:lnTo>
                <a:lnTo>
                  <a:pt x="353" y="155"/>
                </a:lnTo>
                <a:lnTo>
                  <a:pt x="383" y="158"/>
                </a:lnTo>
                <a:lnTo>
                  <a:pt x="416" y="158"/>
                </a:lnTo>
                <a:lnTo>
                  <a:pt x="454" y="155"/>
                </a:lnTo>
                <a:lnTo>
                  <a:pt x="477" y="151"/>
                </a:lnTo>
                <a:lnTo>
                  <a:pt x="499" y="146"/>
                </a:lnTo>
                <a:lnTo>
                  <a:pt x="499" y="146"/>
                </a:lnTo>
                <a:lnTo>
                  <a:pt x="526" y="145"/>
                </a:lnTo>
                <a:lnTo>
                  <a:pt x="526" y="145"/>
                </a:lnTo>
                <a:lnTo>
                  <a:pt x="526" y="141"/>
                </a:lnTo>
                <a:lnTo>
                  <a:pt x="526" y="141"/>
                </a:lnTo>
                <a:lnTo>
                  <a:pt x="526" y="139"/>
                </a:lnTo>
                <a:lnTo>
                  <a:pt x="526" y="139"/>
                </a:lnTo>
                <a:lnTo>
                  <a:pt x="525" y="126"/>
                </a:lnTo>
                <a:lnTo>
                  <a:pt x="522" y="111"/>
                </a:lnTo>
                <a:lnTo>
                  <a:pt x="517" y="97"/>
                </a:lnTo>
                <a:lnTo>
                  <a:pt x="513" y="85"/>
                </a:lnTo>
                <a:lnTo>
                  <a:pt x="505" y="73"/>
                </a:lnTo>
                <a:lnTo>
                  <a:pt x="498" y="61"/>
                </a:lnTo>
                <a:lnTo>
                  <a:pt x="489" y="51"/>
                </a:lnTo>
                <a:lnTo>
                  <a:pt x="480" y="40"/>
                </a:lnTo>
                <a:lnTo>
                  <a:pt x="469" y="31"/>
                </a:lnTo>
                <a:lnTo>
                  <a:pt x="459" y="24"/>
                </a:lnTo>
                <a:lnTo>
                  <a:pt x="447" y="16"/>
                </a:lnTo>
                <a:lnTo>
                  <a:pt x="434" y="12"/>
                </a:lnTo>
                <a:lnTo>
                  <a:pt x="422" y="6"/>
                </a:lnTo>
                <a:lnTo>
                  <a:pt x="407" y="3"/>
                </a:lnTo>
                <a:lnTo>
                  <a:pt x="393" y="1"/>
                </a:lnTo>
                <a:lnTo>
                  <a:pt x="378" y="0"/>
                </a:lnTo>
                <a:lnTo>
                  <a:pt x="378" y="0"/>
                </a:lnTo>
                <a:lnTo>
                  <a:pt x="356" y="1"/>
                </a:lnTo>
                <a:lnTo>
                  <a:pt x="335" y="7"/>
                </a:lnTo>
                <a:lnTo>
                  <a:pt x="315" y="15"/>
                </a:lnTo>
                <a:lnTo>
                  <a:pt x="297" y="25"/>
                </a:lnTo>
                <a:lnTo>
                  <a:pt x="297" y="25"/>
                </a:lnTo>
                <a:lnTo>
                  <a:pt x="309" y="34"/>
                </a:lnTo>
                <a:lnTo>
                  <a:pt x="323" y="43"/>
                </a:lnTo>
                <a:lnTo>
                  <a:pt x="350" y="69"/>
                </a:lnTo>
                <a:lnTo>
                  <a:pt x="350" y="69"/>
                </a:lnTo>
                <a:lnTo>
                  <a:pt x="362" y="82"/>
                </a:lnTo>
                <a:lnTo>
                  <a:pt x="375" y="93"/>
                </a:lnTo>
                <a:lnTo>
                  <a:pt x="398" y="111"/>
                </a:lnTo>
                <a:lnTo>
                  <a:pt x="420" y="123"/>
                </a:lnTo>
                <a:lnTo>
                  <a:pt x="440" y="132"/>
                </a:lnTo>
                <a:lnTo>
                  <a:pt x="440" y="132"/>
                </a:lnTo>
                <a:lnTo>
                  <a:pt x="434" y="133"/>
                </a:lnTo>
                <a:lnTo>
                  <a:pt x="426" y="136"/>
                </a:lnTo>
                <a:lnTo>
                  <a:pt x="416" y="138"/>
                </a:lnTo>
                <a:lnTo>
                  <a:pt x="402" y="136"/>
                </a:lnTo>
                <a:lnTo>
                  <a:pt x="386" y="132"/>
                </a:lnTo>
                <a:lnTo>
                  <a:pt x="365" y="123"/>
                </a:lnTo>
                <a:lnTo>
                  <a:pt x="339" y="108"/>
                </a:lnTo>
                <a:lnTo>
                  <a:pt x="309" y="85"/>
                </a:lnTo>
                <a:lnTo>
                  <a:pt x="309" y="85"/>
                </a:lnTo>
                <a:lnTo>
                  <a:pt x="290" y="72"/>
                </a:lnTo>
                <a:lnTo>
                  <a:pt x="272" y="60"/>
                </a:lnTo>
                <a:lnTo>
                  <a:pt x="254" y="52"/>
                </a:lnTo>
                <a:lnTo>
                  <a:pt x="236" y="46"/>
                </a:lnTo>
                <a:lnTo>
                  <a:pt x="218" y="42"/>
                </a:lnTo>
                <a:lnTo>
                  <a:pt x="202" y="40"/>
                </a:lnTo>
                <a:lnTo>
                  <a:pt x="187" y="42"/>
                </a:lnTo>
                <a:lnTo>
                  <a:pt x="173" y="43"/>
                </a:lnTo>
                <a:lnTo>
                  <a:pt x="161" y="46"/>
                </a:lnTo>
                <a:lnTo>
                  <a:pt x="151" y="52"/>
                </a:lnTo>
                <a:lnTo>
                  <a:pt x="142" y="58"/>
                </a:lnTo>
                <a:lnTo>
                  <a:pt x="135" y="64"/>
                </a:lnTo>
                <a:lnTo>
                  <a:pt x="130" y="72"/>
                </a:lnTo>
                <a:lnTo>
                  <a:pt x="129" y="79"/>
                </a:lnTo>
                <a:lnTo>
                  <a:pt x="129" y="88"/>
                </a:lnTo>
                <a:lnTo>
                  <a:pt x="132" y="96"/>
                </a:lnTo>
                <a:lnTo>
                  <a:pt x="132" y="96"/>
                </a:lnTo>
                <a:lnTo>
                  <a:pt x="138" y="103"/>
                </a:lnTo>
                <a:lnTo>
                  <a:pt x="142" y="106"/>
                </a:lnTo>
                <a:lnTo>
                  <a:pt x="148" y="109"/>
                </a:lnTo>
                <a:lnTo>
                  <a:pt x="152" y="112"/>
                </a:lnTo>
                <a:lnTo>
                  <a:pt x="163" y="112"/>
                </a:lnTo>
                <a:lnTo>
                  <a:pt x="175" y="111"/>
                </a:lnTo>
                <a:lnTo>
                  <a:pt x="190" y="111"/>
                </a:lnTo>
                <a:lnTo>
                  <a:pt x="209" y="112"/>
                </a:lnTo>
                <a:lnTo>
                  <a:pt x="221" y="114"/>
                </a:lnTo>
                <a:lnTo>
                  <a:pt x="235" y="118"/>
                </a:lnTo>
                <a:lnTo>
                  <a:pt x="250" y="123"/>
                </a:lnTo>
                <a:lnTo>
                  <a:pt x="268" y="130"/>
                </a:lnTo>
                <a:lnTo>
                  <a:pt x="268" y="130"/>
                </a:lnTo>
                <a:close/>
                <a:moveTo>
                  <a:pt x="431" y="471"/>
                </a:moveTo>
                <a:lnTo>
                  <a:pt x="309" y="471"/>
                </a:lnTo>
                <a:lnTo>
                  <a:pt x="309" y="623"/>
                </a:lnTo>
                <a:lnTo>
                  <a:pt x="431" y="623"/>
                </a:lnTo>
                <a:lnTo>
                  <a:pt x="431" y="471"/>
                </a:lnTo>
                <a:close/>
                <a:moveTo>
                  <a:pt x="158" y="1187"/>
                </a:moveTo>
                <a:lnTo>
                  <a:pt x="242" y="1187"/>
                </a:lnTo>
                <a:lnTo>
                  <a:pt x="353" y="1187"/>
                </a:lnTo>
                <a:lnTo>
                  <a:pt x="353" y="1157"/>
                </a:lnTo>
                <a:lnTo>
                  <a:pt x="158" y="1157"/>
                </a:lnTo>
                <a:lnTo>
                  <a:pt x="158" y="1187"/>
                </a:lnTo>
                <a:close/>
                <a:moveTo>
                  <a:pt x="238" y="831"/>
                </a:moveTo>
                <a:lnTo>
                  <a:pt x="158" y="831"/>
                </a:lnTo>
                <a:lnTo>
                  <a:pt x="158" y="976"/>
                </a:lnTo>
                <a:lnTo>
                  <a:pt x="158" y="976"/>
                </a:lnTo>
                <a:lnTo>
                  <a:pt x="169" y="972"/>
                </a:lnTo>
                <a:lnTo>
                  <a:pt x="179" y="966"/>
                </a:lnTo>
                <a:lnTo>
                  <a:pt x="188" y="958"/>
                </a:lnTo>
                <a:lnTo>
                  <a:pt x="197" y="951"/>
                </a:lnTo>
                <a:lnTo>
                  <a:pt x="205" y="942"/>
                </a:lnTo>
                <a:lnTo>
                  <a:pt x="211" y="931"/>
                </a:lnTo>
                <a:lnTo>
                  <a:pt x="217" y="921"/>
                </a:lnTo>
                <a:lnTo>
                  <a:pt x="221" y="910"/>
                </a:lnTo>
                <a:lnTo>
                  <a:pt x="229" y="888"/>
                </a:lnTo>
                <a:lnTo>
                  <a:pt x="233" y="865"/>
                </a:lnTo>
                <a:lnTo>
                  <a:pt x="236" y="846"/>
                </a:lnTo>
                <a:lnTo>
                  <a:pt x="238" y="831"/>
                </a:lnTo>
                <a:lnTo>
                  <a:pt x="238" y="831"/>
                </a:lnTo>
                <a:close/>
                <a:moveTo>
                  <a:pt x="582" y="976"/>
                </a:moveTo>
                <a:lnTo>
                  <a:pt x="582" y="831"/>
                </a:lnTo>
                <a:lnTo>
                  <a:pt x="502" y="831"/>
                </a:lnTo>
                <a:lnTo>
                  <a:pt x="502" y="831"/>
                </a:lnTo>
                <a:lnTo>
                  <a:pt x="504" y="846"/>
                </a:lnTo>
                <a:lnTo>
                  <a:pt x="507" y="865"/>
                </a:lnTo>
                <a:lnTo>
                  <a:pt x="511" y="888"/>
                </a:lnTo>
                <a:lnTo>
                  <a:pt x="519" y="910"/>
                </a:lnTo>
                <a:lnTo>
                  <a:pt x="523" y="921"/>
                </a:lnTo>
                <a:lnTo>
                  <a:pt x="529" y="931"/>
                </a:lnTo>
                <a:lnTo>
                  <a:pt x="535" y="942"/>
                </a:lnTo>
                <a:lnTo>
                  <a:pt x="543" y="951"/>
                </a:lnTo>
                <a:lnTo>
                  <a:pt x="550" y="958"/>
                </a:lnTo>
                <a:lnTo>
                  <a:pt x="561" y="966"/>
                </a:lnTo>
                <a:lnTo>
                  <a:pt x="570" y="972"/>
                </a:lnTo>
                <a:lnTo>
                  <a:pt x="582" y="976"/>
                </a:lnTo>
                <a:lnTo>
                  <a:pt x="582" y="976"/>
                </a:lnTo>
                <a:close/>
                <a:moveTo>
                  <a:pt x="387" y="1187"/>
                </a:moveTo>
                <a:lnTo>
                  <a:pt x="496" y="1187"/>
                </a:lnTo>
                <a:lnTo>
                  <a:pt x="582" y="1187"/>
                </a:lnTo>
                <a:lnTo>
                  <a:pt x="582" y="1157"/>
                </a:lnTo>
                <a:lnTo>
                  <a:pt x="387" y="1157"/>
                </a:lnTo>
                <a:lnTo>
                  <a:pt x="387" y="1187"/>
                </a:lnTo>
                <a:close/>
                <a:moveTo>
                  <a:pt x="522" y="341"/>
                </a:moveTo>
                <a:lnTo>
                  <a:pt x="520" y="341"/>
                </a:lnTo>
                <a:lnTo>
                  <a:pt x="520" y="341"/>
                </a:lnTo>
                <a:lnTo>
                  <a:pt x="459" y="341"/>
                </a:lnTo>
                <a:lnTo>
                  <a:pt x="459" y="653"/>
                </a:lnTo>
                <a:lnTo>
                  <a:pt x="280" y="653"/>
                </a:lnTo>
                <a:lnTo>
                  <a:pt x="280" y="341"/>
                </a:lnTo>
                <a:lnTo>
                  <a:pt x="218" y="341"/>
                </a:lnTo>
                <a:lnTo>
                  <a:pt x="218" y="341"/>
                </a:lnTo>
                <a:lnTo>
                  <a:pt x="218" y="549"/>
                </a:lnTo>
                <a:lnTo>
                  <a:pt x="218" y="549"/>
                </a:lnTo>
                <a:lnTo>
                  <a:pt x="218" y="578"/>
                </a:lnTo>
                <a:lnTo>
                  <a:pt x="218" y="604"/>
                </a:lnTo>
                <a:lnTo>
                  <a:pt x="215" y="625"/>
                </a:lnTo>
                <a:lnTo>
                  <a:pt x="211" y="644"/>
                </a:lnTo>
                <a:lnTo>
                  <a:pt x="203" y="665"/>
                </a:lnTo>
                <a:lnTo>
                  <a:pt x="193" y="686"/>
                </a:lnTo>
                <a:lnTo>
                  <a:pt x="178" y="711"/>
                </a:lnTo>
                <a:lnTo>
                  <a:pt x="158" y="741"/>
                </a:lnTo>
                <a:lnTo>
                  <a:pt x="158" y="801"/>
                </a:lnTo>
                <a:lnTo>
                  <a:pt x="269" y="801"/>
                </a:lnTo>
                <a:lnTo>
                  <a:pt x="269" y="816"/>
                </a:lnTo>
                <a:lnTo>
                  <a:pt x="269" y="816"/>
                </a:lnTo>
                <a:lnTo>
                  <a:pt x="268" y="842"/>
                </a:lnTo>
                <a:lnTo>
                  <a:pt x="263" y="868"/>
                </a:lnTo>
                <a:lnTo>
                  <a:pt x="256" y="898"/>
                </a:lnTo>
                <a:lnTo>
                  <a:pt x="251" y="913"/>
                </a:lnTo>
                <a:lnTo>
                  <a:pt x="245" y="927"/>
                </a:lnTo>
                <a:lnTo>
                  <a:pt x="239" y="942"/>
                </a:lnTo>
                <a:lnTo>
                  <a:pt x="232" y="954"/>
                </a:lnTo>
                <a:lnTo>
                  <a:pt x="221" y="967"/>
                </a:lnTo>
                <a:lnTo>
                  <a:pt x="212" y="978"/>
                </a:lnTo>
                <a:lnTo>
                  <a:pt x="200" y="987"/>
                </a:lnTo>
                <a:lnTo>
                  <a:pt x="187" y="995"/>
                </a:lnTo>
                <a:lnTo>
                  <a:pt x="173" y="1001"/>
                </a:lnTo>
                <a:lnTo>
                  <a:pt x="158" y="1006"/>
                </a:lnTo>
                <a:lnTo>
                  <a:pt x="158" y="1127"/>
                </a:lnTo>
                <a:lnTo>
                  <a:pt x="353" y="1127"/>
                </a:lnTo>
                <a:lnTo>
                  <a:pt x="353" y="831"/>
                </a:lnTo>
                <a:lnTo>
                  <a:pt x="387" y="831"/>
                </a:lnTo>
                <a:lnTo>
                  <a:pt x="387" y="1127"/>
                </a:lnTo>
                <a:lnTo>
                  <a:pt x="582" y="1127"/>
                </a:lnTo>
                <a:lnTo>
                  <a:pt x="582" y="1006"/>
                </a:lnTo>
                <a:lnTo>
                  <a:pt x="582" y="1006"/>
                </a:lnTo>
                <a:lnTo>
                  <a:pt x="567" y="1001"/>
                </a:lnTo>
                <a:lnTo>
                  <a:pt x="552" y="995"/>
                </a:lnTo>
                <a:lnTo>
                  <a:pt x="540" y="987"/>
                </a:lnTo>
                <a:lnTo>
                  <a:pt x="528" y="978"/>
                </a:lnTo>
                <a:lnTo>
                  <a:pt x="517" y="967"/>
                </a:lnTo>
                <a:lnTo>
                  <a:pt x="508" y="954"/>
                </a:lnTo>
                <a:lnTo>
                  <a:pt x="501" y="942"/>
                </a:lnTo>
                <a:lnTo>
                  <a:pt x="493" y="927"/>
                </a:lnTo>
                <a:lnTo>
                  <a:pt x="487" y="913"/>
                </a:lnTo>
                <a:lnTo>
                  <a:pt x="483" y="898"/>
                </a:lnTo>
                <a:lnTo>
                  <a:pt x="477" y="868"/>
                </a:lnTo>
                <a:lnTo>
                  <a:pt x="472" y="842"/>
                </a:lnTo>
                <a:lnTo>
                  <a:pt x="471" y="816"/>
                </a:lnTo>
                <a:lnTo>
                  <a:pt x="471" y="801"/>
                </a:lnTo>
                <a:lnTo>
                  <a:pt x="582" y="801"/>
                </a:lnTo>
                <a:lnTo>
                  <a:pt x="582" y="741"/>
                </a:lnTo>
                <a:lnTo>
                  <a:pt x="582" y="741"/>
                </a:lnTo>
                <a:lnTo>
                  <a:pt x="562" y="711"/>
                </a:lnTo>
                <a:lnTo>
                  <a:pt x="547" y="686"/>
                </a:lnTo>
                <a:lnTo>
                  <a:pt x="535" y="665"/>
                </a:lnTo>
                <a:lnTo>
                  <a:pt x="529" y="644"/>
                </a:lnTo>
                <a:lnTo>
                  <a:pt x="525" y="625"/>
                </a:lnTo>
                <a:lnTo>
                  <a:pt x="522" y="604"/>
                </a:lnTo>
                <a:lnTo>
                  <a:pt x="522" y="578"/>
                </a:lnTo>
                <a:lnTo>
                  <a:pt x="522" y="549"/>
                </a:lnTo>
                <a:lnTo>
                  <a:pt x="522" y="549"/>
                </a:lnTo>
                <a:lnTo>
                  <a:pt x="522" y="341"/>
                </a:lnTo>
                <a:lnTo>
                  <a:pt x="522" y="341"/>
                </a:lnTo>
                <a:close/>
              </a:path>
            </a:pathLst>
          </a:custGeom>
          <a:solidFill>
            <a:srgbClr val="0070C0"/>
          </a:solidFill>
          <a:ln>
            <a:noFill/>
          </a:ln>
          <a:extLst/>
        </p:spPr>
        <p:txBody>
          <a:bodyPr vert="horz" wrap="square" lIns="75613" tIns="37806" rIns="75613" bIns="37806" numCol="1" anchor="t" anchorCtr="0" compatLnSpc="1">
            <a:prstTxWarp prst="textNoShape">
              <a:avLst/>
            </a:prstTxWarp>
          </a:bodyPr>
          <a:lstStyle/>
          <a:p>
            <a:endParaRPr lang="ru-RU" sz="1488" dirty="0">
              <a:latin typeface="Arial Narrow" panose="020B0606020202030204" pitchFamily="34" charset="0"/>
            </a:endParaRPr>
          </a:p>
        </p:txBody>
      </p:sp>
      <p:sp>
        <p:nvSpPr>
          <p:cNvPr id="844" name="Picture166"/>
          <p:cNvSpPr>
            <a:spLocks noChangeAspect="1" noEditPoints="1"/>
          </p:cNvSpPr>
          <p:nvPr/>
        </p:nvSpPr>
        <p:spPr bwMode="auto">
          <a:xfrm>
            <a:off x="323383" y="2662891"/>
            <a:ext cx="383274" cy="383274"/>
          </a:xfrm>
          <a:custGeom>
            <a:avLst/>
            <a:gdLst>
              <a:gd name="T0" fmla="*/ 837 w 912"/>
              <a:gd name="T1" fmla="*/ 580 h 912"/>
              <a:gd name="T2" fmla="*/ 837 w 912"/>
              <a:gd name="T3" fmla="*/ 423 h 912"/>
              <a:gd name="T4" fmla="*/ 830 w 912"/>
              <a:gd name="T5" fmla="*/ 409 h 912"/>
              <a:gd name="T6" fmla="*/ 499 w 912"/>
              <a:gd name="T7" fmla="*/ 290 h 912"/>
              <a:gd name="T8" fmla="*/ 497 w 912"/>
              <a:gd name="T9" fmla="*/ 283 h 912"/>
              <a:gd name="T10" fmla="*/ 485 w 912"/>
              <a:gd name="T11" fmla="*/ 274 h 912"/>
              <a:gd name="T12" fmla="*/ 267 w 912"/>
              <a:gd name="T13" fmla="*/ 219 h 912"/>
              <a:gd name="T14" fmla="*/ 271 w 912"/>
              <a:gd name="T15" fmla="*/ 165 h 912"/>
              <a:gd name="T16" fmla="*/ 268 w 912"/>
              <a:gd name="T17" fmla="*/ 83 h 912"/>
              <a:gd name="T18" fmla="*/ 220 w 912"/>
              <a:gd name="T19" fmla="*/ 0 h 912"/>
              <a:gd name="T20" fmla="*/ 182 w 912"/>
              <a:gd name="T21" fmla="*/ 40 h 912"/>
              <a:gd name="T22" fmla="*/ 121 w 912"/>
              <a:gd name="T23" fmla="*/ 118 h 912"/>
              <a:gd name="T24" fmla="*/ 88 w 912"/>
              <a:gd name="T25" fmla="*/ 175 h 912"/>
              <a:gd name="T26" fmla="*/ 77 w 912"/>
              <a:gd name="T27" fmla="*/ 203 h 912"/>
              <a:gd name="T28" fmla="*/ 67 w 912"/>
              <a:gd name="T29" fmla="*/ 248 h 912"/>
              <a:gd name="T30" fmla="*/ 63 w 912"/>
              <a:gd name="T31" fmla="*/ 332 h 912"/>
              <a:gd name="T32" fmla="*/ 71 w 912"/>
              <a:gd name="T33" fmla="*/ 426 h 912"/>
              <a:gd name="T34" fmla="*/ 91 w 912"/>
              <a:gd name="T35" fmla="*/ 852 h 912"/>
              <a:gd name="T36" fmla="*/ 912 w 912"/>
              <a:gd name="T37" fmla="*/ 912 h 912"/>
              <a:gd name="T38" fmla="*/ 496 w 912"/>
              <a:gd name="T39" fmla="*/ 515 h 912"/>
              <a:gd name="T40" fmla="*/ 496 w 912"/>
              <a:gd name="T41" fmla="*/ 515 h 912"/>
              <a:gd name="T42" fmla="*/ 459 w 912"/>
              <a:gd name="T43" fmla="*/ 310 h 912"/>
              <a:gd name="T44" fmla="*/ 469 w 912"/>
              <a:gd name="T45" fmla="*/ 324 h 912"/>
              <a:gd name="T46" fmla="*/ 465 w 912"/>
              <a:gd name="T47" fmla="*/ 335 h 912"/>
              <a:gd name="T48" fmla="*/ 454 w 912"/>
              <a:gd name="T49" fmla="*/ 339 h 912"/>
              <a:gd name="T50" fmla="*/ 440 w 912"/>
              <a:gd name="T51" fmla="*/ 329 h 912"/>
              <a:gd name="T52" fmla="*/ 440 w 912"/>
              <a:gd name="T53" fmla="*/ 318 h 912"/>
              <a:gd name="T54" fmla="*/ 454 w 912"/>
              <a:gd name="T55" fmla="*/ 308 h 912"/>
              <a:gd name="T56" fmla="*/ 460 w 912"/>
              <a:gd name="T57" fmla="*/ 373 h 912"/>
              <a:gd name="T58" fmla="*/ 432 w 912"/>
              <a:gd name="T59" fmla="*/ 440 h 912"/>
              <a:gd name="T60" fmla="*/ 396 w 912"/>
              <a:gd name="T61" fmla="*/ 606 h 912"/>
              <a:gd name="T62" fmla="*/ 509 w 912"/>
              <a:gd name="T63" fmla="*/ 570 h 912"/>
              <a:gd name="T64" fmla="*/ 509 w 912"/>
              <a:gd name="T65" fmla="*/ 570 h 912"/>
              <a:gd name="T66" fmla="*/ 234 w 912"/>
              <a:gd name="T67" fmla="*/ 88 h 912"/>
              <a:gd name="T68" fmla="*/ 223 w 912"/>
              <a:gd name="T69" fmla="*/ 144 h 912"/>
              <a:gd name="T70" fmla="*/ 189 w 912"/>
              <a:gd name="T71" fmla="*/ 196 h 912"/>
              <a:gd name="T72" fmla="*/ 124 w 912"/>
              <a:gd name="T73" fmla="*/ 177 h 912"/>
              <a:gd name="T74" fmla="*/ 158 w 912"/>
              <a:gd name="T75" fmla="*/ 126 h 912"/>
              <a:gd name="T76" fmla="*/ 197 w 912"/>
              <a:gd name="T77" fmla="*/ 75 h 912"/>
              <a:gd name="T78" fmla="*/ 164 w 912"/>
              <a:gd name="T79" fmla="*/ 273 h 912"/>
              <a:gd name="T80" fmla="*/ 161 w 912"/>
              <a:gd name="T81" fmla="*/ 337 h 912"/>
              <a:gd name="T82" fmla="*/ 136 w 912"/>
              <a:gd name="T83" fmla="*/ 388 h 912"/>
              <a:gd name="T84" fmla="*/ 98 w 912"/>
              <a:gd name="T85" fmla="*/ 344 h 912"/>
              <a:gd name="T86" fmla="*/ 101 w 912"/>
              <a:gd name="T87" fmla="*/ 252 h 912"/>
              <a:gd name="T88" fmla="*/ 274 w 912"/>
              <a:gd name="T89" fmla="*/ 852 h 912"/>
              <a:gd name="T90" fmla="*/ 117 w 912"/>
              <a:gd name="T91" fmla="*/ 461 h 912"/>
              <a:gd name="T92" fmla="*/ 180 w 912"/>
              <a:gd name="T93" fmla="*/ 389 h 912"/>
              <a:gd name="T94" fmla="*/ 227 w 912"/>
              <a:gd name="T95" fmla="*/ 323 h 912"/>
              <a:gd name="T96" fmla="*/ 409 w 912"/>
              <a:gd name="T97" fmla="*/ 357 h 912"/>
              <a:gd name="T98" fmla="*/ 411 w 912"/>
              <a:gd name="T99" fmla="*/ 366 h 912"/>
              <a:gd name="T100" fmla="*/ 323 w 912"/>
              <a:gd name="T101" fmla="*/ 791 h 912"/>
              <a:gd name="T102" fmla="*/ 387 w 912"/>
              <a:gd name="T103" fmla="*/ 642 h 912"/>
              <a:gd name="T104" fmla="*/ 354 w 912"/>
              <a:gd name="T105" fmla="*/ 791 h 912"/>
              <a:gd name="T106" fmla="*/ 558 w 912"/>
              <a:gd name="T107" fmla="*/ 791 h 912"/>
              <a:gd name="T108" fmla="*/ 638 w 912"/>
              <a:gd name="T109" fmla="*/ 852 h 912"/>
              <a:gd name="T110" fmla="*/ 498 w 912"/>
              <a:gd name="T111" fmla="*/ 386 h 912"/>
              <a:gd name="T112" fmla="*/ 793 w 912"/>
              <a:gd name="T113" fmla="*/ 580 h 9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912" h="912">
                <a:moveTo>
                  <a:pt x="819" y="852"/>
                </a:moveTo>
                <a:lnTo>
                  <a:pt x="819" y="580"/>
                </a:lnTo>
                <a:lnTo>
                  <a:pt x="837" y="580"/>
                </a:lnTo>
                <a:lnTo>
                  <a:pt x="837" y="430"/>
                </a:lnTo>
                <a:lnTo>
                  <a:pt x="837" y="430"/>
                </a:lnTo>
                <a:lnTo>
                  <a:pt x="837" y="423"/>
                </a:lnTo>
                <a:lnTo>
                  <a:pt x="836" y="415"/>
                </a:lnTo>
                <a:lnTo>
                  <a:pt x="833" y="410"/>
                </a:lnTo>
                <a:lnTo>
                  <a:pt x="830" y="409"/>
                </a:lnTo>
                <a:lnTo>
                  <a:pt x="828" y="407"/>
                </a:lnTo>
                <a:lnTo>
                  <a:pt x="499" y="297"/>
                </a:lnTo>
                <a:lnTo>
                  <a:pt x="499" y="290"/>
                </a:lnTo>
                <a:lnTo>
                  <a:pt x="499" y="290"/>
                </a:lnTo>
                <a:lnTo>
                  <a:pt x="498" y="286"/>
                </a:lnTo>
                <a:lnTo>
                  <a:pt x="497" y="283"/>
                </a:lnTo>
                <a:lnTo>
                  <a:pt x="494" y="278"/>
                </a:lnTo>
                <a:lnTo>
                  <a:pt x="488" y="275"/>
                </a:lnTo>
                <a:lnTo>
                  <a:pt x="485" y="274"/>
                </a:lnTo>
                <a:lnTo>
                  <a:pt x="482" y="273"/>
                </a:lnTo>
                <a:lnTo>
                  <a:pt x="427" y="273"/>
                </a:lnTo>
                <a:lnTo>
                  <a:pt x="267" y="219"/>
                </a:lnTo>
                <a:lnTo>
                  <a:pt x="267" y="219"/>
                </a:lnTo>
                <a:lnTo>
                  <a:pt x="269" y="192"/>
                </a:lnTo>
                <a:lnTo>
                  <a:pt x="271" y="165"/>
                </a:lnTo>
                <a:lnTo>
                  <a:pt x="271" y="136"/>
                </a:lnTo>
                <a:lnTo>
                  <a:pt x="270" y="109"/>
                </a:lnTo>
                <a:lnTo>
                  <a:pt x="268" y="83"/>
                </a:lnTo>
                <a:lnTo>
                  <a:pt x="266" y="57"/>
                </a:lnTo>
                <a:lnTo>
                  <a:pt x="260" y="13"/>
                </a:lnTo>
                <a:lnTo>
                  <a:pt x="220" y="0"/>
                </a:lnTo>
                <a:lnTo>
                  <a:pt x="220" y="0"/>
                </a:lnTo>
                <a:lnTo>
                  <a:pt x="203" y="18"/>
                </a:lnTo>
                <a:lnTo>
                  <a:pt x="182" y="40"/>
                </a:lnTo>
                <a:lnTo>
                  <a:pt x="162" y="64"/>
                </a:lnTo>
                <a:lnTo>
                  <a:pt x="142" y="90"/>
                </a:lnTo>
                <a:lnTo>
                  <a:pt x="121" y="118"/>
                </a:lnTo>
                <a:lnTo>
                  <a:pt x="103" y="146"/>
                </a:lnTo>
                <a:lnTo>
                  <a:pt x="95" y="161"/>
                </a:lnTo>
                <a:lnTo>
                  <a:pt x="88" y="175"/>
                </a:lnTo>
                <a:lnTo>
                  <a:pt x="82" y="189"/>
                </a:lnTo>
                <a:lnTo>
                  <a:pt x="77" y="203"/>
                </a:lnTo>
                <a:lnTo>
                  <a:pt x="77" y="203"/>
                </a:lnTo>
                <a:lnTo>
                  <a:pt x="73" y="217"/>
                </a:lnTo>
                <a:lnTo>
                  <a:pt x="70" y="232"/>
                </a:lnTo>
                <a:lnTo>
                  <a:pt x="67" y="248"/>
                </a:lnTo>
                <a:lnTo>
                  <a:pt x="65" y="264"/>
                </a:lnTo>
                <a:lnTo>
                  <a:pt x="63" y="297"/>
                </a:lnTo>
                <a:lnTo>
                  <a:pt x="63" y="332"/>
                </a:lnTo>
                <a:lnTo>
                  <a:pt x="64" y="365"/>
                </a:lnTo>
                <a:lnTo>
                  <a:pt x="68" y="397"/>
                </a:lnTo>
                <a:lnTo>
                  <a:pt x="71" y="426"/>
                </a:lnTo>
                <a:lnTo>
                  <a:pt x="74" y="451"/>
                </a:lnTo>
                <a:lnTo>
                  <a:pt x="91" y="456"/>
                </a:lnTo>
                <a:lnTo>
                  <a:pt x="91" y="852"/>
                </a:lnTo>
                <a:lnTo>
                  <a:pt x="0" y="852"/>
                </a:lnTo>
                <a:lnTo>
                  <a:pt x="0" y="912"/>
                </a:lnTo>
                <a:lnTo>
                  <a:pt x="912" y="912"/>
                </a:lnTo>
                <a:lnTo>
                  <a:pt x="912" y="852"/>
                </a:lnTo>
                <a:lnTo>
                  <a:pt x="819" y="852"/>
                </a:lnTo>
                <a:close/>
                <a:moveTo>
                  <a:pt x="496" y="515"/>
                </a:moveTo>
                <a:lnTo>
                  <a:pt x="453" y="457"/>
                </a:lnTo>
                <a:lnTo>
                  <a:pt x="475" y="424"/>
                </a:lnTo>
                <a:lnTo>
                  <a:pt x="496" y="515"/>
                </a:lnTo>
                <a:close/>
                <a:moveTo>
                  <a:pt x="454" y="308"/>
                </a:moveTo>
                <a:lnTo>
                  <a:pt x="454" y="308"/>
                </a:lnTo>
                <a:lnTo>
                  <a:pt x="459" y="310"/>
                </a:lnTo>
                <a:lnTo>
                  <a:pt x="465" y="313"/>
                </a:lnTo>
                <a:lnTo>
                  <a:pt x="468" y="318"/>
                </a:lnTo>
                <a:lnTo>
                  <a:pt x="469" y="324"/>
                </a:lnTo>
                <a:lnTo>
                  <a:pt x="469" y="324"/>
                </a:lnTo>
                <a:lnTo>
                  <a:pt x="468" y="329"/>
                </a:lnTo>
                <a:lnTo>
                  <a:pt x="465" y="335"/>
                </a:lnTo>
                <a:lnTo>
                  <a:pt x="459" y="338"/>
                </a:lnTo>
                <a:lnTo>
                  <a:pt x="454" y="339"/>
                </a:lnTo>
                <a:lnTo>
                  <a:pt x="454" y="339"/>
                </a:lnTo>
                <a:lnTo>
                  <a:pt x="447" y="338"/>
                </a:lnTo>
                <a:lnTo>
                  <a:pt x="443" y="335"/>
                </a:lnTo>
                <a:lnTo>
                  <a:pt x="440" y="329"/>
                </a:lnTo>
                <a:lnTo>
                  <a:pt x="439" y="324"/>
                </a:lnTo>
                <a:lnTo>
                  <a:pt x="439" y="324"/>
                </a:lnTo>
                <a:lnTo>
                  <a:pt x="440" y="318"/>
                </a:lnTo>
                <a:lnTo>
                  <a:pt x="443" y="313"/>
                </a:lnTo>
                <a:lnTo>
                  <a:pt x="447" y="310"/>
                </a:lnTo>
                <a:lnTo>
                  <a:pt x="454" y="308"/>
                </a:lnTo>
                <a:lnTo>
                  <a:pt x="454" y="308"/>
                </a:lnTo>
                <a:close/>
                <a:moveTo>
                  <a:pt x="447" y="373"/>
                </a:moveTo>
                <a:lnTo>
                  <a:pt x="460" y="373"/>
                </a:lnTo>
                <a:lnTo>
                  <a:pt x="465" y="374"/>
                </a:lnTo>
                <a:lnTo>
                  <a:pt x="468" y="387"/>
                </a:lnTo>
                <a:lnTo>
                  <a:pt x="432" y="440"/>
                </a:lnTo>
                <a:lnTo>
                  <a:pt x="447" y="373"/>
                </a:lnTo>
                <a:close/>
                <a:moveTo>
                  <a:pt x="488" y="550"/>
                </a:moveTo>
                <a:lnTo>
                  <a:pt x="396" y="606"/>
                </a:lnTo>
                <a:lnTo>
                  <a:pt x="427" y="467"/>
                </a:lnTo>
                <a:lnTo>
                  <a:pt x="488" y="550"/>
                </a:lnTo>
                <a:close/>
                <a:moveTo>
                  <a:pt x="509" y="570"/>
                </a:moveTo>
                <a:lnTo>
                  <a:pt x="544" y="730"/>
                </a:lnTo>
                <a:lnTo>
                  <a:pt x="412" y="628"/>
                </a:lnTo>
                <a:lnTo>
                  <a:pt x="509" y="570"/>
                </a:lnTo>
                <a:close/>
                <a:moveTo>
                  <a:pt x="197" y="75"/>
                </a:moveTo>
                <a:lnTo>
                  <a:pt x="234" y="88"/>
                </a:lnTo>
                <a:lnTo>
                  <a:pt x="234" y="88"/>
                </a:lnTo>
                <a:lnTo>
                  <a:pt x="237" y="131"/>
                </a:lnTo>
                <a:lnTo>
                  <a:pt x="237" y="131"/>
                </a:lnTo>
                <a:lnTo>
                  <a:pt x="223" y="144"/>
                </a:lnTo>
                <a:lnTo>
                  <a:pt x="211" y="159"/>
                </a:lnTo>
                <a:lnTo>
                  <a:pt x="200" y="177"/>
                </a:lnTo>
                <a:lnTo>
                  <a:pt x="189" y="196"/>
                </a:lnTo>
                <a:lnTo>
                  <a:pt x="189" y="196"/>
                </a:lnTo>
                <a:lnTo>
                  <a:pt x="188" y="197"/>
                </a:lnTo>
                <a:lnTo>
                  <a:pt x="124" y="177"/>
                </a:lnTo>
                <a:lnTo>
                  <a:pt x="124" y="177"/>
                </a:lnTo>
                <a:lnTo>
                  <a:pt x="141" y="151"/>
                </a:lnTo>
                <a:lnTo>
                  <a:pt x="158" y="126"/>
                </a:lnTo>
                <a:lnTo>
                  <a:pt x="177" y="100"/>
                </a:lnTo>
                <a:lnTo>
                  <a:pt x="197" y="75"/>
                </a:lnTo>
                <a:lnTo>
                  <a:pt x="197" y="75"/>
                </a:lnTo>
                <a:close/>
                <a:moveTo>
                  <a:pt x="101" y="252"/>
                </a:moveTo>
                <a:lnTo>
                  <a:pt x="164" y="273"/>
                </a:lnTo>
                <a:lnTo>
                  <a:pt x="164" y="273"/>
                </a:lnTo>
                <a:lnTo>
                  <a:pt x="161" y="295"/>
                </a:lnTo>
                <a:lnTo>
                  <a:pt x="160" y="317"/>
                </a:lnTo>
                <a:lnTo>
                  <a:pt x="161" y="337"/>
                </a:lnTo>
                <a:lnTo>
                  <a:pt x="164" y="355"/>
                </a:lnTo>
                <a:lnTo>
                  <a:pt x="164" y="355"/>
                </a:lnTo>
                <a:lnTo>
                  <a:pt x="136" y="388"/>
                </a:lnTo>
                <a:lnTo>
                  <a:pt x="100" y="377"/>
                </a:lnTo>
                <a:lnTo>
                  <a:pt x="100" y="377"/>
                </a:lnTo>
                <a:lnTo>
                  <a:pt x="98" y="344"/>
                </a:lnTo>
                <a:lnTo>
                  <a:pt x="97" y="313"/>
                </a:lnTo>
                <a:lnTo>
                  <a:pt x="98" y="281"/>
                </a:lnTo>
                <a:lnTo>
                  <a:pt x="101" y="252"/>
                </a:lnTo>
                <a:lnTo>
                  <a:pt x="101" y="252"/>
                </a:lnTo>
                <a:close/>
                <a:moveTo>
                  <a:pt x="274" y="791"/>
                </a:moveTo>
                <a:lnTo>
                  <a:pt x="274" y="852"/>
                </a:lnTo>
                <a:lnTo>
                  <a:pt x="117" y="852"/>
                </a:lnTo>
                <a:lnTo>
                  <a:pt x="117" y="461"/>
                </a:lnTo>
                <a:lnTo>
                  <a:pt x="117" y="461"/>
                </a:lnTo>
                <a:lnTo>
                  <a:pt x="147" y="429"/>
                </a:lnTo>
                <a:lnTo>
                  <a:pt x="163" y="410"/>
                </a:lnTo>
                <a:lnTo>
                  <a:pt x="180" y="389"/>
                </a:lnTo>
                <a:lnTo>
                  <a:pt x="197" y="368"/>
                </a:lnTo>
                <a:lnTo>
                  <a:pt x="214" y="345"/>
                </a:lnTo>
                <a:lnTo>
                  <a:pt x="227" y="323"/>
                </a:lnTo>
                <a:lnTo>
                  <a:pt x="240" y="300"/>
                </a:lnTo>
                <a:lnTo>
                  <a:pt x="409" y="356"/>
                </a:lnTo>
                <a:lnTo>
                  <a:pt x="409" y="357"/>
                </a:lnTo>
                <a:lnTo>
                  <a:pt x="409" y="357"/>
                </a:lnTo>
                <a:lnTo>
                  <a:pt x="409" y="362"/>
                </a:lnTo>
                <a:lnTo>
                  <a:pt x="411" y="366"/>
                </a:lnTo>
                <a:lnTo>
                  <a:pt x="413" y="369"/>
                </a:lnTo>
                <a:lnTo>
                  <a:pt x="417" y="371"/>
                </a:lnTo>
                <a:lnTo>
                  <a:pt x="323" y="791"/>
                </a:lnTo>
                <a:lnTo>
                  <a:pt x="274" y="791"/>
                </a:lnTo>
                <a:close/>
                <a:moveTo>
                  <a:pt x="354" y="791"/>
                </a:moveTo>
                <a:lnTo>
                  <a:pt x="387" y="642"/>
                </a:lnTo>
                <a:lnTo>
                  <a:pt x="515" y="744"/>
                </a:lnTo>
                <a:lnTo>
                  <a:pt x="435" y="791"/>
                </a:lnTo>
                <a:lnTo>
                  <a:pt x="354" y="791"/>
                </a:lnTo>
                <a:close/>
                <a:moveTo>
                  <a:pt x="486" y="791"/>
                </a:moveTo>
                <a:lnTo>
                  <a:pt x="548" y="754"/>
                </a:lnTo>
                <a:lnTo>
                  <a:pt x="558" y="791"/>
                </a:lnTo>
                <a:lnTo>
                  <a:pt x="486" y="791"/>
                </a:lnTo>
                <a:close/>
                <a:moveTo>
                  <a:pt x="793" y="852"/>
                </a:moveTo>
                <a:lnTo>
                  <a:pt x="638" y="852"/>
                </a:lnTo>
                <a:lnTo>
                  <a:pt x="638" y="791"/>
                </a:lnTo>
                <a:lnTo>
                  <a:pt x="588" y="791"/>
                </a:lnTo>
                <a:lnTo>
                  <a:pt x="498" y="386"/>
                </a:lnTo>
                <a:lnTo>
                  <a:pt x="777" y="479"/>
                </a:lnTo>
                <a:lnTo>
                  <a:pt x="777" y="580"/>
                </a:lnTo>
                <a:lnTo>
                  <a:pt x="793" y="580"/>
                </a:lnTo>
                <a:lnTo>
                  <a:pt x="793" y="852"/>
                </a:lnTo>
                <a:close/>
              </a:path>
            </a:pathLst>
          </a:cu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5613" tIns="37806" rIns="75613" bIns="37806" numCol="1" anchor="t" anchorCtr="0" compatLnSpc="1">
            <a:prstTxWarp prst="textNoShape">
              <a:avLst/>
            </a:prstTxWarp>
          </a:bodyPr>
          <a:lstStyle/>
          <a:p>
            <a:endParaRPr lang="ru-RU" sz="1488" dirty="0">
              <a:latin typeface="Arial Narrow" panose="020B0606020202030204" pitchFamily="34" charset="0"/>
            </a:endParaRPr>
          </a:p>
        </p:txBody>
      </p:sp>
      <p:sp>
        <p:nvSpPr>
          <p:cNvPr id="845" name="Прямоугольник 844"/>
          <p:cNvSpPr/>
          <p:nvPr/>
        </p:nvSpPr>
        <p:spPr>
          <a:xfrm>
            <a:off x="807340" y="2774113"/>
            <a:ext cx="1317055" cy="272052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00"/>
              </a:spcBef>
            </a:pPr>
            <a:r>
              <a:rPr lang="ru-RU" sz="1600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ВИНК</a:t>
            </a:r>
            <a:endParaRPr lang="ru-RU" sz="1600" dirty="0">
              <a:solidFill>
                <a:srgbClr val="0070C0"/>
              </a:solidFill>
              <a:latin typeface="Arial Narrow" panose="020B0606020202030204" pitchFamily="34" charset="0"/>
            </a:endParaRPr>
          </a:p>
        </p:txBody>
      </p:sp>
      <p:sp>
        <p:nvSpPr>
          <p:cNvPr id="846" name="Прямоугольник 845"/>
          <p:cNvSpPr/>
          <p:nvPr/>
        </p:nvSpPr>
        <p:spPr>
          <a:xfrm>
            <a:off x="807340" y="3470958"/>
            <a:ext cx="1466654" cy="272052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00"/>
              </a:spcBef>
            </a:pPr>
            <a:r>
              <a:rPr lang="ru-RU" sz="1600" dirty="0">
                <a:solidFill>
                  <a:srgbClr val="0070C0"/>
                </a:solidFill>
                <a:latin typeface="Arial Narrow" panose="020B0606020202030204" pitchFamily="34" charset="0"/>
              </a:rPr>
              <a:t>Производители</a:t>
            </a:r>
          </a:p>
        </p:txBody>
      </p:sp>
      <p:sp>
        <p:nvSpPr>
          <p:cNvPr id="847" name="Прямоугольник 846"/>
          <p:cNvSpPr/>
          <p:nvPr/>
        </p:nvSpPr>
        <p:spPr>
          <a:xfrm>
            <a:off x="807340" y="5055134"/>
            <a:ext cx="1787565" cy="272052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00"/>
              </a:spcBef>
            </a:pPr>
            <a:r>
              <a:rPr lang="ru-RU" sz="1600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Лицензиары</a:t>
            </a:r>
            <a:r>
              <a:rPr lang="ru-RU" sz="1100" i="1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(в </a:t>
            </a:r>
            <a:r>
              <a:rPr lang="ru-RU" sz="1100" i="1" dirty="0">
                <a:solidFill>
                  <a:srgbClr val="0070C0"/>
                </a:solidFill>
                <a:latin typeface="Arial Narrow" panose="020B0606020202030204" pitchFamily="34" charset="0"/>
              </a:rPr>
              <a:t>том числе зарубежные)</a:t>
            </a:r>
          </a:p>
          <a:p>
            <a:pPr>
              <a:spcBef>
                <a:spcPts val="600"/>
              </a:spcBef>
            </a:pPr>
            <a:endParaRPr lang="ru-RU" sz="1100" i="1" dirty="0">
              <a:solidFill>
                <a:srgbClr val="0070C0"/>
              </a:solidFill>
              <a:latin typeface="Arial Narrow" panose="020B0606020202030204" pitchFamily="34" charset="0"/>
            </a:endParaRPr>
          </a:p>
        </p:txBody>
      </p:sp>
      <p:sp>
        <p:nvSpPr>
          <p:cNvPr id="848" name="Прямоугольник 847"/>
          <p:cNvSpPr/>
          <p:nvPr/>
        </p:nvSpPr>
        <p:spPr>
          <a:xfrm>
            <a:off x="807340" y="4170035"/>
            <a:ext cx="2108476" cy="3549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00"/>
              </a:spcBef>
            </a:pPr>
            <a:r>
              <a:rPr lang="en-US" sz="1600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EPC-</a:t>
            </a:r>
            <a:r>
              <a:rPr lang="ru-RU" sz="1600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подрядчики </a:t>
            </a:r>
          </a:p>
          <a:p>
            <a:r>
              <a:rPr lang="ru-RU" sz="1100" i="1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(в том числе зарубежные)</a:t>
            </a:r>
            <a:endParaRPr lang="ru-RU" sz="1100" i="1" dirty="0">
              <a:solidFill>
                <a:srgbClr val="0070C0"/>
              </a:solidFill>
              <a:latin typeface="Arial Narrow" panose="020B0606020202030204" pitchFamily="34" charset="0"/>
            </a:endParaRPr>
          </a:p>
        </p:txBody>
      </p:sp>
      <p:sp>
        <p:nvSpPr>
          <p:cNvPr id="852" name="Овал 851">
            <a:extLst>
              <a:ext uri="{FF2B5EF4-FFF2-40B4-BE49-F238E27FC236}">
                <a16:creationId xmlns:a16="http://schemas.microsoft.com/office/drawing/2014/main" xmlns="" id="{2F4026F1-7009-7045-90C8-4C98A4FE5523}"/>
              </a:ext>
            </a:extLst>
          </p:cNvPr>
          <p:cNvSpPr/>
          <p:nvPr/>
        </p:nvSpPr>
        <p:spPr>
          <a:xfrm>
            <a:off x="285190" y="1268800"/>
            <a:ext cx="540000" cy="540000"/>
          </a:xfrm>
          <a:prstGeom prst="ellipse">
            <a:avLst/>
          </a:prstGeom>
          <a:noFill/>
          <a:ln w="12700" cap="flat" cmpd="sng" algn="ctr">
            <a:solidFill>
              <a:srgbClr val="0070C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855" name="Picture 5" descr="I:\My Pictures\21421342342.png"/>
          <p:cNvPicPr>
            <a:picLocks noChangeAspect="1" noChangeArrowheads="1"/>
          </p:cNvPicPr>
          <p:nvPr/>
        </p:nvPicPr>
        <p:blipFill rotWithShape="1">
          <a:blip r:embed="rId10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0" b="93907" l="9945" r="89503">
                        <a14:foregroundMark x1="43646" y1="6093" x2="43646" y2="6093"/>
                        <a14:foregroundMark x1="49724" y1="2509" x2="49724" y2="2509"/>
                        <a14:foregroundMark x1="56906" y1="6452" x2="56906" y2="645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-1" b="7038"/>
          <a:stretch/>
        </p:blipFill>
        <p:spPr bwMode="auto">
          <a:xfrm>
            <a:off x="431085" y="1316252"/>
            <a:ext cx="263821" cy="3780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56" name="Прямоугольник 855">
            <a:extLst>
              <a:ext uri="{FF2B5EF4-FFF2-40B4-BE49-F238E27FC236}">
                <a16:creationId xmlns:a16="http://schemas.microsoft.com/office/drawing/2014/main" xmlns="" id="{843C9930-54C4-1845-A39B-BBF15747EE25}"/>
              </a:ext>
            </a:extLst>
          </p:cNvPr>
          <p:cNvSpPr/>
          <p:nvPr/>
        </p:nvSpPr>
        <p:spPr>
          <a:xfrm>
            <a:off x="1008992" y="1246412"/>
            <a:ext cx="490070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200" b="1" dirty="0" smtClean="0">
                <a:solidFill>
                  <a:srgbClr val="3477B2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Российский институт нефти</a:t>
            </a:r>
            <a:endParaRPr lang="ru-RU" sz="3200" b="1" dirty="0">
              <a:solidFill>
                <a:srgbClr val="3477B2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857" name="Прямая соединительная линия 856"/>
          <p:cNvCxnSpPr/>
          <p:nvPr/>
        </p:nvCxnSpPr>
        <p:spPr>
          <a:xfrm>
            <a:off x="251520" y="1988840"/>
            <a:ext cx="5658173" cy="0"/>
          </a:xfrm>
          <a:prstGeom prst="line">
            <a:avLst/>
          </a:prstGeom>
          <a:ln w="1905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198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4839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dirty="0" smtClean="0">
              <a:solidFill>
                <a:schemeClr val="tx1"/>
              </a:solidFill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latin typeface="Arial Narrow" panose="020B0606020202030204" pitchFamily="34" charset="0"/>
              </a:rPr>
              <a:t>Концепция работы РИН при применении иностранной технологий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27" name="Пятиугольник 26"/>
          <p:cNvSpPr/>
          <p:nvPr/>
        </p:nvSpPr>
        <p:spPr>
          <a:xfrm>
            <a:off x="1013709" y="2015300"/>
            <a:ext cx="7662747" cy="45719"/>
          </a:xfrm>
          <a:prstGeom prst="homePlate">
            <a:avLst>
              <a:gd name="adj" fmla="val 80772"/>
            </a:avLst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28" name="Пятиугольник 27"/>
          <p:cNvSpPr/>
          <p:nvPr/>
        </p:nvSpPr>
        <p:spPr>
          <a:xfrm>
            <a:off x="2783699" y="3988804"/>
            <a:ext cx="4428535" cy="307777"/>
          </a:xfrm>
          <a:prstGeom prst="homePlate">
            <a:avLst/>
          </a:prstGeom>
          <a:gradFill flip="none" rotWithShape="1">
            <a:gsLst>
              <a:gs pos="0">
                <a:srgbClr val="0070BA">
                  <a:lumMod val="60000"/>
                  <a:lumOff val="40000"/>
                  <a:alpha val="18000"/>
                </a:srgbClr>
              </a:gs>
              <a:gs pos="50000">
                <a:srgbClr val="0070BA">
                  <a:lumMod val="20000"/>
                  <a:lumOff val="80000"/>
                </a:srgbClr>
              </a:gs>
              <a:gs pos="100000">
                <a:srgbClr val="DFEDDF"/>
              </a:gs>
            </a:gsLst>
            <a:lin ang="10800000" scaled="1"/>
            <a:tileRect/>
          </a:gradFill>
          <a:ln w="28575" cap="flat" cmpd="sng" algn="ctr">
            <a:solidFill>
              <a:srgbClr val="FFFFFF"/>
            </a:solidFill>
            <a:prstDash val="solid"/>
          </a:ln>
          <a:effectLst/>
        </p:spPr>
        <p:txBody>
          <a:bodyPr wrap="square" rtlCol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29" name="Пятиугольник 28"/>
          <p:cNvSpPr/>
          <p:nvPr/>
        </p:nvSpPr>
        <p:spPr>
          <a:xfrm>
            <a:off x="2783700" y="3134894"/>
            <a:ext cx="4428535" cy="307777"/>
          </a:xfrm>
          <a:prstGeom prst="homePlate">
            <a:avLst/>
          </a:prstGeom>
          <a:gradFill flip="none" rotWithShape="1">
            <a:gsLst>
              <a:gs pos="0">
                <a:srgbClr val="0070BA">
                  <a:lumMod val="60000"/>
                  <a:lumOff val="40000"/>
                  <a:alpha val="18000"/>
                </a:srgbClr>
              </a:gs>
              <a:gs pos="50000">
                <a:srgbClr val="0070BA">
                  <a:lumMod val="20000"/>
                  <a:lumOff val="80000"/>
                </a:srgbClr>
              </a:gs>
              <a:gs pos="100000">
                <a:srgbClr val="DFEDDF"/>
              </a:gs>
            </a:gsLst>
            <a:lin ang="10800000" scaled="1"/>
            <a:tileRect/>
          </a:gradFill>
          <a:ln w="28575" cap="flat" cmpd="sng" algn="ctr">
            <a:solidFill>
              <a:srgbClr val="FFFFFF"/>
            </a:solidFill>
            <a:prstDash val="solid"/>
          </a:ln>
          <a:effectLst/>
        </p:spPr>
        <p:txBody>
          <a:bodyPr wrap="square" rtlCol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30" name="Прямая соединительная линия 29"/>
          <p:cNvCxnSpPr>
            <a:stCxn id="34" idx="3"/>
          </p:cNvCxnSpPr>
          <p:nvPr/>
        </p:nvCxnSpPr>
        <p:spPr>
          <a:xfrm flipV="1">
            <a:off x="2214862" y="3703736"/>
            <a:ext cx="4805410" cy="7609"/>
          </a:xfrm>
          <a:prstGeom prst="line">
            <a:avLst/>
          </a:prstGeom>
          <a:noFill/>
          <a:ln w="9525" cap="flat" cmpd="sng" algn="ctr">
            <a:solidFill>
              <a:srgbClr val="000000">
                <a:lumMod val="50000"/>
                <a:lumOff val="50000"/>
              </a:srgbClr>
            </a:solidFill>
            <a:prstDash val="sysDash"/>
          </a:ln>
          <a:effectLst/>
        </p:spPr>
      </p:cxnSp>
      <p:sp>
        <p:nvSpPr>
          <p:cNvPr id="31" name="Пятиугольник 30"/>
          <p:cNvSpPr/>
          <p:nvPr/>
        </p:nvSpPr>
        <p:spPr>
          <a:xfrm>
            <a:off x="456280" y="3980916"/>
            <a:ext cx="2508575" cy="307777"/>
          </a:xfrm>
          <a:prstGeom prst="homePlate">
            <a:avLst/>
          </a:prstGeom>
          <a:solidFill>
            <a:srgbClr val="D4ECBA"/>
          </a:solidFill>
          <a:ln w="28575" cap="flat" cmpd="sng" algn="ctr">
            <a:solidFill>
              <a:srgbClr val="FFFFFF"/>
            </a:solidFill>
            <a:prstDash val="solid"/>
          </a:ln>
          <a:effectLst/>
        </p:spPr>
        <p:txBody>
          <a:bodyPr wrap="square" rtlCol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32" name="Пятиугольник 31"/>
          <p:cNvSpPr/>
          <p:nvPr/>
        </p:nvSpPr>
        <p:spPr>
          <a:xfrm>
            <a:off x="482158" y="3134894"/>
            <a:ext cx="2482697" cy="307777"/>
          </a:xfrm>
          <a:prstGeom prst="homePlate">
            <a:avLst/>
          </a:prstGeom>
          <a:solidFill>
            <a:srgbClr val="D4ECBA"/>
          </a:solidFill>
          <a:ln w="28575" cap="flat" cmpd="sng" algn="ctr">
            <a:solidFill>
              <a:srgbClr val="FFFFFF"/>
            </a:solidFill>
            <a:prstDash val="solid"/>
          </a:ln>
          <a:effectLst/>
        </p:spPr>
        <p:txBody>
          <a:bodyPr wrap="square" rtlCol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grpSp>
        <p:nvGrpSpPr>
          <p:cNvPr id="33" name="Группа 32"/>
          <p:cNvGrpSpPr/>
          <p:nvPr/>
        </p:nvGrpSpPr>
        <p:grpSpPr>
          <a:xfrm flipH="1">
            <a:off x="433211" y="2978631"/>
            <a:ext cx="1781651" cy="1465427"/>
            <a:chOff x="1192750" y="1990046"/>
            <a:chExt cx="2246094" cy="1465427"/>
          </a:xfrm>
        </p:grpSpPr>
        <p:sp>
          <p:nvSpPr>
            <p:cNvPr id="34" name="Пятиугольник 33"/>
            <p:cNvSpPr/>
            <p:nvPr/>
          </p:nvSpPr>
          <p:spPr>
            <a:xfrm flipH="1">
              <a:off x="1192750" y="1990046"/>
              <a:ext cx="2246094" cy="1465427"/>
            </a:xfrm>
            <a:prstGeom prst="homePlate">
              <a:avLst>
                <a:gd name="adj" fmla="val 152738"/>
              </a:avLst>
            </a:prstGeom>
            <a:solidFill>
              <a:srgbClr val="7DC580"/>
            </a:solidFill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35" name="Picture120"/>
            <p:cNvSpPr>
              <a:spLocks noChangeAspect="1" noEditPoints="1"/>
            </p:cNvSpPr>
            <p:nvPr/>
          </p:nvSpPr>
          <p:spPr bwMode="auto">
            <a:xfrm flipH="1">
              <a:off x="2899342" y="2188387"/>
              <a:ext cx="429197" cy="399945"/>
            </a:xfrm>
            <a:custGeom>
              <a:avLst/>
              <a:gdLst>
                <a:gd name="T0" fmla="*/ 1590 w 1702"/>
                <a:gd name="T1" fmla="*/ 1180 h 1586"/>
                <a:gd name="T2" fmla="*/ 1582 w 1702"/>
                <a:gd name="T3" fmla="*/ 1132 h 1586"/>
                <a:gd name="T4" fmla="*/ 1562 w 1702"/>
                <a:gd name="T5" fmla="*/ 1088 h 1586"/>
                <a:gd name="T6" fmla="*/ 1530 w 1702"/>
                <a:gd name="T7" fmla="*/ 1054 h 1586"/>
                <a:gd name="T8" fmla="*/ 1490 w 1702"/>
                <a:gd name="T9" fmla="*/ 1030 h 1586"/>
                <a:gd name="T10" fmla="*/ 1442 w 1702"/>
                <a:gd name="T11" fmla="*/ 1018 h 1586"/>
                <a:gd name="T12" fmla="*/ 1418 w 1702"/>
                <a:gd name="T13" fmla="*/ 1092 h 1586"/>
                <a:gd name="T14" fmla="*/ 1444 w 1702"/>
                <a:gd name="T15" fmla="*/ 1092 h 1586"/>
                <a:gd name="T16" fmla="*/ 1488 w 1702"/>
                <a:gd name="T17" fmla="*/ 1118 h 1586"/>
                <a:gd name="T18" fmla="*/ 1514 w 1702"/>
                <a:gd name="T19" fmla="*/ 1162 h 1586"/>
                <a:gd name="T20" fmla="*/ 1416 w 1702"/>
                <a:gd name="T21" fmla="*/ 1474 h 1586"/>
                <a:gd name="T22" fmla="*/ 1416 w 1702"/>
                <a:gd name="T23" fmla="*/ 932 h 1586"/>
                <a:gd name="T24" fmla="*/ 1406 w 1702"/>
                <a:gd name="T25" fmla="*/ 888 h 1586"/>
                <a:gd name="T26" fmla="*/ 1384 w 1702"/>
                <a:gd name="T27" fmla="*/ 850 h 1586"/>
                <a:gd name="T28" fmla="*/ 1354 w 1702"/>
                <a:gd name="T29" fmla="*/ 820 h 1586"/>
                <a:gd name="T30" fmla="*/ 1318 w 1702"/>
                <a:gd name="T31" fmla="*/ 800 h 1586"/>
                <a:gd name="T32" fmla="*/ 1276 w 1702"/>
                <a:gd name="T33" fmla="*/ 792 h 1586"/>
                <a:gd name="T34" fmla="*/ 1248 w 1702"/>
                <a:gd name="T35" fmla="*/ 796 h 1586"/>
                <a:gd name="T36" fmla="*/ 1208 w 1702"/>
                <a:gd name="T37" fmla="*/ 812 h 1586"/>
                <a:gd name="T38" fmla="*/ 1176 w 1702"/>
                <a:gd name="T39" fmla="*/ 838 h 1586"/>
                <a:gd name="T40" fmla="*/ 1152 w 1702"/>
                <a:gd name="T41" fmla="*/ 874 h 1586"/>
                <a:gd name="T42" fmla="*/ 1138 w 1702"/>
                <a:gd name="T43" fmla="*/ 916 h 1586"/>
                <a:gd name="T44" fmla="*/ 1134 w 1702"/>
                <a:gd name="T45" fmla="*/ 1134 h 1586"/>
                <a:gd name="T46" fmla="*/ 1022 w 1702"/>
                <a:gd name="T47" fmla="*/ 452 h 1586"/>
                <a:gd name="T48" fmla="*/ 964 w 1702"/>
                <a:gd name="T49" fmla="*/ 396 h 1586"/>
                <a:gd name="T50" fmla="*/ 738 w 1702"/>
                <a:gd name="T51" fmla="*/ 340 h 1586"/>
                <a:gd name="T52" fmla="*/ 794 w 1702"/>
                <a:gd name="T53" fmla="*/ 1134 h 1586"/>
                <a:gd name="T54" fmla="*/ 568 w 1702"/>
                <a:gd name="T55" fmla="*/ 622 h 1586"/>
                <a:gd name="T56" fmla="*/ 398 w 1702"/>
                <a:gd name="T57" fmla="*/ 56 h 1586"/>
                <a:gd name="T58" fmla="*/ 114 w 1702"/>
                <a:gd name="T59" fmla="*/ 0 h 1586"/>
                <a:gd name="T60" fmla="*/ 114 w 1702"/>
                <a:gd name="T61" fmla="*/ 1474 h 1586"/>
                <a:gd name="T62" fmla="*/ 1702 w 1702"/>
                <a:gd name="T63" fmla="*/ 1586 h 1586"/>
                <a:gd name="T64" fmla="*/ 1022 w 1702"/>
                <a:gd name="T65" fmla="*/ 792 h 1586"/>
                <a:gd name="T66" fmla="*/ 964 w 1702"/>
                <a:gd name="T67" fmla="*/ 792 h 1586"/>
                <a:gd name="T68" fmla="*/ 964 w 1702"/>
                <a:gd name="T69" fmla="*/ 680 h 1586"/>
                <a:gd name="T70" fmla="*/ 964 w 1702"/>
                <a:gd name="T71" fmla="*/ 736 h 1586"/>
                <a:gd name="T72" fmla="*/ 964 w 1702"/>
                <a:gd name="T73" fmla="*/ 964 h 1586"/>
                <a:gd name="T74" fmla="*/ 1022 w 1702"/>
                <a:gd name="T75" fmla="*/ 1020 h 1586"/>
                <a:gd name="T76" fmla="*/ 964 w 1702"/>
                <a:gd name="T77" fmla="*/ 1020 h 1586"/>
                <a:gd name="T78" fmla="*/ 1022 w 1702"/>
                <a:gd name="T79" fmla="*/ 622 h 1586"/>
                <a:gd name="T80" fmla="*/ 1022 w 1702"/>
                <a:gd name="T81" fmla="*/ 566 h 1586"/>
                <a:gd name="T82" fmla="*/ 1022 w 1702"/>
                <a:gd name="T83" fmla="*/ 1134 h 1586"/>
                <a:gd name="T84" fmla="*/ 794 w 1702"/>
                <a:gd name="T85" fmla="*/ 1246 h 1586"/>
                <a:gd name="T86" fmla="*/ 1078 w 1702"/>
                <a:gd name="T87" fmla="*/ 1246 h 1586"/>
                <a:gd name="T88" fmla="*/ 448 w 1702"/>
                <a:gd name="T89" fmla="*/ 1306 h 1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702" h="1586">
                  <a:moveTo>
                    <a:pt x="1590" y="1474"/>
                  </a:moveTo>
                  <a:lnTo>
                    <a:pt x="1590" y="1180"/>
                  </a:lnTo>
                  <a:lnTo>
                    <a:pt x="1590" y="1180"/>
                  </a:lnTo>
                  <a:lnTo>
                    <a:pt x="1590" y="1164"/>
                  </a:lnTo>
                  <a:lnTo>
                    <a:pt x="1586" y="1148"/>
                  </a:lnTo>
                  <a:lnTo>
                    <a:pt x="1582" y="1132"/>
                  </a:lnTo>
                  <a:lnTo>
                    <a:pt x="1576" y="1116"/>
                  </a:lnTo>
                  <a:lnTo>
                    <a:pt x="1570" y="1102"/>
                  </a:lnTo>
                  <a:lnTo>
                    <a:pt x="1562" y="1088"/>
                  </a:lnTo>
                  <a:lnTo>
                    <a:pt x="1552" y="1076"/>
                  </a:lnTo>
                  <a:lnTo>
                    <a:pt x="1542" y="1064"/>
                  </a:lnTo>
                  <a:lnTo>
                    <a:pt x="1530" y="1054"/>
                  </a:lnTo>
                  <a:lnTo>
                    <a:pt x="1518" y="1044"/>
                  </a:lnTo>
                  <a:lnTo>
                    <a:pt x="1504" y="1036"/>
                  </a:lnTo>
                  <a:lnTo>
                    <a:pt x="1490" y="1030"/>
                  </a:lnTo>
                  <a:lnTo>
                    <a:pt x="1474" y="1024"/>
                  </a:lnTo>
                  <a:lnTo>
                    <a:pt x="1458" y="1020"/>
                  </a:lnTo>
                  <a:lnTo>
                    <a:pt x="1442" y="1018"/>
                  </a:lnTo>
                  <a:lnTo>
                    <a:pt x="1426" y="1016"/>
                  </a:lnTo>
                  <a:lnTo>
                    <a:pt x="1418" y="1016"/>
                  </a:lnTo>
                  <a:lnTo>
                    <a:pt x="1418" y="1092"/>
                  </a:lnTo>
                  <a:lnTo>
                    <a:pt x="1426" y="1092"/>
                  </a:lnTo>
                  <a:lnTo>
                    <a:pt x="1426" y="1092"/>
                  </a:lnTo>
                  <a:lnTo>
                    <a:pt x="1444" y="1092"/>
                  </a:lnTo>
                  <a:lnTo>
                    <a:pt x="1460" y="1098"/>
                  </a:lnTo>
                  <a:lnTo>
                    <a:pt x="1476" y="1106"/>
                  </a:lnTo>
                  <a:lnTo>
                    <a:pt x="1488" y="1118"/>
                  </a:lnTo>
                  <a:lnTo>
                    <a:pt x="1500" y="1130"/>
                  </a:lnTo>
                  <a:lnTo>
                    <a:pt x="1508" y="1146"/>
                  </a:lnTo>
                  <a:lnTo>
                    <a:pt x="1514" y="1162"/>
                  </a:lnTo>
                  <a:lnTo>
                    <a:pt x="1516" y="1180"/>
                  </a:lnTo>
                  <a:lnTo>
                    <a:pt x="1516" y="1474"/>
                  </a:lnTo>
                  <a:lnTo>
                    <a:pt x="1416" y="1474"/>
                  </a:lnTo>
                  <a:lnTo>
                    <a:pt x="1416" y="948"/>
                  </a:lnTo>
                  <a:lnTo>
                    <a:pt x="1416" y="948"/>
                  </a:lnTo>
                  <a:lnTo>
                    <a:pt x="1416" y="932"/>
                  </a:lnTo>
                  <a:lnTo>
                    <a:pt x="1414" y="916"/>
                  </a:lnTo>
                  <a:lnTo>
                    <a:pt x="1410" y="902"/>
                  </a:lnTo>
                  <a:lnTo>
                    <a:pt x="1406" y="888"/>
                  </a:lnTo>
                  <a:lnTo>
                    <a:pt x="1400" y="874"/>
                  </a:lnTo>
                  <a:lnTo>
                    <a:pt x="1392" y="860"/>
                  </a:lnTo>
                  <a:lnTo>
                    <a:pt x="1384" y="850"/>
                  </a:lnTo>
                  <a:lnTo>
                    <a:pt x="1376" y="838"/>
                  </a:lnTo>
                  <a:lnTo>
                    <a:pt x="1366" y="828"/>
                  </a:lnTo>
                  <a:lnTo>
                    <a:pt x="1354" y="820"/>
                  </a:lnTo>
                  <a:lnTo>
                    <a:pt x="1342" y="812"/>
                  </a:lnTo>
                  <a:lnTo>
                    <a:pt x="1330" y="806"/>
                  </a:lnTo>
                  <a:lnTo>
                    <a:pt x="1318" y="800"/>
                  </a:lnTo>
                  <a:lnTo>
                    <a:pt x="1304" y="796"/>
                  </a:lnTo>
                  <a:lnTo>
                    <a:pt x="1290" y="794"/>
                  </a:lnTo>
                  <a:lnTo>
                    <a:pt x="1276" y="792"/>
                  </a:lnTo>
                  <a:lnTo>
                    <a:pt x="1276" y="792"/>
                  </a:lnTo>
                  <a:lnTo>
                    <a:pt x="1262" y="794"/>
                  </a:lnTo>
                  <a:lnTo>
                    <a:pt x="1248" y="796"/>
                  </a:lnTo>
                  <a:lnTo>
                    <a:pt x="1234" y="800"/>
                  </a:lnTo>
                  <a:lnTo>
                    <a:pt x="1220" y="806"/>
                  </a:lnTo>
                  <a:lnTo>
                    <a:pt x="1208" y="812"/>
                  </a:lnTo>
                  <a:lnTo>
                    <a:pt x="1196" y="820"/>
                  </a:lnTo>
                  <a:lnTo>
                    <a:pt x="1186" y="828"/>
                  </a:lnTo>
                  <a:lnTo>
                    <a:pt x="1176" y="838"/>
                  </a:lnTo>
                  <a:lnTo>
                    <a:pt x="1166" y="850"/>
                  </a:lnTo>
                  <a:lnTo>
                    <a:pt x="1158" y="860"/>
                  </a:lnTo>
                  <a:lnTo>
                    <a:pt x="1152" y="874"/>
                  </a:lnTo>
                  <a:lnTo>
                    <a:pt x="1146" y="888"/>
                  </a:lnTo>
                  <a:lnTo>
                    <a:pt x="1140" y="902"/>
                  </a:lnTo>
                  <a:lnTo>
                    <a:pt x="1138" y="916"/>
                  </a:lnTo>
                  <a:lnTo>
                    <a:pt x="1136" y="932"/>
                  </a:lnTo>
                  <a:lnTo>
                    <a:pt x="1134" y="948"/>
                  </a:lnTo>
                  <a:lnTo>
                    <a:pt x="1134" y="1134"/>
                  </a:lnTo>
                  <a:lnTo>
                    <a:pt x="1078" y="1134"/>
                  </a:lnTo>
                  <a:lnTo>
                    <a:pt x="1078" y="452"/>
                  </a:lnTo>
                  <a:lnTo>
                    <a:pt x="1022" y="452"/>
                  </a:lnTo>
                  <a:lnTo>
                    <a:pt x="1022" y="510"/>
                  </a:lnTo>
                  <a:lnTo>
                    <a:pt x="964" y="510"/>
                  </a:lnTo>
                  <a:lnTo>
                    <a:pt x="964" y="396"/>
                  </a:lnTo>
                  <a:lnTo>
                    <a:pt x="1022" y="396"/>
                  </a:lnTo>
                  <a:lnTo>
                    <a:pt x="1022" y="340"/>
                  </a:lnTo>
                  <a:lnTo>
                    <a:pt x="738" y="340"/>
                  </a:lnTo>
                  <a:lnTo>
                    <a:pt x="738" y="396"/>
                  </a:lnTo>
                  <a:lnTo>
                    <a:pt x="794" y="396"/>
                  </a:lnTo>
                  <a:lnTo>
                    <a:pt x="794" y="1134"/>
                  </a:lnTo>
                  <a:lnTo>
                    <a:pt x="680" y="1134"/>
                  </a:lnTo>
                  <a:lnTo>
                    <a:pt x="680" y="622"/>
                  </a:lnTo>
                  <a:lnTo>
                    <a:pt x="568" y="622"/>
                  </a:lnTo>
                  <a:lnTo>
                    <a:pt x="568" y="1134"/>
                  </a:lnTo>
                  <a:lnTo>
                    <a:pt x="440" y="1134"/>
                  </a:lnTo>
                  <a:lnTo>
                    <a:pt x="398" y="56"/>
                  </a:lnTo>
                  <a:lnTo>
                    <a:pt x="454" y="56"/>
                  </a:lnTo>
                  <a:lnTo>
                    <a:pt x="454" y="0"/>
                  </a:lnTo>
                  <a:lnTo>
                    <a:pt x="114" y="0"/>
                  </a:lnTo>
                  <a:lnTo>
                    <a:pt x="114" y="56"/>
                  </a:lnTo>
                  <a:lnTo>
                    <a:pt x="170" y="56"/>
                  </a:lnTo>
                  <a:lnTo>
                    <a:pt x="114" y="1474"/>
                  </a:lnTo>
                  <a:lnTo>
                    <a:pt x="0" y="1474"/>
                  </a:lnTo>
                  <a:lnTo>
                    <a:pt x="0" y="1586"/>
                  </a:lnTo>
                  <a:lnTo>
                    <a:pt x="1702" y="1586"/>
                  </a:lnTo>
                  <a:lnTo>
                    <a:pt x="1702" y="1474"/>
                  </a:lnTo>
                  <a:lnTo>
                    <a:pt x="1590" y="1474"/>
                  </a:lnTo>
                  <a:close/>
                  <a:moveTo>
                    <a:pt x="1022" y="792"/>
                  </a:moveTo>
                  <a:lnTo>
                    <a:pt x="1022" y="850"/>
                  </a:lnTo>
                  <a:lnTo>
                    <a:pt x="964" y="850"/>
                  </a:lnTo>
                  <a:lnTo>
                    <a:pt x="964" y="792"/>
                  </a:lnTo>
                  <a:lnTo>
                    <a:pt x="1022" y="792"/>
                  </a:lnTo>
                  <a:close/>
                  <a:moveTo>
                    <a:pt x="964" y="736"/>
                  </a:moveTo>
                  <a:lnTo>
                    <a:pt x="964" y="680"/>
                  </a:lnTo>
                  <a:lnTo>
                    <a:pt x="1022" y="680"/>
                  </a:lnTo>
                  <a:lnTo>
                    <a:pt x="1022" y="736"/>
                  </a:lnTo>
                  <a:lnTo>
                    <a:pt x="964" y="736"/>
                  </a:lnTo>
                  <a:close/>
                  <a:moveTo>
                    <a:pt x="1022" y="906"/>
                  </a:moveTo>
                  <a:lnTo>
                    <a:pt x="1022" y="964"/>
                  </a:lnTo>
                  <a:lnTo>
                    <a:pt x="964" y="964"/>
                  </a:lnTo>
                  <a:lnTo>
                    <a:pt x="964" y="906"/>
                  </a:lnTo>
                  <a:lnTo>
                    <a:pt x="1022" y="906"/>
                  </a:lnTo>
                  <a:close/>
                  <a:moveTo>
                    <a:pt x="1022" y="1020"/>
                  </a:moveTo>
                  <a:lnTo>
                    <a:pt x="1022" y="1076"/>
                  </a:lnTo>
                  <a:lnTo>
                    <a:pt x="964" y="1076"/>
                  </a:lnTo>
                  <a:lnTo>
                    <a:pt x="964" y="1020"/>
                  </a:lnTo>
                  <a:lnTo>
                    <a:pt x="1022" y="1020"/>
                  </a:lnTo>
                  <a:close/>
                  <a:moveTo>
                    <a:pt x="1022" y="566"/>
                  </a:moveTo>
                  <a:lnTo>
                    <a:pt x="1022" y="622"/>
                  </a:lnTo>
                  <a:lnTo>
                    <a:pt x="964" y="622"/>
                  </a:lnTo>
                  <a:lnTo>
                    <a:pt x="964" y="566"/>
                  </a:lnTo>
                  <a:lnTo>
                    <a:pt x="1022" y="566"/>
                  </a:lnTo>
                  <a:close/>
                  <a:moveTo>
                    <a:pt x="964" y="1134"/>
                  </a:moveTo>
                  <a:lnTo>
                    <a:pt x="1022" y="1134"/>
                  </a:lnTo>
                  <a:lnTo>
                    <a:pt x="1022" y="1134"/>
                  </a:lnTo>
                  <a:lnTo>
                    <a:pt x="964" y="1134"/>
                  </a:lnTo>
                  <a:lnTo>
                    <a:pt x="964" y="1134"/>
                  </a:lnTo>
                  <a:close/>
                  <a:moveTo>
                    <a:pt x="794" y="1246"/>
                  </a:moveTo>
                  <a:lnTo>
                    <a:pt x="964" y="1246"/>
                  </a:lnTo>
                  <a:lnTo>
                    <a:pt x="1022" y="1246"/>
                  </a:lnTo>
                  <a:lnTo>
                    <a:pt x="1078" y="1246"/>
                  </a:lnTo>
                  <a:lnTo>
                    <a:pt x="1134" y="1246"/>
                  </a:lnTo>
                  <a:lnTo>
                    <a:pt x="1134" y="1306"/>
                  </a:lnTo>
                  <a:lnTo>
                    <a:pt x="448" y="1306"/>
                  </a:lnTo>
                  <a:lnTo>
                    <a:pt x="446" y="1246"/>
                  </a:lnTo>
                  <a:lnTo>
                    <a:pt x="794" y="124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36" name="TextBox 35"/>
            <p:cNvSpPr txBox="1"/>
            <p:nvPr/>
          </p:nvSpPr>
          <p:spPr>
            <a:xfrm flipH="1">
              <a:off x="1812193" y="2584431"/>
              <a:ext cx="1573106" cy="52322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400" b="1" kern="0" dirty="0" smtClean="0">
                  <a:solidFill>
                    <a:srgbClr val="3C3C3C"/>
                  </a:solidFill>
                  <a:latin typeface="Arial Narrow" panose="020B0606020202030204" pitchFamily="34" charset="0"/>
                </a:rPr>
                <a:t>Иностранная </a:t>
              </a:r>
              <a:r>
                <a:rPr kumimoji="0" lang="ru-RU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технология</a:t>
              </a:r>
            </a:p>
          </p:txBody>
        </p:sp>
      </p:grpSp>
      <p:sp>
        <p:nvSpPr>
          <p:cNvPr id="37" name="Прямоугольник 36"/>
          <p:cNvSpPr/>
          <p:nvPr/>
        </p:nvSpPr>
        <p:spPr>
          <a:xfrm flipH="1">
            <a:off x="1344879" y="3162987"/>
            <a:ext cx="142699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rPr>
              <a:t>Оборудование и МТО</a:t>
            </a:r>
          </a:p>
        </p:txBody>
      </p:sp>
      <p:sp>
        <p:nvSpPr>
          <p:cNvPr id="38" name="Прямоугольник 37"/>
          <p:cNvSpPr/>
          <p:nvPr/>
        </p:nvSpPr>
        <p:spPr>
          <a:xfrm flipH="1">
            <a:off x="1704054" y="4009009"/>
            <a:ext cx="106150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rPr>
              <a:t>Строительство</a:t>
            </a:r>
          </a:p>
        </p:txBody>
      </p:sp>
      <p:grpSp>
        <p:nvGrpSpPr>
          <p:cNvPr id="39" name="World"/>
          <p:cNvGrpSpPr/>
          <p:nvPr/>
        </p:nvGrpSpPr>
        <p:grpSpPr>
          <a:xfrm>
            <a:off x="346225" y="1772816"/>
            <a:ext cx="972859" cy="541528"/>
            <a:chOff x="179512" y="1340768"/>
            <a:chExt cx="8685409" cy="4834607"/>
          </a:xfrm>
          <a:solidFill>
            <a:srgbClr val="3B853F"/>
          </a:solidFill>
        </p:grpSpPr>
        <p:grpSp>
          <p:nvGrpSpPr>
            <p:cNvPr id="40" name="Group 205"/>
            <p:cNvGrpSpPr>
              <a:grpSpLocks/>
            </p:cNvGrpSpPr>
            <p:nvPr/>
          </p:nvGrpSpPr>
          <p:grpSpPr bwMode="auto">
            <a:xfrm>
              <a:off x="1280205" y="1467396"/>
              <a:ext cx="1944882" cy="2529321"/>
              <a:chOff x="883" y="1044"/>
              <a:chExt cx="1198" cy="1558"/>
            </a:xfrm>
            <a:grpFill/>
          </p:grpSpPr>
          <p:sp>
            <p:nvSpPr>
              <p:cNvPr id="530" name="Freeform 5"/>
              <p:cNvSpPr>
                <a:spLocks/>
              </p:cNvSpPr>
              <p:nvPr/>
            </p:nvSpPr>
            <p:spPr bwMode="auto">
              <a:xfrm>
                <a:off x="1659" y="2514"/>
                <a:ext cx="30" cy="14"/>
              </a:xfrm>
              <a:custGeom>
                <a:avLst/>
                <a:gdLst>
                  <a:gd name="T0" fmla="*/ 18 w 30"/>
                  <a:gd name="T1" fmla="*/ 2 h 14"/>
                  <a:gd name="T2" fmla="*/ 14 w 30"/>
                  <a:gd name="T3" fmla="*/ 0 h 14"/>
                  <a:gd name="T4" fmla="*/ 10 w 30"/>
                  <a:gd name="T5" fmla="*/ 0 h 14"/>
                  <a:gd name="T6" fmla="*/ 6 w 30"/>
                  <a:gd name="T7" fmla="*/ 0 h 14"/>
                  <a:gd name="T8" fmla="*/ 4 w 30"/>
                  <a:gd name="T9" fmla="*/ 0 h 14"/>
                  <a:gd name="T10" fmla="*/ 2 w 30"/>
                  <a:gd name="T11" fmla="*/ 4 h 14"/>
                  <a:gd name="T12" fmla="*/ 0 w 30"/>
                  <a:gd name="T13" fmla="*/ 6 h 14"/>
                  <a:gd name="T14" fmla="*/ 0 w 30"/>
                  <a:gd name="T15" fmla="*/ 8 h 14"/>
                  <a:gd name="T16" fmla="*/ 0 w 30"/>
                  <a:gd name="T17" fmla="*/ 8 h 14"/>
                  <a:gd name="T18" fmla="*/ 0 w 30"/>
                  <a:gd name="T19" fmla="*/ 12 h 14"/>
                  <a:gd name="T20" fmla="*/ 0 w 30"/>
                  <a:gd name="T21" fmla="*/ 12 h 14"/>
                  <a:gd name="T22" fmla="*/ 4 w 30"/>
                  <a:gd name="T23" fmla="*/ 14 h 14"/>
                  <a:gd name="T24" fmla="*/ 8 w 30"/>
                  <a:gd name="T25" fmla="*/ 12 h 14"/>
                  <a:gd name="T26" fmla="*/ 10 w 30"/>
                  <a:gd name="T27" fmla="*/ 12 h 14"/>
                  <a:gd name="T28" fmla="*/ 10 w 30"/>
                  <a:gd name="T29" fmla="*/ 10 h 14"/>
                  <a:gd name="T30" fmla="*/ 12 w 30"/>
                  <a:gd name="T31" fmla="*/ 12 h 14"/>
                  <a:gd name="T32" fmla="*/ 14 w 30"/>
                  <a:gd name="T33" fmla="*/ 12 h 14"/>
                  <a:gd name="T34" fmla="*/ 16 w 30"/>
                  <a:gd name="T35" fmla="*/ 12 h 14"/>
                  <a:gd name="T36" fmla="*/ 18 w 30"/>
                  <a:gd name="T37" fmla="*/ 12 h 14"/>
                  <a:gd name="T38" fmla="*/ 18 w 30"/>
                  <a:gd name="T39" fmla="*/ 14 h 14"/>
                  <a:gd name="T40" fmla="*/ 18 w 30"/>
                  <a:gd name="T41" fmla="*/ 14 h 14"/>
                  <a:gd name="T42" fmla="*/ 20 w 30"/>
                  <a:gd name="T43" fmla="*/ 14 h 14"/>
                  <a:gd name="T44" fmla="*/ 22 w 30"/>
                  <a:gd name="T45" fmla="*/ 14 h 14"/>
                  <a:gd name="T46" fmla="*/ 26 w 30"/>
                  <a:gd name="T47" fmla="*/ 10 h 14"/>
                  <a:gd name="T48" fmla="*/ 26 w 30"/>
                  <a:gd name="T49" fmla="*/ 8 h 14"/>
                  <a:gd name="T50" fmla="*/ 28 w 30"/>
                  <a:gd name="T51" fmla="*/ 8 h 14"/>
                  <a:gd name="T52" fmla="*/ 30 w 30"/>
                  <a:gd name="T53" fmla="*/ 4 h 14"/>
                  <a:gd name="T54" fmla="*/ 30 w 30"/>
                  <a:gd name="T55" fmla="*/ 4 h 14"/>
                  <a:gd name="T56" fmla="*/ 28 w 30"/>
                  <a:gd name="T57" fmla="*/ 2 h 14"/>
                  <a:gd name="T58" fmla="*/ 26 w 30"/>
                  <a:gd name="T59" fmla="*/ 2 h 14"/>
                  <a:gd name="T60" fmla="*/ 24 w 30"/>
                  <a:gd name="T61" fmla="*/ 2 h 14"/>
                  <a:gd name="T62" fmla="*/ 20 w 30"/>
                  <a:gd name="T63" fmla="*/ 2 h 14"/>
                  <a:gd name="T64" fmla="*/ 18 w 30"/>
                  <a:gd name="T65" fmla="*/ 2 h 14"/>
                  <a:gd name="T66" fmla="*/ 18 w 30"/>
                  <a:gd name="T67" fmla="*/ 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30" h="14">
                    <a:moveTo>
                      <a:pt x="18" y="2"/>
                    </a:moveTo>
                    <a:lnTo>
                      <a:pt x="18" y="2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4" y="14"/>
                    </a:lnTo>
                    <a:lnTo>
                      <a:pt x="6" y="14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0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10"/>
                    </a:lnTo>
                    <a:lnTo>
                      <a:pt x="12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6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4" y="12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30" y="6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2"/>
                    </a:lnTo>
                    <a:lnTo>
                      <a:pt x="28" y="2"/>
                    </a:lnTo>
                    <a:lnTo>
                      <a:pt x="28" y="2"/>
                    </a:lnTo>
                    <a:lnTo>
                      <a:pt x="26" y="2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2" y="2"/>
                    </a:lnTo>
                    <a:lnTo>
                      <a:pt x="20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31" name="Freeform 8"/>
              <p:cNvSpPr>
                <a:spLocks/>
              </p:cNvSpPr>
              <p:nvPr/>
            </p:nvSpPr>
            <p:spPr bwMode="auto">
              <a:xfrm>
                <a:off x="1587" y="2452"/>
                <a:ext cx="4" cy="6"/>
              </a:xfrm>
              <a:custGeom>
                <a:avLst/>
                <a:gdLst>
                  <a:gd name="T0" fmla="*/ 0 w 4"/>
                  <a:gd name="T1" fmla="*/ 2 h 6"/>
                  <a:gd name="T2" fmla="*/ 0 w 4"/>
                  <a:gd name="T3" fmla="*/ 2 h 6"/>
                  <a:gd name="T4" fmla="*/ 0 w 4"/>
                  <a:gd name="T5" fmla="*/ 4 h 6"/>
                  <a:gd name="T6" fmla="*/ 0 w 4"/>
                  <a:gd name="T7" fmla="*/ 6 h 6"/>
                  <a:gd name="T8" fmla="*/ 0 w 4"/>
                  <a:gd name="T9" fmla="*/ 6 h 6"/>
                  <a:gd name="T10" fmla="*/ 0 w 4"/>
                  <a:gd name="T11" fmla="*/ 6 h 6"/>
                  <a:gd name="T12" fmla="*/ 0 w 4"/>
                  <a:gd name="T13" fmla="*/ 6 h 6"/>
                  <a:gd name="T14" fmla="*/ 2 w 4"/>
                  <a:gd name="T15" fmla="*/ 6 h 6"/>
                  <a:gd name="T16" fmla="*/ 2 w 4"/>
                  <a:gd name="T17" fmla="*/ 6 h 6"/>
                  <a:gd name="T18" fmla="*/ 4 w 4"/>
                  <a:gd name="T19" fmla="*/ 4 h 6"/>
                  <a:gd name="T20" fmla="*/ 4 w 4"/>
                  <a:gd name="T21" fmla="*/ 4 h 6"/>
                  <a:gd name="T22" fmla="*/ 4 w 4"/>
                  <a:gd name="T23" fmla="*/ 4 h 6"/>
                  <a:gd name="T24" fmla="*/ 4 w 4"/>
                  <a:gd name="T25" fmla="*/ 2 h 6"/>
                  <a:gd name="T26" fmla="*/ 4 w 4"/>
                  <a:gd name="T27" fmla="*/ 2 h 6"/>
                  <a:gd name="T28" fmla="*/ 2 w 4"/>
                  <a:gd name="T29" fmla="*/ 0 h 6"/>
                  <a:gd name="T30" fmla="*/ 2 w 4"/>
                  <a:gd name="T31" fmla="*/ 0 h 6"/>
                  <a:gd name="T32" fmla="*/ 2 w 4"/>
                  <a:gd name="T33" fmla="*/ 0 h 6"/>
                  <a:gd name="T34" fmla="*/ 2 w 4"/>
                  <a:gd name="T35" fmla="*/ 0 h 6"/>
                  <a:gd name="T36" fmla="*/ 0 w 4"/>
                  <a:gd name="T37" fmla="*/ 2 h 6"/>
                  <a:gd name="T38" fmla="*/ 0 w 4"/>
                  <a:gd name="T39" fmla="*/ 2 h 6"/>
                  <a:gd name="T40" fmla="*/ 0 w 4"/>
                  <a:gd name="T41" fmla="*/ 2 h 6"/>
                  <a:gd name="T42" fmla="*/ 0 w 4"/>
                  <a:gd name="T43" fmla="*/ 2 h 6"/>
                  <a:gd name="T44" fmla="*/ 0 w 4"/>
                  <a:gd name="T45" fmla="*/ 2 h 6"/>
                  <a:gd name="T46" fmla="*/ 0 w 4"/>
                  <a:gd name="T47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" h="6">
                    <a:moveTo>
                      <a:pt x="0" y="2"/>
                    </a:move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32" name="Freeform 10"/>
              <p:cNvSpPr>
                <a:spLocks/>
              </p:cNvSpPr>
              <p:nvPr/>
            </p:nvSpPr>
            <p:spPr bwMode="auto">
              <a:xfrm>
                <a:off x="1509" y="2410"/>
                <a:ext cx="4" cy="8"/>
              </a:xfrm>
              <a:custGeom>
                <a:avLst/>
                <a:gdLst>
                  <a:gd name="T0" fmla="*/ 2 w 4"/>
                  <a:gd name="T1" fmla="*/ 8 h 8"/>
                  <a:gd name="T2" fmla="*/ 2 w 4"/>
                  <a:gd name="T3" fmla="*/ 8 h 8"/>
                  <a:gd name="T4" fmla="*/ 2 w 4"/>
                  <a:gd name="T5" fmla="*/ 8 h 8"/>
                  <a:gd name="T6" fmla="*/ 4 w 4"/>
                  <a:gd name="T7" fmla="*/ 8 h 8"/>
                  <a:gd name="T8" fmla="*/ 4 w 4"/>
                  <a:gd name="T9" fmla="*/ 8 h 8"/>
                  <a:gd name="T10" fmla="*/ 4 w 4"/>
                  <a:gd name="T11" fmla="*/ 6 h 8"/>
                  <a:gd name="T12" fmla="*/ 4 w 4"/>
                  <a:gd name="T13" fmla="*/ 6 h 8"/>
                  <a:gd name="T14" fmla="*/ 4 w 4"/>
                  <a:gd name="T15" fmla="*/ 4 h 8"/>
                  <a:gd name="T16" fmla="*/ 4 w 4"/>
                  <a:gd name="T17" fmla="*/ 2 h 8"/>
                  <a:gd name="T18" fmla="*/ 4 w 4"/>
                  <a:gd name="T19" fmla="*/ 0 h 8"/>
                  <a:gd name="T20" fmla="*/ 4 w 4"/>
                  <a:gd name="T21" fmla="*/ 0 h 8"/>
                  <a:gd name="T22" fmla="*/ 2 w 4"/>
                  <a:gd name="T23" fmla="*/ 0 h 8"/>
                  <a:gd name="T24" fmla="*/ 2 w 4"/>
                  <a:gd name="T25" fmla="*/ 0 h 8"/>
                  <a:gd name="T26" fmla="*/ 2 w 4"/>
                  <a:gd name="T27" fmla="*/ 0 h 8"/>
                  <a:gd name="T28" fmla="*/ 0 w 4"/>
                  <a:gd name="T29" fmla="*/ 0 h 8"/>
                  <a:gd name="T30" fmla="*/ 0 w 4"/>
                  <a:gd name="T31" fmla="*/ 2 h 8"/>
                  <a:gd name="T32" fmla="*/ 0 w 4"/>
                  <a:gd name="T33" fmla="*/ 2 h 8"/>
                  <a:gd name="T34" fmla="*/ 0 w 4"/>
                  <a:gd name="T35" fmla="*/ 6 h 8"/>
                  <a:gd name="T36" fmla="*/ 2 w 4"/>
                  <a:gd name="T37" fmla="*/ 6 h 8"/>
                  <a:gd name="T38" fmla="*/ 2 w 4"/>
                  <a:gd name="T39" fmla="*/ 8 h 8"/>
                  <a:gd name="T40" fmla="*/ 2 w 4"/>
                  <a:gd name="T41" fmla="*/ 8 h 8"/>
                  <a:gd name="T42" fmla="*/ 2 w 4"/>
                  <a:gd name="T43" fmla="*/ 8 h 8"/>
                  <a:gd name="T44" fmla="*/ 2 w 4"/>
                  <a:gd name="T45" fmla="*/ 8 h 8"/>
                  <a:gd name="T46" fmla="*/ 2 w 4"/>
                  <a:gd name="T4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" h="8">
                    <a:moveTo>
                      <a:pt x="2" y="8"/>
                    </a:moveTo>
                    <a:lnTo>
                      <a:pt x="2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2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33" name="Freeform 12"/>
              <p:cNvSpPr>
                <a:spLocks/>
              </p:cNvSpPr>
              <p:nvPr/>
            </p:nvSpPr>
            <p:spPr bwMode="auto">
              <a:xfrm>
                <a:off x="1499" y="2360"/>
                <a:ext cx="14" cy="10"/>
              </a:xfrm>
              <a:custGeom>
                <a:avLst/>
                <a:gdLst>
                  <a:gd name="T0" fmla="*/ 6 w 14"/>
                  <a:gd name="T1" fmla="*/ 2 h 10"/>
                  <a:gd name="T2" fmla="*/ 6 w 14"/>
                  <a:gd name="T3" fmla="*/ 2 h 10"/>
                  <a:gd name="T4" fmla="*/ 4 w 14"/>
                  <a:gd name="T5" fmla="*/ 2 h 10"/>
                  <a:gd name="T6" fmla="*/ 2 w 14"/>
                  <a:gd name="T7" fmla="*/ 4 h 10"/>
                  <a:gd name="T8" fmla="*/ 2 w 14"/>
                  <a:gd name="T9" fmla="*/ 4 h 10"/>
                  <a:gd name="T10" fmla="*/ 2 w 14"/>
                  <a:gd name="T11" fmla="*/ 4 h 10"/>
                  <a:gd name="T12" fmla="*/ 0 w 14"/>
                  <a:gd name="T13" fmla="*/ 6 h 10"/>
                  <a:gd name="T14" fmla="*/ 0 w 14"/>
                  <a:gd name="T15" fmla="*/ 6 h 10"/>
                  <a:gd name="T16" fmla="*/ 0 w 14"/>
                  <a:gd name="T17" fmla="*/ 8 h 10"/>
                  <a:gd name="T18" fmla="*/ 0 w 14"/>
                  <a:gd name="T19" fmla="*/ 8 h 10"/>
                  <a:gd name="T20" fmla="*/ 0 w 14"/>
                  <a:gd name="T21" fmla="*/ 8 h 10"/>
                  <a:gd name="T22" fmla="*/ 2 w 14"/>
                  <a:gd name="T23" fmla="*/ 10 h 10"/>
                  <a:gd name="T24" fmla="*/ 2 w 14"/>
                  <a:gd name="T25" fmla="*/ 10 h 10"/>
                  <a:gd name="T26" fmla="*/ 4 w 14"/>
                  <a:gd name="T27" fmla="*/ 10 h 10"/>
                  <a:gd name="T28" fmla="*/ 6 w 14"/>
                  <a:gd name="T29" fmla="*/ 8 h 10"/>
                  <a:gd name="T30" fmla="*/ 8 w 14"/>
                  <a:gd name="T31" fmla="*/ 8 h 10"/>
                  <a:gd name="T32" fmla="*/ 8 w 14"/>
                  <a:gd name="T33" fmla="*/ 8 h 10"/>
                  <a:gd name="T34" fmla="*/ 8 w 14"/>
                  <a:gd name="T35" fmla="*/ 6 h 10"/>
                  <a:gd name="T36" fmla="*/ 10 w 14"/>
                  <a:gd name="T37" fmla="*/ 6 h 10"/>
                  <a:gd name="T38" fmla="*/ 12 w 14"/>
                  <a:gd name="T39" fmla="*/ 4 h 10"/>
                  <a:gd name="T40" fmla="*/ 14 w 14"/>
                  <a:gd name="T41" fmla="*/ 4 h 10"/>
                  <a:gd name="T42" fmla="*/ 14 w 14"/>
                  <a:gd name="T43" fmla="*/ 4 h 10"/>
                  <a:gd name="T44" fmla="*/ 14 w 14"/>
                  <a:gd name="T45" fmla="*/ 4 h 10"/>
                  <a:gd name="T46" fmla="*/ 14 w 14"/>
                  <a:gd name="T47" fmla="*/ 2 h 10"/>
                  <a:gd name="T48" fmla="*/ 14 w 14"/>
                  <a:gd name="T49" fmla="*/ 0 h 10"/>
                  <a:gd name="T50" fmla="*/ 12 w 14"/>
                  <a:gd name="T51" fmla="*/ 0 h 10"/>
                  <a:gd name="T52" fmla="*/ 12 w 14"/>
                  <a:gd name="T53" fmla="*/ 0 h 10"/>
                  <a:gd name="T54" fmla="*/ 10 w 14"/>
                  <a:gd name="T55" fmla="*/ 0 h 10"/>
                  <a:gd name="T56" fmla="*/ 8 w 14"/>
                  <a:gd name="T57" fmla="*/ 0 h 10"/>
                  <a:gd name="T58" fmla="*/ 6 w 14"/>
                  <a:gd name="T59" fmla="*/ 2 h 10"/>
                  <a:gd name="T60" fmla="*/ 6 w 14"/>
                  <a:gd name="T61" fmla="*/ 2 h 10"/>
                  <a:gd name="T62" fmla="*/ 6 w 14"/>
                  <a:gd name="T63" fmla="*/ 2 h 10"/>
                  <a:gd name="T64" fmla="*/ 6 w 14"/>
                  <a:gd name="T65" fmla="*/ 2 h 10"/>
                  <a:gd name="T66" fmla="*/ 6 w 14"/>
                  <a:gd name="T67" fmla="*/ 2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4" h="10">
                    <a:moveTo>
                      <a:pt x="6" y="2"/>
                    </a:moveTo>
                    <a:lnTo>
                      <a:pt x="6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4" y="10"/>
                    </a:lnTo>
                    <a:lnTo>
                      <a:pt x="6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6"/>
                    </a:lnTo>
                    <a:lnTo>
                      <a:pt x="10" y="6"/>
                    </a:lnTo>
                    <a:lnTo>
                      <a:pt x="12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2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34" name="Freeform 13"/>
              <p:cNvSpPr>
                <a:spLocks/>
              </p:cNvSpPr>
              <p:nvPr/>
            </p:nvSpPr>
            <p:spPr bwMode="auto">
              <a:xfrm>
                <a:off x="1519" y="2358"/>
                <a:ext cx="10" cy="16"/>
              </a:xfrm>
              <a:custGeom>
                <a:avLst/>
                <a:gdLst>
                  <a:gd name="T0" fmla="*/ 4 w 10"/>
                  <a:gd name="T1" fmla="*/ 2 h 16"/>
                  <a:gd name="T2" fmla="*/ 4 w 10"/>
                  <a:gd name="T3" fmla="*/ 2 h 16"/>
                  <a:gd name="T4" fmla="*/ 2 w 10"/>
                  <a:gd name="T5" fmla="*/ 0 h 16"/>
                  <a:gd name="T6" fmla="*/ 0 w 10"/>
                  <a:gd name="T7" fmla="*/ 0 h 16"/>
                  <a:gd name="T8" fmla="*/ 0 w 10"/>
                  <a:gd name="T9" fmla="*/ 0 h 16"/>
                  <a:gd name="T10" fmla="*/ 2 w 10"/>
                  <a:gd name="T11" fmla="*/ 0 h 16"/>
                  <a:gd name="T12" fmla="*/ 2 w 10"/>
                  <a:gd name="T13" fmla="*/ 2 h 16"/>
                  <a:gd name="T14" fmla="*/ 2 w 10"/>
                  <a:gd name="T15" fmla="*/ 4 h 16"/>
                  <a:gd name="T16" fmla="*/ 4 w 10"/>
                  <a:gd name="T17" fmla="*/ 6 h 16"/>
                  <a:gd name="T18" fmla="*/ 6 w 10"/>
                  <a:gd name="T19" fmla="*/ 6 h 16"/>
                  <a:gd name="T20" fmla="*/ 6 w 10"/>
                  <a:gd name="T21" fmla="*/ 8 h 16"/>
                  <a:gd name="T22" fmla="*/ 6 w 10"/>
                  <a:gd name="T23" fmla="*/ 8 h 16"/>
                  <a:gd name="T24" fmla="*/ 6 w 10"/>
                  <a:gd name="T25" fmla="*/ 10 h 16"/>
                  <a:gd name="T26" fmla="*/ 4 w 10"/>
                  <a:gd name="T27" fmla="*/ 12 h 16"/>
                  <a:gd name="T28" fmla="*/ 4 w 10"/>
                  <a:gd name="T29" fmla="*/ 14 h 16"/>
                  <a:gd name="T30" fmla="*/ 4 w 10"/>
                  <a:gd name="T31" fmla="*/ 16 h 16"/>
                  <a:gd name="T32" fmla="*/ 4 w 10"/>
                  <a:gd name="T33" fmla="*/ 16 h 16"/>
                  <a:gd name="T34" fmla="*/ 6 w 10"/>
                  <a:gd name="T35" fmla="*/ 14 h 16"/>
                  <a:gd name="T36" fmla="*/ 6 w 10"/>
                  <a:gd name="T37" fmla="*/ 14 h 16"/>
                  <a:gd name="T38" fmla="*/ 8 w 10"/>
                  <a:gd name="T39" fmla="*/ 14 h 16"/>
                  <a:gd name="T40" fmla="*/ 8 w 10"/>
                  <a:gd name="T41" fmla="*/ 12 h 16"/>
                  <a:gd name="T42" fmla="*/ 8 w 10"/>
                  <a:gd name="T43" fmla="*/ 12 h 16"/>
                  <a:gd name="T44" fmla="*/ 8 w 10"/>
                  <a:gd name="T45" fmla="*/ 8 h 16"/>
                  <a:gd name="T46" fmla="*/ 8 w 10"/>
                  <a:gd name="T47" fmla="*/ 8 h 16"/>
                  <a:gd name="T48" fmla="*/ 10 w 10"/>
                  <a:gd name="T49" fmla="*/ 6 h 16"/>
                  <a:gd name="T50" fmla="*/ 8 w 10"/>
                  <a:gd name="T51" fmla="*/ 4 h 16"/>
                  <a:gd name="T52" fmla="*/ 8 w 10"/>
                  <a:gd name="T53" fmla="*/ 4 h 16"/>
                  <a:gd name="T54" fmla="*/ 8 w 10"/>
                  <a:gd name="T55" fmla="*/ 4 h 16"/>
                  <a:gd name="T56" fmla="*/ 8 w 10"/>
                  <a:gd name="T57" fmla="*/ 2 h 16"/>
                  <a:gd name="T58" fmla="*/ 4 w 10"/>
                  <a:gd name="T59" fmla="*/ 2 h 16"/>
                  <a:gd name="T60" fmla="*/ 4 w 10"/>
                  <a:gd name="T61" fmla="*/ 2 h 16"/>
                  <a:gd name="T62" fmla="*/ 4 w 10"/>
                  <a:gd name="T63" fmla="*/ 2 h 16"/>
                  <a:gd name="T64" fmla="*/ 4 w 10"/>
                  <a:gd name="T65" fmla="*/ 2 h 16"/>
                  <a:gd name="T66" fmla="*/ 4 w 10"/>
                  <a:gd name="T67" fmla="*/ 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0" h="16">
                    <a:moveTo>
                      <a:pt x="4" y="2"/>
                    </a:moveTo>
                    <a:lnTo>
                      <a:pt x="4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2" y="4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10"/>
                    </a:lnTo>
                    <a:lnTo>
                      <a:pt x="4" y="12"/>
                    </a:lnTo>
                    <a:lnTo>
                      <a:pt x="4" y="14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0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35" name="Freeform 15"/>
              <p:cNvSpPr>
                <a:spLocks/>
              </p:cNvSpPr>
              <p:nvPr/>
            </p:nvSpPr>
            <p:spPr bwMode="auto">
              <a:xfrm>
                <a:off x="1499" y="2390"/>
                <a:ext cx="10" cy="16"/>
              </a:xfrm>
              <a:custGeom>
                <a:avLst/>
                <a:gdLst>
                  <a:gd name="T0" fmla="*/ 4 w 10"/>
                  <a:gd name="T1" fmla="*/ 4 h 16"/>
                  <a:gd name="T2" fmla="*/ 4 w 10"/>
                  <a:gd name="T3" fmla="*/ 4 h 16"/>
                  <a:gd name="T4" fmla="*/ 2 w 10"/>
                  <a:gd name="T5" fmla="*/ 4 h 16"/>
                  <a:gd name="T6" fmla="*/ 2 w 10"/>
                  <a:gd name="T7" fmla="*/ 6 h 16"/>
                  <a:gd name="T8" fmla="*/ 2 w 10"/>
                  <a:gd name="T9" fmla="*/ 6 h 16"/>
                  <a:gd name="T10" fmla="*/ 2 w 10"/>
                  <a:gd name="T11" fmla="*/ 6 h 16"/>
                  <a:gd name="T12" fmla="*/ 0 w 10"/>
                  <a:gd name="T13" fmla="*/ 8 h 16"/>
                  <a:gd name="T14" fmla="*/ 0 w 10"/>
                  <a:gd name="T15" fmla="*/ 10 h 16"/>
                  <a:gd name="T16" fmla="*/ 0 w 10"/>
                  <a:gd name="T17" fmla="*/ 10 h 16"/>
                  <a:gd name="T18" fmla="*/ 0 w 10"/>
                  <a:gd name="T19" fmla="*/ 10 h 16"/>
                  <a:gd name="T20" fmla="*/ 0 w 10"/>
                  <a:gd name="T21" fmla="*/ 10 h 16"/>
                  <a:gd name="T22" fmla="*/ 2 w 10"/>
                  <a:gd name="T23" fmla="*/ 12 h 16"/>
                  <a:gd name="T24" fmla="*/ 2 w 10"/>
                  <a:gd name="T25" fmla="*/ 12 h 16"/>
                  <a:gd name="T26" fmla="*/ 4 w 10"/>
                  <a:gd name="T27" fmla="*/ 14 h 16"/>
                  <a:gd name="T28" fmla="*/ 4 w 10"/>
                  <a:gd name="T29" fmla="*/ 14 h 16"/>
                  <a:gd name="T30" fmla="*/ 6 w 10"/>
                  <a:gd name="T31" fmla="*/ 16 h 16"/>
                  <a:gd name="T32" fmla="*/ 6 w 10"/>
                  <a:gd name="T33" fmla="*/ 16 h 16"/>
                  <a:gd name="T34" fmla="*/ 8 w 10"/>
                  <a:gd name="T35" fmla="*/ 16 h 16"/>
                  <a:gd name="T36" fmla="*/ 8 w 10"/>
                  <a:gd name="T37" fmla="*/ 16 h 16"/>
                  <a:gd name="T38" fmla="*/ 10 w 10"/>
                  <a:gd name="T39" fmla="*/ 16 h 16"/>
                  <a:gd name="T40" fmla="*/ 10 w 10"/>
                  <a:gd name="T41" fmla="*/ 16 h 16"/>
                  <a:gd name="T42" fmla="*/ 10 w 10"/>
                  <a:gd name="T43" fmla="*/ 14 h 16"/>
                  <a:gd name="T44" fmla="*/ 10 w 10"/>
                  <a:gd name="T45" fmla="*/ 14 h 16"/>
                  <a:gd name="T46" fmla="*/ 10 w 10"/>
                  <a:gd name="T47" fmla="*/ 10 h 16"/>
                  <a:gd name="T48" fmla="*/ 10 w 10"/>
                  <a:gd name="T49" fmla="*/ 10 h 16"/>
                  <a:gd name="T50" fmla="*/ 10 w 10"/>
                  <a:gd name="T51" fmla="*/ 10 h 16"/>
                  <a:gd name="T52" fmla="*/ 10 w 10"/>
                  <a:gd name="T53" fmla="*/ 8 h 16"/>
                  <a:gd name="T54" fmla="*/ 8 w 10"/>
                  <a:gd name="T55" fmla="*/ 8 h 16"/>
                  <a:gd name="T56" fmla="*/ 8 w 10"/>
                  <a:gd name="T57" fmla="*/ 6 h 16"/>
                  <a:gd name="T58" fmla="*/ 8 w 10"/>
                  <a:gd name="T59" fmla="*/ 6 h 16"/>
                  <a:gd name="T60" fmla="*/ 8 w 10"/>
                  <a:gd name="T61" fmla="*/ 4 h 16"/>
                  <a:gd name="T62" fmla="*/ 8 w 10"/>
                  <a:gd name="T63" fmla="*/ 2 h 16"/>
                  <a:gd name="T64" fmla="*/ 8 w 10"/>
                  <a:gd name="T65" fmla="*/ 2 h 16"/>
                  <a:gd name="T66" fmla="*/ 8 w 10"/>
                  <a:gd name="T67" fmla="*/ 2 h 16"/>
                  <a:gd name="T68" fmla="*/ 6 w 10"/>
                  <a:gd name="T69" fmla="*/ 0 h 16"/>
                  <a:gd name="T70" fmla="*/ 4 w 10"/>
                  <a:gd name="T71" fmla="*/ 0 h 16"/>
                  <a:gd name="T72" fmla="*/ 4 w 10"/>
                  <a:gd name="T73" fmla="*/ 2 h 16"/>
                  <a:gd name="T74" fmla="*/ 4 w 10"/>
                  <a:gd name="T75" fmla="*/ 4 h 16"/>
                  <a:gd name="T76" fmla="*/ 4 w 10"/>
                  <a:gd name="T77" fmla="*/ 4 h 16"/>
                  <a:gd name="T78" fmla="*/ 4 w 10"/>
                  <a:gd name="T79" fmla="*/ 4 h 16"/>
                  <a:gd name="T80" fmla="*/ 4 w 10"/>
                  <a:gd name="T81" fmla="*/ 4 h 16"/>
                  <a:gd name="T82" fmla="*/ 4 w 10"/>
                  <a:gd name="T83" fmla="*/ 4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0" h="16">
                    <a:moveTo>
                      <a:pt x="4" y="4"/>
                    </a:moveTo>
                    <a:lnTo>
                      <a:pt x="4" y="4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0" y="8"/>
                    </a:lnTo>
                    <a:lnTo>
                      <a:pt x="8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36" name="Freeform 17"/>
              <p:cNvSpPr>
                <a:spLocks/>
              </p:cNvSpPr>
              <p:nvPr/>
            </p:nvSpPr>
            <p:spPr bwMode="auto">
              <a:xfrm>
                <a:off x="1531" y="2384"/>
                <a:ext cx="14" cy="22"/>
              </a:xfrm>
              <a:custGeom>
                <a:avLst/>
                <a:gdLst>
                  <a:gd name="T0" fmla="*/ 2 w 14"/>
                  <a:gd name="T1" fmla="*/ 0 h 22"/>
                  <a:gd name="T2" fmla="*/ 2 w 14"/>
                  <a:gd name="T3" fmla="*/ 0 h 22"/>
                  <a:gd name="T4" fmla="*/ 2 w 14"/>
                  <a:gd name="T5" fmla="*/ 0 h 22"/>
                  <a:gd name="T6" fmla="*/ 0 w 14"/>
                  <a:gd name="T7" fmla="*/ 0 h 22"/>
                  <a:gd name="T8" fmla="*/ 0 w 14"/>
                  <a:gd name="T9" fmla="*/ 0 h 22"/>
                  <a:gd name="T10" fmla="*/ 0 w 14"/>
                  <a:gd name="T11" fmla="*/ 0 h 22"/>
                  <a:gd name="T12" fmla="*/ 0 w 14"/>
                  <a:gd name="T13" fmla="*/ 2 h 22"/>
                  <a:gd name="T14" fmla="*/ 0 w 14"/>
                  <a:gd name="T15" fmla="*/ 2 h 22"/>
                  <a:gd name="T16" fmla="*/ 0 w 14"/>
                  <a:gd name="T17" fmla="*/ 2 h 22"/>
                  <a:gd name="T18" fmla="*/ 0 w 14"/>
                  <a:gd name="T19" fmla="*/ 4 h 22"/>
                  <a:gd name="T20" fmla="*/ 0 w 14"/>
                  <a:gd name="T21" fmla="*/ 4 h 22"/>
                  <a:gd name="T22" fmla="*/ 2 w 14"/>
                  <a:gd name="T23" fmla="*/ 6 h 22"/>
                  <a:gd name="T24" fmla="*/ 2 w 14"/>
                  <a:gd name="T25" fmla="*/ 6 h 22"/>
                  <a:gd name="T26" fmla="*/ 2 w 14"/>
                  <a:gd name="T27" fmla="*/ 6 h 22"/>
                  <a:gd name="T28" fmla="*/ 2 w 14"/>
                  <a:gd name="T29" fmla="*/ 8 h 22"/>
                  <a:gd name="T30" fmla="*/ 2 w 14"/>
                  <a:gd name="T31" fmla="*/ 10 h 22"/>
                  <a:gd name="T32" fmla="*/ 2 w 14"/>
                  <a:gd name="T33" fmla="*/ 12 h 22"/>
                  <a:gd name="T34" fmla="*/ 2 w 14"/>
                  <a:gd name="T35" fmla="*/ 12 h 22"/>
                  <a:gd name="T36" fmla="*/ 4 w 14"/>
                  <a:gd name="T37" fmla="*/ 12 h 22"/>
                  <a:gd name="T38" fmla="*/ 4 w 14"/>
                  <a:gd name="T39" fmla="*/ 14 h 22"/>
                  <a:gd name="T40" fmla="*/ 4 w 14"/>
                  <a:gd name="T41" fmla="*/ 16 h 22"/>
                  <a:gd name="T42" fmla="*/ 4 w 14"/>
                  <a:gd name="T43" fmla="*/ 16 h 22"/>
                  <a:gd name="T44" fmla="*/ 8 w 14"/>
                  <a:gd name="T45" fmla="*/ 18 h 22"/>
                  <a:gd name="T46" fmla="*/ 10 w 14"/>
                  <a:gd name="T47" fmla="*/ 20 h 22"/>
                  <a:gd name="T48" fmla="*/ 10 w 14"/>
                  <a:gd name="T49" fmla="*/ 20 h 22"/>
                  <a:gd name="T50" fmla="*/ 10 w 14"/>
                  <a:gd name="T51" fmla="*/ 20 h 22"/>
                  <a:gd name="T52" fmla="*/ 12 w 14"/>
                  <a:gd name="T53" fmla="*/ 22 h 22"/>
                  <a:gd name="T54" fmla="*/ 12 w 14"/>
                  <a:gd name="T55" fmla="*/ 22 h 22"/>
                  <a:gd name="T56" fmla="*/ 12 w 14"/>
                  <a:gd name="T57" fmla="*/ 22 h 22"/>
                  <a:gd name="T58" fmla="*/ 14 w 14"/>
                  <a:gd name="T59" fmla="*/ 22 h 22"/>
                  <a:gd name="T60" fmla="*/ 14 w 14"/>
                  <a:gd name="T61" fmla="*/ 22 h 22"/>
                  <a:gd name="T62" fmla="*/ 14 w 14"/>
                  <a:gd name="T63" fmla="*/ 20 h 22"/>
                  <a:gd name="T64" fmla="*/ 14 w 14"/>
                  <a:gd name="T65" fmla="*/ 18 h 22"/>
                  <a:gd name="T66" fmla="*/ 14 w 14"/>
                  <a:gd name="T67" fmla="*/ 16 h 22"/>
                  <a:gd name="T68" fmla="*/ 12 w 14"/>
                  <a:gd name="T69" fmla="*/ 14 h 22"/>
                  <a:gd name="T70" fmla="*/ 12 w 14"/>
                  <a:gd name="T71" fmla="*/ 14 h 22"/>
                  <a:gd name="T72" fmla="*/ 8 w 14"/>
                  <a:gd name="T73" fmla="*/ 12 h 22"/>
                  <a:gd name="T74" fmla="*/ 8 w 14"/>
                  <a:gd name="T75" fmla="*/ 10 h 22"/>
                  <a:gd name="T76" fmla="*/ 6 w 14"/>
                  <a:gd name="T77" fmla="*/ 8 h 22"/>
                  <a:gd name="T78" fmla="*/ 6 w 14"/>
                  <a:gd name="T79" fmla="*/ 8 h 22"/>
                  <a:gd name="T80" fmla="*/ 6 w 14"/>
                  <a:gd name="T81" fmla="*/ 4 h 22"/>
                  <a:gd name="T82" fmla="*/ 4 w 14"/>
                  <a:gd name="T83" fmla="*/ 2 h 22"/>
                  <a:gd name="T84" fmla="*/ 2 w 14"/>
                  <a:gd name="T85" fmla="*/ 0 h 22"/>
                  <a:gd name="T86" fmla="*/ 2 w 14"/>
                  <a:gd name="T87" fmla="*/ 0 h 22"/>
                  <a:gd name="T88" fmla="*/ 2 w 14"/>
                  <a:gd name="T89" fmla="*/ 0 h 22"/>
                  <a:gd name="T90" fmla="*/ 2 w 14"/>
                  <a:gd name="T91" fmla="*/ 0 h 22"/>
                  <a:gd name="T92" fmla="*/ 2 w 14"/>
                  <a:gd name="T93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4" h="22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8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2"/>
                    </a:lnTo>
                    <a:lnTo>
                      <a:pt x="4" y="14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8" y="18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0"/>
                    </a:lnTo>
                    <a:lnTo>
                      <a:pt x="14" y="18"/>
                    </a:lnTo>
                    <a:lnTo>
                      <a:pt x="14" y="16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8" y="12"/>
                    </a:lnTo>
                    <a:lnTo>
                      <a:pt x="8" y="10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4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37" name="Freeform 18"/>
              <p:cNvSpPr>
                <a:spLocks/>
              </p:cNvSpPr>
              <p:nvPr/>
            </p:nvSpPr>
            <p:spPr bwMode="auto">
              <a:xfrm>
                <a:off x="1531" y="2384"/>
                <a:ext cx="14" cy="22"/>
              </a:xfrm>
              <a:custGeom>
                <a:avLst/>
                <a:gdLst>
                  <a:gd name="T0" fmla="*/ 2 w 14"/>
                  <a:gd name="T1" fmla="*/ 0 h 22"/>
                  <a:gd name="T2" fmla="*/ 2 w 14"/>
                  <a:gd name="T3" fmla="*/ 0 h 22"/>
                  <a:gd name="T4" fmla="*/ 2 w 14"/>
                  <a:gd name="T5" fmla="*/ 0 h 22"/>
                  <a:gd name="T6" fmla="*/ 0 w 14"/>
                  <a:gd name="T7" fmla="*/ 0 h 22"/>
                  <a:gd name="T8" fmla="*/ 0 w 14"/>
                  <a:gd name="T9" fmla="*/ 0 h 22"/>
                  <a:gd name="T10" fmla="*/ 0 w 14"/>
                  <a:gd name="T11" fmla="*/ 0 h 22"/>
                  <a:gd name="T12" fmla="*/ 0 w 14"/>
                  <a:gd name="T13" fmla="*/ 2 h 22"/>
                  <a:gd name="T14" fmla="*/ 0 w 14"/>
                  <a:gd name="T15" fmla="*/ 2 h 22"/>
                  <a:gd name="T16" fmla="*/ 0 w 14"/>
                  <a:gd name="T17" fmla="*/ 2 h 22"/>
                  <a:gd name="T18" fmla="*/ 0 w 14"/>
                  <a:gd name="T19" fmla="*/ 4 h 22"/>
                  <a:gd name="T20" fmla="*/ 0 w 14"/>
                  <a:gd name="T21" fmla="*/ 4 h 22"/>
                  <a:gd name="T22" fmla="*/ 2 w 14"/>
                  <a:gd name="T23" fmla="*/ 6 h 22"/>
                  <a:gd name="T24" fmla="*/ 2 w 14"/>
                  <a:gd name="T25" fmla="*/ 6 h 22"/>
                  <a:gd name="T26" fmla="*/ 2 w 14"/>
                  <a:gd name="T27" fmla="*/ 6 h 22"/>
                  <a:gd name="T28" fmla="*/ 2 w 14"/>
                  <a:gd name="T29" fmla="*/ 8 h 22"/>
                  <a:gd name="T30" fmla="*/ 2 w 14"/>
                  <a:gd name="T31" fmla="*/ 10 h 22"/>
                  <a:gd name="T32" fmla="*/ 2 w 14"/>
                  <a:gd name="T33" fmla="*/ 12 h 22"/>
                  <a:gd name="T34" fmla="*/ 2 w 14"/>
                  <a:gd name="T35" fmla="*/ 12 h 22"/>
                  <a:gd name="T36" fmla="*/ 4 w 14"/>
                  <a:gd name="T37" fmla="*/ 12 h 22"/>
                  <a:gd name="T38" fmla="*/ 4 w 14"/>
                  <a:gd name="T39" fmla="*/ 14 h 22"/>
                  <a:gd name="T40" fmla="*/ 4 w 14"/>
                  <a:gd name="T41" fmla="*/ 16 h 22"/>
                  <a:gd name="T42" fmla="*/ 4 w 14"/>
                  <a:gd name="T43" fmla="*/ 16 h 22"/>
                  <a:gd name="T44" fmla="*/ 8 w 14"/>
                  <a:gd name="T45" fmla="*/ 18 h 22"/>
                  <a:gd name="T46" fmla="*/ 10 w 14"/>
                  <a:gd name="T47" fmla="*/ 20 h 22"/>
                  <a:gd name="T48" fmla="*/ 10 w 14"/>
                  <a:gd name="T49" fmla="*/ 20 h 22"/>
                  <a:gd name="T50" fmla="*/ 10 w 14"/>
                  <a:gd name="T51" fmla="*/ 20 h 22"/>
                  <a:gd name="T52" fmla="*/ 12 w 14"/>
                  <a:gd name="T53" fmla="*/ 22 h 22"/>
                  <a:gd name="T54" fmla="*/ 12 w 14"/>
                  <a:gd name="T55" fmla="*/ 22 h 22"/>
                  <a:gd name="T56" fmla="*/ 12 w 14"/>
                  <a:gd name="T57" fmla="*/ 22 h 22"/>
                  <a:gd name="T58" fmla="*/ 14 w 14"/>
                  <a:gd name="T59" fmla="*/ 22 h 22"/>
                  <a:gd name="T60" fmla="*/ 14 w 14"/>
                  <a:gd name="T61" fmla="*/ 22 h 22"/>
                  <a:gd name="T62" fmla="*/ 14 w 14"/>
                  <a:gd name="T63" fmla="*/ 20 h 22"/>
                  <a:gd name="T64" fmla="*/ 14 w 14"/>
                  <a:gd name="T65" fmla="*/ 18 h 22"/>
                  <a:gd name="T66" fmla="*/ 14 w 14"/>
                  <a:gd name="T67" fmla="*/ 16 h 22"/>
                  <a:gd name="T68" fmla="*/ 12 w 14"/>
                  <a:gd name="T69" fmla="*/ 14 h 22"/>
                  <a:gd name="T70" fmla="*/ 12 w 14"/>
                  <a:gd name="T71" fmla="*/ 14 h 22"/>
                  <a:gd name="T72" fmla="*/ 8 w 14"/>
                  <a:gd name="T73" fmla="*/ 12 h 22"/>
                  <a:gd name="T74" fmla="*/ 8 w 14"/>
                  <a:gd name="T75" fmla="*/ 10 h 22"/>
                  <a:gd name="T76" fmla="*/ 6 w 14"/>
                  <a:gd name="T77" fmla="*/ 8 h 22"/>
                  <a:gd name="T78" fmla="*/ 6 w 14"/>
                  <a:gd name="T79" fmla="*/ 8 h 22"/>
                  <a:gd name="T80" fmla="*/ 6 w 14"/>
                  <a:gd name="T81" fmla="*/ 4 h 22"/>
                  <a:gd name="T82" fmla="*/ 4 w 14"/>
                  <a:gd name="T83" fmla="*/ 2 h 22"/>
                  <a:gd name="T84" fmla="*/ 2 w 14"/>
                  <a:gd name="T85" fmla="*/ 0 h 22"/>
                  <a:gd name="T86" fmla="*/ 2 w 14"/>
                  <a:gd name="T87" fmla="*/ 0 h 22"/>
                  <a:gd name="T88" fmla="*/ 2 w 14"/>
                  <a:gd name="T89" fmla="*/ 0 h 22"/>
                  <a:gd name="T90" fmla="*/ 2 w 14"/>
                  <a:gd name="T91" fmla="*/ 0 h 22"/>
                  <a:gd name="T92" fmla="*/ 2 w 14"/>
                  <a:gd name="T93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4" h="22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8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2"/>
                    </a:lnTo>
                    <a:lnTo>
                      <a:pt x="4" y="14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8" y="18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0"/>
                    </a:lnTo>
                    <a:lnTo>
                      <a:pt x="14" y="18"/>
                    </a:lnTo>
                    <a:lnTo>
                      <a:pt x="14" y="16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8" y="12"/>
                    </a:lnTo>
                    <a:lnTo>
                      <a:pt x="8" y="10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4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38" name="Freeform 20"/>
              <p:cNvSpPr>
                <a:spLocks/>
              </p:cNvSpPr>
              <p:nvPr/>
            </p:nvSpPr>
            <p:spPr bwMode="auto">
              <a:xfrm>
                <a:off x="1529" y="2408"/>
                <a:ext cx="6" cy="6"/>
              </a:xfrm>
              <a:custGeom>
                <a:avLst/>
                <a:gdLst>
                  <a:gd name="T0" fmla="*/ 2 w 6"/>
                  <a:gd name="T1" fmla="*/ 0 h 6"/>
                  <a:gd name="T2" fmla="*/ 2 w 6"/>
                  <a:gd name="T3" fmla="*/ 0 h 6"/>
                  <a:gd name="T4" fmla="*/ 0 w 6"/>
                  <a:gd name="T5" fmla="*/ 0 h 6"/>
                  <a:gd name="T6" fmla="*/ 0 w 6"/>
                  <a:gd name="T7" fmla="*/ 0 h 6"/>
                  <a:gd name="T8" fmla="*/ 0 w 6"/>
                  <a:gd name="T9" fmla="*/ 2 h 6"/>
                  <a:gd name="T10" fmla="*/ 0 w 6"/>
                  <a:gd name="T11" fmla="*/ 2 h 6"/>
                  <a:gd name="T12" fmla="*/ 0 w 6"/>
                  <a:gd name="T13" fmla="*/ 4 h 6"/>
                  <a:gd name="T14" fmla="*/ 0 w 6"/>
                  <a:gd name="T15" fmla="*/ 4 h 6"/>
                  <a:gd name="T16" fmla="*/ 2 w 6"/>
                  <a:gd name="T17" fmla="*/ 4 h 6"/>
                  <a:gd name="T18" fmla="*/ 2 w 6"/>
                  <a:gd name="T19" fmla="*/ 6 h 6"/>
                  <a:gd name="T20" fmla="*/ 4 w 6"/>
                  <a:gd name="T21" fmla="*/ 6 h 6"/>
                  <a:gd name="T22" fmla="*/ 4 w 6"/>
                  <a:gd name="T23" fmla="*/ 4 h 6"/>
                  <a:gd name="T24" fmla="*/ 6 w 6"/>
                  <a:gd name="T25" fmla="*/ 4 h 6"/>
                  <a:gd name="T26" fmla="*/ 6 w 6"/>
                  <a:gd name="T27" fmla="*/ 4 h 6"/>
                  <a:gd name="T28" fmla="*/ 6 w 6"/>
                  <a:gd name="T29" fmla="*/ 4 h 6"/>
                  <a:gd name="T30" fmla="*/ 4 w 6"/>
                  <a:gd name="T31" fmla="*/ 2 h 6"/>
                  <a:gd name="T32" fmla="*/ 4 w 6"/>
                  <a:gd name="T33" fmla="*/ 2 h 6"/>
                  <a:gd name="T34" fmla="*/ 2 w 6"/>
                  <a:gd name="T35" fmla="*/ 0 h 6"/>
                  <a:gd name="T36" fmla="*/ 2 w 6"/>
                  <a:gd name="T37" fmla="*/ 0 h 6"/>
                  <a:gd name="T38" fmla="*/ 2 w 6"/>
                  <a:gd name="T39" fmla="*/ 0 h 6"/>
                  <a:gd name="T40" fmla="*/ 2 w 6"/>
                  <a:gd name="T41" fmla="*/ 0 h 6"/>
                  <a:gd name="T42" fmla="*/ 2 w 6"/>
                  <a:gd name="T43" fmla="*/ 0 h 6"/>
                  <a:gd name="T44" fmla="*/ 2 w 6"/>
                  <a:gd name="T4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" h="6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39" name="Freeform 21"/>
              <p:cNvSpPr>
                <a:spLocks/>
              </p:cNvSpPr>
              <p:nvPr/>
            </p:nvSpPr>
            <p:spPr bwMode="auto">
              <a:xfrm>
                <a:off x="1541" y="2418"/>
                <a:ext cx="8" cy="10"/>
              </a:xfrm>
              <a:custGeom>
                <a:avLst/>
                <a:gdLst>
                  <a:gd name="T0" fmla="*/ 0 w 8"/>
                  <a:gd name="T1" fmla="*/ 0 h 10"/>
                  <a:gd name="T2" fmla="*/ 0 w 8"/>
                  <a:gd name="T3" fmla="*/ 0 h 10"/>
                  <a:gd name="T4" fmla="*/ 0 w 8"/>
                  <a:gd name="T5" fmla="*/ 0 h 10"/>
                  <a:gd name="T6" fmla="*/ 0 w 8"/>
                  <a:gd name="T7" fmla="*/ 2 h 10"/>
                  <a:gd name="T8" fmla="*/ 2 w 8"/>
                  <a:gd name="T9" fmla="*/ 4 h 10"/>
                  <a:gd name="T10" fmla="*/ 2 w 8"/>
                  <a:gd name="T11" fmla="*/ 4 h 10"/>
                  <a:gd name="T12" fmla="*/ 4 w 8"/>
                  <a:gd name="T13" fmla="*/ 6 h 10"/>
                  <a:gd name="T14" fmla="*/ 4 w 8"/>
                  <a:gd name="T15" fmla="*/ 6 h 10"/>
                  <a:gd name="T16" fmla="*/ 4 w 8"/>
                  <a:gd name="T17" fmla="*/ 8 h 10"/>
                  <a:gd name="T18" fmla="*/ 6 w 8"/>
                  <a:gd name="T19" fmla="*/ 10 h 10"/>
                  <a:gd name="T20" fmla="*/ 6 w 8"/>
                  <a:gd name="T21" fmla="*/ 10 h 10"/>
                  <a:gd name="T22" fmla="*/ 6 w 8"/>
                  <a:gd name="T23" fmla="*/ 10 h 10"/>
                  <a:gd name="T24" fmla="*/ 8 w 8"/>
                  <a:gd name="T25" fmla="*/ 10 h 10"/>
                  <a:gd name="T26" fmla="*/ 8 w 8"/>
                  <a:gd name="T27" fmla="*/ 8 h 10"/>
                  <a:gd name="T28" fmla="*/ 8 w 8"/>
                  <a:gd name="T29" fmla="*/ 8 h 10"/>
                  <a:gd name="T30" fmla="*/ 8 w 8"/>
                  <a:gd name="T31" fmla="*/ 8 h 10"/>
                  <a:gd name="T32" fmla="*/ 8 w 8"/>
                  <a:gd name="T33" fmla="*/ 6 h 10"/>
                  <a:gd name="T34" fmla="*/ 8 w 8"/>
                  <a:gd name="T35" fmla="*/ 4 h 10"/>
                  <a:gd name="T36" fmla="*/ 6 w 8"/>
                  <a:gd name="T37" fmla="*/ 2 h 10"/>
                  <a:gd name="T38" fmla="*/ 6 w 8"/>
                  <a:gd name="T39" fmla="*/ 2 h 10"/>
                  <a:gd name="T40" fmla="*/ 6 w 8"/>
                  <a:gd name="T41" fmla="*/ 2 h 10"/>
                  <a:gd name="T42" fmla="*/ 4 w 8"/>
                  <a:gd name="T43" fmla="*/ 0 h 10"/>
                  <a:gd name="T44" fmla="*/ 2 w 8"/>
                  <a:gd name="T45" fmla="*/ 0 h 10"/>
                  <a:gd name="T46" fmla="*/ 2 w 8"/>
                  <a:gd name="T47" fmla="*/ 0 h 10"/>
                  <a:gd name="T48" fmla="*/ 0 w 8"/>
                  <a:gd name="T49" fmla="*/ 0 h 10"/>
                  <a:gd name="T50" fmla="*/ 0 w 8"/>
                  <a:gd name="T51" fmla="*/ 0 h 10"/>
                  <a:gd name="T52" fmla="*/ 0 w 8"/>
                  <a:gd name="T53" fmla="*/ 0 h 10"/>
                  <a:gd name="T54" fmla="*/ 0 w 8"/>
                  <a:gd name="T55" fmla="*/ 0 h 10"/>
                  <a:gd name="T56" fmla="*/ 0 w 8"/>
                  <a:gd name="T57" fmla="*/ 0 h 10"/>
                  <a:gd name="T58" fmla="*/ 0 w 8"/>
                  <a:gd name="T59" fmla="*/ 0 h 10"/>
                  <a:gd name="T60" fmla="*/ 0 w 8"/>
                  <a:gd name="T61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8" h="1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8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8" y="10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40" name="Freeform 23"/>
              <p:cNvSpPr>
                <a:spLocks/>
              </p:cNvSpPr>
              <p:nvPr/>
            </p:nvSpPr>
            <p:spPr bwMode="auto">
              <a:xfrm>
                <a:off x="1559" y="2436"/>
                <a:ext cx="4" cy="8"/>
              </a:xfrm>
              <a:custGeom>
                <a:avLst/>
                <a:gdLst>
                  <a:gd name="T0" fmla="*/ 0 w 4"/>
                  <a:gd name="T1" fmla="*/ 2 h 8"/>
                  <a:gd name="T2" fmla="*/ 0 w 4"/>
                  <a:gd name="T3" fmla="*/ 2 h 8"/>
                  <a:gd name="T4" fmla="*/ 0 w 4"/>
                  <a:gd name="T5" fmla="*/ 4 h 8"/>
                  <a:gd name="T6" fmla="*/ 0 w 4"/>
                  <a:gd name="T7" fmla="*/ 4 h 8"/>
                  <a:gd name="T8" fmla="*/ 0 w 4"/>
                  <a:gd name="T9" fmla="*/ 6 h 8"/>
                  <a:gd name="T10" fmla="*/ 0 w 4"/>
                  <a:gd name="T11" fmla="*/ 6 h 8"/>
                  <a:gd name="T12" fmla="*/ 0 w 4"/>
                  <a:gd name="T13" fmla="*/ 6 h 8"/>
                  <a:gd name="T14" fmla="*/ 0 w 4"/>
                  <a:gd name="T15" fmla="*/ 6 h 8"/>
                  <a:gd name="T16" fmla="*/ 2 w 4"/>
                  <a:gd name="T17" fmla="*/ 8 h 8"/>
                  <a:gd name="T18" fmla="*/ 2 w 4"/>
                  <a:gd name="T19" fmla="*/ 8 h 8"/>
                  <a:gd name="T20" fmla="*/ 2 w 4"/>
                  <a:gd name="T21" fmla="*/ 8 h 8"/>
                  <a:gd name="T22" fmla="*/ 2 w 4"/>
                  <a:gd name="T23" fmla="*/ 8 h 8"/>
                  <a:gd name="T24" fmla="*/ 4 w 4"/>
                  <a:gd name="T25" fmla="*/ 6 h 8"/>
                  <a:gd name="T26" fmla="*/ 4 w 4"/>
                  <a:gd name="T27" fmla="*/ 6 h 8"/>
                  <a:gd name="T28" fmla="*/ 4 w 4"/>
                  <a:gd name="T29" fmla="*/ 4 h 8"/>
                  <a:gd name="T30" fmla="*/ 4 w 4"/>
                  <a:gd name="T31" fmla="*/ 4 h 8"/>
                  <a:gd name="T32" fmla="*/ 4 w 4"/>
                  <a:gd name="T33" fmla="*/ 2 h 8"/>
                  <a:gd name="T34" fmla="*/ 4 w 4"/>
                  <a:gd name="T35" fmla="*/ 2 h 8"/>
                  <a:gd name="T36" fmla="*/ 4 w 4"/>
                  <a:gd name="T37" fmla="*/ 0 h 8"/>
                  <a:gd name="T38" fmla="*/ 4 w 4"/>
                  <a:gd name="T39" fmla="*/ 0 h 8"/>
                  <a:gd name="T40" fmla="*/ 2 w 4"/>
                  <a:gd name="T41" fmla="*/ 0 h 8"/>
                  <a:gd name="T42" fmla="*/ 2 w 4"/>
                  <a:gd name="T43" fmla="*/ 0 h 8"/>
                  <a:gd name="T44" fmla="*/ 0 w 4"/>
                  <a:gd name="T45" fmla="*/ 0 h 8"/>
                  <a:gd name="T46" fmla="*/ 0 w 4"/>
                  <a:gd name="T47" fmla="*/ 2 h 8"/>
                  <a:gd name="T48" fmla="*/ 0 w 4"/>
                  <a:gd name="T49" fmla="*/ 2 h 8"/>
                  <a:gd name="T50" fmla="*/ 0 w 4"/>
                  <a:gd name="T51" fmla="*/ 2 h 8"/>
                  <a:gd name="T52" fmla="*/ 0 w 4"/>
                  <a:gd name="T53" fmla="*/ 2 h 8"/>
                  <a:gd name="T54" fmla="*/ 0 w 4"/>
                  <a:gd name="T55" fmla="*/ 2 h 8"/>
                  <a:gd name="T56" fmla="*/ 0 w 4"/>
                  <a:gd name="T57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" h="8">
                    <a:moveTo>
                      <a:pt x="0" y="2"/>
                    </a:move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41" name="Freeform 26"/>
              <p:cNvSpPr>
                <a:spLocks/>
              </p:cNvSpPr>
              <p:nvPr/>
            </p:nvSpPr>
            <p:spPr bwMode="auto">
              <a:xfrm>
                <a:off x="1561" y="2464"/>
                <a:ext cx="14" cy="6"/>
              </a:xfrm>
              <a:custGeom>
                <a:avLst/>
                <a:gdLst>
                  <a:gd name="T0" fmla="*/ 4 w 14"/>
                  <a:gd name="T1" fmla="*/ 0 h 6"/>
                  <a:gd name="T2" fmla="*/ 4 w 14"/>
                  <a:gd name="T3" fmla="*/ 0 h 6"/>
                  <a:gd name="T4" fmla="*/ 4 w 14"/>
                  <a:gd name="T5" fmla="*/ 0 h 6"/>
                  <a:gd name="T6" fmla="*/ 2 w 14"/>
                  <a:gd name="T7" fmla="*/ 0 h 6"/>
                  <a:gd name="T8" fmla="*/ 2 w 14"/>
                  <a:gd name="T9" fmla="*/ 0 h 6"/>
                  <a:gd name="T10" fmla="*/ 2 w 14"/>
                  <a:gd name="T11" fmla="*/ 0 h 6"/>
                  <a:gd name="T12" fmla="*/ 0 w 14"/>
                  <a:gd name="T13" fmla="*/ 2 h 6"/>
                  <a:gd name="T14" fmla="*/ 0 w 14"/>
                  <a:gd name="T15" fmla="*/ 2 h 6"/>
                  <a:gd name="T16" fmla="*/ 0 w 14"/>
                  <a:gd name="T17" fmla="*/ 2 h 6"/>
                  <a:gd name="T18" fmla="*/ 0 w 14"/>
                  <a:gd name="T19" fmla="*/ 2 h 6"/>
                  <a:gd name="T20" fmla="*/ 0 w 14"/>
                  <a:gd name="T21" fmla="*/ 2 h 6"/>
                  <a:gd name="T22" fmla="*/ 0 w 14"/>
                  <a:gd name="T23" fmla="*/ 2 h 6"/>
                  <a:gd name="T24" fmla="*/ 0 w 14"/>
                  <a:gd name="T25" fmla="*/ 4 h 6"/>
                  <a:gd name="T26" fmla="*/ 2 w 14"/>
                  <a:gd name="T27" fmla="*/ 4 h 6"/>
                  <a:gd name="T28" fmla="*/ 2 w 14"/>
                  <a:gd name="T29" fmla="*/ 4 h 6"/>
                  <a:gd name="T30" fmla="*/ 2 w 14"/>
                  <a:gd name="T31" fmla="*/ 4 h 6"/>
                  <a:gd name="T32" fmla="*/ 4 w 14"/>
                  <a:gd name="T33" fmla="*/ 6 h 6"/>
                  <a:gd name="T34" fmla="*/ 4 w 14"/>
                  <a:gd name="T35" fmla="*/ 6 h 6"/>
                  <a:gd name="T36" fmla="*/ 4 w 14"/>
                  <a:gd name="T37" fmla="*/ 6 h 6"/>
                  <a:gd name="T38" fmla="*/ 6 w 14"/>
                  <a:gd name="T39" fmla="*/ 6 h 6"/>
                  <a:gd name="T40" fmla="*/ 8 w 14"/>
                  <a:gd name="T41" fmla="*/ 6 h 6"/>
                  <a:gd name="T42" fmla="*/ 8 w 14"/>
                  <a:gd name="T43" fmla="*/ 6 h 6"/>
                  <a:gd name="T44" fmla="*/ 10 w 14"/>
                  <a:gd name="T45" fmla="*/ 4 h 6"/>
                  <a:gd name="T46" fmla="*/ 10 w 14"/>
                  <a:gd name="T47" fmla="*/ 4 h 6"/>
                  <a:gd name="T48" fmla="*/ 10 w 14"/>
                  <a:gd name="T49" fmla="*/ 4 h 6"/>
                  <a:gd name="T50" fmla="*/ 12 w 14"/>
                  <a:gd name="T51" fmla="*/ 4 h 6"/>
                  <a:gd name="T52" fmla="*/ 14 w 14"/>
                  <a:gd name="T53" fmla="*/ 2 h 6"/>
                  <a:gd name="T54" fmla="*/ 14 w 14"/>
                  <a:gd name="T55" fmla="*/ 2 h 6"/>
                  <a:gd name="T56" fmla="*/ 14 w 14"/>
                  <a:gd name="T57" fmla="*/ 2 h 6"/>
                  <a:gd name="T58" fmla="*/ 14 w 14"/>
                  <a:gd name="T59" fmla="*/ 0 h 6"/>
                  <a:gd name="T60" fmla="*/ 14 w 14"/>
                  <a:gd name="T61" fmla="*/ 0 h 6"/>
                  <a:gd name="T62" fmla="*/ 14 w 14"/>
                  <a:gd name="T63" fmla="*/ 0 h 6"/>
                  <a:gd name="T64" fmla="*/ 14 w 14"/>
                  <a:gd name="T65" fmla="*/ 0 h 6"/>
                  <a:gd name="T66" fmla="*/ 12 w 14"/>
                  <a:gd name="T67" fmla="*/ 0 h 6"/>
                  <a:gd name="T68" fmla="*/ 12 w 14"/>
                  <a:gd name="T69" fmla="*/ 0 h 6"/>
                  <a:gd name="T70" fmla="*/ 8 w 14"/>
                  <a:gd name="T71" fmla="*/ 0 h 6"/>
                  <a:gd name="T72" fmla="*/ 4 w 14"/>
                  <a:gd name="T73" fmla="*/ 0 h 6"/>
                  <a:gd name="T74" fmla="*/ 4 w 14"/>
                  <a:gd name="T75" fmla="*/ 0 h 6"/>
                  <a:gd name="T76" fmla="*/ 4 w 14"/>
                  <a:gd name="T77" fmla="*/ 0 h 6"/>
                  <a:gd name="T78" fmla="*/ 4 w 14"/>
                  <a:gd name="T79" fmla="*/ 0 h 6"/>
                  <a:gd name="T80" fmla="*/ 4 w 14"/>
                  <a:gd name="T8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4" h="6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2" y="4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42" name="Freeform 27"/>
              <p:cNvSpPr>
                <a:spLocks/>
              </p:cNvSpPr>
              <p:nvPr/>
            </p:nvSpPr>
            <p:spPr bwMode="auto">
              <a:xfrm>
                <a:off x="1579" y="2442"/>
                <a:ext cx="6" cy="6"/>
              </a:xfrm>
              <a:custGeom>
                <a:avLst/>
                <a:gdLst>
                  <a:gd name="T0" fmla="*/ 2 w 6"/>
                  <a:gd name="T1" fmla="*/ 0 h 6"/>
                  <a:gd name="T2" fmla="*/ 2 w 6"/>
                  <a:gd name="T3" fmla="*/ 0 h 6"/>
                  <a:gd name="T4" fmla="*/ 0 w 6"/>
                  <a:gd name="T5" fmla="*/ 0 h 6"/>
                  <a:gd name="T6" fmla="*/ 0 w 6"/>
                  <a:gd name="T7" fmla="*/ 0 h 6"/>
                  <a:gd name="T8" fmla="*/ 0 w 6"/>
                  <a:gd name="T9" fmla="*/ 0 h 6"/>
                  <a:gd name="T10" fmla="*/ 0 w 6"/>
                  <a:gd name="T11" fmla="*/ 2 h 6"/>
                  <a:gd name="T12" fmla="*/ 0 w 6"/>
                  <a:gd name="T13" fmla="*/ 2 h 6"/>
                  <a:gd name="T14" fmla="*/ 0 w 6"/>
                  <a:gd name="T15" fmla="*/ 2 h 6"/>
                  <a:gd name="T16" fmla="*/ 2 w 6"/>
                  <a:gd name="T17" fmla="*/ 4 h 6"/>
                  <a:gd name="T18" fmla="*/ 2 w 6"/>
                  <a:gd name="T19" fmla="*/ 4 h 6"/>
                  <a:gd name="T20" fmla="*/ 2 w 6"/>
                  <a:gd name="T21" fmla="*/ 6 h 6"/>
                  <a:gd name="T22" fmla="*/ 2 w 6"/>
                  <a:gd name="T23" fmla="*/ 6 h 6"/>
                  <a:gd name="T24" fmla="*/ 2 w 6"/>
                  <a:gd name="T25" fmla="*/ 6 h 6"/>
                  <a:gd name="T26" fmla="*/ 2 w 6"/>
                  <a:gd name="T27" fmla="*/ 6 h 6"/>
                  <a:gd name="T28" fmla="*/ 4 w 6"/>
                  <a:gd name="T29" fmla="*/ 6 h 6"/>
                  <a:gd name="T30" fmla="*/ 4 w 6"/>
                  <a:gd name="T31" fmla="*/ 6 h 6"/>
                  <a:gd name="T32" fmla="*/ 6 w 6"/>
                  <a:gd name="T33" fmla="*/ 4 h 6"/>
                  <a:gd name="T34" fmla="*/ 6 w 6"/>
                  <a:gd name="T35" fmla="*/ 4 h 6"/>
                  <a:gd name="T36" fmla="*/ 6 w 6"/>
                  <a:gd name="T37" fmla="*/ 2 h 6"/>
                  <a:gd name="T38" fmla="*/ 6 w 6"/>
                  <a:gd name="T39" fmla="*/ 2 h 6"/>
                  <a:gd name="T40" fmla="*/ 6 w 6"/>
                  <a:gd name="T41" fmla="*/ 2 h 6"/>
                  <a:gd name="T42" fmla="*/ 6 w 6"/>
                  <a:gd name="T43" fmla="*/ 2 h 6"/>
                  <a:gd name="T44" fmla="*/ 4 w 6"/>
                  <a:gd name="T45" fmla="*/ 0 h 6"/>
                  <a:gd name="T46" fmla="*/ 4 w 6"/>
                  <a:gd name="T47" fmla="*/ 0 h 6"/>
                  <a:gd name="T48" fmla="*/ 2 w 6"/>
                  <a:gd name="T49" fmla="*/ 0 h 6"/>
                  <a:gd name="T50" fmla="*/ 2 w 6"/>
                  <a:gd name="T51" fmla="*/ 0 h 6"/>
                  <a:gd name="T52" fmla="*/ 2 w 6"/>
                  <a:gd name="T53" fmla="*/ 0 h 6"/>
                  <a:gd name="T54" fmla="*/ 2 w 6"/>
                  <a:gd name="T55" fmla="*/ 0 h 6"/>
                  <a:gd name="T56" fmla="*/ 2 w 6"/>
                  <a:gd name="T5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" h="6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43" name="Freeform 29"/>
              <p:cNvSpPr>
                <a:spLocks/>
              </p:cNvSpPr>
              <p:nvPr/>
            </p:nvSpPr>
            <p:spPr bwMode="auto">
              <a:xfrm>
                <a:off x="1395" y="2422"/>
                <a:ext cx="158" cy="64"/>
              </a:xfrm>
              <a:custGeom>
                <a:avLst/>
                <a:gdLst>
                  <a:gd name="T0" fmla="*/ 78 w 158"/>
                  <a:gd name="T1" fmla="*/ 10 h 64"/>
                  <a:gd name="T2" fmla="*/ 70 w 158"/>
                  <a:gd name="T3" fmla="*/ 4 h 64"/>
                  <a:gd name="T4" fmla="*/ 60 w 158"/>
                  <a:gd name="T5" fmla="*/ 4 h 64"/>
                  <a:gd name="T6" fmla="*/ 52 w 158"/>
                  <a:gd name="T7" fmla="*/ 2 h 64"/>
                  <a:gd name="T8" fmla="*/ 44 w 158"/>
                  <a:gd name="T9" fmla="*/ 0 h 64"/>
                  <a:gd name="T10" fmla="*/ 36 w 158"/>
                  <a:gd name="T11" fmla="*/ 0 h 64"/>
                  <a:gd name="T12" fmla="*/ 26 w 158"/>
                  <a:gd name="T13" fmla="*/ 4 h 64"/>
                  <a:gd name="T14" fmla="*/ 0 w 158"/>
                  <a:gd name="T15" fmla="*/ 18 h 64"/>
                  <a:gd name="T16" fmla="*/ 4 w 158"/>
                  <a:gd name="T17" fmla="*/ 20 h 64"/>
                  <a:gd name="T18" fmla="*/ 14 w 158"/>
                  <a:gd name="T19" fmla="*/ 20 h 64"/>
                  <a:gd name="T20" fmla="*/ 16 w 158"/>
                  <a:gd name="T21" fmla="*/ 18 h 64"/>
                  <a:gd name="T22" fmla="*/ 18 w 158"/>
                  <a:gd name="T23" fmla="*/ 16 h 64"/>
                  <a:gd name="T24" fmla="*/ 24 w 158"/>
                  <a:gd name="T25" fmla="*/ 14 h 64"/>
                  <a:gd name="T26" fmla="*/ 32 w 158"/>
                  <a:gd name="T27" fmla="*/ 14 h 64"/>
                  <a:gd name="T28" fmla="*/ 38 w 158"/>
                  <a:gd name="T29" fmla="*/ 14 h 64"/>
                  <a:gd name="T30" fmla="*/ 46 w 158"/>
                  <a:gd name="T31" fmla="*/ 12 h 64"/>
                  <a:gd name="T32" fmla="*/ 48 w 158"/>
                  <a:gd name="T33" fmla="*/ 14 h 64"/>
                  <a:gd name="T34" fmla="*/ 44 w 158"/>
                  <a:gd name="T35" fmla="*/ 16 h 64"/>
                  <a:gd name="T36" fmla="*/ 42 w 158"/>
                  <a:gd name="T37" fmla="*/ 18 h 64"/>
                  <a:gd name="T38" fmla="*/ 46 w 158"/>
                  <a:gd name="T39" fmla="*/ 20 h 64"/>
                  <a:gd name="T40" fmla="*/ 50 w 158"/>
                  <a:gd name="T41" fmla="*/ 22 h 64"/>
                  <a:gd name="T42" fmla="*/ 54 w 158"/>
                  <a:gd name="T43" fmla="*/ 24 h 64"/>
                  <a:gd name="T44" fmla="*/ 58 w 158"/>
                  <a:gd name="T45" fmla="*/ 22 h 64"/>
                  <a:gd name="T46" fmla="*/ 64 w 158"/>
                  <a:gd name="T47" fmla="*/ 22 h 64"/>
                  <a:gd name="T48" fmla="*/ 66 w 158"/>
                  <a:gd name="T49" fmla="*/ 28 h 64"/>
                  <a:gd name="T50" fmla="*/ 72 w 158"/>
                  <a:gd name="T51" fmla="*/ 30 h 64"/>
                  <a:gd name="T52" fmla="*/ 84 w 158"/>
                  <a:gd name="T53" fmla="*/ 32 h 64"/>
                  <a:gd name="T54" fmla="*/ 88 w 158"/>
                  <a:gd name="T55" fmla="*/ 34 h 64"/>
                  <a:gd name="T56" fmla="*/ 90 w 158"/>
                  <a:gd name="T57" fmla="*/ 38 h 64"/>
                  <a:gd name="T58" fmla="*/ 96 w 158"/>
                  <a:gd name="T59" fmla="*/ 42 h 64"/>
                  <a:gd name="T60" fmla="*/ 102 w 158"/>
                  <a:gd name="T61" fmla="*/ 46 h 64"/>
                  <a:gd name="T62" fmla="*/ 108 w 158"/>
                  <a:gd name="T63" fmla="*/ 50 h 64"/>
                  <a:gd name="T64" fmla="*/ 110 w 158"/>
                  <a:gd name="T65" fmla="*/ 54 h 64"/>
                  <a:gd name="T66" fmla="*/ 106 w 158"/>
                  <a:gd name="T67" fmla="*/ 56 h 64"/>
                  <a:gd name="T68" fmla="*/ 102 w 158"/>
                  <a:gd name="T69" fmla="*/ 60 h 64"/>
                  <a:gd name="T70" fmla="*/ 108 w 158"/>
                  <a:gd name="T71" fmla="*/ 62 h 64"/>
                  <a:gd name="T72" fmla="*/ 120 w 158"/>
                  <a:gd name="T73" fmla="*/ 62 h 64"/>
                  <a:gd name="T74" fmla="*/ 128 w 158"/>
                  <a:gd name="T75" fmla="*/ 64 h 64"/>
                  <a:gd name="T76" fmla="*/ 136 w 158"/>
                  <a:gd name="T77" fmla="*/ 64 h 64"/>
                  <a:gd name="T78" fmla="*/ 146 w 158"/>
                  <a:gd name="T79" fmla="*/ 62 h 64"/>
                  <a:gd name="T80" fmla="*/ 156 w 158"/>
                  <a:gd name="T81" fmla="*/ 62 h 64"/>
                  <a:gd name="T82" fmla="*/ 158 w 158"/>
                  <a:gd name="T83" fmla="*/ 58 h 64"/>
                  <a:gd name="T84" fmla="*/ 154 w 158"/>
                  <a:gd name="T85" fmla="*/ 54 h 64"/>
                  <a:gd name="T86" fmla="*/ 148 w 158"/>
                  <a:gd name="T87" fmla="*/ 52 h 64"/>
                  <a:gd name="T88" fmla="*/ 144 w 158"/>
                  <a:gd name="T89" fmla="*/ 46 h 64"/>
                  <a:gd name="T90" fmla="*/ 138 w 158"/>
                  <a:gd name="T91" fmla="*/ 46 h 64"/>
                  <a:gd name="T92" fmla="*/ 134 w 158"/>
                  <a:gd name="T93" fmla="*/ 42 h 64"/>
                  <a:gd name="T94" fmla="*/ 128 w 158"/>
                  <a:gd name="T95" fmla="*/ 40 h 64"/>
                  <a:gd name="T96" fmla="*/ 118 w 158"/>
                  <a:gd name="T97" fmla="*/ 36 h 64"/>
                  <a:gd name="T98" fmla="*/ 114 w 158"/>
                  <a:gd name="T99" fmla="*/ 30 h 64"/>
                  <a:gd name="T100" fmla="*/ 110 w 158"/>
                  <a:gd name="T101" fmla="*/ 24 h 64"/>
                  <a:gd name="T102" fmla="*/ 100 w 158"/>
                  <a:gd name="T103" fmla="*/ 18 h 64"/>
                  <a:gd name="T104" fmla="*/ 96 w 158"/>
                  <a:gd name="T105" fmla="*/ 14 h 64"/>
                  <a:gd name="T106" fmla="*/ 96 w 158"/>
                  <a:gd name="T107" fmla="*/ 18 h 64"/>
                  <a:gd name="T108" fmla="*/ 92 w 158"/>
                  <a:gd name="T109" fmla="*/ 20 h 64"/>
                  <a:gd name="T110" fmla="*/ 82 w 158"/>
                  <a:gd name="T111" fmla="*/ 1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58" h="64">
                    <a:moveTo>
                      <a:pt x="82" y="14"/>
                    </a:moveTo>
                    <a:lnTo>
                      <a:pt x="82" y="14"/>
                    </a:lnTo>
                    <a:lnTo>
                      <a:pt x="80" y="12"/>
                    </a:lnTo>
                    <a:lnTo>
                      <a:pt x="78" y="10"/>
                    </a:lnTo>
                    <a:lnTo>
                      <a:pt x="74" y="8"/>
                    </a:lnTo>
                    <a:lnTo>
                      <a:pt x="72" y="6"/>
                    </a:lnTo>
                    <a:lnTo>
                      <a:pt x="72" y="6"/>
                    </a:lnTo>
                    <a:lnTo>
                      <a:pt x="70" y="4"/>
                    </a:lnTo>
                    <a:lnTo>
                      <a:pt x="68" y="4"/>
                    </a:lnTo>
                    <a:lnTo>
                      <a:pt x="64" y="4"/>
                    </a:lnTo>
                    <a:lnTo>
                      <a:pt x="62" y="4"/>
                    </a:lnTo>
                    <a:lnTo>
                      <a:pt x="60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4" y="2"/>
                    </a:lnTo>
                    <a:lnTo>
                      <a:pt x="52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46" y="0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6" y="0"/>
                    </a:lnTo>
                    <a:lnTo>
                      <a:pt x="34" y="0"/>
                    </a:lnTo>
                    <a:lnTo>
                      <a:pt x="30" y="2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0" y="8"/>
                    </a:lnTo>
                    <a:lnTo>
                      <a:pt x="14" y="12"/>
                    </a:lnTo>
                    <a:lnTo>
                      <a:pt x="6" y="14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18"/>
                    </a:lnTo>
                    <a:lnTo>
                      <a:pt x="2" y="20"/>
                    </a:lnTo>
                    <a:lnTo>
                      <a:pt x="4" y="20"/>
                    </a:lnTo>
                    <a:lnTo>
                      <a:pt x="6" y="20"/>
                    </a:lnTo>
                    <a:lnTo>
                      <a:pt x="12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18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20" y="14"/>
                    </a:lnTo>
                    <a:lnTo>
                      <a:pt x="22" y="14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8" y="14"/>
                    </a:lnTo>
                    <a:lnTo>
                      <a:pt x="30" y="14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4" y="14"/>
                    </a:lnTo>
                    <a:lnTo>
                      <a:pt x="36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40" y="14"/>
                    </a:lnTo>
                    <a:lnTo>
                      <a:pt x="42" y="12"/>
                    </a:lnTo>
                    <a:lnTo>
                      <a:pt x="44" y="12"/>
                    </a:lnTo>
                    <a:lnTo>
                      <a:pt x="46" y="12"/>
                    </a:lnTo>
                    <a:lnTo>
                      <a:pt x="48" y="12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6" y="16"/>
                    </a:lnTo>
                    <a:lnTo>
                      <a:pt x="44" y="16"/>
                    </a:lnTo>
                    <a:lnTo>
                      <a:pt x="42" y="16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6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50" y="22"/>
                    </a:lnTo>
                    <a:lnTo>
                      <a:pt x="52" y="22"/>
                    </a:lnTo>
                    <a:lnTo>
                      <a:pt x="52" y="24"/>
                    </a:lnTo>
                    <a:lnTo>
                      <a:pt x="54" y="24"/>
                    </a:lnTo>
                    <a:lnTo>
                      <a:pt x="54" y="24"/>
                    </a:lnTo>
                    <a:lnTo>
                      <a:pt x="54" y="24"/>
                    </a:lnTo>
                    <a:lnTo>
                      <a:pt x="56" y="24"/>
                    </a:lnTo>
                    <a:lnTo>
                      <a:pt x="58" y="24"/>
                    </a:lnTo>
                    <a:lnTo>
                      <a:pt x="58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2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24"/>
                    </a:lnTo>
                    <a:lnTo>
                      <a:pt x="66" y="28"/>
                    </a:lnTo>
                    <a:lnTo>
                      <a:pt x="66" y="28"/>
                    </a:lnTo>
                    <a:lnTo>
                      <a:pt x="66" y="28"/>
                    </a:lnTo>
                    <a:lnTo>
                      <a:pt x="68" y="30"/>
                    </a:lnTo>
                    <a:lnTo>
                      <a:pt x="72" y="30"/>
                    </a:lnTo>
                    <a:lnTo>
                      <a:pt x="76" y="32"/>
                    </a:lnTo>
                    <a:lnTo>
                      <a:pt x="78" y="32"/>
                    </a:lnTo>
                    <a:lnTo>
                      <a:pt x="78" y="32"/>
                    </a:lnTo>
                    <a:lnTo>
                      <a:pt x="84" y="32"/>
                    </a:lnTo>
                    <a:lnTo>
                      <a:pt x="86" y="32"/>
                    </a:lnTo>
                    <a:lnTo>
                      <a:pt x="88" y="32"/>
                    </a:lnTo>
                    <a:lnTo>
                      <a:pt x="88" y="34"/>
                    </a:lnTo>
                    <a:lnTo>
                      <a:pt x="88" y="34"/>
                    </a:lnTo>
                    <a:lnTo>
                      <a:pt x="88" y="34"/>
                    </a:lnTo>
                    <a:lnTo>
                      <a:pt x="90" y="36"/>
                    </a:lnTo>
                    <a:lnTo>
                      <a:pt x="90" y="38"/>
                    </a:lnTo>
                    <a:lnTo>
                      <a:pt x="90" y="38"/>
                    </a:lnTo>
                    <a:lnTo>
                      <a:pt x="92" y="40"/>
                    </a:lnTo>
                    <a:lnTo>
                      <a:pt x="94" y="42"/>
                    </a:lnTo>
                    <a:lnTo>
                      <a:pt x="94" y="42"/>
                    </a:lnTo>
                    <a:lnTo>
                      <a:pt x="96" y="42"/>
                    </a:lnTo>
                    <a:lnTo>
                      <a:pt x="98" y="44"/>
                    </a:lnTo>
                    <a:lnTo>
                      <a:pt x="102" y="44"/>
                    </a:lnTo>
                    <a:lnTo>
                      <a:pt x="102" y="44"/>
                    </a:lnTo>
                    <a:lnTo>
                      <a:pt x="102" y="46"/>
                    </a:lnTo>
                    <a:lnTo>
                      <a:pt x="104" y="48"/>
                    </a:lnTo>
                    <a:lnTo>
                      <a:pt x="104" y="48"/>
                    </a:lnTo>
                    <a:lnTo>
                      <a:pt x="104" y="48"/>
                    </a:lnTo>
                    <a:lnTo>
                      <a:pt x="108" y="50"/>
                    </a:lnTo>
                    <a:lnTo>
                      <a:pt x="110" y="52"/>
                    </a:lnTo>
                    <a:lnTo>
                      <a:pt x="110" y="52"/>
                    </a:lnTo>
                    <a:lnTo>
                      <a:pt x="110" y="52"/>
                    </a:lnTo>
                    <a:lnTo>
                      <a:pt x="110" y="54"/>
                    </a:lnTo>
                    <a:lnTo>
                      <a:pt x="110" y="54"/>
                    </a:lnTo>
                    <a:lnTo>
                      <a:pt x="110" y="54"/>
                    </a:lnTo>
                    <a:lnTo>
                      <a:pt x="108" y="54"/>
                    </a:lnTo>
                    <a:lnTo>
                      <a:pt x="106" y="56"/>
                    </a:lnTo>
                    <a:lnTo>
                      <a:pt x="106" y="56"/>
                    </a:lnTo>
                    <a:lnTo>
                      <a:pt x="104" y="58"/>
                    </a:lnTo>
                    <a:lnTo>
                      <a:pt x="104" y="60"/>
                    </a:lnTo>
                    <a:lnTo>
                      <a:pt x="102" y="60"/>
                    </a:lnTo>
                    <a:lnTo>
                      <a:pt x="102" y="60"/>
                    </a:lnTo>
                    <a:lnTo>
                      <a:pt x="104" y="60"/>
                    </a:lnTo>
                    <a:lnTo>
                      <a:pt x="104" y="62"/>
                    </a:lnTo>
                    <a:lnTo>
                      <a:pt x="108" y="62"/>
                    </a:lnTo>
                    <a:lnTo>
                      <a:pt x="112" y="62"/>
                    </a:lnTo>
                    <a:lnTo>
                      <a:pt x="116" y="62"/>
                    </a:lnTo>
                    <a:lnTo>
                      <a:pt x="116" y="62"/>
                    </a:lnTo>
                    <a:lnTo>
                      <a:pt x="120" y="62"/>
                    </a:lnTo>
                    <a:lnTo>
                      <a:pt x="122" y="64"/>
                    </a:lnTo>
                    <a:lnTo>
                      <a:pt x="122" y="64"/>
                    </a:lnTo>
                    <a:lnTo>
                      <a:pt x="126" y="64"/>
                    </a:lnTo>
                    <a:lnTo>
                      <a:pt x="128" y="64"/>
                    </a:lnTo>
                    <a:lnTo>
                      <a:pt x="130" y="64"/>
                    </a:lnTo>
                    <a:lnTo>
                      <a:pt x="130" y="64"/>
                    </a:lnTo>
                    <a:lnTo>
                      <a:pt x="134" y="64"/>
                    </a:lnTo>
                    <a:lnTo>
                      <a:pt x="136" y="64"/>
                    </a:lnTo>
                    <a:lnTo>
                      <a:pt x="138" y="62"/>
                    </a:lnTo>
                    <a:lnTo>
                      <a:pt x="142" y="62"/>
                    </a:lnTo>
                    <a:lnTo>
                      <a:pt x="142" y="62"/>
                    </a:lnTo>
                    <a:lnTo>
                      <a:pt x="146" y="62"/>
                    </a:lnTo>
                    <a:lnTo>
                      <a:pt x="148" y="62"/>
                    </a:lnTo>
                    <a:lnTo>
                      <a:pt x="152" y="62"/>
                    </a:lnTo>
                    <a:lnTo>
                      <a:pt x="156" y="62"/>
                    </a:lnTo>
                    <a:lnTo>
                      <a:pt x="156" y="62"/>
                    </a:lnTo>
                    <a:lnTo>
                      <a:pt x="158" y="62"/>
                    </a:lnTo>
                    <a:lnTo>
                      <a:pt x="158" y="60"/>
                    </a:lnTo>
                    <a:lnTo>
                      <a:pt x="158" y="60"/>
                    </a:lnTo>
                    <a:lnTo>
                      <a:pt x="158" y="58"/>
                    </a:lnTo>
                    <a:lnTo>
                      <a:pt x="158" y="58"/>
                    </a:lnTo>
                    <a:lnTo>
                      <a:pt x="156" y="56"/>
                    </a:lnTo>
                    <a:lnTo>
                      <a:pt x="154" y="54"/>
                    </a:lnTo>
                    <a:lnTo>
                      <a:pt x="154" y="54"/>
                    </a:lnTo>
                    <a:lnTo>
                      <a:pt x="150" y="54"/>
                    </a:lnTo>
                    <a:lnTo>
                      <a:pt x="148" y="52"/>
                    </a:lnTo>
                    <a:lnTo>
                      <a:pt x="148" y="52"/>
                    </a:lnTo>
                    <a:lnTo>
                      <a:pt x="148" y="52"/>
                    </a:lnTo>
                    <a:lnTo>
                      <a:pt x="146" y="48"/>
                    </a:lnTo>
                    <a:lnTo>
                      <a:pt x="146" y="48"/>
                    </a:lnTo>
                    <a:lnTo>
                      <a:pt x="144" y="46"/>
                    </a:lnTo>
                    <a:lnTo>
                      <a:pt x="144" y="46"/>
                    </a:lnTo>
                    <a:lnTo>
                      <a:pt x="142" y="46"/>
                    </a:lnTo>
                    <a:lnTo>
                      <a:pt x="140" y="46"/>
                    </a:lnTo>
                    <a:lnTo>
                      <a:pt x="138" y="46"/>
                    </a:lnTo>
                    <a:lnTo>
                      <a:pt x="138" y="46"/>
                    </a:lnTo>
                    <a:lnTo>
                      <a:pt x="138" y="46"/>
                    </a:lnTo>
                    <a:lnTo>
                      <a:pt x="136" y="44"/>
                    </a:lnTo>
                    <a:lnTo>
                      <a:pt x="136" y="44"/>
                    </a:lnTo>
                    <a:lnTo>
                      <a:pt x="134" y="42"/>
                    </a:lnTo>
                    <a:lnTo>
                      <a:pt x="134" y="42"/>
                    </a:lnTo>
                    <a:lnTo>
                      <a:pt x="134" y="42"/>
                    </a:lnTo>
                    <a:lnTo>
                      <a:pt x="132" y="40"/>
                    </a:lnTo>
                    <a:lnTo>
                      <a:pt x="128" y="40"/>
                    </a:lnTo>
                    <a:lnTo>
                      <a:pt x="122" y="38"/>
                    </a:lnTo>
                    <a:lnTo>
                      <a:pt x="120" y="38"/>
                    </a:lnTo>
                    <a:lnTo>
                      <a:pt x="118" y="36"/>
                    </a:lnTo>
                    <a:lnTo>
                      <a:pt x="118" y="36"/>
                    </a:lnTo>
                    <a:lnTo>
                      <a:pt x="118" y="36"/>
                    </a:lnTo>
                    <a:lnTo>
                      <a:pt x="116" y="34"/>
                    </a:lnTo>
                    <a:lnTo>
                      <a:pt x="116" y="32"/>
                    </a:lnTo>
                    <a:lnTo>
                      <a:pt x="114" y="30"/>
                    </a:lnTo>
                    <a:lnTo>
                      <a:pt x="114" y="30"/>
                    </a:lnTo>
                    <a:lnTo>
                      <a:pt x="114" y="28"/>
                    </a:lnTo>
                    <a:lnTo>
                      <a:pt x="114" y="28"/>
                    </a:lnTo>
                    <a:lnTo>
                      <a:pt x="110" y="24"/>
                    </a:lnTo>
                    <a:lnTo>
                      <a:pt x="104" y="22"/>
                    </a:lnTo>
                    <a:lnTo>
                      <a:pt x="104" y="22"/>
                    </a:lnTo>
                    <a:lnTo>
                      <a:pt x="102" y="20"/>
                    </a:lnTo>
                    <a:lnTo>
                      <a:pt x="100" y="18"/>
                    </a:lnTo>
                    <a:lnTo>
                      <a:pt x="98" y="16"/>
                    </a:lnTo>
                    <a:lnTo>
                      <a:pt x="98" y="14"/>
                    </a:lnTo>
                    <a:lnTo>
                      <a:pt x="96" y="14"/>
                    </a:lnTo>
                    <a:lnTo>
                      <a:pt x="96" y="14"/>
                    </a:lnTo>
                    <a:lnTo>
                      <a:pt x="96" y="16"/>
                    </a:lnTo>
                    <a:lnTo>
                      <a:pt x="94" y="16"/>
                    </a:lnTo>
                    <a:lnTo>
                      <a:pt x="94" y="16"/>
                    </a:lnTo>
                    <a:lnTo>
                      <a:pt x="96" y="18"/>
                    </a:lnTo>
                    <a:lnTo>
                      <a:pt x="96" y="20"/>
                    </a:lnTo>
                    <a:lnTo>
                      <a:pt x="96" y="20"/>
                    </a:lnTo>
                    <a:lnTo>
                      <a:pt x="94" y="20"/>
                    </a:lnTo>
                    <a:lnTo>
                      <a:pt x="92" y="20"/>
                    </a:lnTo>
                    <a:lnTo>
                      <a:pt x="90" y="20"/>
                    </a:lnTo>
                    <a:lnTo>
                      <a:pt x="88" y="20"/>
                    </a:lnTo>
                    <a:lnTo>
                      <a:pt x="82" y="14"/>
                    </a:lnTo>
                    <a:lnTo>
                      <a:pt x="82" y="14"/>
                    </a:lnTo>
                    <a:lnTo>
                      <a:pt x="82" y="14"/>
                    </a:lnTo>
                    <a:lnTo>
                      <a:pt x="82" y="14"/>
                    </a:lnTo>
                    <a:lnTo>
                      <a:pt x="82" y="1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44" name="Freeform 31"/>
              <p:cNvSpPr>
                <a:spLocks/>
              </p:cNvSpPr>
              <p:nvPr/>
            </p:nvSpPr>
            <p:spPr bwMode="auto">
              <a:xfrm>
                <a:off x="1483" y="2508"/>
                <a:ext cx="36" cy="16"/>
              </a:xfrm>
              <a:custGeom>
                <a:avLst/>
                <a:gdLst>
                  <a:gd name="T0" fmla="*/ 22 w 36"/>
                  <a:gd name="T1" fmla="*/ 0 h 16"/>
                  <a:gd name="T2" fmla="*/ 18 w 36"/>
                  <a:gd name="T3" fmla="*/ 2 h 16"/>
                  <a:gd name="T4" fmla="*/ 16 w 36"/>
                  <a:gd name="T5" fmla="*/ 2 h 16"/>
                  <a:gd name="T6" fmla="*/ 16 w 36"/>
                  <a:gd name="T7" fmla="*/ 2 h 16"/>
                  <a:gd name="T8" fmla="*/ 14 w 36"/>
                  <a:gd name="T9" fmla="*/ 0 h 16"/>
                  <a:gd name="T10" fmla="*/ 12 w 36"/>
                  <a:gd name="T11" fmla="*/ 0 h 16"/>
                  <a:gd name="T12" fmla="*/ 10 w 36"/>
                  <a:gd name="T13" fmla="*/ 2 h 16"/>
                  <a:gd name="T14" fmla="*/ 8 w 36"/>
                  <a:gd name="T15" fmla="*/ 2 h 16"/>
                  <a:gd name="T16" fmla="*/ 4 w 36"/>
                  <a:gd name="T17" fmla="*/ 2 h 16"/>
                  <a:gd name="T18" fmla="*/ 0 w 36"/>
                  <a:gd name="T19" fmla="*/ 4 h 16"/>
                  <a:gd name="T20" fmla="*/ 0 w 36"/>
                  <a:gd name="T21" fmla="*/ 4 h 16"/>
                  <a:gd name="T22" fmla="*/ 0 w 36"/>
                  <a:gd name="T23" fmla="*/ 6 h 16"/>
                  <a:gd name="T24" fmla="*/ 0 w 36"/>
                  <a:gd name="T25" fmla="*/ 6 h 16"/>
                  <a:gd name="T26" fmla="*/ 2 w 36"/>
                  <a:gd name="T27" fmla="*/ 6 h 16"/>
                  <a:gd name="T28" fmla="*/ 4 w 36"/>
                  <a:gd name="T29" fmla="*/ 8 h 16"/>
                  <a:gd name="T30" fmla="*/ 8 w 36"/>
                  <a:gd name="T31" fmla="*/ 10 h 16"/>
                  <a:gd name="T32" fmla="*/ 10 w 36"/>
                  <a:gd name="T33" fmla="*/ 10 h 16"/>
                  <a:gd name="T34" fmla="*/ 14 w 36"/>
                  <a:gd name="T35" fmla="*/ 12 h 16"/>
                  <a:gd name="T36" fmla="*/ 14 w 36"/>
                  <a:gd name="T37" fmla="*/ 12 h 16"/>
                  <a:gd name="T38" fmla="*/ 14 w 36"/>
                  <a:gd name="T39" fmla="*/ 14 h 16"/>
                  <a:gd name="T40" fmla="*/ 16 w 36"/>
                  <a:gd name="T41" fmla="*/ 16 h 16"/>
                  <a:gd name="T42" fmla="*/ 18 w 36"/>
                  <a:gd name="T43" fmla="*/ 16 h 16"/>
                  <a:gd name="T44" fmla="*/ 20 w 36"/>
                  <a:gd name="T45" fmla="*/ 16 h 16"/>
                  <a:gd name="T46" fmla="*/ 24 w 36"/>
                  <a:gd name="T47" fmla="*/ 14 h 16"/>
                  <a:gd name="T48" fmla="*/ 24 w 36"/>
                  <a:gd name="T49" fmla="*/ 14 h 16"/>
                  <a:gd name="T50" fmla="*/ 24 w 36"/>
                  <a:gd name="T51" fmla="*/ 12 h 16"/>
                  <a:gd name="T52" fmla="*/ 26 w 36"/>
                  <a:gd name="T53" fmla="*/ 10 h 16"/>
                  <a:gd name="T54" fmla="*/ 26 w 36"/>
                  <a:gd name="T55" fmla="*/ 10 h 16"/>
                  <a:gd name="T56" fmla="*/ 28 w 36"/>
                  <a:gd name="T57" fmla="*/ 10 h 16"/>
                  <a:gd name="T58" fmla="*/ 30 w 36"/>
                  <a:gd name="T59" fmla="*/ 12 h 16"/>
                  <a:gd name="T60" fmla="*/ 32 w 36"/>
                  <a:gd name="T61" fmla="*/ 12 h 16"/>
                  <a:gd name="T62" fmla="*/ 34 w 36"/>
                  <a:gd name="T63" fmla="*/ 12 h 16"/>
                  <a:gd name="T64" fmla="*/ 36 w 36"/>
                  <a:gd name="T65" fmla="*/ 12 h 16"/>
                  <a:gd name="T66" fmla="*/ 36 w 36"/>
                  <a:gd name="T67" fmla="*/ 10 h 16"/>
                  <a:gd name="T68" fmla="*/ 36 w 36"/>
                  <a:gd name="T69" fmla="*/ 10 h 16"/>
                  <a:gd name="T70" fmla="*/ 34 w 36"/>
                  <a:gd name="T71" fmla="*/ 8 h 16"/>
                  <a:gd name="T72" fmla="*/ 32 w 36"/>
                  <a:gd name="T73" fmla="*/ 6 h 16"/>
                  <a:gd name="T74" fmla="*/ 28 w 36"/>
                  <a:gd name="T75" fmla="*/ 4 h 16"/>
                  <a:gd name="T76" fmla="*/ 26 w 36"/>
                  <a:gd name="T77" fmla="*/ 4 h 16"/>
                  <a:gd name="T78" fmla="*/ 24 w 36"/>
                  <a:gd name="T79" fmla="*/ 2 h 16"/>
                  <a:gd name="T80" fmla="*/ 22 w 36"/>
                  <a:gd name="T81" fmla="*/ 0 h 16"/>
                  <a:gd name="T82" fmla="*/ 22 w 36"/>
                  <a:gd name="T83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6" h="16">
                    <a:moveTo>
                      <a:pt x="22" y="0"/>
                    </a:moveTo>
                    <a:lnTo>
                      <a:pt x="22" y="0"/>
                    </a:lnTo>
                    <a:lnTo>
                      <a:pt x="20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8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0" y="10"/>
                    </a:lnTo>
                    <a:lnTo>
                      <a:pt x="12" y="10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4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0"/>
                    </a:lnTo>
                    <a:lnTo>
                      <a:pt x="36" y="10"/>
                    </a:lnTo>
                    <a:lnTo>
                      <a:pt x="36" y="10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2" y="6"/>
                    </a:lnTo>
                    <a:lnTo>
                      <a:pt x="32" y="6"/>
                    </a:lnTo>
                    <a:lnTo>
                      <a:pt x="30" y="6"/>
                    </a:lnTo>
                    <a:lnTo>
                      <a:pt x="28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45" name="Freeform 33"/>
              <p:cNvSpPr>
                <a:spLocks/>
              </p:cNvSpPr>
              <p:nvPr/>
            </p:nvSpPr>
            <p:spPr bwMode="auto">
              <a:xfrm>
                <a:off x="1887" y="1898"/>
                <a:ext cx="88" cy="96"/>
              </a:xfrm>
              <a:custGeom>
                <a:avLst/>
                <a:gdLst>
                  <a:gd name="T0" fmla="*/ 54 w 88"/>
                  <a:gd name="T1" fmla="*/ 2 h 96"/>
                  <a:gd name="T2" fmla="*/ 50 w 88"/>
                  <a:gd name="T3" fmla="*/ 10 h 96"/>
                  <a:gd name="T4" fmla="*/ 46 w 88"/>
                  <a:gd name="T5" fmla="*/ 18 h 96"/>
                  <a:gd name="T6" fmla="*/ 40 w 88"/>
                  <a:gd name="T7" fmla="*/ 24 h 96"/>
                  <a:gd name="T8" fmla="*/ 36 w 88"/>
                  <a:gd name="T9" fmla="*/ 28 h 96"/>
                  <a:gd name="T10" fmla="*/ 32 w 88"/>
                  <a:gd name="T11" fmla="*/ 32 h 96"/>
                  <a:gd name="T12" fmla="*/ 30 w 88"/>
                  <a:gd name="T13" fmla="*/ 36 h 96"/>
                  <a:gd name="T14" fmla="*/ 26 w 88"/>
                  <a:gd name="T15" fmla="*/ 40 h 96"/>
                  <a:gd name="T16" fmla="*/ 24 w 88"/>
                  <a:gd name="T17" fmla="*/ 44 h 96"/>
                  <a:gd name="T18" fmla="*/ 22 w 88"/>
                  <a:gd name="T19" fmla="*/ 50 h 96"/>
                  <a:gd name="T20" fmla="*/ 18 w 88"/>
                  <a:gd name="T21" fmla="*/ 52 h 96"/>
                  <a:gd name="T22" fmla="*/ 14 w 88"/>
                  <a:gd name="T23" fmla="*/ 54 h 96"/>
                  <a:gd name="T24" fmla="*/ 6 w 88"/>
                  <a:gd name="T25" fmla="*/ 62 h 96"/>
                  <a:gd name="T26" fmla="*/ 2 w 88"/>
                  <a:gd name="T27" fmla="*/ 66 h 96"/>
                  <a:gd name="T28" fmla="*/ 4 w 88"/>
                  <a:gd name="T29" fmla="*/ 70 h 96"/>
                  <a:gd name="T30" fmla="*/ 2 w 88"/>
                  <a:gd name="T31" fmla="*/ 74 h 96"/>
                  <a:gd name="T32" fmla="*/ 2 w 88"/>
                  <a:gd name="T33" fmla="*/ 76 h 96"/>
                  <a:gd name="T34" fmla="*/ 8 w 88"/>
                  <a:gd name="T35" fmla="*/ 78 h 96"/>
                  <a:gd name="T36" fmla="*/ 16 w 88"/>
                  <a:gd name="T37" fmla="*/ 76 h 96"/>
                  <a:gd name="T38" fmla="*/ 22 w 88"/>
                  <a:gd name="T39" fmla="*/ 74 h 96"/>
                  <a:gd name="T40" fmla="*/ 28 w 88"/>
                  <a:gd name="T41" fmla="*/ 76 h 96"/>
                  <a:gd name="T42" fmla="*/ 40 w 88"/>
                  <a:gd name="T43" fmla="*/ 76 h 96"/>
                  <a:gd name="T44" fmla="*/ 46 w 88"/>
                  <a:gd name="T45" fmla="*/ 80 h 96"/>
                  <a:gd name="T46" fmla="*/ 50 w 88"/>
                  <a:gd name="T47" fmla="*/ 80 h 96"/>
                  <a:gd name="T48" fmla="*/ 52 w 88"/>
                  <a:gd name="T49" fmla="*/ 84 h 96"/>
                  <a:gd name="T50" fmla="*/ 46 w 88"/>
                  <a:gd name="T51" fmla="*/ 86 h 96"/>
                  <a:gd name="T52" fmla="*/ 42 w 88"/>
                  <a:gd name="T53" fmla="*/ 90 h 96"/>
                  <a:gd name="T54" fmla="*/ 52 w 88"/>
                  <a:gd name="T55" fmla="*/ 92 h 96"/>
                  <a:gd name="T56" fmla="*/ 64 w 88"/>
                  <a:gd name="T57" fmla="*/ 90 h 96"/>
                  <a:gd name="T58" fmla="*/ 70 w 88"/>
                  <a:gd name="T59" fmla="*/ 90 h 96"/>
                  <a:gd name="T60" fmla="*/ 74 w 88"/>
                  <a:gd name="T61" fmla="*/ 88 h 96"/>
                  <a:gd name="T62" fmla="*/ 78 w 88"/>
                  <a:gd name="T63" fmla="*/ 88 h 96"/>
                  <a:gd name="T64" fmla="*/ 74 w 88"/>
                  <a:gd name="T65" fmla="*/ 92 h 96"/>
                  <a:gd name="T66" fmla="*/ 74 w 88"/>
                  <a:gd name="T67" fmla="*/ 94 h 96"/>
                  <a:gd name="T68" fmla="*/ 82 w 88"/>
                  <a:gd name="T69" fmla="*/ 96 h 96"/>
                  <a:gd name="T70" fmla="*/ 86 w 88"/>
                  <a:gd name="T71" fmla="*/ 92 h 96"/>
                  <a:gd name="T72" fmla="*/ 88 w 88"/>
                  <a:gd name="T73" fmla="*/ 80 h 96"/>
                  <a:gd name="T74" fmla="*/ 86 w 88"/>
                  <a:gd name="T75" fmla="*/ 76 h 96"/>
                  <a:gd name="T76" fmla="*/ 80 w 88"/>
                  <a:gd name="T77" fmla="*/ 76 h 96"/>
                  <a:gd name="T78" fmla="*/ 84 w 88"/>
                  <a:gd name="T79" fmla="*/ 72 h 96"/>
                  <a:gd name="T80" fmla="*/ 82 w 88"/>
                  <a:gd name="T81" fmla="*/ 68 h 96"/>
                  <a:gd name="T82" fmla="*/ 78 w 88"/>
                  <a:gd name="T83" fmla="*/ 68 h 96"/>
                  <a:gd name="T84" fmla="*/ 82 w 88"/>
                  <a:gd name="T85" fmla="*/ 64 h 96"/>
                  <a:gd name="T86" fmla="*/ 82 w 88"/>
                  <a:gd name="T87" fmla="*/ 62 h 96"/>
                  <a:gd name="T88" fmla="*/ 76 w 88"/>
                  <a:gd name="T89" fmla="*/ 60 h 96"/>
                  <a:gd name="T90" fmla="*/ 82 w 88"/>
                  <a:gd name="T91" fmla="*/ 56 h 96"/>
                  <a:gd name="T92" fmla="*/ 82 w 88"/>
                  <a:gd name="T93" fmla="*/ 52 h 96"/>
                  <a:gd name="T94" fmla="*/ 72 w 88"/>
                  <a:gd name="T95" fmla="*/ 50 h 96"/>
                  <a:gd name="T96" fmla="*/ 62 w 88"/>
                  <a:gd name="T97" fmla="*/ 50 h 96"/>
                  <a:gd name="T98" fmla="*/ 56 w 88"/>
                  <a:gd name="T99" fmla="*/ 46 h 96"/>
                  <a:gd name="T100" fmla="*/ 54 w 88"/>
                  <a:gd name="T101" fmla="*/ 42 h 96"/>
                  <a:gd name="T102" fmla="*/ 52 w 88"/>
                  <a:gd name="T103" fmla="*/ 40 h 96"/>
                  <a:gd name="T104" fmla="*/ 46 w 88"/>
                  <a:gd name="T105" fmla="*/ 42 h 96"/>
                  <a:gd name="T106" fmla="*/ 44 w 88"/>
                  <a:gd name="T107" fmla="*/ 40 h 96"/>
                  <a:gd name="T108" fmla="*/ 48 w 88"/>
                  <a:gd name="T109" fmla="*/ 30 h 96"/>
                  <a:gd name="T110" fmla="*/ 52 w 88"/>
                  <a:gd name="T111" fmla="*/ 24 h 96"/>
                  <a:gd name="T112" fmla="*/ 58 w 88"/>
                  <a:gd name="T113" fmla="*/ 20 h 96"/>
                  <a:gd name="T114" fmla="*/ 62 w 88"/>
                  <a:gd name="T115" fmla="*/ 12 h 96"/>
                  <a:gd name="T116" fmla="*/ 68 w 88"/>
                  <a:gd name="T117" fmla="*/ 6 h 96"/>
                  <a:gd name="T118" fmla="*/ 66 w 88"/>
                  <a:gd name="T119" fmla="*/ 0 h 96"/>
                  <a:gd name="T120" fmla="*/ 60 w 88"/>
                  <a:gd name="T121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88" h="96">
                    <a:moveTo>
                      <a:pt x="60" y="0"/>
                    </a:moveTo>
                    <a:lnTo>
                      <a:pt x="60" y="0"/>
                    </a:lnTo>
                    <a:lnTo>
                      <a:pt x="54" y="2"/>
                    </a:lnTo>
                    <a:lnTo>
                      <a:pt x="54" y="2"/>
                    </a:lnTo>
                    <a:lnTo>
                      <a:pt x="54" y="2"/>
                    </a:lnTo>
                    <a:lnTo>
                      <a:pt x="52" y="2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0" y="6"/>
                    </a:lnTo>
                    <a:lnTo>
                      <a:pt x="50" y="10"/>
                    </a:lnTo>
                    <a:lnTo>
                      <a:pt x="50" y="10"/>
                    </a:lnTo>
                    <a:lnTo>
                      <a:pt x="48" y="14"/>
                    </a:lnTo>
                    <a:lnTo>
                      <a:pt x="48" y="16"/>
                    </a:lnTo>
                    <a:lnTo>
                      <a:pt x="46" y="18"/>
                    </a:lnTo>
                    <a:lnTo>
                      <a:pt x="46" y="18"/>
                    </a:lnTo>
                    <a:lnTo>
                      <a:pt x="44" y="20"/>
                    </a:lnTo>
                    <a:lnTo>
                      <a:pt x="42" y="20"/>
                    </a:lnTo>
                    <a:lnTo>
                      <a:pt x="40" y="22"/>
                    </a:lnTo>
                    <a:lnTo>
                      <a:pt x="40" y="24"/>
                    </a:lnTo>
                    <a:lnTo>
                      <a:pt x="40" y="24"/>
                    </a:lnTo>
                    <a:lnTo>
                      <a:pt x="38" y="26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36" y="28"/>
                    </a:lnTo>
                    <a:lnTo>
                      <a:pt x="36" y="28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2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6"/>
                    </a:lnTo>
                    <a:lnTo>
                      <a:pt x="30" y="36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28" y="38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4" y="40"/>
                    </a:lnTo>
                    <a:lnTo>
                      <a:pt x="24" y="40"/>
                    </a:lnTo>
                    <a:lnTo>
                      <a:pt x="24" y="42"/>
                    </a:lnTo>
                    <a:lnTo>
                      <a:pt x="24" y="44"/>
                    </a:lnTo>
                    <a:lnTo>
                      <a:pt x="24" y="44"/>
                    </a:lnTo>
                    <a:lnTo>
                      <a:pt x="24" y="44"/>
                    </a:lnTo>
                    <a:lnTo>
                      <a:pt x="24" y="44"/>
                    </a:lnTo>
                    <a:lnTo>
                      <a:pt x="22" y="48"/>
                    </a:lnTo>
                    <a:lnTo>
                      <a:pt x="22" y="50"/>
                    </a:lnTo>
                    <a:lnTo>
                      <a:pt x="22" y="50"/>
                    </a:lnTo>
                    <a:lnTo>
                      <a:pt x="22" y="50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6" y="54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0" y="58"/>
                    </a:lnTo>
                    <a:lnTo>
                      <a:pt x="10" y="58"/>
                    </a:lnTo>
                    <a:lnTo>
                      <a:pt x="8" y="60"/>
                    </a:lnTo>
                    <a:lnTo>
                      <a:pt x="6" y="62"/>
                    </a:lnTo>
                    <a:lnTo>
                      <a:pt x="6" y="62"/>
                    </a:lnTo>
                    <a:lnTo>
                      <a:pt x="6" y="62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2" y="66"/>
                    </a:lnTo>
                    <a:lnTo>
                      <a:pt x="2" y="66"/>
                    </a:lnTo>
                    <a:lnTo>
                      <a:pt x="2" y="66"/>
                    </a:lnTo>
                    <a:lnTo>
                      <a:pt x="0" y="68"/>
                    </a:lnTo>
                    <a:lnTo>
                      <a:pt x="2" y="68"/>
                    </a:lnTo>
                    <a:lnTo>
                      <a:pt x="2" y="68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2" y="74"/>
                    </a:lnTo>
                    <a:lnTo>
                      <a:pt x="2" y="74"/>
                    </a:lnTo>
                    <a:lnTo>
                      <a:pt x="2" y="74"/>
                    </a:lnTo>
                    <a:lnTo>
                      <a:pt x="2" y="76"/>
                    </a:lnTo>
                    <a:lnTo>
                      <a:pt x="2" y="76"/>
                    </a:lnTo>
                    <a:lnTo>
                      <a:pt x="2" y="76"/>
                    </a:lnTo>
                    <a:lnTo>
                      <a:pt x="4" y="76"/>
                    </a:lnTo>
                    <a:lnTo>
                      <a:pt x="6" y="78"/>
                    </a:lnTo>
                    <a:lnTo>
                      <a:pt x="6" y="78"/>
                    </a:lnTo>
                    <a:lnTo>
                      <a:pt x="6" y="78"/>
                    </a:lnTo>
                    <a:lnTo>
                      <a:pt x="8" y="78"/>
                    </a:lnTo>
                    <a:lnTo>
                      <a:pt x="10" y="78"/>
                    </a:lnTo>
                    <a:lnTo>
                      <a:pt x="10" y="78"/>
                    </a:lnTo>
                    <a:lnTo>
                      <a:pt x="14" y="78"/>
                    </a:lnTo>
                    <a:lnTo>
                      <a:pt x="16" y="76"/>
                    </a:lnTo>
                    <a:lnTo>
                      <a:pt x="16" y="76"/>
                    </a:lnTo>
                    <a:lnTo>
                      <a:pt x="18" y="74"/>
                    </a:lnTo>
                    <a:lnTo>
                      <a:pt x="20" y="74"/>
                    </a:lnTo>
                    <a:lnTo>
                      <a:pt x="20" y="74"/>
                    </a:lnTo>
                    <a:lnTo>
                      <a:pt x="20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4" y="74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8" y="76"/>
                    </a:lnTo>
                    <a:lnTo>
                      <a:pt x="30" y="76"/>
                    </a:lnTo>
                    <a:lnTo>
                      <a:pt x="38" y="76"/>
                    </a:lnTo>
                    <a:lnTo>
                      <a:pt x="38" y="76"/>
                    </a:lnTo>
                    <a:lnTo>
                      <a:pt x="38" y="76"/>
                    </a:lnTo>
                    <a:lnTo>
                      <a:pt x="40" y="76"/>
                    </a:lnTo>
                    <a:lnTo>
                      <a:pt x="40" y="76"/>
                    </a:lnTo>
                    <a:lnTo>
                      <a:pt x="42" y="78"/>
                    </a:lnTo>
                    <a:lnTo>
                      <a:pt x="42" y="80"/>
                    </a:lnTo>
                    <a:lnTo>
                      <a:pt x="44" y="80"/>
                    </a:lnTo>
                    <a:lnTo>
                      <a:pt x="46" y="80"/>
                    </a:lnTo>
                    <a:lnTo>
                      <a:pt x="46" y="80"/>
                    </a:lnTo>
                    <a:lnTo>
                      <a:pt x="46" y="80"/>
                    </a:lnTo>
                    <a:lnTo>
                      <a:pt x="48" y="80"/>
                    </a:lnTo>
                    <a:lnTo>
                      <a:pt x="48" y="80"/>
                    </a:lnTo>
                    <a:lnTo>
                      <a:pt x="50" y="80"/>
                    </a:lnTo>
                    <a:lnTo>
                      <a:pt x="50" y="80"/>
                    </a:lnTo>
                    <a:lnTo>
                      <a:pt x="50" y="80"/>
                    </a:lnTo>
                    <a:lnTo>
                      <a:pt x="52" y="82"/>
                    </a:lnTo>
                    <a:lnTo>
                      <a:pt x="52" y="82"/>
                    </a:lnTo>
                    <a:lnTo>
                      <a:pt x="52" y="84"/>
                    </a:lnTo>
                    <a:lnTo>
                      <a:pt x="52" y="84"/>
                    </a:lnTo>
                    <a:lnTo>
                      <a:pt x="50" y="86"/>
                    </a:lnTo>
                    <a:lnTo>
                      <a:pt x="50" y="86"/>
                    </a:lnTo>
                    <a:lnTo>
                      <a:pt x="48" y="86"/>
                    </a:lnTo>
                    <a:lnTo>
                      <a:pt x="46" y="86"/>
                    </a:lnTo>
                    <a:lnTo>
                      <a:pt x="44" y="88"/>
                    </a:lnTo>
                    <a:lnTo>
                      <a:pt x="42" y="88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4" y="92"/>
                    </a:lnTo>
                    <a:lnTo>
                      <a:pt x="44" y="92"/>
                    </a:lnTo>
                    <a:lnTo>
                      <a:pt x="46" y="92"/>
                    </a:lnTo>
                    <a:lnTo>
                      <a:pt x="50" y="92"/>
                    </a:lnTo>
                    <a:lnTo>
                      <a:pt x="52" y="92"/>
                    </a:lnTo>
                    <a:lnTo>
                      <a:pt x="52" y="92"/>
                    </a:lnTo>
                    <a:lnTo>
                      <a:pt x="58" y="90"/>
                    </a:lnTo>
                    <a:lnTo>
                      <a:pt x="60" y="90"/>
                    </a:lnTo>
                    <a:lnTo>
                      <a:pt x="64" y="90"/>
                    </a:lnTo>
                    <a:lnTo>
                      <a:pt x="64" y="90"/>
                    </a:lnTo>
                    <a:lnTo>
                      <a:pt x="66" y="88"/>
                    </a:lnTo>
                    <a:lnTo>
                      <a:pt x="66" y="88"/>
                    </a:lnTo>
                    <a:lnTo>
                      <a:pt x="68" y="88"/>
                    </a:lnTo>
                    <a:lnTo>
                      <a:pt x="68" y="88"/>
                    </a:lnTo>
                    <a:lnTo>
                      <a:pt x="70" y="90"/>
                    </a:lnTo>
                    <a:lnTo>
                      <a:pt x="70" y="90"/>
                    </a:lnTo>
                    <a:lnTo>
                      <a:pt x="70" y="90"/>
                    </a:lnTo>
                    <a:lnTo>
                      <a:pt x="72" y="90"/>
                    </a:lnTo>
                    <a:lnTo>
                      <a:pt x="72" y="90"/>
                    </a:lnTo>
                    <a:lnTo>
                      <a:pt x="74" y="88"/>
                    </a:lnTo>
                    <a:lnTo>
                      <a:pt x="76" y="88"/>
                    </a:lnTo>
                    <a:lnTo>
                      <a:pt x="76" y="88"/>
                    </a:lnTo>
                    <a:lnTo>
                      <a:pt x="76" y="88"/>
                    </a:lnTo>
                    <a:lnTo>
                      <a:pt x="78" y="88"/>
                    </a:lnTo>
                    <a:lnTo>
                      <a:pt x="78" y="88"/>
                    </a:lnTo>
                    <a:lnTo>
                      <a:pt x="78" y="88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6" y="92"/>
                    </a:lnTo>
                    <a:lnTo>
                      <a:pt x="74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4"/>
                    </a:lnTo>
                    <a:lnTo>
                      <a:pt x="74" y="94"/>
                    </a:lnTo>
                    <a:lnTo>
                      <a:pt x="74" y="94"/>
                    </a:lnTo>
                    <a:lnTo>
                      <a:pt x="76" y="96"/>
                    </a:lnTo>
                    <a:lnTo>
                      <a:pt x="78" y="96"/>
                    </a:lnTo>
                    <a:lnTo>
                      <a:pt x="80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4" y="96"/>
                    </a:lnTo>
                    <a:lnTo>
                      <a:pt x="84" y="96"/>
                    </a:lnTo>
                    <a:lnTo>
                      <a:pt x="84" y="94"/>
                    </a:lnTo>
                    <a:lnTo>
                      <a:pt x="86" y="92"/>
                    </a:lnTo>
                    <a:lnTo>
                      <a:pt x="86" y="92"/>
                    </a:lnTo>
                    <a:lnTo>
                      <a:pt x="86" y="88"/>
                    </a:lnTo>
                    <a:lnTo>
                      <a:pt x="88" y="84"/>
                    </a:lnTo>
                    <a:lnTo>
                      <a:pt x="88" y="84"/>
                    </a:lnTo>
                    <a:lnTo>
                      <a:pt x="88" y="82"/>
                    </a:lnTo>
                    <a:lnTo>
                      <a:pt x="88" y="80"/>
                    </a:lnTo>
                    <a:lnTo>
                      <a:pt x="88" y="78"/>
                    </a:lnTo>
                    <a:lnTo>
                      <a:pt x="86" y="78"/>
                    </a:lnTo>
                    <a:lnTo>
                      <a:pt x="86" y="76"/>
                    </a:lnTo>
                    <a:lnTo>
                      <a:pt x="86" y="76"/>
                    </a:lnTo>
                    <a:lnTo>
                      <a:pt x="86" y="76"/>
                    </a:lnTo>
                    <a:lnTo>
                      <a:pt x="84" y="76"/>
                    </a:lnTo>
                    <a:lnTo>
                      <a:pt x="82" y="76"/>
                    </a:lnTo>
                    <a:lnTo>
                      <a:pt x="82" y="76"/>
                    </a:lnTo>
                    <a:lnTo>
                      <a:pt x="80" y="76"/>
                    </a:lnTo>
                    <a:lnTo>
                      <a:pt x="80" y="76"/>
                    </a:lnTo>
                    <a:lnTo>
                      <a:pt x="80" y="76"/>
                    </a:lnTo>
                    <a:lnTo>
                      <a:pt x="80" y="74"/>
                    </a:lnTo>
                    <a:lnTo>
                      <a:pt x="80" y="74"/>
                    </a:lnTo>
                    <a:lnTo>
                      <a:pt x="82" y="72"/>
                    </a:lnTo>
                    <a:lnTo>
                      <a:pt x="84" y="72"/>
                    </a:lnTo>
                    <a:lnTo>
                      <a:pt x="84" y="70"/>
                    </a:lnTo>
                    <a:lnTo>
                      <a:pt x="84" y="70"/>
                    </a:lnTo>
                    <a:lnTo>
                      <a:pt x="82" y="68"/>
                    </a:lnTo>
                    <a:lnTo>
                      <a:pt x="82" y="68"/>
                    </a:lnTo>
                    <a:lnTo>
                      <a:pt x="82" y="68"/>
                    </a:lnTo>
                    <a:lnTo>
                      <a:pt x="80" y="68"/>
                    </a:lnTo>
                    <a:lnTo>
                      <a:pt x="80" y="68"/>
                    </a:lnTo>
                    <a:lnTo>
                      <a:pt x="78" y="68"/>
                    </a:lnTo>
                    <a:lnTo>
                      <a:pt x="78" y="68"/>
                    </a:lnTo>
                    <a:lnTo>
                      <a:pt x="78" y="68"/>
                    </a:lnTo>
                    <a:lnTo>
                      <a:pt x="78" y="66"/>
                    </a:lnTo>
                    <a:lnTo>
                      <a:pt x="80" y="66"/>
                    </a:lnTo>
                    <a:lnTo>
                      <a:pt x="80" y="66"/>
                    </a:lnTo>
                    <a:lnTo>
                      <a:pt x="80" y="66"/>
                    </a:lnTo>
                    <a:lnTo>
                      <a:pt x="82" y="64"/>
                    </a:lnTo>
                    <a:lnTo>
                      <a:pt x="84" y="64"/>
                    </a:lnTo>
                    <a:lnTo>
                      <a:pt x="84" y="64"/>
                    </a:lnTo>
                    <a:lnTo>
                      <a:pt x="82" y="64"/>
                    </a:lnTo>
                    <a:lnTo>
                      <a:pt x="82" y="64"/>
                    </a:lnTo>
                    <a:lnTo>
                      <a:pt x="82" y="62"/>
                    </a:lnTo>
                    <a:lnTo>
                      <a:pt x="80" y="62"/>
                    </a:lnTo>
                    <a:lnTo>
                      <a:pt x="78" y="62"/>
                    </a:lnTo>
                    <a:lnTo>
                      <a:pt x="78" y="62"/>
                    </a:lnTo>
                    <a:lnTo>
                      <a:pt x="78" y="62"/>
                    </a:lnTo>
                    <a:lnTo>
                      <a:pt x="76" y="60"/>
                    </a:lnTo>
                    <a:lnTo>
                      <a:pt x="76" y="60"/>
                    </a:lnTo>
                    <a:lnTo>
                      <a:pt x="78" y="58"/>
                    </a:lnTo>
                    <a:lnTo>
                      <a:pt x="78" y="58"/>
                    </a:lnTo>
                    <a:lnTo>
                      <a:pt x="80" y="56"/>
                    </a:lnTo>
                    <a:lnTo>
                      <a:pt x="82" y="56"/>
                    </a:lnTo>
                    <a:lnTo>
                      <a:pt x="82" y="56"/>
                    </a:lnTo>
                    <a:lnTo>
                      <a:pt x="82" y="56"/>
                    </a:lnTo>
                    <a:lnTo>
                      <a:pt x="82" y="54"/>
                    </a:lnTo>
                    <a:lnTo>
                      <a:pt x="82" y="54"/>
                    </a:lnTo>
                    <a:lnTo>
                      <a:pt x="82" y="52"/>
                    </a:lnTo>
                    <a:lnTo>
                      <a:pt x="80" y="52"/>
                    </a:lnTo>
                    <a:lnTo>
                      <a:pt x="78" y="50"/>
                    </a:lnTo>
                    <a:lnTo>
                      <a:pt x="76" y="50"/>
                    </a:lnTo>
                    <a:lnTo>
                      <a:pt x="76" y="50"/>
                    </a:lnTo>
                    <a:lnTo>
                      <a:pt x="72" y="50"/>
                    </a:lnTo>
                    <a:lnTo>
                      <a:pt x="70" y="50"/>
                    </a:lnTo>
                    <a:lnTo>
                      <a:pt x="66" y="50"/>
                    </a:lnTo>
                    <a:lnTo>
                      <a:pt x="62" y="50"/>
                    </a:lnTo>
                    <a:lnTo>
                      <a:pt x="62" y="50"/>
                    </a:lnTo>
                    <a:lnTo>
                      <a:pt x="62" y="50"/>
                    </a:lnTo>
                    <a:lnTo>
                      <a:pt x="60" y="50"/>
                    </a:lnTo>
                    <a:lnTo>
                      <a:pt x="60" y="48"/>
                    </a:lnTo>
                    <a:lnTo>
                      <a:pt x="58" y="48"/>
                    </a:lnTo>
                    <a:lnTo>
                      <a:pt x="58" y="48"/>
                    </a:lnTo>
                    <a:lnTo>
                      <a:pt x="56" y="46"/>
                    </a:lnTo>
                    <a:lnTo>
                      <a:pt x="54" y="46"/>
                    </a:lnTo>
                    <a:lnTo>
                      <a:pt x="54" y="44"/>
                    </a:lnTo>
                    <a:lnTo>
                      <a:pt x="54" y="44"/>
                    </a:lnTo>
                    <a:lnTo>
                      <a:pt x="54" y="44"/>
                    </a:lnTo>
                    <a:lnTo>
                      <a:pt x="54" y="42"/>
                    </a:lnTo>
                    <a:lnTo>
                      <a:pt x="54" y="42"/>
                    </a:lnTo>
                    <a:lnTo>
                      <a:pt x="54" y="40"/>
                    </a:lnTo>
                    <a:lnTo>
                      <a:pt x="54" y="40"/>
                    </a:lnTo>
                    <a:lnTo>
                      <a:pt x="52" y="40"/>
                    </a:lnTo>
                    <a:lnTo>
                      <a:pt x="52" y="40"/>
                    </a:lnTo>
                    <a:lnTo>
                      <a:pt x="50" y="40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8" y="42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6" y="40"/>
                    </a:lnTo>
                    <a:lnTo>
                      <a:pt x="46" y="40"/>
                    </a:lnTo>
                    <a:lnTo>
                      <a:pt x="44" y="40"/>
                    </a:lnTo>
                    <a:lnTo>
                      <a:pt x="46" y="38"/>
                    </a:lnTo>
                    <a:lnTo>
                      <a:pt x="48" y="36"/>
                    </a:lnTo>
                    <a:lnTo>
                      <a:pt x="48" y="36"/>
                    </a:lnTo>
                    <a:lnTo>
                      <a:pt x="48" y="32"/>
                    </a:lnTo>
                    <a:lnTo>
                      <a:pt x="48" y="30"/>
                    </a:lnTo>
                    <a:lnTo>
                      <a:pt x="50" y="28"/>
                    </a:lnTo>
                    <a:lnTo>
                      <a:pt x="50" y="26"/>
                    </a:lnTo>
                    <a:lnTo>
                      <a:pt x="50" y="24"/>
                    </a:lnTo>
                    <a:lnTo>
                      <a:pt x="50" y="24"/>
                    </a:lnTo>
                    <a:lnTo>
                      <a:pt x="52" y="24"/>
                    </a:lnTo>
                    <a:lnTo>
                      <a:pt x="52" y="22"/>
                    </a:lnTo>
                    <a:lnTo>
                      <a:pt x="54" y="22"/>
                    </a:lnTo>
                    <a:lnTo>
                      <a:pt x="56" y="22"/>
                    </a:lnTo>
                    <a:lnTo>
                      <a:pt x="56" y="20"/>
                    </a:lnTo>
                    <a:lnTo>
                      <a:pt x="58" y="20"/>
                    </a:lnTo>
                    <a:lnTo>
                      <a:pt x="58" y="20"/>
                    </a:lnTo>
                    <a:lnTo>
                      <a:pt x="58" y="18"/>
                    </a:lnTo>
                    <a:lnTo>
                      <a:pt x="60" y="16"/>
                    </a:lnTo>
                    <a:lnTo>
                      <a:pt x="60" y="14"/>
                    </a:lnTo>
                    <a:lnTo>
                      <a:pt x="62" y="12"/>
                    </a:lnTo>
                    <a:lnTo>
                      <a:pt x="62" y="12"/>
                    </a:lnTo>
                    <a:lnTo>
                      <a:pt x="64" y="10"/>
                    </a:lnTo>
                    <a:lnTo>
                      <a:pt x="64" y="8"/>
                    </a:lnTo>
                    <a:lnTo>
                      <a:pt x="66" y="8"/>
                    </a:lnTo>
                    <a:lnTo>
                      <a:pt x="68" y="6"/>
                    </a:lnTo>
                    <a:lnTo>
                      <a:pt x="68" y="6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2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64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46" name="Freeform 35"/>
              <p:cNvSpPr>
                <a:spLocks/>
              </p:cNvSpPr>
              <p:nvPr/>
            </p:nvSpPr>
            <p:spPr bwMode="auto">
              <a:xfrm>
                <a:off x="1819" y="1922"/>
                <a:ext cx="40" cy="24"/>
              </a:xfrm>
              <a:custGeom>
                <a:avLst/>
                <a:gdLst>
                  <a:gd name="T0" fmla="*/ 0 w 40"/>
                  <a:gd name="T1" fmla="*/ 2 h 24"/>
                  <a:gd name="T2" fmla="*/ 0 w 40"/>
                  <a:gd name="T3" fmla="*/ 2 h 24"/>
                  <a:gd name="T4" fmla="*/ 0 w 40"/>
                  <a:gd name="T5" fmla="*/ 4 h 24"/>
                  <a:gd name="T6" fmla="*/ 0 w 40"/>
                  <a:gd name="T7" fmla="*/ 4 h 24"/>
                  <a:gd name="T8" fmla="*/ 2 w 40"/>
                  <a:gd name="T9" fmla="*/ 6 h 24"/>
                  <a:gd name="T10" fmla="*/ 2 w 40"/>
                  <a:gd name="T11" fmla="*/ 6 h 24"/>
                  <a:gd name="T12" fmla="*/ 6 w 40"/>
                  <a:gd name="T13" fmla="*/ 8 h 24"/>
                  <a:gd name="T14" fmla="*/ 8 w 40"/>
                  <a:gd name="T15" fmla="*/ 10 h 24"/>
                  <a:gd name="T16" fmla="*/ 8 w 40"/>
                  <a:gd name="T17" fmla="*/ 10 h 24"/>
                  <a:gd name="T18" fmla="*/ 8 w 40"/>
                  <a:gd name="T19" fmla="*/ 12 h 24"/>
                  <a:gd name="T20" fmla="*/ 8 w 40"/>
                  <a:gd name="T21" fmla="*/ 14 h 24"/>
                  <a:gd name="T22" fmla="*/ 8 w 40"/>
                  <a:gd name="T23" fmla="*/ 14 h 24"/>
                  <a:gd name="T24" fmla="*/ 10 w 40"/>
                  <a:gd name="T25" fmla="*/ 16 h 24"/>
                  <a:gd name="T26" fmla="*/ 10 w 40"/>
                  <a:gd name="T27" fmla="*/ 16 h 24"/>
                  <a:gd name="T28" fmla="*/ 10 w 40"/>
                  <a:gd name="T29" fmla="*/ 16 h 24"/>
                  <a:gd name="T30" fmla="*/ 12 w 40"/>
                  <a:gd name="T31" fmla="*/ 16 h 24"/>
                  <a:gd name="T32" fmla="*/ 14 w 40"/>
                  <a:gd name="T33" fmla="*/ 16 h 24"/>
                  <a:gd name="T34" fmla="*/ 14 w 40"/>
                  <a:gd name="T35" fmla="*/ 16 h 24"/>
                  <a:gd name="T36" fmla="*/ 18 w 40"/>
                  <a:gd name="T37" fmla="*/ 18 h 24"/>
                  <a:gd name="T38" fmla="*/ 18 w 40"/>
                  <a:gd name="T39" fmla="*/ 18 h 24"/>
                  <a:gd name="T40" fmla="*/ 20 w 40"/>
                  <a:gd name="T41" fmla="*/ 18 h 24"/>
                  <a:gd name="T42" fmla="*/ 20 w 40"/>
                  <a:gd name="T43" fmla="*/ 18 h 24"/>
                  <a:gd name="T44" fmla="*/ 22 w 40"/>
                  <a:gd name="T45" fmla="*/ 20 h 24"/>
                  <a:gd name="T46" fmla="*/ 22 w 40"/>
                  <a:gd name="T47" fmla="*/ 20 h 24"/>
                  <a:gd name="T48" fmla="*/ 24 w 40"/>
                  <a:gd name="T49" fmla="*/ 22 h 24"/>
                  <a:gd name="T50" fmla="*/ 24 w 40"/>
                  <a:gd name="T51" fmla="*/ 22 h 24"/>
                  <a:gd name="T52" fmla="*/ 26 w 40"/>
                  <a:gd name="T53" fmla="*/ 22 h 24"/>
                  <a:gd name="T54" fmla="*/ 28 w 40"/>
                  <a:gd name="T55" fmla="*/ 22 h 24"/>
                  <a:gd name="T56" fmla="*/ 28 w 40"/>
                  <a:gd name="T57" fmla="*/ 22 h 24"/>
                  <a:gd name="T58" fmla="*/ 30 w 40"/>
                  <a:gd name="T59" fmla="*/ 24 h 24"/>
                  <a:gd name="T60" fmla="*/ 34 w 40"/>
                  <a:gd name="T61" fmla="*/ 24 h 24"/>
                  <a:gd name="T62" fmla="*/ 34 w 40"/>
                  <a:gd name="T63" fmla="*/ 24 h 24"/>
                  <a:gd name="T64" fmla="*/ 36 w 40"/>
                  <a:gd name="T65" fmla="*/ 24 h 24"/>
                  <a:gd name="T66" fmla="*/ 38 w 40"/>
                  <a:gd name="T67" fmla="*/ 24 h 24"/>
                  <a:gd name="T68" fmla="*/ 38 w 40"/>
                  <a:gd name="T69" fmla="*/ 22 h 24"/>
                  <a:gd name="T70" fmla="*/ 38 w 40"/>
                  <a:gd name="T71" fmla="*/ 22 h 24"/>
                  <a:gd name="T72" fmla="*/ 40 w 40"/>
                  <a:gd name="T73" fmla="*/ 20 h 24"/>
                  <a:gd name="T74" fmla="*/ 40 w 40"/>
                  <a:gd name="T75" fmla="*/ 20 h 24"/>
                  <a:gd name="T76" fmla="*/ 38 w 40"/>
                  <a:gd name="T77" fmla="*/ 20 h 24"/>
                  <a:gd name="T78" fmla="*/ 38 w 40"/>
                  <a:gd name="T79" fmla="*/ 18 h 24"/>
                  <a:gd name="T80" fmla="*/ 38 w 40"/>
                  <a:gd name="T81" fmla="*/ 18 h 24"/>
                  <a:gd name="T82" fmla="*/ 34 w 40"/>
                  <a:gd name="T83" fmla="*/ 14 h 24"/>
                  <a:gd name="T84" fmla="*/ 32 w 40"/>
                  <a:gd name="T85" fmla="*/ 12 h 24"/>
                  <a:gd name="T86" fmla="*/ 28 w 40"/>
                  <a:gd name="T87" fmla="*/ 10 h 24"/>
                  <a:gd name="T88" fmla="*/ 28 w 40"/>
                  <a:gd name="T89" fmla="*/ 10 h 24"/>
                  <a:gd name="T90" fmla="*/ 24 w 40"/>
                  <a:gd name="T91" fmla="*/ 8 h 24"/>
                  <a:gd name="T92" fmla="*/ 14 w 40"/>
                  <a:gd name="T93" fmla="*/ 4 h 24"/>
                  <a:gd name="T94" fmla="*/ 10 w 40"/>
                  <a:gd name="T95" fmla="*/ 2 h 24"/>
                  <a:gd name="T96" fmla="*/ 6 w 40"/>
                  <a:gd name="T97" fmla="*/ 0 h 24"/>
                  <a:gd name="T98" fmla="*/ 4 w 40"/>
                  <a:gd name="T99" fmla="*/ 0 h 24"/>
                  <a:gd name="T100" fmla="*/ 2 w 40"/>
                  <a:gd name="T101" fmla="*/ 0 h 24"/>
                  <a:gd name="T102" fmla="*/ 2 w 40"/>
                  <a:gd name="T103" fmla="*/ 2 h 24"/>
                  <a:gd name="T104" fmla="*/ 0 w 40"/>
                  <a:gd name="T105" fmla="*/ 2 h 24"/>
                  <a:gd name="T106" fmla="*/ 0 w 40"/>
                  <a:gd name="T107" fmla="*/ 2 h 24"/>
                  <a:gd name="T108" fmla="*/ 0 w 40"/>
                  <a:gd name="T109" fmla="*/ 2 h 24"/>
                  <a:gd name="T110" fmla="*/ 0 w 40"/>
                  <a:gd name="T111" fmla="*/ 2 h 24"/>
                  <a:gd name="T112" fmla="*/ 0 w 40"/>
                  <a:gd name="T113" fmla="*/ 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0" h="24">
                    <a:moveTo>
                      <a:pt x="0" y="2"/>
                    </a:move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6" y="8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2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2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6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30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6" y="24"/>
                    </a:lnTo>
                    <a:lnTo>
                      <a:pt x="38" y="24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38" y="20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4" y="14"/>
                    </a:lnTo>
                    <a:lnTo>
                      <a:pt x="32" y="12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4" y="8"/>
                    </a:lnTo>
                    <a:lnTo>
                      <a:pt x="14" y="4"/>
                    </a:lnTo>
                    <a:lnTo>
                      <a:pt x="10" y="2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47" name="Freeform 38"/>
              <p:cNvSpPr>
                <a:spLocks/>
              </p:cNvSpPr>
              <p:nvPr/>
            </p:nvSpPr>
            <p:spPr bwMode="auto">
              <a:xfrm>
                <a:off x="1809" y="1984"/>
                <a:ext cx="26" cy="18"/>
              </a:xfrm>
              <a:custGeom>
                <a:avLst/>
                <a:gdLst>
                  <a:gd name="T0" fmla="*/ 14 w 26"/>
                  <a:gd name="T1" fmla="*/ 10 h 18"/>
                  <a:gd name="T2" fmla="*/ 14 w 26"/>
                  <a:gd name="T3" fmla="*/ 10 h 18"/>
                  <a:gd name="T4" fmla="*/ 12 w 26"/>
                  <a:gd name="T5" fmla="*/ 8 h 18"/>
                  <a:gd name="T6" fmla="*/ 10 w 26"/>
                  <a:gd name="T7" fmla="*/ 8 h 18"/>
                  <a:gd name="T8" fmla="*/ 10 w 26"/>
                  <a:gd name="T9" fmla="*/ 6 h 18"/>
                  <a:gd name="T10" fmla="*/ 8 w 26"/>
                  <a:gd name="T11" fmla="*/ 6 h 18"/>
                  <a:gd name="T12" fmla="*/ 8 w 26"/>
                  <a:gd name="T13" fmla="*/ 6 h 18"/>
                  <a:gd name="T14" fmla="*/ 6 w 26"/>
                  <a:gd name="T15" fmla="*/ 2 h 18"/>
                  <a:gd name="T16" fmla="*/ 4 w 26"/>
                  <a:gd name="T17" fmla="*/ 0 h 18"/>
                  <a:gd name="T18" fmla="*/ 4 w 26"/>
                  <a:gd name="T19" fmla="*/ 0 h 18"/>
                  <a:gd name="T20" fmla="*/ 2 w 26"/>
                  <a:gd name="T21" fmla="*/ 0 h 18"/>
                  <a:gd name="T22" fmla="*/ 2 w 26"/>
                  <a:gd name="T23" fmla="*/ 0 h 18"/>
                  <a:gd name="T24" fmla="*/ 2 w 26"/>
                  <a:gd name="T25" fmla="*/ 0 h 18"/>
                  <a:gd name="T26" fmla="*/ 0 w 26"/>
                  <a:gd name="T27" fmla="*/ 0 h 18"/>
                  <a:gd name="T28" fmla="*/ 0 w 26"/>
                  <a:gd name="T29" fmla="*/ 2 h 18"/>
                  <a:gd name="T30" fmla="*/ 0 w 26"/>
                  <a:gd name="T31" fmla="*/ 4 h 18"/>
                  <a:gd name="T32" fmla="*/ 0 w 26"/>
                  <a:gd name="T33" fmla="*/ 6 h 18"/>
                  <a:gd name="T34" fmla="*/ 0 w 26"/>
                  <a:gd name="T35" fmla="*/ 6 h 18"/>
                  <a:gd name="T36" fmla="*/ 0 w 26"/>
                  <a:gd name="T37" fmla="*/ 6 h 18"/>
                  <a:gd name="T38" fmla="*/ 0 w 26"/>
                  <a:gd name="T39" fmla="*/ 6 h 18"/>
                  <a:gd name="T40" fmla="*/ 2 w 26"/>
                  <a:gd name="T41" fmla="*/ 8 h 18"/>
                  <a:gd name="T42" fmla="*/ 4 w 26"/>
                  <a:gd name="T43" fmla="*/ 8 h 18"/>
                  <a:gd name="T44" fmla="*/ 4 w 26"/>
                  <a:gd name="T45" fmla="*/ 8 h 18"/>
                  <a:gd name="T46" fmla="*/ 6 w 26"/>
                  <a:gd name="T47" fmla="*/ 8 h 18"/>
                  <a:gd name="T48" fmla="*/ 6 w 26"/>
                  <a:gd name="T49" fmla="*/ 8 h 18"/>
                  <a:gd name="T50" fmla="*/ 6 w 26"/>
                  <a:gd name="T51" fmla="*/ 8 h 18"/>
                  <a:gd name="T52" fmla="*/ 6 w 26"/>
                  <a:gd name="T53" fmla="*/ 10 h 18"/>
                  <a:gd name="T54" fmla="*/ 8 w 26"/>
                  <a:gd name="T55" fmla="*/ 12 h 18"/>
                  <a:gd name="T56" fmla="*/ 8 w 26"/>
                  <a:gd name="T57" fmla="*/ 12 h 18"/>
                  <a:gd name="T58" fmla="*/ 8 w 26"/>
                  <a:gd name="T59" fmla="*/ 12 h 18"/>
                  <a:gd name="T60" fmla="*/ 10 w 26"/>
                  <a:gd name="T61" fmla="*/ 12 h 18"/>
                  <a:gd name="T62" fmla="*/ 10 w 26"/>
                  <a:gd name="T63" fmla="*/ 14 h 18"/>
                  <a:gd name="T64" fmla="*/ 12 w 26"/>
                  <a:gd name="T65" fmla="*/ 14 h 18"/>
                  <a:gd name="T66" fmla="*/ 14 w 26"/>
                  <a:gd name="T67" fmla="*/ 14 h 18"/>
                  <a:gd name="T68" fmla="*/ 14 w 26"/>
                  <a:gd name="T69" fmla="*/ 14 h 18"/>
                  <a:gd name="T70" fmla="*/ 16 w 26"/>
                  <a:gd name="T71" fmla="*/ 16 h 18"/>
                  <a:gd name="T72" fmla="*/ 18 w 26"/>
                  <a:gd name="T73" fmla="*/ 18 h 18"/>
                  <a:gd name="T74" fmla="*/ 18 w 26"/>
                  <a:gd name="T75" fmla="*/ 18 h 18"/>
                  <a:gd name="T76" fmla="*/ 20 w 26"/>
                  <a:gd name="T77" fmla="*/ 18 h 18"/>
                  <a:gd name="T78" fmla="*/ 22 w 26"/>
                  <a:gd name="T79" fmla="*/ 18 h 18"/>
                  <a:gd name="T80" fmla="*/ 22 w 26"/>
                  <a:gd name="T81" fmla="*/ 18 h 18"/>
                  <a:gd name="T82" fmla="*/ 22 w 26"/>
                  <a:gd name="T83" fmla="*/ 18 h 18"/>
                  <a:gd name="T84" fmla="*/ 24 w 26"/>
                  <a:gd name="T85" fmla="*/ 18 h 18"/>
                  <a:gd name="T86" fmla="*/ 24 w 26"/>
                  <a:gd name="T87" fmla="*/ 16 h 18"/>
                  <a:gd name="T88" fmla="*/ 24 w 26"/>
                  <a:gd name="T89" fmla="*/ 14 h 18"/>
                  <a:gd name="T90" fmla="*/ 24 w 26"/>
                  <a:gd name="T91" fmla="*/ 14 h 18"/>
                  <a:gd name="T92" fmla="*/ 24 w 26"/>
                  <a:gd name="T93" fmla="*/ 12 h 18"/>
                  <a:gd name="T94" fmla="*/ 26 w 26"/>
                  <a:gd name="T95" fmla="*/ 12 h 18"/>
                  <a:gd name="T96" fmla="*/ 26 w 26"/>
                  <a:gd name="T97" fmla="*/ 10 h 18"/>
                  <a:gd name="T98" fmla="*/ 26 w 26"/>
                  <a:gd name="T99" fmla="*/ 8 h 18"/>
                  <a:gd name="T100" fmla="*/ 26 w 26"/>
                  <a:gd name="T101" fmla="*/ 8 h 18"/>
                  <a:gd name="T102" fmla="*/ 26 w 26"/>
                  <a:gd name="T103" fmla="*/ 8 h 18"/>
                  <a:gd name="T104" fmla="*/ 24 w 26"/>
                  <a:gd name="T105" fmla="*/ 8 h 18"/>
                  <a:gd name="T106" fmla="*/ 24 w 26"/>
                  <a:gd name="T107" fmla="*/ 8 h 18"/>
                  <a:gd name="T108" fmla="*/ 22 w 26"/>
                  <a:gd name="T109" fmla="*/ 10 h 18"/>
                  <a:gd name="T110" fmla="*/ 22 w 26"/>
                  <a:gd name="T111" fmla="*/ 10 h 18"/>
                  <a:gd name="T112" fmla="*/ 18 w 26"/>
                  <a:gd name="T113" fmla="*/ 10 h 18"/>
                  <a:gd name="T114" fmla="*/ 16 w 26"/>
                  <a:gd name="T115" fmla="*/ 10 h 18"/>
                  <a:gd name="T116" fmla="*/ 14 w 26"/>
                  <a:gd name="T117" fmla="*/ 10 h 18"/>
                  <a:gd name="T118" fmla="*/ 14 w 26"/>
                  <a:gd name="T119" fmla="*/ 10 h 18"/>
                  <a:gd name="T120" fmla="*/ 14 w 26"/>
                  <a:gd name="T121" fmla="*/ 10 h 18"/>
                  <a:gd name="T122" fmla="*/ 14 w 26"/>
                  <a:gd name="T123" fmla="*/ 10 h 18"/>
                  <a:gd name="T124" fmla="*/ 14 w 26"/>
                  <a:gd name="T125" fmla="*/ 1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6" h="18">
                    <a:moveTo>
                      <a:pt x="14" y="10"/>
                    </a:moveTo>
                    <a:lnTo>
                      <a:pt x="14" y="10"/>
                    </a:lnTo>
                    <a:lnTo>
                      <a:pt x="12" y="8"/>
                    </a:lnTo>
                    <a:lnTo>
                      <a:pt x="10" y="8"/>
                    </a:lnTo>
                    <a:lnTo>
                      <a:pt x="10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10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0" y="12"/>
                    </a:lnTo>
                    <a:lnTo>
                      <a:pt x="10" y="14"/>
                    </a:lnTo>
                    <a:lnTo>
                      <a:pt x="12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16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20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4" y="18"/>
                    </a:lnTo>
                    <a:lnTo>
                      <a:pt x="24" y="16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2"/>
                    </a:lnTo>
                    <a:lnTo>
                      <a:pt x="26" y="12"/>
                    </a:lnTo>
                    <a:lnTo>
                      <a:pt x="26" y="10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18" y="10"/>
                    </a:lnTo>
                    <a:lnTo>
                      <a:pt x="16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48" name="Freeform 39"/>
              <p:cNvSpPr>
                <a:spLocks/>
              </p:cNvSpPr>
              <p:nvPr/>
            </p:nvSpPr>
            <p:spPr bwMode="auto">
              <a:xfrm>
                <a:off x="1843" y="1988"/>
                <a:ext cx="20" cy="26"/>
              </a:xfrm>
              <a:custGeom>
                <a:avLst/>
                <a:gdLst>
                  <a:gd name="T0" fmla="*/ 6 w 20"/>
                  <a:gd name="T1" fmla="*/ 4 h 26"/>
                  <a:gd name="T2" fmla="*/ 4 w 20"/>
                  <a:gd name="T3" fmla="*/ 8 h 26"/>
                  <a:gd name="T4" fmla="*/ 4 w 20"/>
                  <a:gd name="T5" fmla="*/ 8 h 26"/>
                  <a:gd name="T6" fmla="*/ 4 w 20"/>
                  <a:gd name="T7" fmla="*/ 14 h 26"/>
                  <a:gd name="T8" fmla="*/ 2 w 20"/>
                  <a:gd name="T9" fmla="*/ 16 h 26"/>
                  <a:gd name="T10" fmla="*/ 0 w 20"/>
                  <a:gd name="T11" fmla="*/ 22 h 26"/>
                  <a:gd name="T12" fmla="*/ 0 w 20"/>
                  <a:gd name="T13" fmla="*/ 24 h 26"/>
                  <a:gd name="T14" fmla="*/ 0 w 20"/>
                  <a:gd name="T15" fmla="*/ 26 h 26"/>
                  <a:gd name="T16" fmla="*/ 2 w 20"/>
                  <a:gd name="T17" fmla="*/ 26 h 26"/>
                  <a:gd name="T18" fmla="*/ 2 w 20"/>
                  <a:gd name="T19" fmla="*/ 26 h 26"/>
                  <a:gd name="T20" fmla="*/ 4 w 20"/>
                  <a:gd name="T21" fmla="*/ 26 h 26"/>
                  <a:gd name="T22" fmla="*/ 6 w 20"/>
                  <a:gd name="T23" fmla="*/ 26 h 26"/>
                  <a:gd name="T24" fmla="*/ 10 w 20"/>
                  <a:gd name="T25" fmla="*/ 26 h 26"/>
                  <a:gd name="T26" fmla="*/ 12 w 20"/>
                  <a:gd name="T27" fmla="*/ 26 h 26"/>
                  <a:gd name="T28" fmla="*/ 16 w 20"/>
                  <a:gd name="T29" fmla="*/ 22 h 26"/>
                  <a:gd name="T30" fmla="*/ 18 w 20"/>
                  <a:gd name="T31" fmla="*/ 22 h 26"/>
                  <a:gd name="T32" fmla="*/ 20 w 20"/>
                  <a:gd name="T33" fmla="*/ 18 h 26"/>
                  <a:gd name="T34" fmla="*/ 20 w 20"/>
                  <a:gd name="T35" fmla="*/ 16 h 26"/>
                  <a:gd name="T36" fmla="*/ 18 w 20"/>
                  <a:gd name="T37" fmla="*/ 14 h 26"/>
                  <a:gd name="T38" fmla="*/ 18 w 20"/>
                  <a:gd name="T39" fmla="*/ 16 h 26"/>
                  <a:gd name="T40" fmla="*/ 14 w 20"/>
                  <a:gd name="T41" fmla="*/ 18 h 26"/>
                  <a:gd name="T42" fmla="*/ 14 w 20"/>
                  <a:gd name="T43" fmla="*/ 20 h 26"/>
                  <a:gd name="T44" fmla="*/ 10 w 20"/>
                  <a:gd name="T45" fmla="*/ 20 h 26"/>
                  <a:gd name="T46" fmla="*/ 10 w 20"/>
                  <a:gd name="T47" fmla="*/ 20 h 26"/>
                  <a:gd name="T48" fmla="*/ 12 w 20"/>
                  <a:gd name="T49" fmla="*/ 18 h 26"/>
                  <a:gd name="T50" fmla="*/ 14 w 20"/>
                  <a:gd name="T51" fmla="*/ 14 h 26"/>
                  <a:gd name="T52" fmla="*/ 16 w 20"/>
                  <a:gd name="T53" fmla="*/ 10 h 26"/>
                  <a:gd name="T54" fmla="*/ 16 w 20"/>
                  <a:gd name="T55" fmla="*/ 8 h 26"/>
                  <a:gd name="T56" fmla="*/ 16 w 20"/>
                  <a:gd name="T57" fmla="*/ 2 h 26"/>
                  <a:gd name="T58" fmla="*/ 16 w 20"/>
                  <a:gd name="T59" fmla="*/ 0 h 26"/>
                  <a:gd name="T60" fmla="*/ 14 w 20"/>
                  <a:gd name="T61" fmla="*/ 0 h 26"/>
                  <a:gd name="T62" fmla="*/ 12 w 20"/>
                  <a:gd name="T63" fmla="*/ 0 h 26"/>
                  <a:gd name="T64" fmla="*/ 10 w 20"/>
                  <a:gd name="T65" fmla="*/ 2 h 26"/>
                  <a:gd name="T66" fmla="*/ 6 w 20"/>
                  <a:gd name="T67" fmla="*/ 4 h 26"/>
                  <a:gd name="T68" fmla="*/ 6 w 20"/>
                  <a:gd name="T69" fmla="*/ 4 h 26"/>
                  <a:gd name="T70" fmla="*/ 6 w 20"/>
                  <a:gd name="T71" fmla="*/ 4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0" h="26">
                    <a:moveTo>
                      <a:pt x="6" y="4"/>
                    </a:moveTo>
                    <a:lnTo>
                      <a:pt x="6" y="4"/>
                    </a:lnTo>
                    <a:lnTo>
                      <a:pt x="4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2" y="16"/>
                    </a:lnTo>
                    <a:lnTo>
                      <a:pt x="2" y="20"/>
                    </a:lnTo>
                    <a:lnTo>
                      <a:pt x="0" y="22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8" y="26"/>
                    </a:lnTo>
                    <a:lnTo>
                      <a:pt x="10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4" y="24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8" y="22"/>
                    </a:lnTo>
                    <a:lnTo>
                      <a:pt x="18" y="20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6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6"/>
                    </a:lnTo>
                    <a:lnTo>
                      <a:pt x="16" y="16"/>
                    </a:lnTo>
                    <a:lnTo>
                      <a:pt x="14" y="18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2" y="20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4" y="14"/>
                    </a:lnTo>
                    <a:lnTo>
                      <a:pt x="14" y="12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10" y="2"/>
                    </a:lnTo>
                    <a:lnTo>
                      <a:pt x="8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49" name="Freeform 41"/>
              <p:cNvSpPr>
                <a:spLocks/>
              </p:cNvSpPr>
              <p:nvPr/>
            </p:nvSpPr>
            <p:spPr bwMode="auto">
              <a:xfrm>
                <a:off x="1905" y="1780"/>
                <a:ext cx="6" cy="4"/>
              </a:xfrm>
              <a:custGeom>
                <a:avLst/>
                <a:gdLst>
                  <a:gd name="T0" fmla="*/ 0 w 6"/>
                  <a:gd name="T1" fmla="*/ 0 h 4"/>
                  <a:gd name="T2" fmla="*/ 0 w 6"/>
                  <a:gd name="T3" fmla="*/ 0 h 4"/>
                  <a:gd name="T4" fmla="*/ 0 w 6"/>
                  <a:gd name="T5" fmla="*/ 0 h 4"/>
                  <a:gd name="T6" fmla="*/ 0 w 6"/>
                  <a:gd name="T7" fmla="*/ 2 h 4"/>
                  <a:gd name="T8" fmla="*/ 0 w 6"/>
                  <a:gd name="T9" fmla="*/ 2 h 4"/>
                  <a:gd name="T10" fmla="*/ 0 w 6"/>
                  <a:gd name="T11" fmla="*/ 4 h 4"/>
                  <a:gd name="T12" fmla="*/ 2 w 6"/>
                  <a:gd name="T13" fmla="*/ 4 h 4"/>
                  <a:gd name="T14" fmla="*/ 2 w 6"/>
                  <a:gd name="T15" fmla="*/ 4 h 4"/>
                  <a:gd name="T16" fmla="*/ 2 w 6"/>
                  <a:gd name="T17" fmla="*/ 4 h 4"/>
                  <a:gd name="T18" fmla="*/ 2 w 6"/>
                  <a:gd name="T19" fmla="*/ 4 h 4"/>
                  <a:gd name="T20" fmla="*/ 4 w 6"/>
                  <a:gd name="T21" fmla="*/ 2 h 4"/>
                  <a:gd name="T22" fmla="*/ 4 w 6"/>
                  <a:gd name="T23" fmla="*/ 2 h 4"/>
                  <a:gd name="T24" fmla="*/ 4 w 6"/>
                  <a:gd name="T25" fmla="*/ 2 h 4"/>
                  <a:gd name="T26" fmla="*/ 6 w 6"/>
                  <a:gd name="T27" fmla="*/ 2 h 4"/>
                  <a:gd name="T28" fmla="*/ 6 w 6"/>
                  <a:gd name="T29" fmla="*/ 2 h 4"/>
                  <a:gd name="T30" fmla="*/ 6 w 6"/>
                  <a:gd name="T31" fmla="*/ 0 h 4"/>
                  <a:gd name="T32" fmla="*/ 4 w 6"/>
                  <a:gd name="T33" fmla="*/ 0 h 4"/>
                  <a:gd name="T34" fmla="*/ 4 w 6"/>
                  <a:gd name="T35" fmla="*/ 0 h 4"/>
                  <a:gd name="T36" fmla="*/ 2 w 6"/>
                  <a:gd name="T37" fmla="*/ 0 h 4"/>
                  <a:gd name="T38" fmla="*/ 0 w 6"/>
                  <a:gd name="T39" fmla="*/ 0 h 4"/>
                  <a:gd name="T40" fmla="*/ 0 w 6"/>
                  <a:gd name="T41" fmla="*/ 0 h 4"/>
                  <a:gd name="T42" fmla="*/ 0 w 6"/>
                  <a:gd name="T43" fmla="*/ 0 h 4"/>
                  <a:gd name="T44" fmla="*/ 0 w 6"/>
                  <a:gd name="T45" fmla="*/ 0 h 4"/>
                  <a:gd name="T46" fmla="*/ 0 w 6"/>
                  <a:gd name="T4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" h="4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50" name="Freeform 44"/>
              <p:cNvSpPr>
                <a:spLocks/>
              </p:cNvSpPr>
              <p:nvPr/>
            </p:nvSpPr>
            <p:spPr bwMode="auto">
              <a:xfrm>
                <a:off x="1897" y="1738"/>
                <a:ext cx="8" cy="6"/>
              </a:xfrm>
              <a:custGeom>
                <a:avLst/>
                <a:gdLst>
                  <a:gd name="T0" fmla="*/ 4 w 8"/>
                  <a:gd name="T1" fmla="*/ 0 h 6"/>
                  <a:gd name="T2" fmla="*/ 4 w 8"/>
                  <a:gd name="T3" fmla="*/ 0 h 6"/>
                  <a:gd name="T4" fmla="*/ 2 w 8"/>
                  <a:gd name="T5" fmla="*/ 0 h 6"/>
                  <a:gd name="T6" fmla="*/ 0 w 8"/>
                  <a:gd name="T7" fmla="*/ 0 h 6"/>
                  <a:gd name="T8" fmla="*/ 0 w 8"/>
                  <a:gd name="T9" fmla="*/ 2 h 6"/>
                  <a:gd name="T10" fmla="*/ 0 w 8"/>
                  <a:gd name="T11" fmla="*/ 2 h 6"/>
                  <a:gd name="T12" fmla="*/ 0 w 8"/>
                  <a:gd name="T13" fmla="*/ 2 h 6"/>
                  <a:gd name="T14" fmla="*/ 0 w 8"/>
                  <a:gd name="T15" fmla="*/ 2 h 6"/>
                  <a:gd name="T16" fmla="*/ 0 w 8"/>
                  <a:gd name="T17" fmla="*/ 4 h 6"/>
                  <a:gd name="T18" fmla="*/ 4 w 8"/>
                  <a:gd name="T19" fmla="*/ 4 h 6"/>
                  <a:gd name="T20" fmla="*/ 4 w 8"/>
                  <a:gd name="T21" fmla="*/ 4 h 6"/>
                  <a:gd name="T22" fmla="*/ 4 w 8"/>
                  <a:gd name="T23" fmla="*/ 4 h 6"/>
                  <a:gd name="T24" fmla="*/ 6 w 8"/>
                  <a:gd name="T25" fmla="*/ 6 h 6"/>
                  <a:gd name="T26" fmla="*/ 6 w 8"/>
                  <a:gd name="T27" fmla="*/ 6 h 6"/>
                  <a:gd name="T28" fmla="*/ 6 w 8"/>
                  <a:gd name="T29" fmla="*/ 6 h 6"/>
                  <a:gd name="T30" fmla="*/ 6 w 8"/>
                  <a:gd name="T31" fmla="*/ 4 h 6"/>
                  <a:gd name="T32" fmla="*/ 8 w 8"/>
                  <a:gd name="T33" fmla="*/ 4 h 6"/>
                  <a:gd name="T34" fmla="*/ 6 w 8"/>
                  <a:gd name="T35" fmla="*/ 4 h 6"/>
                  <a:gd name="T36" fmla="*/ 6 w 8"/>
                  <a:gd name="T37" fmla="*/ 4 h 6"/>
                  <a:gd name="T38" fmla="*/ 6 w 8"/>
                  <a:gd name="T39" fmla="*/ 2 h 6"/>
                  <a:gd name="T40" fmla="*/ 4 w 8"/>
                  <a:gd name="T41" fmla="*/ 0 h 6"/>
                  <a:gd name="T42" fmla="*/ 4 w 8"/>
                  <a:gd name="T43" fmla="*/ 0 h 6"/>
                  <a:gd name="T44" fmla="*/ 4 w 8"/>
                  <a:gd name="T45" fmla="*/ 0 h 6"/>
                  <a:gd name="T46" fmla="*/ 4 w 8"/>
                  <a:gd name="T47" fmla="*/ 0 h 6"/>
                  <a:gd name="T48" fmla="*/ 4 w 8"/>
                  <a:gd name="T4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8" h="6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8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51" name="Freeform 45"/>
              <p:cNvSpPr>
                <a:spLocks/>
              </p:cNvSpPr>
              <p:nvPr/>
            </p:nvSpPr>
            <p:spPr bwMode="auto">
              <a:xfrm>
                <a:off x="1891" y="1688"/>
                <a:ext cx="6" cy="6"/>
              </a:xfrm>
              <a:custGeom>
                <a:avLst/>
                <a:gdLst>
                  <a:gd name="T0" fmla="*/ 2 w 6"/>
                  <a:gd name="T1" fmla="*/ 0 h 6"/>
                  <a:gd name="T2" fmla="*/ 2 w 6"/>
                  <a:gd name="T3" fmla="*/ 0 h 6"/>
                  <a:gd name="T4" fmla="*/ 0 w 6"/>
                  <a:gd name="T5" fmla="*/ 0 h 6"/>
                  <a:gd name="T6" fmla="*/ 0 w 6"/>
                  <a:gd name="T7" fmla="*/ 0 h 6"/>
                  <a:gd name="T8" fmla="*/ 0 w 6"/>
                  <a:gd name="T9" fmla="*/ 0 h 6"/>
                  <a:gd name="T10" fmla="*/ 0 w 6"/>
                  <a:gd name="T11" fmla="*/ 0 h 6"/>
                  <a:gd name="T12" fmla="*/ 0 w 6"/>
                  <a:gd name="T13" fmla="*/ 2 h 6"/>
                  <a:gd name="T14" fmla="*/ 0 w 6"/>
                  <a:gd name="T15" fmla="*/ 4 h 6"/>
                  <a:gd name="T16" fmla="*/ 0 w 6"/>
                  <a:gd name="T17" fmla="*/ 4 h 6"/>
                  <a:gd name="T18" fmla="*/ 2 w 6"/>
                  <a:gd name="T19" fmla="*/ 4 h 6"/>
                  <a:gd name="T20" fmla="*/ 2 w 6"/>
                  <a:gd name="T21" fmla="*/ 4 h 6"/>
                  <a:gd name="T22" fmla="*/ 2 w 6"/>
                  <a:gd name="T23" fmla="*/ 4 h 6"/>
                  <a:gd name="T24" fmla="*/ 2 w 6"/>
                  <a:gd name="T25" fmla="*/ 4 h 6"/>
                  <a:gd name="T26" fmla="*/ 4 w 6"/>
                  <a:gd name="T27" fmla="*/ 6 h 6"/>
                  <a:gd name="T28" fmla="*/ 4 w 6"/>
                  <a:gd name="T29" fmla="*/ 6 h 6"/>
                  <a:gd name="T30" fmla="*/ 4 w 6"/>
                  <a:gd name="T31" fmla="*/ 6 h 6"/>
                  <a:gd name="T32" fmla="*/ 4 w 6"/>
                  <a:gd name="T33" fmla="*/ 6 h 6"/>
                  <a:gd name="T34" fmla="*/ 6 w 6"/>
                  <a:gd name="T35" fmla="*/ 4 h 6"/>
                  <a:gd name="T36" fmla="*/ 6 w 6"/>
                  <a:gd name="T37" fmla="*/ 4 h 6"/>
                  <a:gd name="T38" fmla="*/ 6 w 6"/>
                  <a:gd name="T39" fmla="*/ 2 h 6"/>
                  <a:gd name="T40" fmla="*/ 6 w 6"/>
                  <a:gd name="T41" fmla="*/ 2 h 6"/>
                  <a:gd name="T42" fmla="*/ 6 w 6"/>
                  <a:gd name="T43" fmla="*/ 2 h 6"/>
                  <a:gd name="T44" fmla="*/ 4 w 6"/>
                  <a:gd name="T45" fmla="*/ 2 h 6"/>
                  <a:gd name="T46" fmla="*/ 4 w 6"/>
                  <a:gd name="T47" fmla="*/ 0 h 6"/>
                  <a:gd name="T48" fmla="*/ 2 w 6"/>
                  <a:gd name="T49" fmla="*/ 0 h 6"/>
                  <a:gd name="T50" fmla="*/ 2 w 6"/>
                  <a:gd name="T51" fmla="*/ 0 h 6"/>
                  <a:gd name="T52" fmla="*/ 2 w 6"/>
                  <a:gd name="T53" fmla="*/ 0 h 6"/>
                  <a:gd name="T54" fmla="*/ 2 w 6"/>
                  <a:gd name="T55" fmla="*/ 0 h 6"/>
                  <a:gd name="T56" fmla="*/ 2 w 6"/>
                  <a:gd name="T5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" h="6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52" name="Freeform 46"/>
              <p:cNvSpPr>
                <a:spLocks/>
              </p:cNvSpPr>
              <p:nvPr/>
            </p:nvSpPr>
            <p:spPr bwMode="auto">
              <a:xfrm>
                <a:off x="1891" y="1688"/>
                <a:ext cx="6" cy="6"/>
              </a:xfrm>
              <a:custGeom>
                <a:avLst/>
                <a:gdLst>
                  <a:gd name="T0" fmla="*/ 2 w 6"/>
                  <a:gd name="T1" fmla="*/ 0 h 6"/>
                  <a:gd name="T2" fmla="*/ 2 w 6"/>
                  <a:gd name="T3" fmla="*/ 0 h 6"/>
                  <a:gd name="T4" fmla="*/ 0 w 6"/>
                  <a:gd name="T5" fmla="*/ 0 h 6"/>
                  <a:gd name="T6" fmla="*/ 0 w 6"/>
                  <a:gd name="T7" fmla="*/ 0 h 6"/>
                  <a:gd name="T8" fmla="*/ 0 w 6"/>
                  <a:gd name="T9" fmla="*/ 0 h 6"/>
                  <a:gd name="T10" fmla="*/ 0 w 6"/>
                  <a:gd name="T11" fmla="*/ 0 h 6"/>
                  <a:gd name="T12" fmla="*/ 0 w 6"/>
                  <a:gd name="T13" fmla="*/ 2 h 6"/>
                  <a:gd name="T14" fmla="*/ 0 w 6"/>
                  <a:gd name="T15" fmla="*/ 4 h 6"/>
                  <a:gd name="T16" fmla="*/ 0 w 6"/>
                  <a:gd name="T17" fmla="*/ 4 h 6"/>
                  <a:gd name="T18" fmla="*/ 2 w 6"/>
                  <a:gd name="T19" fmla="*/ 4 h 6"/>
                  <a:gd name="T20" fmla="*/ 2 w 6"/>
                  <a:gd name="T21" fmla="*/ 4 h 6"/>
                  <a:gd name="T22" fmla="*/ 2 w 6"/>
                  <a:gd name="T23" fmla="*/ 4 h 6"/>
                  <a:gd name="T24" fmla="*/ 2 w 6"/>
                  <a:gd name="T25" fmla="*/ 4 h 6"/>
                  <a:gd name="T26" fmla="*/ 4 w 6"/>
                  <a:gd name="T27" fmla="*/ 6 h 6"/>
                  <a:gd name="T28" fmla="*/ 4 w 6"/>
                  <a:gd name="T29" fmla="*/ 6 h 6"/>
                  <a:gd name="T30" fmla="*/ 4 w 6"/>
                  <a:gd name="T31" fmla="*/ 6 h 6"/>
                  <a:gd name="T32" fmla="*/ 4 w 6"/>
                  <a:gd name="T33" fmla="*/ 6 h 6"/>
                  <a:gd name="T34" fmla="*/ 6 w 6"/>
                  <a:gd name="T35" fmla="*/ 4 h 6"/>
                  <a:gd name="T36" fmla="*/ 6 w 6"/>
                  <a:gd name="T37" fmla="*/ 4 h 6"/>
                  <a:gd name="T38" fmla="*/ 6 w 6"/>
                  <a:gd name="T39" fmla="*/ 2 h 6"/>
                  <a:gd name="T40" fmla="*/ 6 w 6"/>
                  <a:gd name="T41" fmla="*/ 2 h 6"/>
                  <a:gd name="T42" fmla="*/ 6 w 6"/>
                  <a:gd name="T43" fmla="*/ 2 h 6"/>
                  <a:gd name="T44" fmla="*/ 4 w 6"/>
                  <a:gd name="T45" fmla="*/ 2 h 6"/>
                  <a:gd name="T46" fmla="*/ 4 w 6"/>
                  <a:gd name="T47" fmla="*/ 0 h 6"/>
                  <a:gd name="T48" fmla="*/ 2 w 6"/>
                  <a:gd name="T49" fmla="*/ 0 h 6"/>
                  <a:gd name="T50" fmla="*/ 2 w 6"/>
                  <a:gd name="T51" fmla="*/ 0 h 6"/>
                  <a:gd name="T52" fmla="*/ 2 w 6"/>
                  <a:gd name="T53" fmla="*/ 0 h 6"/>
                  <a:gd name="T54" fmla="*/ 2 w 6"/>
                  <a:gd name="T55" fmla="*/ 0 h 6"/>
                  <a:gd name="T56" fmla="*/ 2 w 6"/>
                  <a:gd name="T5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" h="6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53" name="Freeform 47"/>
              <p:cNvSpPr>
                <a:spLocks/>
              </p:cNvSpPr>
              <p:nvPr/>
            </p:nvSpPr>
            <p:spPr bwMode="auto">
              <a:xfrm>
                <a:off x="1831" y="1680"/>
                <a:ext cx="12" cy="12"/>
              </a:xfrm>
              <a:custGeom>
                <a:avLst/>
                <a:gdLst>
                  <a:gd name="T0" fmla="*/ 6 w 12"/>
                  <a:gd name="T1" fmla="*/ 0 h 12"/>
                  <a:gd name="T2" fmla="*/ 6 w 12"/>
                  <a:gd name="T3" fmla="*/ 0 h 12"/>
                  <a:gd name="T4" fmla="*/ 4 w 12"/>
                  <a:gd name="T5" fmla="*/ 0 h 12"/>
                  <a:gd name="T6" fmla="*/ 2 w 12"/>
                  <a:gd name="T7" fmla="*/ 0 h 12"/>
                  <a:gd name="T8" fmla="*/ 2 w 12"/>
                  <a:gd name="T9" fmla="*/ 0 h 12"/>
                  <a:gd name="T10" fmla="*/ 0 w 12"/>
                  <a:gd name="T11" fmla="*/ 0 h 12"/>
                  <a:gd name="T12" fmla="*/ 0 w 12"/>
                  <a:gd name="T13" fmla="*/ 0 h 12"/>
                  <a:gd name="T14" fmla="*/ 0 w 12"/>
                  <a:gd name="T15" fmla="*/ 0 h 12"/>
                  <a:gd name="T16" fmla="*/ 0 w 12"/>
                  <a:gd name="T17" fmla="*/ 2 h 12"/>
                  <a:gd name="T18" fmla="*/ 2 w 12"/>
                  <a:gd name="T19" fmla="*/ 4 h 12"/>
                  <a:gd name="T20" fmla="*/ 4 w 12"/>
                  <a:gd name="T21" fmla="*/ 6 h 12"/>
                  <a:gd name="T22" fmla="*/ 4 w 12"/>
                  <a:gd name="T23" fmla="*/ 6 h 12"/>
                  <a:gd name="T24" fmla="*/ 4 w 12"/>
                  <a:gd name="T25" fmla="*/ 8 h 12"/>
                  <a:gd name="T26" fmla="*/ 6 w 12"/>
                  <a:gd name="T27" fmla="*/ 10 h 12"/>
                  <a:gd name="T28" fmla="*/ 6 w 12"/>
                  <a:gd name="T29" fmla="*/ 10 h 12"/>
                  <a:gd name="T30" fmla="*/ 6 w 12"/>
                  <a:gd name="T31" fmla="*/ 12 h 12"/>
                  <a:gd name="T32" fmla="*/ 8 w 12"/>
                  <a:gd name="T33" fmla="*/ 12 h 12"/>
                  <a:gd name="T34" fmla="*/ 8 w 12"/>
                  <a:gd name="T35" fmla="*/ 12 h 12"/>
                  <a:gd name="T36" fmla="*/ 10 w 12"/>
                  <a:gd name="T37" fmla="*/ 12 h 12"/>
                  <a:gd name="T38" fmla="*/ 10 w 12"/>
                  <a:gd name="T39" fmla="*/ 12 h 12"/>
                  <a:gd name="T40" fmla="*/ 10 w 12"/>
                  <a:gd name="T41" fmla="*/ 10 h 12"/>
                  <a:gd name="T42" fmla="*/ 12 w 12"/>
                  <a:gd name="T43" fmla="*/ 10 h 12"/>
                  <a:gd name="T44" fmla="*/ 12 w 12"/>
                  <a:gd name="T45" fmla="*/ 10 h 12"/>
                  <a:gd name="T46" fmla="*/ 12 w 12"/>
                  <a:gd name="T47" fmla="*/ 6 h 12"/>
                  <a:gd name="T48" fmla="*/ 12 w 12"/>
                  <a:gd name="T49" fmla="*/ 4 h 12"/>
                  <a:gd name="T50" fmla="*/ 12 w 12"/>
                  <a:gd name="T51" fmla="*/ 4 h 12"/>
                  <a:gd name="T52" fmla="*/ 12 w 12"/>
                  <a:gd name="T53" fmla="*/ 2 h 12"/>
                  <a:gd name="T54" fmla="*/ 10 w 12"/>
                  <a:gd name="T55" fmla="*/ 0 h 12"/>
                  <a:gd name="T56" fmla="*/ 10 w 12"/>
                  <a:gd name="T57" fmla="*/ 0 h 12"/>
                  <a:gd name="T58" fmla="*/ 10 w 12"/>
                  <a:gd name="T59" fmla="*/ 0 h 12"/>
                  <a:gd name="T60" fmla="*/ 8 w 12"/>
                  <a:gd name="T61" fmla="*/ 0 h 12"/>
                  <a:gd name="T62" fmla="*/ 8 w 12"/>
                  <a:gd name="T63" fmla="*/ 0 h 12"/>
                  <a:gd name="T64" fmla="*/ 6 w 12"/>
                  <a:gd name="T65" fmla="*/ 0 h 12"/>
                  <a:gd name="T66" fmla="*/ 6 w 12"/>
                  <a:gd name="T67" fmla="*/ 0 h 12"/>
                  <a:gd name="T68" fmla="*/ 6 w 12"/>
                  <a:gd name="T69" fmla="*/ 0 h 12"/>
                  <a:gd name="T70" fmla="*/ 6 w 12"/>
                  <a:gd name="T71" fmla="*/ 0 h 12"/>
                  <a:gd name="T72" fmla="*/ 6 w 12"/>
                  <a:gd name="T7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8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6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2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54" name="Freeform 49"/>
              <p:cNvSpPr>
                <a:spLocks/>
              </p:cNvSpPr>
              <p:nvPr/>
            </p:nvSpPr>
            <p:spPr bwMode="auto">
              <a:xfrm>
                <a:off x="1671" y="1290"/>
                <a:ext cx="300" cy="364"/>
              </a:xfrm>
              <a:custGeom>
                <a:avLst/>
                <a:gdLst>
                  <a:gd name="T0" fmla="*/ 226 w 300"/>
                  <a:gd name="T1" fmla="*/ 340 h 364"/>
                  <a:gd name="T2" fmla="*/ 234 w 300"/>
                  <a:gd name="T3" fmla="*/ 306 h 364"/>
                  <a:gd name="T4" fmla="*/ 216 w 300"/>
                  <a:gd name="T5" fmla="*/ 270 h 364"/>
                  <a:gd name="T6" fmla="*/ 216 w 300"/>
                  <a:gd name="T7" fmla="*/ 250 h 364"/>
                  <a:gd name="T8" fmla="*/ 246 w 300"/>
                  <a:gd name="T9" fmla="*/ 256 h 364"/>
                  <a:gd name="T10" fmla="*/ 250 w 300"/>
                  <a:gd name="T11" fmla="*/ 282 h 364"/>
                  <a:gd name="T12" fmla="*/ 266 w 300"/>
                  <a:gd name="T13" fmla="*/ 276 h 364"/>
                  <a:gd name="T14" fmla="*/ 284 w 300"/>
                  <a:gd name="T15" fmla="*/ 268 h 364"/>
                  <a:gd name="T16" fmla="*/ 300 w 300"/>
                  <a:gd name="T17" fmla="*/ 246 h 364"/>
                  <a:gd name="T18" fmla="*/ 278 w 300"/>
                  <a:gd name="T19" fmla="*/ 240 h 364"/>
                  <a:gd name="T20" fmla="*/ 272 w 300"/>
                  <a:gd name="T21" fmla="*/ 224 h 364"/>
                  <a:gd name="T22" fmla="*/ 256 w 300"/>
                  <a:gd name="T23" fmla="*/ 208 h 364"/>
                  <a:gd name="T24" fmla="*/ 238 w 300"/>
                  <a:gd name="T25" fmla="*/ 184 h 364"/>
                  <a:gd name="T26" fmla="*/ 246 w 300"/>
                  <a:gd name="T27" fmla="*/ 170 h 364"/>
                  <a:gd name="T28" fmla="*/ 250 w 300"/>
                  <a:gd name="T29" fmla="*/ 146 h 364"/>
                  <a:gd name="T30" fmla="*/ 230 w 300"/>
                  <a:gd name="T31" fmla="*/ 144 h 364"/>
                  <a:gd name="T32" fmla="*/ 232 w 300"/>
                  <a:gd name="T33" fmla="*/ 134 h 364"/>
                  <a:gd name="T34" fmla="*/ 206 w 300"/>
                  <a:gd name="T35" fmla="*/ 126 h 364"/>
                  <a:gd name="T36" fmla="*/ 222 w 300"/>
                  <a:gd name="T37" fmla="*/ 112 h 364"/>
                  <a:gd name="T38" fmla="*/ 188 w 300"/>
                  <a:gd name="T39" fmla="*/ 106 h 364"/>
                  <a:gd name="T40" fmla="*/ 172 w 300"/>
                  <a:gd name="T41" fmla="*/ 90 h 364"/>
                  <a:gd name="T42" fmla="*/ 172 w 300"/>
                  <a:gd name="T43" fmla="*/ 74 h 364"/>
                  <a:gd name="T44" fmla="*/ 140 w 300"/>
                  <a:gd name="T45" fmla="*/ 58 h 364"/>
                  <a:gd name="T46" fmla="*/ 126 w 300"/>
                  <a:gd name="T47" fmla="*/ 64 h 364"/>
                  <a:gd name="T48" fmla="*/ 110 w 300"/>
                  <a:gd name="T49" fmla="*/ 68 h 364"/>
                  <a:gd name="T50" fmla="*/ 116 w 300"/>
                  <a:gd name="T51" fmla="*/ 36 h 364"/>
                  <a:gd name="T52" fmla="*/ 96 w 300"/>
                  <a:gd name="T53" fmla="*/ 18 h 364"/>
                  <a:gd name="T54" fmla="*/ 76 w 300"/>
                  <a:gd name="T55" fmla="*/ 24 h 364"/>
                  <a:gd name="T56" fmla="*/ 64 w 300"/>
                  <a:gd name="T57" fmla="*/ 46 h 364"/>
                  <a:gd name="T58" fmla="*/ 58 w 300"/>
                  <a:gd name="T59" fmla="*/ 78 h 364"/>
                  <a:gd name="T60" fmla="*/ 52 w 300"/>
                  <a:gd name="T61" fmla="*/ 58 h 364"/>
                  <a:gd name="T62" fmla="*/ 82 w 300"/>
                  <a:gd name="T63" fmla="*/ 8 h 364"/>
                  <a:gd name="T64" fmla="*/ 40 w 300"/>
                  <a:gd name="T65" fmla="*/ 4 h 364"/>
                  <a:gd name="T66" fmla="*/ 14 w 300"/>
                  <a:gd name="T67" fmla="*/ 26 h 364"/>
                  <a:gd name="T68" fmla="*/ 14 w 300"/>
                  <a:gd name="T69" fmla="*/ 66 h 364"/>
                  <a:gd name="T70" fmla="*/ 12 w 300"/>
                  <a:gd name="T71" fmla="*/ 68 h 364"/>
                  <a:gd name="T72" fmla="*/ 8 w 300"/>
                  <a:gd name="T73" fmla="*/ 88 h 364"/>
                  <a:gd name="T74" fmla="*/ 26 w 300"/>
                  <a:gd name="T75" fmla="*/ 94 h 364"/>
                  <a:gd name="T76" fmla="*/ 52 w 300"/>
                  <a:gd name="T77" fmla="*/ 110 h 364"/>
                  <a:gd name="T78" fmla="*/ 78 w 300"/>
                  <a:gd name="T79" fmla="*/ 120 h 364"/>
                  <a:gd name="T80" fmla="*/ 108 w 300"/>
                  <a:gd name="T81" fmla="*/ 132 h 364"/>
                  <a:gd name="T82" fmla="*/ 124 w 300"/>
                  <a:gd name="T83" fmla="*/ 110 h 364"/>
                  <a:gd name="T84" fmla="*/ 136 w 300"/>
                  <a:gd name="T85" fmla="*/ 142 h 364"/>
                  <a:gd name="T86" fmla="*/ 144 w 300"/>
                  <a:gd name="T87" fmla="*/ 164 h 364"/>
                  <a:gd name="T88" fmla="*/ 168 w 300"/>
                  <a:gd name="T89" fmla="*/ 174 h 364"/>
                  <a:gd name="T90" fmla="*/ 172 w 300"/>
                  <a:gd name="T91" fmla="*/ 208 h 364"/>
                  <a:gd name="T92" fmla="*/ 194 w 300"/>
                  <a:gd name="T93" fmla="*/ 234 h 364"/>
                  <a:gd name="T94" fmla="*/ 164 w 300"/>
                  <a:gd name="T95" fmla="*/ 258 h 364"/>
                  <a:gd name="T96" fmla="*/ 176 w 300"/>
                  <a:gd name="T97" fmla="*/ 290 h 364"/>
                  <a:gd name="T98" fmla="*/ 146 w 300"/>
                  <a:gd name="T99" fmla="*/ 280 h 364"/>
                  <a:gd name="T100" fmla="*/ 166 w 300"/>
                  <a:gd name="T101" fmla="*/ 250 h 364"/>
                  <a:gd name="T102" fmla="*/ 172 w 300"/>
                  <a:gd name="T103" fmla="*/ 220 h 364"/>
                  <a:gd name="T104" fmla="*/ 154 w 300"/>
                  <a:gd name="T105" fmla="*/ 224 h 364"/>
                  <a:gd name="T106" fmla="*/ 124 w 300"/>
                  <a:gd name="T107" fmla="*/ 258 h 364"/>
                  <a:gd name="T108" fmla="*/ 82 w 300"/>
                  <a:gd name="T109" fmla="*/ 258 h 364"/>
                  <a:gd name="T110" fmla="*/ 96 w 300"/>
                  <a:gd name="T111" fmla="*/ 282 h 364"/>
                  <a:gd name="T112" fmla="*/ 102 w 300"/>
                  <a:gd name="T113" fmla="*/ 264 h 364"/>
                  <a:gd name="T114" fmla="*/ 116 w 300"/>
                  <a:gd name="T115" fmla="*/ 282 h 364"/>
                  <a:gd name="T116" fmla="*/ 132 w 300"/>
                  <a:gd name="T117" fmla="*/ 302 h 364"/>
                  <a:gd name="T118" fmla="*/ 148 w 300"/>
                  <a:gd name="T119" fmla="*/ 328 h 364"/>
                  <a:gd name="T120" fmla="*/ 190 w 300"/>
                  <a:gd name="T121" fmla="*/ 356 h 364"/>
                  <a:gd name="T122" fmla="*/ 184 w 300"/>
                  <a:gd name="T123" fmla="*/ 328 h 3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00" h="364">
                    <a:moveTo>
                      <a:pt x="188" y="322"/>
                    </a:moveTo>
                    <a:lnTo>
                      <a:pt x="188" y="322"/>
                    </a:lnTo>
                    <a:lnTo>
                      <a:pt x="190" y="324"/>
                    </a:lnTo>
                    <a:lnTo>
                      <a:pt x="190" y="324"/>
                    </a:lnTo>
                    <a:lnTo>
                      <a:pt x="190" y="324"/>
                    </a:lnTo>
                    <a:lnTo>
                      <a:pt x="194" y="326"/>
                    </a:lnTo>
                    <a:lnTo>
                      <a:pt x="196" y="326"/>
                    </a:lnTo>
                    <a:lnTo>
                      <a:pt x="196" y="328"/>
                    </a:lnTo>
                    <a:lnTo>
                      <a:pt x="196" y="328"/>
                    </a:lnTo>
                    <a:lnTo>
                      <a:pt x="198" y="330"/>
                    </a:lnTo>
                    <a:lnTo>
                      <a:pt x="202" y="334"/>
                    </a:lnTo>
                    <a:lnTo>
                      <a:pt x="202" y="334"/>
                    </a:lnTo>
                    <a:lnTo>
                      <a:pt x="202" y="334"/>
                    </a:lnTo>
                    <a:lnTo>
                      <a:pt x="204" y="334"/>
                    </a:lnTo>
                    <a:lnTo>
                      <a:pt x="206" y="336"/>
                    </a:lnTo>
                    <a:lnTo>
                      <a:pt x="206" y="336"/>
                    </a:lnTo>
                    <a:lnTo>
                      <a:pt x="210" y="338"/>
                    </a:lnTo>
                    <a:lnTo>
                      <a:pt x="210" y="338"/>
                    </a:lnTo>
                    <a:lnTo>
                      <a:pt x="212" y="340"/>
                    </a:lnTo>
                    <a:lnTo>
                      <a:pt x="216" y="342"/>
                    </a:lnTo>
                    <a:lnTo>
                      <a:pt x="216" y="342"/>
                    </a:lnTo>
                    <a:lnTo>
                      <a:pt x="218" y="344"/>
                    </a:lnTo>
                    <a:lnTo>
                      <a:pt x="220" y="346"/>
                    </a:lnTo>
                    <a:lnTo>
                      <a:pt x="222" y="346"/>
                    </a:lnTo>
                    <a:lnTo>
                      <a:pt x="222" y="346"/>
                    </a:lnTo>
                    <a:lnTo>
                      <a:pt x="222" y="342"/>
                    </a:lnTo>
                    <a:lnTo>
                      <a:pt x="222" y="340"/>
                    </a:lnTo>
                    <a:lnTo>
                      <a:pt x="222" y="340"/>
                    </a:lnTo>
                    <a:lnTo>
                      <a:pt x="222" y="340"/>
                    </a:lnTo>
                    <a:lnTo>
                      <a:pt x="224" y="340"/>
                    </a:lnTo>
                    <a:lnTo>
                      <a:pt x="226" y="340"/>
                    </a:lnTo>
                    <a:lnTo>
                      <a:pt x="226" y="340"/>
                    </a:lnTo>
                    <a:lnTo>
                      <a:pt x="226" y="338"/>
                    </a:lnTo>
                    <a:lnTo>
                      <a:pt x="228" y="338"/>
                    </a:lnTo>
                    <a:lnTo>
                      <a:pt x="228" y="338"/>
                    </a:lnTo>
                    <a:lnTo>
                      <a:pt x="228" y="334"/>
                    </a:lnTo>
                    <a:lnTo>
                      <a:pt x="228" y="334"/>
                    </a:lnTo>
                    <a:lnTo>
                      <a:pt x="228" y="332"/>
                    </a:lnTo>
                    <a:lnTo>
                      <a:pt x="228" y="330"/>
                    </a:lnTo>
                    <a:lnTo>
                      <a:pt x="228" y="330"/>
                    </a:lnTo>
                    <a:lnTo>
                      <a:pt x="228" y="330"/>
                    </a:lnTo>
                    <a:lnTo>
                      <a:pt x="228" y="330"/>
                    </a:lnTo>
                    <a:lnTo>
                      <a:pt x="228" y="330"/>
                    </a:lnTo>
                    <a:lnTo>
                      <a:pt x="230" y="330"/>
                    </a:lnTo>
                    <a:lnTo>
                      <a:pt x="230" y="332"/>
                    </a:lnTo>
                    <a:lnTo>
                      <a:pt x="230" y="332"/>
                    </a:lnTo>
                    <a:lnTo>
                      <a:pt x="230" y="332"/>
                    </a:lnTo>
                    <a:lnTo>
                      <a:pt x="232" y="332"/>
                    </a:lnTo>
                    <a:lnTo>
                      <a:pt x="232" y="332"/>
                    </a:lnTo>
                    <a:lnTo>
                      <a:pt x="234" y="332"/>
                    </a:lnTo>
                    <a:lnTo>
                      <a:pt x="234" y="332"/>
                    </a:lnTo>
                    <a:lnTo>
                      <a:pt x="234" y="330"/>
                    </a:lnTo>
                    <a:lnTo>
                      <a:pt x="234" y="328"/>
                    </a:lnTo>
                    <a:lnTo>
                      <a:pt x="234" y="324"/>
                    </a:lnTo>
                    <a:lnTo>
                      <a:pt x="234" y="324"/>
                    </a:lnTo>
                    <a:lnTo>
                      <a:pt x="234" y="322"/>
                    </a:lnTo>
                    <a:lnTo>
                      <a:pt x="234" y="320"/>
                    </a:lnTo>
                    <a:lnTo>
                      <a:pt x="234" y="318"/>
                    </a:lnTo>
                    <a:lnTo>
                      <a:pt x="234" y="314"/>
                    </a:lnTo>
                    <a:lnTo>
                      <a:pt x="234" y="312"/>
                    </a:lnTo>
                    <a:lnTo>
                      <a:pt x="234" y="310"/>
                    </a:lnTo>
                    <a:lnTo>
                      <a:pt x="234" y="310"/>
                    </a:lnTo>
                    <a:lnTo>
                      <a:pt x="234" y="308"/>
                    </a:lnTo>
                    <a:lnTo>
                      <a:pt x="234" y="306"/>
                    </a:lnTo>
                    <a:lnTo>
                      <a:pt x="234" y="306"/>
                    </a:lnTo>
                    <a:lnTo>
                      <a:pt x="232" y="304"/>
                    </a:lnTo>
                    <a:lnTo>
                      <a:pt x="232" y="304"/>
                    </a:lnTo>
                    <a:lnTo>
                      <a:pt x="232" y="302"/>
                    </a:lnTo>
                    <a:lnTo>
                      <a:pt x="232" y="300"/>
                    </a:lnTo>
                    <a:lnTo>
                      <a:pt x="232" y="298"/>
                    </a:lnTo>
                    <a:lnTo>
                      <a:pt x="230" y="296"/>
                    </a:lnTo>
                    <a:lnTo>
                      <a:pt x="230" y="296"/>
                    </a:lnTo>
                    <a:lnTo>
                      <a:pt x="230" y="294"/>
                    </a:lnTo>
                    <a:lnTo>
                      <a:pt x="228" y="290"/>
                    </a:lnTo>
                    <a:lnTo>
                      <a:pt x="228" y="290"/>
                    </a:lnTo>
                    <a:lnTo>
                      <a:pt x="226" y="290"/>
                    </a:lnTo>
                    <a:lnTo>
                      <a:pt x="226" y="288"/>
                    </a:lnTo>
                    <a:lnTo>
                      <a:pt x="224" y="288"/>
                    </a:lnTo>
                    <a:lnTo>
                      <a:pt x="224" y="288"/>
                    </a:lnTo>
                    <a:lnTo>
                      <a:pt x="222" y="286"/>
                    </a:lnTo>
                    <a:lnTo>
                      <a:pt x="222" y="286"/>
                    </a:lnTo>
                    <a:lnTo>
                      <a:pt x="222" y="284"/>
                    </a:lnTo>
                    <a:lnTo>
                      <a:pt x="222" y="284"/>
                    </a:lnTo>
                    <a:lnTo>
                      <a:pt x="222" y="282"/>
                    </a:lnTo>
                    <a:lnTo>
                      <a:pt x="220" y="282"/>
                    </a:lnTo>
                    <a:lnTo>
                      <a:pt x="220" y="282"/>
                    </a:lnTo>
                    <a:lnTo>
                      <a:pt x="220" y="282"/>
                    </a:lnTo>
                    <a:lnTo>
                      <a:pt x="220" y="282"/>
                    </a:lnTo>
                    <a:lnTo>
                      <a:pt x="218" y="280"/>
                    </a:lnTo>
                    <a:lnTo>
                      <a:pt x="218" y="280"/>
                    </a:lnTo>
                    <a:lnTo>
                      <a:pt x="216" y="276"/>
                    </a:lnTo>
                    <a:lnTo>
                      <a:pt x="216" y="276"/>
                    </a:lnTo>
                    <a:lnTo>
                      <a:pt x="216" y="274"/>
                    </a:lnTo>
                    <a:lnTo>
                      <a:pt x="216" y="272"/>
                    </a:lnTo>
                    <a:lnTo>
                      <a:pt x="216" y="270"/>
                    </a:lnTo>
                    <a:lnTo>
                      <a:pt x="216" y="270"/>
                    </a:lnTo>
                    <a:lnTo>
                      <a:pt x="212" y="268"/>
                    </a:lnTo>
                    <a:lnTo>
                      <a:pt x="212" y="268"/>
                    </a:lnTo>
                    <a:lnTo>
                      <a:pt x="212" y="268"/>
                    </a:lnTo>
                    <a:lnTo>
                      <a:pt x="210" y="266"/>
                    </a:lnTo>
                    <a:lnTo>
                      <a:pt x="208" y="266"/>
                    </a:lnTo>
                    <a:lnTo>
                      <a:pt x="208" y="264"/>
                    </a:lnTo>
                    <a:lnTo>
                      <a:pt x="208" y="264"/>
                    </a:lnTo>
                    <a:lnTo>
                      <a:pt x="206" y="262"/>
                    </a:lnTo>
                    <a:lnTo>
                      <a:pt x="206" y="260"/>
                    </a:lnTo>
                    <a:lnTo>
                      <a:pt x="206" y="260"/>
                    </a:lnTo>
                    <a:lnTo>
                      <a:pt x="206" y="260"/>
                    </a:lnTo>
                    <a:lnTo>
                      <a:pt x="208" y="260"/>
                    </a:lnTo>
                    <a:lnTo>
                      <a:pt x="208" y="260"/>
                    </a:lnTo>
                    <a:lnTo>
                      <a:pt x="210" y="260"/>
                    </a:lnTo>
                    <a:lnTo>
                      <a:pt x="210" y="260"/>
                    </a:lnTo>
                    <a:lnTo>
                      <a:pt x="212" y="262"/>
                    </a:lnTo>
                    <a:lnTo>
                      <a:pt x="216" y="262"/>
                    </a:lnTo>
                    <a:lnTo>
                      <a:pt x="218" y="262"/>
                    </a:lnTo>
                    <a:lnTo>
                      <a:pt x="218" y="262"/>
                    </a:lnTo>
                    <a:lnTo>
                      <a:pt x="220" y="262"/>
                    </a:lnTo>
                    <a:lnTo>
                      <a:pt x="220" y="260"/>
                    </a:lnTo>
                    <a:lnTo>
                      <a:pt x="220" y="260"/>
                    </a:lnTo>
                    <a:lnTo>
                      <a:pt x="220" y="260"/>
                    </a:lnTo>
                    <a:lnTo>
                      <a:pt x="220" y="258"/>
                    </a:lnTo>
                    <a:lnTo>
                      <a:pt x="220" y="258"/>
                    </a:lnTo>
                    <a:lnTo>
                      <a:pt x="220" y="258"/>
                    </a:lnTo>
                    <a:lnTo>
                      <a:pt x="220" y="256"/>
                    </a:lnTo>
                    <a:lnTo>
                      <a:pt x="220" y="256"/>
                    </a:lnTo>
                    <a:lnTo>
                      <a:pt x="218" y="256"/>
                    </a:lnTo>
                    <a:lnTo>
                      <a:pt x="218" y="254"/>
                    </a:lnTo>
                    <a:lnTo>
                      <a:pt x="216" y="252"/>
                    </a:lnTo>
                    <a:lnTo>
                      <a:pt x="216" y="250"/>
                    </a:lnTo>
                    <a:lnTo>
                      <a:pt x="216" y="250"/>
                    </a:lnTo>
                    <a:lnTo>
                      <a:pt x="216" y="250"/>
                    </a:lnTo>
                    <a:lnTo>
                      <a:pt x="216" y="248"/>
                    </a:lnTo>
                    <a:lnTo>
                      <a:pt x="216" y="248"/>
                    </a:lnTo>
                    <a:lnTo>
                      <a:pt x="216" y="248"/>
                    </a:lnTo>
                    <a:lnTo>
                      <a:pt x="218" y="248"/>
                    </a:lnTo>
                    <a:lnTo>
                      <a:pt x="218" y="248"/>
                    </a:lnTo>
                    <a:lnTo>
                      <a:pt x="220" y="248"/>
                    </a:lnTo>
                    <a:lnTo>
                      <a:pt x="220" y="248"/>
                    </a:lnTo>
                    <a:lnTo>
                      <a:pt x="222" y="248"/>
                    </a:lnTo>
                    <a:lnTo>
                      <a:pt x="222" y="248"/>
                    </a:lnTo>
                    <a:lnTo>
                      <a:pt x="222" y="248"/>
                    </a:lnTo>
                    <a:lnTo>
                      <a:pt x="224" y="246"/>
                    </a:lnTo>
                    <a:lnTo>
                      <a:pt x="224" y="244"/>
                    </a:lnTo>
                    <a:lnTo>
                      <a:pt x="226" y="244"/>
                    </a:lnTo>
                    <a:lnTo>
                      <a:pt x="226" y="244"/>
                    </a:lnTo>
                    <a:lnTo>
                      <a:pt x="226" y="244"/>
                    </a:lnTo>
                    <a:lnTo>
                      <a:pt x="226" y="246"/>
                    </a:lnTo>
                    <a:lnTo>
                      <a:pt x="228" y="248"/>
                    </a:lnTo>
                    <a:lnTo>
                      <a:pt x="228" y="250"/>
                    </a:lnTo>
                    <a:lnTo>
                      <a:pt x="228" y="250"/>
                    </a:lnTo>
                    <a:lnTo>
                      <a:pt x="230" y="252"/>
                    </a:lnTo>
                    <a:lnTo>
                      <a:pt x="230" y="252"/>
                    </a:lnTo>
                    <a:lnTo>
                      <a:pt x="234" y="256"/>
                    </a:lnTo>
                    <a:lnTo>
                      <a:pt x="234" y="256"/>
                    </a:lnTo>
                    <a:lnTo>
                      <a:pt x="236" y="256"/>
                    </a:lnTo>
                    <a:lnTo>
                      <a:pt x="236" y="256"/>
                    </a:lnTo>
                    <a:lnTo>
                      <a:pt x="240" y="256"/>
                    </a:lnTo>
                    <a:lnTo>
                      <a:pt x="240" y="256"/>
                    </a:lnTo>
                    <a:lnTo>
                      <a:pt x="244" y="256"/>
                    </a:lnTo>
                    <a:lnTo>
                      <a:pt x="246" y="256"/>
                    </a:lnTo>
                    <a:lnTo>
                      <a:pt x="246" y="256"/>
                    </a:lnTo>
                    <a:lnTo>
                      <a:pt x="246" y="256"/>
                    </a:lnTo>
                    <a:lnTo>
                      <a:pt x="246" y="258"/>
                    </a:lnTo>
                    <a:lnTo>
                      <a:pt x="246" y="258"/>
                    </a:lnTo>
                    <a:lnTo>
                      <a:pt x="244" y="260"/>
                    </a:lnTo>
                    <a:lnTo>
                      <a:pt x="242" y="260"/>
                    </a:lnTo>
                    <a:lnTo>
                      <a:pt x="240" y="262"/>
                    </a:lnTo>
                    <a:lnTo>
                      <a:pt x="240" y="262"/>
                    </a:lnTo>
                    <a:lnTo>
                      <a:pt x="240" y="262"/>
                    </a:lnTo>
                    <a:lnTo>
                      <a:pt x="240" y="262"/>
                    </a:lnTo>
                    <a:lnTo>
                      <a:pt x="242" y="264"/>
                    </a:lnTo>
                    <a:lnTo>
                      <a:pt x="242" y="264"/>
                    </a:lnTo>
                    <a:lnTo>
                      <a:pt x="242" y="266"/>
                    </a:lnTo>
                    <a:lnTo>
                      <a:pt x="242" y="266"/>
                    </a:lnTo>
                    <a:lnTo>
                      <a:pt x="242" y="268"/>
                    </a:lnTo>
                    <a:lnTo>
                      <a:pt x="242" y="268"/>
                    </a:lnTo>
                    <a:lnTo>
                      <a:pt x="240" y="270"/>
                    </a:lnTo>
                    <a:lnTo>
                      <a:pt x="240" y="270"/>
                    </a:lnTo>
                    <a:lnTo>
                      <a:pt x="242" y="272"/>
                    </a:lnTo>
                    <a:lnTo>
                      <a:pt x="242" y="272"/>
                    </a:lnTo>
                    <a:lnTo>
                      <a:pt x="242" y="272"/>
                    </a:lnTo>
                    <a:lnTo>
                      <a:pt x="242" y="272"/>
                    </a:lnTo>
                    <a:lnTo>
                      <a:pt x="244" y="272"/>
                    </a:lnTo>
                    <a:lnTo>
                      <a:pt x="244" y="272"/>
                    </a:lnTo>
                    <a:lnTo>
                      <a:pt x="244" y="272"/>
                    </a:lnTo>
                    <a:lnTo>
                      <a:pt x="246" y="274"/>
                    </a:lnTo>
                    <a:lnTo>
                      <a:pt x="246" y="278"/>
                    </a:lnTo>
                    <a:lnTo>
                      <a:pt x="246" y="278"/>
                    </a:lnTo>
                    <a:lnTo>
                      <a:pt x="246" y="278"/>
                    </a:lnTo>
                    <a:lnTo>
                      <a:pt x="248" y="280"/>
                    </a:lnTo>
                    <a:lnTo>
                      <a:pt x="248" y="280"/>
                    </a:lnTo>
                    <a:lnTo>
                      <a:pt x="248" y="280"/>
                    </a:lnTo>
                    <a:lnTo>
                      <a:pt x="250" y="282"/>
                    </a:lnTo>
                    <a:lnTo>
                      <a:pt x="252" y="284"/>
                    </a:lnTo>
                    <a:lnTo>
                      <a:pt x="252" y="284"/>
                    </a:lnTo>
                    <a:lnTo>
                      <a:pt x="252" y="284"/>
                    </a:lnTo>
                    <a:lnTo>
                      <a:pt x="252" y="286"/>
                    </a:lnTo>
                    <a:lnTo>
                      <a:pt x="254" y="288"/>
                    </a:lnTo>
                    <a:lnTo>
                      <a:pt x="254" y="288"/>
                    </a:lnTo>
                    <a:lnTo>
                      <a:pt x="256" y="288"/>
                    </a:lnTo>
                    <a:lnTo>
                      <a:pt x="256" y="290"/>
                    </a:lnTo>
                    <a:lnTo>
                      <a:pt x="256" y="290"/>
                    </a:lnTo>
                    <a:lnTo>
                      <a:pt x="256" y="292"/>
                    </a:lnTo>
                    <a:lnTo>
                      <a:pt x="256" y="292"/>
                    </a:lnTo>
                    <a:lnTo>
                      <a:pt x="258" y="294"/>
                    </a:lnTo>
                    <a:lnTo>
                      <a:pt x="258" y="294"/>
                    </a:lnTo>
                    <a:lnTo>
                      <a:pt x="260" y="294"/>
                    </a:lnTo>
                    <a:lnTo>
                      <a:pt x="260" y="294"/>
                    </a:lnTo>
                    <a:lnTo>
                      <a:pt x="260" y="294"/>
                    </a:lnTo>
                    <a:lnTo>
                      <a:pt x="260" y="294"/>
                    </a:lnTo>
                    <a:lnTo>
                      <a:pt x="262" y="292"/>
                    </a:lnTo>
                    <a:lnTo>
                      <a:pt x="262" y="292"/>
                    </a:lnTo>
                    <a:lnTo>
                      <a:pt x="262" y="290"/>
                    </a:lnTo>
                    <a:lnTo>
                      <a:pt x="262" y="290"/>
                    </a:lnTo>
                    <a:lnTo>
                      <a:pt x="262" y="288"/>
                    </a:lnTo>
                    <a:lnTo>
                      <a:pt x="262" y="286"/>
                    </a:lnTo>
                    <a:lnTo>
                      <a:pt x="262" y="286"/>
                    </a:lnTo>
                    <a:lnTo>
                      <a:pt x="264" y="282"/>
                    </a:lnTo>
                    <a:lnTo>
                      <a:pt x="264" y="280"/>
                    </a:lnTo>
                    <a:lnTo>
                      <a:pt x="264" y="280"/>
                    </a:lnTo>
                    <a:lnTo>
                      <a:pt x="264" y="280"/>
                    </a:lnTo>
                    <a:lnTo>
                      <a:pt x="264" y="278"/>
                    </a:lnTo>
                    <a:lnTo>
                      <a:pt x="264" y="276"/>
                    </a:lnTo>
                    <a:lnTo>
                      <a:pt x="266" y="276"/>
                    </a:lnTo>
                    <a:lnTo>
                      <a:pt x="266" y="276"/>
                    </a:lnTo>
                    <a:lnTo>
                      <a:pt x="266" y="276"/>
                    </a:lnTo>
                    <a:lnTo>
                      <a:pt x="266" y="276"/>
                    </a:lnTo>
                    <a:lnTo>
                      <a:pt x="268" y="278"/>
                    </a:lnTo>
                    <a:lnTo>
                      <a:pt x="268" y="278"/>
                    </a:lnTo>
                    <a:lnTo>
                      <a:pt x="270" y="280"/>
                    </a:lnTo>
                    <a:lnTo>
                      <a:pt x="270" y="280"/>
                    </a:lnTo>
                    <a:lnTo>
                      <a:pt x="270" y="280"/>
                    </a:lnTo>
                    <a:lnTo>
                      <a:pt x="270" y="280"/>
                    </a:lnTo>
                    <a:lnTo>
                      <a:pt x="270" y="280"/>
                    </a:lnTo>
                    <a:lnTo>
                      <a:pt x="270" y="278"/>
                    </a:lnTo>
                    <a:lnTo>
                      <a:pt x="270" y="276"/>
                    </a:lnTo>
                    <a:lnTo>
                      <a:pt x="270" y="276"/>
                    </a:lnTo>
                    <a:lnTo>
                      <a:pt x="270" y="274"/>
                    </a:lnTo>
                    <a:lnTo>
                      <a:pt x="272" y="274"/>
                    </a:lnTo>
                    <a:lnTo>
                      <a:pt x="272" y="272"/>
                    </a:lnTo>
                    <a:lnTo>
                      <a:pt x="274" y="272"/>
                    </a:lnTo>
                    <a:lnTo>
                      <a:pt x="274" y="272"/>
                    </a:lnTo>
                    <a:lnTo>
                      <a:pt x="276" y="272"/>
                    </a:lnTo>
                    <a:lnTo>
                      <a:pt x="276" y="272"/>
                    </a:lnTo>
                    <a:lnTo>
                      <a:pt x="278" y="272"/>
                    </a:lnTo>
                    <a:lnTo>
                      <a:pt x="278" y="272"/>
                    </a:lnTo>
                    <a:lnTo>
                      <a:pt x="278" y="272"/>
                    </a:lnTo>
                    <a:lnTo>
                      <a:pt x="278" y="272"/>
                    </a:lnTo>
                    <a:lnTo>
                      <a:pt x="278" y="270"/>
                    </a:lnTo>
                    <a:lnTo>
                      <a:pt x="278" y="270"/>
                    </a:lnTo>
                    <a:lnTo>
                      <a:pt x="278" y="270"/>
                    </a:lnTo>
                    <a:lnTo>
                      <a:pt x="280" y="270"/>
                    </a:lnTo>
                    <a:lnTo>
                      <a:pt x="282" y="270"/>
                    </a:lnTo>
                    <a:lnTo>
                      <a:pt x="282" y="270"/>
                    </a:lnTo>
                    <a:lnTo>
                      <a:pt x="284" y="268"/>
                    </a:lnTo>
                    <a:lnTo>
                      <a:pt x="284" y="268"/>
                    </a:lnTo>
                    <a:lnTo>
                      <a:pt x="284" y="268"/>
                    </a:lnTo>
                    <a:lnTo>
                      <a:pt x="284" y="266"/>
                    </a:lnTo>
                    <a:lnTo>
                      <a:pt x="284" y="262"/>
                    </a:lnTo>
                    <a:lnTo>
                      <a:pt x="284" y="262"/>
                    </a:lnTo>
                    <a:lnTo>
                      <a:pt x="282" y="262"/>
                    </a:lnTo>
                    <a:lnTo>
                      <a:pt x="282" y="260"/>
                    </a:lnTo>
                    <a:lnTo>
                      <a:pt x="282" y="258"/>
                    </a:lnTo>
                    <a:lnTo>
                      <a:pt x="284" y="258"/>
                    </a:lnTo>
                    <a:lnTo>
                      <a:pt x="284" y="256"/>
                    </a:lnTo>
                    <a:lnTo>
                      <a:pt x="284" y="256"/>
                    </a:lnTo>
                    <a:lnTo>
                      <a:pt x="286" y="256"/>
                    </a:lnTo>
                    <a:lnTo>
                      <a:pt x="286" y="256"/>
                    </a:lnTo>
                    <a:lnTo>
                      <a:pt x="288" y="256"/>
                    </a:lnTo>
                    <a:lnTo>
                      <a:pt x="288" y="256"/>
                    </a:lnTo>
                    <a:lnTo>
                      <a:pt x="290" y="256"/>
                    </a:lnTo>
                    <a:lnTo>
                      <a:pt x="292" y="256"/>
                    </a:lnTo>
                    <a:lnTo>
                      <a:pt x="292" y="256"/>
                    </a:lnTo>
                    <a:lnTo>
                      <a:pt x="292" y="254"/>
                    </a:lnTo>
                    <a:lnTo>
                      <a:pt x="294" y="254"/>
                    </a:lnTo>
                    <a:lnTo>
                      <a:pt x="294" y="254"/>
                    </a:lnTo>
                    <a:lnTo>
                      <a:pt x="294" y="252"/>
                    </a:lnTo>
                    <a:lnTo>
                      <a:pt x="294" y="250"/>
                    </a:lnTo>
                    <a:lnTo>
                      <a:pt x="294" y="250"/>
                    </a:lnTo>
                    <a:lnTo>
                      <a:pt x="294" y="248"/>
                    </a:lnTo>
                    <a:lnTo>
                      <a:pt x="296" y="248"/>
                    </a:lnTo>
                    <a:lnTo>
                      <a:pt x="296" y="248"/>
                    </a:lnTo>
                    <a:lnTo>
                      <a:pt x="296" y="248"/>
                    </a:lnTo>
                    <a:lnTo>
                      <a:pt x="296" y="248"/>
                    </a:lnTo>
                    <a:lnTo>
                      <a:pt x="298" y="248"/>
                    </a:lnTo>
                    <a:lnTo>
                      <a:pt x="298" y="248"/>
                    </a:lnTo>
                    <a:lnTo>
                      <a:pt x="300" y="248"/>
                    </a:lnTo>
                    <a:lnTo>
                      <a:pt x="300" y="248"/>
                    </a:lnTo>
                    <a:lnTo>
                      <a:pt x="300" y="246"/>
                    </a:lnTo>
                    <a:lnTo>
                      <a:pt x="300" y="246"/>
                    </a:lnTo>
                    <a:lnTo>
                      <a:pt x="300" y="244"/>
                    </a:lnTo>
                    <a:lnTo>
                      <a:pt x="300" y="242"/>
                    </a:lnTo>
                    <a:lnTo>
                      <a:pt x="300" y="240"/>
                    </a:lnTo>
                    <a:lnTo>
                      <a:pt x="300" y="240"/>
                    </a:lnTo>
                    <a:lnTo>
                      <a:pt x="298" y="240"/>
                    </a:lnTo>
                    <a:lnTo>
                      <a:pt x="298" y="240"/>
                    </a:lnTo>
                    <a:lnTo>
                      <a:pt x="296" y="238"/>
                    </a:lnTo>
                    <a:lnTo>
                      <a:pt x="296" y="238"/>
                    </a:lnTo>
                    <a:lnTo>
                      <a:pt x="294" y="238"/>
                    </a:lnTo>
                    <a:lnTo>
                      <a:pt x="292" y="238"/>
                    </a:lnTo>
                    <a:lnTo>
                      <a:pt x="292" y="238"/>
                    </a:lnTo>
                    <a:lnTo>
                      <a:pt x="290" y="238"/>
                    </a:lnTo>
                    <a:lnTo>
                      <a:pt x="288" y="238"/>
                    </a:lnTo>
                    <a:lnTo>
                      <a:pt x="286" y="240"/>
                    </a:lnTo>
                    <a:lnTo>
                      <a:pt x="286" y="240"/>
                    </a:lnTo>
                    <a:lnTo>
                      <a:pt x="286" y="240"/>
                    </a:lnTo>
                    <a:lnTo>
                      <a:pt x="284" y="244"/>
                    </a:lnTo>
                    <a:lnTo>
                      <a:pt x="284" y="244"/>
                    </a:lnTo>
                    <a:lnTo>
                      <a:pt x="284" y="244"/>
                    </a:lnTo>
                    <a:lnTo>
                      <a:pt x="282" y="244"/>
                    </a:lnTo>
                    <a:lnTo>
                      <a:pt x="282" y="244"/>
                    </a:lnTo>
                    <a:lnTo>
                      <a:pt x="282" y="244"/>
                    </a:lnTo>
                    <a:lnTo>
                      <a:pt x="282" y="244"/>
                    </a:lnTo>
                    <a:lnTo>
                      <a:pt x="282" y="244"/>
                    </a:lnTo>
                    <a:lnTo>
                      <a:pt x="282" y="242"/>
                    </a:lnTo>
                    <a:lnTo>
                      <a:pt x="282" y="240"/>
                    </a:lnTo>
                    <a:lnTo>
                      <a:pt x="282" y="240"/>
                    </a:lnTo>
                    <a:lnTo>
                      <a:pt x="282" y="240"/>
                    </a:lnTo>
                    <a:lnTo>
                      <a:pt x="280" y="240"/>
                    </a:lnTo>
                    <a:lnTo>
                      <a:pt x="280" y="240"/>
                    </a:lnTo>
                    <a:lnTo>
                      <a:pt x="278" y="240"/>
                    </a:lnTo>
                    <a:lnTo>
                      <a:pt x="278" y="240"/>
                    </a:lnTo>
                    <a:lnTo>
                      <a:pt x="276" y="240"/>
                    </a:lnTo>
                    <a:lnTo>
                      <a:pt x="276" y="240"/>
                    </a:lnTo>
                    <a:lnTo>
                      <a:pt x="276" y="240"/>
                    </a:lnTo>
                    <a:lnTo>
                      <a:pt x="276" y="238"/>
                    </a:lnTo>
                    <a:lnTo>
                      <a:pt x="276" y="238"/>
                    </a:lnTo>
                    <a:lnTo>
                      <a:pt x="276" y="236"/>
                    </a:lnTo>
                    <a:lnTo>
                      <a:pt x="276" y="236"/>
                    </a:lnTo>
                    <a:lnTo>
                      <a:pt x="274" y="236"/>
                    </a:lnTo>
                    <a:lnTo>
                      <a:pt x="274" y="236"/>
                    </a:lnTo>
                    <a:lnTo>
                      <a:pt x="272" y="236"/>
                    </a:lnTo>
                    <a:lnTo>
                      <a:pt x="270" y="236"/>
                    </a:lnTo>
                    <a:lnTo>
                      <a:pt x="270" y="236"/>
                    </a:lnTo>
                    <a:lnTo>
                      <a:pt x="270" y="236"/>
                    </a:lnTo>
                    <a:lnTo>
                      <a:pt x="270" y="234"/>
                    </a:lnTo>
                    <a:lnTo>
                      <a:pt x="270" y="234"/>
                    </a:lnTo>
                    <a:lnTo>
                      <a:pt x="270" y="234"/>
                    </a:lnTo>
                    <a:lnTo>
                      <a:pt x="270" y="232"/>
                    </a:lnTo>
                    <a:lnTo>
                      <a:pt x="270" y="232"/>
                    </a:lnTo>
                    <a:lnTo>
                      <a:pt x="270" y="230"/>
                    </a:lnTo>
                    <a:lnTo>
                      <a:pt x="270" y="230"/>
                    </a:lnTo>
                    <a:lnTo>
                      <a:pt x="270" y="228"/>
                    </a:lnTo>
                    <a:lnTo>
                      <a:pt x="270" y="228"/>
                    </a:lnTo>
                    <a:lnTo>
                      <a:pt x="270" y="228"/>
                    </a:lnTo>
                    <a:lnTo>
                      <a:pt x="270" y="228"/>
                    </a:lnTo>
                    <a:lnTo>
                      <a:pt x="270" y="226"/>
                    </a:lnTo>
                    <a:lnTo>
                      <a:pt x="270" y="226"/>
                    </a:lnTo>
                    <a:lnTo>
                      <a:pt x="270" y="226"/>
                    </a:lnTo>
                    <a:lnTo>
                      <a:pt x="270" y="226"/>
                    </a:lnTo>
                    <a:lnTo>
                      <a:pt x="270" y="224"/>
                    </a:lnTo>
                    <a:lnTo>
                      <a:pt x="270" y="224"/>
                    </a:lnTo>
                    <a:lnTo>
                      <a:pt x="272" y="224"/>
                    </a:lnTo>
                    <a:lnTo>
                      <a:pt x="270" y="224"/>
                    </a:lnTo>
                    <a:lnTo>
                      <a:pt x="270" y="224"/>
                    </a:lnTo>
                    <a:lnTo>
                      <a:pt x="270" y="224"/>
                    </a:lnTo>
                    <a:lnTo>
                      <a:pt x="270" y="224"/>
                    </a:lnTo>
                    <a:lnTo>
                      <a:pt x="270" y="224"/>
                    </a:lnTo>
                    <a:lnTo>
                      <a:pt x="270" y="224"/>
                    </a:lnTo>
                    <a:lnTo>
                      <a:pt x="270" y="224"/>
                    </a:lnTo>
                    <a:lnTo>
                      <a:pt x="270" y="222"/>
                    </a:lnTo>
                    <a:lnTo>
                      <a:pt x="268" y="222"/>
                    </a:lnTo>
                    <a:lnTo>
                      <a:pt x="268" y="222"/>
                    </a:lnTo>
                    <a:lnTo>
                      <a:pt x="268" y="220"/>
                    </a:lnTo>
                    <a:lnTo>
                      <a:pt x="268" y="218"/>
                    </a:lnTo>
                    <a:lnTo>
                      <a:pt x="268" y="218"/>
                    </a:lnTo>
                    <a:lnTo>
                      <a:pt x="266" y="218"/>
                    </a:lnTo>
                    <a:lnTo>
                      <a:pt x="266" y="218"/>
                    </a:lnTo>
                    <a:lnTo>
                      <a:pt x="266" y="218"/>
                    </a:lnTo>
                    <a:lnTo>
                      <a:pt x="266" y="218"/>
                    </a:lnTo>
                    <a:lnTo>
                      <a:pt x="266" y="216"/>
                    </a:lnTo>
                    <a:lnTo>
                      <a:pt x="266" y="216"/>
                    </a:lnTo>
                    <a:lnTo>
                      <a:pt x="264" y="216"/>
                    </a:lnTo>
                    <a:lnTo>
                      <a:pt x="264" y="216"/>
                    </a:lnTo>
                    <a:lnTo>
                      <a:pt x="264" y="214"/>
                    </a:lnTo>
                    <a:lnTo>
                      <a:pt x="264" y="214"/>
                    </a:lnTo>
                    <a:lnTo>
                      <a:pt x="264" y="212"/>
                    </a:lnTo>
                    <a:lnTo>
                      <a:pt x="262" y="212"/>
                    </a:lnTo>
                    <a:lnTo>
                      <a:pt x="262" y="212"/>
                    </a:lnTo>
                    <a:lnTo>
                      <a:pt x="260" y="212"/>
                    </a:lnTo>
                    <a:lnTo>
                      <a:pt x="258" y="210"/>
                    </a:lnTo>
                    <a:lnTo>
                      <a:pt x="258" y="210"/>
                    </a:lnTo>
                    <a:lnTo>
                      <a:pt x="256" y="210"/>
                    </a:lnTo>
                    <a:lnTo>
                      <a:pt x="256" y="208"/>
                    </a:lnTo>
                    <a:lnTo>
                      <a:pt x="256" y="208"/>
                    </a:lnTo>
                    <a:lnTo>
                      <a:pt x="254" y="206"/>
                    </a:lnTo>
                    <a:lnTo>
                      <a:pt x="254" y="206"/>
                    </a:lnTo>
                    <a:lnTo>
                      <a:pt x="254" y="206"/>
                    </a:lnTo>
                    <a:lnTo>
                      <a:pt x="254" y="206"/>
                    </a:lnTo>
                    <a:lnTo>
                      <a:pt x="254" y="206"/>
                    </a:lnTo>
                    <a:lnTo>
                      <a:pt x="252" y="204"/>
                    </a:lnTo>
                    <a:lnTo>
                      <a:pt x="250" y="204"/>
                    </a:lnTo>
                    <a:lnTo>
                      <a:pt x="250" y="204"/>
                    </a:lnTo>
                    <a:lnTo>
                      <a:pt x="248" y="204"/>
                    </a:lnTo>
                    <a:lnTo>
                      <a:pt x="248" y="202"/>
                    </a:lnTo>
                    <a:lnTo>
                      <a:pt x="246" y="200"/>
                    </a:lnTo>
                    <a:lnTo>
                      <a:pt x="246" y="200"/>
                    </a:lnTo>
                    <a:lnTo>
                      <a:pt x="248" y="200"/>
                    </a:lnTo>
                    <a:lnTo>
                      <a:pt x="248" y="200"/>
                    </a:lnTo>
                    <a:lnTo>
                      <a:pt x="248" y="198"/>
                    </a:lnTo>
                    <a:lnTo>
                      <a:pt x="250" y="198"/>
                    </a:lnTo>
                    <a:lnTo>
                      <a:pt x="250" y="198"/>
                    </a:lnTo>
                    <a:lnTo>
                      <a:pt x="250" y="198"/>
                    </a:lnTo>
                    <a:lnTo>
                      <a:pt x="250" y="196"/>
                    </a:lnTo>
                    <a:lnTo>
                      <a:pt x="248" y="196"/>
                    </a:lnTo>
                    <a:lnTo>
                      <a:pt x="248" y="196"/>
                    </a:lnTo>
                    <a:lnTo>
                      <a:pt x="246" y="194"/>
                    </a:lnTo>
                    <a:lnTo>
                      <a:pt x="246" y="194"/>
                    </a:lnTo>
                    <a:lnTo>
                      <a:pt x="246" y="194"/>
                    </a:lnTo>
                    <a:lnTo>
                      <a:pt x="246" y="192"/>
                    </a:lnTo>
                    <a:lnTo>
                      <a:pt x="244" y="190"/>
                    </a:lnTo>
                    <a:lnTo>
                      <a:pt x="244" y="188"/>
                    </a:lnTo>
                    <a:lnTo>
                      <a:pt x="242" y="188"/>
                    </a:lnTo>
                    <a:lnTo>
                      <a:pt x="242" y="188"/>
                    </a:lnTo>
                    <a:lnTo>
                      <a:pt x="242" y="186"/>
                    </a:lnTo>
                    <a:lnTo>
                      <a:pt x="240" y="184"/>
                    </a:lnTo>
                    <a:lnTo>
                      <a:pt x="238" y="184"/>
                    </a:lnTo>
                    <a:lnTo>
                      <a:pt x="238" y="182"/>
                    </a:lnTo>
                    <a:lnTo>
                      <a:pt x="238" y="182"/>
                    </a:lnTo>
                    <a:lnTo>
                      <a:pt x="238" y="180"/>
                    </a:lnTo>
                    <a:lnTo>
                      <a:pt x="236" y="178"/>
                    </a:lnTo>
                    <a:lnTo>
                      <a:pt x="238" y="178"/>
                    </a:lnTo>
                    <a:lnTo>
                      <a:pt x="240" y="178"/>
                    </a:lnTo>
                    <a:lnTo>
                      <a:pt x="240" y="178"/>
                    </a:lnTo>
                    <a:lnTo>
                      <a:pt x="242" y="178"/>
                    </a:lnTo>
                    <a:lnTo>
                      <a:pt x="242" y="178"/>
                    </a:lnTo>
                    <a:lnTo>
                      <a:pt x="246" y="178"/>
                    </a:lnTo>
                    <a:lnTo>
                      <a:pt x="246" y="178"/>
                    </a:lnTo>
                    <a:lnTo>
                      <a:pt x="248" y="178"/>
                    </a:lnTo>
                    <a:lnTo>
                      <a:pt x="250" y="178"/>
                    </a:lnTo>
                    <a:lnTo>
                      <a:pt x="252" y="178"/>
                    </a:lnTo>
                    <a:lnTo>
                      <a:pt x="252" y="176"/>
                    </a:lnTo>
                    <a:lnTo>
                      <a:pt x="252" y="176"/>
                    </a:lnTo>
                    <a:lnTo>
                      <a:pt x="252" y="176"/>
                    </a:lnTo>
                    <a:lnTo>
                      <a:pt x="252" y="176"/>
                    </a:lnTo>
                    <a:lnTo>
                      <a:pt x="252" y="174"/>
                    </a:lnTo>
                    <a:lnTo>
                      <a:pt x="252" y="174"/>
                    </a:lnTo>
                    <a:lnTo>
                      <a:pt x="250" y="174"/>
                    </a:lnTo>
                    <a:lnTo>
                      <a:pt x="248" y="174"/>
                    </a:lnTo>
                    <a:lnTo>
                      <a:pt x="248" y="174"/>
                    </a:lnTo>
                    <a:lnTo>
                      <a:pt x="246" y="174"/>
                    </a:lnTo>
                    <a:lnTo>
                      <a:pt x="244" y="174"/>
                    </a:lnTo>
                    <a:lnTo>
                      <a:pt x="242" y="172"/>
                    </a:lnTo>
                    <a:lnTo>
                      <a:pt x="242" y="172"/>
                    </a:lnTo>
                    <a:lnTo>
                      <a:pt x="242" y="172"/>
                    </a:lnTo>
                    <a:lnTo>
                      <a:pt x="242" y="172"/>
                    </a:lnTo>
                    <a:lnTo>
                      <a:pt x="244" y="170"/>
                    </a:lnTo>
                    <a:lnTo>
                      <a:pt x="246" y="170"/>
                    </a:lnTo>
                    <a:lnTo>
                      <a:pt x="246" y="170"/>
                    </a:lnTo>
                    <a:lnTo>
                      <a:pt x="246" y="170"/>
                    </a:lnTo>
                    <a:lnTo>
                      <a:pt x="244" y="170"/>
                    </a:lnTo>
                    <a:lnTo>
                      <a:pt x="244" y="168"/>
                    </a:lnTo>
                    <a:lnTo>
                      <a:pt x="242" y="168"/>
                    </a:lnTo>
                    <a:lnTo>
                      <a:pt x="242" y="168"/>
                    </a:lnTo>
                    <a:lnTo>
                      <a:pt x="242" y="168"/>
                    </a:lnTo>
                    <a:lnTo>
                      <a:pt x="244" y="166"/>
                    </a:lnTo>
                    <a:lnTo>
                      <a:pt x="246" y="166"/>
                    </a:lnTo>
                    <a:lnTo>
                      <a:pt x="246" y="166"/>
                    </a:lnTo>
                    <a:lnTo>
                      <a:pt x="248" y="164"/>
                    </a:lnTo>
                    <a:lnTo>
                      <a:pt x="250" y="162"/>
                    </a:lnTo>
                    <a:lnTo>
                      <a:pt x="250" y="162"/>
                    </a:lnTo>
                    <a:lnTo>
                      <a:pt x="258" y="160"/>
                    </a:lnTo>
                    <a:lnTo>
                      <a:pt x="258" y="160"/>
                    </a:lnTo>
                    <a:lnTo>
                      <a:pt x="260" y="158"/>
                    </a:lnTo>
                    <a:lnTo>
                      <a:pt x="260" y="158"/>
                    </a:lnTo>
                    <a:lnTo>
                      <a:pt x="260" y="158"/>
                    </a:lnTo>
                    <a:lnTo>
                      <a:pt x="260" y="156"/>
                    </a:lnTo>
                    <a:lnTo>
                      <a:pt x="260" y="156"/>
                    </a:lnTo>
                    <a:lnTo>
                      <a:pt x="260" y="154"/>
                    </a:lnTo>
                    <a:lnTo>
                      <a:pt x="260" y="154"/>
                    </a:lnTo>
                    <a:lnTo>
                      <a:pt x="258" y="152"/>
                    </a:lnTo>
                    <a:lnTo>
                      <a:pt x="258" y="152"/>
                    </a:lnTo>
                    <a:lnTo>
                      <a:pt x="258" y="152"/>
                    </a:lnTo>
                    <a:lnTo>
                      <a:pt x="258" y="150"/>
                    </a:lnTo>
                    <a:lnTo>
                      <a:pt x="256" y="148"/>
                    </a:lnTo>
                    <a:lnTo>
                      <a:pt x="256" y="148"/>
                    </a:lnTo>
                    <a:lnTo>
                      <a:pt x="254" y="148"/>
                    </a:lnTo>
                    <a:lnTo>
                      <a:pt x="254" y="146"/>
                    </a:lnTo>
                    <a:lnTo>
                      <a:pt x="252" y="146"/>
                    </a:lnTo>
                    <a:lnTo>
                      <a:pt x="250" y="146"/>
                    </a:lnTo>
                    <a:lnTo>
                      <a:pt x="250" y="146"/>
                    </a:lnTo>
                    <a:lnTo>
                      <a:pt x="250" y="146"/>
                    </a:lnTo>
                    <a:lnTo>
                      <a:pt x="248" y="148"/>
                    </a:lnTo>
                    <a:lnTo>
                      <a:pt x="246" y="150"/>
                    </a:lnTo>
                    <a:lnTo>
                      <a:pt x="246" y="150"/>
                    </a:lnTo>
                    <a:lnTo>
                      <a:pt x="246" y="150"/>
                    </a:lnTo>
                    <a:lnTo>
                      <a:pt x="246" y="150"/>
                    </a:lnTo>
                    <a:lnTo>
                      <a:pt x="244" y="148"/>
                    </a:lnTo>
                    <a:lnTo>
                      <a:pt x="244" y="146"/>
                    </a:lnTo>
                    <a:lnTo>
                      <a:pt x="244" y="146"/>
                    </a:lnTo>
                    <a:lnTo>
                      <a:pt x="242" y="146"/>
                    </a:lnTo>
                    <a:lnTo>
                      <a:pt x="242" y="146"/>
                    </a:lnTo>
                    <a:lnTo>
                      <a:pt x="240" y="146"/>
                    </a:lnTo>
                    <a:lnTo>
                      <a:pt x="240" y="148"/>
                    </a:lnTo>
                    <a:lnTo>
                      <a:pt x="240" y="148"/>
                    </a:lnTo>
                    <a:lnTo>
                      <a:pt x="238" y="150"/>
                    </a:lnTo>
                    <a:lnTo>
                      <a:pt x="236" y="150"/>
                    </a:lnTo>
                    <a:lnTo>
                      <a:pt x="236" y="150"/>
                    </a:lnTo>
                    <a:lnTo>
                      <a:pt x="234" y="152"/>
                    </a:lnTo>
                    <a:lnTo>
                      <a:pt x="234" y="152"/>
                    </a:lnTo>
                    <a:lnTo>
                      <a:pt x="232" y="152"/>
                    </a:lnTo>
                    <a:lnTo>
                      <a:pt x="232" y="152"/>
                    </a:lnTo>
                    <a:lnTo>
                      <a:pt x="232" y="152"/>
                    </a:lnTo>
                    <a:lnTo>
                      <a:pt x="232" y="152"/>
                    </a:lnTo>
                    <a:lnTo>
                      <a:pt x="232" y="150"/>
                    </a:lnTo>
                    <a:lnTo>
                      <a:pt x="232" y="150"/>
                    </a:lnTo>
                    <a:lnTo>
                      <a:pt x="230" y="148"/>
                    </a:lnTo>
                    <a:lnTo>
                      <a:pt x="230" y="148"/>
                    </a:lnTo>
                    <a:lnTo>
                      <a:pt x="230" y="148"/>
                    </a:lnTo>
                    <a:lnTo>
                      <a:pt x="228" y="146"/>
                    </a:lnTo>
                    <a:lnTo>
                      <a:pt x="228" y="146"/>
                    </a:lnTo>
                    <a:lnTo>
                      <a:pt x="228" y="146"/>
                    </a:lnTo>
                    <a:lnTo>
                      <a:pt x="230" y="144"/>
                    </a:lnTo>
                    <a:lnTo>
                      <a:pt x="232" y="144"/>
                    </a:lnTo>
                    <a:lnTo>
                      <a:pt x="232" y="144"/>
                    </a:lnTo>
                    <a:lnTo>
                      <a:pt x="232" y="144"/>
                    </a:lnTo>
                    <a:lnTo>
                      <a:pt x="236" y="144"/>
                    </a:lnTo>
                    <a:lnTo>
                      <a:pt x="238" y="142"/>
                    </a:lnTo>
                    <a:lnTo>
                      <a:pt x="240" y="142"/>
                    </a:lnTo>
                    <a:lnTo>
                      <a:pt x="240" y="142"/>
                    </a:lnTo>
                    <a:lnTo>
                      <a:pt x="242" y="140"/>
                    </a:lnTo>
                    <a:lnTo>
                      <a:pt x="244" y="140"/>
                    </a:lnTo>
                    <a:lnTo>
                      <a:pt x="246" y="140"/>
                    </a:lnTo>
                    <a:lnTo>
                      <a:pt x="246" y="140"/>
                    </a:lnTo>
                    <a:lnTo>
                      <a:pt x="246" y="140"/>
                    </a:lnTo>
                    <a:lnTo>
                      <a:pt x="248" y="140"/>
                    </a:lnTo>
                    <a:lnTo>
                      <a:pt x="248" y="140"/>
                    </a:lnTo>
                    <a:lnTo>
                      <a:pt x="248" y="140"/>
                    </a:lnTo>
                    <a:lnTo>
                      <a:pt x="250" y="138"/>
                    </a:lnTo>
                    <a:lnTo>
                      <a:pt x="250" y="138"/>
                    </a:lnTo>
                    <a:lnTo>
                      <a:pt x="248" y="136"/>
                    </a:lnTo>
                    <a:lnTo>
                      <a:pt x="248" y="134"/>
                    </a:lnTo>
                    <a:lnTo>
                      <a:pt x="246" y="132"/>
                    </a:lnTo>
                    <a:lnTo>
                      <a:pt x="246" y="132"/>
                    </a:lnTo>
                    <a:lnTo>
                      <a:pt x="244" y="130"/>
                    </a:lnTo>
                    <a:lnTo>
                      <a:pt x="242" y="130"/>
                    </a:lnTo>
                    <a:lnTo>
                      <a:pt x="242" y="130"/>
                    </a:lnTo>
                    <a:lnTo>
                      <a:pt x="240" y="130"/>
                    </a:lnTo>
                    <a:lnTo>
                      <a:pt x="238" y="130"/>
                    </a:lnTo>
                    <a:lnTo>
                      <a:pt x="238" y="130"/>
                    </a:lnTo>
                    <a:lnTo>
                      <a:pt x="236" y="132"/>
                    </a:lnTo>
                    <a:lnTo>
                      <a:pt x="234" y="132"/>
                    </a:lnTo>
                    <a:lnTo>
                      <a:pt x="234" y="132"/>
                    </a:lnTo>
                    <a:lnTo>
                      <a:pt x="232" y="132"/>
                    </a:lnTo>
                    <a:lnTo>
                      <a:pt x="232" y="134"/>
                    </a:lnTo>
                    <a:lnTo>
                      <a:pt x="230" y="134"/>
                    </a:lnTo>
                    <a:lnTo>
                      <a:pt x="230" y="134"/>
                    </a:lnTo>
                    <a:lnTo>
                      <a:pt x="230" y="132"/>
                    </a:lnTo>
                    <a:lnTo>
                      <a:pt x="228" y="132"/>
                    </a:lnTo>
                    <a:lnTo>
                      <a:pt x="228" y="132"/>
                    </a:lnTo>
                    <a:lnTo>
                      <a:pt x="228" y="132"/>
                    </a:lnTo>
                    <a:lnTo>
                      <a:pt x="226" y="132"/>
                    </a:lnTo>
                    <a:lnTo>
                      <a:pt x="226" y="132"/>
                    </a:lnTo>
                    <a:lnTo>
                      <a:pt x="226" y="132"/>
                    </a:lnTo>
                    <a:lnTo>
                      <a:pt x="226" y="130"/>
                    </a:lnTo>
                    <a:lnTo>
                      <a:pt x="228" y="128"/>
                    </a:lnTo>
                    <a:lnTo>
                      <a:pt x="228" y="128"/>
                    </a:lnTo>
                    <a:lnTo>
                      <a:pt x="230" y="128"/>
                    </a:lnTo>
                    <a:lnTo>
                      <a:pt x="230" y="128"/>
                    </a:lnTo>
                    <a:lnTo>
                      <a:pt x="228" y="128"/>
                    </a:lnTo>
                    <a:lnTo>
                      <a:pt x="228" y="128"/>
                    </a:lnTo>
                    <a:lnTo>
                      <a:pt x="226" y="128"/>
                    </a:lnTo>
                    <a:lnTo>
                      <a:pt x="226" y="128"/>
                    </a:lnTo>
                    <a:lnTo>
                      <a:pt x="226" y="128"/>
                    </a:lnTo>
                    <a:lnTo>
                      <a:pt x="224" y="126"/>
                    </a:lnTo>
                    <a:lnTo>
                      <a:pt x="222" y="126"/>
                    </a:lnTo>
                    <a:lnTo>
                      <a:pt x="222" y="126"/>
                    </a:lnTo>
                    <a:lnTo>
                      <a:pt x="222" y="126"/>
                    </a:lnTo>
                    <a:lnTo>
                      <a:pt x="220" y="124"/>
                    </a:lnTo>
                    <a:lnTo>
                      <a:pt x="218" y="124"/>
                    </a:lnTo>
                    <a:lnTo>
                      <a:pt x="216" y="124"/>
                    </a:lnTo>
                    <a:lnTo>
                      <a:pt x="210" y="126"/>
                    </a:lnTo>
                    <a:lnTo>
                      <a:pt x="210" y="126"/>
                    </a:lnTo>
                    <a:lnTo>
                      <a:pt x="210" y="126"/>
                    </a:lnTo>
                    <a:lnTo>
                      <a:pt x="208" y="126"/>
                    </a:lnTo>
                    <a:lnTo>
                      <a:pt x="208" y="126"/>
                    </a:lnTo>
                    <a:lnTo>
                      <a:pt x="206" y="126"/>
                    </a:lnTo>
                    <a:lnTo>
                      <a:pt x="206" y="126"/>
                    </a:lnTo>
                    <a:lnTo>
                      <a:pt x="206" y="126"/>
                    </a:lnTo>
                    <a:lnTo>
                      <a:pt x="204" y="128"/>
                    </a:lnTo>
                    <a:lnTo>
                      <a:pt x="204" y="128"/>
                    </a:lnTo>
                    <a:lnTo>
                      <a:pt x="202" y="126"/>
                    </a:lnTo>
                    <a:lnTo>
                      <a:pt x="202" y="126"/>
                    </a:lnTo>
                    <a:lnTo>
                      <a:pt x="200" y="126"/>
                    </a:lnTo>
                    <a:lnTo>
                      <a:pt x="198" y="124"/>
                    </a:lnTo>
                    <a:lnTo>
                      <a:pt x="198" y="122"/>
                    </a:lnTo>
                    <a:lnTo>
                      <a:pt x="198" y="122"/>
                    </a:lnTo>
                    <a:lnTo>
                      <a:pt x="198" y="122"/>
                    </a:lnTo>
                    <a:lnTo>
                      <a:pt x="198" y="120"/>
                    </a:lnTo>
                    <a:lnTo>
                      <a:pt x="198" y="120"/>
                    </a:lnTo>
                    <a:lnTo>
                      <a:pt x="200" y="120"/>
                    </a:lnTo>
                    <a:lnTo>
                      <a:pt x="200" y="120"/>
                    </a:lnTo>
                    <a:lnTo>
                      <a:pt x="200" y="120"/>
                    </a:lnTo>
                    <a:lnTo>
                      <a:pt x="200" y="118"/>
                    </a:lnTo>
                    <a:lnTo>
                      <a:pt x="202" y="118"/>
                    </a:lnTo>
                    <a:lnTo>
                      <a:pt x="202" y="116"/>
                    </a:lnTo>
                    <a:lnTo>
                      <a:pt x="202" y="116"/>
                    </a:lnTo>
                    <a:lnTo>
                      <a:pt x="202" y="116"/>
                    </a:lnTo>
                    <a:lnTo>
                      <a:pt x="202" y="116"/>
                    </a:lnTo>
                    <a:lnTo>
                      <a:pt x="202" y="116"/>
                    </a:lnTo>
                    <a:lnTo>
                      <a:pt x="206" y="116"/>
                    </a:lnTo>
                    <a:lnTo>
                      <a:pt x="208" y="116"/>
                    </a:lnTo>
                    <a:lnTo>
                      <a:pt x="208" y="116"/>
                    </a:lnTo>
                    <a:lnTo>
                      <a:pt x="210" y="116"/>
                    </a:lnTo>
                    <a:lnTo>
                      <a:pt x="212" y="116"/>
                    </a:lnTo>
                    <a:lnTo>
                      <a:pt x="218" y="114"/>
                    </a:lnTo>
                    <a:lnTo>
                      <a:pt x="218" y="114"/>
                    </a:lnTo>
                    <a:lnTo>
                      <a:pt x="222" y="112"/>
                    </a:lnTo>
                    <a:lnTo>
                      <a:pt x="222" y="112"/>
                    </a:lnTo>
                    <a:lnTo>
                      <a:pt x="224" y="110"/>
                    </a:lnTo>
                    <a:lnTo>
                      <a:pt x="224" y="110"/>
                    </a:lnTo>
                    <a:lnTo>
                      <a:pt x="224" y="108"/>
                    </a:lnTo>
                    <a:lnTo>
                      <a:pt x="224" y="108"/>
                    </a:lnTo>
                    <a:lnTo>
                      <a:pt x="224" y="106"/>
                    </a:lnTo>
                    <a:lnTo>
                      <a:pt x="224" y="106"/>
                    </a:lnTo>
                    <a:lnTo>
                      <a:pt x="222" y="104"/>
                    </a:lnTo>
                    <a:lnTo>
                      <a:pt x="220" y="104"/>
                    </a:lnTo>
                    <a:lnTo>
                      <a:pt x="220" y="104"/>
                    </a:lnTo>
                    <a:lnTo>
                      <a:pt x="220" y="104"/>
                    </a:lnTo>
                    <a:lnTo>
                      <a:pt x="218" y="104"/>
                    </a:lnTo>
                    <a:lnTo>
                      <a:pt x="218" y="104"/>
                    </a:lnTo>
                    <a:lnTo>
                      <a:pt x="216" y="104"/>
                    </a:lnTo>
                    <a:lnTo>
                      <a:pt x="212" y="102"/>
                    </a:lnTo>
                    <a:lnTo>
                      <a:pt x="210" y="102"/>
                    </a:lnTo>
                    <a:lnTo>
                      <a:pt x="210" y="102"/>
                    </a:lnTo>
                    <a:lnTo>
                      <a:pt x="202" y="98"/>
                    </a:lnTo>
                    <a:lnTo>
                      <a:pt x="202" y="98"/>
                    </a:lnTo>
                    <a:lnTo>
                      <a:pt x="200" y="96"/>
                    </a:lnTo>
                    <a:lnTo>
                      <a:pt x="198" y="96"/>
                    </a:lnTo>
                    <a:lnTo>
                      <a:pt x="198" y="98"/>
                    </a:lnTo>
                    <a:lnTo>
                      <a:pt x="196" y="98"/>
                    </a:lnTo>
                    <a:lnTo>
                      <a:pt x="196" y="100"/>
                    </a:lnTo>
                    <a:lnTo>
                      <a:pt x="196" y="102"/>
                    </a:lnTo>
                    <a:lnTo>
                      <a:pt x="194" y="104"/>
                    </a:lnTo>
                    <a:lnTo>
                      <a:pt x="194" y="104"/>
                    </a:lnTo>
                    <a:lnTo>
                      <a:pt x="194" y="106"/>
                    </a:lnTo>
                    <a:lnTo>
                      <a:pt x="192" y="106"/>
                    </a:lnTo>
                    <a:lnTo>
                      <a:pt x="190" y="108"/>
                    </a:lnTo>
                    <a:lnTo>
                      <a:pt x="190" y="106"/>
                    </a:lnTo>
                    <a:lnTo>
                      <a:pt x="188" y="106"/>
                    </a:lnTo>
                    <a:lnTo>
                      <a:pt x="188" y="106"/>
                    </a:lnTo>
                    <a:lnTo>
                      <a:pt x="188" y="106"/>
                    </a:lnTo>
                    <a:lnTo>
                      <a:pt x="188" y="106"/>
                    </a:lnTo>
                    <a:lnTo>
                      <a:pt x="188" y="104"/>
                    </a:lnTo>
                    <a:lnTo>
                      <a:pt x="188" y="102"/>
                    </a:lnTo>
                    <a:lnTo>
                      <a:pt x="188" y="102"/>
                    </a:lnTo>
                    <a:lnTo>
                      <a:pt x="186" y="100"/>
                    </a:lnTo>
                    <a:lnTo>
                      <a:pt x="186" y="100"/>
                    </a:lnTo>
                    <a:lnTo>
                      <a:pt x="186" y="100"/>
                    </a:lnTo>
                    <a:lnTo>
                      <a:pt x="186" y="100"/>
                    </a:lnTo>
                    <a:lnTo>
                      <a:pt x="184" y="100"/>
                    </a:lnTo>
                    <a:lnTo>
                      <a:pt x="180" y="98"/>
                    </a:lnTo>
                    <a:lnTo>
                      <a:pt x="180" y="98"/>
                    </a:lnTo>
                    <a:lnTo>
                      <a:pt x="180" y="96"/>
                    </a:lnTo>
                    <a:lnTo>
                      <a:pt x="180" y="96"/>
                    </a:lnTo>
                    <a:lnTo>
                      <a:pt x="180" y="96"/>
                    </a:lnTo>
                    <a:lnTo>
                      <a:pt x="180" y="96"/>
                    </a:lnTo>
                    <a:lnTo>
                      <a:pt x="182" y="94"/>
                    </a:lnTo>
                    <a:lnTo>
                      <a:pt x="180" y="94"/>
                    </a:lnTo>
                    <a:lnTo>
                      <a:pt x="180" y="94"/>
                    </a:lnTo>
                    <a:lnTo>
                      <a:pt x="180" y="94"/>
                    </a:lnTo>
                    <a:lnTo>
                      <a:pt x="180" y="92"/>
                    </a:lnTo>
                    <a:lnTo>
                      <a:pt x="178" y="94"/>
                    </a:lnTo>
                    <a:lnTo>
                      <a:pt x="178" y="94"/>
                    </a:lnTo>
                    <a:lnTo>
                      <a:pt x="176" y="96"/>
                    </a:lnTo>
                    <a:lnTo>
                      <a:pt x="174" y="96"/>
                    </a:lnTo>
                    <a:lnTo>
                      <a:pt x="172" y="96"/>
                    </a:lnTo>
                    <a:lnTo>
                      <a:pt x="172" y="94"/>
                    </a:lnTo>
                    <a:lnTo>
                      <a:pt x="172" y="94"/>
                    </a:lnTo>
                    <a:lnTo>
                      <a:pt x="172" y="94"/>
                    </a:lnTo>
                    <a:lnTo>
                      <a:pt x="172" y="92"/>
                    </a:lnTo>
                    <a:lnTo>
                      <a:pt x="172" y="90"/>
                    </a:lnTo>
                    <a:lnTo>
                      <a:pt x="172" y="90"/>
                    </a:lnTo>
                    <a:lnTo>
                      <a:pt x="172" y="90"/>
                    </a:lnTo>
                    <a:lnTo>
                      <a:pt x="174" y="88"/>
                    </a:lnTo>
                    <a:lnTo>
                      <a:pt x="176" y="88"/>
                    </a:lnTo>
                    <a:lnTo>
                      <a:pt x="176" y="88"/>
                    </a:lnTo>
                    <a:lnTo>
                      <a:pt x="178" y="88"/>
                    </a:lnTo>
                    <a:lnTo>
                      <a:pt x="178" y="88"/>
                    </a:lnTo>
                    <a:lnTo>
                      <a:pt x="178" y="86"/>
                    </a:lnTo>
                    <a:lnTo>
                      <a:pt x="180" y="84"/>
                    </a:lnTo>
                    <a:lnTo>
                      <a:pt x="180" y="84"/>
                    </a:lnTo>
                    <a:lnTo>
                      <a:pt x="178" y="82"/>
                    </a:lnTo>
                    <a:lnTo>
                      <a:pt x="178" y="80"/>
                    </a:lnTo>
                    <a:lnTo>
                      <a:pt x="178" y="80"/>
                    </a:lnTo>
                    <a:lnTo>
                      <a:pt x="176" y="80"/>
                    </a:lnTo>
                    <a:lnTo>
                      <a:pt x="174" y="80"/>
                    </a:lnTo>
                    <a:lnTo>
                      <a:pt x="174" y="80"/>
                    </a:lnTo>
                    <a:lnTo>
                      <a:pt x="172" y="80"/>
                    </a:lnTo>
                    <a:lnTo>
                      <a:pt x="172" y="80"/>
                    </a:lnTo>
                    <a:lnTo>
                      <a:pt x="172" y="80"/>
                    </a:lnTo>
                    <a:lnTo>
                      <a:pt x="170" y="80"/>
                    </a:lnTo>
                    <a:lnTo>
                      <a:pt x="168" y="80"/>
                    </a:lnTo>
                    <a:lnTo>
                      <a:pt x="168" y="80"/>
                    </a:lnTo>
                    <a:lnTo>
                      <a:pt x="166" y="80"/>
                    </a:lnTo>
                    <a:lnTo>
                      <a:pt x="166" y="80"/>
                    </a:lnTo>
                    <a:lnTo>
                      <a:pt x="166" y="80"/>
                    </a:lnTo>
                    <a:lnTo>
                      <a:pt x="166" y="80"/>
                    </a:lnTo>
                    <a:lnTo>
                      <a:pt x="166" y="80"/>
                    </a:lnTo>
                    <a:lnTo>
                      <a:pt x="166" y="78"/>
                    </a:lnTo>
                    <a:lnTo>
                      <a:pt x="168" y="78"/>
                    </a:lnTo>
                    <a:lnTo>
                      <a:pt x="168" y="78"/>
                    </a:lnTo>
                    <a:lnTo>
                      <a:pt x="168" y="78"/>
                    </a:lnTo>
                    <a:lnTo>
                      <a:pt x="170" y="76"/>
                    </a:lnTo>
                    <a:lnTo>
                      <a:pt x="172" y="74"/>
                    </a:lnTo>
                    <a:lnTo>
                      <a:pt x="172" y="74"/>
                    </a:lnTo>
                    <a:lnTo>
                      <a:pt x="172" y="72"/>
                    </a:lnTo>
                    <a:lnTo>
                      <a:pt x="172" y="72"/>
                    </a:lnTo>
                    <a:lnTo>
                      <a:pt x="172" y="70"/>
                    </a:lnTo>
                    <a:lnTo>
                      <a:pt x="172" y="70"/>
                    </a:lnTo>
                    <a:lnTo>
                      <a:pt x="172" y="68"/>
                    </a:lnTo>
                    <a:lnTo>
                      <a:pt x="172" y="68"/>
                    </a:lnTo>
                    <a:lnTo>
                      <a:pt x="170" y="66"/>
                    </a:lnTo>
                    <a:lnTo>
                      <a:pt x="170" y="66"/>
                    </a:lnTo>
                    <a:lnTo>
                      <a:pt x="170" y="66"/>
                    </a:lnTo>
                    <a:lnTo>
                      <a:pt x="168" y="66"/>
                    </a:lnTo>
                    <a:lnTo>
                      <a:pt x="168" y="66"/>
                    </a:lnTo>
                    <a:lnTo>
                      <a:pt x="168" y="66"/>
                    </a:lnTo>
                    <a:lnTo>
                      <a:pt x="166" y="68"/>
                    </a:lnTo>
                    <a:lnTo>
                      <a:pt x="164" y="68"/>
                    </a:lnTo>
                    <a:lnTo>
                      <a:pt x="164" y="66"/>
                    </a:lnTo>
                    <a:lnTo>
                      <a:pt x="164" y="66"/>
                    </a:lnTo>
                    <a:lnTo>
                      <a:pt x="162" y="66"/>
                    </a:lnTo>
                    <a:lnTo>
                      <a:pt x="162" y="66"/>
                    </a:lnTo>
                    <a:lnTo>
                      <a:pt x="162" y="64"/>
                    </a:lnTo>
                    <a:lnTo>
                      <a:pt x="162" y="64"/>
                    </a:lnTo>
                    <a:lnTo>
                      <a:pt x="158" y="60"/>
                    </a:lnTo>
                    <a:lnTo>
                      <a:pt x="156" y="58"/>
                    </a:lnTo>
                    <a:lnTo>
                      <a:pt x="154" y="56"/>
                    </a:lnTo>
                    <a:lnTo>
                      <a:pt x="152" y="56"/>
                    </a:lnTo>
                    <a:lnTo>
                      <a:pt x="150" y="56"/>
                    </a:lnTo>
                    <a:lnTo>
                      <a:pt x="148" y="54"/>
                    </a:lnTo>
                    <a:lnTo>
                      <a:pt x="146" y="54"/>
                    </a:lnTo>
                    <a:lnTo>
                      <a:pt x="146" y="54"/>
                    </a:lnTo>
                    <a:lnTo>
                      <a:pt x="144" y="56"/>
                    </a:lnTo>
                    <a:lnTo>
                      <a:pt x="142" y="56"/>
                    </a:lnTo>
                    <a:lnTo>
                      <a:pt x="140" y="58"/>
                    </a:lnTo>
                    <a:lnTo>
                      <a:pt x="138" y="60"/>
                    </a:lnTo>
                    <a:lnTo>
                      <a:pt x="138" y="60"/>
                    </a:lnTo>
                    <a:lnTo>
                      <a:pt x="136" y="62"/>
                    </a:lnTo>
                    <a:lnTo>
                      <a:pt x="136" y="62"/>
                    </a:lnTo>
                    <a:lnTo>
                      <a:pt x="136" y="64"/>
                    </a:lnTo>
                    <a:lnTo>
                      <a:pt x="136" y="64"/>
                    </a:lnTo>
                    <a:lnTo>
                      <a:pt x="138" y="64"/>
                    </a:lnTo>
                    <a:lnTo>
                      <a:pt x="140" y="66"/>
                    </a:lnTo>
                    <a:lnTo>
                      <a:pt x="140" y="66"/>
                    </a:lnTo>
                    <a:lnTo>
                      <a:pt x="142" y="68"/>
                    </a:lnTo>
                    <a:lnTo>
                      <a:pt x="142" y="68"/>
                    </a:lnTo>
                    <a:lnTo>
                      <a:pt x="142" y="68"/>
                    </a:lnTo>
                    <a:lnTo>
                      <a:pt x="140" y="68"/>
                    </a:lnTo>
                    <a:lnTo>
                      <a:pt x="140" y="68"/>
                    </a:lnTo>
                    <a:lnTo>
                      <a:pt x="136" y="66"/>
                    </a:lnTo>
                    <a:lnTo>
                      <a:pt x="136" y="66"/>
                    </a:lnTo>
                    <a:lnTo>
                      <a:pt x="136" y="66"/>
                    </a:lnTo>
                    <a:lnTo>
                      <a:pt x="134" y="66"/>
                    </a:lnTo>
                    <a:lnTo>
                      <a:pt x="134" y="66"/>
                    </a:lnTo>
                    <a:lnTo>
                      <a:pt x="134" y="66"/>
                    </a:lnTo>
                    <a:lnTo>
                      <a:pt x="134" y="66"/>
                    </a:lnTo>
                    <a:lnTo>
                      <a:pt x="132" y="68"/>
                    </a:lnTo>
                    <a:lnTo>
                      <a:pt x="132" y="70"/>
                    </a:lnTo>
                    <a:lnTo>
                      <a:pt x="132" y="72"/>
                    </a:lnTo>
                    <a:lnTo>
                      <a:pt x="132" y="72"/>
                    </a:lnTo>
                    <a:lnTo>
                      <a:pt x="130" y="72"/>
                    </a:lnTo>
                    <a:lnTo>
                      <a:pt x="130" y="72"/>
                    </a:lnTo>
                    <a:lnTo>
                      <a:pt x="130" y="72"/>
                    </a:lnTo>
                    <a:lnTo>
                      <a:pt x="130" y="72"/>
                    </a:lnTo>
                    <a:lnTo>
                      <a:pt x="128" y="68"/>
                    </a:lnTo>
                    <a:lnTo>
                      <a:pt x="126" y="66"/>
                    </a:lnTo>
                    <a:lnTo>
                      <a:pt x="126" y="64"/>
                    </a:lnTo>
                    <a:lnTo>
                      <a:pt x="126" y="64"/>
                    </a:lnTo>
                    <a:lnTo>
                      <a:pt x="126" y="64"/>
                    </a:lnTo>
                    <a:lnTo>
                      <a:pt x="126" y="64"/>
                    </a:lnTo>
                    <a:lnTo>
                      <a:pt x="128" y="62"/>
                    </a:lnTo>
                    <a:lnTo>
                      <a:pt x="128" y="62"/>
                    </a:lnTo>
                    <a:lnTo>
                      <a:pt x="128" y="62"/>
                    </a:lnTo>
                    <a:lnTo>
                      <a:pt x="128" y="60"/>
                    </a:lnTo>
                    <a:lnTo>
                      <a:pt x="128" y="60"/>
                    </a:lnTo>
                    <a:lnTo>
                      <a:pt x="126" y="58"/>
                    </a:lnTo>
                    <a:lnTo>
                      <a:pt x="126" y="58"/>
                    </a:lnTo>
                    <a:lnTo>
                      <a:pt x="126" y="56"/>
                    </a:lnTo>
                    <a:lnTo>
                      <a:pt x="126" y="54"/>
                    </a:lnTo>
                    <a:lnTo>
                      <a:pt x="124" y="52"/>
                    </a:lnTo>
                    <a:lnTo>
                      <a:pt x="124" y="52"/>
                    </a:lnTo>
                    <a:lnTo>
                      <a:pt x="124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4"/>
                    </a:lnTo>
                    <a:lnTo>
                      <a:pt x="122" y="54"/>
                    </a:lnTo>
                    <a:lnTo>
                      <a:pt x="122" y="56"/>
                    </a:lnTo>
                    <a:lnTo>
                      <a:pt x="122" y="56"/>
                    </a:lnTo>
                    <a:lnTo>
                      <a:pt x="122" y="58"/>
                    </a:lnTo>
                    <a:lnTo>
                      <a:pt x="120" y="60"/>
                    </a:lnTo>
                    <a:lnTo>
                      <a:pt x="120" y="60"/>
                    </a:lnTo>
                    <a:lnTo>
                      <a:pt x="118" y="62"/>
                    </a:lnTo>
                    <a:lnTo>
                      <a:pt x="116" y="64"/>
                    </a:lnTo>
                    <a:lnTo>
                      <a:pt x="116" y="64"/>
                    </a:lnTo>
                    <a:lnTo>
                      <a:pt x="114" y="66"/>
                    </a:lnTo>
                    <a:lnTo>
                      <a:pt x="112" y="66"/>
                    </a:lnTo>
                    <a:lnTo>
                      <a:pt x="110" y="68"/>
                    </a:lnTo>
                    <a:lnTo>
                      <a:pt x="110" y="68"/>
                    </a:lnTo>
                    <a:lnTo>
                      <a:pt x="108" y="68"/>
                    </a:lnTo>
                    <a:lnTo>
                      <a:pt x="108" y="68"/>
                    </a:lnTo>
                    <a:lnTo>
                      <a:pt x="106" y="68"/>
                    </a:lnTo>
                    <a:lnTo>
                      <a:pt x="106" y="68"/>
                    </a:lnTo>
                    <a:lnTo>
                      <a:pt x="106" y="68"/>
                    </a:lnTo>
                    <a:lnTo>
                      <a:pt x="106" y="68"/>
                    </a:lnTo>
                    <a:lnTo>
                      <a:pt x="106" y="66"/>
                    </a:lnTo>
                    <a:lnTo>
                      <a:pt x="108" y="64"/>
                    </a:lnTo>
                    <a:lnTo>
                      <a:pt x="108" y="64"/>
                    </a:lnTo>
                    <a:lnTo>
                      <a:pt x="108" y="62"/>
                    </a:lnTo>
                    <a:lnTo>
                      <a:pt x="108" y="62"/>
                    </a:lnTo>
                    <a:lnTo>
                      <a:pt x="108" y="58"/>
                    </a:lnTo>
                    <a:lnTo>
                      <a:pt x="108" y="58"/>
                    </a:lnTo>
                    <a:lnTo>
                      <a:pt x="108" y="56"/>
                    </a:lnTo>
                    <a:lnTo>
                      <a:pt x="108" y="56"/>
                    </a:lnTo>
                    <a:lnTo>
                      <a:pt x="108" y="54"/>
                    </a:lnTo>
                    <a:lnTo>
                      <a:pt x="110" y="54"/>
                    </a:lnTo>
                    <a:lnTo>
                      <a:pt x="110" y="54"/>
                    </a:lnTo>
                    <a:lnTo>
                      <a:pt x="112" y="54"/>
                    </a:lnTo>
                    <a:lnTo>
                      <a:pt x="114" y="52"/>
                    </a:lnTo>
                    <a:lnTo>
                      <a:pt x="116" y="50"/>
                    </a:lnTo>
                    <a:lnTo>
                      <a:pt x="116" y="50"/>
                    </a:lnTo>
                    <a:lnTo>
                      <a:pt x="118" y="48"/>
                    </a:lnTo>
                    <a:lnTo>
                      <a:pt x="118" y="46"/>
                    </a:lnTo>
                    <a:lnTo>
                      <a:pt x="118" y="44"/>
                    </a:lnTo>
                    <a:lnTo>
                      <a:pt x="118" y="42"/>
                    </a:lnTo>
                    <a:lnTo>
                      <a:pt x="118" y="42"/>
                    </a:lnTo>
                    <a:lnTo>
                      <a:pt x="118" y="40"/>
                    </a:lnTo>
                    <a:lnTo>
                      <a:pt x="118" y="38"/>
                    </a:lnTo>
                    <a:lnTo>
                      <a:pt x="116" y="36"/>
                    </a:lnTo>
                    <a:lnTo>
                      <a:pt x="116" y="36"/>
                    </a:lnTo>
                    <a:lnTo>
                      <a:pt x="116" y="36"/>
                    </a:lnTo>
                    <a:lnTo>
                      <a:pt x="116" y="30"/>
                    </a:lnTo>
                    <a:lnTo>
                      <a:pt x="116" y="28"/>
                    </a:lnTo>
                    <a:lnTo>
                      <a:pt x="116" y="28"/>
                    </a:lnTo>
                    <a:lnTo>
                      <a:pt x="116" y="26"/>
                    </a:lnTo>
                    <a:lnTo>
                      <a:pt x="116" y="26"/>
                    </a:lnTo>
                    <a:lnTo>
                      <a:pt x="118" y="24"/>
                    </a:lnTo>
                    <a:lnTo>
                      <a:pt x="120" y="24"/>
                    </a:lnTo>
                    <a:lnTo>
                      <a:pt x="120" y="24"/>
                    </a:lnTo>
                    <a:lnTo>
                      <a:pt x="120" y="24"/>
                    </a:lnTo>
                    <a:lnTo>
                      <a:pt x="120" y="22"/>
                    </a:lnTo>
                    <a:lnTo>
                      <a:pt x="120" y="22"/>
                    </a:lnTo>
                    <a:lnTo>
                      <a:pt x="120" y="20"/>
                    </a:lnTo>
                    <a:lnTo>
                      <a:pt x="118" y="20"/>
                    </a:lnTo>
                    <a:lnTo>
                      <a:pt x="118" y="18"/>
                    </a:lnTo>
                    <a:lnTo>
                      <a:pt x="118" y="18"/>
                    </a:lnTo>
                    <a:lnTo>
                      <a:pt x="114" y="14"/>
                    </a:lnTo>
                    <a:lnTo>
                      <a:pt x="112" y="14"/>
                    </a:lnTo>
                    <a:lnTo>
                      <a:pt x="110" y="14"/>
                    </a:lnTo>
                    <a:lnTo>
                      <a:pt x="110" y="14"/>
                    </a:lnTo>
                    <a:lnTo>
                      <a:pt x="108" y="12"/>
                    </a:lnTo>
                    <a:lnTo>
                      <a:pt x="106" y="12"/>
                    </a:lnTo>
                    <a:lnTo>
                      <a:pt x="102" y="12"/>
                    </a:lnTo>
                    <a:lnTo>
                      <a:pt x="102" y="14"/>
                    </a:lnTo>
                    <a:lnTo>
                      <a:pt x="102" y="14"/>
                    </a:lnTo>
                    <a:lnTo>
                      <a:pt x="100" y="14"/>
                    </a:lnTo>
                    <a:lnTo>
                      <a:pt x="100" y="16"/>
                    </a:lnTo>
                    <a:lnTo>
                      <a:pt x="100" y="16"/>
                    </a:lnTo>
                    <a:lnTo>
                      <a:pt x="98" y="18"/>
                    </a:lnTo>
                    <a:lnTo>
                      <a:pt x="98" y="18"/>
                    </a:lnTo>
                    <a:lnTo>
                      <a:pt x="98" y="18"/>
                    </a:lnTo>
                    <a:lnTo>
                      <a:pt x="96" y="18"/>
                    </a:lnTo>
                    <a:lnTo>
                      <a:pt x="96" y="18"/>
                    </a:lnTo>
                    <a:lnTo>
                      <a:pt x="96" y="16"/>
                    </a:lnTo>
                    <a:lnTo>
                      <a:pt x="94" y="16"/>
                    </a:lnTo>
                    <a:lnTo>
                      <a:pt x="94" y="16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90" y="16"/>
                    </a:lnTo>
                    <a:lnTo>
                      <a:pt x="90" y="16"/>
                    </a:lnTo>
                    <a:lnTo>
                      <a:pt x="86" y="18"/>
                    </a:lnTo>
                    <a:lnTo>
                      <a:pt x="84" y="18"/>
                    </a:lnTo>
                    <a:lnTo>
                      <a:pt x="82" y="20"/>
                    </a:lnTo>
                    <a:lnTo>
                      <a:pt x="82" y="20"/>
                    </a:lnTo>
                    <a:lnTo>
                      <a:pt x="82" y="20"/>
                    </a:lnTo>
                    <a:lnTo>
                      <a:pt x="82" y="22"/>
                    </a:lnTo>
                    <a:lnTo>
                      <a:pt x="82" y="22"/>
                    </a:lnTo>
                    <a:lnTo>
                      <a:pt x="82" y="24"/>
                    </a:lnTo>
                    <a:lnTo>
                      <a:pt x="82" y="26"/>
                    </a:lnTo>
                    <a:lnTo>
                      <a:pt x="82" y="28"/>
                    </a:lnTo>
                    <a:lnTo>
                      <a:pt x="82" y="28"/>
                    </a:lnTo>
                    <a:lnTo>
                      <a:pt x="84" y="28"/>
                    </a:lnTo>
                    <a:lnTo>
                      <a:pt x="84" y="30"/>
                    </a:lnTo>
                    <a:lnTo>
                      <a:pt x="84" y="30"/>
                    </a:lnTo>
                    <a:lnTo>
                      <a:pt x="84" y="30"/>
                    </a:lnTo>
                    <a:lnTo>
                      <a:pt x="84" y="30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82" y="28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78" y="24"/>
                    </a:lnTo>
                    <a:lnTo>
                      <a:pt x="78" y="24"/>
                    </a:lnTo>
                    <a:lnTo>
                      <a:pt x="76" y="24"/>
                    </a:lnTo>
                    <a:lnTo>
                      <a:pt x="74" y="24"/>
                    </a:lnTo>
                    <a:lnTo>
                      <a:pt x="74" y="24"/>
                    </a:lnTo>
                    <a:lnTo>
                      <a:pt x="72" y="24"/>
                    </a:lnTo>
                    <a:lnTo>
                      <a:pt x="70" y="26"/>
                    </a:lnTo>
                    <a:lnTo>
                      <a:pt x="68" y="26"/>
                    </a:lnTo>
                    <a:lnTo>
                      <a:pt x="68" y="28"/>
                    </a:lnTo>
                    <a:lnTo>
                      <a:pt x="68" y="28"/>
                    </a:lnTo>
                    <a:lnTo>
                      <a:pt x="66" y="30"/>
                    </a:lnTo>
                    <a:lnTo>
                      <a:pt x="66" y="32"/>
                    </a:lnTo>
                    <a:lnTo>
                      <a:pt x="66" y="34"/>
                    </a:lnTo>
                    <a:lnTo>
                      <a:pt x="68" y="36"/>
                    </a:lnTo>
                    <a:lnTo>
                      <a:pt x="68" y="36"/>
                    </a:lnTo>
                    <a:lnTo>
                      <a:pt x="68" y="38"/>
                    </a:lnTo>
                    <a:lnTo>
                      <a:pt x="70" y="40"/>
                    </a:lnTo>
                    <a:lnTo>
                      <a:pt x="70" y="40"/>
                    </a:lnTo>
                    <a:lnTo>
                      <a:pt x="70" y="42"/>
                    </a:lnTo>
                    <a:lnTo>
                      <a:pt x="70" y="44"/>
                    </a:lnTo>
                    <a:lnTo>
                      <a:pt x="70" y="44"/>
                    </a:lnTo>
                    <a:lnTo>
                      <a:pt x="70" y="46"/>
                    </a:lnTo>
                    <a:lnTo>
                      <a:pt x="70" y="48"/>
                    </a:lnTo>
                    <a:lnTo>
                      <a:pt x="72" y="50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0" y="52"/>
                    </a:lnTo>
                    <a:lnTo>
                      <a:pt x="70" y="52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6" y="48"/>
                    </a:lnTo>
                    <a:lnTo>
                      <a:pt x="66" y="48"/>
                    </a:lnTo>
                    <a:lnTo>
                      <a:pt x="66" y="48"/>
                    </a:lnTo>
                    <a:lnTo>
                      <a:pt x="64" y="46"/>
                    </a:lnTo>
                    <a:lnTo>
                      <a:pt x="64" y="46"/>
                    </a:lnTo>
                    <a:lnTo>
                      <a:pt x="62" y="46"/>
                    </a:lnTo>
                    <a:lnTo>
                      <a:pt x="62" y="46"/>
                    </a:lnTo>
                    <a:lnTo>
                      <a:pt x="62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50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58" y="56"/>
                    </a:lnTo>
                    <a:lnTo>
                      <a:pt x="58" y="56"/>
                    </a:lnTo>
                    <a:lnTo>
                      <a:pt x="58" y="58"/>
                    </a:lnTo>
                    <a:lnTo>
                      <a:pt x="58" y="60"/>
                    </a:lnTo>
                    <a:lnTo>
                      <a:pt x="60" y="62"/>
                    </a:lnTo>
                    <a:lnTo>
                      <a:pt x="60" y="64"/>
                    </a:lnTo>
                    <a:lnTo>
                      <a:pt x="60" y="64"/>
                    </a:lnTo>
                    <a:lnTo>
                      <a:pt x="62" y="66"/>
                    </a:lnTo>
                    <a:lnTo>
                      <a:pt x="62" y="66"/>
                    </a:lnTo>
                    <a:lnTo>
                      <a:pt x="62" y="66"/>
                    </a:lnTo>
                    <a:lnTo>
                      <a:pt x="62" y="68"/>
                    </a:lnTo>
                    <a:lnTo>
                      <a:pt x="62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58" y="70"/>
                    </a:lnTo>
                    <a:lnTo>
                      <a:pt x="58" y="72"/>
                    </a:lnTo>
                    <a:lnTo>
                      <a:pt x="58" y="72"/>
                    </a:lnTo>
                    <a:lnTo>
                      <a:pt x="58" y="72"/>
                    </a:lnTo>
                    <a:lnTo>
                      <a:pt x="58" y="74"/>
                    </a:lnTo>
                    <a:lnTo>
                      <a:pt x="58" y="76"/>
                    </a:lnTo>
                    <a:lnTo>
                      <a:pt x="58" y="78"/>
                    </a:lnTo>
                    <a:lnTo>
                      <a:pt x="58" y="78"/>
                    </a:lnTo>
                    <a:lnTo>
                      <a:pt x="56" y="80"/>
                    </a:lnTo>
                    <a:lnTo>
                      <a:pt x="54" y="80"/>
                    </a:lnTo>
                    <a:lnTo>
                      <a:pt x="54" y="80"/>
                    </a:lnTo>
                    <a:lnTo>
                      <a:pt x="54" y="80"/>
                    </a:lnTo>
                    <a:lnTo>
                      <a:pt x="52" y="80"/>
                    </a:lnTo>
                    <a:lnTo>
                      <a:pt x="52" y="78"/>
                    </a:lnTo>
                    <a:lnTo>
                      <a:pt x="52" y="78"/>
                    </a:lnTo>
                    <a:lnTo>
                      <a:pt x="52" y="78"/>
                    </a:lnTo>
                    <a:lnTo>
                      <a:pt x="52" y="76"/>
                    </a:lnTo>
                    <a:lnTo>
                      <a:pt x="54" y="74"/>
                    </a:lnTo>
                    <a:lnTo>
                      <a:pt x="54" y="74"/>
                    </a:lnTo>
                    <a:lnTo>
                      <a:pt x="54" y="74"/>
                    </a:lnTo>
                    <a:lnTo>
                      <a:pt x="54" y="74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0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0"/>
                    </a:lnTo>
                    <a:lnTo>
                      <a:pt x="50" y="70"/>
                    </a:lnTo>
                    <a:lnTo>
                      <a:pt x="50" y="70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6"/>
                    </a:lnTo>
                    <a:lnTo>
                      <a:pt x="52" y="66"/>
                    </a:lnTo>
                    <a:lnTo>
                      <a:pt x="52" y="64"/>
                    </a:lnTo>
                    <a:lnTo>
                      <a:pt x="52" y="62"/>
                    </a:lnTo>
                    <a:lnTo>
                      <a:pt x="52" y="62"/>
                    </a:lnTo>
                    <a:lnTo>
                      <a:pt x="52" y="58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4" y="54"/>
                    </a:lnTo>
                    <a:lnTo>
                      <a:pt x="54" y="52"/>
                    </a:lnTo>
                    <a:lnTo>
                      <a:pt x="56" y="50"/>
                    </a:lnTo>
                    <a:lnTo>
                      <a:pt x="56" y="50"/>
                    </a:lnTo>
                    <a:lnTo>
                      <a:pt x="56" y="48"/>
                    </a:lnTo>
                    <a:lnTo>
                      <a:pt x="54" y="46"/>
                    </a:lnTo>
                    <a:lnTo>
                      <a:pt x="54" y="46"/>
                    </a:lnTo>
                    <a:lnTo>
                      <a:pt x="54" y="42"/>
                    </a:lnTo>
                    <a:lnTo>
                      <a:pt x="54" y="40"/>
                    </a:lnTo>
                    <a:lnTo>
                      <a:pt x="54" y="40"/>
                    </a:lnTo>
                    <a:lnTo>
                      <a:pt x="56" y="34"/>
                    </a:lnTo>
                    <a:lnTo>
                      <a:pt x="56" y="28"/>
                    </a:lnTo>
                    <a:lnTo>
                      <a:pt x="56" y="28"/>
                    </a:lnTo>
                    <a:lnTo>
                      <a:pt x="58" y="22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2" y="16"/>
                    </a:lnTo>
                    <a:lnTo>
                      <a:pt x="62" y="14"/>
                    </a:lnTo>
                    <a:lnTo>
                      <a:pt x="64" y="14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72" y="10"/>
                    </a:lnTo>
                    <a:lnTo>
                      <a:pt x="72" y="10"/>
                    </a:lnTo>
                    <a:lnTo>
                      <a:pt x="74" y="10"/>
                    </a:lnTo>
                    <a:lnTo>
                      <a:pt x="76" y="10"/>
                    </a:lnTo>
                    <a:lnTo>
                      <a:pt x="76" y="10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6"/>
                    </a:lnTo>
                    <a:lnTo>
                      <a:pt x="82" y="6"/>
                    </a:lnTo>
                    <a:lnTo>
                      <a:pt x="82" y="4"/>
                    </a:lnTo>
                    <a:lnTo>
                      <a:pt x="82" y="2"/>
                    </a:lnTo>
                    <a:lnTo>
                      <a:pt x="82" y="2"/>
                    </a:lnTo>
                    <a:lnTo>
                      <a:pt x="78" y="2"/>
                    </a:lnTo>
                    <a:lnTo>
                      <a:pt x="78" y="2"/>
                    </a:lnTo>
                    <a:lnTo>
                      <a:pt x="76" y="2"/>
                    </a:lnTo>
                    <a:lnTo>
                      <a:pt x="74" y="2"/>
                    </a:lnTo>
                    <a:lnTo>
                      <a:pt x="74" y="2"/>
                    </a:lnTo>
                    <a:lnTo>
                      <a:pt x="70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0" y="0"/>
                    </a:lnTo>
                    <a:lnTo>
                      <a:pt x="58" y="0"/>
                    </a:lnTo>
                    <a:lnTo>
                      <a:pt x="58" y="0"/>
                    </a:lnTo>
                    <a:lnTo>
                      <a:pt x="56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4" y="2"/>
                    </a:lnTo>
                    <a:lnTo>
                      <a:pt x="52" y="2"/>
                    </a:lnTo>
                    <a:lnTo>
                      <a:pt x="52" y="2"/>
                    </a:lnTo>
                    <a:lnTo>
                      <a:pt x="50" y="4"/>
                    </a:lnTo>
                    <a:lnTo>
                      <a:pt x="48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2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38" y="4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34" y="6"/>
                    </a:lnTo>
                    <a:lnTo>
                      <a:pt x="34" y="8"/>
                    </a:lnTo>
                    <a:lnTo>
                      <a:pt x="32" y="8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4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8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28" y="22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4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0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6" y="24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2" y="30"/>
                    </a:lnTo>
                    <a:lnTo>
                      <a:pt x="10" y="30"/>
                    </a:lnTo>
                    <a:lnTo>
                      <a:pt x="10" y="32"/>
                    </a:lnTo>
                    <a:lnTo>
                      <a:pt x="10" y="32"/>
                    </a:lnTo>
                    <a:lnTo>
                      <a:pt x="10" y="34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6" y="40"/>
                    </a:lnTo>
                    <a:lnTo>
                      <a:pt x="6" y="42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4" y="48"/>
                    </a:lnTo>
                    <a:lnTo>
                      <a:pt x="2" y="50"/>
                    </a:lnTo>
                    <a:lnTo>
                      <a:pt x="2" y="52"/>
                    </a:lnTo>
                    <a:lnTo>
                      <a:pt x="2" y="52"/>
                    </a:lnTo>
                    <a:lnTo>
                      <a:pt x="2" y="54"/>
                    </a:lnTo>
                    <a:lnTo>
                      <a:pt x="2" y="56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2"/>
                    </a:lnTo>
                    <a:lnTo>
                      <a:pt x="6" y="62"/>
                    </a:lnTo>
                    <a:lnTo>
                      <a:pt x="6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10" y="64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4" y="66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2" y="68"/>
                    </a:lnTo>
                    <a:lnTo>
                      <a:pt x="24" y="68"/>
                    </a:lnTo>
                    <a:lnTo>
                      <a:pt x="24" y="68"/>
                    </a:lnTo>
                    <a:lnTo>
                      <a:pt x="24" y="68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2"/>
                    </a:lnTo>
                    <a:lnTo>
                      <a:pt x="28" y="74"/>
                    </a:lnTo>
                    <a:lnTo>
                      <a:pt x="28" y="74"/>
                    </a:lnTo>
                    <a:lnTo>
                      <a:pt x="28" y="76"/>
                    </a:lnTo>
                    <a:lnTo>
                      <a:pt x="28" y="78"/>
                    </a:lnTo>
                    <a:lnTo>
                      <a:pt x="28" y="78"/>
                    </a:lnTo>
                    <a:lnTo>
                      <a:pt x="28" y="78"/>
                    </a:lnTo>
                    <a:lnTo>
                      <a:pt x="28" y="78"/>
                    </a:lnTo>
                    <a:lnTo>
                      <a:pt x="28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4" y="78"/>
                    </a:lnTo>
                    <a:lnTo>
                      <a:pt x="22" y="78"/>
                    </a:lnTo>
                    <a:lnTo>
                      <a:pt x="22" y="78"/>
                    </a:lnTo>
                    <a:lnTo>
                      <a:pt x="20" y="76"/>
                    </a:lnTo>
                    <a:lnTo>
                      <a:pt x="20" y="76"/>
                    </a:lnTo>
                    <a:lnTo>
                      <a:pt x="18" y="72"/>
                    </a:lnTo>
                    <a:lnTo>
                      <a:pt x="16" y="72"/>
                    </a:lnTo>
                    <a:lnTo>
                      <a:pt x="16" y="70"/>
                    </a:lnTo>
                    <a:lnTo>
                      <a:pt x="16" y="70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6" y="66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2" y="68"/>
                    </a:lnTo>
                    <a:lnTo>
                      <a:pt x="2" y="70"/>
                    </a:lnTo>
                    <a:lnTo>
                      <a:pt x="2" y="70"/>
                    </a:lnTo>
                    <a:lnTo>
                      <a:pt x="0" y="70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4"/>
                    </a:lnTo>
                    <a:lnTo>
                      <a:pt x="2" y="76"/>
                    </a:lnTo>
                    <a:lnTo>
                      <a:pt x="2" y="76"/>
                    </a:lnTo>
                    <a:lnTo>
                      <a:pt x="2" y="78"/>
                    </a:lnTo>
                    <a:lnTo>
                      <a:pt x="4" y="80"/>
                    </a:lnTo>
                    <a:lnTo>
                      <a:pt x="4" y="80"/>
                    </a:lnTo>
                    <a:lnTo>
                      <a:pt x="4" y="80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4"/>
                    </a:lnTo>
                    <a:lnTo>
                      <a:pt x="4" y="84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6" y="86"/>
                    </a:lnTo>
                    <a:lnTo>
                      <a:pt x="6" y="86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6" y="92"/>
                    </a:lnTo>
                    <a:lnTo>
                      <a:pt x="6" y="94"/>
                    </a:lnTo>
                    <a:lnTo>
                      <a:pt x="6" y="94"/>
                    </a:lnTo>
                    <a:lnTo>
                      <a:pt x="6" y="96"/>
                    </a:lnTo>
                    <a:lnTo>
                      <a:pt x="6" y="96"/>
                    </a:lnTo>
                    <a:lnTo>
                      <a:pt x="6" y="96"/>
                    </a:lnTo>
                    <a:lnTo>
                      <a:pt x="6" y="96"/>
                    </a:lnTo>
                    <a:lnTo>
                      <a:pt x="6" y="96"/>
                    </a:lnTo>
                    <a:lnTo>
                      <a:pt x="8" y="98"/>
                    </a:lnTo>
                    <a:lnTo>
                      <a:pt x="8" y="98"/>
                    </a:lnTo>
                    <a:lnTo>
                      <a:pt x="10" y="98"/>
                    </a:lnTo>
                    <a:lnTo>
                      <a:pt x="12" y="98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4" y="96"/>
                    </a:lnTo>
                    <a:lnTo>
                      <a:pt x="14" y="94"/>
                    </a:lnTo>
                    <a:lnTo>
                      <a:pt x="18" y="90"/>
                    </a:lnTo>
                    <a:lnTo>
                      <a:pt x="18" y="90"/>
                    </a:lnTo>
                    <a:lnTo>
                      <a:pt x="18" y="90"/>
                    </a:lnTo>
                    <a:lnTo>
                      <a:pt x="20" y="88"/>
                    </a:lnTo>
                    <a:lnTo>
                      <a:pt x="20" y="88"/>
                    </a:lnTo>
                    <a:lnTo>
                      <a:pt x="20" y="88"/>
                    </a:lnTo>
                    <a:lnTo>
                      <a:pt x="20" y="88"/>
                    </a:lnTo>
                    <a:lnTo>
                      <a:pt x="22" y="88"/>
                    </a:lnTo>
                    <a:lnTo>
                      <a:pt x="22" y="90"/>
                    </a:lnTo>
                    <a:lnTo>
                      <a:pt x="22" y="90"/>
                    </a:lnTo>
                    <a:lnTo>
                      <a:pt x="22" y="92"/>
                    </a:lnTo>
                    <a:lnTo>
                      <a:pt x="24" y="92"/>
                    </a:lnTo>
                    <a:lnTo>
                      <a:pt x="26" y="94"/>
                    </a:lnTo>
                    <a:lnTo>
                      <a:pt x="28" y="94"/>
                    </a:lnTo>
                    <a:lnTo>
                      <a:pt x="28" y="94"/>
                    </a:lnTo>
                    <a:lnTo>
                      <a:pt x="28" y="94"/>
                    </a:lnTo>
                    <a:lnTo>
                      <a:pt x="30" y="94"/>
                    </a:lnTo>
                    <a:lnTo>
                      <a:pt x="32" y="96"/>
                    </a:lnTo>
                    <a:lnTo>
                      <a:pt x="32" y="96"/>
                    </a:lnTo>
                    <a:lnTo>
                      <a:pt x="32" y="96"/>
                    </a:lnTo>
                    <a:lnTo>
                      <a:pt x="34" y="98"/>
                    </a:lnTo>
                    <a:lnTo>
                      <a:pt x="34" y="100"/>
                    </a:lnTo>
                    <a:lnTo>
                      <a:pt x="34" y="102"/>
                    </a:lnTo>
                    <a:lnTo>
                      <a:pt x="34" y="102"/>
                    </a:lnTo>
                    <a:lnTo>
                      <a:pt x="34" y="102"/>
                    </a:lnTo>
                    <a:lnTo>
                      <a:pt x="34" y="104"/>
                    </a:lnTo>
                    <a:lnTo>
                      <a:pt x="36" y="106"/>
                    </a:lnTo>
                    <a:lnTo>
                      <a:pt x="38" y="106"/>
                    </a:lnTo>
                    <a:lnTo>
                      <a:pt x="40" y="108"/>
                    </a:lnTo>
                    <a:lnTo>
                      <a:pt x="40" y="108"/>
                    </a:lnTo>
                    <a:lnTo>
                      <a:pt x="40" y="108"/>
                    </a:lnTo>
                    <a:lnTo>
                      <a:pt x="40" y="108"/>
                    </a:lnTo>
                    <a:lnTo>
                      <a:pt x="42" y="108"/>
                    </a:lnTo>
                    <a:lnTo>
                      <a:pt x="42" y="108"/>
                    </a:lnTo>
                    <a:lnTo>
                      <a:pt x="42" y="108"/>
                    </a:lnTo>
                    <a:lnTo>
                      <a:pt x="42" y="108"/>
                    </a:lnTo>
                    <a:lnTo>
                      <a:pt x="44" y="108"/>
                    </a:lnTo>
                    <a:lnTo>
                      <a:pt x="46" y="108"/>
                    </a:lnTo>
                    <a:lnTo>
                      <a:pt x="46" y="108"/>
                    </a:lnTo>
                    <a:lnTo>
                      <a:pt x="48" y="108"/>
                    </a:lnTo>
                    <a:lnTo>
                      <a:pt x="50" y="108"/>
                    </a:lnTo>
                    <a:lnTo>
                      <a:pt x="50" y="110"/>
                    </a:lnTo>
                    <a:lnTo>
                      <a:pt x="50" y="110"/>
                    </a:lnTo>
                    <a:lnTo>
                      <a:pt x="50" y="110"/>
                    </a:lnTo>
                    <a:lnTo>
                      <a:pt x="52" y="110"/>
                    </a:lnTo>
                    <a:lnTo>
                      <a:pt x="52" y="112"/>
                    </a:lnTo>
                    <a:lnTo>
                      <a:pt x="52" y="112"/>
                    </a:lnTo>
                    <a:lnTo>
                      <a:pt x="52" y="112"/>
                    </a:lnTo>
                    <a:lnTo>
                      <a:pt x="54" y="112"/>
                    </a:lnTo>
                    <a:lnTo>
                      <a:pt x="56" y="112"/>
                    </a:lnTo>
                    <a:lnTo>
                      <a:pt x="56" y="112"/>
                    </a:lnTo>
                    <a:lnTo>
                      <a:pt x="60" y="114"/>
                    </a:lnTo>
                    <a:lnTo>
                      <a:pt x="60" y="114"/>
                    </a:lnTo>
                    <a:lnTo>
                      <a:pt x="62" y="114"/>
                    </a:lnTo>
                    <a:lnTo>
                      <a:pt x="62" y="114"/>
                    </a:lnTo>
                    <a:lnTo>
                      <a:pt x="64" y="114"/>
                    </a:lnTo>
                    <a:lnTo>
                      <a:pt x="64" y="114"/>
                    </a:lnTo>
                    <a:lnTo>
                      <a:pt x="66" y="116"/>
                    </a:lnTo>
                    <a:lnTo>
                      <a:pt x="66" y="116"/>
                    </a:lnTo>
                    <a:lnTo>
                      <a:pt x="68" y="116"/>
                    </a:lnTo>
                    <a:lnTo>
                      <a:pt x="68" y="118"/>
                    </a:lnTo>
                    <a:lnTo>
                      <a:pt x="68" y="118"/>
                    </a:lnTo>
                    <a:lnTo>
                      <a:pt x="70" y="120"/>
                    </a:lnTo>
                    <a:lnTo>
                      <a:pt x="72" y="122"/>
                    </a:lnTo>
                    <a:lnTo>
                      <a:pt x="72" y="122"/>
                    </a:lnTo>
                    <a:lnTo>
                      <a:pt x="74" y="122"/>
                    </a:lnTo>
                    <a:lnTo>
                      <a:pt x="76" y="124"/>
                    </a:lnTo>
                    <a:lnTo>
                      <a:pt x="76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80" y="124"/>
                    </a:lnTo>
                    <a:lnTo>
                      <a:pt x="80" y="124"/>
                    </a:lnTo>
                    <a:lnTo>
                      <a:pt x="80" y="122"/>
                    </a:lnTo>
                    <a:lnTo>
                      <a:pt x="80" y="122"/>
                    </a:lnTo>
                    <a:lnTo>
                      <a:pt x="78" y="120"/>
                    </a:lnTo>
                    <a:lnTo>
                      <a:pt x="78" y="120"/>
                    </a:lnTo>
                    <a:lnTo>
                      <a:pt x="78" y="118"/>
                    </a:lnTo>
                    <a:lnTo>
                      <a:pt x="78" y="118"/>
                    </a:lnTo>
                    <a:lnTo>
                      <a:pt x="78" y="118"/>
                    </a:lnTo>
                    <a:lnTo>
                      <a:pt x="78" y="118"/>
                    </a:lnTo>
                    <a:lnTo>
                      <a:pt x="78" y="118"/>
                    </a:lnTo>
                    <a:lnTo>
                      <a:pt x="80" y="118"/>
                    </a:lnTo>
                    <a:lnTo>
                      <a:pt x="84" y="118"/>
                    </a:lnTo>
                    <a:lnTo>
                      <a:pt x="84" y="118"/>
                    </a:lnTo>
                    <a:lnTo>
                      <a:pt x="86" y="118"/>
                    </a:lnTo>
                    <a:lnTo>
                      <a:pt x="86" y="120"/>
                    </a:lnTo>
                    <a:lnTo>
                      <a:pt x="86" y="120"/>
                    </a:lnTo>
                    <a:lnTo>
                      <a:pt x="88" y="120"/>
                    </a:lnTo>
                    <a:lnTo>
                      <a:pt x="90" y="120"/>
                    </a:lnTo>
                    <a:lnTo>
                      <a:pt x="90" y="122"/>
                    </a:lnTo>
                    <a:lnTo>
                      <a:pt x="90" y="122"/>
                    </a:lnTo>
                    <a:lnTo>
                      <a:pt x="92" y="124"/>
                    </a:lnTo>
                    <a:lnTo>
                      <a:pt x="94" y="124"/>
                    </a:lnTo>
                    <a:lnTo>
                      <a:pt x="94" y="126"/>
                    </a:lnTo>
                    <a:lnTo>
                      <a:pt x="96" y="126"/>
                    </a:lnTo>
                    <a:lnTo>
                      <a:pt x="96" y="126"/>
                    </a:lnTo>
                    <a:lnTo>
                      <a:pt x="96" y="128"/>
                    </a:lnTo>
                    <a:lnTo>
                      <a:pt x="96" y="128"/>
                    </a:lnTo>
                    <a:lnTo>
                      <a:pt x="98" y="130"/>
                    </a:lnTo>
                    <a:lnTo>
                      <a:pt x="98" y="130"/>
                    </a:lnTo>
                    <a:lnTo>
                      <a:pt x="98" y="130"/>
                    </a:lnTo>
                    <a:lnTo>
                      <a:pt x="100" y="130"/>
                    </a:lnTo>
                    <a:lnTo>
                      <a:pt x="102" y="130"/>
                    </a:lnTo>
                    <a:lnTo>
                      <a:pt x="102" y="130"/>
                    </a:lnTo>
                    <a:lnTo>
                      <a:pt x="104" y="132"/>
                    </a:lnTo>
                    <a:lnTo>
                      <a:pt x="106" y="132"/>
                    </a:lnTo>
                    <a:lnTo>
                      <a:pt x="108" y="132"/>
                    </a:lnTo>
                    <a:lnTo>
                      <a:pt x="108" y="132"/>
                    </a:lnTo>
                    <a:lnTo>
                      <a:pt x="110" y="132"/>
                    </a:lnTo>
                    <a:lnTo>
                      <a:pt x="112" y="130"/>
                    </a:lnTo>
                    <a:lnTo>
                      <a:pt x="112" y="130"/>
                    </a:lnTo>
                    <a:lnTo>
                      <a:pt x="112" y="130"/>
                    </a:lnTo>
                    <a:lnTo>
                      <a:pt x="114" y="128"/>
                    </a:lnTo>
                    <a:lnTo>
                      <a:pt x="112" y="126"/>
                    </a:lnTo>
                    <a:lnTo>
                      <a:pt x="112" y="124"/>
                    </a:lnTo>
                    <a:lnTo>
                      <a:pt x="112" y="124"/>
                    </a:lnTo>
                    <a:lnTo>
                      <a:pt x="112" y="124"/>
                    </a:lnTo>
                    <a:lnTo>
                      <a:pt x="110" y="122"/>
                    </a:lnTo>
                    <a:lnTo>
                      <a:pt x="110" y="122"/>
                    </a:lnTo>
                    <a:lnTo>
                      <a:pt x="110" y="118"/>
                    </a:lnTo>
                    <a:lnTo>
                      <a:pt x="110" y="118"/>
                    </a:lnTo>
                    <a:lnTo>
                      <a:pt x="110" y="116"/>
                    </a:lnTo>
                    <a:lnTo>
                      <a:pt x="110" y="116"/>
                    </a:lnTo>
                    <a:lnTo>
                      <a:pt x="112" y="116"/>
                    </a:lnTo>
                    <a:lnTo>
                      <a:pt x="112" y="114"/>
                    </a:lnTo>
                    <a:lnTo>
                      <a:pt x="112" y="114"/>
                    </a:lnTo>
                    <a:lnTo>
                      <a:pt x="114" y="114"/>
                    </a:lnTo>
                    <a:lnTo>
                      <a:pt x="114" y="112"/>
                    </a:lnTo>
                    <a:lnTo>
                      <a:pt x="114" y="112"/>
                    </a:lnTo>
                    <a:lnTo>
                      <a:pt x="116" y="110"/>
                    </a:lnTo>
                    <a:lnTo>
                      <a:pt x="116" y="110"/>
                    </a:lnTo>
                    <a:lnTo>
                      <a:pt x="118" y="108"/>
                    </a:lnTo>
                    <a:lnTo>
                      <a:pt x="120" y="108"/>
                    </a:lnTo>
                    <a:lnTo>
                      <a:pt x="120" y="108"/>
                    </a:lnTo>
                    <a:lnTo>
                      <a:pt x="122" y="108"/>
                    </a:lnTo>
                    <a:lnTo>
                      <a:pt x="124" y="108"/>
                    </a:lnTo>
                    <a:lnTo>
                      <a:pt x="124" y="108"/>
                    </a:lnTo>
                    <a:lnTo>
                      <a:pt x="124" y="108"/>
                    </a:lnTo>
                    <a:lnTo>
                      <a:pt x="124" y="110"/>
                    </a:lnTo>
                    <a:lnTo>
                      <a:pt x="124" y="110"/>
                    </a:lnTo>
                    <a:lnTo>
                      <a:pt x="122" y="112"/>
                    </a:lnTo>
                    <a:lnTo>
                      <a:pt x="122" y="112"/>
                    </a:lnTo>
                    <a:lnTo>
                      <a:pt x="120" y="116"/>
                    </a:lnTo>
                    <a:lnTo>
                      <a:pt x="118" y="116"/>
                    </a:lnTo>
                    <a:lnTo>
                      <a:pt x="118" y="118"/>
                    </a:lnTo>
                    <a:lnTo>
                      <a:pt x="118" y="118"/>
                    </a:lnTo>
                    <a:lnTo>
                      <a:pt x="118" y="120"/>
                    </a:lnTo>
                    <a:lnTo>
                      <a:pt x="118" y="120"/>
                    </a:lnTo>
                    <a:lnTo>
                      <a:pt x="118" y="120"/>
                    </a:lnTo>
                    <a:lnTo>
                      <a:pt x="120" y="122"/>
                    </a:lnTo>
                    <a:lnTo>
                      <a:pt x="120" y="122"/>
                    </a:lnTo>
                    <a:lnTo>
                      <a:pt x="122" y="122"/>
                    </a:lnTo>
                    <a:lnTo>
                      <a:pt x="124" y="122"/>
                    </a:lnTo>
                    <a:lnTo>
                      <a:pt x="124" y="122"/>
                    </a:lnTo>
                    <a:lnTo>
                      <a:pt x="124" y="122"/>
                    </a:lnTo>
                    <a:lnTo>
                      <a:pt x="126" y="124"/>
                    </a:lnTo>
                    <a:lnTo>
                      <a:pt x="126" y="124"/>
                    </a:lnTo>
                    <a:lnTo>
                      <a:pt x="128" y="126"/>
                    </a:lnTo>
                    <a:lnTo>
                      <a:pt x="128" y="128"/>
                    </a:lnTo>
                    <a:lnTo>
                      <a:pt x="128" y="128"/>
                    </a:lnTo>
                    <a:lnTo>
                      <a:pt x="130" y="130"/>
                    </a:lnTo>
                    <a:lnTo>
                      <a:pt x="130" y="134"/>
                    </a:lnTo>
                    <a:lnTo>
                      <a:pt x="130" y="134"/>
                    </a:lnTo>
                    <a:lnTo>
                      <a:pt x="130" y="136"/>
                    </a:lnTo>
                    <a:lnTo>
                      <a:pt x="130" y="138"/>
                    </a:lnTo>
                    <a:lnTo>
                      <a:pt x="130" y="140"/>
                    </a:lnTo>
                    <a:lnTo>
                      <a:pt x="132" y="140"/>
                    </a:lnTo>
                    <a:lnTo>
                      <a:pt x="132" y="140"/>
                    </a:lnTo>
                    <a:lnTo>
                      <a:pt x="134" y="140"/>
                    </a:lnTo>
                    <a:lnTo>
                      <a:pt x="136" y="142"/>
                    </a:lnTo>
                    <a:lnTo>
                      <a:pt x="136" y="142"/>
                    </a:lnTo>
                    <a:lnTo>
                      <a:pt x="136" y="142"/>
                    </a:lnTo>
                    <a:lnTo>
                      <a:pt x="138" y="142"/>
                    </a:lnTo>
                    <a:lnTo>
                      <a:pt x="138" y="144"/>
                    </a:lnTo>
                    <a:lnTo>
                      <a:pt x="138" y="146"/>
                    </a:lnTo>
                    <a:lnTo>
                      <a:pt x="138" y="146"/>
                    </a:lnTo>
                    <a:lnTo>
                      <a:pt x="140" y="150"/>
                    </a:lnTo>
                    <a:lnTo>
                      <a:pt x="140" y="152"/>
                    </a:lnTo>
                    <a:lnTo>
                      <a:pt x="140" y="152"/>
                    </a:lnTo>
                    <a:lnTo>
                      <a:pt x="142" y="154"/>
                    </a:lnTo>
                    <a:lnTo>
                      <a:pt x="140" y="156"/>
                    </a:lnTo>
                    <a:lnTo>
                      <a:pt x="140" y="156"/>
                    </a:lnTo>
                    <a:lnTo>
                      <a:pt x="138" y="158"/>
                    </a:lnTo>
                    <a:lnTo>
                      <a:pt x="138" y="158"/>
                    </a:lnTo>
                    <a:lnTo>
                      <a:pt x="136" y="160"/>
                    </a:lnTo>
                    <a:lnTo>
                      <a:pt x="134" y="160"/>
                    </a:lnTo>
                    <a:lnTo>
                      <a:pt x="132" y="162"/>
                    </a:lnTo>
                    <a:lnTo>
                      <a:pt x="132" y="162"/>
                    </a:lnTo>
                    <a:lnTo>
                      <a:pt x="132" y="164"/>
                    </a:lnTo>
                    <a:lnTo>
                      <a:pt x="130" y="166"/>
                    </a:lnTo>
                    <a:lnTo>
                      <a:pt x="130" y="170"/>
                    </a:lnTo>
                    <a:lnTo>
                      <a:pt x="130" y="170"/>
                    </a:lnTo>
                    <a:lnTo>
                      <a:pt x="132" y="170"/>
                    </a:lnTo>
                    <a:lnTo>
                      <a:pt x="132" y="168"/>
                    </a:lnTo>
                    <a:lnTo>
                      <a:pt x="132" y="168"/>
                    </a:lnTo>
                    <a:lnTo>
                      <a:pt x="134" y="168"/>
                    </a:lnTo>
                    <a:lnTo>
                      <a:pt x="136" y="168"/>
                    </a:lnTo>
                    <a:lnTo>
                      <a:pt x="136" y="168"/>
                    </a:lnTo>
                    <a:lnTo>
                      <a:pt x="138" y="168"/>
                    </a:lnTo>
                    <a:lnTo>
                      <a:pt x="140" y="166"/>
                    </a:lnTo>
                    <a:lnTo>
                      <a:pt x="140" y="166"/>
                    </a:lnTo>
                    <a:lnTo>
                      <a:pt x="140" y="166"/>
                    </a:lnTo>
                    <a:lnTo>
                      <a:pt x="142" y="164"/>
                    </a:lnTo>
                    <a:lnTo>
                      <a:pt x="144" y="164"/>
                    </a:lnTo>
                    <a:lnTo>
                      <a:pt x="144" y="162"/>
                    </a:lnTo>
                    <a:lnTo>
                      <a:pt x="144" y="162"/>
                    </a:lnTo>
                    <a:lnTo>
                      <a:pt x="146" y="160"/>
                    </a:lnTo>
                    <a:lnTo>
                      <a:pt x="146" y="160"/>
                    </a:lnTo>
                    <a:lnTo>
                      <a:pt x="148" y="160"/>
                    </a:lnTo>
                    <a:lnTo>
                      <a:pt x="148" y="162"/>
                    </a:lnTo>
                    <a:lnTo>
                      <a:pt x="148" y="162"/>
                    </a:lnTo>
                    <a:lnTo>
                      <a:pt x="148" y="162"/>
                    </a:lnTo>
                    <a:lnTo>
                      <a:pt x="148" y="162"/>
                    </a:lnTo>
                    <a:lnTo>
                      <a:pt x="148" y="164"/>
                    </a:lnTo>
                    <a:lnTo>
                      <a:pt x="148" y="164"/>
                    </a:lnTo>
                    <a:lnTo>
                      <a:pt x="150" y="166"/>
                    </a:lnTo>
                    <a:lnTo>
                      <a:pt x="150" y="170"/>
                    </a:lnTo>
                    <a:lnTo>
                      <a:pt x="150" y="170"/>
                    </a:lnTo>
                    <a:lnTo>
                      <a:pt x="152" y="172"/>
                    </a:lnTo>
                    <a:lnTo>
                      <a:pt x="152" y="172"/>
                    </a:lnTo>
                    <a:lnTo>
                      <a:pt x="154" y="174"/>
                    </a:lnTo>
                    <a:lnTo>
                      <a:pt x="154" y="174"/>
                    </a:lnTo>
                    <a:lnTo>
                      <a:pt x="156" y="174"/>
                    </a:lnTo>
                    <a:lnTo>
                      <a:pt x="156" y="174"/>
                    </a:lnTo>
                    <a:lnTo>
                      <a:pt x="158" y="172"/>
                    </a:lnTo>
                    <a:lnTo>
                      <a:pt x="160" y="170"/>
                    </a:lnTo>
                    <a:lnTo>
                      <a:pt x="160" y="170"/>
                    </a:lnTo>
                    <a:lnTo>
                      <a:pt x="160" y="170"/>
                    </a:lnTo>
                    <a:lnTo>
                      <a:pt x="162" y="170"/>
                    </a:lnTo>
                    <a:lnTo>
                      <a:pt x="164" y="170"/>
                    </a:lnTo>
                    <a:lnTo>
                      <a:pt x="166" y="170"/>
                    </a:lnTo>
                    <a:lnTo>
                      <a:pt x="166" y="170"/>
                    </a:lnTo>
                    <a:lnTo>
                      <a:pt x="166" y="170"/>
                    </a:lnTo>
                    <a:lnTo>
                      <a:pt x="168" y="170"/>
                    </a:lnTo>
                    <a:lnTo>
                      <a:pt x="168" y="172"/>
                    </a:lnTo>
                    <a:lnTo>
                      <a:pt x="168" y="174"/>
                    </a:lnTo>
                    <a:lnTo>
                      <a:pt x="168" y="174"/>
                    </a:lnTo>
                    <a:lnTo>
                      <a:pt x="168" y="176"/>
                    </a:lnTo>
                    <a:lnTo>
                      <a:pt x="168" y="178"/>
                    </a:lnTo>
                    <a:lnTo>
                      <a:pt x="168" y="180"/>
                    </a:lnTo>
                    <a:lnTo>
                      <a:pt x="168" y="180"/>
                    </a:lnTo>
                    <a:lnTo>
                      <a:pt x="166" y="182"/>
                    </a:lnTo>
                    <a:lnTo>
                      <a:pt x="166" y="182"/>
                    </a:lnTo>
                    <a:lnTo>
                      <a:pt x="164" y="184"/>
                    </a:lnTo>
                    <a:lnTo>
                      <a:pt x="164" y="186"/>
                    </a:lnTo>
                    <a:lnTo>
                      <a:pt x="164" y="186"/>
                    </a:lnTo>
                    <a:lnTo>
                      <a:pt x="166" y="188"/>
                    </a:lnTo>
                    <a:lnTo>
                      <a:pt x="166" y="188"/>
                    </a:lnTo>
                    <a:lnTo>
                      <a:pt x="168" y="190"/>
                    </a:lnTo>
                    <a:lnTo>
                      <a:pt x="168" y="190"/>
                    </a:lnTo>
                    <a:lnTo>
                      <a:pt x="168" y="192"/>
                    </a:lnTo>
                    <a:lnTo>
                      <a:pt x="168" y="194"/>
                    </a:lnTo>
                    <a:lnTo>
                      <a:pt x="168" y="194"/>
                    </a:lnTo>
                    <a:lnTo>
                      <a:pt x="170" y="196"/>
                    </a:lnTo>
                    <a:lnTo>
                      <a:pt x="170" y="200"/>
                    </a:lnTo>
                    <a:lnTo>
                      <a:pt x="170" y="200"/>
                    </a:lnTo>
                    <a:lnTo>
                      <a:pt x="172" y="200"/>
                    </a:lnTo>
                    <a:lnTo>
                      <a:pt x="172" y="202"/>
                    </a:lnTo>
                    <a:lnTo>
                      <a:pt x="170" y="204"/>
                    </a:lnTo>
                    <a:lnTo>
                      <a:pt x="170" y="204"/>
                    </a:lnTo>
                    <a:lnTo>
                      <a:pt x="170" y="204"/>
                    </a:lnTo>
                    <a:lnTo>
                      <a:pt x="168" y="206"/>
                    </a:lnTo>
                    <a:lnTo>
                      <a:pt x="168" y="206"/>
                    </a:lnTo>
                    <a:lnTo>
                      <a:pt x="168" y="206"/>
                    </a:lnTo>
                    <a:lnTo>
                      <a:pt x="168" y="206"/>
                    </a:lnTo>
                    <a:lnTo>
                      <a:pt x="168" y="208"/>
                    </a:lnTo>
                    <a:lnTo>
                      <a:pt x="170" y="208"/>
                    </a:lnTo>
                    <a:lnTo>
                      <a:pt x="172" y="208"/>
                    </a:lnTo>
                    <a:lnTo>
                      <a:pt x="174" y="208"/>
                    </a:lnTo>
                    <a:lnTo>
                      <a:pt x="176" y="208"/>
                    </a:lnTo>
                    <a:lnTo>
                      <a:pt x="176" y="208"/>
                    </a:lnTo>
                    <a:lnTo>
                      <a:pt x="178" y="208"/>
                    </a:lnTo>
                    <a:lnTo>
                      <a:pt x="178" y="208"/>
                    </a:lnTo>
                    <a:lnTo>
                      <a:pt x="178" y="208"/>
                    </a:lnTo>
                    <a:lnTo>
                      <a:pt x="178" y="208"/>
                    </a:lnTo>
                    <a:lnTo>
                      <a:pt x="178" y="208"/>
                    </a:lnTo>
                    <a:lnTo>
                      <a:pt x="178" y="208"/>
                    </a:lnTo>
                    <a:lnTo>
                      <a:pt x="180" y="208"/>
                    </a:lnTo>
                    <a:lnTo>
                      <a:pt x="180" y="208"/>
                    </a:lnTo>
                    <a:lnTo>
                      <a:pt x="180" y="210"/>
                    </a:lnTo>
                    <a:lnTo>
                      <a:pt x="180" y="210"/>
                    </a:lnTo>
                    <a:lnTo>
                      <a:pt x="182" y="212"/>
                    </a:lnTo>
                    <a:lnTo>
                      <a:pt x="182" y="214"/>
                    </a:lnTo>
                    <a:lnTo>
                      <a:pt x="182" y="214"/>
                    </a:lnTo>
                    <a:lnTo>
                      <a:pt x="182" y="218"/>
                    </a:lnTo>
                    <a:lnTo>
                      <a:pt x="182" y="220"/>
                    </a:lnTo>
                    <a:lnTo>
                      <a:pt x="182" y="220"/>
                    </a:lnTo>
                    <a:lnTo>
                      <a:pt x="182" y="224"/>
                    </a:lnTo>
                    <a:lnTo>
                      <a:pt x="182" y="226"/>
                    </a:lnTo>
                    <a:lnTo>
                      <a:pt x="182" y="228"/>
                    </a:lnTo>
                    <a:lnTo>
                      <a:pt x="184" y="228"/>
                    </a:lnTo>
                    <a:lnTo>
                      <a:pt x="184" y="230"/>
                    </a:lnTo>
                    <a:lnTo>
                      <a:pt x="186" y="230"/>
                    </a:lnTo>
                    <a:lnTo>
                      <a:pt x="186" y="230"/>
                    </a:lnTo>
                    <a:lnTo>
                      <a:pt x="188" y="232"/>
                    </a:lnTo>
                    <a:lnTo>
                      <a:pt x="190" y="232"/>
                    </a:lnTo>
                    <a:lnTo>
                      <a:pt x="192" y="232"/>
                    </a:lnTo>
                    <a:lnTo>
                      <a:pt x="192" y="232"/>
                    </a:lnTo>
                    <a:lnTo>
                      <a:pt x="194" y="234"/>
                    </a:lnTo>
                    <a:lnTo>
                      <a:pt x="194" y="234"/>
                    </a:lnTo>
                    <a:lnTo>
                      <a:pt x="194" y="234"/>
                    </a:lnTo>
                    <a:lnTo>
                      <a:pt x="194" y="234"/>
                    </a:lnTo>
                    <a:lnTo>
                      <a:pt x="192" y="236"/>
                    </a:lnTo>
                    <a:lnTo>
                      <a:pt x="192" y="238"/>
                    </a:lnTo>
                    <a:lnTo>
                      <a:pt x="192" y="240"/>
                    </a:lnTo>
                    <a:lnTo>
                      <a:pt x="192" y="240"/>
                    </a:lnTo>
                    <a:lnTo>
                      <a:pt x="192" y="242"/>
                    </a:lnTo>
                    <a:lnTo>
                      <a:pt x="192" y="242"/>
                    </a:lnTo>
                    <a:lnTo>
                      <a:pt x="192" y="244"/>
                    </a:lnTo>
                    <a:lnTo>
                      <a:pt x="192" y="244"/>
                    </a:lnTo>
                    <a:lnTo>
                      <a:pt x="190" y="244"/>
                    </a:lnTo>
                    <a:lnTo>
                      <a:pt x="190" y="244"/>
                    </a:lnTo>
                    <a:lnTo>
                      <a:pt x="188" y="246"/>
                    </a:lnTo>
                    <a:lnTo>
                      <a:pt x="188" y="246"/>
                    </a:lnTo>
                    <a:lnTo>
                      <a:pt x="186" y="248"/>
                    </a:lnTo>
                    <a:lnTo>
                      <a:pt x="184" y="248"/>
                    </a:lnTo>
                    <a:lnTo>
                      <a:pt x="180" y="248"/>
                    </a:lnTo>
                    <a:lnTo>
                      <a:pt x="180" y="248"/>
                    </a:lnTo>
                    <a:lnTo>
                      <a:pt x="178" y="248"/>
                    </a:lnTo>
                    <a:lnTo>
                      <a:pt x="176" y="248"/>
                    </a:lnTo>
                    <a:lnTo>
                      <a:pt x="174" y="248"/>
                    </a:lnTo>
                    <a:lnTo>
                      <a:pt x="172" y="248"/>
                    </a:lnTo>
                    <a:lnTo>
                      <a:pt x="172" y="248"/>
                    </a:lnTo>
                    <a:lnTo>
                      <a:pt x="170" y="250"/>
                    </a:lnTo>
                    <a:lnTo>
                      <a:pt x="168" y="250"/>
                    </a:lnTo>
                    <a:lnTo>
                      <a:pt x="168" y="250"/>
                    </a:lnTo>
                    <a:lnTo>
                      <a:pt x="168" y="252"/>
                    </a:lnTo>
                    <a:lnTo>
                      <a:pt x="166" y="252"/>
                    </a:lnTo>
                    <a:lnTo>
                      <a:pt x="166" y="254"/>
                    </a:lnTo>
                    <a:lnTo>
                      <a:pt x="166" y="254"/>
                    </a:lnTo>
                    <a:lnTo>
                      <a:pt x="164" y="256"/>
                    </a:lnTo>
                    <a:lnTo>
                      <a:pt x="164" y="258"/>
                    </a:lnTo>
                    <a:lnTo>
                      <a:pt x="164" y="262"/>
                    </a:lnTo>
                    <a:lnTo>
                      <a:pt x="164" y="262"/>
                    </a:lnTo>
                    <a:lnTo>
                      <a:pt x="164" y="264"/>
                    </a:lnTo>
                    <a:lnTo>
                      <a:pt x="164" y="264"/>
                    </a:lnTo>
                    <a:lnTo>
                      <a:pt x="164" y="268"/>
                    </a:lnTo>
                    <a:lnTo>
                      <a:pt x="164" y="268"/>
                    </a:lnTo>
                    <a:lnTo>
                      <a:pt x="166" y="268"/>
                    </a:lnTo>
                    <a:lnTo>
                      <a:pt x="164" y="270"/>
                    </a:lnTo>
                    <a:lnTo>
                      <a:pt x="164" y="270"/>
                    </a:lnTo>
                    <a:lnTo>
                      <a:pt x="166" y="272"/>
                    </a:lnTo>
                    <a:lnTo>
                      <a:pt x="166" y="272"/>
                    </a:lnTo>
                    <a:lnTo>
                      <a:pt x="166" y="272"/>
                    </a:lnTo>
                    <a:lnTo>
                      <a:pt x="168" y="272"/>
                    </a:lnTo>
                    <a:lnTo>
                      <a:pt x="168" y="272"/>
                    </a:lnTo>
                    <a:lnTo>
                      <a:pt x="166" y="274"/>
                    </a:lnTo>
                    <a:lnTo>
                      <a:pt x="166" y="274"/>
                    </a:lnTo>
                    <a:lnTo>
                      <a:pt x="164" y="278"/>
                    </a:lnTo>
                    <a:lnTo>
                      <a:pt x="164" y="278"/>
                    </a:lnTo>
                    <a:lnTo>
                      <a:pt x="164" y="278"/>
                    </a:lnTo>
                    <a:lnTo>
                      <a:pt x="164" y="280"/>
                    </a:lnTo>
                    <a:lnTo>
                      <a:pt x="164" y="280"/>
                    </a:lnTo>
                    <a:lnTo>
                      <a:pt x="164" y="280"/>
                    </a:lnTo>
                    <a:lnTo>
                      <a:pt x="166" y="284"/>
                    </a:lnTo>
                    <a:lnTo>
                      <a:pt x="166" y="284"/>
                    </a:lnTo>
                    <a:lnTo>
                      <a:pt x="166" y="286"/>
                    </a:lnTo>
                    <a:lnTo>
                      <a:pt x="166" y="286"/>
                    </a:lnTo>
                    <a:lnTo>
                      <a:pt x="168" y="286"/>
                    </a:lnTo>
                    <a:lnTo>
                      <a:pt x="170" y="288"/>
                    </a:lnTo>
                    <a:lnTo>
                      <a:pt x="174" y="288"/>
                    </a:lnTo>
                    <a:lnTo>
                      <a:pt x="174" y="288"/>
                    </a:lnTo>
                    <a:lnTo>
                      <a:pt x="174" y="288"/>
                    </a:lnTo>
                    <a:lnTo>
                      <a:pt x="176" y="290"/>
                    </a:lnTo>
                    <a:lnTo>
                      <a:pt x="176" y="290"/>
                    </a:lnTo>
                    <a:lnTo>
                      <a:pt x="176" y="290"/>
                    </a:lnTo>
                    <a:lnTo>
                      <a:pt x="174" y="290"/>
                    </a:lnTo>
                    <a:lnTo>
                      <a:pt x="174" y="290"/>
                    </a:lnTo>
                    <a:lnTo>
                      <a:pt x="172" y="290"/>
                    </a:lnTo>
                    <a:lnTo>
                      <a:pt x="172" y="290"/>
                    </a:lnTo>
                    <a:lnTo>
                      <a:pt x="170" y="290"/>
                    </a:lnTo>
                    <a:lnTo>
                      <a:pt x="168" y="290"/>
                    </a:lnTo>
                    <a:lnTo>
                      <a:pt x="168" y="290"/>
                    </a:lnTo>
                    <a:lnTo>
                      <a:pt x="168" y="290"/>
                    </a:lnTo>
                    <a:lnTo>
                      <a:pt x="166" y="290"/>
                    </a:lnTo>
                    <a:lnTo>
                      <a:pt x="166" y="288"/>
                    </a:lnTo>
                    <a:lnTo>
                      <a:pt x="166" y="288"/>
                    </a:lnTo>
                    <a:lnTo>
                      <a:pt x="164" y="288"/>
                    </a:lnTo>
                    <a:lnTo>
                      <a:pt x="162" y="286"/>
                    </a:lnTo>
                    <a:lnTo>
                      <a:pt x="162" y="286"/>
                    </a:lnTo>
                    <a:lnTo>
                      <a:pt x="160" y="284"/>
                    </a:lnTo>
                    <a:lnTo>
                      <a:pt x="160" y="282"/>
                    </a:lnTo>
                    <a:lnTo>
                      <a:pt x="158" y="280"/>
                    </a:lnTo>
                    <a:lnTo>
                      <a:pt x="158" y="280"/>
                    </a:lnTo>
                    <a:lnTo>
                      <a:pt x="156" y="278"/>
                    </a:lnTo>
                    <a:lnTo>
                      <a:pt x="154" y="276"/>
                    </a:lnTo>
                    <a:lnTo>
                      <a:pt x="154" y="276"/>
                    </a:lnTo>
                    <a:lnTo>
                      <a:pt x="152" y="276"/>
                    </a:lnTo>
                    <a:lnTo>
                      <a:pt x="152" y="276"/>
                    </a:lnTo>
                    <a:lnTo>
                      <a:pt x="152" y="276"/>
                    </a:lnTo>
                    <a:lnTo>
                      <a:pt x="150" y="278"/>
                    </a:lnTo>
                    <a:lnTo>
                      <a:pt x="148" y="278"/>
                    </a:lnTo>
                    <a:lnTo>
                      <a:pt x="148" y="280"/>
                    </a:lnTo>
                    <a:lnTo>
                      <a:pt x="148" y="280"/>
                    </a:lnTo>
                    <a:lnTo>
                      <a:pt x="146" y="280"/>
                    </a:lnTo>
                    <a:lnTo>
                      <a:pt x="146" y="280"/>
                    </a:lnTo>
                    <a:lnTo>
                      <a:pt x="144" y="278"/>
                    </a:lnTo>
                    <a:lnTo>
                      <a:pt x="144" y="276"/>
                    </a:lnTo>
                    <a:lnTo>
                      <a:pt x="142" y="274"/>
                    </a:lnTo>
                    <a:lnTo>
                      <a:pt x="142" y="274"/>
                    </a:lnTo>
                    <a:lnTo>
                      <a:pt x="142" y="272"/>
                    </a:lnTo>
                    <a:lnTo>
                      <a:pt x="142" y="272"/>
                    </a:lnTo>
                    <a:lnTo>
                      <a:pt x="142" y="272"/>
                    </a:lnTo>
                    <a:lnTo>
                      <a:pt x="144" y="272"/>
                    </a:lnTo>
                    <a:lnTo>
                      <a:pt x="146" y="272"/>
                    </a:lnTo>
                    <a:lnTo>
                      <a:pt x="148" y="272"/>
                    </a:lnTo>
                    <a:lnTo>
                      <a:pt x="148" y="272"/>
                    </a:lnTo>
                    <a:lnTo>
                      <a:pt x="150" y="272"/>
                    </a:lnTo>
                    <a:lnTo>
                      <a:pt x="150" y="272"/>
                    </a:lnTo>
                    <a:lnTo>
                      <a:pt x="152" y="272"/>
                    </a:lnTo>
                    <a:lnTo>
                      <a:pt x="152" y="272"/>
                    </a:lnTo>
                    <a:lnTo>
                      <a:pt x="152" y="270"/>
                    </a:lnTo>
                    <a:lnTo>
                      <a:pt x="154" y="268"/>
                    </a:lnTo>
                    <a:lnTo>
                      <a:pt x="154" y="268"/>
                    </a:lnTo>
                    <a:lnTo>
                      <a:pt x="154" y="266"/>
                    </a:lnTo>
                    <a:lnTo>
                      <a:pt x="156" y="264"/>
                    </a:lnTo>
                    <a:lnTo>
                      <a:pt x="156" y="262"/>
                    </a:lnTo>
                    <a:lnTo>
                      <a:pt x="156" y="260"/>
                    </a:lnTo>
                    <a:lnTo>
                      <a:pt x="156" y="260"/>
                    </a:lnTo>
                    <a:lnTo>
                      <a:pt x="156" y="258"/>
                    </a:lnTo>
                    <a:lnTo>
                      <a:pt x="156" y="256"/>
                    </a:lnTo>
                    <a:lnTo>
                      <a:pt x="156" y="256"/>
                    </a:lnTo>
                    <a:lnTo>
                      <a:pt x="156" y="254"/>
                    </a:lnTo>
                    <a:lnTo>
                      <a:pt x="158" y="254"/>
                    </a:lnTo>
                    <a:lnTo>
                      <a:pt x="158" y="254"/>
                    </a:lnTo>
                    <a:lnTo>
                      <a:pt x="158" y="254"/>
                    </a:lnTo>
                    <a:lnTo>
                      <a:pt x="166" y="250"/>
                    </a:lnTo>
                    <a:lnTo>
                      <a:pt x="166" y="250"/>
                    </a:lnTo>
                    <a:lnTo>
                      <a:pt x="168" y="248"/>
                    </a:lnTo>
                    <a:lnTo>
                      <a:pt x="168" y="248"/>
                    </a:lnTo>
                    <a:lnTo>
                      <a:pt x="170" y="248"/>
                    </a:lnTo>
                    <a:lnTo>
                      <a:pt x="170" y="246"/>
                    </a:lnTo>
                    <a:lnTo>
                      <a:pt x="170" y="246"/>
                    </a:lnTo>
                    <a:lnTo>
                      <a:pt x="170" y="242"/>
                    </a:lnTo>
                    <a:lnTo>
                      <a:pt x="170" y="242"/>
                    </a:lnTo>
                    <a:lnTo>
                      <a:pt x="170" y="240"/>
                    </a:lnTo>
                    <a:lnTo>
                      <a:pt x="170" y="238"/>
                    </a:lnTo>
                    <a:lnTo>
                      <a:pt x="170" y="238"/>
                    </a:lnTo>
                    <a:lnTo>
                      <a:pt x="168" y="236"/>
                    </a:lnTo>
                    <a:lnTo>
                      <a:pt x="168" y="234"/>
                    </a:lnTo>
                    <a:lnTo>
                      <a:pt x="168" y="230"/>
                    </a:lnTo>
                    <a:lnTo>
                      <a:pt x="168" y="230"/>
                    </a:lnTo>
                    <a:lnTo>
                      <a:pt x="168" y="228"/>
                    </a:lnTo>
                    <a:lnTo>
                      <a:pt x="168" y="226"/>
                    </a:lnTo>
                    <a:lnTo>
                      <a:pt x="166" y="226"/>
                    </a:lnTo>
                    <a:lnTo>
                      <a:pt x="164" y="224"/>
                    </a:lnTo>
                    <a:lnTo>
                      <a:pt x="164" y="224"/>
                    </a:lnTo>
                    <a:lnTo>
                      <a:pt x="164" y="224"/>
                    </a:lnTo>
                    <a:lnTo>
                      <a:pt x="162" y="224"/>
                    </a:lnTo>
                    <a:lnTo>
                      <a:pt x="162" y="224"/>
                    </a:lnTo>
                    <a:lnTo>
                      <a:pt x="162" y="224"/>
                    </a:lnTo>
                    <a:lnTo>
                      <a:pt x="164" y="222"/>
                    </a:lnTo>
                    <a:lnTo>
                      <a:pt x="164" y="222"/>
                    </a:lnTo>
                    <a:lnTo>
                      <a:pt x="166" y="224"/>
                    </a:lnTo>
                    <a:lnTo>
                      <a:pt x="166" y="224"/>
                    </a:lnTo>
                    <a:lnTo>
                      <a:pt x="168" y="222"/>
                    </a:lnTo>
                    <a:lnTo>
                      <a:pt x="168" y="222"/>
                    </a:lnTo>
                    <a:lnTo>
                      <a:pt x="170" y="222"/>
                    </a:lnTo>
                    <a:lnTo>
                      <a:pt x="170" y="222"/>
                    </a:lnTo>
                    <a:lnTo>
                      <a:pt x="172" y="220"/>
                    </a:lnTo>
                    <a:lnTo>
                      <a:pt x="172" y="220"/>
                    </a:lnTo>
                    <a:lnTo>
                      <a:pt x="174" y="220"/>
                    </a:lnTo>
                    <a:lnTo>
                      <a:pt x="176" y="220"/>
                    </a:lnTo>
                    <a:lnTo>
                      <a:pt x="176" y="218"/>
                    </a:lnTo>
                    <a:lnTo>
                      <a:pt x="176" y="218"/>
                    </a:lnTo>
                    <a:lnTo>
                      <a:pt x="176" y="216"/>
                    </a:lnTo>
                    <a:lnTo>
                      <a:pt x="176" y="216"/>
                    </a:lnTo>
                    <a:lnTo>
                      <a:pt x="176" y="214"/>
                    </a:lnTo>
                    <a:lnTo>
                      <a:pt x="176" y="212"/>
                    </a:lnTo>
                    <a:lnTo>
                      <a:pt x="176" y="212"/>
                    </a:lnTo>
                    <a:lnTo>
                      <a:pt x="174" y="212"/>
                    </a:lnTo>
                    <a:lnTo>
                      <a:pt x="174" y="210"/>
                    </a:lnTo>
                    <a:lnTo>
                      <a:pt x="172" y="210"/>
                    </a:lnTo>
                    <a:lnTo>
                      <a:pt x="170" y="210"/>
                    </a:lnTo>
                    <a:lnTo>
                      <a:pt x="170" y="210"/>
                    </a:lnTo>
                    <a:lnTo>
                      <a:pt x="168" y="210"/>
                    </a:lnTo>
                    <a:lnTo>
                      <a:pt x="166" y="210"/>
                    </a:lnTo>
                    <a:lnTo>
                      <a:pt x="166" y="210"/>
                    </a:lnTo>
                    <a:lnTo>
                      <a:pt x="164" y="212"/>
                    </a:lnTo>
                    <a:lnTo>
                      <a:pt x="164" y="212"/>
                    </a:lnTo>
                    <a:lnTo>
                      <a:pt x="164" y="214"/>
                    </a:lnTo>
                    <a:lnTo>
                      <a:pt x="164" y="214"/>
                    </a:lnTo>
                    <a:lnTo>
                      <a:pt x="164" y="216"/>
                    </a:lnTo>
                    <a:lnTo>
                      <a:pt x="164" y="218"/>
                    </a:lnTo>
                    <a:lnTo>
                      <a:pt x="164" y="218"/>
                    </a:lnTo>
                    <a:lnTo>
                      <a:pt x="162" y="220"/>
                    </a:lnTo>
                    <a:lnTo>
                      <a:pt x="162" y="220"/>
                    </a:lnTo>
                    <a:lnTo>
                      <a:pt x="162" y="220"/>
                    </a:lnTo>
                    <a:lnTo>
                      <a:pt x="158" y="222"/>
                    </a:lnTo>
                    <a:lnTo>
                      <a:pt x="156" y="222"/>
                    </a:lnTo>
                    <a:lnTo>
                      <a:pt x="154" y="224"/>
                    </a:lnTo>
                    <a:lnTo>
                      <a:pt x="154" y="224"/>
                    </a:lnTo>
                    <a:lnTo>
                      <a:pt x="152" y="224"/>
                    </a:lnTo>
                    <a:lnTo>
                      <a:pt x="150" y="224"/>
                    </a:lnTo>
                    <a:lnTo>
                      <a:pt x="150" y="224"/>
                    </a:lnTo>
                    <a:lnTo>
                      <a:pt x="148" y="224"/>
                    </a:lnTo>
                    <a:lnTo>
                      <a:pt x="148" y="226"/>
                    </a:lnTo>
                    <a:lnTo>
                      <a:pt x="148" y="226"/>
                    </a:lnTo>
                    <a:lnTo>
                      <a:pt x="146" y="226"/>
                    </a:lnTo>
                    <a:lnTo>
                      <a:pt x="144" y="228"/>
                    </a:lnTo>
                    <a:lnTo>
                      <a:pt x="144" y="230"/>
                    </a:lnTo>
                    <a:lnTo>
                      <a:pt x="142" y="230"/>
                    </a:lnTo>
                    <a:lnTo>
                      <a:pt x="142" y="230"/>
                    </a:lnTo>
                    <a:lnTo>
                      <a:pt x="138" y="234"/>
                    </a:lnTo>
                    <a:lnTo>
                      <a:pt x="138" y="234"/>
                    </a:lnTo>
                    <a:lnTo>
                      <a:pt x="136" y="236"/>
                    </a:lnTo>
                    <a:lnTo>
                      <a:pt x="136" y="236"/>
                    </a:lnTo>
                    <a:lnTo>
                      <a:pt x="134" y="238"/>
                    </a:lnTo>
                    <a:lnTo>
                      <a:pt x="134" y="240"/>
                    </a:lnTo>
                    <a:lnTo>
                      <a:pt x="134" y="242"/>
                    </a:lnTo>
                    <a:lnTo>
                      <a:pt x="132" y="242"/>
                    </a:lnTo>
                    <a:lnTo>
                      <a:pt x="132" y="246"/>
                    </a:lnTo>
                    <a:lnTo>
                      <a:pt x="132" y="250"/>
                    </a:lnTo>
                    <a:lnTo>
                      <a:pt x="132" y="250"/>
                    </a:lnTo>
                    <a:lnTo>
                      <a:pt x="134" y="252"/>
                    </a:lnTo>
                    <a:lnTo>
                      <a:pt x="134" y="254"/>
                    </a:lnTo>
                    <a:lnTo>
                      <a:pt x="132" y="256"/>
                    </a:lnTo>
                    <a:lnTo>
                      <a:pt x="132" y="256"/>
                    </a:lnTo>
                    <a:lnTo>
                      <a:pt x="132" y="256"/>
                    </a:lnTo>
                    <a:lnTo>
                      <a:pt x="130" y="258"/>
                    </a:lnTo>
                    <a:lnTo>
                      <a:pt x="128" y="258"/>
                    </a:lnTo>
                    <a:lnTo>
                      <a:pt x="126" y="258"/>
                    </a:lnTo>
                    <a:lnTo>
                      <a:pt x="124" y="258"/>
                    </a:lnTo>
                    <a:lnTo>
                      <a:pt x="124" y="258"/>
                    </a:lnTo>
                    <a:lnTo>
                      <a:pt x="122" y="258"/>
                    </a:lnTo>
                    <a:lnTo>
                      <a:pt x="120" y="256"/>
                    </a:lnTo>
                    <a:lnTo>
                      <a:pt x="116" y="258"/>
                    </a:lnTo>
                    <a:lnTo>
                      <a:pt x="116" y="258"/>
                    </a:lnTo>
                    <a:lnTo>
                      <a:pt x="112" y="258"/>
                    </a:lnTo>
                    <a:lnTo>
                      <a:pt x="110" y="258"/>
                    </a:lnTo>
                    <a:lnTo>
                      <a:pt x="110" y="258"/>
                    </a:lnTo>
                    <a:lnTo>
                      <a:pt x="108" y="256"/>
                    </a:lnTo>
                    <a:lnTo>
                      <a:pt x="108" y="256"/>
                    </a:lnTo>
                    <a:lnTo>
                      <a:pt x="108" y="256"/>
                    </a:lnTo>
                    <a:lnTo>
                      <a:pt x="108" y="256"/>
                    </a:lnTo>
                    <a:lnTo>
                      <a:pt x="108" y="254"/>
                    </a:lnTo>
                    <a:lnTo>
                      <a:pt x="106" y="252"/>
                    </a:lnTo>
                    <a:lnTo>
                      <a:pt x="104" y="252"/>
                    </a:lnTo>
                    <a:lnTo>
                      <a:pt x="102" y="252"/>
                    </a:lnTo>
                    <a:lnTo>
                      <a:pt x="102" y="252"/>
                    </a:lnTo>
                    <a:lnTo>
                      <a:pt x="100" y="252"/>
                    </a:lnTo>
                    <a:lnTo>
                      <a:pt x="96" y="254"/>
                    </a:lnTo>
                    <a:lnTo>
                      <a:pt x="96" y="254"/>
                    </a:lnTo>
                    <a:lnTo>
                      <a:pt x="94" y="252"/>
                    </a:lnTo>
                    <a:lnTo>
                      <a:pt x="92" y="252"/>
                    </a:lnTo>
                    <a:lnTo>
                      <a:pt x="90" y="252"/>
                    </a:lnTo>
                    <a:lnTo>
                      <a:pt x="88" y="252"/>
                    </a:lnTo>
                    <a:lnTo>
                      <a:pt x="88" y="252"/>
                    </a:lnTo>
                    <a:lnTo>
                      <a:pt x="86" y="252"/>
                    </a:lnTo>
                    <a:lnTo>
                      <a:pt x="84" y="252"/>
                    </a:lnTo>
                    <a:lnTo>
                      <a:pt x="82" y="254"/>
                    </a:lnTo>
                    <a:lnTo>
                      <a:pt x="82" y="254"/>
                    </a:lnTo>
                    <a:lnTo>
                      <a:pt x="82" y="254"/>
                    </a:lnTo>
                    <a:lnTo>
                      <a:pt x="82" y="254"/>
                    </a:lnTo>
                    <a:lnTo>
                      <a:pt x="82" y="256"/>
                    </a:lnTo>
                    <a:lnTo>
                      <a:pt x="82" y="258"/>
                    </a:lnTo>
                    <a:lnTo>
                      <a:pt x="82" y="260"/>
                    </a:lnTo>
                    <a:lnTo>
                      <a:pt x="82" y="262"/>
                    </a:lnTo>
                    <a:lnTo>
                      <a:pt x="82" y="262"/>
                    </a:lnTo>
                    <a:lnTo>
                      <a:pt x="82" y="262"/>
                    </a:lnTo>
                    <a:lnTo>
                      <a:pt x="80" y="262"/>
                    </a:lnTo>
                    <a:lnTo>
                      <a:pt x="80" y="262"/>
                    </a:lnTo>
                    <a:lnTo>
                      <a:pt x="78" y="262"/>
                    </a:lnTo>
                    <a:lnTo>
                      <a:pt x="78" y="262"/>
                    </a:lnTo>
                    <a:lnTo>
                      <a:pt x="78" y="262"/>
                    </a:lnTo>
                    <a:lnTo>
                      <a:pt x="76" y="264"/>
                    </a:lnTo>
                    <a:lnTo>
                      <a:pt x="76" y="264"/>
                    </a:lnTo>
                    <a:lnTo>
                      <a:pt x="74" y="266"/>
                    </a:lnTo>
                    <a:lnTo>
                      <a:pt x="72" y="268"/>
                    </a:lnTo>
                    <a:lnTo>
                      <a:pt x="72" y="268"/>
                    </a:lnTo>
                    <a:lnTo>
                      <a:pt x="72" y="270"/>
                    </a:lnTo>
                    <a:lnTo>
                      <a:pt x="72" y="270"/>
                    </a:lnTo>
                    <a:lnTo>
                      <a:pt x="72" y="272"/>
                    </a:lnTo>
                    <a:lnTo>
                      <a:pt x="72" y="272"/>
                    </a:lnTo>
                    <a:lnTo>
                      <a:pt x="72" y="272"/>
                    </a:lnTo>
                    <a:lnTo>
                      <a:pt x="72" y="274"/>
                    </a:lnTo>
                    <a:lnTo>
                      <a:pt x="74" y="276"/>
                    </a:lnTo>
                    <a:lnTo>
                      <a:pt x="74" y="276"/>
                    </a:lnTo>
                    <a:lnTo>
                      <a:pt x="76" y="278"/>
                    </a:lnTo>
                    <a:lnTo>
                      <a:pt x="78" y="280"/>
                    </a:lnTo>
                    <a:lnTo>
                      <a:pt x="78" y="280"/>
                    </a:lnTo>
                    <a:lnTo>
                      <a:pt x="80" y="282"/>
                    </a:lnTo>
                    <a:lnTo>
                      <a:pt x="82" y="282"/>
                    </a:lnTo>
                    <a:lnTo>
                      <a:pt x="86" y="282"/>
                    </a:lnTo>
                    <a:lnTo>
                      <a:pt x="86" y="282"/>
                    </a:lnTo>
                    <a:lnTo>
                      <a:pt x="94" y="282"/>
                    </a:lnTo>
                    <a:lnTo>
                      <a:pt x="94" y="282"/>
                    </a:lnTo>
                    <a:lnTo>
                      <a:pt x="96" y="282"/>
                    </a:lnTo>
                    <a:lnTo>
                      <a:pt x="98" y="282"/>
                    </a:lnTo>
                    <a:lnTo>
                      <a:pt x="98" y="282"/>
                    </a:lnTo>
                    <a:lnTo>
                      <a:pt x="98" y="282"/>
                    </a:lnTo>
                    <a:lnTo>
                      <a:pt x="100" y="280"/>
                    </a:lnTo>
                    <a:lnTo>
                      <a:pt x="100" y="280"/>
                    </a:lnTo>
                    <a:lnTo>
                      <a:pt x="100" y="280"/>
                    </a:lnTo>
                    <a:lnTo>
                      <a:pt x="100" y="278"/>
                    </a:lnTo>
                    <a:lnTo>
                      <a:pt x="100" y="278"/>
                    </a:lnTo>
                    <a:lnTo>
                      <a:pt x="100" y="276"/>
                    </a:lnTo>
                    <a:lnTo>
                      <a:pt x="100" y="276"/>
                    </a:lnTo>
                    <a:lnTo>
                      <a:pt x="100" y="276"/>
                    </a:lnTo>
                    <a:lnTo>
                      <a:pt x="100" y="276"/>
                    </a:lnTo>
                    <a:lnTo>
                      <a:pt x="102" y="274"/>
                    </a:lnTo>
                    <a:lnTo>
                      <a:pt x="102" y="274"/>
                    </a:lnTo>
                    <a:lnTo>
                      <a:pt x="102" y="272"/>
                    </a:lnTo>
                    <a:lnTo>
                      <a:pt x="104" y="272"/>
                    </a:lnTo>
                    <a:lnTo>
                      <a:pt x="104" y="270"/>
                    </a:lnTo>
                    <a:lnTo>
                      <a:pt x="104" y="270"/>
                    </a:lnTo>
                    <a:lnTo>
                      <a:pt x="104" y="270"/>
                    </a:lnTo>
                    <a:lnTo>
                      <a:pt x="104" y="268"/>
                    </a:lnTo>
                    <a:lnTo>
                      <a:pt x="102" y="268"/>
                    </a:lnTo>
                    <a:lnTo>
                      <a:pt x="102" y="266"/>
                    </a:lnTo>
                    <a:lnTo>
                      <a:pt x="100" y="266"/>
                    </a:lnTo>
                    <a:lnTo>
                      <a:pt x="100" y="264"/>
                    </a:lnTo>
                    <a:lnTo>
                      <a:pt x="100" y="264"/>
                    </a:lnTo>
                    <a:lnTo>
                      <a:pt x="98" y="264"/>
                    </a:lnTo>
                    <a:lnTo>
                      <a:pt x="98" y="262"/>
                    </a:lnTo>
                    <a:lnTo>
                      <a:pt x="98" y="262"/>
                    </a:lnTo>
                    <a:lnTo>
                      <a:pt x="98" y="262"/>
                    </a:lnTo>
                    <a:lnTo>
                      <a:pt x="98" y="262"/>
                    </a:lnTo>
                    <a:lnTo>
                      <a:pt x="100" y="262"/>
                    </a:lnTo>
                    <a:lnTo>
                      <a:pt x="102" y="264"/>
                    </a:lnTo>
                    <a:lnTo>
                      <a:pt x="102" y="264"/>
                    </a:lnTo>
                    <a:lnTo>
                      <a:pt x="104" y="264"/>
                    </a:lnTo>
                    <a:lnTo>
                      <a:pt x="106" y="266"/>
                    </a:lnTo>
                    <a:lnTo>
                      <a:pt x="106" y="266"/>
                    </a:lnTo>
                    <a:lnTo>
                      <a:pt x="108" y="266"/>
                    </a:lnTo>
                    <a:lnTo>
                      <a:pt x="108" y="266"/>
                    </a:lnTo>
                    <a:lnTo>
                      <a:pt x="108" y="268"/>
                    </a:lnTo>
                    <a:lnTo>
                      <a:pt x="108" y="268"/>
                    </a:lnTo>
                    <a:lnTo>
                      <a:pt x="108" y="270"/>
                    </a:lnTo>
                    <a:lnTo>
                      <a:pt x="108" y="272"/>
                    </a:lnTo>
                    <a:lnTo>
                      <a:pt x="108" y="272"/>
                    </a:lnTo>
                    <a:lnTo>
                      <a:pt x="106" y="272"/>
                    </a:lnTo>
                    <a:lnTo>
                      <a:pt x="106" y="272"/>
                    </a:lnTo>
                    <a:lnTo>
                      <a:pt x="106" y="274"/>
                    </a:lnTo>
                    <a:lnTo>
                      <a:pt x="106" y="274"/>
                    </a:lnTo>
                    <a:lnTo>
                      <a:pt x="108" y="274"/>
                    </a:lnTo>
                    <a:lnTo>
                      <a:pt x="108" y="274"/>
                    </a:lnTo>
                    <a:lnTo>
                      <a:pt x="108" y="274"/>
                    </a:lnTo>
                    <a:lnTo>
                      <a:pt x="108" y="272"/>
                    </a:lnTo>
                    <a:lnTo>
                      <a:pt x="108" y="272"/>
                    </a:lnTo>
                    <a:lnTo>
                      <a:pt x="110" y="272"/>
                    </a:lnTo>
                    <a:lnTo>
                      <a:pt x="110" y="272"/>
                    </a:lnTo>
                    <a:lnTo>
                      <a:pt x="110" y="274"/>
                    </a:lnTo>
                    <a:lnTo>
                      <a:pt x="110" y="276"/>
                    </a:lnTo>
                    <a:lnTo>
                      <a:pt x="110" y="278"/>
                    </a:lnTo>
                    <a:lnTo>
                      <a:pt x="110" y="278"/>
                    </a:lnTo>
                    <a:lnTo>
                      <a:pt x="112" y="278"/>
                    </a:lnTo>
                    <a:lnTo>
                      <a:pt x="112" y="278"/>
                    </a:lnTo>
                    <a:lnTo>
                      <a:pt x="114" y="280"/>
                    </a:lnTo>
                    <a:lnTo>
                      <a:pt x="114" y="280"/>
                    </a:lnTo>
                    <a:lnTo>
                      <a:pt x="114" y="280"/>
                    </a:lnTo>
                    <a:lnTo>
                      <a:pt x="116" y="282"/>
                    </a:lnTo>
                    <a:lnTo>
                      <a:pt x="116" y="282"/>
                    </a:lnTo>
                    <a:lnTo>
                      <a:pt x="118" y="282"/>
                    </a:lnTo>
                    <a:lnTo>
                      <a:pt x="118" y="282"/>
                    </a:lnTo>
                    <a:lnTo>
                      <a:pt x="118" y="282"/>
                    </a:lnTo>
                    <a:lnTo>
                      <a:pt x="120" y="282"/>
                    </a:lnTo>
                    <a:lnTo>
                      <a:pt x="120" y="280"/>
                    </a:lnTo>
                    <a:lnTo>
                      <a:pt x="120" y="278"/>
                    </a:lnTo>
                    <a:lnTo>
                      <a:pt x="120" y="276"/>
                    </a:lnTo>
                    <a:lnTo>
                      <a:pt x="120" y="276"/>
                    </a:lnTo>
                    <a:lnTo>
                      <a:pt x="122" y="276"/>
                    </a:lnTo>
                    <a:lnTo>
                      <a:pt x="122" y="276"/>
                    </a:lnTo>
                    <a:lnTo>
                      <a:pt x="122" y="276"/>
                    </a:lnTo>
                    <a:lnTo>
                      <a:pt x="122" y="278"/>
                    </a:lnTo>
                    <a:lnTo>
                      <a:pt x="124" y="278"/>
                    </a:lnTo>
                    <a:lnTo>
                      <a:pt x="124" y="278"/>
                    </a:lnTo>
                    <a:lnTo>
                      <a:pt x="124" y="280"/>
                    </a:lnTo>
                    <a:lnTo>
                      <a:pt x="124" y="284"/>
                    </a:lnTo>
                    <a:lnTo>
                      <a:pt x="124" y="284"/>
                    </a:lnTo>
                    <a:lnTo>
                      <a:pt x="124" y="284"/>
                    </a:lnTo>
                    <a:lnTo>
                      <a:pt x="126" y="286"/>
                    </a:lnTo>
                    <a:lnTo>
                      <a:pt x="128" y="288"/>
                    </a:lnTo>
                    <a:lnTo>
                      <a:pt x="128" y="288"/>
                    </a:lnTo>
                    <a:lnTo>
                      <a:pt x="130" y="292"/>
                    </a:lnTo>
                    <a:lnTo>
                      <a:pt x="130" y="292"/>
                    </a:lnTo>
                    <a:lnTo>
                      <a:pt x="130" y="292"/>
                    </a:lnTo>
                    <a:lnTo>
                      <a:pt x="132" y="294"/>
                    </a:lnTo>
                    <a:lnTo>
                      <a:pt x="132" y="294"/>
                    </a:lnTo>
                    <a:lnTo>
                      <a:pt x="132" y="296"/>
                    </a:lnTo>
                    <a:lnTo>
                      <a:pt x="132" y="298"/>
                    </a:lnTo>
                    <a:lnTo>
                      <a:pt x="132" y="300"/>
                    </a:lnTo>
                    <a:lnTo>
                      <a:pt x="132" y="300"/>
                    </a:lnTo>
                    <a:lnTo>
                      <a:pt x="132" y="302"/>
                    </a:lnTo>
                    <a:lnTo>
                      <a:pt x="132" y="302"/>
                    </a:lnTo>
                    <a:lnTo>
                      <a:pt x="134" y="304"/>
                    </a:lnTo>
                    <a:lnTo>
                      <a:pt x="134" y="304"/>
                    </a:lnTo>
                    <a:lnTo>
                      <a:pt x="136" y="306"/>
                    </a:lnTo>
                    <a:lnTo>
                      <a:pt x="138" y="308"/>
                    </a:lnTo>
                    <a:lnTo>
                      <a:pt x="138" y="308"/>
                    </a:lnTo>
                    <a:lnTo>
                      <a:pt x="138" y="310"/>
                    </a:lnTo>
                    <a:lnTo>
                      <a:pt x="138" y="310"/>
                    </a:lnTo>
                    <a:lnTo>
                      <a:pt x="140" y="312"/>
                    </a:lnTo>
                    <a:lnTo>
                      <a:pt x="140" y="314"/>
                    </a:lnTo>
                    <a:lnTo>
                      <a:pt x="140" y="314"/>
                    </a:lnTo>
                    <a:lnTo>
                      <a:pt x="142" y="316"/>
                    </a:lnTo>
                    <a:lnTo>
                      <a:pt x="142" y="318"/>
                    </a:lnTo>
                    <a:lnTo>
                      <a:pt x="142" y="318"/>
                    </a:lnTo>
                    <a:lnTo>
                      <a:pt x="144" y="318"/>
                    </a:lnTo>
                    <a:lnTo>
                      <a:pt x="144" y="318"/>
                    </a:lnTo>
                    <a:lnTo>
                      <a:pt x="144" y="318"/>
                    </a:lnTo>
                    <a:lnTo>
                      <a:pt x="144" y="318"/>
                    </a:lnTo>
                    <a:lnTo>
                      <a:pt x="144" y="320"/>
                    </a:lnTo>
                    <a:lnTo>
                      <a:pt x="144" y="320"/>
                    </a:lnTo>
                    <a:lnTo>
                      <a:pt x="142" y="322"/>
                    </a:lnTo>
                    <a:lnTo>
                      <a:pt x="142" y="322"/>
                    </a:lnTo>
                    <a:lnTo>
                      <a:pt x="142" y="322"/>
                    </a:lnTo>
                    <a:lnTo>
                      <a:pt x="142" y="322"/>
                    </a:lnTo>
                    <a:lnTo>
                      <a:pt x="142" y="324"/>
                    </a:lnTo>
                    <a:lnTo>
                      <a:pt x="142" y="324"/>
                    </a:lnTo>
                    <a:lnTo>
                      <a:pt x="142" y="324"/>
                    </a:lnTo>
                    <a:lnTo>
                      <a:pt x="144" y="326"/>
                    </a:lnTo>
                    <a:lnTo>
                      <a:pt x="144" y="326"/>
                    </a:lnTo>
                    <a:lnTo>
                      <a:pt x="146" y="326"/>
                    </a:lnTo>
                    <a:lnTo>
                      <a:pt x="146" y="326"/>
                    </a:lnTo>
                    <a:lnTo>
                      <a:pt x="148" y="328"/>
                    </a:lnTo>
                    <a:lnTo>
                      <a:pt x="148" y="330"/>
                    </a:lnTo>
                    <a:lnTo>
                      <a:pt x="148" y="330"/>
                    </a:lnTo>
                    <a:lnTo>
                      <a:pt x="152" y="330"/>
                    </a:lnTo>
                    <a:lnTo>
                      <a:pt x="156" y="332"/>
                    </a:lnTo>
                    <a:lnTo>
                      <a:pt x="156" y="332"/>
                    </a:lnTo>
                    <a:lnTo>
                      <a:pt x="158" y="332"/>
                    </a:lnTo>
                    <a:lnTo>
                      <a:pt x="158" y="334"/>
                    </a:lnTo>
                    <a:lnTo>
                      <a:pt x="160" y="336"/>
                    </a:lnTo>
                    <a:lnTo>
                      <a:pt x="160" y="338"/>
                    </a:lnTo>
                    <a:lnTo>
                      <a:pt x="162" y="340"/>
                    </a:lnTo>
                    <a:lnTo>
                      <a:pt x="162" y="340"/>
                    </a:lnTo>
                    <a:lnTo>
                      <a:pt x="162" y="342"/>
                    </a:lnTo>
                    <a:lnTo>
                      <a:pt x="164" y="342"/>
                    </a:lnTo>
                    <a:lnTo>
                      <a:pt x="164" y="342"/>
                    </a:lnTo>
                    <a:lnTo>
                      <a:pt x="164" y="342"/>
                    </a:lnTo>
                    <a:lnTo>
                      <a:pt x="166" y="342"/>
                    </a:lnTo>
                    <a:lnTo>
                      <a:pt x="168" y="342"/>
                    </a:lnTo>
                    <a:lnTo>
                      <a:pt x="168" y="342"/>
                    </a:lnTo>
                    <a:lnTo>
                      <a:pt x="170" y="344"/>
                    </a:lnTo>
                    <a:lnTo>
                      <a:pt x="172" y="344"/>
                    </a:lnTo>
                    <a:lnTo>
                      <a:pt x="172" y="348"/>
                    </a:lnTo>
                    <a:lnTo>
                      <a:pt x="172" y="348"/>
                    </a:lnTo>
                    <a:lnTo>
                      <a:pt x="174" y="350"/>
                    </a:lnTo>
                    <a:lnTo>
                      <a:pt x="174" y="350"/>
                    </a:lnTo>
                    <a:lnTo>
                      <a:pt x="178" y="352"/>
                    </a:lnTo>
                    <a:lnTo>
                      <a:pt x="178" y="352"/>
                    </a:lnTo>
                    <a:lnTo>
                      <a:pt x="182" y="354"/>
                    </a:lnTo>
                    <a:lnTo>
                      <a:pt x="186" y="356"/>
                    </a:lnTo>
                    <a:lnTo>
                      <a:pt x="186" y="356"/>
                    </a:lnTo>
                    <a:lnTo>
                      <a:pt x="188" y="356"/>
                    </a:lnTo>
                    <a:lnTo>
                      <a:pt x="190" y="356"/>
                    </a:lnTo>
                    <a:lnTo>
                      <a:pt x="190" y="356"/>
                    </a:lnTo>
                    <a:lnTo>
                      <a:pt x="190" y="356"/>
                    </a:lnTo>
                    <a:lnTo>
                      <a:pt x="192" y="358"/>
                    </a:lnTo>
                    <a:lnTo>
                      <a:pt x="192" y="358"/>
                    </a:lnTo>
                    <a:lnTo>
                      <a:pt x="192" y="358"/>
                    </a:lnTo>
                    <a:lnTo>
                      <a:pt x="194" y="360"/>
                    </a:lnTo>
                    <a:lnTo>
                      <a:pt x="194" y="360"/>
                    </a:lnTo>
                    <a:lnTo>
                      <a:pt x="196" y="362"/>
                    </a:lnTo>
                    <a:lnTo>
                      <a:pt x="196" y="362"/>
                    </a:lnTo>
                    <a:lnTo>
                      <a:pt x="200" y="364"/>
                    </a:lnTo>
                    <a:lnTo>
                      <a:pt x="200" y="364"/>
                    </a:lnTo>
                    <a:lnTo>
                      <a:pt x="200" y="364"/>
                    </a:lnTo>
                    <a:lnTo>
                      <a:pt x="202" y="362"/>
                    </a:lnTo>
                    <a:lnTo>
                      <a:pt x="202" y="362"/>
                    </a:lnTo>
                    <a:lnTo>
                      <a:pt x="202" y="362"/>
                    </a:lnTo>
                    <a:lnTo>
                      <a:pt x="202" y="358"/>
                    </a:lnTo>
                    <a:lnTo>
                      <a:pt x="204" y="356"/>
                    </a:lnTo>
                    <a:lnTo>
                      <a:pt x="204" y="356"/>
                    </a:lnTo>
                    <a:lnTo>
                      <a:pt x="204" y="352"/>
                    </a:lnTo>
                    <a:lnTo>
                      <a:pt x="202" y="352"/>
                    </a:lnTo>
                    <a:lnTo>
                      <a:pt x="202" y="348"/>
                    </a:lnTo>
                    <a:lnTo>
                      <a:pt x="202" y="348"/>
                    </a:lnTo>
                    <a:lnTo>
                      <a:pt x="198" y="342"/>
                    </a:lnTo>
                    <a:lnTo>
                      <a:pt x="196" y="340"/>
                    </a:lnTo>
                    <a:lnTo>
                      <a:pt x="194" y="338"/>
                    </a:lnTo>
                    <a:lnTo>
                      <a:pt x="194" y="338"/>
                    </a:lnTo>
                    <a:lnTo>
                      <a:pt x="192" y="338"/>
                    </a:lnTo>
                    <a:lnTo>
                      <a:pt x="190" y="336"/>
                    </a:lnTo>
                    <a:lnTo>
                      <a:pt x="188" y="334"/>
                    </a:lnTo>
                    <a:lnTo>
                      <a:pt x="188" y="332"/>
                    </a:lnTo>
                    <a:lnTo>
                      <a:pt x="188" y="332"/>
                    </a:lnTo>
                    <a:lnTo>
                      <a:pt x="186" y="330"/>
                    </a:lnTo>
                    <a:lnTo>
                      <a:pt x="184" y="328"/>
                    </a:lnTo>
                    <a:lnTo>
                      <a:pt x="182" y="326"/>
                    </a:lnTo>
                    <a:lnTo>
                      <a:pt x="182" y="324"/>
                    </a:lnTo>
                    <a:lnTo>
                      <a:pt x="182" y="324"/>
                    </a:lnTo>
                    <a:lnTo>
                      <a:pt x="182" y="322"/>
                    </a:lnTo>
                    <a:lnTo>
                      <a:pt x="182" y="322"/>
                    </a:lnTo>
                    <a:lnTo>
                      <a:pt x="182" y="320"/>
                    </a:lnTo>
                    <a:lnTo>
                      <a:pt x="182" y="320"/>
                    </a:lnTo>
                    <a:lnTo>
                      <a:pt x="184" y="320"/>
                    </a:lnTo>
                    <a:lnTo>
                      <a:pt x="184" y="320"/>
                    </a:lnTo>
                    <a:lnTo>
                      <a:pt x="186" y="322"/>
                    </a:lnTo>
                    <a:lnTo>
                      <a:pt x="188" y="322"/>
                    </a:lnTo>
                    <a:lnTo>
                      <a:pt x="188" y="322"/>
                    </a:lnTo>
                    <a:lnTo>
                      <a:pt x="188" y="322"/>
                    </a:lnTo>
                    <a:lnTo>
                      <a:pt x="188" y="322"/>
                    </a:lnTo>
                    <a:lnTo>
                      <a:pt x="188" y="32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55" name="Freeform 51"/>
              <p:cNvSpPr>
                <a:spLocks/>
              </p:cNvSpPr>
              <p:nvPr/>
            </p:nvSpPr>
            <p:spPr bwMode="auto">
              <a:xfrm>
                <a:off x="1755" y="1418"/>
                <a:ext cx="14" cy="10"/>
              </a:xfrm>
              <a:custGeom>
                <a:avLst/>
                <a:gdLst>
                  <a:gd name="T0" fmla="*/ 6 w 14"/>
                  <a:gd name="T1" fmla="*/ 0 h 10"/>
                  <a:gd name="T2" fmla="*/ 6 w 14"/>
                  <a:gd name="T3" fmla="*/ 0 h 10"/>
                  <a:gd name="T4" fmla="*/ 2 w 14"/>
                  <a:gd name="T5" fmla="*/ 0 h 10"/>
                  <a:gd name="T6" fmla="*/ 2 w 14"/>
                  <a:gd name="T7" fmla="*/ 0 h 10"/>
                  <a:gd name="T8" fmla="*/ 0 w 14"/>
                  <a:gd name="T9" fmla="*/ 0 h 10"/>
                  <a:gd name="T10" fmla="*/ 0 w 14"/>
                  <a:gd name="T11" fmla="*/ 2 h 10"/>
                  <a:gd name="T12" fmla="*/ 0 w 14"/>
                  <a:gd name="T13" fmla="*/ 2 h 10"/>
                  <a:gd name="T14" fmla="*/ 0 w 14"/>
                  <a:gd name="T15" fmla="*/ 2 h 10"/>
                  <a:gd name="T16" fmla="*/ 0 w 14"/>
                  <a:gd name="T17" fmla="*/ 4 h 10"/>
                  <a:gd name="T18" fmla="*/ 2 w 14"/>
                  <a:gd name="T19" fmla="*/ 4 h 10"/>
                  <a:gd name="T20" fmla="*/ 4 w 14"/>
                  <a:gd name="T21" fmla="*/ 8 h 10"/>
                  <a:gd name="T22" fmla="*/ 4 w 14"/>
                  <a:gd name="T23" fmla="*/ 8 h 10"/>
                  <a:gd name="T24" fmla="*/ 6 w 14"/>
                  <a:gd name="T25" fmla="*/ 8 h 10"/>
                  <a:gd name="T26" fmla="*/ 8 w 14"/>
                  <a:gd name="T27" fmla="*/ 10 h 10"/>
                  <a:gd name="T28" fmla="*/ 10 w 14"/>
                  <a:gd name="T29" fmla="*/ 10 h 10"/>
                  <a:gd name="T30" fmla="*/ 12 w 14"/>
                  <a:gd name="T31" fmla="*/ 8 h 10"/>
                  <a:gd name="T32" fmla="*/ 12 w 14"/>
                  <a:gd name="T33" fmla="*/ 8 h 10"/>
                  <a:gd name="T34" fmla="*/ 14 w 14"/>
                  <a:gd name="T35" fmla="*/ 8 h 10"/>
                  <a:gd name="T36" fmla="*/ 14 w 14"/>
                  <a:gd name="T37" fmla="*/ 8 h 10"/>
                  <a:gd name="T38" fmla="*/ 14 w 14"/>
                  <a:gd name="T39" fmla="*/ 8 h 10"/>
                  <a:gd name="T40" fmla="*/ 14 w 14"/>
                  <a:gd name="T41" fmla="*/ 8 h 10"/>
                  <a:gd name="T42" fmla="*/ 14 w 14"/>
                  <a:gd name="T43" fmla="*/ 8 h 10"/>
                  <a:gd name="T44" fmla="*/ 14 w 14"/>
                  <a:gd name="T45" fmla="*/ 8 h 10"/>
                  <a:gd name="T46" fmla="*/ 14 w 14"/>
                  <a:gd name="T47" fmla="*/ 6 h 10"/>
                  <a:gd name="T48" fmla="*/ 12 w 14"/>
                  <a:gd name="T49" fmla="*/ 4 h 10"/>
                  <a:gd name="T50" fmla="*/ 12 w 14"/>
                  <a:gd name="T51" fmla="*/ 4 h 10"/>
                  <a:gd name="T52" fmla="*/ 10 w 14"/>
                  <a:gd name="T53" fmla="*/ 2 h 10"/>
                  <a:gd name="T54" fmla="*/ 8 w 14"/>
                  <a:gd name="T55" fmla="*/ 0 h 10"/>
                  <a:gd name="T56" fmla="*/ 6 w 14"/>
                  <a:gd name="T57" fmla="*/ 0 h 10"/>
                  <a:gd name="T58" fmla="*/ 6 w 14"/>
                  <a:gd name="T59" fmla="*/ 0 h 10"/>
                  <a:gd name="T60" fmla="*/ 6 w 14"/>
                  <a:gd name="T61" fmla="*/ 0 h 10"/>
                  <a:gd name="T62" fmla="*/ 6 w 14"/>
                  <a:gd name="T63" fmla="*/ 0 h 10"/>
                  <a:gd name="T64" fmla="*/ 6 w 14"/>
                  <a:gd name="T6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4" h="10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8" y="10"/>
                    </a:lnTo>
                    <a:lnTo>
                      <a:pt x="10" y="10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6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56" name="Freeform 53"/>
              <p:cNvSpPr>
                <a:spLocks/>
              </p:cNvSpPr>
              <p:nvPr/>
            </p:nvSpPr>
            <p:spPr bwMode="auto">
              <a:xfrm>
                <a:off x="1783" y="1422"/>
                <a:ext cx="14" cy="6"/>
              </a:xfrm>
              <a:custGeom>
                <a:avLst/>
                <a:gdLst>
                  <a:gd name="T0" fmla="*/ 4 w 14"/>
                  <a:gd name="T1" fmla="*/ 2 h 6"/>
                  <a:gd name="T2" fmla="*/ 4 w 14"/>
                  <a:gd name="T3" fmla="*/ 2 h 6"/>
                  <a:gd name="T4" fmla="*/ 2 w 14"/>
                  <a:gd name="T5" fmla="*/ 4 h 6"/>
                  <a:gd name="T6" fmla="*/ 0 w 14"/>
                  <a:gd name="T7" fmla="*/ 4 h 6"/>
                  <a:gd name="T8" fmla="*/ 0 w 14"/>
                  <a:gd name="T9" fmla="*/ 4 h 6"/>
                  <a:gd name="T10" fmla="*/ 0 w 14"/>
                  <a:gd name="T11" fmla="*/ 4 h 6"/>
                  <a:gd name="T12" fmla="*/ 0 w 14"/>
                  <a:gd name="T13" fmla="*/ 6 h 6"/>
                  <a:gd name="T14" fmla="*/ 0 w 14"/>
                  <a:gd name="T15" fmla="*/ 6 h 6"/>
                  <a:gd name="T16" fmla="*/ 2 w 14"/>
                  <a:gd name="T17" fmla="*/ 6 h 6"/>
                  <a:gd name="T18" fmla="*/ 2 w 14"/>
                  <a:gd name="T19" fmla="*/ 6 h 6"/>
                  <a:gd name="T20" fmla="*/ 4 w 14"/>
                  <a:gd name="T21" fmla="*/ 6 h 6"/>
                  <a:gd name="T22" fmla="*/ 6 w 14"/>
                  <a:gd name="T23" fmla="*/ 4 h 6"/>
                  <a:gd name="T24" fmla="*/ 6 w 14"/>
                  <a:gd name="T25" fmla="*/ 4 h 6"/>
                  <a:gd name="T26" fmla="*/ 8 w 14"/>
                  <a:gd name="T27" fmla="*/ 4 h 6"/>
                  <a:gd name="T28" fmla="*/ 10 w 14"/>
                  <a:gd name="T29" fmla="*/ 4 h 6"/>
                  <a:gd name="T30" fmla="*/ 12 w 14"/>
                  <a:gd name="T31" fmla="*/ 4 h 6"/>
                  <a:gd name="T32" fmla="*/ 14 w 14"/>
                  <a:gd name="T33" fmla="*/ 4 h 6"/>
                  <a:gd name="T34" fmla="*/ 14 w 14"/>
                  <a:gd name="T35" fmla="*/ 4 h 6"/>
                  <a:gd name="T36" fmla="*/ 14 w 14"/>
                  <a:gd name="T37" fmla="*/ 4 h 6"/>
                  <a:gd name="T38" fmla="*/ 14 w 14"/>
                  <a:gd name="T39" fmla="*/ 2 h 6"/>
                  <a:gd name="T40" fmla="*/ 14 w 14"/>
                  <a:gd name="T41" fmla="*/ 2 h 6"/>
                  <a:gd name="T42" fmla="*/ 14 w 14"/>
                  <a:gd name="T43" fmla="*/ 2 h 6"/>
                  <a:gd name="T44" fmla="*/ 12 w 14"/>
                  <a:gd name="T45" fmla="*/ 0 h 6"/>
                  <a:gd name="T46" fmla="*/ 12 w 14"/>
                  <a:gd name="T47" fmla="*/ 0 h 6"/>
                  <a:gd name="T48" fmla="*/ 10 w 14"/>
                  <a:gd name="T49" fmla="*/ 0 h 6"/>
                  <a:gd name="T50" fmla="*/ 8 w 14"/>
                  <a:gd name="T51" fmla="*/ 0 h 6"/>
                  <a:gd name="T52" fmla="*/ 8 w 14"/>
                  <a:gd name="T53" fmla="*/ 0 h 6"/>
                  <a:gd name="T54" fmla="*/ 8 w 14"/>
                  <a:gd name="T55" fmla="*/ 0 h 6"/>
                  <a:gd name="T56" fmla="*/ 6 w 14"/>
                  <a:gd name="T57" fmla="*/ 0 h 6"/>
                  <a:gd name="T58" fmla="*/ 4 w 14"/>
                  <a:gd name="T59" fmla="*/ 2 h 6"/>
                  <a:gd name="T60" fmla="*/ 4 w 14"/>
                  <a:gd name="T61" fmla="*/ 2 h 6"/>
                  <a:gd name="T62" fmla="*/ 4 w 14"/>
                  <a:gd name="T63" fmla="*/ 2 h 6"/>
                  <a:gd name="T64" fmla="*/ 4 w 14"/>
                  <a:gd name="T65" fmla="*/ 2 h 6"/>
                  <a:gd name="T66" fmla="*/ 4 w 14"/>
                  <a:gd name="T67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4" h="6">
                    <a:moveTo>
                      <a:pt x="4" y="2"/>
                    </a:moveTo>
                    <a:lnTo>
                      <a:pt x="4" y="2"/>
                    </a:lnTo>
                    <a:lnTo>
                      <a:pt x="2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8" y="4"/>
                    </a:lnTo>
                    <a:lnTo>
                      <a:pt x="10" y="4"/>
                    </a:lnTo>
                    <a:lnTo>
                      <a:pt x="12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57" name="Freeform 55"/>
              <p:cNvSpPr>
                <a:spLocks/>
              </p:cNvSpPr>
              <p:nvPr/>
            </p:nvSpPr>
            <p:spPr bwMode="auto">
              <a:xfrm>
                <a:off x="1765" y="1432"/>
                <a:ext cx="16" cy="12"/>
              </a:xfrm>
              <a:custGeom>
                <a:avLst/>
                <a:gdLst>
                  <a:gd name="T0" fmla="*/ 8 w 16"/>
                  <a:gd name="T1" fmla="*/ 2 h 12"/>
                  <a:gd name="T2" fmla="*/ 8 w 16"/>
                  <a:gd name="T3" fmla="*/ 2 h 12"/>
                  <a:gd name="T4" fmla="*/ 6 w 16"/>
                  <a:gd name="T5" fmla="*/ 4 h 12"/>
                  <a:gd name="T6" fmla="*/ 4 w 16"/>
                  <a:gd name="T7" fmla="*/ 6 h 12"/>
                  <a:gd name="T8" fmla="*/ 4 w 16"/>
                  <a:gd name="T9" fmla="*/ 6 h 12"/>
                  <a:gd name="T10" fmla="*/ 2 w 16"/>
                  <a:gd name="T11" fmla="*/ 8 h 12"/>
                  <a:gd name="T12" fmla="*/ 2 w 16"/>
                  <a:gd name="T13" fmla="*/ 8 h 12"/>
                  <a:gd name="T14" fmla="*/ 0 w 16"/>
                  <a:gd name="T15" fmla="*/ 10 h 12"/>
                  <a:gd name="T16" fmla="*/ 0 w 16"/>
                  <a:gd name="T17" fmla="*/ 10 h 12"/>
                  <a:gd name="T18" fmla="*/ 0 w 16"/>
                  <a:gd name="T19" fmla="*/ 10 h 12"/>
                  <a:gd name="T20" fmla="*/ 0 w 16"/>
                  <a:gd name="T21" fmla="*/ 12 h 12"/>
                  <a:gd name="T22" fmla="*/ 2 w 16"/>
                  <a:gd name="T23" fmla="*/ 12 h 12"/>
                  <a:gd name="T24" fmla="*/ 2 w 16"/>
                  <a:gd name="T25" fmla="*/ 12 h 12"/>
                  <a:gd name="T26" fmla="*/ 4 w 16"/>
                  <a:gd name="T27" fmla="*/ 12 h 12"/>
                  <a:gd name="T28" fmla="*/ 4 w 16"/>
                  <a:gd name="T29" fmla="*/ 12 h 12"/>
                  <a:gd name="T30" fmla="*/ 6 w 16"/>
                  <a:gd name="T31" fmla="*/ 10 h 12"/>
                  <a:gd name="T32" fmla="*/ 6 w 16"/>
                  <a:gd name="T33" fmla="*/ 10 h 12"/>
                  <a:gd name="T34" fmla="*/ 8 w 16"/>
                  <a:gd name="T35" fmla="*/ 8 h 12"/>
                  <a:gd name="T36" fmla="*/ 12 w 16"/>
                  <a:gd name="T37" fmla="*/ 6 h 12"/>
                  <a:gd name="T38" fmla="*/ 12 w 16"/>
                  <a:gd name="T39" fmla="*/ 6 h 12"/>
                  <a:gd name="T40" fmla="*/ 14 w 16"/>
                  <a:gd name="T41" fmla="*/ 4 h 12"/>
                  <a:gd name="T42" fmla="*/ 16 w 16"/>
                  <a:gd name="T43" fmla="*/ 2 h 12"/>
                  <a:gd name="T44" fmla="*/ 16 w 16"/>
                  <a:gd name="T45" fmla="*/ 2 h 12"/>
                  <a:gd name="T46" fmla="*/ 16 w 16"/>
                  <a:gd name="T47" fmla="*/ 2 h 12"/>
                  <a:gd name="T48" fmla="*/ 16 w 16"/>
                  <a:gd name="T49" fmla="*/ 0 h 12"/>
                  <a:gd name="T50" fmla="*/ 16 w 16"/>
                  <a:gd name="T51" fmla="*/ 0 h 12"/>
                  <a:gd name="T52" fmla="*/ 16 w 16"/>
                  <a:gd name="T53" fmla="*/ 0 h 12"/>
                  <a:gd name="T54" fmla="*/ 14 w 16"/>
                  <a:gd name="T55" fmla="*/ 0 h 12"/>
                  <a:gd name="T56" fmla="*/ 14 w 16"/>
                  <a:gd name="T57" fmla="*/ 0 h 12"/>
                  <a:gd name="T58" fmla="*/ 12 w 16"/>
                  <a:gd name="T59" fmla="*/ 0 h 12"/>
                  <a:gd name="T60" fmla="*/ 10 w 16"/>
                  <a:gd name="T61" fmla="*/ 0 h 12"/>
                  <a:gd name="T62" fmla="*/ 8 w 16"/>
                  <a:gd name="T63" fmla="*/ 2 h 12"/>
                  <a:gd name="T64" fmla="*/ 8 w 16"/>
                  <a:gd name="T65" fmla="*/ 2 h 12"/>
                  <a:gd name="T66" fmla="*/ 8 w 16"/>
                  <a:gd name="T67" fmla="*/ 2 h 12"/>
                  <a:gd name="T68" fmla="*/ 8 w 16"/>
                  <a:gd name="T69" fmla="*/ 2 h 12"/>
                  <a:gd name="T70" fmla="*/ 8 w 16"/>
                  <a:gd name="T71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6" h="12">
                    <a:moveTo>
                      <a:pt x="8" y="2"/>
                    </a:moveTo>
                    <a:lnTo>
                      <a:pt x="8" y="2"/>
                    </a:lnTo>
                    <a:lnTo>
                      <a:pt x="6" y="4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8" y="8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4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8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58" name="Freeform 57"/>
              <p:cNvSpPr>
                <a:spLocks/>
              </p:cNvSpPr>
              <p:nvPr/>
            </p:nvSpPr>
            <p:spPr bwMode="auto">
              <a:xfrm>
                <a:off x="1797" y="1434"/>
                <a:ext cx="8" cy="8"/>
              </a:xfrm>
              <a:custGeom>
                <a:avLst/>
                <a:gdLst>
                  <a:gd name="T0" fmla="*/ 0 w 8"/>
                  <a:gd name="T1" fmla="*/ 4 h 8"/>
                  <a:gd name="T2" fmla="*/ 0 w 8"/>
                  <a:gd name="T3" fmla="*/ 4 h 8"/>
                  <a:gd name="T4" fmla="*/ 0 w 8"/>
                  <a:gd name="T5" fmla="*/ 6 h 8"/>
                  <a:gd name="T6" fmla="*/ 0 w 8"/>
                  <a:gd name="T7" fmla="*/ 8 h 8"/>
                  <a:gd name="T8" fmla="*/ 2 w 8"/>
                  <a:gd name="T9" fmla="*/ 8 h 8"/>
                  <a:gd name="T10" fmla="*/ 2 w 8"/>
                  <a:gd name="T11" fmla="*/ 8 h 8"/>
                  <a:gd name="T12" fmla="*/ 2 w 8"/>
                  <a:gd name="T13" fmla="*/ 8 h 8"/>
                  <a:gd name="T14" fmla="*/ 2 w 8"/>
                  <a:gd name="T15" fmla="*/ 8 h 8"/>
                  <a:gd name="T16" fmla="*/ 6 w 8"/>
                  <a:gd name="T17" fmla="*/ 8 h 8"/>
                  <a:gd name="T18" fmla="*/ 6 w 8"/>
                  <a:gd name="T19" fmla="*/ 8 h 8"/>
                  <a:gd name="T20" fmla="*/ 6 w 8"/>
                  <a:gd name="T21" fmla="*/ 8 h 8"/>
                  <a:gd name="T22" fmla="*/ 8 w 8"/>
                  <a:gd name="T23" fmla="*/ 8 h 8"/>
                  <a:gd name="T24" fmla="*/ 8 w 8"/>
                  <a:gd name="T25" fmla="*/ 8 h 8"/>
                  <a:gd name="T26" fmla="*/ 8 w 8"/>
                  <a:gd name="T27" fmla="*/ 8 h 8"/>
                  <a:gd name="T28" fmla="*/ 8 w 8"/>
                  <a:gd name="T29" fmla="*/ 4 h 8"/>
                  <a:gd name="T30" fmla="*/ 8 w 8"/>
                  <a:gd name="T31" fmla="*/ 2 h 8"/>
                  <a:gd name="T32" fmla="*/ 6 w 8"/>
                  <a:gd name="T33" fmla="*/ 2 h 8"/>
                  <a:gd name="T34" fmla="*/ 6 w 8"/>
                  <a:gd name="T35" fmla="*/ 2 h 8"/>
                  <a:gd name="T36" fmla="*/ 6 w 8"/>
                  <a:gd name="T37" fmla="*/ 0 h 8"/>
                  <a:gd name="T38" fmla="*/ 4 w 8"/>
                  <a:gd name="T39" fmla="*/ 0 h 8"/>
                  <a:gd name="T40" fmla="*/ 4 w 8"/>
                  <a:gd name="T41" fmla="*/ 0 h 8"/>
                  <a:gd name="T42" fmla="*/ 4 w 8"/>
                  <a:gd name="T43" fmla="*/ 2 h 8"/>
                  <a:gd name="T44" fmla="*/ 2 w 8"/>
                  <a:gd name="T45" fmla="*/ 2 h 8"/>
                  <a:gd name="T46" fmla="*/ 0 w 8"/>
                  <a:gd name="T47" fmla="*/ 4 h 8"/>
                  <a:gd name="T48" fmla="*/ 0 w 8"/>
                  <a:gd name="T49" fmla="*/ 4 h 8"/>
                  <a:gd name="T50" fmla="*/ 0 w 8"/>
                  <a:gd name="T51" fmla="*/ 4 h 8"/>
                  <a:gd name="T52" fmla="*/ 0 w 8"/>
                  <a:gd name="T53" fmla="*/ 4 h 8"/>
                  <a:gd name="T54" fmla="*/ 0 w 8"/>
                  <a:gd name="T55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" h="8">
                    <a:moveTo>
                      <a:pt x="0" y="4"/>
                    </a:moveTo>
                    <a:lnTo>
                      <a:pt x="0" y="4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59" name="Freeform 59"/>
              <p:cNvSpPr>
                <a:spLocks/>
              </p:cNvSpPr>
              <p:nvPr/>
            </p:nvSpPr>
            <p:spPr bwMode="auto">
              <a:xfrm>
                <a:off x="1781" y="1466"/>
                <a:ext cx="28" cy="30"/>
              </a:xfrm>
              <a:custGeom>
                <a:avLst/>
                <a:gdLst>
                  <a:gd name="T0" fmla="*/ 16 w 28"/>
                  <a:gd name="T1" fmla="*/ 2 h 30"/>
                  <a:gd name="T2" fmla="*/ 16 w 28"/>
                  <a:gd name="T3" fmla="*/ 2 h 30"/>
                  <a:gd name="T4" fmla="*/ 16 w 28"/>
                  <a:gd name="T5" fmla="*/ 2 h 30"/>
                  <a:gd name="T6" fmla="*/ 14 w 28"/>
                  <a:gd name="T7" fmla="*/ 2 h 30"/>
                  <a:gd name="T8" fmla="*/ 14 w 28"/>
                  <a:gd name="T9" fmla="*/ 2 h 30"/>
                  <a:gd name="T10" fmla="*/ 12 w 28"/>
                  <a:gd name="T11" fmla="*/ 4 h 30"/>
                  <a:gd name="T12" fmla="*/ 12 w 28"/>
                  <a:gd name="T13" fmla="*/ 4 h 30"/>
                  <a:gd name="T14" fmla="*/ 10 w 28"/>
                  <a:gd name="T15" fmla="*/ 4 h 30"/>
                  <a:gd name="T16" fmla="*/ 8 w 28"/>
                  <a:gd name="T17" fmla="*/ 4 h 30"/>
                  <a:gd name="T18" fmla="*/ 6 w 28"/>
                  <a:gd name="T19" fmla="*/ 6 h 30"/>
                  <a:gd name="T20" fmla="*/ 6 w 28"/>
                  <a:gd name="T21" fmla="*/ 6 h 30"/>
                  <a:gd name="T22" fmla="*/ 4 w 28"/>
                  <a:gd name="T23" fmla="*/ 10 h 30"/>
                  <a:gd name="T24" fmla="*/ 2 w 28"/>
                  <a:gd name="T25" fmla="*/ 12 h 30"/>
                  <a:gd name="T26" fmla="*/ 2 w 28"/>
                  <a:gd name="T27" fmla="*/ 12 h 30"/>
                  <a:gd name="T28" fmla="*/ 2 w 28"/>
                  <a:gd name="T29" fmla="*/ 12 h 30"/>
                  <a:gd name="T30" fmla="*/ 0 w 28"/>
                  <a:gd name="T31" fmla="*/ 14 h 30"/>
                  <a:gd name="T32" fmla="*/ 0 w 28"/>
                  <a:gd name="T33" fmla="*/ 16 h 30"/>
                  <a:gd name="T34" fmla="*/ 0 w 28"/>
                  <a:gd name="T35" fmla="*/ 20 h 30"/>
                  <a:gd name="T36" fmla="*/ 0 w 28"/>
                  <a:gd name="T37" fmla="*/ 20 h 30"/>
                  <a:gd name="T38" fmla="*/ 0 w 28"/>
                  <a:gd name="T39" fmla="*/ 24 h 30"/>
                  <a:gd name="T40" fmla="*/ 0 w 28"/>
                  <a:gd name="T41" fmla="*/ 24 h 30"/>
                  <a:gd name="T42" fmla="*/ 0 w 28"/>
                  <a:gd name="T43" fmla="*/ 26 h 30"/>
                  <a:gd name="T44" fmla="*/ 0 w 28"/>
                  <a:gd name="T45" fmla="*/ 26 h 30"/>
                  <a:gd name="T46" fmla="*/ 2 w 28"/>
                  <a:gd name="T47" fmla="*/ 28 h 30"/>
                  <a:gd name="T48" fmla="*/ 4 w 28"/>
                  <a:gd name="T49" fmla="*/ 30 h 30"/>
                  <a:gd name="T50" fmla="*/ 4 w 28"/>
                  <a:gd name="T51" fmla="*/ 30 h 30"/>
                  <a:gd name="T52" fmla="*/ 6 w 28"/>
                  <a:gd name="T53" fmla="*/ 30 h 30"/>
                  <a:gd name="T54" fmla="*/ 6 w 28"/>
                  <a:gd name="T55" fmla="*/ 30 h 30"/>
                  <a:gd name="T56" fmla="*/ 8 w 28"/>
                  <a:gd name="T57" fmla="*/ 30 h 30"/>
                  <a:gd name="T58" fmla="*/ 10 w 28"/>
                  <a:gd name="T59" fmla="*/ 28 h 30"/>
                  <a:gd name="T60" fmla="*/ 10 w 28"/>
                  <a:gd name="T61" fmla="*/ 28 h 30"/>
                  <a:gd name="T62" fmla="*/ 14 w 28"/>
                  <a:gd name="T63" fmla="*/ 28 h 30"/>
                  <a:gd name="T64" fmla="*/ 14 w 28"/>
                  <a:gd name="T65" fmla="*/ 28 h 30"/>
                  <a:gd name="T66" fmla="*/ 14 w 28"/>
                  <a:gd name="T67" fmla="*/ 26 h 30"/>
                  <a:gd name="T68" fmla="*/ 16 w 28"/>
                  <a:gd name="T69" fmla="*/ 26 h 30"/>
                  <a:gd name="T70" fmla="*/ 20 w 28"/>
                  <a:gd name="T71" fmla="*/ 24 h 30"/>
                  <a:gd name="T72" fmla="*/ 20 w 28"/>
                  <a:gd name="T73" fmla="*/ 24 h 30"/>
                  <a:gd name="T74" fmla="*/ 22 w 28"/>
                  <a:gd name="T75" fmla="*/ 22 h 30"/>
                  <a:gd name="T76" fmla="*/ 24 w 28"/>
                  <a:gd name="T77" fmla="*/ 20 h 30"/>
                  <a:gd name="T78" fmla="*/ 26 w 28"/>
                  <a:gd name="T79" fmla="*/ 18 h 30"/>
                  <a:gd name="T80" fmla="*/ 26 w 28"/>
                  <a:gd name="T81" fmla="*/ 18 h 30"/>
                  <a:gd name="T82" fmla="*/ 28 w 28"/>
                  <a:gd name="T83" fmla="*/ 18 h 30"/>
                  <a:gd name="T84" fmla="*/ 28 w 28"/>
                  <a:gd name="T85" fmla="*/ 16 h 30"/>
                  <a:gd name="T86" fmla="*/ 28 w 28"/>
                  <a:gd name="T87" fmla="*/ 14 h 30"/>
                  <a:gd name="T88" fmla="*/ 26 w 28"/>
                  <a:gd name="T89" fmla="*/ 12 h 30"/>
                  <a:gd name="T90" fmla="*/ 26 w 28"/>
                  <a:gd name="T91" fmla="*/ 12 h 30"/>
                  <a:gd name="T92" fmla="*/ 26 w 28"/>
                  <a:gd name="T93" fmla="*/ 10 h 30"/>
                  <a:gd name="T94" fmla="*/ 26 w 28"/>
                  <a:gd name="T95" fmla="*/ 8 h 30"/>
                  <a:gd name="T96" fmla="*/ 26 w 28"/>
                  <a:gd name="T97" fmla="*/ 6 h 30"/>
                  <a:gd name="T98" fmla="*/ 26 w 28"/>
                  <a:gd name="T99" fmla="*/ 4 h 30"/>
                  <a:gd name="T100" fmla="*/ 26 w 28"/>
                  <a:gd name="T101" fmla="*/ 4 h 30"/>
                  <a:gd name="T102" fmla="*/ 24 w 28"/>
                  <a:gd name="T103" fmla="*/ 2 h 30"/>
                  <a:gd name="T104" fmla="*/ 24 w 28"/>
                  <a:gd name="T105" fmla="*/ 2 h 30"/>
                  <a:gd name="T106" fmla="*/ 22 w 28"/>
                  <a:gd name="T107" fmla="*/ 0 h 30"/>
                  <a:gd name="T108" fmla="*/ 22 w 28"/>
                  <a:gd name="T109" fmla="*/ 0 h 30"/>
                  <a:gd name="T110" fmla="*/ 20 w 28"/>
                  <a:gd name="T111" fmla="*/ 0 h 30"/>
                  <a:gd name="T112" fmla="*/ 20 w 28"/>
                  <a:gd name="T113" fmla="*/ 0 h 30"/>
                  <a:gd name="T114" fmla="*/ 16 w 28"/>
                  <a:gd name="T115" fmla="*/ 2 h 30"/>
                  <a:gd name="T116" fmla="*/ 16 w 28"/>
                  <a:gd name="T117" fmla="*/ 2 h 30"/>
                  <a:gd name="T118" fmla="*/ 16 w 28"/>
                  <a:gd name="T119" fmla="*/ 2 h 30"/>
                  <a:gd name="T120" fmla="*/ 16 w 28"/>
                  <a:gd name="T121" fmla="*/ 2 h 30"/>
                  <a:gd name="T122" fmla="*/ 16 w 28"/>
                  <a:gd name="T123" fmla="*/ 2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8" h="30">
                    <a:moveTo>
                      <a:pt x="16" y="2"/>
                    </a:moveTo>
                    <a:lnTo>
                      <a:pt x="16" y="2"/>
                    </a:lnTo>
                    <a:lnTo>
                      <a:pt x="16" y="2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4"/>
                    </a:lnTo>
                    <a:lnTo>
                      <a:pt x="8" y="4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4" y="10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2" y="28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8" y="30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26"/>
                    </a:lnTo>
                    <a:lnTo>
                      <a:pt x="16" y="26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2" y="22"/>
                    </a:lnTo>
                    <a:lnTo>
                      <a:pt x="24" y="20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8" y="18"/>
                    </a:lnTo>
                    <a:lnTo>
                      <a:pt x="28" y="16"/>
                    </a:lnTo>
                    <a:lnTo>
                      <a:pt x="28" y="14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0"/>
                    </a:lnTo>
                    <a:lnTo>
                      <a:pt x="26" y="8"/>
                    </a:lnTo>
                    <a:lnTo>
                      <a:pt x="26" y="6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60" name="Freeform 60"/>
              <p:cNvSpPr>
                <a:spLocks/>
              </p:cNvSpPr>
              <p:nvPr/>
            </p:nvSpPr>
            <p:spPr bwMode="auto">
              <a:xfrm>
                <a:off x="1781" y="1466"/>
                <a:ext cx="28" cy="30"/>
              </a:xfrm>
              <a:custGeom>
                <a:avLst/>
                <a:gdLst>
                  <a:gd name="T0" fmla="*/ 16 w 28"/>
                  <a:gd name="T1" fmla="*/ 2 h 30"/>
                  <a:gd name="T2" fmla="*/ 16 w 28"/>
                  <a:gd name="T3" fmla="*/ 2 h 30"/>
                  <a:gd name="T4" fmla="*/ 16 w 28"/>
                  <a:gd name="T5" fmla="*/ 2 h 30"/>
                  <a:gd name="T6" fmla="*/ 14 w 28"/>
                  <a:gd name="T7" fmla="*/ 2 h 30"/>
                  <a:gd name="T8" fmla="*/ 14 w 28"/>
                  <a:gd name="T9" fmla="*/ 2 h 30"/>
                  <a:gd name="T10" fmla="*/ 12 w 28"/>
                  <a:gd name="T11" fmla="*/ 4 h 30"/>
                  <a:gd name="T12" fmla="*/ 12 w 28"/>
                  <a:gd name="T13" fmla="*/ 4 h 30"/>
                  <a:gd name="T14" fmla="*/ 10 w 28"/>
                  <a:gd name="T15" fmla="*/ 4 h 30"/>
                  <a:gd name="T16" fmla="*/ 8 w 28"/>
                  <a:gd name="T17" fmla="*/ 4 h 30"/>
                  <a:gd name="T18" fmla="*/ 6 w 28"/>
                  <a:gd name="T19" fmla="*/ 6 h 30"/>
                  <a:gd name="T20" fmla="*/ 6 w 28"/>
                  <a:gd name="T21" fmla="*/ 6 h 30"/>
                  <a:gd name="T22" fmla="*/ 4 w 28"/>
                  <a:gd name="T23" fmla="*/ 10 h 30"/>
                  <a:gd name="T24" fmla="*/ 2 w 28"/>
                  <a:gd name="T25" fmla="*/ 12 h 30"/>
                  <a:gd name="T26" fmla="*/ 2 w 28"/>
                  <a:gd name="T27" fmla="*/ 12 h 30"/>
                  <a:gd name="T28" fmla="*/ 2 w 28"/>
                  <a:gd name="T29" fmla="*/ 12 h 30"/>
                  <a:gd name="T30" fmla="*/ 0 w 28"/>
                  <a:gd name="T31" fmla="*/ 14 h 30"/>
                  <a:gd name="T32" fmla="*/ 0 w 28"/>
                  <a:gd name="T33" fmla="*/ 16 h 30"/>
                  <a:gd name="T34" fmla="*/ 0 w 28"/>
                  <a:gd name="T35" fmla="*/ 20 h 30"/>
                  <a:gd name="T36" fmla="*/ 0 w 28"/>
                  <a:gd name="T37" fmla="*/ 20 h 30"/>
                  <a:gd name="T38" fmla="*/ 0 w 28"/>
                  <a:gd name="T39" fmla="*/ 24 h 30"/>
                  <a:gd name="T40" fmla="*/ 0 w 28"/>
                  <a:gd name="T41" fmla="*/ 24 h 30"/>
                  <a:gd name="T42" fmla="*/ 0 w 28"/>
                  <a:gd name="T43" fmla="*/ 26 h 30"/>
                  <a:gd name="T44" fmla="*/ 0 w 28"/>
                  <a:gd name="T45" fmla="*/ 26 h 30"/>
                  <a:gd name="T46" fmla="*/ 2 w 28"/>
                  <a:gd name="T47" fmla="*/ 28 h 30"/>
                  <a:gd name="T48" fmla="*/ 4 w 28"/>
                  <a:gd name="T49" fmla="*/ 30 h 30"/>
                  <a:gd name="T50" fmla="*/ 4 w 28"/>
                  <a:gd name="T51" fmla="*/ 30 h 30"/>
                  <a:gd name="T52" fmla="*/ 6 w 28"/>
                  <a:gd name="T53" fmla="*/ 30 h 30"/>
                  <a:gd name="T54" fmla="*/ 6 w 28"/>
                  <a:gd name="T55" fmla="*/ 30 h 30"/>
                  <a:gd name="T56" fmla="*/ 8 w 28"/>
                  <a:gd name="T57" fmla="*/ 30 h 30"/>
                  <a:gd name="T58" fmla="*/ 10 w 28"/>
                  <a:gd name="T59" fmla="*/ 28 h 30"/>
                  <a:gd name="T60" fmla="*/ 10 w 28"/>
                  <a:gd name="T61" fmla="*/ 28 h 30"/>
                  <a:gd name="T62" fmla="*/ 14 w 28"/>
                  <a:gd name="T63" fmla="*/ 28 h 30"/>
                  <a:gd name="T64" fmla="*/ 14 w 28"/>
                  <a:gd name="T65" fmla="*/ 28 h 30"/>
                  <a:gd name="T66" fmla="*/ 14 w 28"/>
                  <a:gd name="T67" fmla="*/ 26 h 30"/>
                  <a:gd name="T68" fmla="*/ 16 w 28"/>
                  <a:gd name="T69" fmla="*/ 26 h 30"/>
                  <a:gd name="T70" fmla="*/ 20 w 28"/>
                  <a:gd name="T71" fmla="*/ 24 h 30"/>
                  <a:gd name="T72" fmla="*/ 20 w 28"/>
                  <a:gd name="T73" fmla="*/ 24 h 30"/>
                  <a:gd name="T74" fmla="*/ 22 w 28"/>
                  <a:gd name="T75" fmla="*/ 22 h 30"/>
                  <a:gd name="T76" fmla="*/ 24 w 28"/>
                  <a:gd name="T77" fmla="*/ 20 h 30"/>
                  <a:gd name="T78" fmla="*/ 26 w 28"/>
                  <a:gd name="T79" fmla="*/ 18 h 30"/>
                  <a:gd name="T80" fmla="*/ 26 w 28"/>
                  <a:gd name="T81" fmla="*/ 18 h 30"/>
                  <a:gd name="T82" fmla="*/ 28 w 28"/>
                  <a:gd name="T83" fmla="*/ 18 h 30"/>
                  <a:gd name="T84" fmla="*/ 28 w 28"/>
                  <a:gd name="T85" fmla="*/ 16 h 30"/>
                  <a:gd name="T86" fmla="*/ 28 w 28"/>
                  <a:gd name="T87" fmla="*/ 14 h 30"/>
                  <a:gd name="T88" fmla="*/ 26 w 28"/>
                  <a:gd name="T89" fmla="*/ 12 h 30"/>
                  <a:gd name="T90" fmla="*/ 26 w 28"/>
                  <a:gd name="T91" fmla="*/ 12 h 30"/>
                  <a:gd name="T92" fmla="*/ 26 w 28"/>
                  <a:gd name="T93" fmla="*/ 10 h 30"/>
                  <a:gd name="T94" fmla="*/ 26 w 28"/>
                  <a:gd name="T95" fmla="*/ 8 h 30"/>
                  <a:gd name="T96" fmla="*/ 26 w 28"/>
                  <a:gd name="T97" fmla="*/ 6 h 30"/>
                  <a:gd name="T98" fmla="*/ 26 w 28"/>
                  <a:gd name="T99" fmla="*/ 4 h 30"/>
                  <a:gd name="T100" fmla="*/ 26 w 28"/>
                  <a:gd name="T101" fmla="*/ 4 h 30"/>
                  <a:gd name="T102" fmla="*/ 24 w 28"/>
                  <a:gd name="T103" fmla="*/ 2 h 30"/>
                  <a:gd name="T104" fmla="*/ 24 w 28"/>
                  <a:gd name="T105" fmla="*/ 2 h 30"/>
                  <a:gd name="T106" fmla="*/ 22 w 28"/>
                  <a:gd name="T107" fmla="*/ 0 h 30"/>
                  <a:gd name="T108" fmla="*/ 22 w 28"/>
                  <a:gd name="T109" fmla="*/ 0 h 30"/>
                  <a:gd name="T110" fmla="*/ 20 w 28"/>
                  <a:gd name="T111" fmla="*/ 0 h 30"/>
                  <a:gd name="T112" fmla="*/ 20 w 28"/>
                  <a:gd name="T113" fmla="*/ 0 h 30"/>
                  <a:gd name="T114" fmla="*/ 16 w 28"/>
                  <a:gd name="T115" fmla="*/ 2 h 30"/>
                  <a:gd name="T116" fmla="*/ 16 w 28"/>
                  <a:gd name="T117" fmla="*/ 2 h 30"/>
                  <a:gd name="T118" fmla="*/ 16 w 28"/>
                  <a:gd name="T119" fmla="*/ 2 h 30"/>
                  <a:gd name="T120" fmla="*/ 16 w 28"/>
                  <a:gd name="T121" fmla="*/ 2 h 30"/>
                  <a:gd name="T122" fmla="*/ 16 w 28"/>
                  <a:gd name="T123" fmla="*/ 2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8" h="30">
                    <a:moveTo>
                      <a:pt x="16" y="2"/>
                    </a:moveTo>
                    <a:lnTo>
                      <a:pt x="16" y="2"/>
                    </a:lnTo>
                    <a:lnTo>
                      <a:pt x="16" y="2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4"/>
                    </a:lnTo>
                    <a:lnTo>
                      <a:pt x="8" y="4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4" y="10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2" y="28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8" y="30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26"/>
                    </a:lnTo>
                    <a:lnTo>
                      <a:pt x="16" y="26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2" y="22"/>
                    </a:lnTo>
                    <a:lnTo>
                      <a:pt x="24" y="20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8" y="18"/>
                    </a:lnTo>
                    <a:lnTo>
                      <a:pt x="28" y="16"/>
                    </a:lnTo>
                    <a:lnTo>
                      <a:pt x="28" y="14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0"/>
                    </a:lnTo>
                    <a:lnTo>
                      <a:pt x="26" y="8"/>
                    </a:lnTo>
                    <a:lnTo>
                      <a:pt x="26" y="6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61" name="Freeform 61"/>
              <p:cNvSpPr>
                <a:spLocks/>
              </p:cNvSpPr>
              <p:nvPr/>
            </p:nvSpPr>
            <p:spPr bwMode="auto">
              <a:xfrm>
                <a:off x="1815" y="1460"/>
                <a:ext cx="6" cy="10"/>
              </a:xfrm>
              <a:custGeom>
                <a:avLst/>
                <a:gdLst>
                  <a:gd name="T0" fmla="*/ 0 w 6"/>
                  <a:gd name="T1" fmla="*/ 6 h 10"/>
                  <a:gd name="T2" fmla="*/ 0 w 6"/>
                  <a:gd name="T3" fmla="*/ 6 h 10"/>
                  <a:gd name="T4" fmla="*/ 0 w 6"/>
                  <a:gd name="T5" fmla="*/ 6 h 10"/>
                  <a:gd name="T6" fmla="*/ 2 w 6"/>
                  <a:gd name="T7" fmla="*/ 8 h 10"/>
                  <a:gd name="T8" fmla="*/ 2 w 6"/>
                  <a:gd name="T9" fmla="*/ 8 h 10"/>
                  <a:gd name="T10" fmla="*/ 2 w 6"/>
                  <a:gd name="T11" fmla="*/ 8 h 10"/>
                  <a:gd name="T12" fmla="*/ 2 w 6"/>
                  <a:gd name="T13" fmla="*/ 8 h 10"/>
                  <a:gd name="T14" fmla="*/ 4 w 6"/>
                  <a:gd name="T15" fmla="*/ 10 h 10"/>
                  <a:gd name="T16" fmla="*/ 4 w 6"/>
                  <a:gd name="T17" fmla="*/ 10 h 10"/>
                  <a:gd name="T18" fmla="*/ 4 w 6"/>
                  <a:gd name="T19" fmla="*/ 10 h 10"/>
                  <a:gd name="T20" fmla="*/ 6 w 6"/>
                  <a:gd name="T21" fmla="*/ 10 h 10"/>
                  <a:gd name="T22" fmla="*/ 6 w 6"/>
                  <a:gd name="T23" fmla="*/ 10 h 10"/>
                  <a:gd name="T24" fmla="*/ 6 w 6"/>
                  <a:gd name="T25" fmla="*/ 10 h 10"/>
                  <a:gd name="T26" fmla="*/ 6 w 6"/>
                  <a:gd name="T27" fmla="*/ 10 h 10"/>
                  <a:gd name="T28" fmla="*/ 6 w 6"/>
                  <a:gd name="T29" fmla="*/ 8 h 10"/>
                  <a:gd name="T30" fmla="*/ 6 w 6"/>
                  <a:gd name="T31" fmla="*/ 6 h 10"/>
                  <a:gd name="T32" fmla="*/ 6 w 6"/>
                  <a:gd name="T33" fmla="*/ 6 h 10"/>
                  <a:gd name="T34" fmla="*/ 4 w 6"/>
                  <a:gd name="T35" fmla="*/ 6 h 10"/>
                  <a:gd name="T36" fmla="*/ 4 w 6"/>
                  <a:gd name="T37" fmla="*/ 4 h 10"/>
                  <a:gd name="T38" fmla="*/ 2 w 6"/>
                  <a:gd name="T39" fmla="*/ 2 h 10"/>
                  <a:gd name="T40" fmla="*/ 2 w 6"/>
                  <a:gd name="T41" fmla="*/ 0 h 10"/>
                  <a:gd name="T42" fmla="*/ 2 w 6"/>
                  <a:gd name="T43" fmla="*/ 0 h 10"/>
                  <a:gd name="T44" fmla="*/ 2 w 6"/>
                  <a:gd name="T45" fmla="*/ 0 h 10"/>
                  <a:gd name="T46" fmla="*/ 0 w 6"/>
                  <a:gd name="T47" fmla="*/ 0 h 10"/>
                  <a:gd name="T48" fmla="*/ 0 w 6"/>
                  <a:gd name="T49" fmla="*/ 2 h 10"/>
                  <a:gd name="T50" fmla="*/ 0 w 6"/>
                  <a:gd name="T51" fmla="*/ 4 h 10"/>
                  <a:gd name="T52" fmla="*/ 0 w 6"/>
                  <a:gd name="T53" fmla="*/ 6 h 10"/>
                  <a:gd name="T54" fmla="*/ 0 w 6"/>
                  <a:gd name="T55" fmla="*/ 6 h 10"/>
                  <a:gd name="T56" fmla="*/ 0 w 6"/>
                  <a:gd name="T57" fmla="*/ 6 h 10"/>
                  <a:gd name="T58" fmla="*/ 0 w 6"/>
                  <a:gd name="T59" fmla="*/ 6 h 10"/>
                  <a:gd name="T60" fmla="*/ 0 w 6"/>
                  <a:gd name="T61" fmla="*/ 6 h 10"/>
                  <a:gd name="T62" fmla="*/ 0 w 6"/>
                  <a:gd name="T63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6" h="10">
                    <a:moveTo>
                      <a:pt x="0" y="6"/>
                    </a:move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8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62" name="Freeform 63"/>
              <p:cNvSpPr>
                <a:spLocks/>
              </p:cNvSpPr>
              <p:nvPr/>
            </p:nvSpPr>
            <p:spPr bwMode="auto">
              <a:xfrm>
                <a:off x="1813" y="1474"/>
                <a:ext cx="14" cy="8"/>
              </a:xfrm>
              <a:custGeom>
                <a:avLst/>
                <a:gdLst>
                  <a:gd name="T0" fmla="*/ 6 w 14"/>
                  <a:gd name="T1" fmla="*/ 2 h 8"/>
                  <a:gd name="T2" fmla="*/ 6 w 14"/>
                  <a:gd name="T3" fmla="*/ 2 h 8"/>
                  <a:gd name="T4" fmla="*/ 4 w 14"/>
                  <a:gd name="T5" fmla="*/ 0 h 8"/>
                  <a:gd name="T6" fmla="*/ 2 w 14"/>
                  <a:gd name="T7" fmla="*/ 0 h 8"/>
                  <a:gd name="T8" fmla="*/ 0 w 14"/>
                  <a:gd name="T9" fmla="*/ 0 h 8"/>
                  <a:gd name="T10" fmla="*/ 0 w 14"/>
                  <a:gd name="T11" fmla="*/ 0 h 8"/>
                  <a:gd name="T12" fmla="*/ 0 w 14"/>
                  <a:gd name="T13" fmla="*/ 0 h 8"/>
                  <a:gd name="T14" fmla="*/ 0 w 14"/>
                  <a:gd name="T15" fmla="*/ 0 h 8"/>
                  <a:gd name="T16" fmla="*/ 0 w 14"/>
                  <a:gd name="T17" fmla="*/ 0 h 8"/>
                  <a:gd name="T18" fmla="*/ 0 w 14"/>
                  <a:gd name="T19" fmla="*/ 4 h 8"/>
                  <a:gd name="T20" fmla="*/ 0 w 14"/>
                  <a:gd name="T21" fmla="*/ 6 h 8"/>
                  <a:gd name="T22" fmla="*/ 2 w 14"/>
                  <a:gd name="T23" fmla="*/ 6 h 8"/>
                  <a:gd name="T24" fmla="*/ 2 w 14"/>
                  <a:gd name="T25" fmla="*/ 6 h 8"/>
                  <a:gd name="T26" fmla="*/ 4 w 14"/>
                  <a:gd name="T27" fmla="*/ 8 h 8"/>
                  <a:gd name="T28" fmla="*/ 6 w 14"/>
                  <a:gd name="T29" fmla="*/ 8 h 8"/>
                  <a:gd name="T30" fmla="*/ 6 w 14"/>
                  <a:gd name="T31" fmla="*/ 8 h 8"/>
                  <a:gd name="T32" fmla="*/ 8 w 14"/>
                  <a:gd name="T33" fmla="*/ 8 h 8"/>
                  <a:gd name="T34" fmla="*/ 8 w 14"/>
                  <a:gd name="T35" fmla="*/ 8 h 8"/>
                  <a:gd name="T36" fmla="*/ 8 w 14"/>
                  <a:gd name="T37" fmla="*/ 8 h 8"/>
                  <a:gd name="T38" fmla="*/ 10 w 14"/>
                  <a:gd name="T39" fmla="*/ 6 h 8"/>
                  <a:gd name="T40" fmla="*/ 10 w 14"/>
                  <a:gd name="T41" fmla="*/ 6 h 8"/>
                  <a:gd name="T42" fmla="*/ 12 w 14"/>
                  <a:gd name="T43" fmla="*/ 6 h 8"/>
                  <a:gd name="T44" fmla="*/ 12 w 14"/>
                  <a:gd name="T45" fmla="*/ 6 h 8"/>
                  <a:gd name="T46" fmla="*/ 12 w 14"/>
                  <a:gd name="T47" fmla="*/ 4 h 8"/>
                  <a:gd name="T48" fmla="*/ 14 w 14"/>
                  <a:gd name="T49" fmla="*/ 4 h 8"/>
                  <a:gd name="T50" fmla="*/ 14 w 14"/>
                  <a:gd name="T51" fmla="*/ 2 h 8"/>
                  <a:gd name="T52" fmla="*/ 12 w 14"/>
                  <a:gd name="T53" fmla="*/ 2 h 8"/>
                  <a:gd name="T54" fmla="*/ 12 w 14"/>
                  <a:gd name="T55" fmla="*/ 0 h 8"/>
                  <a:gd name="T56" fmla="*/ 12 w 14"/>
                  <a:gd name="T57" fmla="*/ 0 h 8"/>
                  <a:gd name="T58" fmla="*/ 10 w 14"/>
                  <a:gd name="T59" fmla="*/ 0 h 8"/>
                  <a:gd name="T60" fmla="*/ 10 w 14"/>
                  <a:gd name="T61" fmla="*/ 0 h 8"/>
                  <a:gd name="T62" fmla="*/ 10 w 14"/>
                  <a:gd name="T63" fmla="*/ 0 h 8"/>
                  <a:gd name="T64" fmla="*/ 8 w 14"/>
                  <a:gd name="T65" fmla="*/ 2 h 8"/>
                  <a:gd name="T66" fmla="*/ 8 w 14"/>
                  <a:gd name="T67" fmla="*/ 2 h 8"/>
                  <a:gd name="T68" fmla="*/ 6 w 14"/>
                  <a:gd name="T69" fmla="*/ 2 h 8"/>
                  <a:gd name="T70" fmla="*/ 6 w 14"/>
                  <a:gd name="T71" fmla="*/ 2 h 8"/>
                  <a:gd name="T72" fmla="*/ 6 w 14"/>
                  <a:gd name="T73" fmla="*/ 2 h 8"/>
                  <a:gd name="T74" fmla="*/ 6 w 14"/>
                  <a:gd name="T75" fmla="*/ 2 h 8"/>
                  <a:gd name="T76" fmla="*/ 6 w 14"/>
                  <a:gd name="T77" fmla="*/ 2 h 8"/>
                  <a:gd name="T78" fmla="*/ 6 w 14"/>
                  <a:gd name="T79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4" h="8">
                    <a:moveTo>
                      <a:pt x="6" y="2"/>
                    </a:moveTo>
                    <a:lnTo>
                      <a:pt x="6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4"/>
                    </a:lnTo>
                    <a:lnTo>
                      <a:pt x="14" y="4"/>
                    </a:lnTo>
                    <a:lnTo>
                      <a:pt x="14" y="2"/>
                    </a:lnTo>
                    <a:lnTo>
                      <a:pt x="12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63" name="Freeform 65"/>
              <p:cNvSpPr>
                <a:spLocks/>
              </p:cNvSpPr>
              <p:nvPr/>
            </p:nvSpPr>
            <p:spPr bwMode="auto">
              <a:xfrm>
                <a:off x="1765" y="1606"/>
                <a:ext cx="12" cy="12"/>
              </a:xfrm>
              <a:custGeom>
                <a:avLst/>
                <a:gdLst>
                  <a:gd name="T0" fmla="*/ 0 w 12"/>
                  <a:gd name="T1" fmla="*/ 4 h 12"/>
                  <a:gd name="T2" fmla="*/ 0 w 12"/>
                  <a:gd name="T3" fmla="*/ 4 h 12"/>
                  <a:gd name="T4" fmla="*/ 2 w 12"/>
                  <a:gd name="T5" fmla="*/ 6 h 12"/>
                  <a:gd name="T6" fmla="*/ 2 w 12"/>
                  <a:gd name="T7" fmla="*/ 6 h 12"/>
                  <a:gd name="T8" fmla="*/ 6 w 12"/>
                  <a:gd name="T9" fmla="*/ 8 h 12"/>
                  <a:gd name="T10" fmla="*/ 6 w 12"/>
                  <a:gd name="T11" fmla="*/ 8 h 12"/>
                  <a:gd name="T12" fmla="*/ 8 w 12"/>
                  <a:gd name="T13" fmla="*/ 10 h 12"/>
                  <a:gd name="T14" fmla="*/ 10 w 12"/>
                  <a:gd name="T15" fmla="*/ 12 h 12"/>
                  <a:gd name="T16" fmla="*/ 10 w 12"/>
                  <a:gd name="T17" fmla="*/ 12 h 12"/>
                  <a:gd name="T18" fmla="*/ 12 w 12"/>
                  <a:gd name="T19" fmla="*/ 12 h 12"/>
                  <a:gd name="T20" fmla="*/ 12 w 12"/>
                  <a:gd name="T21" fmla="*/ 12 h 12"/>
                  <a:gd name="T22" fmla="*/ 12 w 12"/>
                  <a:gd name="T23" fmla="*/ 12 h 12"/>
                  <a:gd name="T24" fmla="*/ 12 w 12"/>
                  <a:gd name="T25" fmla="*/ 10 h 12"/>
                  <a:gd name="T26" fmla="*/ 12 w 12"/>
                  <a:gd name="T27" fmla="*/ 10 h 12"/>
                  <a:gd name="T28" fmla="*/ 10 w 12"/>
                  <a:gd name="T29" fmla="*/ 8 h 12"/>
                  <a:gd name="T30" fmla="*/ 10 w 12"/>
                  <a:gd name="T31" fmla="*/ 8 h 12"/>
                  <a:gd name="T32" fmla="*/ 8 w 12"/>
                  <a:gd name="T33" fmla="*/ 8 h 12"/>
                  <a:gd name="T34" fmla="*/ 8 w 12"/>
                  <a:gd name="T35" fmla="*/ 6 h 12"/>
                  <a:gd name="T36" fmla="*/ 8 w 12"/>
                  <a:gd name="T37" fmla="*/ 6 h 12"/>
                  <a:gd name="T38" fmla="*/ 6 w 12"/>
                  <a:gd name="T39" fmla="*/ 4 h 12"/>
                  <a:gd name="T40" fmla="*/ 6 w 12"/>
                  <a:gd name="T41" fmla="*/ 2 h 12"/>
                  <a:gd name="T42" fmla="*/ 6 w 12"/>
                  <a:gd name="T43" fmla="*/ 2 h 12"/>
                  <a:gd name="T44" fmla="*/ 4 w 12"/>
                  <a:gd name="T45" fmla="*/ 2 h 12"/>
                  <a:gd name="T46" fmla="*/ 4 w 12"/>
                  <a:gd name="T47" fmla="*/ 0 h 12"/>
                  <a:gd name="T48" fmla="*/ 4 w 12"/>
                  <a:gd name="T49" fmla="*/ 0 h 12"/>
                  <a:gd name="T50" fmla="*/ 4 w 12"/>
                  <a:gd name="T51" fmla="*/ 0 h 12"/>
                  <a:gd name="T52" fmla="*/ 2 w 12"/>
                  <a:gd name="T53" fmla="*/ 0 h 12"/>
                  <a:gd name="T54" fmla="*/ 2 w 12"/>
                  <a:gd name="T55" fmla="*/ 0 h 12"/>
                  <a:gd name="T56" fmla="*/ 0 w 12"/>
                  <a:gd name="T57" fmla="*/ 2 h 12"/>
                  <a:gd name="T58" fmla="*/ 0 w 12"/>
                  <a:gd name="T59" fmla="*/ 2 h 12"/>
                  <a:gd name="T60" fmla="*/ 0 w 12"/>
                  <a:gd name="T61" fmla="*/ 4 h 12"/>
                  <a:gd name="T62" fmla="*/ 0 w 12"/>
                  <a:gd name="T63" fmla="*/ 4 h 12"/>
                  <a:gd name="T64" fmla="*/ 0 w 12"/>
                  <a:gd name="T65" fmla="*/ 4 h 12"/>
                  <a:gd name="T66" fmla="*/ 0 w 12"/>
                  <a:gd name="T67" fmla="*/ 4 h 12"/>
                  <a:gd name="T68" fmla="*/ 0 w 12"/>
                  <a:gd name="T69" fmla="*/ 4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2" h="12">
                    <a:moveTo>
                      <a:pt x="0" y="4"/>
                    </a:move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8" y="10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8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64" name="Freeform 68"/>
              <p:cNvSpPr>
                <a:spLocks/>
              </p:cNvSpPr>
              <p:nvPr/>
            </p:nvSpPr>
            <p:spPr bwMode="auto">
              <a:xfrm>
                <a:off x="1739" y="1588"/>
                <a:ext cx="10" cy="4"/>
              </a:xfrm>
              <a:custGeom>
                <a:avLst/>
                <a:gdLst>
                  <a:gd name="T0" fmla="*/ 0 w 10"/>
                  <a:gd name="T1" fmla="*/ 0 h 4"/>
                  <a:gd name="T2" fmla="*/ 0 w 10"/>
                  <a:gd name="T3" fmla="*/ 0 h 4"/>
                  <a:gd name="T4" fmla="*/ 2 w 10"/>
                  <a:gd name="T5" fmla="*/ 0 h 4"/>
                  <a:gd name="T6" fmla="*/ 2 w 10"/>
                  <a:gd name="T7" fmla="*/ 0 h 4"/>
                  <a:gd name="T8" fmla="*/ 2 w 10"/>
                  <a:gd name="T9" fmla="*/ 2 h 4"/>
                  <a:gd name="T10" fmla="*/ 2 w 10"/>
                  <a:gd name="T11" fmla="*/ 2 h 4"/>
                  <a:gd name="T12" fmla="*/ 4 w 10"/>
                  <a:gd name="T13" fmla="*/ 2 h 4"/>
                  <a:gd name="T14" fmla="*/ 4 w 10"/>
                  <a:gd name="T15" fmla="*/ 4 h 4"/>
                  <a:gd name="T16" fmla="*/ 4 w 10"/>
                  <a:gd name="T17" fmla="*/ 4 h 4"/>
                  <a:gd name="T18" fmla="*/ 8 w 10"/>
                  <a:gd name="T19" fmla="*/ 4 h 4"/>
                  <a:gd name="T20" fmla="*/ 10 w 10"/>
                  <a:gd name="T21" fmla="*/ 4 h 4"/>
                  <a:gd name="T22" fmla="*/ 10 w 10"/>
                  <a:gd name="T23" fmla="*/ 4 h 4"/>
                  <a:gd name="T24" fmla="*/ 10 w 10"/>
                  <a:gd name="T25" fmla="*/ 4 h 4"/>
                  <a:gd name="T26" fmla="*/ 10 w 10"/>
                  <a:gd name="T27" fmla="*/ 4 h 4"/>
                  <a:gd name="T28" fmla="*/ 10 w 10"/>
                  <a:gd name="T29" fmla="*/ 2 h 4"/>
                  <a:gd name="T30" fmla="*/ 10 w 10"/>
                  <a:gd name="T31" fmla="*/ 2 h 4"/>
                  <a:gd name="T32" fmla="*/ 10 w 10"/>
                  <a:gd name="T33" fmla="*/ 2 h 4"/>
                  <a:gd name="T34" fmla="*/ 10 w 10"/>
                  <a:gd name="T35" fmla="*/ 0 h 4"/>
                  <a:gd name="T36" fmla="*/ 10 w 10"/>
                  <a:gd name="T37" fmla="*/ 0 h 4"/>
                  <a:gd name="T38" fmla="*/ 8 w 10"/>
                  <a:gd name="T39" fmla="*/ 0 h 4"/>
                  <a:gd name="T40" fmla="*/ 6 w 10"/>
                  <a:gd name="T41" fmla="*/ 0 h 4"/>
                  <a:gd name="T42" fmla="*/ 2 w 10"/>
                  <a:gd name="T43" fmla="*/ 0 h 4"/>
                  <a:gd name="T44" fmla="*/ 2 w 10"/>
                  <a:gd name="T45" fmla="*/ 0 h 4"/>
                  <a:gd name="T46" fmla="*/ 0 w 10"/>
                  <a:gd name="T47" fmla="*/ 0 h 4"/>
                  <a:gd name="T48" fmla="*/ 0 w 10"/>
                  <a:gd name="T49" fmla="*/ 0 h 4"/>
                  <a:gd name="T50" fmla="*/ 0 w 10"/>
                  <a:gd name="T51" fmla="*/ 0 h 4"/>
                  <a:gd name="T52" fmla="*/ 0 w 10"/>
                  <a:gd name="T53" fmla="*/ 0 h 4"/>
                  <a:gd name="T54" fmla="*/ 0 w 10"/>
                  <a:gd name="T5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0" h="4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65" name="Freeform 69"/>
              <p:cNvSpPr>
                <a:spLocks/>
              </p:cNvSpPr>
              <p:nvPr/>
            </p:nvSpPr>
            <p:spPr bwMode="auto">
              <a:xfrm>
                <a:off x="1729" y="1594"/>
                <a:ext cx="10" cy="6"/>
              </a:xfrm>
              <a:custGeom>
                <a:avLst/>
                <a:gdLst>
                  <a:gd name="T0" fmla="*/ 2 w 10"/>
                  <a:gd name="T1" fmla="*/ 0 h 6"/>
                  <a:gd name="T2" fmla="*/ 2 w 10"/>
                  <a:gd name="T3" fmla="*/ 0 h 6"/>
                  <a:gd name="T4" fmla="*/ 0 w 10"/>
                  <a:gd name="T5" fmla="*/ 0 h 6"/>
                  <a:gd name="T6" fmla="*/ 0 w 10"/>
                  <a:gd name="T7" fmla="*/ 0 h 6"/>
                  <a:gd name="T8" fmla="*/ 0 w 10"/>
                  <a:gd name="T9" fmla="*/ 0 h 6"/>
                  <a:gd name="T10" fmla="*/ 0 w 10"/>
                  <a:gd name="T11" fmla="*/ 2 h 6"/>
                  <a:gd name="T12" fmla="*/ 0 w 10"/>
                  <a:gd name="T13" fmla="*/ 2 h 6"/>
                  <a:gd name="T14" fmla="*/ 2 w 10"/>
                  <a:gd name="T15" fmla="*/ 2 h 6"/>
                  <a:gd name="T16" fmla="*/ 4 w 10"/>
                  <a:gd name="T17" fmla="*/ 4 h 6"/>
                  <a:gd name="T18" fmla="*/ 4 w 10"/>
                  <a:gd name="T19" fmla="*/ 4 h 6"/>
                  <a:gd name="T20" fmla="*/ 4 w 10"/>
                  <a:gd name="T21" fmla="*/ 6 h 6"/>
                  <a:gd name="T22" fmla="*/ 4 w 10"/>
                  <a:gd name="T23" fmla="*/ 6 h 6"/>
                  <a:gd name="T24" fmla="*/ 6 w 10"/>
                  <a:gd name="T25" fmla="*/ 6 h 6"/>
                  <a:gd name="T26" fmla="*/ 6 w 10"/>
                  <a:gd name="T27" fmla="*/ 6 h 6"/>
                  <a:gd name="T28" fmla="*/ 6 w 10"/>
                  <a:gd name="T29" fmla="*/ 6 h 6"/>
                  <a:gd name="T30" fmla="*/ 6 w 10"/>
                  <a:gd name="T31" fmla="*/ 6 h 6"/>
                  <a:gd name="T32" fmla="*/ 8 w 10"/>
                  <a:gd name="T33" fmla="*/ 4 h 6"/>
                  <a:gd name="T34" fmla="*/ 8 w 10"/>
                  <a:gd name="T35" fmla="*/ 4 h 6"/>
                  <a:gd name="T36" fmla="*/ 10 w 10"/>
                  <a:gd name="T37" fmla="*/ 2 h 6"/>
                  <a:gd name="T38" fmla="*/ 10 w 10"/>
                  <a:gd name="T39" fmla="*/ 2 h 6"/>
                  <a:gd name="T40" fmla="*/ 10 w 10"/>
                  <a:gd name="T41" fmla="*/ 0 h 6"/>
                  <a:gd name="T42" fmla="*/ 10 w 10"/>
                  <a:gd name="T43" fmla="*/ 0 h 6"/>
                  <a:gd name="T44" fmla="*/ 10 w 10"/>
                  <a:gd name="T45" fmla="*/ 0 h 6"/>
                  <a:gd name="T46" fmla="*/ 10 w 10"/>
                  <a:gd name="T47" fmla="*/ 0 h 6"/>
                  <a:gd name="T48" fmla="*/ 8 w 10"/>
                  <a:gd name="T49" fmla="*/ 0 h 6"/>
                  <a:gd name="T50" fmla="*/ 6 w 10"/>
                  <a:gd name="T51" fmla="*/ 0 h 6"/>
                  <a:gd name="T52" fmla="*/ 6 w 10"/>
                  <a:gd name="T53" fmla="*/ 0 h 6"/>
                  <a:gd name="T54" fmla="*/ 4 w 10"/>
                  <a:gd name="T55" fmla="*/ 0 h 6"/>
                  <a:gd name="T56" fmla="*/ 2 w 10"/>
                  <a:gd name="T57" fmla="*/ 0 h 6"/>
                  <a:gd name="T58" fmla="*/ 2 w 10"/>
                  <a:gd name="T59" fmla="*/ 0 h 6"/>
                  <a:gd name="T60" fmla="*/ 2 w 10"/>
                  <a:gd name="T61" fmla="*/ 0 h 6"/>
                  <a:gd name="T62" fmla="*/ 2 w 10"/>
                  <a:gd name="T63" fmla="*/ 0 h 6"/>
                  <a:gd name="T64" fmla="*/ 2 w 10"/>
                  <a:gd name="T65" fmla="*/ 0 h 6"/>
                  <a:gd name="T66" fmla="*/ 2 w 10"/>
                  <a:gd name="T6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0" h="6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66" name="Freeform 71"/>
              <p:cNvSpPr>
                <a:spLocks/>
              </p:cNvSpPr>
              <p:nvPr/>
            </p:nvSpPr>
            <p:spPr bwMode="auto">
              <a:xfrm>
                <a:off x="1695" y="1608"/>
                <a:ext cx="18" cy="24"/>
              </a:xfrm>
              <a:custGeom>
                <a:avLst/>
                <a:gdLst>
                  <a:gd name="T0" fmla="*/ 6 w 18"/>
                  <a:gd name="T1" fmla="*/ 0 h 24"/>
                  <a:gd name="T2" fmla="*/ 6 w 18"/>
                  <a:gd name="T3" fmla="*/ 0 h 24"/>
                  <a:gd name="T4" fmla="*/ 6 w 18"/>
                  <a:gd name="T5" fmla="*/ 0 h 24"/>
                  <a:gd name="T6" fmla="*/ 6 w 18"/>
                  <a:gd name="T7" fmla="*/ 2 h 24"/>
                  <a:gd name="T8" fmla="*/ 6 w 18"/>
                  <a:gd name="T9" fmla="*/ 2 h 24"/>
                  <a:gd name="T10" fmla="*/ 6 w 18"/>
                  <a:gd name="T11" fmla="*/ 4 h 24"/>
                  <a:gd name="T12" fmla="*/ 6 w 18"/>
                  <a:gd name="T13" fmla="*/ 4 h 24"/>
                  <a:gd name="T14" fmla="*/ 6 w 18"/>
                  <a:gd name="T15" fmla="*/ 4 h 24"/>
                  <a:gd name="T16" fmla="*/ 4 w 18"/>
                  <a:gd name="T17" fmla="*/ 4 h 24"/>
                  <a:gd name="T18" fmla="*/ 4 w 18"/>
                  <a:gd name="T19" fmla="*/ 4 h 24"/>
                  <a:gd name="T20" fmla="*/ 2 w 18"/>
                  <a:gd name="T21" fmla="*/ 4 h 24"/>
                  <a:gd name="T22" fmla="*/ 2 w 18"/>
                  <a:gd name="T23" fmla="*/ 4 h 24"/>
                  <a:gd name="T24" fmla="*/ 2 w 18"/>
                  <a:gd name="T25" fmla="*/ 4 h 24"/>
                  <a:gd name="T26" fmla="*/ 2 w 18"/>
                  <a:gd name="T27" fmla="*/ 6 h 24"/>
                  <a:gd name="T28" fmla="*/ 0 w 18"/>
                  <a:gd name="T29" fmla="*/ 6 h 24"/>
                  <a:gd name="T30" fmla="*/ 0 w 18"/>
                  <a:gd name="T31" fmla="*/ 6 h 24"/>
                  <a:gd name="T32" fmla="*/ 0 w 18"/>
                  <a:gd name="T33" fmla="*/ 10 h 24"/>
                  <a:gd name="T34" fmla="*/ 0 w 18"/>
                  <a:gd name="T35" fmla="*/ 14 h 24"/>
                  <a:gd name="T36" fmla="*/ 0 w 18"/>
                  <a:gd name="T37" fmla="*/ 14 h 24"/>
                  <a:gd name="T38" fmla="*/ 0 w 18"/>
                  <a:gd name="T39" fmla="*/ 16 h 24"/>
                  <a:gd name="T40" fmla="*/ 0 w 18"/>
                  <a:gd name="T41" fmla="*/ 18 h 24"/>
                  <a:gd name="T42" fmla="*/ 0 w 18"/>
                  <a:gd name="T43" fmla="*/ 18 h 24"/>
                  <a:gd name="T44" fmla="*/ 0 w 18"/>
                  <a:gd name="T45" fmla="*/ 18 h 24"/>
                  <a:gd name="T46" fmla="*/ 2 w 18"/>
                  <a:gd name="T47" fmla="*/ 20 h 24"/>
                  <a:gd name="T48" fmla="*/ 2 w 18"/>
                  <a:gd name="T49" fmla="*/ 20 h 24"/>
                  <a:gd name="T50" fmla="*/ 2 w 18"/>
                  <a:gd name="T51" fmla="*/ 22 h 24"/>
                  <a:gd name="T52" fmla="*/ 2 w 18"/>
                  <a:gd name="T53" fmla="*/ 24 h 24"/>
                  <a:gd name="T54" fmla="*/ 2 w 18"/>
                  <a:gd name="T55" fmla="*/ 24 h 24"/>
                  <a:gd name="T56" fmla="*/ 2 w 18"/>
                  <a:gd name="T57" fmla="*/ 24 h 24"/>
                  <a:gd name="T58" fmla="*/ 4 w 18"/>
                  <a:gd name="T59" fmla="*/ 24 h 24"/>
                  <a:gd name="T60" fmla="*/ 4 w 18"/>
                  <a:gd name="T61" fmla="*/ 24 h 24"/>
                  <a:gd name="T62" fmla="*/ 4 w 18"/>
                  <a:gd name="T63" fmla="*/ 24 h 24"/>
                  <a:gd name="T64" fmla="*/ 6 w 18"/>
                  <a:gd name="T65" fmla="*/ 24 h 24"/>
                  <a:gd name="T66" fmla="*/ 6 w 18"/>
                  <a:gd name="T67" fmla="*/ 24 h 24"/>
                  <a:gd name="T68" fmla="*/ 6 w 18"/>
                  <a:gd name="T69" fmla="*/ 22 h 24"/>
                  <a:gd name="T70" fmla="*/ 6 w 18"/>
                  <a:gd name="T71" fmla="*/ 22 h 24"/>
                  <a:gd name="T72" fmla="*/ 6 w 18"/>
                  <a:gd name="T73" fmla="*/ 22 h 24"/>
                  <a:gd name="T74" fmla="*/ 8 w 18"/>
                  <a:gd name="T75" fmla="*/ 20 h 24"/>
                  <a:gd name="T76" fmla="*/ 8 w 18"/>
                  <a:gd name="T77" fmla="*/ 20 h 24"/>
                  <a:gd name="T78" fmla="*/ 12 w 18"/>
                  <a:gd name="T79" fmla="*/ 18 h 24"/>
                  <a:gd name="T80" fmla="*/ 14 w 18"/>
                  <a:gd name="T81" fmla="*/ 16 h 24"/>
                  <a:gd name="T82" fmla="*/ 14 w 18"/>
                  <a:gd name="T83" fmla="*/ 16 h 24"/>
                  <a:gd name="T84" fmla="*/ 16 w 18"/>
                  <a:gd name="T85" fmla="*/ 14 h 24"/>
                  <a:gd name="T86" fmla="*/ 16 w 18"/>
                  <a:gd name="T87" fmla="*/ 12 h 24"/>
                  <a:gd name="T88" fmla="*/ 18 w 18"/>
                  <a:gd name="T89" fmla="*/ 10 h 24"/>
                  <a:gd name="T90" fmla="*/ 18 w 18"/>
                  <a:gd name="T91" fmla="*/ 10 h 24"/>
                  <a:gd name="T92" fmla="*/ 18 w 18"/>
                  <a:gd name="T93" fmla="*/ 8 h 24"/>
                  <a:gd name="T94" fmla="*/ 16 w 18"/>
                  <a:gd name="T95" fmla="*/ 8 h 24"/>
                  <a:gd name="T96" fmla="*/ 14 w 18"/>
                  <a:gd name="T97" fmla="*/ 6 h 24"/>
                  <a:gd name="T98" fmla="*/ 14 w 18"/>
                  <a:gd name="T99" fmla="*/ 6 h 24"/>
                  <a:gd name="T100" fmla="*/ 14 w 18"/>
                  <a:gd name="T101" fmla="*/ 4 h 24"/>
                  <a:gd name="T102" fmla="*/ 12 w 18"/>
                  <a:gd name="T103" fmla="*/ 0 h 24"/>
                  <a:gd name="T104" fmla="*/ 12 w 18"/>
                  <a:gd name="T105" fmla="*/ 0 h 24"/>
                  <a:gd name="T106" fmla="*/ 10 w 18"/>
                  <a:gd name="T107" fmla="*/ 0 h 24"/>
                  <a:gd name="T108" fmla="*/ 10 w 18"/>
                  <a:gd name="T109" fmla="*/ 0 h 24"/>
                  <a:gd name="T110" fmla="*/ 8 w 18"/>
                  <a:gd name="T111" fmla="*/ 0 h 24"/>
                  <a:gd name="T112" fmla="*/ 6 w 18"/>
                  <a:gd name="T113" fmla="*/ 0 h 24"/>
                  <a:gd name="T114" fmla="*/ 6 w 18"/>
                  <a:gd name="T115" fmla="*/ 0 h 24"/>
                  <a:gd name="T116" fmla="*/ 6 w 18"/>
                  <a:gd name="T117" fmla="*/ 0 h 24"/>
                  <a:gd name="T118" fmla="*/ 6 w 18"/>
                  <a:gd name="T119" fmla="*/ 0 h 24"/>
                  <a:gd name="T120" fmla="*/ 6 w 18"/>
                  <a:gd name="T121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8" h="24">
                    <a:moveTo>
                      <a:pt x="6" y="0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22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6" y="24"/>
                    </a:lnTo>
                    <a:lnTo>
                      <a:pt x="6" y="24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2" y="18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6" y="14"/>
                    </a:lnTo>
                    <a:lnTo>
                      <a:pt x="16" y="12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6" y="8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4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67" name="Freeform 73"/>
              <p:cNvSpPr>
                <a:spLocks/>
              </p:cNvSpPr>
              <p:nvPr/>
            </p:nvSpPr>
            <p:spPr bwMode="auto">
              <a:xfrm>
                <a:off x="1651" y="1590"/>
                <a:ext cx="28" cy="20"/>
              </a:xfrm>
              <a:custGeom>
                <a:avLst/>
                <a:gdLst>
                  <a:gd name="T0" fmla="*/ 16 w 28"/>
                  <a:gd name="T1" fmla="*/ 2 h 20"/>
                  <a:gd name="T2" fmla="*/ 16 w 28"/>
                  <a:gd name="T3" fmla="*/ 2 h 20"/>
                  <a:gd name="T4" fmla="*/ 12 w 28"/>
                  <a:gd name="T5" fmla="*/ 2 h 20"/>
                  <a:gd name="T6" fmla="*/ 10 w 28"/>
                  <a:gd name="T7" fmla="*/ 2 h 20"/>
                  <a:gd name="T8" fmla="*/ 8 w 28"/>
                  <a:gd name="T9" fmla="*/ 4 h 20"/>
                  <a:gd name="T10" fmla="*/ 8 w 28"/>
                  <a:gd name="T11" fmla="*/ 4 h 20"/>
                  <a:gd name="T12" fmla="*/ 8 w 28"/>
                  <a:gd name="T13" fmla="*/ 4 h 20"/>
                  <a:gd name="T14" fmla="*/ 6 w 28"/>
                  <a:gd name="T15" fmla="*/ 6 h 20"/>
                  <a:gd name="T16" fmla="*/ 4 w 28"/>
                  <a:gd name="T17" fmla="*/ 8 h 20"/>
                  <a:gd name="T18" fmla="*/ 4 w 28"/>
                  <a:gd name="T19" fmla="*/ 8 h 20"/>
                  <a:gd name="T20" fmla="*/ 2 w 28"/>
                  <a:gd name="T21" fmla="*/ 10 h 20"/>
                  <a:gd name="T22" fmla="*/ 2 w 28"/>
                  <a:gd name="T23" fmla="*/ 12 h 20"/>
                  <a:gd name="T24" fmla="*/ 0 w 28"/>
                  <a:gd name="T25" fmla="*/ 12 h 20"/>
                  <a:gd name="T26" fmla="*/ 0 w 28"/>
                  <a:gd name="T27" fmla="*/ 12 h 20"/>
                  <a:gd name="T28" fmla="*/ 0 w 28"/>
                  <a:gd name="T29" fmla="*/ 14 h 20"/>
                  <a:gd name="T30" fmla="*/ 2 w 28"/>
                  <a:gd name="T31" fmla="*/ 16 h 20"/>
                  <a:gd name="T32" fmla="*/ 2 w 28"/>
                  <a:gd name="T33" fmla="*/ 18 h 20"/>
                  <a:gd name="T34" fmla="*/ 2 w 28"/>
                  <a:gd name="T35" fmla="*/ 18 h 20"/>
                  <a:gd name="T36" fmla="*/ 4 w 28"/>
                  <a:gd name="T37" fmla="*/ 18 h 20"/>
                  <a:gd name="T38" fmla="*/ 6 w 28"/>
                  <a:gd name="T39" fmla="*/ 20 h 20"/>
                  <a:gd name="T40" fmla="*/ 8 w 28"/>
                  <a:gd name="T41" fmla="*/ 20 h 20"/>
                  <a:gd name="T42" fmla="*/ 10 w 28"/>
                  <a:gd name="T43" fmla="*/ 18 h 20"/>
                  <a:gd name="T44" fmla="*/ 10 w 28"/>
                  <a:gd name="T45" fmla="*/ 18 h 20"/>
                  <a:gd name="T46" fmla="*/ 10 w 28"/>
                  <a:gd name="T47" fmla="*/ 18 h 20"/>
                  <a:gd name="T48" fmla="*/ 12 w 28"/>
                  <a:gd name="T49" fmla="*/ 16 h 20"/>
                  <a:gd name="T50" fmla="*/ 12 w 28"/>
                  <a:gd name="T51" fmla="*/ 14 h 20"/>
                  <a:gd name="T52" fmla="*/ 12 w 28"/>
                  <a:gd name="T53" fmla="*/ 14 h 20"/>
                  <a:gd name="T54" fmla="*/ 14 w 28"/>
                  <a:gd name="T55" fmla="*/ 14 h 20"/>
                  <a:gd name="T56" fmla="*/ 14 w 28"/>
                  <a:gd name="T57" fmla="*/ 14 h 20"/>
                  <a:gd name="T58" fmla="*/ 16 w 28"/>
                  <a:gd name="T59" fmla="*/ 14 h 20"/>
                  <a:gd name="T60" fmla="*/ 16 w 28"/>
                  <a:gd name="T61" fmla="*/ 16 h 20"/>
                  <a:gd name="T62" fmla="*/ 18 w 28"/>
                  <a:gd name="T63" fmla="*/ 16 h 20"/>
                  <a:gd name="T64" fmla="*/ 18 w 28"/>
                  <a:gd name="T65" fmla="*/ 14 h 20"/>
                  <a:gd name="T66" fmla="*/ 20 w 28"/>
                  <a:gd name="T67" fmla="*/ 14 h 20"/>
                  <a:gd name="T68" fmla="*/ 20 w 28"/>
                  <a:gd name="T69" fmla="*/ 14 h 20"/>
                  <a:gd name="T70" fmla="*/ 22 w 28"/>
                  <a:gd name="T71" fmla="*/ 12 h 20"/>
                  <a:gd name="T72" fmla="*/ 22 w 28"/>
                  <a:gd name="T73" fmla="*/ 12 h 20"/>
                  <a:gd name="T74" fmla="*/ 26 w 28"/>
                  <a:gd name="T75" fmla="*/ 10 h 20"/>
                  <a:gd name="T76" fmla="*/ 26 w 28"/>
                  <a:gd name="T77" fmla="*/ 10 h 20"/>
                  <a:gd name="T78" fmla="*/ 26 w 28"/>
                  <a:gd name="T79" fmla="*/ 8 h 20"/>
                  <a:gd name="T80" fmla="*/ 28 w 28"/>
                  <a:gd name="T81" fmla="*/ 8 h 20"/>
                  <a:gd name="T82" fmla="*/ 28 w 28"/>
                  <a:gd name="T83" fmla="*/ 6 h 20"/>
                  <a:gd name="T84" fmla="*/ 28 w 28"/>
                  <a:gd name="T85" fmla="*/ 6 h 20"/>
                  <a:gd name="T86" fmla="*/ 26 w 28"/>
                  <a:gd name="T87" fmla="*/ 4 h 20"/>
                  <a:gd name="T88" fmla="*/ 26 w 28"/>
                  <a:gd name="T89" fmla="*/ 2 h 20"/>
                  <a:gd name="T90" fmla="*/ 26 w 28"/>
                  <a:gd name="T91" fmla="*/ 2 h 20"/>
                  <a:gd name="T92" fmla="*/ 26 w 28"/>
                  <a:gd name="T93" fmla="*/ 2 h 20"/>
                  <a:gd name="T94" fmla="*/ 24 w 28"/>
                  <a:gd name="T95" fmla="*/ 0 h 20"/>
                  <a:gd name="T96" fmla="*/ 24 w 28"/>
                  <a:gd name="T97" fmla="*/ 2 h 20"/>
                  <a:gd name="T98" fmla="*/ 22 w 28"/>
                  <a:gd name="T99" fmla="*/ 2 h 20"/>
                  <a:gd name="T100" fmla="*/ 22 w 28"/>
                  <a:gd name="T101" fmla="*/ 2 h 20"/>
                  <a:gd name="T102" fmla="*/ 22 w 28"/>
                  <a:gd name="T103" fmla="*/ 2 h 20"/>
                  <a:gd name="T104" fmla="*/ 20 w 28"/>
                  <a:gd name="T105" fmla="*/ 2 h 20"/>
                  <a:gd name="T106" fmla="*/ 16 w 28"/>
                  <a:gd name="T107" fmla="*/ 2 h 20"/>
                  <a:gd name="T108" fmla="*/ 16 w 28"/>
                  <a:gd name="T109" fmla="*/ 2 h 20"/>
                  <a:gd name="T110" fmla="*/ 16 w 28"/>
                  <a:gd name="T111" fmla="*/ 2 h 20"/>
                  <a:gd name="T112" fmla="*/ 16 w 28"/>
                  <a:gd name="T113" fmla="*/ 2 h 20"/>
                  <a:gd name="T114" fmla="*/ 16 w 28"/>
                  <a:gd name="T115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8" h="20">
                    <a:moveTo>
                      <a:pt x="16" y="2"/>
                    </a:moveTo>
                    <a:lnTo>
                      <a:pt x="16" y="2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4" y="18"/>
                    </a:lnTo>
                    <a:lnTo>
                      <a:pt x="6" y="20"/>
                    </a:lnTo>
                    <a:lnTo>
                      <a:pt x="8" y="20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6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14"/>
                    </a:lnTo>
                    <a:lnTo>
                      <a:pt x="16" y="16"/>
                    </a:lnTo>
                    <a:lnTo>
                      <a:pt x="18" y="16"/>
                    </a:lnTo>
                    <a:lnTo>
                      <a:pt x="18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8"/>
                    </a:lnTo>
                    <a:lnTo>
                      <a:pt x="28" y="8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6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4" y="0"/>
                    </a:lnTo>
                    <a:lnTo>
                      <a:pt x="24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0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68" name="Freeform 75"/>
              <p:cNvSpPr>
                <a:spLocks/>
              </p:cNvSpPr>
              <p:nvPr/>
            </p:nvSpPr>
            <p:spPr bwMode="auto">
              <a:xfrm>
                <a:off x="1623" y="1510"/>
                <a:ext cx="90" cy="72"/>
              </a:xfrm>
              <a:custGeom>
                <a:avLst/>
                <a:gdLst>
                  <a:gd name="T0" fmla="*/ 34 w 90"/>
                  <a:gd name="T1" fmla="*/ 4 h 72"/>
                  <a:gd name="T2" fmla="*/ 32 w 90"/>
                  <a:gd name="T3" fmla="*/ 4 h 72"/>
                  <a:gd name="T4" fmla="*/ 30 w 90"/>
                  <a:gd name="T5" fmla="*/ 6 h 72"/>
                  <a:gd name="T6" fmla="*/ 28 w 90"/>
                  <a:gd name="T7" fmla="*/ 12 h 72"/>
                  <a:gd name="T8" fmla="*/ 28 w 90"/>
                  <a:gd name="T9" fmla="*/ 18 h 72"/>
                  <a:gd name="T10" fmla="*/ 20 w 90"/>
                  <a:gd name="T11" fmla="*/ 26 h 72"/>
                  <a:gd name="T12" fmla="*/ 14 w 90"/>
                  <a:gd name="T13" fmla="*/ 28 h 72"/>
                  <a:gd name="T14" fmla="*/ 12 w 90"/>
                  <a:gd name="T15" fmla="*/ 34 h 72"/>
                  <a:gd name="T16" fmla="*/ 14 w 90"/>
                  <a:gd name="T17" fmla="*/ 40 h 72"/>
                  <a:gd name="T18" fmla="*/ 8 w 90"/>
                  <a:gd name="T19" fmla="*/ 46 h 72"/>
                  <a:gd name="T20" fmla="*/ 2 w 90"/>
                  <a:gd name="T21" fmla="*/ 50 h 72"/>
                  <a:gd name="T22" fmla="*/ 0 w 90"/>
                  <a:gd name="T23" fmla="*/ 52 h 72"/>
                  <a:gd name="T24" fmla="*/ 6 w 90"/>
                  <a:gd name="T25" fmla="*/ 54 h 72"/>
                  <a:gd name="T26" fmla="*/ 14 w 90"/>
                  <a:gd name="T27" fmla="*/ 54 h 72"/>
                  <a:gd name="T28" fmla="*/ 16 w 90"/>
                  <a:gd name="T29" fmla="*/ 58 h 72"/>
                  <a:gd name="T30" fmla="*/ 14 w 90"/>
                  <a:gd name="T31" fmla="*/ 60 h 72"/>
                  <a:gd name="T32" fmla="*/ 12 w 90"/>
                  <a:gd name="T33" fmla="*/ 68 h 72"/>
                  <a:gd name="T34" fmla="*/ 14 w 90"/>
                  <a:gd name="T35" fmla="*/ 72 h 72"/>
                  <a:gd name="T36" fmla="*/ 18 w 90"/>
                  <a:gd name="T37" fmla="*/ 72 h 72"/>
                  <a:gd name="T38" fmla="*/ 28 w 90"/>
                  <a:gd name="T39" fmla="*/ 70 h 72"/>
                  <a:gd name="T40" fmla="*/ 36 w 90"/>
                  <a:gd name="T41" fmla="*/ 66 h 72"/>
                  <a:gd name="T42" fmla="*/ 42 w 90"/>
                  <a:gd name="T43" fmla="*/ 60 h 72"/>
                  <a:gd name="T44" fmla="*/ 44 w 90"/>
                  <a:gd name="T45" fmla="*/ 52 h 72"/>
                  <a:gd name="T46" fmla="*/ 48 w 90"/>
                  <a:gd name="T47" fmla="*/ 50 h 72"/>
                  <a:gd name="T48" fmla="*/ 54 w 90"/>
                  <a:gd name="T49" fmla="*/ 52 h 72"/>
                  <a:gd name="T50" fmla="*/ 58 w 90"/>
                  <a:gd name="T51" fmla="*/ 54 h 72"/>
                  <a:gd name="T52" fmla="*/ 56 w 90"/>
                  <a:gd name="T53" fmla="*/ 56 h 72"/>
                  <a:gd name="T54" fmla="*/ 56 w 90"/>
                  <a:gd name="T55" fmla="*/ 60 h 72"/>
                  <a:gd name="T56" fmla="*/ 60 w 90"/>
                  <a:gd name="T57" fmla="*/ 62 h 72"/>
                  <a:gd name="T58" fmla="*/ 64 w 90"/>
                  <a:gd name="T59" fmla="*/ 64 h 72"/>
                  <a:gd name="T60" fmla="*/ 68 w 90"/>
                  <a:gd name="T61" fmla="*/ 64 h 72"/>
                  <a:gd name="T62" fmla="*/ 68 w 90"/>
                  <a:gd name="T63" fmla="*/ 68 h 72"/>
                  <a:gd name="T64" fmla="*/ 70 w 90"/>
                  <a:gd name="T65" fmla="*/ 70 h 72"/>
                  <a:gd name="T66" fmla="*/ 74 w 90"/>
                  <a:gd name="T67" fmla="*/ 68 h 72"/>
                  <a:gd name="T68" fmla="*/ 78 w 90"/>
                  <a:gd name="T69" fmla="*/ 68 h 72"/>
                  <a:gd name="T70" fmla="*/ 82 w 90"/>
                  <a:gd name="T71" fmla="*/ 70 h 72"/>
                  <a:gd name="T72" fmla="*/ 84 w 90"/>
                  <a:gd name="T73" fmla="*/ 72 h 72"/>
                  <a:gd name="T74" fmla="*/ 86 w 90"/>
                  <a:gd name="T75" fmla="*/ 70 h 72"/>
                  <a:gd name="T76" fmla="*/ 88 w 90"/>
                  <a:gd name="T77" fmla="*/ 66 h 72"/>
                  <a:gd name="T78" fmla="*/ 88 w 90"/>
                  <a:gd name="T79" fmla="*/ 60 h 72"/>
                  <a:gd name="T80" fmla="*/ 86 w 90"/>
                  <a:gd name="T81" fmla="*/ 58 h 72"/>
                  <a:gd name="T82" fmla="*/ 82 w 90"/>
                  <a:gd name="T83" fmla="*/ 56 h 72"/>
                  <a:gd name="T84" fmla="*/ 76 w 90"/>
                  <a:gd name="T85" fmla="*/ 56 h 72"/>
                  <a:gd name="T86" fmla="*/ 76 w 90"/>
                  <a:gd name="T87" fmla="*/ 56 h 72"/>
                  <a:gd name="T88" fmla="*/ 78 w 90"/>
                  <a:gd name="T89" fmla="*/ 52 h 72"/>
                  <a:gd name="T90" fmla="*/ 76 w 90"/>
                  <a:gd name="T91" fmla="*/ 48 h 72"/>
                  <a:gd name="T92" fmla="*/ 76 w 90"/>
                  <a:gd name="T93" fmla="*/ 38 h 72"/>
                  <a:gd name="T94" fmla="*/ 78 w 90"/>
                  <a:gd name="T95" fmla="*/ 36 h 72"/>
                  <a:gd name="T96" fmla="*/ 74 w 90"/>
                  <a:gd name="T97" fmla="*/ 30 h 72"/>
                  <a:gd name="T98" fmla="*/ 66 w 90"/>
                  <a:gd name="T99" fmla="*/ 28 h 72"/>
                  <a:gd name="T100" fmla="*/ 60 w 90"/>
                  <a:gd name="T101" fmla="*/ 28 h 72"/>
                  <a:gd name="T102" fmla="*/ 60 w 90"/>
                  <a:gd name="T103" fmla="*/ 24 h 72"/>
                  <a:gd name="T104" fmla="*/ 54 w 90"/>
                  <a:gd name="T105" fmla="*/ 20 h 72"/>
                  <a:gd name="T106" fmla="*/ 50 w 90"/>
                  <a:gd name="T107" fmla="*/ 14 h 72"/>
                  <a:gd name="T108" fmla="*/ 46 w 90"/>
                  <a:gd name="T109" fmla="*/ 10 h 72"/>
                  <a:gd name="T110" fmla="*/ 44 w 90"/>
                  <a:gd name="T111" fmla="*/ 12 h 72"/>
                  <a:gd name="T112" fmla="*/ 40 w 90"/>
                  <a:gd name="T113" fmla="*/ 12 h 72"/>
                  <a:gd name="T114" fmla="*/ 40 w 90"/>
                  <a:gd name="T115" fmla="*/ 8 h 72"/>
                  <a:gd name="T116" fmla="*/ 42 w 90"/>
                  <a:gd name="T117" fmla="*/ 8 h 72"/>
                  <a:gd name="T118" fmla="*/ 44 w 90"/>
                  <a:gd name="T119" fmla="*/ 6 h 72"/>
                  <a:gd name="T120" fmla="*/ 42 w 90"/>
                  <a:gd name="T121" fmla="*/ 0 h 72"/>
                  <a:gd name="T122" fmla="*/ 36 w 90"/>
                  <a:gd name="T123" fmla="*/ 0 h 72"/>
                  <a:gd name="T124" fmla="*/ 36 w 90"/>
                  <a:gd name="T125" fmla="*/ 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90" h="72">
                    <a:moveTo>
                      <a:pt x="36" y="2"/>
                    </a:moveTo>
                    <a:lnTo>
                      <a:pt x="36" y="2"/>
                    </a:lnTo>
                    <a:lnTo>
                      <a:pt x="36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2"/>
                    </a:lnTo>
                    <a:lnTo>
                      <a:pt x="28" y="14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28" y="18"/>
                    </a:lnTo>
                    <a:lnTo>
                      <a:pt x="26" y="20"/>
                    </a:lnTo>
                    <a:lnTo>
                      <a:pt x="26" y="22"/>
                    </a:lnTo>
                    <a:lnTo>
                      <a:pt x="24" y="22"/>
                    </a:lnTo>
                    <a:lnTo>
                      <a:pt x="20" y="26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2" y="30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2" y="34"/>
                    </a:lnTo>
                    <a:lnTo>
                      <a:pt x="12" y="36"/>
                    </a:lnTo>
                    <a:lnTo>
                      <a:pt x="14" y="38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0" y="44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2" y="50"/>
                    </a:lnTo>
                    <a:lnTo>
                      <a:pt x="2" y="50"/>
                    </a:lnTo>
                    <a:lnTo>
                      <a:pt x="0" y="50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2" y="52"/>
                    </a:lnTo>
                    <a:lnTo>
                      <a:pt x="2" y="52"/>
                    </a:lnTo>
                    <a:lnTo>
                      <a:pt x="4" y="54"/>
                    </a:lnTo>
                    <a:lnTo>
                      <a:pt x="6" y="54"/>
                    </a:lnTo>
                    <a:lnTo>
                      <a:pt x="8" y="54"/>
                    </a:lnTo>
                    <a:lnTo>
                      <a:pt x="10" y="54"/>
                    </a:lnTo>
                    <a:lnTo>
                      <a:pt x="10" y="54"/>
                    </a:lnTo>
                    <a:lnTo>
                      <a:pt x="14" y="54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6" y="58"/>
                    </a:lnTo>
                    <a:lnTo>
                      <a:pt x="16" y="58"/>
                    </a:lnTo>
                    <a:lnTo>
                      <a:pt x="16" y="58"/>
                    </a:lnTo>
                    <a:lnTo>
                      <a:pt x="14" y="58"/>
                    </a:lnTo>
                    <a:lnTo>
                      <a:pt x="14" y="60"/>
                    </a:lnTo>
                    <a:lnTo>
                      <a:pt x="14" y="60"/>
                    </a:lnTo>
                    <a:lnTo>
                      <a:pt x="14" y="62"/>
                    </a:lnTo>
                    <a:lnTo>
                      <a:pt x="14" y="64"/>
                    </a:lnTo>
                    <a:lnTo>
                      <a:pt x="14" y="64"/>
                    </a:lnTo>
                    <a:lnTo>
                      <a:pt x="12" y="68"/>
                    </a:lnTo>
                    <a:lnTo>
                      <a:pt x="14" y="70"/>
                    </a:lnTo>
                    <a:lnTo>
                      <a:pt x="14" y="72"/>
                    </a:lnTo>
                    <a:lnTo>
                      <a:pt x="14" y="72"/>
                    </a:lnTo>
                    <a:lnTo>
                      <a:pt x="14" y="72"/>
                    </a:lnTo>
                    <a:lnTo>
                      <a:pt x="14" y="72"/>
                    </a:lnTo>
                    <a:lnTo>
                      <a:pt x="16" y="72"/>
                    </a:lnTo>
                    <a:lnTo>
                      <a:pt x="18" y="72"/>
                    </a:lnTo>
                    <a:lnTo>
                      <a:pt x="18" y="72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6" y="70"/>
                    </a:lnTo>
                    <a:lnTo>
                      <a:pt x="28" y="70"/>
                    </a:lnTo>
                    <a:lnTo>
                      <a:pt x="30" y="68"/>
                    </a:lnTo>
                    <a:lnTo>
                      <a:pt x="30" y="68"/>
                    </a:lnTo>
                    <a:lnTo>
                      <a:pt x="32" y="68"/>
                    </a:lnTo>
                    <a:lnTo>
                      <a:pt x="36" y="66"/>
                    </a:lnTo>
                    <a:lnTo>
                      <a:pt x="36" y="66"/>
                    </a:lnTo>
                    <a:lnTo>
                      <a:pt x="38" y="62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58"/>
                    </a:lnTo>
                    <a:lnTo>
                      <a:pt x="44" y="56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6" y="52"/>
                    </a:lnTo>
                    <a:lnTo>
                      <a:pt x="46" y="50"/>
                    </a:lnTo>
                    <a:lnTo>
                      <a:pt x="48" y="50"/>
                    </a:lnTo>
                    <a:lnTo>
                      <a:pt x="48" y="50"/>
                    </a:lnTo>
                    <a:lnTo>
                      <a:pt x="52" y="50"/>
                    </a:lnTo>
                    <a:lnTo>
                      <a:pt x="54" y="50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6" y="52"/>
                    </a:lnTo>
                    <a:lnTo>
                      <a:pt x="58" y="54"/>
                    </a:lnTo>
                    <a:lnTo>
                      <a:pt x="58" y="54"/>
                    </a:lnTo>
                    <a:lnTo>
                      <a:pt x="58" y="54"/>
                    </a:lnTo>
                    <a:lnTo>
                      <a:pt x="58" y="54"/>
                    </a:lnTo>
                    <a:lnTo>
                      <a:pt x="56" y="56"/>
                    </a:lnTo>
                    <a:lnTo>
                      <a:pt x="56" y="56"/>
                    </a:lnTo>
                    <a:lnTo>
                      <a:pt x="56" y="58"/>
                    </a:lnTo>
                    <a:lnTo>
                      <a:pt x="56" y="60"/>
                    </a:lnTo>
                    <a:lnTo>
                      <a:pt x="56" y="60"/>
                    </a:lnTo>
                    <a:lnTo>
                      <a:pt x="56" y="60"/>
                    </a:lnTo>
                    <a:lnTo>
                      <a:pt x="58" y="62"/>
                    </a:lnTo>
                    <a:lnTo>
                      <a:pt x="58" y="62"/>
                    </a:lnTo>
                    <a:lnTo>
                      <a:pt x="60" y="62"/>
                    </a:lnTo>
                    <a:lnTo>
                      <a:pt x="60" y="62"/>
                    </a:lnTo>
                    <a:lnTo>
                      <a:pt x="62" y="62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6" y="64"/>
                    </a:lnTo>
                    <a:lnTo>
                      <a:pt x="68" y="64"/>
                    </a:lnTo>
                    <a:lnTo>
                      <a:pt x="68" y="64"/>
                    </a:lnTo>
                    <a:lnTo>
                      <a:pt x="68" y="64"/>
                    </a:lnTo>
                    <a:lnTo>
                      <a:pt x="68" y="66"/>
                    </a:lnTo>
                    <a:lnTo>
                      <a:pt x="68" y="66"/>
                    </a:lnTo>
                    <a:lnTo>
                      <a:pt x="68" y="68"/>
                    </a:lnTo>
                    <a:lnTo>
                      <a:pt x="68" y="68"/>
                    </a:lnTo>
                    <a:lnTo>
                      <a:pt x="68" y="68"/>
                    </a:lnTo>
                    <a:lnTo>
                      <a:pt x="68" y="70"/>
                    </a:lnTo>
                    <a:lnTo>
                      <a:pt x="70" y="70"/>
                    </a:lnTo>
                    <a:lnTo>
                      <a:pt x="72" y="70"/>
                    </a:lnTo>
                    <a:lnTo>
                      <a:pt x="72" y="70"/>
                    </a:lnTo>
                    <a:lnTo>
                      <a:pt x="72" y="70"/>
                    </a:lnTo>
                    <a:lnTo>
                      <a:pt x="74" y="68"/>
                    </a:lnTo>
                    <a:lnTo>
                      <a:pt x="74" y="68"/>
                    </a:lnTo>
                    <a:lnTo>
                      <a:pt x="74" y="68"/>
                    </a:lnTo>
                    <a:lnTo>
                      <a:pt x="76" y="68"/>
                    </a:lnTo>
                    <a:lnTo>
                      <a:pt x="78" y="68"/>
                    </a:lnTo>
                    <a:lnTo>
                      <a:pt x="78" y="68"/>
                    </a:lnTo>
                    <a:lnTo>
                      <a:pt x="78" y="68"/>
                    </a:lnTo>
                    <a:lnTo>
                      <a:pt x="80" y="70"/>
                    </a:lnTo>
                    <a:lnTo>
                      <a:pt x="82" y="70"/>
                    </a:lnTo>
                    <a:lnTo>
                      <a:pt x="82" y="70"/>
                    </a:lnTo>
                    <a:lnTo>
                      <a:pt x="84" y="70"/>
                    </a:lnTo>
                    <a:lnTo>
                      <a:pt x="84" y="70"/>
                    </a:lnTo>
                    <a:lnTo>
                      <a:pt x="84" y="72"/>
                    </a:lnTo>
                    <a:lnTo>
                      <a:pt x="84" y="72"/>
                    </a:lnTo>
                    <a:lnTo>
                      <a:pt x="86" y="72"/>
                    </a:lnTo>
                    <a:lnTo>
                      <a:pt x="86" y="70"/>
                    </a:lnTo>
                    <a:lnTo>
                      <a:pt x="86" y="70"/>
                    </a:lnTo>
                    <a:lnTo>
                      <a:pt x="86" y="70"/>
                    </a:lnTo>
                    <a:lnTo>
                      <a:pt x="88" y="68"/>
                    </a:lnTo>
                    <a:lnTo>
                      <a:pt x="88" y="66"/>
                    </a:lnTo>
                    <a:lnTo>
                      <a:pt x="88" y="66"/>
                    </a:lnTo>
                    <a:lnTo>
                      <a:pt x="88" y="64"/>
                    </a:lnTo>
                    <a:lnTo>
                      <a:pt x="90" y="64"/>
                    </a:lnTo>
                    <a:lnTo>
                      <a:pt x="90" y="62"/>
                    </a:lnTo>
                    <a:lnTo>
                      <a:pt x="88" y="60"/>
                    </a:lnTo>
                    <a:lnTo>
                      <a:pt x="88" y="60"/>
                    </a:lnTo>
                    <a:lnTo>
                      <a:pt x="88" y="58"/>
                    </a:lnTo>
                    <a:lnTo>
                      <a:pt x="86" y="58"/>
                    </a:lnTo>
                    <a:lnTo>
                      <a:pt x="86" y="58"/>
                    </a:lnTo>
                    <a:lnTo>
                      <a:pt x="84" y="56"/>
                    </a:lnTo>
                    <a:lnTo>
                      <a:pt x="82" y="56"/>
                    </a:lnTo>
                    <a:lnTo>
                      <a:pt x="82" y="56"/>
                    </a:lnTo>
                    <a:lnTo>
                      <a:pt x="82" y="56"/>
                    </a:lnTo>
                    <a:lnTo>
                      <a:pt x="80" y="56"/>
                    </a:lnTo>
                    <a:lnTo>
                      <a:pt x="78" y="56"/>
                    </a:lnTo>
                    <a:lnTo>
                      <a:pt x="78" y="58"/>
                    </a:lnTo>
                    <a:lnTo>
                      <a:pt x="76" y="56"/>
                    </a:lnTo>
                    <a:lnTo>
                      <a:pt x="76" y="56"/>
                    </a:lnTo>
                    <a:lnTo>
                      <a:pt x="76" y="56"/>
                    </a:lnTo>
                    <a:lnTo>
                      <a:pt x="76" y="56"/>
                    </a:lnTo>
                    <a:lnTo>
                      <a:pt x="76" y="56"/>
                    </a:lnTo>
                    <a:lnTo>
                      <a:pt x="78" y="54"/>
                    </a:lnTo>
                    <a:lnTo>
                      <a:pt x="78" y="54"/>
                    </a:lnTo>
                    <a:lnTo>
                      <a:pt x="78" y="54"/>
                    </a:lnTo>
                    <a:lnTo>
                      <a:pt x="78" y="52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6" y="50"/>
                    </a:lnTo>
                    <a:lnTo>
                      <a:pt x="76" y="48"/>
                    </a:lnTo>
                    <a:lnTo>
                      <a:pt x="76" y="42"/>
                    </a:lnTo>
                    <a:lnTo>
                      <a:pt x="76" y="42"/>
                    </a:lnTo>
                    <a:lnTo>
                      <a:pt x="76" y="40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8" y="38"/>
                    </a:lnTo>
                    <a:lnTo>
                      <a:pt x="78" y="36"/>
                    </a:lnTo>
                    <a:lnTo>
                      <a:pt x="78" y="36"/>
                    </a:lnTo>
                    <a:lnTo>
                      <a:pt x="76" y="34"/>
                    </a:lnTo>
                    <a:lnTo>
                      <a:pt x="76" y="32"/>
                    </a:lnTo>
                    <a:lnTo>
                      <a:pt x="74" y="30"/>
                    </a:lnTo>
                    <a:lnTo>
                      <a:pt x="74" y="30"/>
                    </a:lnTo>
                    <a:lnTo>
                      <a:pt x="74" y="30"/>
                    </a:lnTo>
                    <a:lnTo>
                      <a:pt x="72" y="28"/>
                    </a:lnTo>
                    <a:lnTo>
                      <a:pt x="70" y="28"/>
                    </a:lnTo>
                    <a:lnTo>
                      <a:pt x="66" y="28"/>
                    </a:lnTo>
                    <a:lnTo>
                      <a:pt x="66" y="28"/>
                    </a:lnTo>
                    <a:lnTo>
                      <a:pt x="62" y="28"/>
                    </a:lnTo>
                    <a:lnTo>
                      <a:pt x="62" y="28"/>
                    </a:lnTo>
                    <a:lnTo>
                      <a:pt x="60" y="28"/>
                    </a:lnTo>
                    <a:lnTo>
                      <a:pt x="60" y="28"/>
                    </a:lnTo>
                    <a:lnTo>
                      <a:pt x="60" y="26"/>
                    </a:lnTo>
                    <a:lnTo>
                      <a:pt x="60" y="24"/>
                    </a:lnTo>
                    <a:lnTo>
                      <a:pt x="60" y="24"/>
                    </a:lnTo>
                    <a:lnTo>
                      <a:pt x="58" y="24"/>
                    </a:lnTo>
                    <a:lnTo>
                      <a:pt x="56" y="22"/>
                    </a:lnTo>
                    <a:lnTo>
                      <a:pt x="56" y="20"/>
                    </a:lnTo>
                    <a:lnTo>
                      <a:pt x="54" y="20"/>
                    </a:lnTo>
                    <a:lnTo>
                      <a:pt x="54" y="20"/>
                    </a:lnTo>
                    <a:lnTo>
                      <a:pt x="54" y="20"/>
                    </a:lnTo>
                    <a:lnTo>
                      <a:pt x="52" y="18"/>
                    </a:lnTo>
                    <a:lnTo>
                      <a:pt x="50" y="14"/>
                    </a:lnTo>
                    <a:lnTo>
                      <a:pt x="50" y="14"/>
                    </a:lnTo>
                    <a:lnTo>
                      <a:pt x="48" y="12"/>
                    </a:lnTo>
                    <a:lnTo>
                      <a:pt x="46" y="10"/>
                    </a:lnTo>
                    <a:lnTo>
                      <a:pt x="46" y="10"/>
                    </a:lnTo>
                    <a:lnTo>
                      <a:pt x="46" y="10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4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0" y="12"/>
                    </a:lnTo>
                    <a:lnTo>
                      <a:pt x="40" y="10"/>
                    </a:lnTo>
                    <a:lnTo>
                      <a:pt x="40" y="10"/>
                    </a:lnTo>
                    <a:lnTo>
                      <a:pt x="40" y="10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4" y="6"/>
                    </a:lnTo>
                    <a:lnTo>
                      <a:pt x="44" y="6"/>
                    </a:lnTo>
                    <a:lnTo>
                      <a:pt x="44" y="6"/>
                    </a:lnTo>
                    <a:lnTo>
                      <a:pt x="44" y="6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2" y="2"/>
                    </a:lnTo>
                    <a:lnTo>
                      <a:pt x="42" y="0"/>
                    </a:lnTo>
                    <a:lnTo>
                      <a:pt x="40" y="0"/>
                    </a:lnTo>
                    <a:lnTo>
                      <a:pt x="38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2"/>
                    </a:lnTo>
                    <a:lnTo>
                      <a:pt x="36" y="2"/>
                    </a:lnTo>
                    <a:lnTo>
                      <a:pt x="36" y="2"/>
                    </a:lnTo>
                    <a:lnTo>
                      <a:pt x="36" y="2"/>
                    </a:lnTo>
                    <a:lnTo>
                      <a:pt x="36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69" name="Freeform 77"/>
              <p:cNvSpPr>
                <a:spLocks/>
              </p:cNvSpPr>
              <p:nvPr/>
            </p:nvSpPr>
            <p:spPr bwMode="auto">
              <a:xfrm>
                <a:off x="1681" y="1506"/>
                <a:ext cx="14" cy="14"/>
              </a:xfrm>
              <a:custGeom>
                <a:avLst/>
                <a:gdLst>
                  <a:gd name="T0" fmla="*/ 4 w 14"/>
                  <a:gd name="T1" fmla="*/ 0 h 14"/>
                  <a:gd name="T2" fmla="*/ 4 w 14"/>
                  <a:gd name="T3" fmla="*/ 0 h 14"/>
                  <a:gd name="T4" fmla="*/ 4 w 14"/>
                  <a:gd name="T5" fmla="*/ 2 h 14"/>
                  <a:gd name="T6" fmla="*/ 4 w 14"/>
                  <a:gd name="T7" fmla="*/ 2 h 14"/>
                  <a:gd name="T8" fmla="*/ 2 w 14"/>
                  <a:gd name="T9" fmla="*/ 2 h 14"/>
                  <a:gd name="T10" fmla="*/ 2 w 14"/>
                  <a:gd name="T11" fmla="*/ 2 h 14"/>
                  <a:gd name="T12" fmla="*/ 2 w 14"/>
                  <a:gd name="T13" fmla="*/ 2 h 14"/>
                  <a:gd name="T14" fmla="*/ 0 w 14"/>
                  <a:gd name="T15" fmla="*/ 2 h 14"/>
                  <a:gd name="T16" fmla="*/ 0 w 14"/>
                  <a:gd name="T17" fmla="*/ 2 h 14"/>
                  <a:gd name="T18" fmla="*/ 0 w 14"/>
                  <a:gd name="T19" fmla="*/ 4 h 14"/>
                  <a:gd name="T20" fmla="*/ 2 w 14"/>
                  <a:gd name="T21" fmla="*/ 6 h 14"/>
                  <a:gd name="T22" fmla="*/ 2 w 14"/>
                  <a:gd name="T23" fmla="*/ 6 h 14"/>
                  <a:gd name="T24" fmla="*/ 2 w 14"/>
                  <a:gd name="T25" fmla="*/ 6 h 14"/>
                  <a:gd name="T26" fmla="*/ 4 w 14"/>
                  <a:gd name="T27" fmla="*/ 10 h 14"/>
                  <a:gd name="T28" fmla="*/ 6 w 14"/>
                  <a:gd name="T29" fmla="*/ 10 h 14"/>
                  <a:gd name="T30" fmla="*/ 8 w 14"/>
                  <a:gd name="T31" fmla="*/ 12 h 14"/>
                  <a:gd name="T32" fmla="*/ 8 w 14"/>
                  <a:gd name="T33" fmla="*/ 12 h 14"/>
                  <a:gd name="T34" fmla="*/ 10 w 14"/>
                  <a:gd name="T35" fmla="*/ 12 h 14"/>
                  <a:gd name="T36" fmla="*/ 12 w 14"/>
                  <a:gd name="T37" fmla="*/ 14 h 14"/>
                  <a:gd name="T38" fmla="*/ 14 w 14"/>
                  <a:gd name="T39" fmla="*/ 14 h 14"/>
                  <a:gd name="T40" fmla="*/ 14 w 14"/>
                  <a:gd name="T41" fmla="*/ 12 h 14"/>
                  <a:gd name="T42" fmla="*/ 14 w 14"/>
                  <a:gd name="T43" fmla="*/ 12 h 14"/>
                  <a:gd name="T44" fmla="*/ 14 w 14"/>
                  <a:gd name="T45" fmla="*/ 12 h 14"/>
                  <a:gd name="T46" fmla="*/ 14 w 14"/>
                  <a:gd name="T47" fmla="*/ 12 h 14"/>
                  <a:gd name="T48" fmla="*/ 14 w 14"/>
                  <a:gd name="T49" fmla="*/ 10 h 14"/>
                  <a:gd name="T50" fmla="*/ 14 w 14"/>
                  <a:gd name="T51" fmla="*/ 8 h 14"/>
                  <a:gd name="T52" fmla="*/ 12 w 14"/>
                  <a:gd name="T53" fmla="*/ 8 h 14"/>
                  <a:gd name="T54" fmla="*/ 12 w 14"/>
                  <a:gd name="T55" fmla="*/ 8 h 14"/>
                  <a:gd name="T56" fmla="*/ 12 w 14"/>
                  <a:gd name="T57" fmla="*/ 6 h 14"/>
                  <a:gd name="T58" fmla="*/ 10 w 14"/>
                  <a:gd name="T59" fmla="*/ 4 h 14"/>
                  <a:gd name="T60" fmla="*/ 10 w 14"/>
                  <a:gd name="T61" fmla="*/ 4 h 14"/>
                  <a:gd name="T62" fmla="*/ 8 w 14"/>
                  <a:gd name="T63" fmla="*/ 2 h 14"/>
                  <a:gd name="T64" fmla="*/ 8 w 14"/>
                  <a:gd name="T65" fmla="*/ 0 h 14"/>
                  <a:gd name="T66" fmla="*/ 8 w 14"/>
                  <a:gd name="T67" fmla="*/ 0 h 14"/>
                  <a:gd name="T68" fmla="*/ 8 w 14"/>
                  <a:gd name="T69" fmla="*/ 0 h 14"/>
                  <a:gd name="T70" fmla="*/ 6 w 14"/>
                  <a:gd name="T71" fmla="*/ 0 h 14"/>
                  <a:gd name="T72" fmla="*/ 4 w 14"/>
                  <a:gd name="T73" fmla="*/ 0 h 14"/>
                  <a:gd name="T74" fmla="*/ 4 w 14"/>
                  <a:gd name="T75" fmla="*/ 0 h 14"/>
                  <a:gd name="T76" fmla="*/ 4 w 14"/>
                  <a:gd name="T77" fmla="*/ 0 h 14"/>
                  <a:gd name="T78" fmla="*/ 4 w 14"/>
                  <a:gd name="T79" fmla="*/ 0 h 14"/>
                  <a:gd name="T80" fmla="*/ 4 w 14"/>
                  <a:gd name="T81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4" h="14">
                    <a:moveTo>
                      <a:pt x="4" y="0"/>
                    </a:moveTo>
                    <a:lnTo>
                      <a:pt x="4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0" y="12"/>
                    </a:lnTo>
                    <a:lnTo>
                      <a:pt x="12" y="14"/>
                    </a:lnTo>
                    <a:lnTo>
                      <a:pt x="14" y="14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0"/>
                    </a:lnTo>
                    <a:lnTo>
                      <a:pt x="14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6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8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70" name="Freeform 78"/>
              <p:cNvSpPr>
                <a:spLocks/>
              </p:cNvSpPr>
              <p:nvPr/>
            </p:nvSpPr>
            <p:spPr bwMode="auto">
              <a:xfrm>
                <a:off x="1681" y="1506"/>
                <a:ext cx="14" cy="14"/>
              </a:xfrm>
              <a:custGeom>
                <a:avLst/>
                <a:gdLst>
                  <a:gd name="T0" fmla="*/ 4 w 14"/>
                  <a:gd name="T1" fmla="*/ 0 h 14"/>
                  <a:gd name="T2" fmla="*/ 4 w 14"/>
                  <a:gd name="T3" fmla="*/ 0 h 14"/>
                  <a:gd name="T4" fmla="*/ 4 w 14"/>
                  <a:gd name="T5" fmla="*/ 2 h 14"/>
                  <a:gd name="T6" fmla="*/ 4 w 14"/>
                  <a:gd name="T7" fmla="*/ 2 h 14"/>
                  <a:gd name="T8" fmla="*/ 2 w 14"/>
                  <a:gd name="T9" fmla="*/ 2 h 14"/>
                  <a:gd name="T10" fmla="*/ 2 w 14"/>
                  <a:gd name="T11" fmla="*/ 2 h 14"/>
                  <a:gd name="T12" fmla="*/ 2 w 14"/>
                  <a:gd name="T13" fmla="*/ 2 h 14"/>
                  <a:gd name="T14" fmla="*/ 0 w 14"/>
                  <a:gd name="T15" fmla="*/ 2 h 14"/>
                  <a:gd name="T16" fmla="*/ 0 w 14"/>
                  <a:gd name="T17" fmla="*/ 2 h 14"/>
                  <a:gd name="T18" fmla="*/ 0 w 14"/>
                  <a:gd name="T19" fmla="*/ 4 h 14"/>
                  <a:gd name="T20" fmla="*/ 2 w 14"/>
                  <a:gd name="T21" fmla="*/ 6 h 14"/>
                  <a:gd name="T22" fmla="*/ 2 w 14"/>
                  <a:gd name="T23" fmla="*/ 6 h 14"/>
                  <a:gd name="T24" fmla="*/ 2 w 14"/>
                  <a:gd name="T25" fmla="*/ 6 h 14"/>
                  <a:gd name="T26" fmla="*/ 4 w 14"/>
                  <a:gd name="T27" fmla="*/ 10 h 14"/>
                  <a:gd name="T28" fmla="*/ 6 w 14"/>
                  <a:gd name="T29" fmla="*/ 10 h 14"/>
                  <a:gd name="T30" fmla="*/ 8 w 14"/>
                  <a:gd name="T31" fmla="*/ 12 h 14"/>
                  <a:gd name="T32" fmla="*/ 8 w 14"/>
                  <a:gd name="T33" fmla="*/ 12 h 14"/>
                  <a:gd name="T34" fmla="*/ 10 w 14"/>
                  <a:gd name="T35" fmla="*/ 12 h 14"/>
                  <a:gd name="T36" fmla="*/ 12 w 14"/>
                  <a:gd name="T37" fmla="*/ 14 h 14"/>
                  <a:gd name="T38" fmla="*/ 14 w 14"/>
                  <a:gd name="T39" fmla="*/ 14 h 14"/>
                  <a:gd name="T40" fmla="*/ 14 w 14"/>
                  <a:gd name="T41" fmla="*/ 12 h 14"/>
                  <a:gd name="T42" fmla="*/ 14 w 14"/>
                  <a:gd name="T43" fmla="*/ 12 h 14"/>
                  <a:gd name="T44" fmla="*/ 14 w 14"/>
                  <a:gd name="T45" fmla="*/ 12 h 14"/>
                  <a:gd name="T46" fmla="*/ 14 w 14"/>
                  <a:gd name="T47" fmla="*/ 12 h 14"/>
                  <a:gd name="T48" fmla="*/ 14 w 14"/>
                  <a:gd name="T49" fmla="*/ 10 h 14"/>
                  <a:gd name="T50" fmla="*/ 14 w 14"/>
                  <a:gd name="T51" fmla="*/ 8 h 14"/>
                  <a:gd name="T52" fmla="*/ 12 w 14"/>
                  <a:gd name="T53" fmla="*/ 8 h 14"/>
                  <a:gd name="T54" fmla="*/ 12 w 14"/>
                  <a:gd name="T55" fmla="*/ 8 h 14"/>
                  <a:gd name="T56" fmla="*/ 12 w 14"/>
                  <a:gd name="T57" fmla="*/ 6 h 14"/>
                  <a:gd name="T58" fmla="*/ 10 w 14"/>
                  <a:gd name="T59" fmla="*/ 4 h 14"/>
                  <a:gd name="T60" fmla="*/ 10 w 14"/>
                  <a:gd name="T61" fmla="*/ 4 h 14"/>
                  <a:gd name="T62" fmla="*/ 8 w 14"/>
                  <a:gd name="T63" fmla="*/ 2 h 14"/>
                  <a:gd name="T64" fmla="*/ 8 w 14"/>
                  <a:gd name="T65" fmla="*/ 0 h 14"/>
                  <a:gd name="T66" fmla="*/ 8 w 14"/>
                  <a:gd name="T67" fmla="*/ 0 h 14"/>
                  <a:gd name="T68" fmla="*/ 8 w 14"/>
                  <a:gd name="T69" fmla="*/ 0 h 14"/>
                  <a:gd name="T70" fmla="*/ 6 w 14"/>
                  <a:gd name="T71" fmla="*/ 0 h 14"/>
                  <a:gd name="T72" fmla="*/ 4 w 14"/>
                  <a:gd name="T73" fmla="*/ 0 h 14"/>
                  <a:gd name="T74" fmla="*/ 4 w 14"/>
                  <a:gd name="T75" fmla="*/ 0 h 14"/>
                  <a:gd name="T76" fmla="*/ 4 w 14"/>
                  <a:gd name="T77" fmla="*/ 0 h 14"/>
                  <a:gd name="T78" fmla="*/ 4 w 14"/>
                  <a:gd name="T79" fmla="*/ 0 h 14"/>
                  <a:gd name="T80" fmla="*/ 4 w 14"/>
                  <a:gd name="T81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4" h="14">
                    <a:moveTo>
                      <a:pt x="4" y="0"/>
                    </a:moveTo>
                    <a:lnTo>
                      <a:pt x="4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0" y="12"/>
                    </a:lnTo>
                    <a:lnTo>
                      <a:pt x="12" y="14"/>
                    </a:lnTo>
                    <a:lnTo>
                      <a:pt x="14" y="14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0"/>
                    </a:lnTo>
                    <a:lnTo>
                      <a:pt x="14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6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8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71" name="Freeform 79"/>
              <p:cNvSpPr>
                <a:spLocks/>
              </p:cNvSpPr>
              <p:nvPr/>
            </p:nvSpPr>
            <p:spPr bwMode="auto">
              <a:xfrm>
                <a:off x="1643" y="1748"/>
                <a:ext cx="22" cy="18"/>
              </a:xfrm>
              <a:custGeom>
                <a:avLst/>
                <a:gdLst>
                  <a:gd name="T0" fmla="*/ 14 w 22"/>
                  <a:gd name="T1" fmla="*/ 2 h 18"/>
                  <a:gd name="T2" fmla="*/ 14 w 22"/>
                  <a:gd name="T3" fmla="*/ 0 h 18"/>
                  <a:gd name="T4" fmla="*/ 12 w 22"/>
                  <a:gd name="T5" fmla="*/ 0 h 18"/>
                  <a:gd name="T6" fmla="*/ 12 w 22"/>
                  <a:gd name="T7" fmla="*/ 2 h 18"/>
                  <a:gd name="T8" fmla="*/ 10 w 22"/>
                  <a:gd name="T9" fmla="*/ 2 h 18"/>
                  <a:gd name="T10" fmla="*/ 6 w 22"/>
                  <a:gd name="T11" fmla="*/ 6 h 18"/>
                  <a:gd name="T12" fmla="*/ 4 w 22"/>
                  <a:gd name="T13" fmla="*/ 10 h 18"/>
                  <a:gd name="T14" fmla="*/ 0 w 22"/>
                  <a:gd name="T15" fmla="*/ 12 h 18"/>
                  <a:gd name="T16" fmla="*/ 4 w 22"/>
                  <a:gd name="T17" fmla="*/ 12 h 18"/>
                  <a:gd name="T18" fmla="*/ 4 w 22"/>
                  <a:gd name="T19" fmla="*/ 14 h 18"/>
                  <a:gd name="T20" fmla="*/ 4 w 22"/>
                  <a:gd name="T21" fmla="*/ 16 h 18"/>
                  <a:gd name="T22" fmla="*/ 4 w 22"/>
                  <a:gd name="T23" fmla="*/ 18 h 18"/>
                  <a:gd name="T24" fmla="*/ 6 w 22"/>
                  <a:gd name="T25" fmla="*/ 18 h 18"/>
                  <a:gd name="T26" fmla="*/ 8 w 22"/>
                  <a:gd name="T27" fmla="*/ 16 h 18"/>
                  <a:gd name="T28" fmla="*/ 8 w 22"/>
                  <a:gd name="T29" fmla="*/ 16 h 18"/>
                  <a:gd name="T30" fmla="*/ 8 w 22"/>
                  <a:gd name="T31" fmla="*/ 18 h 18"/>
                  <a:gd name="T32" fmla="*/ 10 w 22"/>
                  <a:gd name="T33" fmla="*/ 18 h 18"/>
                  <a:gd name="T34" fmla="*/ 10 w 22"/>
                  <a:gd name="T35" fmla="*/ 18 h 18"/>
                  <a:gd name="T36" fmla="*/ 10 w 22"/>
                  <a:gd name="T37" fmla="*/ 16 h 18"/>
                  <a:gd name="T38" fmla="*/ 14 w 22"/>
                  <a:gd name="T39" fmla="*/ 14 h 18"/>
                  <a:gd name="T40" fmla="*/ 16 w 22"/>
                  <a:gd name="T41" fmla="*/ 12 h 18"/>
                  <a:gd name="T42" fmla="*/ 20 w 22"/>
                  <a:gd name="T43" fmla="*/ 10 h 18"/>
                  <a:gd name="T44" fmla="*/ 20 w 22"/>
                  <a:gd name="T45" fmla="*/ 10 h 18"/>
                  <a:gd name="T46" fmla="*/ 20 w 22"/>
                  <a:gd name="T47" fmla="*/ 8 h 18"/>
                  <a:gd name="T48" fmla="*/ 20 w 22"/>
                  <a:gd name="T49" fmla="*/ 6 h 18"/>
                  <a:gd name="T50" fmla="*/ 20 w 22"/>
                  <a:gd name="T51" fmla="*/ 4 h 18"/>
                  <a:gd name="T52" fmla="*/ 22 w 22"/>
                  <a:gd name="T53" fmla="*/ 2 h 18"/>
                  <a:gd name="T54" fmla="*/ 22 w 22"/>
                  <a:gd name="T55" fmla="*/ 2 h 18"/>
                  <a:gd name="T56" fmla="*/ 20 w 22"/>
                  <a:gd name="T57" fmla="*/ 0 h 18"/>
                  <a:gd name="T58" fmla="*/ 18 w 22"/>
                  <a:gd name="T59" fmla="*/ 0 h 18"/>
                  <a:gd name="T60" fmla="*/ 16 w 22"/>
                  <a:gd name="T61" fmla="*/ 2 h 18"/>
                  <a:gd name="T62" fmla="*/ 14 w 22"/>
                  <a:gd name="T63" fmla="*/ 2 h 18"/>
                  <a:gd name="T64" fmla="*/ 14 w 22"/>
                  <a:gd name="T65" fmla="*/ 2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2" h="18">
                    <a:moveTo>
                      <a:pt x="14" y="2"/>
                    </a:moveTo>
                    <a:lnTo>
                      <a:pt x="14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8" y="4"/>
                    </a:lnTo>
                    <a:lnTo>
                      <a:pt x="6" y="6"/>
                    </a:lnTo>
                    <a:lnTo>
                      <a:pt x="4" y="8"/>
                    </a:lnTo>
                    <a:lnTo>
                      <a:pt x="4" y="10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6" y="18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2" y="14"/>
                    </a:lnTo>
                    <a:lnTo>
                      <a:pt x="14" y="14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8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4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72" name="Freeform 82"/>
              <p:cNvSpPr>
                <a:spLocks/>
              </p:cNvSpPr>
              <p:nvPr/>
            </p:nvSpPr>
            <p:spPr bwMode="auto">
              <a:xfrm>
                <a:off x="1653" y="1736"/>
                <a:ext cx="6" cy="6"/>
              </a:xfrm>
              <a:custGeom>
                <a:avLst/>
                <a:gdLst>
                  <a:gd name="T0" fmla="*/ 2 w 6"/>
                  <a:gd name="T1" fmla="*/ 0 h 6"/>
                  <a:gd name="T2" fmla="*/ 2 w 6"/>
                  <a:gd name="T3" fmla="*/ 0 h 6"/>
                  <a:gd name="T4" fmla="*/ 0 w 6"/>
                  <a:gd name="T5" fmla="*/ 2 h 6"/>
                  <a:gd name="T6" fmla="*/ 0 w 6"/>
                  <a:gd name="T7" fmla="*/ 2 h 6"/>
                  <a:gd name="T8" fmla="*/ 0 w 6"/>
                  <a:gd name="T9" fmla="*/ 4 h 6"/>
                  <a:gd name="T10" fmla="*/ 0 w 6"/>
                  <a:gd name="T11" fmla="*/ 4 h 6"/>
                  <a:gd name="T12" fmla="*/ 0 w 6"/>
                  <a:gd name="T13" fmla="*/ 4 h 6"/>
                  <a:gd name="T14" fmla="*/ 0 w 6"/>
                  <a:gd name="T15" fmla="*/ 4 h 6"/>
                  <a:gd name="T16" fmla="*/ 2 w 6"/>
                  <a:gd name="T17" fmla="*/ 4 h 6"/>
                  <a:gd name="T18" fmla="*/ 2 w 6"/>
                  <a:gd name="T19" fmla="*/ 6 h 6"/>
                  <a:gd name="T20" fmla="*/ 2 w 6"/>
                  <a:gd name="T21" fmla="*/ 6 h 6"/>
                  <a:gd name="T22" fmla="*/ 4 w 6"/>
                  <a:gd name="T23" fmla="*/ 6 h 6"/>
                  <a:gd name="T24" fmla="*/ 4 w 6"/>
                  <a:gd name="T25" fmla="*/ 6 h 6"/>
                  <a:gd name="T26" fmla="*/ 4 w 6"/>
                  <a:gd name="T27" fmla="*/ 6 h 6"/>
                  <a:gd name="T28" fmla="*/ 4 w 6"/>
                  <a:gd name="T29" fmla="*/ 6 h 6"/>
                  <a:gd name="T30" fmla="*/ 6 w 6"/>
                  <a:gd name="T31" fmla="*/ 6 h 6"/>
                  <a:gd name="T32" fmla="*/ 6 w 6"/>
                  <a:gd name="T33" fmla="*/ 6 h 6"/>
                  <a:gd name="T34" fmla="*/ 6 w 6"/>
                  <a:gd name="T35" fmla="*/ 4 h 6"/>
                  <a:gd name="T36" fmla="*/ 6 w 6"/>
                  <a:gd name="T37" fmla="*/ 2 h 6"/>
                  <a:gd name="T38" fmla="*/ 6 w 6"/>
                  <a:gd name="T39" fmla="*/ 2 h 6"/>
                  <a:gd name="T40" fmla="*/ 6 w 6"/>
                  <a:gd name="T41" fmla="*/ 2 h 6"/>
                  <a:gd name="T42" fmla="*/ 6 w 6"/>
                  <a:gd name="T43" fmla="*/ 0 h 6"/>
                  <a:gd name="T44" fmla="*/ 6 w 6"/>
                  <a:gd name="T45" fmla="*/ 0 h 6"/>
                  <a:gd name="T46" fmla="*/ 6 w 6"/>
                  <a:gd name="T47" fmla="*/ 0 h 6"/>
                  <a:gd name="T48" fmla="*/ 4 w 6"/>
                  <a:gd name="T49" fmla="*/ 0 h 6"/>
                  <a:gd name="T50" fmla="*/ 4 w 6"/>
                  <a:gd name="T51" fmla="*/ 0 h 6"/>
                  <a:gd name="T52" fmla="*/ 4 w 6"/>
                  <a:gd name="T53" fmla="*/ 0 h 6"/>
                  <a:gd name="T54" fmla="*/ 2 w 6"/>
                  <a:gd name="T55" fmla="*/ 0 h 6"/>
                  <a:gd name="T56" fmla="*/ 2 w 6"/>
                  <a:gd name="T57" fmla="*/ 0 h 6"/>
                  <a:gd name="T58" fmla="*/ 2 w 6"/>
                  <a:gd name="T59" fmla="*/ 0 h 6"/>
                  <a:gd name="T60" fmla="*/ 2 w 6"/>
                  <a:gd name="T61" fmla="*/ 0 h 6"/>
                  <a:gd name="T62" fmla="*/ 2 w 6"/>
                  <a:gd name="T63" fmla="*/ 0 h 6"/>
                  <a:gd name="T64" fmla="*/ 2 w 6"/>
                  <a:gd name="T6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6" h="6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73" name="Freeform 83"/>
              <p:cNvSpPr>
                <a:spLocks/>
              </p:cNvSpPr>
              <p:nvPr/>
            </p:nvSpPr>
            <p:spPr bwMode="auto">
              <a:xfrm>
                <a:off x="1601" y="1822"/>
                <a:ext cx="12" cy="16"/>
              </a:xfrm>
              <a:custGeom>
                <a:avLst/>
                <a:gdLst>
                  <a:gd name="T0" fmla="*/ 0 w 12"/>
                  <a:gd name="T1" fmla="*/ 2 h 16"/>
                  <a:gd name="T2" fmla="*/ 0 w 12"/>
                  <a:gd name="T3" fmla="*/ 2 h 16"/>
                  <a:gd name="T4" fmla="*/ 0 w 12"/>
                  <a:gd name="T5" fmla="*/ 4 h 16"/>
                  <a:gd name="T6" fmla="*/ 2 w 12"/>
                  <a:gd name="T7" fmla="*/ 4 h 16"/>
                  <a:gd name="T8" fmla="*/ 2 w 12"/>
                  <a:gd name="T9" fmla="*/ 8 h 16"/>
                  <a:gd name="T10" fmla="*/ 2 w 12"/>
                  <a:gd name="T11" fmla="*/ 8 h 16"/>
                  <a:gd name="T12" fmla="*/ 2 w 12"/>
                  <a:gd name="T13" fmla="*/ 10 h 16"/>
                  <a:gd name="T14" fmla="*/ 2 w 12"/>
                  <a:gd name="T15" fmla="*/ 10 h 16"/>
                  <a:gd name="T16" fmla="*/ 4 w 12"/>
                  <a:gd name="T17" fmla="*/ 12 h 16"/>
                  <a:gd name="T18" fmla="*/ 4 w 12"/>
                  <a:gd name="T19" fmla="*/ 12 h 16"/>
                  <a:gd name="T20" fmla="*/ 6 w 12"/>
                  <a:gd name="T21" fmla="*/ 14 h 16"/>
                  <a:gd name="T22" fmla="*/ 8 w 12"/>
                  <a:gd name="T23" fmla="*/ 16 h 16"/>
                  <a:gd name="T24" fmla="*/ 8 w 12"/>
                  <a:gd name="T25" fmla="*/ 16 h 16"/>
                  <a:gd name="T26" fmla="*/ 10 w 12"/>
                  <a:gd name="T27" fmla="*/ 16 h 16"/>
                  <a:gd name="T28" fmla="*/ 10 w 12"/>
                  <a:gd name="T29" fmla="*/ 16 h 16"/>
                  <a:gd name="T30" fmla="*/ 12 w 12"/>
                  <a:gd name="T31" fmla="*/ 14 h 16"/>
                  <a:gd name="T32" fmla="*/ 12 w 12"/>
                  <a:gd name="T33" fmla="*/ 14 h 16"/>
                  <a:gd name="T34" fmla="*/ 12 w 12"/>
                  <a:gd name="T35" fmla="*/ 12 h 16"/>
                  <a:gd name="T36" fmla="*/ 12 w 12"/>
                  <a:gd name="T37" fmla="*/ 6 h 16"/>
                  <a:gd name="T38" fmla="*/ 10 w 12"/>
                  <a:gd name="T39" fmla="*/ 4 h 16"/>
                  <a:gd name="T40" fmla="*/ 8 w 12"/>
                  <a:gd name="T41" fmla="*/ 2 h 16"/>
                  <a:gd name="T42" fmla="*/ 8 w 12"/>
                  <a:gd name="T43" fmla="*/ 2 h 16"/>
                  <a:gd name="T44" fmla="*/ 8 w 12"/>
                  <a:gd name="T45" fmla="*/ 2 h 16"/>
                  <a:gd name="T46" fmla="*/ 6 w 12"/>
                  <a:gd name="T47" fmla="*/ 0 h 16"/>
                  <a:gd name="T48" fmla="*/ 6 w 12"/>
                  <a:gd name="T49" fmla="*/ 0 h 16"/>
                  <a:gd name="T50" fmla="*/ 4 w 12"/>
                  <a:gd name="T51" fmla="*/ 0 h 16"/>
                  <a:gd name="T52" fmla="*/ 4 w 12"/>
                  <a:gd name="T53" fmla="*/ 0 h 16"/>
                  <a:gd name="T54" fmla="*/ 2 w 12"/>
                  <a:gd name="T55" fmla="*/ 0 h 16"/>
                  <a:gd name="T56" fmla="*/ 2 w 12"/>
                  <a:gd name="T57" fmla="*/ 2 h 16"/>
                  <a:gd name="T58" fmla="*/ 2 w 12"/>
                  <a:gd name="T59" fmla="*/ 2 h 16"/>
                  <a:gd name="T60" fmla="*/ 0 w 12"/>
                  <a:gd name="T61" fmla="*/ 2 h 16"/>
                  <a:gd name="T62" fmla="*/ 0 w 12"/>
                  <a:gd name="T63" fmla="*/ 2 h 16"/>
                  <a:gd name="T64" fmla="*/ 0 w 12"/>
                  <a:gd name="T65" fmla="*/ 2 h 16"/>
                  <a:gd name="T66" fmla="*/ 0 w 12"/>
                  <a:gd name="T67" fmla="*/ 2 h 16"/>
                  <a:gd name="T68" fmla="*/ 0 w 12"/>
                  <a:gd name="T69" fmla="*/ 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2" h="16">
                    <a:moveTo>
                      <a:pt x="0" y="2"/>
                    </a:moveTo>
                    <a:lnTo>
                      <a:pt x="0" y="2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2"/>
                    </a:lnTo>
                    <a:lnTo>
                      <a:pt x="12" y="6"/>
                    </a:lnTo>
                    <a:lnTo>
                      <a:pt x="10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74" name="Freeform 85"/>
              <p:cNvSpPr>
                <a:spLocks/>
              </p:cNvSpPr>
              <p:nvPr/>
            </p:nvSpPr>
            <p:spPr bwMode="auto">
              <a:xfrm>
                <a:off x="1613" y="1852"/>
                <a:ext cx="8" cy="4"/>
              </a:xfrm>
              <a:custGeom>
                <a:avLst/>
                <a:gdLst>
                  <a:gd name="T0" fmla="*/ 2 w 8"/>
                  <a:gd name="T1" fmla="*/ 4 h 4"/>
                  <a:gd name="T2" fmla="*/ 2 w 8"/>
                  <a:gd name="T3" fmla="*/ 4 h 4"/>
                  <a:gd name="T4" fmla="*/ 4 w 8"/>
                  <a:gd name="T5" fmla="*/ 4 h 4"/>
                  <a:gd name="T6" fmla="*/ 4 w 8"/>
                  <a:gd name="T7" fmla="*/ 4 h 4"/>
                  <a:gd name="T8" fmla="*/ 6 w 8"/>
                  <a:gd name="T9" fmla="*/ 4 h 4"/>
                  <a:gd name="T10" fmla="*/ 8 w 8"/>
                  <a:gd name="T11" fmla="*/ 2 h 4"/>
                  <a:gd name="T12" fmla="*/ 8 w 8"/>
                  <a:gd name="T13" fmla="*/ 2 h 4"/>
                  <a:gd name="T14" fmla="*/ 8 w 8"/>
                  <a:gd name="T15" fmla="*/ 2 h 4"/>
                  <a:gd name="T16" fmla="*/ 8 w 8"/>
                  <a:gd name="T17" fmla="*/ 2 h 4"/>
                  <a:gd name="T18" fmla="*/ 8 w 8"/>
                  <a:gd name="T19" fmla="*/ 0 h 4"/>
                  <a:gd name="T20" fmla="*/ 8 w 8"/>
                  <a:gd name="T21" fmla="*/ 0 h 4"/>
                  <a:gd name="T22" fmla="*/ 6 w 8"/>
                  <a:gd name="T23" fmla="*/ 0 h 4"/>
                  <a:gd name="T24" fmla="*/ 4 w 8"/>
                  <a:gd name="T25" fmla="*/ 0 h 4"/>
                  <a:gd name="T26" fmla="*/ 4 w 8"/>
                  <a:gd name="T27" fmla="*/ 0 h 4"/>
                  <a:gd name="T28" fmla="*/ 2 w 8"/>
                  <a:gd name="T29" fmla="*/ 0 h 4"/>
                  <a:gd name="T30" fmla="*/ 0 w 8"/>
                  <a:gd name="T31" fmla="*/ 2 h 4"/>
                  <a:gd name="T32" fmla="*/ 0 w 8"/>
                  <a:gd name="T33" fmla="*/ 2 h 4"/>
                  <a:gd name="T34" fmla="*/ 0 w 8"/>
                  <a:gd name="T35" fmla="*/ 2 h 4"/>
                  <a:gd name="T36" fmla="*/ 0 w 8"/>
                  <a:gd name="T37" fmla="*/ 2 h 4"/>
                  <a:gd name="T38" fmla="*/ 2 w 8"/>
                  <a:gd name="T39" fmla="*/ 4 h 4"/>
                  <a:gd name="T40" fmla="*/ 2 w 8"/>
                  <a:gd name="T41" fmla="*/ 4 h 4"/>
                  <a:gd name="T42" fmla="*/ 2 w 8"/>
                  <a:gd name="T43" fmla="*/ 4 h 4"/>
                  <a:gd name="T44" fmla="*/ 2 w 8"/>
                  <a:gd name="T45" fmla="*/ 4 h 4"/>
                  <a:gd name="T46" fmla="*/ 2 w 8"/>
                  <a:gd name="T4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8" h="4">
                    <a:moveTo>
                      <a:pt x="2" y="4"/>
                    </a:moveTo>
                    <a:lnTo>
                      <a:pt x="2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75" name="Freeform 87"/>
              <p:cNvSpPr>
                <a:spLocks/>
              </p:cNvSpPr>
              <p:nvPr/>
            </p:nvSpPr>
            <p:spPr bwMode="auto">
              <a:xfrm>
                <a:off x="1635" y="1410"/>
                <a:ext cx="4" cy="6"/>
              </a:xfrm>
              <a:custGeom>
                <a:avLst/>
                <a:gdLst>
                  <a:gd name="T0" fmla="*/ 0 w 4"/>
                  <a:gd name="T1" fmla="*/ 2 h 6"/>
                  <a:gd name="T2" fmla="*/ 0 w 4"/>
                  <a:gd name="T3" fmla="*/ 2 h 6"/>
                  <a:gd name="T4" fmla="*/ 0 w 4"/>
                  <a:gd name="T5" fmla="*/ 2 h 6"/>
                  <a:gd name="T6" fmla="*/ 0 w 4"/>
                  <a:gd name="T7" fmla="*/ 4 h 6"/>
                  <a:gd name="T8" fmla="*/ 0 w 4"/>
                  <a:gd name="T9" fmla="*/ 4 h 6"/>
                  <a:gd name="T10" fmla="*/ 0 w 4"/>
                  <a:gd name="T11" fmla="*/ 4 h 6"/>
                  <a:gd name="T12" fmla="*/ 2 w 4"/>
                  <a:gd name="T13" fmla="*/ 6 h 6"/>
                  <a:gd name="T14" fmla="*/ 2 w 4"/>
                  <a:gd name="T15" fmla="*/ 6 h 6"/>
                  <a:gd name="T16" fmla="*/ 2 w 4"/>
                  <a:gd name="T17" fmla="*/ 6 h 6"/>
                  <a:gd name="T18" fmla="*/ 2 w 4"/>
                  <a:gd name="T19" fmla="*/ 6 h 6"/>
                  <a:gd name="T20" fmla="*/ 2 w 4"/>
                  <a:gd name="T21" fmla="*/ 6 h 6"/>
                  <a:gd name="T22" fmla="*/ 4 w 4"/>
                  <a:gd name="T23" fmla="*/ 4 h 6"/>
                  <a:gd name="T24" fmla="*/ 4 w 4"/>
                  <a:gd name="T25" fmla="*/ 4 h 6"/>
                  <a:gd name="T26" fmla="*/ 4 w 4"/>
                  <a:gd name="T27" fmla="*/ 2 h 6"/>
                  <a:gd name="T28" fmla="*/ 4 w 4"/>
                  <a:gd name="T29" fmla="*/ 2 h 6"/>
                  <a:gd name="T30" fmla="*/ 4 w 4"/>
                  <a:gd name="T31" fmla="*/ 0 h 6"/>
                  <a:gd name="T32" fmla="*/ 4 w 4"/>
                  <a:gd name="T33" fmla="*/ 0 h 6"/>
                  <a:gd name="T34" fmla="*/ 2 w 4"/>
                  <a:gd name="T35" fmla="*/ 0 h 6"/>
                  <a:gd name="T36" fmla="*/ 2 w 4"/>
                  <a:gd name="T37" fmla="*/ 0 h 6"/>
                  <a:gd name="T38" fmla="*/ 0 w 4"/>
                  <a:gd name="T39" fmla="*/ 0 h 6"/>
                  <a:gd name="T40" fmla="*/ 0 w 4"/>
                  <a:gd name="T41" fmla="*/ 2 h 6"/>
                  <a:gd name="T42" fmla="*/ 0 w 4"/>
                  <a:gd name="T43" fmla="*/ 2 h 6"/>
                  <a:gd name="T44" fmla="*/ 0 w 4"/>
                  <a:gd name="T45" fmla="*/ 2 h 6"/>
                  <a:gd name="T46" fmla="*/ 0 w 4"/>
                  <a:gd name="T47" fmla="*/ 2 h 6"/>
                  <a:gd name="T48" fmla="*/ 0 w 4"/>
                  <a:gd name="T49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" h="6">
                    <a:moveTo>
                      <a:pt x="0" y="2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76" name="Freeform 88"/>
              <p:cNvSpPr>
                <a:spLocks/>
              </p:cNvSpPr>
              <p:nvPr/>
            </p:nvSpPr>
            <p:spPr bwMode="auto">
              <a:xfrm>
                <a:off x="1635" y="1410"/>
                <a:ext cx="4" cy="6"/>
              </a:xfrm>
              <a:custGeom>
                <a:avLst/>
                <a:gdLst>
                  <a:gd name="T0" fmla="*/ 0 w 4"/>
                  <a:gd name="T1" fmla="*/ 2 h 6"/>
                  <a:gd name="T2" fmla="*/ 0 w 4"/>
                  <a:gd name="T3" fmla="*/ 2 h 6"/>
                  <a:gd name="T4" fmla="*/ 0 w 4"/>
                  <a:gd name="T5" fmla="*/ 2 h 6"/>
                  <a:gd name="T6" fmla="*/ 0 w 4"/>
                  <a:gd name="T7" fmla="*/ 4 h 6"/>
                  <a:gd name="T8" fmla="*/ 0 w 4"/>
                  <a:gd name="T9" fmla="*/ 4 h 6"/>
                  <a:gd name="T10" fmla="*/ 0 w 4"/>
                  <a:gd name="T11" fmla="*/ 4 h 6"/>
                  <a:gd name="T12" fmla="*/ 2 w 4"/>
                  <a:gd name="T13" fmla="*/ 6 h 6"/>
                  <a:gd name="T14" fmla="*/ 2 w 4"/>
                  <a:gd name="T15" fmla="*/ 6 h 6"/>
                  <a:gd name="T16" fmla="*/ 2 w 4"/>
                  <a:gd name="T17" fmla="*/ 6 h 6"/>
                  <a:gd name="T18" fmla="*/ 2 w 4"/>
                  <a:gd name="T19" fmla="*/ 6 h 6"/>
                  <a:gd name="T20" fmla="*/ 2 w 4"/>
                  <a:gd name="T21" fmla="*/ 6 h 6"/>
                  <a:gd name="T22" fmla="*/ 4 w 4"/>
                  <a:gd name="T23" fmla="*/ 4 h 6"/>
                  <a:gd name="T24" fmla="*/ 4 w 4"/>
                  <a:gd name="T25" fmla="*/ 4 h 6"/>
                  <a:gd name="T26" fmla="*/ 4 w 4"/>
                  <a:gd name="T27" fmla="*/ 2 h 6"/>
                  <a:gd name="T28" fmla="*/ 4 w 4"/>
                  <a:gd name="T29" fmla="*/ 2 h 6"/>
                  <a:gd name="T30" fmla="*/ 4 w 4"/>
                  <a:gd name="T31" fmla="*/ 0 h 6"/>
                  <a:gd name="T32" fmla="*/ 4 w 4"/>
                  <a:gd name="T33" fmla="*/ 0 h 6"/>
                  <a:gd name="T34" fmla="*/ 2 w 4"/>
                  <a:gd name="T35" fmla="*/ 0 h 6"/>
                  <a:gd name="T36" fmla="*/ 2 w 4"/>
                  <a:gd name="T37" fmla="*/ 0 h 6"/>
                  <a:gd name="T38" fmla="*/ 0 w 4"/>
                  <a:gd name="T39" fmla="*/ 0 h 6"/>
                  <a:gd name="T40" fmla="*/ 0 w 4"/>
                  <a:gd name="T41" fmla="*/ 2 h 6"/>
                  <a:gd name="T42" fmla="*/ 0 w 4"/>
                  <a:gd name="T43" fmla="*/ 2 h 6"/>
                  <a:gd name="T44" fmla="*/ 0 w 4"/>
                  <a:gd name="T45" fmla="*/ 2 h 6"/>
                  <a:gd name="T46" fmla="*/ 0 w 4"/>
                  <a:gd name="T47" fmla="*/ 2 h 6"/>
                  <a:gd name="T48" fmla="*/ 0 w 4"/>
                  <a:gd name="T49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" h="6">
                    <a:moveTo>
                      <a:pt x="0" y="2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77" name="Freeform 89"/>
              <p:cNvSpPr>
                <a:spLocks/>
              </p:cNvSpPr>
              <p:nvPr/>
            </p:nvSpPr>
            <p:spPr bwMode="auto">
              <a:xfrm>
                <a:off x="1529" y="1370"/>
                <a:ext cx="40" cy="38"/>
              </a:xfrm>
              <a:custGeom>
                <a:avLst/>
                <a:gdLst>
                  <a:gd name="T0" fmla="*/ 20 w 40"/>
                  <a:gd name="T1" fmla="*/ 0 h 38"/>
                  <a:gd name="T2" fmla="*/ 18 w 40"/>
                  <a:gd name="T3" fmla="*/ 2 h 38"/>
                  <a:gd name="T4" fmla="*/ 16 w 40"/>
                  <a:gd name="T5" fmla="*/ 4 h 38"/>
                  <a:gd name="T6" fmla="*/ 16 w 40"/>
                  <a:gd name="T7" fmla="*/ 6 h 38"/>
                  <a:gd name="T8" fmla="*/ 14 w 40"/>
                  <a:gd name="T9" fmla="*/ 8 h 38"/>
                  <a:gd name="T10" fmla="*/ 14 w 40"/>
                  <a:gd name="T11" fmla="*/ 12 h 38"/>
                  <a:gd name="T12" fmla="*/ 12 w 40"/>
                  <a:gd name="T13" fmla="*/ 12 h 38"/>
                  <a:gd name="T14" fmla="*/ 8 w 40"/>
                  <a:gd name="T15" fmla="*/ 14 h 38"/>
                  <a:gd name="T16" fmla="*/ 8 w 40"/>
                  <a:gd name="T17" fmla="*/ 14 h 38"/>
                  <a:gd name="T18" fmla="*/ 2 w 40"/>
                  <a:gd name="T19" fmla="*/ 14 h 38"/>
                  <a:gd name="T20" fmla="*/ 0 w 40"/>
                  <a:gd name="T21" fmla="*/ 16 h 38"/>
                  <a:gd name="T22" fmla="*/ 0 w 40"/>
                  <a:gd name="T23" fmla="*/ 16 h 38"/>
                  <a:gd name="T24" fmla="*/ 0 w 40"/>
                  <a:gd name="T25" fmla="*/ 18 h 38"/>
                  <a:gd name="T26" fmla="*/ 2 w 40"/>
                  <a:gd name="T27" fmla="*/ 22 h 38"/>
                  <a:gd name="T28" fmla="*/ 2 w 40"/>
                  <a:gd name="T29" fmla="*/ 22 h 38"/>
                  <a:gd name="T30" fmla="*/ 6 w 40"/>
                  <a:gd name="T31" fmla="*/ 24 h 38"/>
                  <a:gd name="T32" fmla="*/ 8 w 40"/>
                  <a:gd name="T33" fmla="*/ 24 h 38"/>
                  <a:gd name="T34" fmla="*/ 10 w 40"/>
                  <a:gd name="T35" fmla="*/ 24 h 38"/>
                  <a:gd name="T36" fmla="*/ 12 w 40"/>
                  <a:gd name="T37" fmla="*/ 26 h 38"/>
                  <a:gd name="T38" fmla="*/ 12 w 40"/>
                  <a:gd name="T39" fmla="*/ 28 h 38"/>
                  <a:gd name="T40" fmla="*/ 14 w 40"/>
                  <a:gd name="T41" fmla="*/ 32 h 38"/>
                  <a:gd name="T42" fmla="*/ 16 w 40"/>
                  <a:gd name="T43" fmla="*/ 32 h 38"/>
                  <a:gd name="T44" fmla="*/ 18 w 40"/>
                  <a:gd name="T45" fmla="*/ 32 h 38"/>
                  <a:gd name="T46" fmla="*/ 20 w 40"/>
                  <a:gd name="T47" fmla="*/ 32 h 38"/>
                  <a:gd name="T48" fmla="*/ 22 w 40"/>
                  <a:gd name="T49" fmla="*/ 32 h 38"/>
                  <a:gd name="T50" fmla="*/ 24 w 40"/>
                  <a:gd name="T51" fmla="*/ 34 h 38"/>
                  <a:gd name="T52" fmla="*/ 26 w 40"/>
                  <a:gd name="T53" fmla="*/ 38 h 38"/>
                  <a:gd name="T54" fmla="*/ 28 w 40"/>
                  <a:gd name="T55" fmla="*/ 38 h 38"/>
                  <a:gd name="T56" fmla="*/ 36 w 40"/>
                  <a:gd name="T57" fmla="*/ 38 h 38"/>
                  <a:gd name="T58" fmla="*/ 38 w 40"/>
                  <a:gd name="T59" fmla="*/ 38 h 38"/>
                  <a:gd name="T60" fmla="*/ 40 w 40"/>
                  <a:gd name="T61" fmla="*/ 38 h 38"/>
                  <a:gd name="T62" fmla="*/ 40 w 40"/>
                  <a:gd name="T63" fmla="*/ 36 h 38"/>
                  <a:gd name="T64" fmla="*/ 40 w 40"/>
                  <a:gd name="T65" fmla="*/ 34 h 38"/>
                  <a:gd name="T66" fmla="*/ 40 w 40"/>
                  <a:gd name="T67" fmla="*/ 30 h 38"/>
                  <a:gd name="T68" fmla="*/ 40 w 40"/>
                  <a:gd name="T69" fmla="*/ 26 h 38"/>
                  <a:gd name="T70" fmla="*/ 40 w 40"/>
                  <a:gd name="T71" fmla="*/ 24 h 38"/>
                  <a:gd name="T72" fmla="*/ 38 w 40"/>
                  <a:gd name="T73" fmla="*/ 18 h 38"/>
                  <a:gd name="T74" fmla="*/ 34 w 40"/>
                  <a:gd name="T75" fmla="*/ 12 h 38"/>
                  <a:gd name="T76" fmla="*/ 34 w 40"/>
                  <a:gd name="T77" fmla="*/ 10 h 38"/>
                  <a:gd name="T78" fmla="*/ 34 w 40"/>
                  <a:gd name="T79" fmla="*/ 6 h 38"/>
                  <a:gd name="T80" fmla="*/ 32 w 40"/>
                  <a:gd name="T81" fmla="*/ 4 h 38"/>
                  <a:gd name="T82" fmla="*/ 30 w 40"/>
                  <a:gd name="T83" fmla="*/ 0 h 38"/>
                  <a:gd name="T84" fmla="*/ 26 w 40"/>
                  <a:gd name="T85" fmla="*/ 0 h 38"/>
                  <a:gd name="T86" fmla="*/ 24 w 40"/>
                  <a:gd name="T87" fmla="*/ 0 h 38"/>
                  <a:gd name="T88" fmla="*/ 22 w 40"/>
                  <a:gd name="T89" fmla="*/ 0 h 38"/>
                  <a:gd name="T90" fmla="*/ 20 w 40"/>
                  <a:gd name="T91" fmla="*/ 0 h 38"/>
                  <a:gd name="T92" fmla="*/ 20 w 40"/>
                  <a:gd name="T93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40" h="38">
                    <a:moveTo>
                      <a:pt x="20" y="0"/>
                    </a:moveTo>
                    <a:lnTo>
                      <a:pt x="20" y="0"/>
                    </a:lnTo>
                    <a:lnTo>
                      <a:pt x="18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6" y="4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4" y="8"/>
                    </a:lnTo>
                    <a:lnTo>
                      <a:pt x="14" y="10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2" y="12"/>
                    </a:lnTo>
                    <a:lnTo>
                      <a:pt x="10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8"/>
                    </a:lnTo>
                    <a:lnTo>
                      <a:pt x="0" y="20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4" y="24"/>
                    </a:lnTo>
                    <a:lnTo>
                      <a:pt x="6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0" y="24"/>
                    </a:lnTo>
                    <a:lnTo>
                      <a:pt x="10" y="24"/>
                    </a:lnTo>
                    <a:lnTo>
                      <a:pt x="12" y="24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8"/>
                    </a:lnTo>
                    <a:lnTo>
                      <a:pt x="14" y="30"/>
                    </a:lnTo>
                    <a:lnTo>
                      <a:pt x="14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8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2" y="32"/>
                    </a:lnTo>
                    <a:lnTo>
                      <a:pt x="24" y="34"/>
                    </a:lnTo>
                    <a:lnTo>
                      <a:pt x="24" y="34"/>
                    </a:lnTo>
                    <a:lnTo>
                      <a:pt x="26" y="36"/>
                    </a:lnTo>
                    <a:lnTo>
                      <a:pt x="26" y="38"/>
                    </a:lnTo>
                    <a:lnTo>
                      <a:pt x="28" y="38"/>
                    </a:lnTo>
                    <a:lnTo>
                      <a:pt x="28" y="38"/>
                    </a:lnTo>
                    <a:lnTo>
                      <a:pt x="32" y="38"/>
                    </a:lnTo>
                    <a:lnTo>
                      <a:pt x="36" y="38"/>
                    </a:lnTo>
                    <a:lnTo>
                      <a:pt x="36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0"/>
                    </a:lnTo>
                    <a:lnTo>
                      <a:pt x="40" y="28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4"/>
                    </a:lnTo>
                    <a:lnTo>
                      <a:pt x="38" y="22"/>
                    </a:lnTo>
                    <a:lnTo>
                      <a:pt x="38" y="18"/>
                    </a:lnTo>
                    <a:lnTo>
                      <a:pt x="36" y="14"/>
                    </a:lnTo>
                    <a:lnTo>
                      <a:pt x="34" y="12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8"/>
                    </a:lnTo>
                    <a:lnTo>
                      <a:pt x="34" y="6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0" y="2"/>
                    </a:lnTo>
                    <a:lnTo>
                      <a:pt x="30" y="0"/>
                    </a:lnTo>
                    <a:lnTo>
                      <a:pt x="28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4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78" name="Freeform 90"/>
              <p:cNvSpPr>
                <a:spLocks/>
              </p:cNvSpPr>
              <p:nvPr/>
            </p:nvSpPr>
            <p:spPr bwMode="auto">
              <a:xfrm>
                <a:off x="1529" y="1370"/>
                <a:ext cx="40" cy="38"/>
              </a:xfrm>
              <a:custGeom>
                <a:avLst/>
                <a:gdLst>
                  <a:gd name="T0" fmla="*/ 20 w 40"/>
                  <a:gd name="T1" fmla="*/ 0 h 38"/>
                  <a:gd name="T2" fmla="*/ 18 w 40"/>
                  <a:gd name="T3" fmla="*/ 2 h 38"/>
                  <a:gd name="T4" fmla="*/ 16 w 40"/>
                  <a:gd name="T5" fmla="*/ 4 h 38"/>
                  <a:gd name="T6" fmla="*/ 16 w 40"/>
                  <a:gd name="T7" fmla="*/ 6 h 38"/>
                  <a:gd name="T8" fmla="*/ 14 w 40"/>
                  <a:gd name="T9" fmla="*/ 8 h 38"/>
                  <a:gd name="T10" fmla="*/ 14 w 40"/>
                  <a:gd name="T11" fmla="*/ 12 h 38"/>
                  <a:gd name="T12" fmla="*/ 12 w 40"/>
                  <a:gd name="T13" fmla="*/ 12 h 38"/>
                  <a:gd name="T14" fmla="*/ 8 w 40"/>
                  <a:gd name="T15" fmla="*/ 14 h 38"/>
                  <a:gd name="T16" fmla="*/ 8 w 40"/>
                  <a:gd name="T17" fmla="*/ 14 h 38"/>
                  <a:gd name="T18" fmla="*/ 2 w 40"/>
                  <a:gd name="T19" fmla="*/ 14 h 38"/>
                  <a:gd name="T20" fmla="*/ 0 w 40"/>
                  <a:gd name="T21" fmla="*/ 16 h 38"/>
                  <a:gd name="T22" fmla="*/ 0 w 40"/>
                  <a:gd name="T23" fmla="*/ 16 h 38"/>
                  <a:gd name="T24" fmla="*/ 0 w 40"/>
                  <a:gd name="T25" fmla="*/ 18 h 38"/>
                  <a:gd name="T26" fmla="*/ 2 w 40"/>
                  <a:gd name="T27" fmla="*/ 22 h 38"/>
                  <a:gd name="T28" fmla="*/ 2 w 40"/>
                  <a:gd name="T29" fmla="*/ 22 h 38"/>
                  <a:gd name="T30" fmla="*/ 6 w 40"/>
                  <a:gd name="T31" fmla="*/ 24 h 38"/>
                  <a:gd name="T32" fmla="*/ 8 w 40"/>
                  <a:gd name="T33" fmla="*/ 24 h 38"/>
                  <a:gd name="T34" fmla="*/ 10 w 40"/>
                  <a:gd name="T35" fmla="*/ 24 h 38"/>
                  <a:gd name="T36" fmla="*/ 12 w 40"/>
                  <a:gd name="T37" fmla="*/ 26 h 38"/>
                  <a:gd name="T38" fmla="*/ 12 w 40"/>
                  <a:gd name="T39" fmla="*/ 28 h 38"/>
                  <a:gd name="T40" fmla="*/ 14 w 40"/>
                  <a:gd name="T41" fmla="*/ 32 h 38"/>
                  <a:gd name="T42" fmla="*/ 16 w 40"/>
                  <a:gd name="T43" fmla="*/ 32 h 38"/>
                  <a:gd name="T44" fmla="*/ 18 w 40"/>
                  <a:gd name="T45" fmla="*/ 32 h 38"/>
                  <a:gd name="T46" fmla="*/ 20 w 40"/>
                  <a:gd name="T47" fmla="*/ 32 h 38"/>
                  <a:gd name="T48" fmla="*/ 22 w 40"/>
                  <a:gd name="T49" fmla="*/ 32 h 38"/>
                  <a:gd name="T50" fmla="*/ 24 w 40"/>
                  <a:gd name="T51" fmla="*/ 34 h 38"/>
                  <a:gd name="T52" fmla="*/ 26 w 40"/>
                  <a:gd name="T53" fmla="*/ 38 h 38"/>
                  <a:gd name="T54" fmla="*/ 28 w 40"/>
                  <a:gd name="T55" fmla="*/ 38 h 38"/>
                  <a:gd name="T56" fmla="*/ 36 w 40"/>
                  <a:gd name="T57" fmla="*/ 38 h 38"/>
                  <a:gd name="T58" fmla="*/ 38 w 40"/>
                  <a:gd name="T59" fmla="*/ 38 h 38"/>
                  <a:gd name="T60" fmla="*/ 40 w 40"/>
                  <a:gd name="T61" fmla="*/ 38 h 38"/>
                  <a:gd name="T62" fmla="*/ 40 w 40"/>
                  <a:gd name="T63" fmla="*/ 36 h 38"/>
                  <a:gd name="T64" fmla="*/ 40 w 40"/>
                  <a:gd name="T65" fmla="*/ 34 h 38"/>
                  <a:gd name="T66" fmla="*/ 40 w 40"/>
                  <a:gd name="T67" fmla="*/ 30 h 38"/>
                  <a:gd name="T68" fmla="*/ 40 w 40"/>
                  <a:gd name="T69" fmla="*/ 26 h 38"/>
                  <a:gd name="T70" fmla="*/ 40 w 40"/>
                  <a:gd name="T71" fmla="*/ 24 h 38"/>
                  <a:gd name="T72" fmla="*/ 38 w 40"/>
                  <a:gd name="T73" fmla="*/ 18 h 38"/>
                  <a:gd name="T74" fmla="*/ 34 w 40"/>
                  <a:gd name="T75" fmla="*/ 12 h 38"/>
                  <a:gd name="T76" fmla="*/ 34 w 40"/>
                  <a:gd name="T77" fmla="*/ 10 h 38"/>
                  <a:gd name="T78" fmla="*/ 34 w 40"/>
                  <a:gd name="T79" fmla="*/ 6 h 38"/>
                  <a:gd name="T80" fmla="*/ 32 w 40"/>
                  <a:gd name="T81" fmla="*/ 4 h 38"/>
                  <a:gd name="T82" fmla="*/ 30 w 40"/>
                  <a:gd name="T83" fmla="*/ 0 h 38"/>
                  <a:gd name="T84" fmla="*/ 26 w 40"/>
                  <a:gd name="T85" fmla="*/ 0 h 38"/>
                  <a:gd name="T86" fmla="*/ 24 w 40"/>
                  <a:gd name="T87" fmla="*/ 0 h 38"/>
                  <a:gd name="T88" fmla="*/ 22 w 40"/>
                  <a:gd name="T89" fmla="*/ 0 h 38"/>
                  <a:gd name="T90" fmla="*/ 20 w 40"/>
                  <a:gd name="T91" fmla="*/ 0 h 38"/>
                  <a:gd name="T92" fmla="*/ 20 w 40"/>
                  <a:gd name="T93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40" h="38">
                    <a:moveTo>
                      <a:pt x="20" y="0"/>
                    </a:moveTo>
                    <a:lnTo>
                      <a:pt x="20" y="0"/>
                    </a:lnTo>
                    <a:lnTo>
                      <a:pt x="18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6" y="4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4" y="8"/>
                    </a:lnTo>
                    <a:lnTo>
                      <a:pt x="14" y="10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2" y="12"/>
                    </a:lnTo>
                    <a:lnTo>
                      <a:pt x="10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8"/>
                    </a:lnTo>
                    <a:lnTo>
                      <a:pt x="0" y="20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4" y="24"/>
                    </a:lnTo>
                    <a:lnTo>
                      <a:pt x="6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0" y="24"/>
                    </a:lnTo>
                    <a:lnTo>
                      <a:pt x="10" y="24"/>
                    </a:lnTo>
                    <a:lnTo>
                      <a:pt x="12" y="24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8"/>
                    </a:lnTo>
                    <a:lnTo>
                      <a:pt x="14" y="30"/>
                    </a:lnTo>
                    <a:lnTo>
                      <a:pt x="14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8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2" y="32"/>
                    </a:lnTo>
                    <a:lnTo>
                      <a:pt x="24" y="34"/>
                    </a:lnTo>
                    <a:lnTo>
                      <a:pt x="24" y="34"/>
                    </a:lnTo>
                    <a:lnTo>
                      <a:pt x="26" y="36"/>
                    </a:lnTo>
                    <a:lnTo>
                      <a:pt x="26" y="38"/>
                    </a:lnTo>
                    <a:lnTo>
                      <a:pt x="28" y="38"/>
                    </a:lnTo>
                    <a:lnTo>
                      <a:pt x="28" y="38"/>
                    </a:lnTo>
                    <a:lnTo>
                      <a:pt x="32" y="38"/>
                    </a:lnTo>
                    <a:lnTo>
                      <a:pt x="36" y="38"/>
                    </a:lnTo>
                    <a:lnTo>
                      <a:pt x="36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0"/>
                    </a:lnTo>
                    <a:lnTo>
                      <a:pt x="40" y="28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4"/>
                    </a:lnTo>
                    <a:lnTo>
                      <a:pt x="38" y="22"/>
                    </a:lnTo>
                    <a:lnTo>
                      <a:pt x="38" y="18"/>
                    </a:lnTo>
                    <a:lnTo>
                      <a:pt x="36" y="14"/>
                    </a:lnTo>
                    <a:lnTo>
                      <a:pt x="34" y="12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8"/>
                    </a:lnTo>
                    <a:lnTo>
                      <a:pt x="34" y="6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0" y="2"/>
                    </a:lnTo>
                    <a:lnTo>
                      <a:pt x="30" y="0"/>
                    </a:lnTo>
                    <a:lnTo>
                      <a:pt x="28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4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79" name="Freeform 91"/>
              <p:cNvSpPr>
                <a:spLocks/>
              </p:cNvSpPr>
              <p:nvPr/>
            </p:nvSpPr>
            <p:spPr bwMode="auto">
              <a:xfrm>
                <a:off x="1567" y="1378"/>
                <a:ext cx="8" cy="10"/>
              </a:xfrm>
              <a:custGeom>
                <a:avLst/>
                <a:gdLst>
                  <a:gd name="T0" fmla="*/ 0 w 8"/>
                  <a:gd name="T1" fmla="*/ 4 h 10"/>
                  <a:gd name="T2" fmla="*/ 0 w 8"/>
                  <a:gd name="T3" fmla="*/ 4 h 10"/>
                  <a:gd name="T4" fmla="*/ 0 w 8"/>
                  <a:gd name="T5" fmla="*/ 4 h 10"/>
                  <a:gd name="T6" fmla="*/ 0 w 8"/>
                  <a:gd name="T7" fmla="*/ 6 h 10"/>
                  <a:gd name="T8" fmla="*/ 2 w 8"/>
                  <a:gd name="T9" fmla="*/ 8 h 10"/>
                  <a:gd name="T10" fmla="*/ 4 w 8"/>
                  <a:gd name="T11" fmla="*/ 8 h 10"/>
                  <a:gd name="T12" fmla="*/ 4 w 8"/>
                  <a:gd name="T13" fmla="*/ 10 h 10"/>
                  <a:gd name="T14" fmla="*/ 4 w 8"/>
                  <a:gd name="T15" fmla="*/ 10 h 10"/>
                  <a:gd name="T16" fmla="*/ 6 w 8"/>
                  <a:gd name="T17" fmla="*/ 10 h 10"/>
                  <a:gd name="T18" fmla="*/ 8 w 8"/>
                  <a:gd name="T19" fmla="*/ 8 h 10"/>
                  <a:gd name="T20" fmla="*/ 8 w 8"/>
                  <a:gd name="T21" fmla="*/ 8 h 10"/>
                  <a:gd name="T22" fmla="*/ 8 w 8"/>
                  <a:gd name="T23" fmla="*/ 8 h 10"/>
                  <a:gd name="T24" fmla="*/ 8 w 8"/>
                  <a:gd name="T25" fmla="*/ 6 h 10"/>
                  <a:gd name="T26" fmla="*/ 8 w 8"/>
                  <a:gd name="T27" fmla="*/ 4 h 10"/>
                  <a:gd name="T28" fmla="*/ 8 w 8"/>
                  <a:gd name="T29" fmla="*/ 4 h 10"/>
                  <a:gd name="T30" fmla="*/ 8 w 8"/>
                  <a:gd name="T31" fmla="*/ 4 h 10"/>
                  <a:gd name="T32" fmla="*/ 8 w 8"/>
                  <a:gd name="T33" fmla="*/ 2 h 10"/>
                  <a:gd name="T34" fmla="*/ 8 w 8"/>
                  <a:gd name="T35" fmla="*/ 2 h 10"/>
                  <a:gd name="T36" fmla="*/ 6 w 8"/>
                  <a:gd name="T37" fmla="*/ 0 h 10"/>
                  <a:gd name="T38" fmla="*/ 6 w 8"/>
                  <a:gd name="T39" fmla="*/ 0 h 10"/>
                  <a:gd name="T40" fmla="*/ 4 w 8"/>
                  <a:gd name="T41" fmla="*/ 0 h 10"/>
                  <a:gd name="T42" fmla="*/ 4 w 8"/>
                  <a:gd name="T43" fmla="*/ 0 h 10"/>
                  <a:gd name="T44" fmla="*/ 2 w 8"/>
                  <a:gd name="T45" fmla="*/ 0 h 10"/>
                  <a:gd name="T46" fmla="*/ 2 w 8"/>
                  <a:gd name="T47" fmla="*/ 0 h 10"/>
                  <a:gd name="T48" fmla="*/ 2 w 8"/>
                  <a:gd name="T49" fmla="*/ 2 h 10"/>
                  <a:gd name="T50" fmla="*/ 0 w 8"/>
                  <a:gd name="T51" fmla="*/ 4 h 10"/>
                  <a:gd name="T52" fmla="*/ 0 w 8"/>
                  <a:gd name="T53" fmla="*/ 4 h 10"/>
                  <a:gd name="T54" fmla="*/ 0 w 8"/>
                  <a:gd name="T55" fmla="*/ 4 h 10"/>
                  <a:gd name="T56" fmla="*/ 0 w 8"/>
                  <a:gd name="T57" fmla="*/ 4 h 10"/>
                  <a:gd name="T58" fmla="*/ 0 w 8"/>
                  <a:gd name="T59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8" h="10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80" name="Freeform 92"/>
              <p:cNvSpPr>
                <a:spLocks/>
              </p:cNvSpPr>
              <p:nvPr/>
            </p:nvSpPr>
            <p:spPr bwMode="auto">
              <a:xfrm>
                <a:off x="1567" y="1378"/>
                <a:ext cx="8" cy="10"/>
              </a:xfrm>
              <a:custGeom>
                <a:avLst/>
                <a:gdLst>
                  <a:gd name="T0" fmla="*/ 0 w 8"/>
                  <a:gd name="T1" fmla="*/ 4 h 10"/>
                  <a:gd name="T2" fmla="*/ 0 w 8"/>
                  <a:gd name="T3" fmla="*/ 4 h 10"/>
                  <a:gd name="T4" fmla="*/ 0 w 8"/>
                  <a:gd name="T5" fmla="*/ 4 h 10"/>
                  <a:gd name="T6" fmla="*/ 0 w 8"/>
                  <a:gd name="T7" fmla="*/ 6 h 10"/>
                  <a:gd name="T8" fmla="*/ 2 w 8"/>
                  <a:gd name="T9" fmla="*/ 8 h 10"/>
                  <a:gd name="T10" fmla="*/ 4 w 8"/>
                  <a:gd name="T11" fmla="*/ 8 h 10"/>
                  <a:gd name="T12" fmla="*/ 4 w 8"/>
                  <a:gd name="T13" fmla="*/ 10 h 10"/>
                  <a:gd name="T14" fmla="*/ 4 w 8"/>
                  <a:gd name="T15" fmla="*/ 10 h 10"/>
                  <a:gd name="T16" fmla="*/ 6 w 8"/>
                  <a:gd name="T17" fmla="*/ 10 h 10"/>
                  <a:gd name="T18" fmla="*/ 8 w 8"/>
                  <a:gd name="T19" fmla="*/ 8 h 10"/>
                  <a:gd name="T20" fmla="*/ 8 w 8"/>
                  <a:gd name="T21" fmla="*/ 8 h 10"/>
                  <a:gd name="T22" fmla="*/ 8 w 8"/>
                  <a:gd name="T23" fmla="*/ 8 h 10"/>
                  <a:gd name="T24" fmla="*/ 8 w 8"/>
                  <a:gd name="T25" fmla="*/ 6 h 10"/>
                  <a:gd name="T26" fmla="*/ 8 w 8"/>
                  <a:gd name="T27" fmla="*/ 4 h 10"/>
                  <a:gd name="T28" fmla="*/ 8 w 8"/>
                  <a:gd name="T29" fmla="*/ 4 h 10"/>
                  <a:gd name="T30" fmla="*/ 8 w 8"/>
                  <a:gd name="T31" fmla="*/ 4 h 10"/>
                  <a:gd name="T32" fmla="*/ 8 w 8"/>
                  <a:gd name="T33" fmla="*/ 2 h 10"/>
                  <a:gd name="T34" fmla="*/ 8 w 8"/>
                  <a:gd name="T35" fmla="*/ 2 h 10"/>
                  <a:gd name="T36" fmla="*/ 6 w 8"/>
                  <a:gd name="T37" fmla="*/ 0 h 10"/>
                  <a:gd name="T38" fmla="*/ 6 w 8"/>
                  <a:gd name="T39" fmla="*/ 0 h 10"/>
                  <a:gd name="T40" fmla="*/ 4 w 8"/>
                  <a:gd name="T41" fmla="*/ 0 h 10"/>
                  <a:gd name="T42" fmla="*/ 4 w 8"/>
                  <a:gd name="T43" fmla="*/ 0 h 10"/>
                  <a:gd name="T44" fmla="*/ 2 w 8"/>
                  <a:gd name="T45" fmla="*/ 0 h 10"/>
                  <a:gd name="T46" fmla="*/ 2 w 8"/>
                  <a:gd name="T47" fmla="*/ 0 h 10"/>
                  <a:gd name="T48" fmla="*/ 2 w 8"/>
                  <a:gd name="T49" fmla="*/ 2 h 10"/>
                  <a:gd name="T50" fmla="*/ 0 w 8"/>
                  <a:gd name="T51" fmla="*/ 4 h 10"/>
                  <a:gd name="T52" fmla="*/ 0 w 8"/>
                  <a:gd name="T53" fmla="*/ 4 h 10"/>
                  <a:gd name="T54" fmla="*/ 0 w 8"/>
                  <a:gd name="T55" fmla="*/ 4 h 10"/>
                  <a:gd name="T56" fmla="*/ 0 w 8"/>
                  <a:gd name="T57" fmla="*/ 4 h 10"/>
                  <a:gd name="T58" fmla="*/ 0 w 8"/>
                  <a:gd name="T59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8" h="10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81" name="Freeform 93"/>
              <p:cNvSpPr>
                <a:spLocks/>
              </p:cNvSpPr>
              <p:nvPr/>
            </p:nvSpPr>
            <p:spPr bwMode="auto">
              <a:xfrm>
                <a:off x="1629" y="1388"/>
                <a:ext cx="4" cy="4"/>
              </a:xfrm>
              <a:custGeom>
                <a:avLst/>
                <a:gdLst>
                  <a:gd name="T0" fmla="*/ 2 w 4"/>
                  <a:gd name="T1" fmla="*/ 0 h 4"/>
                  <a:gd name="T2" fmla="*/ 2 w 4"/>
                  <a:gd name="T3" fmla="*/ 0 h 4"/>
                  <a:gd name="T4" fmla="*/ 0 w 4"/>
                  <a:gd name="T5" fmla="*/ 0 h 4"/>
                  <a:gd name="T6" fmla="*/ 0 w 4"/>
                  <a:gd name="T7" fmla="*/ 2 h 4"/>
                  <a:gd name="T8" fmla="*/ 0 w 4"/>
                  <a:gd name="T9" fmla="*/ 4 h 4"/>
                  <a:gd name="T10" fmla="*/ 2 w 4"/>
                  <a:gd name="T11" fmla="*/ 4 h 4"/>
                  <a:gd name="T12" fmla="*/ 2 w 4"/>
                  <a:gd name="T13" fmla="*/ 4 h 4"/>
                  <a:gd name="T14" fmla="*/ 2 w 4"/>
                  <a:gd name="T15" fmla="*/ 4 h 4"/>
                  <a:gd name="T16" fmla="*/ 2 w 4"/>
                  <a:gd name="T17" fmla="*/ 4 h 4"/>
                  <a:gd name="T18" fmla="*/ 4 w 4"/>
                  <a:gd name="T19" fmla="*/ 4 h 4"/>
                  <a:gd name="T20" fmla="*/ 4 w 4"/>
                  <a:gd name="T21" fmla="*/ 4 h 4"/>
                  <a:gd name="T22" fmla="*/ 4 w 4"/>
                  <a:gd name="T23" fmla="*/ 2 h 4"/>
                  <a:gd name="T24" fmla="*/ 4 w 4"/>
                  <a:gd name="T25" fmla="*/ 2 h 4"/>
                  <a:gd name="T26" fmla="*/ 4 w 4"/>
                  <a:gd name="T27" fmla="*/ 2 h 4"/>
                  <a:gd name="T28" fmla="*/ 4 w 4"/>
                  <a:gd name="T29" fmla="*/ 0 h 4"/>
                  <a:gd name="T30" fmla="*/ 4 w 4"/>
                  <a:gd name="T31" fmla="*/ 0 h 4"/>
                  <a:gd name="T32" fmla="*/ 4 w 4"/>
                  <a:gd name="T33" fmla="*/ 0 h 4"/>
                  <a:gd name="T34" fmla="*/ 2 w 4"/>
                  <a:gd name="T35" fmla="*/ 0 h 4"/>
                  <a:gd name="T36" fmla="*/ 2 w 4"/>
                  <a:gd name="T37" fmla="*/ 0 h 4"/>
                  <a:gd name="T38" fmla="*/ 2 w 4"/>
                  <a:gd name="T39" fmla="*/ 0 h 4"/>
                  <a:gd name="T40" fmla="*/ 2 w 4"/>
                  <a:gd name="T41" fmla="*/ 0 h 4"/>
                  <a:gd name="T42" fmla="*/ 2 w 4"/>
                  <a:gd name="T43" fmla="*/ 0 h 4"/>
                  <a:gd name="T44" fmla="*/ 2 w 4"/>
                  <a:gd name="T4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" h="4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82" name="Freeform 94"/>
              <p:cNvSpPr>
                <a:spLocks/>
              </p:cNvSpPr>
              <p:nvPr/>
            </p:nvSpPr>
            <p:spPr bwMode="auto">
              <a:xfrm>
                <a:off x="1629" y="1388"/>
                <a:ext cx="4" cy="4"/>
              </a:xfrm>
              <a:custGeom>
                <a:avLst/>
                <a:gdLst>
                  <a:gd name="T0" fmla="*/ 2 w 4"/>
                  <a:gd name="T1" fmla="*/ 0 h 4"/>
                  <a:gd name="T2" fmla="*/ 2 w 4"/>
                  <a:gd name="T3" fmla="*/ 0 h 4"/>
                  <a:gd name="T4" fmla="*/ 0 w 4"/>
                  <a:gd name="T5" fmla="*/ 0 h 4"/>
                  <a:gd name="T6" fmla="*/ 0 w 4"/>
                  <a:gd name="T7" fmla="*/ 2 h 4"/>
                  <a:gd name="T8" fmla="*/ 0 w 4"/>
                  <a:gd name="T9" fmla="*/ 4 h 4"/>
                  <a:gd name="T10" fmla="*/ 2 w 4"/>
                  <a:gd name="T11" fmla="*/ 4 h 4"/>
                  <a:gd name="T12" fmla="*/ 2 w 4"/>
                  <a:gd name="T13" fmla="*/ 4 h 4"/>
                  <a:gd name="T14" fmla="*/ 2 w 4"/>
                  <a:gd name="T15" fmla="*/ 4 h 4"/>
                  <a:gd name="T16" fmla="*/ 2 w 4"/>
                  <a:gd name="T17" fmla="*/ 4 h 4"/>
                  <a:gd name="T18" fmla="*/ 4 w 4"/>
                  <a:gd name="T19" fmla="*/ 4 h 4"/>
                  <a:gd name="T20" fmla="*/ 4 w 4"/>
                  <a:gd name="T21" fmla="*/ 4 h 4"/>
                  <a:gd name="T22" fmla="*/ 4 w 4"/>
                  <a:gd name="T23" fmla="*/ 2 h 4"/>
                  <a:gd name="T24" fmla="*/ 4 w 4"/>
                  <a:gd name="T25" fmla="*/ 2 h 4"/>
                  <a:gd name="T26" fmla="*/ 4 w 4"/>
                  <a:gd name="T27" fmla="*/ 2 h 4"/>
                  <a:gd name="T28" fmla="*/ 4 w 4"/>
                  <a:gd name="T29" fmla="*/ 0 h 4"/>
                  <a:gd name="T30" fmla="*/ 4 w 4"/>
                  <a:gd name="T31" fmla="*/ 0 h 4"/>
                  <a:gd name="T32" fmla="*/ 4 w 4"/>
                  <a:gd name="T33" fmla="*/ 0 h 4"/>
                  <a:gd name="T34" fmla="*/ 2 w 4"/>
                  <a:gd name="T35" fmla="*/ 0 h 4"/>
                  <a:gd name="T36" fmla="*/ 2 w 4"/>
                  <a:gd name="T37" fmla="*/ 0 h 4"/>
                  <a:gd name="T38" fmla="*/ 2 w 4"/>
                  <a:gd name="T39" fmla="*/ 0 h 4"/>
                  <a:gd name="T40" fmla="*/ 2 w 4"/>
                  <a:gd name="T41" fmla="*/ 0 h 4"/>
                  <a:gd name="T42" fmla="*/ 2 w 4"/>
                  <a:gd name="T43" fmla="*/ 0 h 4"/>
                  <a:gd name="T44" fmla="*/ 2 w 4"/>
                  <a:gd name="T4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" h="4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83" name="Freeform 95"/>
              <p:cNvSpPr>
                <a:spLocks/>
              </p:cNvSpPr>
              <p:nvPr/>
            </p:nvSpPr>
            <p:spPr bwMode="auto">
              <a:xfrm>
                <a:off x="883" y="1218"/>
                <a:ext cx="1074" cy="844"/>
              </a:xfrm>
              <a:custGeom>
                <a:avLst/>
                <a:gdLst>
                  <a:gd name="T0" fmla="*/ 498 w 1074"/>
                  <a:gd name="T1" fmla="*/ 666 h 844"/>
                  <a:gd name="T2" fmla="*/ 556 w 1074"/>
                  <a:gd name="T3" fmla="*/ 708 h 844"/>
                  <a:gd name="T4" fmla="*/ 556 w 1074"/>
                  <a:gd name="T5" fmla="*/ 730 h 844"/>
                  <a:gd name="T6" fmla="*/ 588 w 1074"/>
                  <a:gd name="T7" fmla="*/ 740 h 844"/>
                  <a:gd name="T8" fmla="*/ 648 w 1074"/>
                  <a:gd name="T9" fmla="*/ 756 h 844"/>
                  <a:gd name="T10" fmla="*/ 678 w 1074"/>
                  <a:gd name="T11" fmla="*/ 796 h 844"/>
                  <a:gd name="T12" fmla="*/ 654 w 1074"/>
                  <a:gd name="T13" fmla="*/ 816 h 844"/>
                  <a:gd name="T14" fmla="*/ 654 w 1074"/>
                  <a:gd name="T15" fmla="*/ 836 h 844"/>
                  <a:gd name="T16" fmla="*/ 740 w 1074"/>
                  <a:gd name="T17" fmla="*/ 802 h 844"/>
                  <a:gd name="T18" fmla="*/ 856 w 1074"/>
                  <a:gd name="T19" fmla="*/ 752 h 844"/>
                  <a:gd name="T20" fmla="*/ 892 w 1074"/>
                  <a:gd name="T21" fmla="*/ 800 h 844"/>
                  <a:gd name="T22" fmla="*/ 890 w 1074"/>
                  <a:gd name="T23" fmla="*/ 838 h 844"/>
                  <a:gd name="T24" fmla="*/ 958 w 1074"/>
                  <a:gd name="T25" fmla="*/ 802 h 844"/>
                  <a:gd name="T26" fmla="*/ 918 w 1074"/>
                  <a:gd name="T27" fmla="*/ 766 h 844"/>
                  <a:gd name="T28" fmla="*/ 926 w 1074"/>
                  <a:gd name="T29" fmla="*/ 718 h 844"/>
                  <a:gd name="T30" fmla="*/ 892 w 1074"/>
                  <a:gd name="T31" fmla="*/ 714 h 844"/>
                  <a:gd name="T32" fmla="*/ 996 w 1074"/>
                  <a:gd name="T33" fmla="*/ 704 h 844"/>
                  <a:gd name="T34" fmla="*/ 1074 w 1074"/>
                  <a:gd name="T35" fmla="*/ 650 h 844"/>
                  <a:gd name="T36" fmla="*/ 1058 w 1074"/>
                  <a:gd name="T37" fmla="*/ 620 h 844"/>
                  <a:gd name="T38" fmla="*/ 1018 w 1074"/>
                  <a:gd name="T39" fmla="*/ 536 h 844"/>
                  <a:gd name="T40" fmla="*/ 1006 w 1074"/>
                  <a:gd name="T41" fmla="*/ 474 h 844"/>
                  <a:gd name="T42" fmla="*/ 936 w 1074"/>
                  <a:gd name="T43" fmla="*/ 500 h 844"/>
                  <a:gd name="T44" fmla="*/ 938 w 1074"/>
                  <a:gd name="T45" fmla="*/ 454 h 844"/>
                  <a:gd name="T46" fmla="*/ 868 w 1074"/>
                  <a:gd name="T47" fmla="*/ 400 h 844"/>
                  <a:gd name="T48" fmla="*/ 814 w 1074"/>
                  <a:gd name="T49" fmla="*/ 470 h 844"/>
                  <a:gd name="T50" fmla="*/ 764 w 1074"/>
                  <a:gd name="T51" fmla="*/ 572 h 844"/>
                  <a:gd name="T52" fmla="*/ 726 w 1074"/>
                  <a:gd name="T53" fmla="*/ 650 h 844"/>
                  <a:gd name="T54" fmla="*/ 714 w 1074"/>
                  <a:gd name="T55" fmla="*/ 598 h 844"/>
                  <a:gd name="T56" fmla="*/ 696 w 1074"/>
                  <a:gd name="T57" fmla="*/ 552 h 844"/>
                  <a:gd name="T58" fmla="*/ 652 w 1074"/>
                  <a:gd name="T59" fmla="*/ 506 h 844"/>
                  <a:gd name="T60" fmla="*/ 596 w 1074"/>
                  <a:gd name="T61" fmla="*/ 450 h 844"/>
                  <a:gd name="T62" fmla="*/ 656 w 1074"/>
                  <a:gd name="T63" fmla="*/ 360 h 844"/>
                  <a:gd name="T64" fmla="*/ 634 w 1074"/>
                  <a:gd name="T65" fmla="*/ 308 h 844"/>
                  <a:gd name="T66" fmla="*/ 740 w 1074"/>
                  <a:gd name="T67" fmla="*/ 312 h 844"/>
                  <a:gd name="T68" fmla="*/ 744 w 1074"/>
                  <a:gd name="T69" fmla="*/ 296 h 844"/>
                  <a:gd name="T70" fmla="*/ 796 w 1074"/>
                  <a:gd name="T71" fmla="*/ 284 h 844"/>
                  <a:gd name="T72" fmla="*/ 838 w 1074"/>
                  <a:gd name="T73" fmla="*/ 272 h 844"/>
                  <a:gd name="T74" fmla="*/ 840 w 1074"/>
                  <a:gd name="T75" fmla="*/ 190 h 844"/>
                  <a:gd name="T76" fmla="*/ 786 w 1074"/>
                  <a:gd name="T77" fmla="*/ 240 h 844"/>
                  <a:gd name="T78" fmla="*/ 768 w 1074"/>
                  <a:gd name="T79" fmla="*/ 192 h 844"/>
                  <a:gd name="T80" fmla="*/ 752 w 1074"/>
                  <a:gd name="T81" fmla="*/ 182 h 844"/>
                  <a:gd name="T82" fmla="*/ 744 w 1074"/>
                  <a:gd name="T83" fmla="*/ 134 h 844"/>
                  <a:gd name="T84" fmla="*/ 712 w 1074"/>
                  <a:gd name="T85" fmla="*/ 110 h 844"/>
                  <a:gd name="T86" fmla="*/ 710 w 1074"/>
                  <a:gd name="T87" fmla="*/ 174 h 844"/>
                  <a:gd name="T88" fmla="*/ 676 w 1074"/>
                  <a:gd name="T89" fmla="*/ 224 h 844"/>
                  <a:gd name="T90" fmla="*/ 672 w 1074"/>
                  <a:gd name="T91" fmla="*/ 210 h 844"/>
                  <a:gd name="T92" fmla="*/ 626 w 1074"/>
                  <a:gd name="T93" fmla="*/ 204 h 844"/>
                  <a:gd name="T94" fmla="*/ 570 w 1074"/>
                  <a:gd name="T95" fmla="*/ 176 h 844"/>
                  <a:gd name="T96" fmla="*/ 534 w 1074"/>
                  <a:gd name="T97" fmla="*/ 172 h 844"/>
                  <a:gd name="T98" fmla="*/ 514 w 1074"/>
                  <a:gd name="T99" fmla="*/ 188 h 844"/>
                  <a:gd name="T100" fmla="*/ 436 w 1074"/>
                  <a:gd name="T101" fmla="*/ 152 h 844"/>
                  <a:gd name="T102" fmla="*/ 420 w 1074"/>
                  <a:gd name="T103" fmla="*/ 108 h 844"/>
                  <a:gd name="T104" fmla="*/ 360 w 1074"/>
                  <a:gd name="T105" fmla="*/ 62 h 844"/>
                  <a:gd name="T106" fmla="*/ 330 w 1074"/>
                  <a:gd name="T107" fmla="*/ 26 h 844"/>
                  <a:gd name="T108" fmla="*/ 278 w 1074"/>
                  <a:gd name="T109" fmla="*/ 42 h 844"/>
                  <a:gd name="T110" fmla="*/ 288 w 1074"/>
                  <a:gd name="T111" fmla="*/ 34 h 844"/>
                  <a:gd name="T112" fmla="*/ 232 w 1074"/>
                  <a:gd name="T113" fmla="*/ 28 h 844"/>
                  <a:gd name="T114" fmla="*/ 184 w 1074"/>
                  <a:gd name="T115" fmla="*/ 32 h 844"/>
                  <a:gd name="T116" fmla="*/ 14 w 1074"/>
                  <a:gd name="T117" fmla="*/ 234 h 844"/>
                  <a:gd name="T118" fmla="*/ 64 w 1074"/>
                  <a:gd name="T119" fmla="*/ 314 h 844"/>
                  <a:gd name="T120" fmla="*/ 58 w 1074"/>
                  <a:gd name="T121" fmla="*/ 460 h 844"/>
                  <a:gd name="T122" fmla="*/ 68 w 1074"/>
                  <a:gd name="T123" fmla="*/ 524 h 844"/>
                  <a:gd name="T124" fmla="*/ 92 w 1074"/>
                  <a:gd name="T125" fmla="*/ 570 h 8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074" h="844">
                    <a:moveTo>
                      <a:pt x="112" y="604"/>
                    </a:moveTo>
                    <a:lnTo>
                      <a:pt x="112" y="604"/>
                    </a:lnTo>
                    <a:lnTo>
                      <a:pt x="124" y="606"/>
                    </a:lnTo>
                    <a:lnTo>
                      <a:pt x="124" y="606"/>
                    </a:lnTo>
                    <a:lnTo>
                      <a:pt x="136" y="608"/>
                    </a:lnTo>
                    <a:lnTo>
                      <a:pt x="146" y="610"/>
                    </a:lnTo>
                    <a:lnTo>
                      <a:pt x="146" y="610"/>
                    </a:lnTo>
                    <a:lnTo>
                      <a:pt x="152" y="612"/>
                    </a:lnTo>
                    <a:lnTo>
                      <a:pt x="158" y="612"/>
                    </a:lnTo>
                    <a:lnTo>
                      <a:pt x="164" y="612"/>
                    </a:lnTo>
                    <a:lnTo>
                      <a:pt x="168" y="614"/>
                    </a:lnTo>
                    <a:lnTo>
                      <a:pt x="168" y="614"/>
                    </a:lnTo>
                    <a:lnTo>
                      <a:pt x="180" y="616"/>
                    </a:lnTo>
                    <a:lnTo>
                      <a:pt x="192" y="618"/>
                    </a:lnTo>
                    <a:lnTo>
                      <a:pt x="192" y="618"/>
                    </a:lnTo>
                    <a:lnTo>
                      <a:pt x="208" y="620"/>
                    </a:lnTo>
                    <a:lnTo>
                      <a:pt x="220" y="622"/>
                    </a:lnTo>
                    <a:lnTo>
                      <a:pt x="234" y="626"/>
                    </a:lnTo>
                    <a:lnTo>
                      <a:pt x="246" y="628"/>
                    </a:lnTo>
                    <a:lnTo>
                      <a:pt x="246" y="628"/>
                    </a:lnTo>
                    <a:lnTo>
                      <a:pt x="274" y="630"/>
                    </a:lnTo>
                    <a:lnTo>
                      <a:pt x="274" y="630"/>
                    </a:lnTo>
                    <a:lnTo>
                      <a:pt x="284" y="632"/>
                    </a:lnTo>
                    <a:lnTo>
                      <a:pt x="290" y="632"/>
                    </a:lnTo>
                    <a:lnTo>
                      <a:pt x="306" y="636"/>
                    </a:lnTo>
                    <a:lnTo>
                      <a:pt x="306" y="636"/>
                    </a:lnTo>
                    <a:lnTo>
                      <a:pt x="336" y="640"/>
                    </a:lnTo>
                    <a:lnTo>
                      <a:pt x="364" y="646"/>
                    </a:lnTo>
                    <a:lnTo>
                      <a:pt x="364" y="646"/>
                    </a:lnTo>
                    <a:lnTo>
                      <a:pt x="380" y="648"/>
                    </a:lnTo>
                    <a:lnTo>
                      <a:pt x="396" y="650"/>
                    </a:lnTo>
                    <a:lnTo>
                      <a:pt x="410" y="652"/>
                    </a:lnTo>
                    <a:lnTo>
                      <a:pt x="426" y="654"/>
                    </a:lnTo>
                    <a:lnTo>
                      <a:pt x="426" y="654"/>
                    </a:lnTo>
                    <a:lnTo>
                      <a:pt x="436" y="654"/>
                    </a:lnTo>
                    <a:lnTo>
                      <a:pt x="442" y="656"/>
                    </a:lnTo>
                    <a:lnTo>
                      <a:pt x="446" y="656"/>
                    </a:lnTo>
                    <a:lnTo>
                      <a:pt x="446" y="656"/>
                    </a:lnTo>
                    <a:lnTo>
                      <a:pt x="456" y="658"/>
                    </a:lnTo>
                    <a:lnTo>
                      <a:pt x="462" y="660"/>
                    </a:lnTo>
                    <a:lnTo>
                      <a:pt x="468" y="662"/>
                    </a:lnTo>
                    <a:lnTo>
                      <a:pt x="468" y="662"/>
                    </a:lnTo>
                    <a:lnTo>
                      <a:pt x="472" y="662"/>
                    </a:lnTo>
                    <a:lnTo>
                      <a:pt x="476" y="662"/>
                    </a:lnTo>
                    <a:lnTo>
                      <a:pt x="486" y="664"/>
                    </a:lnTo>
                    <a:lnTo>
                      <a:pt x="486" y="664"/>
                    </a:lnTo>
                    <a:lnTo>
                      <a:pt x="490" y="664"/>
                    </a:lnTo>
                    <a:lnTo>
                      <a:pt x="496" y="664"/>
                    </a:lnTo>
                    <a:lnTo>
                      <a:pt x="496" y="664"/>
                    </a:lnTo>
                    <a:lnTo>
                      <a:pt x="498" y="666"/>
                    </a:lnTo>
                    <a:lnTo>
                      <a:pt x="498" y="666"/>
                    </a:lnTo>
                    <a:lnTo>
                      <a:pt x="500" y="668"/>
                    </a:lnTo>
                    <a:lnTo>
                      <a:pt x="500" y="670"/>
                    </a:lnTo>
                    <a:lnTo>
                      <a:pt x="500" y="670"/>
                    </a:lnTo>
                    <a:lnTo>
                      <a:pt x="500" y="674"/>
                    </a:lnTo>
                    <a:lnTo>
                      <a:pt x="500" y="676"/>
                    </a:lnTo>
                    <a:lnTo>
                      <a:pt x="500" y="676"/>
                    </a:lnTo>
                    <a:lnTo>
                      <a:pt x="500" y="676"/>
                    </a:lnTo>
                    <a:lnTo>
                      <a:pt x="502" y="676"/>
                    </a:lnTo>
                    <a:lnTo>
                      <a:pt x="502" y="678"/>
                    </a:lnTo>
                    <a:lnTo>
                      <a:pt x="504" y="678"/>
                    </a:lnTo>
                    <a:lnTo>
                      <a:pt x="504" y="678"/>
                    </a:lnTo>
                    <a:lnTo>
                      <a:pt x="508" y="676"/>
                    </a:lnTo>
                    <a:lnTo>
                      <a:pt x="508" y="676"/>
                    </a:lnTo>
                    <a:lnTo>
                      <a:pt x="510" y="676"/>
                    </a:lnTo>
                    <a:lnTo>
                      <a:pt x="510" y="676"/>
                    </a:lnTo>
                    <a:lnTo>
                      <a:pt x="512" y="676"/>
                    </a:lnTo>
                    <a:lnTo>
                      <a:pt x="516" y="676"/>
                    </a:lnTo>
                    <a:lnTo>
                      <a:pt x="518" y="678"/>
                    </a:lnTo>
                    <a:lnTo>
                      <a:pt x="520" y="680"/>
                    </a:lnTo>
                    <a:lnTo>
                      <a:pt x="524" y="682"/>
                    </a:lnTo>
                    <a:lnTo>
                      <a:pt x="526" y="684"/>
                    </a:lnTo>
                    <a:lnTo>
                      <a:pt x="530" y="690"/>
                    </a:lnTo>
                    <a:lnTo>
                      <a:pt x="530" y="690"/>
                    </a:lnTo>
                    <a:lnTo>
                      <a:pt x="532" y="692"/>
                    </a:lnTo>
                    <a:lnTo>
                      <a:pt x="532" y="694"/>
                    </a:lnTo>
                    <a:lnTo>
                      <a:pt x="532" y="694"/>
                    </a:lnTo>
                    <a:lnTo>
                      <a:pt x="534" y="696"/>
                    </a:lnTo>
                    <a:lnTo>
                      <a:pt x="536" y="698"/>
                    </a:lnTo>
                    <a:lnTo>
                      <a:pt x="536" y="698"/>
                    </a:lnTo>
                    <a:lnTo>
                      <a:pt x="536" y="698"/>
                    </a:lnTo>
                    <a:lnTo>
                      <a:pt x="540" y="700"/>
                    </a:lnTo>
                    <a:lnTo>
                      <a:pt x="542" y="700"/>
                    </a:lnTo>
                    <a:lnTo>
                      <a:pt x="550" y="702"/>
                    </a:lnTo>
                    <a:lnTo>
                      <a:pt x="550" y="702"/>
                    </a:lnTo>
                    <a:lnTo>
                      <a:pt x="552" y="702"/>
                    </a:lnTo>
                    <a:lnTo>
                      <a:pt x="558" y="702"/>
                    </a:lnTo>
                    <a:lnTo>
                      <a:pt x="562" y="702"/>
                    </a:lnTo>
                    <a:lnTo>
                      <a:pt x="564" y="704"/>
                    </a:lnTo>
                    <a:lnTo>
                      <a:pt x="564" y="704"/>
                    </a:lnTo>
                    <a:lnTo>
                      <a:pt x="566" y="704"/>
                    </a:lnTo>
                    <a:lnTo>
                      <a:pt x="566" y="706"/>
                    </a:lnTo>
                    <a:lnTo>
                      <a:pt x="566" y="706"/>
                    </a:lnTo>
                    <a:lnTo>
                      <a:pt x="566" y="706"/>
                    </a:lnTo>
                    <a:lnTo>
                      <a:pt x="564" y="706"/>
                    </a:lnTo>
                    <a:lnTo>
                      <a:pt x="564" y="706"/>
                    </a:lnTo>
                    <a:lnTo>
                      <a:pt x="562" y="706"/>
                    </a:lnTo>
                    <a:lnTo>
                      <a:pt x="562" y="706"/>
                    </a:lnTo>
                    <a:lnTo>
                      <a:pt x="560" y="706"/>
                    </a:lnTo>
                    <a:lnTo>
                      <a:pt x="560" y="706"/>
                    </a:lnTo>
                    <a:lnTo>
                      <a:pt x="560" y="706"/>
                    </a:lnTo>
                    <a:lnTo>
                      <a:pt x="556" y="708"/>
                    </a:lnTo>
                    <a:lnTo>
                      <a:pt x="554" y="710"/>
                    </a:lnTo>
                    <a:lnTo>
                      <a:pt x="554" y="710"/>
                    </a:lnTo>
                    <a:lnTo>
                      <a:pt x="552" y="712"/>
                    </a:lnTo>
                    <a:lnTo>
                      <a:pt x="552" y="712"/>
                    </a:lnTo>
                    <a:lnTo>
                      <a:pt x="552" y="712"/>
                    </a:lnTo>
                    <a:lnTo>
                      <a:pt x="552" y="712"/>
                    </a:lnTo>
                    <a:lnTo>
                      <a:pt x="548" y="712"/>
                    </a:lnTo>
                    <a:lnTo>
                      <a:pt x="546" y="714"/>
                    </a:lnTo>
                    <a:lnTo>
                      <a:pt x="542" y="714"/>
                    </a:lnTo>
                    <a:lnTo>
                      <a:pt x="540" y="716"/>
                    </a:lnTo>
                    <a:lnTo>
                      <a:pt x="540" y="716"/>
                    </a:lnTo>
                    <a:lnTo>
                      <a:pt x="532" y="720"/>
                    </a:lnTo>
                    <a:lnTo>
                      <a:pt x="530" y="722"/>
                    </a:lnTo>
                    <a:lnTo>
                      <a:pt x="528" y="724"/>
                    </a:lnTo>
                    <a:lnTo>
                      <a:pt x="528" y="724"/>
                    </a:lnTo>
                    <a:lnTo>
                      <a:pt x="526" y="724"/>
                    </a:lnTo>
                    <a:lnTo>
                      <a:pt x="526" y="726"/>
                    </a:lnTo>
                    <a:lnTo>
                      <a:pt x="526" y="726"/>
                    </a:lnTo>
                    <a:lnTo>
                      <a:pt x="526" y="728"/>
                    </a:lnTo>
                    <a:lnTo>
                      <a:pt x="526" y="728"/>
                    </a:lnTo>
                    <a:lnTo>
                      <a:pt x="528" y="728"/>
                    </a:lnTo>
                    <a:lnTo>
                      <a:pt x="528" y="728"/>
                    </a:lnTo>
                    <a:lnTo>
                      <a:pt x="530" y="728"/>
                    </a:lnTo>
                    <a:lnTo>
                      <a:pt x="532" y="728"/>
                    </a:lnTo>
                    <a:lnTo>
                      <a:pt x="538" y="726"/>
                    </a:lnTo>
                    <a:lnTo>
                      <a:pt x="538" y="726"/>
                    </a:lnTo>
                    <a:lnTo>
                      <a:pt x="542" y="726"/>
                    </a:lnTo>
                    <a:lnTo>
                      <a:pt x="544" y="726"/>
                    </a:lnTo>
                    <a:lnTo>
                      <a:pt x="546" y="726"/>
                    </a:lnTo>
                    <a:lnTo>
                      <a:pt x="546" y="726"/>
                    </a:lnTo>
                    <a:lnTo>
                      <a:pt x="546" y="726"/>
                    </a:lnTo>
                    <a:lnTo>
                      <a:pt x="548" y="726"/>
                    </a:lnTo>
                    <a:lnTo>
                      <a:pt x="548" y="726"/>
                    </a:lnTo>
                    <a:lnTo>
                      <a:pt x="548" y="728"/>
                    </a:lnTo>
                    <a:lnTo>
                      <a:pt x="546" y="728"/>
                    </a:lnTo>
                    <a:lnTo>
                      <a:pt x="544" y="730"/>
                    </a:lnTo>
                    <a:lnTo>
                      <a:pt x="544" y="730"/>
                    </a:lnTo>
                    <a:lnTo>
                      <a:pt x="546" y="730"/>
                    </a:lnTo>
                    <a:lnTo>
                      <a:pt x="546" y="730"/>
                    </a:lnTo>
                    <a:lnTo>
                      <a:pt x="548" y="730"/>
                    </a:lnTo>
                    <a:lnTo>
                      <a:pt x="548" y="730"/>
                    </a:lnTo>
                    <a:lnTo>
                      <a:pt x="548" y="730"/>
                    </a:lnTo>
                    <a:lnTo>
                      <a:pt x="550" y="732"/>
                    </a:lnTo>
                    <a:lnTo>
                      <a:pt x="550" y="732"/>
                    </a:lnTo>
                    <a:lnTo>
                      <a:pt x="552" y="732"/>
                    </a:lnTo>
                    <a:lnTo>
                      <a:pt x="552" y="732"/>
                    </a:lnTo>
                    <a:lnTo>
                      <a:pt x="554" y="732"/>
                    </a:lnTo>
                    <a:lnTo>
                      <a:pt x="554" y="732"/>
                    </a:lnTo>
                    <a:lnTo>
                      <a:pt x="554" y="732"/>
                    </a:lnTo>
                    <a:lnTo>
                      <a:pt x="556" y="730"/>
                    </a:lnTo>
                    <a:lnTo>
                      <a:pt x="556" y="730"/>
                    </a:lnTo>
                    <a:lnTo>
                      <a:pt x="558" y="730"/>
                    </a:lnTo>
                    <a:lnTo>
                      <a:pt x="558" y="730"/>
                    </a:lnTo>
                    <a:lnTo>
                      <a:pt x="560" y="728"/>
                    </a:lnTo>
                    <a:lnTo>
                      <a:pt x="564" y="728"/>
                    </a:lnTo>
                    <a:lnTo>
                      <a:pt x="564" y="728"/>
                    </a:lnTo>
                    <a:lnTo>
                      <a:pt x="566" y="726"/>
                    </a:lnTo>
                    <a:lnTo>
                      <a:pt x="570" y="726"/>
                    </a:lnTo>
                    <a:lnTo>
                      <a:pt x="572" y="724"/>
                    </a:lnTo>
                    <a:lnTo>
                      <a:pt x="576" y="724"/>
                    </a:lnTo>
                    <a:lnTo>
                      <a:pt x="576" y="724"/>
                    </a:lnTo>
                    <a:lnTo>
                      <a:pt x="578" y="724"/>
                    </a:lnTo>
                    <a:lnTo>
                      <a:pt x="580" y="722"/>
                    </a:lnTo>
                    <a:lnTo>
                      <a:pt x="580" y="722"/>
                    </a:lnTo>
                    <a:lnTo>
                      <a:pt x="582" y="722"/>
                    </a:lnTo>
                    <a:lnTo>
                      <a:pt x="584" y="722"/>
                    </a:lnTo>
                    <a:lnTo>
                      <a:pt x="586" y="722"/>
                    </a:lnTo>
                    <a:lnTo>
                      <a:pt x="586" y="722"/>
                    </a:lnTo>
                    <a:lnTo>
                      <a:pt x="586" y="722"/>
                    </a:lnTo>
                    <a:lnTo>
                      <a:pt x="590" y="720"/>
                    </a:lnTo>
                    <a:lnTo>
                      <a:pt x="590" y="720"/>
                    </a:lnTo>
                    <a:lnTo>
                      <a:pt x="592" y="720"/>
                    </a:lnTo>
                    <a:lnTo>
                      <a:pt x="592" y="720"/>
                    </a:lnTo>
                    <a:lnTo>
                      <a:pt x="592" y="722"/>
                    </a:lnTo>
                    <a:lnTo>
                      <a:pt x="592" y="722"/>
                    </a:lnTo>
                    <a:lnTo>
                      <a:pt x="592" y="722"/>
                    </a:lnTo>
                    <a:lnTo>
                      <a:pt x="592" y="724"/>
                    </a:lnTo>
                    <a:lnTo>
                      <a:pt x="590" y="724"/>
                    </a:lnTo>
                    <a:lnTo>
                      <a:pt x="590" y="724"/>
                    </a:lnTo>
                    <a:lnTo>
                      <a:pt x="586" y="726"/>
                    </a:lnTo>
                    <a:lnTo>
                      <a:pt x="582" y="728"/>
                    </a:lnTo>
                    <a:lnTo>
                      <a:pt x="580" y="730"/>
                    </a:lnTo>
                    <a:lnTo>
                      <a:pt x="580" y="730"/>
                    </a:lnTo>
                    <a:lnTo>
                      <a:pt x="580" y="730"/>
                    </a:lnTo>
                    <a:lnTo>
                      <a:pt x="580" y="732"/>
                    </a:lnTo>
                    <a:lnTo>
                      <a:pt x="580" y="732"/>
                    </a:lnTo>
                    <a:lnTo>
                      <a:pt x="582" y="732"/>
                    </a:lnTo>
                    <a:lnTo>
                      <a:pt x="586" y="732"/>
                    </a:lnTo>
                    <a:lnTo>
                      <a:pt x="588" y="732"/>
                    </a:lnTo>
                    <a:lnTo>
                      <a:pt x="588" y="732"/>
                    </a:lnTo>
                    <a:lnTo>
                      <a:pt x="590" y="732"/>
                    </a:lnTo>
                    <a:lnTo>
                      <a:pt x="592" y="734"/>
                    </a:lnTo>
                    <a:lnTo>
                      <a:pt x="592" y="734"/>
                    </a:lnTo>
                    <a:lnTo>
                      <a:pt x="592" y="736"/>
                    </a:lnTo>
                    <a:lnTo>
                      <a:pt x="592" y="736"/>
                    </a:lnTo>
                    <a:lnTo>
                      <a:pt x="592" y="736"/>
                    </a:lnTo>
                    <a:lnTo>
                      <a:pt x="592" y="738"/>
                    </a:lnTo>
                    <a:lnTo>
                      <a:pt x="592" y="738"/>
                    </a:lnTo>
                    <a:lnTo>
                      <a:pt x="590" y="740"/>
                    </a:lnTo>
                    <a:lnTo>
                      <a:pt x="590" y="740"/>
                    </a:lnTo>
                    <a:lnTo>
                      <a:pt x="588" y="740"/>
                    </a:lnTo>
                    <a:lnTo>
                      <a:pt x="588" y="740"/>
                    </a:lnTo>
                    <a:lnTo>
                      <a:pt x="588" y="742"/>
                    </a:lnTo>
                    <a:lnTo>
                      <a:pt x="588" y="742"/>
                    </a:lnTo>
                    <a:lnTo>
                      <a:pt x="588" y="744"/>
                    </a:lnTo>
                    <a:lnTo>
                      <a:pt x="588" y="744"/>
                    </a:lnTo>
                    <a:lnTo>
                      <a:pt x="590" y="744"/>
                    </a:lnTo>
                    <a:lnTo>
                      <a:pt x="592" y="746"/>
                    </a:lnTo>
                    <a:lnTo>
                      <a:pt x="596" y="746"/>
                    </a:lnTo>
                    <a:lnTo>
                      <a:pt x="598" y="744"/>
                    </a:lnTo>
                    <a:lnTo>
                      <a:pt x="598" y="744"/>
                    </a:lnTo>
                    <a:lnTo>
                      <a:pt x="600" y="744"/>
                    </a:lnTo>
                    <a:lnTo>
                      <a:pt x="600" y="744"/>
                    </a:lnTo>
                    <a:lnTo>
                      <a:pt x="602" y="742"/>
                    </a:lnTo>
                    <a:lnTo>
                      <a:pt x="604" y="740"/>
                    </a:lnTo>
                    <a:lnTo>
                      <a:pt x="606" y="738"/>
                    </a:lnTo>
                    <a:lnTo>
                      <a:pt x="606" y="738"/>
                    </a:lnTo>
                    <a:lnTo>
                      <a:pt x="610" y="738"/>
                    </a:lnTo>
                    <a:lnTo>
                      <a:pt x="614" y="738"/>
                    </a:lnTo>
                    <a:lnTo>
                      <a:pt x="614" y="738"/>
                    </a:lnTo>
                    <a:lnTo>
                      <a:pt x="616" y="738"/>
                    </a:lnTo>
                    <a:lnTo>
                      <a:pt x="618" y="740"/>
                    </a:lnTo>
                    <a:lnTo>
                      <a:pt x="620" y="740"/>
                    </a:lnTo>
                    <a:lnTo>
                      <a:pt x="620" y="740"/>
                    </a:lnTo>
                    <a:lnTo>
                      <a:pt x="620" y="742"/>
                    </a:lnTo>
                    <a:lnTo>
                      <a:pt x="620" y="742"/>
                    </a:lnTo>
                    <a:lnTo>
                      <a:pt x="620" y="744"/>
                    </a:lnTo>
                    <a:lnTo>
                      <a:pt x="622" y="746"/>
                    </a:lnTo>
                    <a:lnTo>
                      <a:pt x="622" y="746"/>
                    </a:lnTo>
                    <a:lnTo>
                      <a:pt x="622" y="746"/>
                    </a:lnTo>
                    <a:lnTo>
                      <a:pt x="624" y="748"/>
                    </a:lnTo>
                    <a:lnTo>
                      <a:pt x="626" y="748"/>
                    </a:lnTo>
                    <a:lnTo>
                      <a:pt x="626" y="748"/>
                    </a:lnTo>
                    <a:lnTo>
                      <a:pt x="628" y="748"/>
                    </a:lnTo>
                    <a:lnTo>
                      <a:pt x="630" y="752"/>
                    </a:lnTo>
                    <a:lnTo>
                      <a:pt x="630" y="752"/>
                    </a:lnTo>
                    <a:lnTo>
                      <a:pt x="634" y="754"/>
                    </a:lnTo>
                    <a:lnTo>
                      <a:pt x="636" y="754"/>
                    </a:lnTo>
                    <a:lnTo>
                      <a:pt x="638" y="754"/>
                    </a:lnTo>
                    <a:lnTo>
                      <a:pt x="638" y="754"/>
                    </a:lnTo>
                    <a:lnTo>
                      <a:pt x="640" y="754"/>
                    </a:lnTo>
                    <a:lnTo>
                      <a:pt x="640" y="754"/>
                    </a:lnTo>
                    <a:lnTo>
                      <a:pt x="642" y="754"/>
                    </a:lnTo>
                    <a:lnTo>
                      <a:pt x="642" y="754"/>
                    </a:lnTo>
                    <a:lnTo>
                      <a:pt x="642" y="754"/>
                    </a:lnTo>
                    <a:lnTo>
                      <a:pt x="644" y="756"/>
                    </a:lnTo>
                    <a:lnTo>
                      <a:pt x="644" y="756"/>
                    </a:lnTo>
                    <a:lnTo>
                      <a:pt x="644" y="756"/>
                    </a:lnTo>
                    <a:lnTo>
                      <a:pt x="644" y="756"/>
                    </a:lnTo>
                    <a:lnTo>
                      <a:pt x="646" y="756"/>
                    </a:lnTo>
                    <a:lnTo>
                      <a:pt x="648" y="756"/>
                    </a:lnTo>
                    <a:lnTo>
                      <a:pt x="648" y="756"/>
                    </a:lnTo>
                    <a:lnTo>
                      <a:pt x="648" y="756"/>
                    </a:lnTo>
                    <a:lnTo>
                      <a:pt x="650" y="756"/>
                    </a:lnTo>
                    <a:lnTo>
                      <a:pt x="654" y="756"/>
                    </a:lnTo>
                    <a:lnTo>
                      <a:pt x="654" y="756"/>
                    </a:lnTo>
                    <a:lnTo>
                      <a:pt x="654" y="756"/>
                    </a:lnTo>
                    <a:lnTo>
                      <a:pt x="654" y="758"/>
                    </a:lnTo>
                    <a:lnTo>
                      <a:pt x="656" y="758"/>
                    </a:lnTo>
                    <a:lnTo>
                      <a:pt x="658" y="758"/>
                    </a:lnTo>
                    <a:lnTo>
                      <a:pt x="660" y="758"/>
                    </a:lnTo>
                    <a:lnTo>
                      <a:pt x="660" y="758"/>
                    </a:lnTo>
                    <a:lnTo>
                      <a:pt x="662" y="758"/>
                    </a:lnTo>
                    <a:lnTo>
                      <a:pt x="666" y="758"/>
                    </a:lnTo>
                    <a:lnTo>
                      <a:pt x="666" y="758"/>
                    </a:lnTo>
                    <a:lnTo>
                      <a:pt x="668" y="758"/>
                    </a:lnTo>
                    <a:lnTo>
                      <a:pt x="670" y="758"/>
                    </a:lnTo>
                    <a:lnTo>
                      <a:pt x="672" y="758"/>
                    </a:lnTo>
                    <a:lnTo>
                      <a:pt x="672" y="758"/>
                    </a:lnTo>
                    <a:lnTo>
                      <a:pt x="674" y="760"/>
                    </a:lnTo>
                    <a:lnTo>
                      <a:pt x="676" y="762"/>
                    </a:lnTo>
                    <a:lnTo>
                      <a:pt x="676" y="764"/>
                    </a:lnTo>
                    <a:lnTo>
                      <a:pt x="676" y="764"/>
                    </a:lnTo>
                    <a:lnTo>
                      <a:pt x="678" y="766"/>
                    </a:lnTo>
                    <a:lnTo>
                      <a:pt x="678" y="766"/>
                    </a:lnTo>
                    <a:lnTo>
                      <a:pt x="678" y="770"/>
                    </a:lnTo>
                    <a:lnTo>
                      <a:pt x="678" y="770"/>
                    </a:lnTo>
                    <a:lnTo>
                      <a:pt x="678" y="772"/>
                    </a:lnTo>
                    <a:lnTo>
                      <a:pt x="680" y="772"/>
                    </a:lnTo>
                    <a:lnTo>
                      <a:pt x="682" y="776"/>
                    </a:lnTo>
                    <a:lnTo>
                      <a:pt x="682" y="776"/>
                    </a:lnTo>
                    <a:lnTo>
                      <a:pt x="684" y="776"/>
                    </a:lnTo>
                    <a:lnTo>
                      <a:pt x="684" y="778"/>
                    </a:lnTo>
                    <a:lnTo>
                      <a:pt x="686" y="780"/>
                    </a:lnTo>
                    <a:lnTo>
                      <a:pt x="686" y="780"/>
                    </a:lnTo>
                    <a:lnTo>
                      <a:pt x="686" y="782"/>
                    </a:lnTo>
                    <a:lnTo>
                      <a:pt x="686" y="784"/>
                    </a:lnTo>
                    <a:lnTo>
                      <a:pt x="686" y="788"/>
                    </a:lnTo>
                    <a:lnTo>
                      <a:pt x="686" y="788"/>
                    </a:lnTo>
                    <a:lnTo>
                      <a:pt x="688" y="790"/>
                    </a:lnTo>
                    <a:lnTo>
                      <a:pt x="688" y="792"/>
                    </a:lnTo>
                    <a:lnTo>
                      <a:pt x="688" y="792"/>
                    </a:lnTo>
                    <a:lnTo>
                      <a:pt x="688" y="794"/>
                    </a:lnTo>
                    <a:lnTo>
                      <a:pt x="688" y="796"/>
                    </a:lnTo>
                    <a:lnTo>
                      <a:pt x="686" y="796"/>
                    </a:lnTo>
                    <a:lnTo>
                      <a:pt x="686" y="796"/>
                    </a:lnTo>
                    <a:lnTo>
                      <a:pt x="686" y="798"/>
                    </a:lnTo>
                    <a:lnTo>
                      <a:pt x="684" y="798"/>
                    </a:lnTo>
                    <a:lnTo>
                      <a:pt x="682" y="800"/>
                    </a:lnTo>
                    <a:lnTo>
                      <a:pt x="680" y="800"/>
                    </a:lnTo>
                    <a:lnTo>
                      <a:pt x="678" y="800"/>
                    </a:lnTo>
                    <a:lnTo>
                      <a:pt x="678" y="800"/>
                    </a:lnTo>
                    <a:lnTo>
                      <a:pt x="678" y="798"/>
                    </a:lnTo>
                    <a:lnTo>
                      <a:pt x="678" y="796"/>
                    </a:lnTo>
                    <a:lnTo>
                      <a:pt x="678" y="796"/>
                    </a:lnTo>
                    <a:lnTo>
                      <a:pt x="678" y="796"/>
                    </a:lnTo>
                    <a:lnTo>
                      <a:pt x="678" y="794"/>
                    </a:lnTo>
                    <a:lnTo>
                      <a:pt x="676" y="794"/>
                    </a:lnTo>
                    <a:lnTo>
                      <a:pt x="674" y="792"/>
                    </a:lnTo>
                    <a:lnTo>
                      <a:pt x="674" y="792"/>
                    </a:lnTo>
                    <a:lnTo>
                      <a:pt x="672" y="792"/>
                    </a:lnTo>
                    <a:lnTo>
                      <a:pt x="672" y="792"/>
                    </a:lnTo>
                    <a:lnTo>
                      <a:pt x="672" y="790"/>
                    </a:lnTo>
                    <a:lnTo>
                      <a:pt x="672" y="788"/>
                    </a:lnTo>
                    <a:lnTo>
                      <a:pt x="672" y="788"/>
                    </a:lnTo>
                    <a:lnTo>
                      <a:pt x="672" y="786"/>
                    </a:lnTo>
                    <a:lnTo>
                      <a:pt x="672" y="786"/>
                    </a:lnTo>
                    <a:lnTo>
                      <a:pt x="670" y="784"/>
                    </a:lnTo>
                    <a:lnTo>
                      <a:pt x="670" y="784"/>
                    </a:lnTo>
                    <a:lnTo>
                      <a:pt x="668" y="782"/>
                    </a:lnTo>
                    <a:lnTo>
                      <a:pt x="666" y="778"/>
                    </a:lnTo>
                    <a:lnTo>
                      <a:pt x="664" y="776"/>
                    </a:lnTo>
                    <a:lnTo>
                      <a:pt x="664" y="776"/>
                    </a:lnTo>
                    <a:lnTo>
                      <a:pt x="662" y="774"/>
                    </a:lnTo>
                    <a:lnTo>
                      <a:pt x="662" y="774"/>
                    </a:lnTo>
                    <a:lnTo>
                      <a:pt x="660" y="774"/>
                    </a:lnTo>
                    <a:lnTo>
                      <a:pt x="660" y="776"/>
                    </a:lnTo>
                    <a:lnTo>
                      <a:pt x="660" y="776"/>
                    </a:lnTo>
                    <a:lnTo>
                      <a:pt x="660" y="778"/>
                    </a:lnTo>
                    <a:lnTo>
                      <a:pt x="662" y="780"/>
                    </a:lnTo>
                    <a:lnTo>
                      <a:pt x="664" y="782"/>
                    </a:lnTo>
                    <a:lnTo>
                      <a:pt x="664" y="782"/>
                    </a:lnTo>
                    <a:lnTo>
                      <a:pt x="664" y="784"/>
                    </a:lnTo>
                    <a:lnTo>
                      <a:pt x="664" y="786"/>
                    </a:lnTo>
                    <a:lnTo>
                      <a:pt x="666" y="790"/>
                    </a:lnTo>
                    <a:lnTo>
                      <a:pt x="666" y="790"/>
                    </a:lnTo>
                    <a:lnTo>
                      <a:pt x="666" y="792"/>
                    </a:lnTo>
                    <a:lnTo>
                      <a:pt x="666" y="794"/>
                    </a:lnTo>
                    <a:lnTo>
                      <a:pt x="664" y="796"/>
                    </a:lnTo>
                    <a:lnTo>
                      <a:pt x="664" y="796"/>
                    </a:lnTo>
                    <a:lnTo>
                      <a:pt x="664" y="796"/>
                    </a:lnTo>
                    <a:lnTo>
                      <a:pt x="662" y="796"/>
                    </a:lnTo>
                    <a:lnTo>
                      <a:pt x="662" y="798"/>
                    </a:lnTo>
                    <a:lnTo>
                      <a:pt x="660" y="798"/>
                    </a:lnTo>
                    <a:lnTo>
                      <a:pt x="660" y="798"/>
                    </a:lnTo>
                    <a:lnTo>
                      <a:pt x="660" y="800"/>
                    </a:lnTo>
                    <a:lnTo>
                      <a:pt x="660" y="800"/>
                    </a:lnTo>
                    <a:lnTo>
                      <a:pt x="658" y="804"/>
                    </a:lnTo>
                    <a:lnTo>
                      <a:pt x="658" y="806"/>
                    </a:lnTo>
                    <a:lnTo>
                      <a:pt x="658" y="808"/>
                    </a:lnTo>
                    <a:lnTo>
                      <a:pt x="658" y="808"/>
                    </a:lnTo>
                    <a:lnTo>
                      <a:pt x="656" y="812"/>
                    </a:lnTo>
                    <a:lnTo>
                      <a:pt x="654" y="814"/>
                    </a:lnTo>
                    <a:lnTo>
                      <a:pt x="654" y="814"/>
                    </a:lnTo>
                    <a:lnTo>
                      <a:pt x="654" y="816"/>
                    </a:lnTo>
                    <a:lnTo>
                      <a:pt x="652" y="818"/>
                    </a:lnTo>
                    <a:lnTo>
                      <a:pt x="652" y="818"/>
                    </a:lnTo>
                    <a:lnTo>
                      <a:pt x="650" y="820"/>
                    </a:lnTo>
                    <a:lnTo>
                      <a:pt x="648" y="820"/>
                    </a:lnTo>
                    <a:lnTo>
                      <a:pt x="646" y="822"/>
                    </a:lnTo>
                    <a:lnTo>
                      <a:pt x="644" y="822"/>
                    </a:lnTo>
                    <a:lnTo>
                      <a:pt x="644" y="822"/>
                    </a:lnTo>
                    <a:lnTo>
                      <a:pt x="638" y="824"/>
                    </a:lnTo>
                    <a:lnTo>
                      <a:pt x="636" y="824"/>
                    </a:lnTo>
                    <a:lnTo>
                      <a:pt x="634" y="824"/>
                    </a:lnTo>
                    <a:lnTo>
                      <a:pt x="634" y="824"/>
                    </a:lnTo>
                    <a:lnTo>
                      <a:pt x="632" y="826"/>
                    </a:lnTo>
                    <a:lnTo>
                      <a:pt x="632" y="826"/>
                    </a:lnTo>
                    <a:lnTo>
                      <a:pt x="632" y="828"/>
                    </a:lnTo>
                    <a:lnTo>
                      <a:pt x="634" y="828"/>
                    </a:lnTo>
                    <a:lnTo>
                      <a:pt x="634" y="830"/>
                    </a:lnTo>
                    <a:lnTo>
                      <a:pt x="634" y="830"/>
                    </a:lnTo>
                    <a:lnTo>
                      <a:pt x="634" y="830"/>
                    </a:lnTo>
                    <a:lnTo>
                      <a:pt x="634" y="832"/>
                    </a:lnTo>
                    <a:lnTo>
                      <a:pt x="632" y="832"/>
                    </a:lnTo>
                    <a:lnTo>
                      <a:pt x="632" y="832"/>
                    </a:lnTo>
                    <a:lnTo>
                      <a:pt x="630" y="832"/>
                    </a:lnTo>
                    <a:lnTo>
                      <a:pt x="628" y="832"/>
                    </a:lnTo>
                    <a:lnTo>
                      <a:pt x="628" y="832"/>
                    </a:lnTo>
                    <a:lnTo>
                      <a:pt x="628" y="834"/>
                    </a:lnTo>
                    <a:lnTo>
                      <a:pt x="626" y="834"/>
                    </a:lnTo>
                    <a:lnTo>
                      <a:pt x="626" y="836"/>
                    </a:lnTo>
                    <a:lnTo>
                      <a:pt x="626" y="836"/>
                    </a:lnTo>
                    <a:lnTo>
                      <a:pt x="624" y="840"/>
                    </a:lnTo>
                    <a:lnTo>
                      <a:pt x="624" y="840"/>
                    </a:lnTo>
                    <a:lnTo>
                      <a:pt x="624" y="842"/>
                    </a:lnTo>
                    <a:lnTo>
                      <a:pt x="624" y="842"/>
                    </a:lnTo>
                    <a:lnTo>
                      <a:pt x="624" y="844"/>
                    </a:lnTo>
                    <a:lnTo>
                      <a:pt x="626" y="844"/>
                    </a:lnTo>
                    <a:lnTo>
                      <a:pt x="628" y="842"/>
                    </a:lnTo>
                    <a:lnTo>
                      <a:pt x="628" y="842"/>
                    </a:lnTo>
                    <a:lnTo>
                      <a:pt x="630" y="842"/>
                    </a:lnTo>
                    <a:lnTo>
                      <a:pt x="632" y="840"/>
                    </a:lnTo>
                    <a:lnTo>
                      <a:pt x="636" y="840"/>
                    </a:lnTo>
                    <a:lnTo>
                      <a:pt x="638" y="838"/>
                    </a:lnTo>
                    <a:lnTo>
                      <a:pt x="638" y="838"/>
                    </a:lnTo>
                    <a:lnTo>
                      <a:pt x="640" y="838"/>
                    </a:lnTo>
                    <a:lnTo>
                      <a:pt x="642" y="840"/>
                    </a:lnTo>
                    <a:lnTo>
                      <a:pt x="644" y="840"/>
                    </a:lnTo>
                    <a:lnTo>
                      <a:pt x="644" y="840"/>
                    </a:lnTo>
                    <a:lnTo>
                      <a:pt x="646" y="840"/>
                    </a:lnTo>
                    <a:lnTo>
                      <a:pt x="648" y="840"/>
                    </a:lnTo>
                    <a:lnTo>
                      <a:pt x="648" y="838"/>
                    </a:lnTo>
                    <a:lnTo>
                      <a:pt x="648" y="838"/>
                    </a:lnTo>
                    <a:lnTo>
                      <a:pt x="652" y="836"/>
                    </a:lnTo>
                    <a:lnTo>
                      <a:pt x="654" y="836"/>
                    </a:lnTo>
                    <a:lnTo>
                      <a:pt x="658" y="836"/>
                    </a:lnTo>
                    <a:lnTo>
                      <a:pt x="660" y="836"/>
                    </a:lnTo>
                    <a:lnTo>
                      <a:pt x="660" y="836"/>
                    </a:lnTo>
                    <a:lnTo>
                      <a:pt x="664" y="838"/>
                    </a:lnTo>
                    <a:lnTo>
                      <a:pt x="666" y="838"/>
                    </a:lnTo>
                    <a:lnTo>
                      <a:pt x="670" y="838"/>
                    </a:lnTo>
                    <a:lnTo>
                      <a:pt x="672" y="838"/>
                    </a:lnTo>
                    <a:lnTo>
                      <a:pt x="672" y="838"/>
                    </a:lnTo>
                    <a:lnTo>
                      <a:pt x="672" y="838"/>
                    </a:lnTo>
                    <a:lnTo>
                      <a:pt x="674" y="836"/>
                    </a:lnTo>
                    <a:lnTo>
                      <a:pt x="674" y="834"/>
                    </a:lnTo>
                    <a:lnTo>
                      <a:pt x="674" y="834"/>
                    </a:lnTo>
                    <a:lnTo>
                      <a:pt x="674" y="832"/>
                    </a:lnTo>
                    <a:lnTo>
                      <a:pt x="674" y="832"/>
                    </a:lnTo>
                    <a:lnTo>
                      <a:pt x="676" y="830"/>
                    </a:lnTo>
                    <a:lnTo>
                      <a:pt x="676" y="830"/>
                    </a:lnTo>
                    <a:lnTo>
                      <a:pt x="678" y="826"/>
                    </a:lnTo>
                    <a:lnTo>
                      <a:pt x="678" y="826"/>
                    </a:lnTo>
                    <a:lnTo>
                      <a:pt x="680" y="824"/>
                    </a:lnTo>
                    <a:lnTo>
                      <a:pt x="684" y="820"/>
                    </a:lnTo>
                    <a:lnTo>
                      <a:pt x="688" y="818"/>
                    </a:lnTo>
                    <a:lnTo>
                      <a:pt x="690" y="816"/>
                    </a:lnTo>
                    <a:lnTo>
                      <a:pt x="690" y="816"/>
                    </a:lnTo>
                    <a:lnTo>
                      <a:pt x="694" y="816"/>
                    </a:lnTo>
                    <a:lnTo>
                      <a:pt x="696" y="814"/>
                    </a:lnTo>
                    <a:lnTo>
                      <a:pt x="696" y="814"/>
                    </a:lnTo>
                    <a:lnTo>
                      <a:pt x="700" y="814"/>
                    </a:lnTo>
                    <a:lnTo>
                      <a:pt x="700" y="814"/>
                    </a:lnTo>
                    <a:lnTo>
                      <a:pt x="702" y="814"/>
                    </a:lnTo>
                    <a:lnTo>
                      <a:pt x="702" y="814"/>
                    </a:lnTo>
                    <a:lnTo>
                      <a:pt x="706" y="814"/>
                    </a:lnTo>
                    <a:lnTo>
                      <a:pt x="710" y="814"/>
                    </a:lnTo>
                    <a:lnTo>
                      <a:pt x="718" y="814"/>
                    </a:lnTo>
                    <a:lnTo>
                      <a:pt x="718" y="814"/>
                    </a:lnTo>
                    <a:lnTo>
                      <a:pt x="720" y="814"/>
                    </a:lnTo>
                    <a:lnTo>
                      <a:pt x="720" y="814"/>
                    </a:lnTo>
                    <a:lnTo>
                      <a:pt x="720" y="814"/>
                    </a:lnTo>
                    <a:lnTo>
                      <a:pt x="722" y="812"/>
                    </a:lnTo>
                    <a:lnTo>
                      <a:pt x="724" y="810"/>
                    </a:lnTo>
                    <a:lnTo>
                      <a:pt x="726" y="810"/>
                    </a:lnTo>
                    <a:lnTo>
                      <a:pt x="728" y="808"/>
                    </a:lnTo>
                    <a:lnTo>
                      <a:pt x="728" y="808"/>
                    </a:lnTo>
                    <a:lnTo>
                      <a:pt x="730" y="808"/>
                    </a:lnTo>
                    <a:lnTo>
                      <a:pt x="732" y="808"/>
                    </a:lnTo>
                    <a:lnTo>
                      <a:pt x="734" y="808"/>
                    </a:lnTo>
                    <a:lnTo>
                      <a:pt x="734" y="808"/>
                    </a:lnTo>
                    <a:lnTo>
                      <a:pt x="734" y="808"/>
                    </a:lnTo>
                    <a:lnTo>
                      <a:pt x="736" y="806"/>
                    </a:lnTo>
                    <a:lnTo>
                      <a:pt x="738" y="806"/>
                    </a:lnTo>
                    <a:lnTo>
                      <a:pt x="740" y="802"/>
                    </a:lnTo>
                    <a:lnTo>
                      <a:pt x="740" y="802"/>
                    </a:lnTo>
                    <a:lnTo>
                      <a:pt x="742" y="800"/>
                    </a:lnTo>
                    <a:lnTo>
                      <a:pt x="746" y="796"/>
                    </a:lnTo>
                    <a:lnTo>
                      <a:pt x="748" y="796"/>
                    </a:lnTo>
                    <a:lnTo>
                      <a:pt x="752" y="794"/>
                    </a:lnTo>
                    <a:lnTo>
                      <a:pt x="752" y="794"/>
                    </a:lnTo>
                    <a:lnTo>
                      <a:pt x="758" y="792"/>
                    </a:lnTo>
                    <a:lnTo>
                      <a:pt x="764" y="792"/>
                    </a:lnTo>
                    <a:lnTo>
                      <a:pt x="768" y="792"/>
                    </a:lnTo>
                    <a:lnTo>
                      <a:pt x="772" y="790"/>
                    </a:lnTo>
                    <a:lnTo>
                      <a:pt x="772" y="790"/>
                    </a:lnTo>
                    <a:lnTo>
                      <a:pt x="776" y="790"/>
                    </a:lnTo>
                    <a:lnTo>
                      <a:pt x="778" y="788"/>
                    </a:lnTo>
                    <a:lnTo>
                      <a:pt x="780" y="788"/>
                    </a:lnTo>
                    <a:lnTo>
                      <a:pt x="780" y="788"/>
                    </a:lnTo>
                    <a:lnTo>
                      <a:pt x="784" y="788"/>
                    </a:lnTo>
                    <a:lnTo>
                      <a:pt x="788" y="788"/>
                    </a:lnTo>
                    <a:lnTo>
                      <a:pt x="788" y="788"/>
                    </a:lnTo>
                    <a:lnTo>
                      <a:pt x="792" y="790"/>
                    </a:lnTo>
                    <a:lnTo>
                      <a:pt x="794" y="790"/>
                    </a:lnTo>
                    <a:lnTo>
                      <a:pt x="794" y="790"/>
                    </a:lnTo>
                    <a:lnTo>
                      <a:pt x="798" y="792"/>
                    </a:lnTo>
                    <a:lnTo>
                      <a:pt x="800" y="794"/>
                    </a:lnTo>
                    <a:lnTo>
                      <a:pt x="802" y="794"/>
                    </a:lnTo>
                    <a:lnTo>
                      <a:pt x="802" y="794"/>
                    </a:lnTo>
                    <a:lnTo>
                      <a:pt x="804" y="794"/>
                    </a:lnTo>
                    <a:lnTo>
                      <a:pt x="806" y="794"/>
                    </a:lnTo>
                    <a:lnTo>
                      <a:pt x="810" y="792"/>
                    </a:lnTo>
                    <a:lnTo>
                      <a:pt x="814" y="792"/>
                    </a:lnTo>
                    <a:lnTo>
                      <a:pt x="818" y="790"/>
                    </a:lnTo>
                    <a:lnTo>
                      <a:pt x="818" y="790"/>
                    </a:lnTo>
                    <a:lnTo>
                      <a:pt x="824" y="788"/>
                    </a:lnTo>
                    <a:lnTo>
                      <a:pt x="828" y="786"/>
                    </a:lnTo>
                    <a:lnTo>
                      <a:pt x="830" y="786"/>
                    </a:lnTo>
                    <a:lnTo>
                      <a:pt x="830" y="786"/>
                    </a:lnTo>
                    <a:lnTo>
                      <a:pt x="832" y="784"/>
                    </a:lnTo>
                    <a:lnTo>
                      <a:pt x="834" y="784"/>
                    </a:lnTo>
                    <a:lnTo>
                      <a:pt x="834" y="782"/>
                    </a:lnTo>
                    <a:lnTo>
                      <a:pt x="836" y="780"/>
                    </a:lnTo>
                    <a:lnTo>
                      <a:pt x="836" y="778"/>
                    </a:lnTo>
                    <a:lnTo>
                      <a:pt x="836" y="774"/>
                    </a:lnTo>
                    <a:lnTo>
                      <a:pt x="836" y="774"/>
                    </a:lnTo>
                    <a:lnTo>
                      <a:pt x="838" y="772"/>
                    </a:lnTo>
                    <a:lnTo>
                      <a:pt x="840" y="768"/>
                    </a:lnTo>
                    <a:lnTo>
                      <a:pt x="842" y="764"/>
                    </a:lnTo>
                    <a:lnTo>
                      <a:pt x="844" y="760"/>
                    </a:lnTo>
                    <a:lnTo>
                      <a:pt x="844" y="760"/>
                    </a:lnTo>
                    <a:lnTo>
                      <a:pt x="846" y="758"/>
                    </a:lnTo>
                    <a:lnTo>
                      <a:pt x="850" y="756"/>
                    </a:lnTo>
                    <a:lnTo>
                      <a:pt x="854" y="754"/>
                    </a:lnTo>
                    <a:lnTo>
                      <a:pt x="856" y="752"/>
                    </a:lnTo>
                    <a:lnTo>
                      <a:pt x="856" y="752"/>
                    </a:lnTo>
                    <a:lnTo>
                      <a:pt x="858" y="752"/>
                    </a:lnTo>
                    <a:lnTo>
                      <a:pt x="860" y="752"/>
                    </a:lnTo>
                    <a:lnTo>
                      <a:pt x="862" y="752"/>
                    </a:lnTo>
                    <a:lnTo>
                      <a:pt x="862" y="752"/>
                    </a:lnTo>
                    <a:lnTo>
                      <a:pt x="862" y="752"/>
                    </a:lnTo>
                    <a:lnTo>
                      <a:pt x="864" y="752"/>
                    </a:lnTo>
                    <a:lnTo>
                      <a:pt x="866" y="752"/>
                    </a:lnTo>
                    <a:lnTo>
                      <a:pt x="868" y="752"/>
                    </a:lnTo>
                    <a:lnTo>
                      <a:pt x="870" y="750"/>
                    </a:lnTo>
                    <a:lnTo>
                      <a:pt x="872" y="750"/>
                    </a:lnTo>
                    <a:lnTo>
                      <a:pt x="872" y="752"/>
                    </a:lnTo>
                    <a:lnTo>
                      <a:pt x="874" y="752"/>
                    </a:lnTo>
                    <a:lnTo>
                      <a:pt x="874" y="752"/>
                    </a:lnTo>
                    <a:lnTo>
                      <a:pt x="876" y="754"/>
                    </a:lnTo>
                    <a:lnTo>
                      <a:pt x="876" y="754"/>
                    </a:lnTo>
                    <a:lnTo>
                      <a:pt x="878" y="758"/>
                    </a:lnTo>
                    <a:lnTo>
                      <a:pt x="878" y="762"/>
                    </a:lnTo>
                    <a:lnTo>
                      <a:pt x="878" y="762"/>
                    </a:lnTo>
                    <a:lnTo>
                      <a:pt x="878" y="764"/>
                    </a:lnTo>
                    <a:lnTo>
                      <a:pt x="878" y="764"/>
                    </a:lnTo>
                    <a:lnTo>
                      <a:pt x="876" y="768"/>
                    </a:lnTo>
                    <a:lnTo>
                      <a:pt x="874" y="770"/>
                    </a:lnTo>
                    <a:lnTo>
                      <a:pt x="872" y="772"/>
                    </a:lnTo>
                    <a:lnTo>
                      <a:pt x="870" y="774"/>
                    </a:lnTo>
                    <a:lnTo>
                      <a:pt x="870" y="774"/>
                    </a:lnTo>
                    <a:lnTo>
                      <a:pt x="868" y="776"/>
                    </a:lnTo>
                    <a:lnTo>
                      <a:pt x="868" y="778"/>
                    </a:lnTo>
                    <a:lnTo>
                      <a:pt x="868" y="780"/>
                    </a:lnTo>
                    <a:lnTo>
                      <a:pt x="868" y="784"/>
                    </a:lnTo>
                    <a:lnTo>
                      <a:pt x="870" y="788"/>
                    </a:lnTo>
                    <a:lnTo>
                      <a:pt x="870" y="792"/>
                    </a:lnTo>
                    <a:lnTo>
                      <a:pt x="870" y="792"/>
                    </a:lnTo>
                    <a:lnTo>
                      <a:pt x="870" y="796"/>
                    </a:lnTo>
                    <a:lnTo>
                      <a:pt x="872" y="798"/>
                    </a:lnTo>
                    <a:lnTo>
                      <a:pt x="872" y="800"/>
                    </a:lnTo>
                    <a:lnTo>
                      <a:pt x="872" y="800"/>
                    </a:lnTo>
                    <a:lnTo>
                      <a:pt x="872" y="802"/>
                    </a:lnTo>
                    <a:lnTo>
                      <a:pt x="872" y="802"/>
                    </a:lnTo>
                    <a:lnTo>
                      <a:pt x="874" y="802"/>
                    </a:lnTo>
                    <a:lnTo>
                      <a:pt x="874" y="802"/>
                    </a:lnTo>
                    <a:lnTo>
                      <a:pt x="878" y="802"/>
                    </a:lnTo>
                    <a:lnTo>
                      <a:pt x="878" y="802"/>
                    </a:lnTo>
                    <a:lnTo>
                      <a:pt x="880" y="804"/>
                    </a:lnTo>
                    <a:lnTo>
                      <a:pt x="882" y="804"/>
                    </a:lnTo>
                    <a:lnTo>
                      <a:pt x="884" y="804"/>
                    </a:lnTo>
                    <a:lnTo>
                      <a:pt x="884" y="804"/>
                    </a:lnTo>
                    <a:lnTo>
                      <a:pt x="886" y="802"/>
                    </a:lnTo>
                    <a:lnTo>
                      <a:pt x="888" y="802"/>
                    </a:lnTo>
                    <a:lnTo>
                      <a:pt x="888" y="802"/>
                    </a:lnTo>
                    <a:lnTo>
                      <a:pt x="890" y="800"/>
                    </a:lnTo>
                    <a:lnTo>
                      <a:pt x="892" y="800"/>
                    </a:lnTo>
                    <a:lnTo>
                      <a:pt x="894" y="800"/>
                    </a:lnTo>
                    <a:lnTo>
                      <a:pt x="896" y="798"/>
                    </a:lnTo>
                    <a:lnTo>
                      <a:pt x="896" y="798"/>
                    </a:lnTo>
                    <a:lnTo>
                      <a:pt x="900" y="796"/>
                    </a:lnTo>
                    <a:lnTo>
                      <a:pt x="904" y="796"/>
                    </a:lnTo>
                    <a:lnTo>
                      <a:pt x="904" y="796"/>
                    </a:lnTo>
                    <a:lnTo>
                      <a:pt x="908" y="794"/>
                    </a:lnTo>
                    <a:lnTo>
                      <a:pt x="908" y="794"/>
                    </a:lnTo>
                    <a:lnTo>
                      <a:pt x="910" y="792"/>
                    </a:lnTo>
                    <a:lnTo>
                      <a:pt x="910" y="792"/>
                    </a:lnTo>
                    <a:lnTo>
                      <a:pt x="910" y="794"/>
                    </a:lnTo>
                    <a:lnTo>
                      <a:pt x="912" y="796"/>
                    </a:lnTo>
                    <a:lnTo>
                      <a:pt x="912" y="796"/>
                    </a:lnTo>
                    <a:lnTo>
                      <a:pt x="912" y="796"/>
                    </a:lnTo>
                    <a:lnTo>
                      <a:pt x="912" y="796"/>
                    </a:lnTo>
                    <a:lnTo>
                      <a:pt x="912" y="796"/>
                    </a:lnTo>
                    <a:lnTo>
                      <a:pt x="912" y="798"/>
                    </a:lnTo>
                    <a:lnTo>
                      <a:pt x="912" y="800"/>
                    </a:lnTo>
                    <a:lnTo>
                      <a:pt x="910" y="800"/>
                    </a:lnTo>
                    <a:lnTo>
                      <a:pt x="910" y="802"/>
                    </a:lnTo>
                    <a:lnTo>
                      <a:pt x="910" y="802"/>
                    </a:lnTo>
                    <a:lnTo>
                      <a:pt x="908" y="802"/>
                    </a:lnTo>
                    <a:lnTo>
                      <a:pt x="906" y="802"/>
                    </a:lnTo>
                    <a:lnTo>
                      <a:pt x="904" y="802"/>
                    </a:lnTo>
                    <a:lnTo>
                      <a:pt x="902" y="800"/>
                    </a:lnTo>
                    <a:lnTo>
                      <a:pt x="900" y="800"/>
                    </a:lnTo>
                    <a:lnTo>
                      <a:pt x="898" y="800"/>
                    </a:lnTo>
                    <a:lnTo>
                      <a:pt x="898" y="800"/>
                    </a:lnTo>
                    <a:lnTo>
                      <a:pt x="896" y="800"/>
                    </a:lnTo>
                    <a:lnTo>
                      <a:pt x="896" y="802"/>
                    </a:lnTo>
                    <a:lnTo>
                      <a:pt x="894" y="804"/>
                    </a:lnTo>
                    <a:lnTo>
                      <a:pt x="890" y="806"/>
                    </a:lnTo>
                    <a:lnTo>
                      <a:pt x="890" y="808"/>
                    </a:lnTo>
                    <a:lnTo>
                      <a:pt x="890" y="808"/>
                    </a:lnTo>
                    <a:lnTo>
                      <a:pt x="888" y="812"/>
                    </a:lnTo>
                    <a:lnTo>
                      <a:pt x="886" y="814"/>
                    </a:lnTo>
                    <a:lnTo>
                      <a:pt x="886" y="818"/>
                    </a:lnTo>
                    <a:lnTo>
                      <a:pt x="884" y="820"/>
                    </a:lnTo>
                    <a:lnTo>
                      <a:pt x="884" y="820"/>
                    </a:lnTo>
                    <a:lnTo>
                      <a:pt x="882" y="822"/>
                    </a:lnTo>
                    <a:lnTo>
                      <a:pt x="882" y="824"/>
                    </a:lnTo>
                    <a:lnTo>
                      <a:pt x="882" y="824"/>
                    </a:lnTo>
                    <a:lnTo>
                      <a:pt x="882" y="826"/>
                    </a:lnTo>
                    <a:lnTo>
                      <a:pt x="882" y="828"/>
                    </a:lnTo>
                    <a:lnTo>
                      <a:pt x="882" y="830"/>
                    </a:lnTo>
                    <a:lnTo>
                      <a:pt x="884" y="832"/>
                    </a:lnTo>
                    <a:lnTo>
                      <a:pt x="884" y="834"/>
                    </a:lnTo>
                    <a:lnTo>
                      <a:pt x="884" y="834"/>
                    </a:lnTo>
                    <a:lnTo>
                      <a:pt x="886" y="836"/>
                    </a:lnTo>
                    <a:lnTo>
                      <a:pt x="890" y="838"/>
                    </a:lnTo>
                    <a:lnTo>
                      <a:pt x="890" y="838"/>
                    </a:lnTo>
                    <a:lnTo>
                      <a:pt x="890" y="838"/>
                    </a:lnTo>
                    <a:lnTo>
                      <a:pt x="892" y="838"/>
                    </a:lnTo>
                    <a:lnTo>
                      <a:pt x="894" y="838"/>
                    </a:lnTo>
                    <a:lnTo>
                      <a:pt x="894" y="838"/>
                    </a:lnTo>
                    <a:lnTo>
                      <a:pt x="900" y="832"/>
                    </a:lnTo>
                    <a:lnTo>
                      <a:pt x="904" y="830"/>
                    </a:lnTo>
                    <a:lnTo>
                      <a:pt x="906" y="828"/>
                    </a:lnTo>
                    <a:lnTo>
                      <a:pt x="906" y="828"/>
                    </a:lnTo>
                    <a:lnTo>
                      <a:pt x="906" y="828"/>
                    </a:lnTo>
                    <a:lnTo>
                      <a:pt x="910" y="822"/>
                    </a:lnTo>
                    <a:lnTo>
                      <a:pt x="910" y="820"/>
                    </a:lnTo>
                    <a:lnTo>
                      <a:pt x="912" y="818"/>
                    </a:lnTo>
                    <a:lnTo>
                      <a:pt x="912" y="818"/>
                    </a:lnTo>
                    <a:lnTo>
                      <a:pt x="914" y="816"/>
                    </a:lnTo>
                    <a:lnTo>
                      <a:pt x="914" y="816"/>
                    </a:lnTo>
                    <a:lnTo>
                      <a:pt x="916" y="818"/>
                    </a:lnTo>
                    <a:lnTo>
                      <a:pt x="916" y="818"/>
                    </a:lnTo>
                    <a:lnTo>
                      <a:pt x="918" y="818"/>
                    </a:lnTo>
                    <a:lnTo>
                      <a:pt x="920" y="818"/>
                    </a:lnTo>
                    <a:lnTo>
                      <a:pt x="924" y="818"/>
                    </a:lnTo>
                    <a:lnTo>
                      <a:pt x="924" y="818"/>
                    </a:lnTo>
                    <a:lnTo>
                      <a:pt x="928" y="816"/>
                    </a:lnTo>
                    <a:lnTo>
                      <a:pt x="930" y="816"/>
                    </a:lnTo>
                    <a:lnTo>
                      <a:pt x="930" y="816"/>
                    </a:lnTo>
                    <a:lnTo>
                      <a:pt x="932" y="816"/>
                    </a:lnTo>
                    <a:lnTo>
                      <a:pt x="934" y="816"/>
                    </a:lnTo>
                    <a:lnTo>
                      <a:pt x="936" y="814"/>
                    </a:lnTo>
                    <a:lnTo>
                      <a:pt x="936" y="814"/>
                    </a:lnTo>
                    <a:lnTo>
                      <a:pt x="936" y="814"/>
                    </a:lnTo>
                    <a:lnTo>
                      <a:pt x="938" y="812"/>
                    </a:lnTo>
                    <a:lnTo>
                      <a:pt x="940" y="812"/>
                    </a:lnTo>
                    <a:lnTo>
                      <a:pt x="942" y="810"/>
                    </a:lnTo>
                    <a:lnTo>
                      <a:pt x="942" y="810"/>
                    </a:lnTo>
                    <a:lnTo>
                      <a:pt x="944" y="810"/>
                    </a:lnTo>
                    <a:lnTo>
                      <a:pt x="946" y="810"/>
                    </a:lnTo>
                    <a:lnTo>
                      <a:pt x="946" y="810"/>
                    </a:lnTo>
                    <a:lnTo>
                      <a:pt x="950" y="808"/>
                    </a:lnTo>
                    <a:lnTo>
                      <a:pt x="952" y="808"/>
                    </a:lnTo>
                    <a:lnTo>
                      <a:pt x="956" y="808"/>
                    </a:lnTo>
                    <a:lnTo>
                      <a:pt x="958" y="808"/>
                    </a:lnTo>
                    <a:lnTo>
                      <a:pt x="958" y="808"/>
                    </a:lnTo>
                    <a:lnTo>
                      <a:pt x="960" y="808"/>
                    </a:lnTo>
                    <a:lnTo>
                      <a:pt x="962" y="808"/>
                    </a:lnTo>
                    <a:lnTo>
                      <a:pt x="962" y="808"/>
                    </a:lnTo>
                    <a:lnTo>
                      <a:pt x="962" y="806"/>
                    </a:lnTo>
                    <a:lnTo>
                      <a:pt x="960" y="806"/>
                    </a:lnTo>
                    <a:lnTo>
                      <a:pt x="960" y="806"/>
                    </a:lnTo>
                    <a:lnTo>
                      <a:pt x="960" y="806"/>
                    </a:lnTo>
                    <a:lnTo>
                      <a:pt x="960" y="804"/>
                    </a:lnTo>
                    <a:lnTo>
                      <a:pt x="958" y="804"/>
                    </a:lnTo>
                    <a:lnTo>
                      <a:pt x="958" y="802"/>
                    </a:lnTo>
                    <a:lnTo>
                      <a:pt x="958" y="802"/>
                    </a:lnTo>
                    <a:lnTo>
                      <a:pt x="958" y="802"/>
                    </a:lnTo>
                    <a:lnTo>
                      <a:pt x="958" y="802"/>
                    </a:lnTo>
                    <a:lnTo>
                      <a:pt x="960" y="800"/>
                    </a:lnTo>
                    <a:lnTo>
                      <a:pt x="960" y="800"/>
                    </a:lnTo>
                    <a:lnTo>
                      <a:pt x="960" y="800"/>
                    </a:lnTo>
                    <a:lnTo>
                      <a:pt x="960" y="800"/>
                    </a:lnTo>
                    <a:lnTo>
                      <a:pt x="960" y="798"/>
                    </a:lnTo>
                    <a:lnTo>
                      <a:pt x="958" y="796"/>
                    </a:lnTo>
                    <a:lnTo>
                      <a:pt x="956" y="796"/>
                    </a:lnTo>
                    <a:lnTo>
                      <a:pt x="954" y="796"/>
                    </a:lnTo>
                    <a:lnTo>
                      <a:pt x="954" y="796"/>
                    </a:lnTo>
                    <a:lnTo>
                      <a:pt x="952" y="796"/>
                    </a:lnTo>
                    <a:lnTo>
                      <a:pt x="950" y="796"/>
                    </a:lnTo>
                    <a:lnTo>
                      <a:pt x="950" y="796"/>
                    </a:lnTo>
                    <a:lnTo>
                      <a:pt x="950" y="794"/>
                    </a:lnTo>
                    <a:lnTo>
                      <a:pt x="950" y="794"/>
                    </a:lnTo>
                    <a:lnTo>
                      <a:pt x="950" y="792"/>
                    </a:lnTo>
                    <a:lnTo>
                      <a:pt x="950" y="792"/>
                    </a:lnTo>
                    <a:lnTo>
                      <a:pt x="948" y="792"/>
                    </a:lnTo>
                    <a:lnTo>
                      <a:pt x="946" y="794"/>
                    </a:lnTo>
                    <a:lnTo>
                      <a:pt x="942" y="794"/>
                    </a:lnTo>
                    <a:lnTo>
                      <a:pt x="940" y="794"/>
                    </a:lnTo>
                    <a:lnTo>
                      <a:pt x="938" y="796"/>
                    </a:lnTo>
                    <a:lnTo>
                      <a:pt x="936" y="794"/>
                    </a:lnTo>
                    <a:lnTo>
                      <a:pt x="936" y="794"/>
                    </a:lnTo>
                    <a:lnTo>
                      <a:pt x="936" y="794"/>
                    </a:lnTo>
                    <a:lnTo>
                      <a:pt x="934" y="794"/>
                    </a:lnTo>
                    <a:lnTo>
                      <a:pt x="932" y="794"/>
                    </a:lnTo>
                    <a:lnTo>
                      <a:pt x="932" y="792"/>
                    </a:lnTo>
                    <a:lnTo>
                      <a:pt x="930" y="790"/>
                    </a:lnTo>
                    <a:lnTo>
                      <a:pt x="930" y="790"/>
                    </a:lnTo>
                    <a:lnTo>
                      <a:pt x="930" y="788"/>
                    </a:lnTo>
                    <a:lnTo>
                      <a:pt x="930" y="786"/>
                    </a:lnTo>
                    <a:lnTo>
                      <a:pt x="930" y="786"/>
                    </a:lnTo>
                    <a:lnTo>
                      <a:pt x="930" y="784"/>
                    </a:lnTo>
                    <a:lnTo>
                      <a:pt x="930" y="782"/>
                    </a:lnTo>
                    <a:lnTo>
                      <a:pt x="930" y="782"/>
                    </a:lnTo>
                    <a:lnTo>
                      <a:pt x="930" y="782"/>
                    </a:lnTo>
                    <a:lnTo>
                      <a:pt x="928" y="780"/>
                    </a:lnTo>
                    <a:lnTo>
                      <a:pt x="926" y="780"/>
                    </a:lnTo>
                    <a:lnTo>
                      <a:pt x="926" y="780"/>
                    </a:lnTo>
                    <a:lnTo>
                      <a:pt x="924" y="778"/>
                    </a:lnTo>
                    <a:lnTo>
                      <a:pt x="924" y="778"/>
                    </a:lnTo>
                    <a:lnTo>
                      <a:pt x="922" y="776"/>
                    </a:lnTo>
                    <a:lnTo>
                      <a:pt x="920" y="774"/>
                    </a:lnTo>
                    <a:lnTo>
                      <a:pt x="918" y="772"/>
                    </a:lnTo>
                    <a:lnTo>
                      <a:pt x="918" y="770"/>
                    </a:lnTo>
                    <a:lnTo>
                      <a:pt x="918" y="770"/>
                    </a:lnTo>
                    <a:lnTo>
                      <a:pt x="918" y="768"/>
                    </a:lnTo>
                    <a:lnTo>
                      <a:pt x="918" y="766"/>
                    </a:lnTo>
                    <a:lnTo>
                      <a:pt x="920" y="760"/>
                    </a:lnTo>
                    <a:lnTo>
                      <a:pt x="920" y="758"/>
                    </a:lnTo>
                    <a:lnTo>
                      <a:pt x="920" y="756"/>
                    </a:lnTo>
                    <a:lnTo>
                      <a:pt x="920" y="754"/>
                    </a:lnTo>
                    <a:lnTo>
                      <a:pt x="918" y="752"/>
                    </a:lnTo>
                    <a:lnTo>
                      <a:pt x="918" y="752"/>
                    </a:lnTo>
                    <a:lnTo>
                      <a:pt x="916" y="752"/>
                    </a:lnTo>
                    <a:lnTo>
                      <a:pt x="914" y="750"/>
                    </a:lnTo>
                    <a:lnTo>
                      <a:pt x="912" y="748"/>
                    </a:lnTo>
                    <a:lnTo>
                      <a:pt x="910" y="748"/>
                    </a:lnTo>
                    <a:lnTo>
                      <a:pt x="908" y="748"/>
                    </a:lnTo>
                    <a:lnTo>
                      <a:pt x="906" y="746"/>
                    </a:lnTo>
                    <a:lnTo>
                      <a:pt x="904" y="744"/>
                    </a:lnTo>
                    <a:lnTo>
                      <a:pt x="904" y="744"/>
                    </a:lnTo>
                    <a:lnTo>
                      <a:pt x="906" y="744"/>
                    </a:lnTo>
                    <a:lnTo>
                      <a:pt x="908" y="744"/>
                    </a:lnTo>
                    <a:lnTo>
                      <a:pt x="910" y="746"/>
                    </a:lnTo>
                    <a:lnTo>
                      <a:pt x="910" y="746"/>
                    </a:lnTo>
                    <a:lnTo>
                      <a:pt x="914" y="746"/>
                    </a:lnTo>
                    <a:lnTo>
                      <a:pt x="916" y="748"/>
                    </a:lnTo>
                    <a:lnTo>
                      <a:pt x="916" y="748"/>
                    </a:lnTo>
                    <a:lnTo>
                      <a:pt x="918" y="746"/>
                    </a:lnTo>
                    <a:lnTo>
                      <a:pt x="918" y="746"/>
                    </a:lnTo>
                    <a:lnTo>
                      <a:pt x="918" y="744"/>
                    </a:lnTo>
                    <a:lnTo>
                      <a:pt x="918" y="744"/>
                    </a:lnTo>
                    <a:lnTo>
                      <a:pt x="920" y="740"/>
                    </a:lnTo>
                    <a:lnTo>
                      <a:pt x="920" y="740"/>
                    </a:lnTo>
                    <a:lnTo>
                      <a:pt x="922" y="740"/>
                    </a:lnTo>
                    <a:lnTo>
                      <a:pt x="922" y="740"/>
                    </a:lnTo>
                    <a:lnTo>
                      <a:pt x="924" y="740"/>
                    </a:lnTo>
                    <a:lnTo>
                      <a:pt x="924" y="740"/>
                    </a:lnTo>
                    <a:lnTo>
                      <a:pt x="926" y="740"/>
                    </a:lnTo>
                    <a:lnTo>
                      <a:pt x="928" y="740"/>
                    </a:lnTo>
                    <a:lnTo>
                      <a:pt x="928" y="740"/>
                    </a:lnTo>
                    <a:lnTo>
                      <a:pt x="930" y="738"/>
                    </a:lnTo>
                    <a:lnTo>
                      <a:pt x="930" y="738"/>
                    </a:lnTo>
                    <a:lnTo>
                      <a:pt x="932" y="736"/>
                    </a:lnTo>
                    <a:lnTo>
                      <a:pt x="932" y="736"/>
                    </a:lnTo>
                    <a:lnTo>
                      <a:pt x="932" y="736"/>
                    </a:lnTo>
                    <a:lnTo>
                      <a:pt x="934" y="734"/>
                    </a:lnTo>
                    <a:lnTo>
                      <a:pt x="934" y="732"/>
                    </a:lnTo>
                    <a:lnTo>
                      <a:pt x="934" y="730"/>
                    </a:lnTo>
                    <a:lnTo>
                      <a:pt x="934" y="730"/>
                    </a:lnTo>
                    <a:lnTo>
                      <a:pt x="934" y="730"/>
                    </a:lnTo>
                    <a:lnTo>
                      <a:pt x="934" y="728"/>
                    </a:lnTo>
                    <a:lnTo>
                      <a:pt x="932" y="726"/>
                    </a:lnTo>
                    <a:lnTo>
                      <a:pt x="932" y="726"/>
                    </a:lnTo>
                    <a:lnTo>
                      <a:pt x="930" y="724"/>
                    </a:lnTo>
                    <a:lnTo>
                      <a:pt x="928" y="722"/>
                    </a:lnTo>
                    <a:lnTo>
                      <a:pt x="928" y="720"/>
                    </a:lnTo>
                    <a:lnTo>
                      <a:pt x="926" y="718"/>
                    </a:lnTo>
                    <a:lnTo>
                      <a:pt x="926" y="718"/>
                    </a:lnTo>
                    <a:lnTo>
                      <a:pt x="924" y="716"/>
                    </a:lnTo>
                    <a:lnTo>
                      <a:pt x="922" y="716"/>
                    </a:lnTo>
                    <a:lnTo>
                      <a:pt x="920" y="716"/>
                    </a:lnTo>
                    <a:lnTo>
                      <a:pt x="920" y="716"/>
                    </a:lnTo>
                    <a:lnTo>
                      <a:pt x="920" y="716"/>
                    </a:lnTo>
                    <a:lnTo>
                      <a:pt x="916" y="714"/>
                    </a:lnTo>
                    <a:lnTo>
                      <a:pt x="914" y="714"/>
                    </a:lnTo>
                    <a:lnTo>
                      <a:pt x="912" y="714"/>
                    </a:lnTo>
                    <a:lnTo>
                      <a:pt x="912" y="714"/>
                    </a:lnTo>
                    <a:lnTo>
                      <a:pt x="910" y="714"/>
                    </a:lnTo>
                    <a:lnTo>
                      <a:pt x="906" y="716"/>
                    </a:lnTo>
                    <a:lnTo>
                      <a:pt x="898" y="718"/>
                    </a:lnTo>
                    <a:lnTo>
                      <a:pt x="898" y="718"/>
                    </a:lnTo>
                    <a:lnTo>
                      <a:pt x="892" y="722"/>
                    </a:lnTo>
                    <a:lnTo>
                      <a:pt x="886" y="724"/>
                    </a:lnTo>
                    <a:lnTo>
                      <a:pt x="886" y="724"/>
                    </a:lnTo>
                    <a:lnTo>
                      <a:pt x="880" y="726"/>
                    </a:lnTo>
                    <a:lnTo>
                      <a:pt x="876" y="728"/>
                    </a:lnTo>
                    <a:lnTo>
                      <a:pt x="870" y="730"/>
                    </a:lnTo>
                    <a:lnTo>
                      <a:pt x="868" y="732"/>
                    </a:lnTo>
                    <a:lnTo>
                      <a:pt x="866" y="734"/>
                    </a:lnTo>
                    <a:lnTo>
                      <a:pt x="866" y="734"/>
                    </a:lnTo>
                    <a:lnTo>
                      <a:pt x="862" y="738"/>
                    </a:lnTo>
                    <a:lnTo>
                      <a:pt x="856" y="740"/>
                    </a:lnTo>
                    <a:lnTo>
                      <a:pt x="852" y="744"/>
                    </a:lnTo>
                    <a:lnTo>
                      <a:pt x="846" y="748"/>
                    </a:lnTo>
                    <a:lnTo>
                      <a:pt x="846" y="748"/>
                    </a:lnTo>
                    <a:lnTo>
                      <a:pt x="846" y="746"/>
                    </a:lnTo>
                    <a:lnTo>
                      <a:pt x="846" y="744"/>
                    </a:lnTo>
                    <a:lnTo>
                      <a:pt x="848" y="742"/>
                    </a:lnTo>
                    <a:lnTo>
                      <a:pt x="848" y="742"/>
                    </a:lnTo>
                    <a:lnTo>
                      <a:pt x="850" y="740"/>
                    </a:lnTo>
                    <a:lnTo>
                      <a:pt x="852" y="738"/>
                    </a:lnTo>
                    <a:lnTo>
                      <a:pt x="856" y="736"/>
                    </a:lnTo>
                    <a:lnTo>
                      <a:pt x="858" y="734"/>
                    </a:lnTo>
                    <a:lnTo>
                      <a:pt x="864" y="732"/>
                    </a:lnTo>
                    <a:lnTo>
                      <a:pt x="864" y="732"/>
                    </a:lnTo>
                    <a:lnTo>
                      <a:pt x="866" y="730"/>
                    </a:lnTo>
                    <a:lnTo>
                      <a:pt x="870" y="728"/>
                    </a:lnTo>
                    <a:lnTo>
                      <a:pt x="872" y="726"/>
                    </a:lnTo>
                    <a:lnTo>
                      <a:pt x="874" y="724"/>
                    </a:lnTo>
                    <a:lnTo>
                      <a:pt x="874" y="724"/>
                    </a:lnTo>
                    <a:lnTo>
                      <a:pt x="878" y="722"/>
                    </a:lnTo>
                    <a:lnTo>
                      <a:pt x="878" y="720"/>
                    </a:lnTo>
                    <a:lnTo>
                      <a:pt x="882" y="718"/>
                    </a:lnTo>
                    <a:lnTo>
                      <a:pt x="886" y="718"/>
                    </a:lnTo>
                    <a:lnTo>
                      <a:pt x="886" y="718"/>
                    </a:lnTo>
                    <a:lnTo>
                      <a:pt x="888" y="718"/>
                    </a:lnTo>
                    <a:lnTo>
                      <a:pt x="890" y="716"/>
                    </a:lnTo>
                    <a:lnTo>
                      <a:pt x="892" y="714"/>
                    </a:lnTo>
                    <a:lnTo>
                      <a:pt x="896" y="712"/>
                    </a:lnTo>
                    <a:lnTo>
                      <a:pt x="896" y="712"/>
                    </a:lnTo>
                    <a:lnTo>
                      <a:pt x="898" y="710"/>
                    </a:lnTo>
                    <a:lnTo>
                      <a:pt x="900" y="708"/>
                    </a:lnTo>
                    <a:lnTo>
                      <a:pt x="902" y="706"/>
                    </a:lnTo>
                    <a:lnTo>
                      <a:pt x="904" y="702"/>
                    </a:lnTo>
                    <a:lnTo>
                      <a:pt x="904" y="702"/>
                    </a:lnTo>
                    <a:lnTo>
                      <a:pt x="908" y="702"/>
                    </a:lnTo>
                    <a:lnTo>
                      <a:pt x="910" y="700"/>
                    </a:lnTo>
                    <a:lnTo>
                      <a:pt x="912" y="700"/>
                    </a:lnTo>
                    <a:lnTo>
                      <a:pt x="914" y="698"/>
                    </a:lnTo>
                    <a:lnTo>
                      <a:pt x="914" y="698"/>
                    </a:lnTo>
                    <a:lnTo>
                      <a:pt x="918" y="694"/>
                    </a:lnTo>
                    <a:lnTo>
                      <a:pt x="920" y="694"/>
                    </a:lnTo>
                    <a:lnTo>
                      <a:pt x="924" y="692"/>
                    </a:lnTo>
                    <a:lnTo>
                      <a:pt x="924" y="692"/>
                    </a:lnTo>
                    <a:lnTo>
                      <a:pt x="926" y="692"/>
                    </a:lnTo>
                    <a:lnTo>
                      <a:pt x="930" y="692"/>
                    </a:lnTo>
                    <a:lnTo>
                      <a:pt x="932" y="692"/>
                    </a:lnTo>
                    <a:lnTo>
                      <a:pt x="934" y="694"/>
                    </a:lnTo>
                    <a:lnTo>
                      <a:pt x="934" y="694"/>
                    </a:lnTo>
                    <a:lnTo>
                      <a:pt x="938" y="696"/>
                    </a:lnTo>
                    <a:lnTo>
                      <a:pt x="940" y="698"/>
                    </a:lnTo>
                    <a:lnTo>
                      <a:pt x="942" y="700"/>
                    </a:lnTo>
                    <a:lnTo>
                      <a:pt x="944" y="700"/>
                    </a:lnTo>
                    <a:lnTo>
                      <a:pt x="946" y="700"/>
                    </a:lnTo>
                    <a:lnTo>
                      <a:pt x="948" y="700"/>
                    </a:lnTo>
                    <a:lnTo>
                      <a:pt x="948" y="700"/>
                    </a:lnTo>
                    <a:lnTo>
                      <a:pt x="950" y="698"/>
                    </a:lnTo>
                    <a:lnTo>
                      <a:pt x="950" y="698"/>
                    </a:lnTo>
                    <a:lnTo>
                      <a:pt x="952" y="698"/>
                    </a:lnTo>
                    <a:lnTo>
                      <a:pt x="952" y="698"/>
                    </a:lnTo>
                    <a:lnTo>
                      <a:pt x="956" y="698"/>
                    </a:lnTo>
                    <a:lnTo>
                      <a:pt x="958" y="698"/>
                    </a:lnTo>
                    <a:lnTo>
                      <a:pt x="958" y="698"/>
                    </a:lnTo>
                    <a:lnTo>
                      <a:pt x="964" y="700"/>
                    </a:lnTo>
                    <a:lnTo>
                      <a:pt x="968" y="700"/>
                    </a:lnTo>
                    <a:lnTo>
                      <a:pt x="972" y="700"/>
                    </a:lnTo>
                    <a:lnTo>
                      <a:pt x="972" y="700"/>
                    </a:lnTo>
                    <a:lnTo>
                      <a:pt x="974" y="702"/>
                    </a:lnTo>
                    <a:lnTo>
                      <a:pt x="976" y="704"/>
                    </a:lnTo>
                    <a:lnTo>
                      <a:pt x="980" y="706"/>
                    </a:lnTo>
                    <a:lnTo>
                      <a:pt x="980" y="706"/>
                    </a:lnTo>
                    <a:lnTo>
                      <a:pt x="982" y="706"/>
                    </a:lnTo>
                    <a:lnTo>
                      <a:pt x="982" y="706"/>
                    </a:lnTo>
                    <a:lnTo>
                      <a:pt x="984" y="706"/>
                    </a:lnTo>
                    <a:lnTo>
                      <a:pt x="988" y="704"/>
                    </a:lnTo>
                    <a:lnTo>
                      <a:pt x="988" y="704"/>
                    </a:lnTo>
                    <a:lnTo>
                      <a:pt x="992" y="704"/>
                    </a:lnTo>
                    <a:lnTo>
                      <a:pt x="996" y="704"/>
                    </a:lnTo>
                    <a:lnTo>
                      <a:pt x="996" y="704"/>
                    </a:lnTo>
                    <a:lnTo>
                      <a:pt x="998" y="702"/>
                    </a:lnTo>
                    <a:lnTo>
                      <a:pt x="1004" y="702"/>
                    </a:lnTo>
                    <a:lnTo>
                      <a:pt x="1008" y="700"/>
                    </a:lnTo>
                    <a:lnTo>
                      <a:pt x="1010" y="700"/>
                    </a:lnTo>
                    <a:lnTo>
                      <a:pt x="1010" y="700"/>
                    </a:lnTo>
                    <a:lnTo>
                      <a:pt x="1010" y="698"/>
                    </a:lnTo>
                    <a:lnTo>
                      <a:pt x="1012" y="696"/>
                    </a:lnTo>
                    <a:lnTo>
                      <a:pt x="1014" y="694"/>
                    </a:lnTo>
                    <a:lnTo>
                      <a:pt x="1016" y="690"/>
                    </a:lnTo>
                    <a:lnTo>
                      <a:pt x="1016" y="690"/>
                    </a:lnTo>
                    <a:lnTo>
                      <a:pt x="1018" y="688"/>
                    </a:lnTo>
                    <a:lnTo>
                      <a:pt x="1018" y="688"/>
                    </a:lnTo>
                    <a:lnTo>
                      <a:pt x="1020" y="688"/>
                    </a:lnTo>
                    <a:lnTo>
                      <a:pt x="1020" y="686"/>
                    </a:lnTo>
                    <a:lnTo>
                      <a:pt x="1024" y="686"/>
                    </a:lnTo>
                    <a:lnTo>
                      <a:pt x="1026" y="686"/>
                    </a:lnTo>
                    <a:lnTo>
                      <a:pt x="1030" y="686"/>
                    </a:lnTo>
                    <a:lnTo>
                      <a:pt x="1030" y="686"/>
                    </a:lnTo>
                    <a:lnTo>
                      <a:pt x="1034" y="686"/>
                    </a:lnTo>
                    <a:lnTo>
                      <a:pt x="1034" y="684"/>
                    </a:lnTo>
                    <a:lnTo>
                      <a:pt x="1034" y="684"/>
                    </a:lnTo>
                    <a:lnTo>
                      <a:pt x="1038" y="682"/>
                    </a:lnTo>
                    <a:lnTo>
                      <a:pt x="1040" y="682"/>
                    </a:lnTo>
                    <a:lnTo>
                      <a:pt x="1040" y="682"/>
                    </a:lnTo>
                    <a:lnTo>
                      <a:pt x="1040" y="682"/>
                    </a:lnTo>
                    <a:lnTo>
                      <a:pt x="1048" y="682"/>
                    </a:lnTo>
                    <a:lnTo>
                      <a:pt x="1052" y="682"/>
                    </a:lnTo>
                    <a:lnTo>
                      <a:pt x="1054" y="682"/>
                    </a:lnTo>
                    <a:lnTo>
                      <a:pt x="1054" y="682"/>
                    </a:lnTo>
                    <a:lnTo>
                      <a:pt x="1054" y="682"/>
                    </a:lnTo>
                    <a:lnTo>
                      <a:pt x="1056" y="680"/>
                    </a:lnTo>
                    <a:lnTo>
                      <a:pt x="1058" y="678"/>
                    </a:lnTo>
                    <a:lnTo>
                      <a:pt x="1058" y="676"/>
                    </a:lnTo>
                    <a:lnTo>
                      <a:pt x="1060" y="676"/>
                    </a:lnTo>
                    <a:lnTo>
                      <a:pt x="1060" y="676"/>
                    </a:lnTo>
                    <a:lnTo>
                      <a:pt x="1062" y="676"/>
                    </a:lnTo>
                    <a:lnTo>
                      <a:pt x="1064" y="674"/>
                    </a:lnTo>
                    <a:lnTo>
                      <a:pt x="1064" y="674"/>
                    </a:lnTo>
                    <a:lnTo>
                      <a:pt x="1066" y="674"/>
                    </a:lnTo>
                    <a:lnTo>
                      <a:pt x="1068" y="674"/>
                    </a:lnTo>
                    <a:lnTo>
                      <a:pt x="1068" y="672"/>
                    </a:lnTo>
                    <a:lnTo>
                      <a:pt x="1070" y="670"/>
                    </a:lnTo>
                    <a:lnTo>
                      <a:pt x="1070" y="670"/>
                    </a:lnTo>
                    <a:lnTo>
                      <a:pt x="1070" y="666"/>
                    </a:lnTo>
                    <a:lnTo>
                      <a:pt x="1070" y="664"/>
                    </a:lnTo>
                    <a:lnTo>
                      <a:pt x="1070" y="664"/>
                    </a:lnTo>
                    <a:lnTo>
                      <a:pt x="1070" y="660"/>
                    </a:lnTo>
                    <a:lnTo>
                      <a:pt x="1070" y="656"/>
                    </a:lnTo>
                    <a:lnTo>
                      <a:pt x="1070" y="656"/>
                    </a:lnTo>
                    <a:lnTo>
                      <a:pt x="1072" y="652"/>
                    </a:lnTo>
                    <a:lnTo>
                      <a:pt x="1074" y="650"/>
                    </a:lnTo>
                    <a:lnTo>
                      <a:pt x="1074" y="650"/>
                    </a:lnTo>
                    <a:lnTo>
                      <a:pt x="1074" y="646"/>
                    </a:lnTo>
                    <a:lnTo>
                      <a:pt x="1074" y="644"/>
                    </a:lnTo>
                    <a:lnTo>
                      <a:pt x="1074" y="642"/>
                    </a:lnTo>
                    <a:lnTo>
                      <a:pt x="1074" y="642"/>
                    </a:lnTo>
                    <a:lnTo>
                      <a:pt x="1074" y="640"/>
                    </a:lnTo>
                    <a:lnTo>
                      <a:pt x="1074" y="638"/>
                    </a:lnTo>
                    <a:lnTo>
                      <a:pt x="1074" y="638"/>
                    </a:lnTo>
                    <a:lnTo>
                      <a:pt x="1072" y="636"/>
                    </a:lnTo>
                    <a:lnTo>
                      <a:pt x="1070" y="634"/>
                    </a:lnTo>
                    <a:lnTo>
                      <a:pt x="1068" y="632"/>
                    </a:lnTo>
                    <a:lnTo>
                      <a:pt x="1066" y="632"/>
                    </a:lnTo>
                    <a:lnTo>
                      <a:pt x="1066" y="632"/>
                    </a:lnTo>
                    <a:lnTo>
                      <a:pt x="1062" y="630"/>
                    </a:lnTo>
                    <a:lnTo>
                      <a:pt x="1062" y="628"/>
                    </a:lnTo>
                    <a:lnTo>
                      <a:pt x="1060" y="628"/>
                    </a:lnTo>
                    <a:lnTo>
                      <a:pt x="1060" y="628"/>
                    </a:lnTo>
                    <a:lnTo>
                      <a:pt x="1058" y="628"/>
                    </a:lnTo>
                    <a:lnTo>
                      <a:pt x="1058" y="628"/>
                    </a:lnTo>
                    <a:lnTo>
                      <a:pt x="1056" y="628"/>
                    </a:lnTo>
                    <a:lnTo>
                      <a:pt x="1056" y="628"/>
                    </a:lnTo>
                    <a:lnTo>
                      <a:pt x="1054" y="628"/>
                    </a:lnTo>
                    <a:lnTo>
                      <a:pt x="1052" y="628"/>
                    </a:lnTo>
                    <a:lnTo>
                      <a:pt x="1052" y="628"/>
                    </a:lnTo>
                    <a:lnTo>
                      <a:pt x="1046" y="628"/>
                    </a:lnTo>
                    <a:lnTo>
                      <a:pt x="1042" y="628"/>
                    </a:lnTo>
                    <a:lnTo>
                      <a:pt x="1040" y="630"/>
                    </a:lnTo>
                    <a:lnTo>
                      <a:pt x="1040" y="630"/>
                    </a:lnTo>
                    <a:lnTo>
                      <a:pt x="1036" y="630"/>
                    </a:lnTo>
                    <a:lnTo>
                      <a:pt x="1034" y="632"/>
                    </a:lnTo>
                    <a:lnTo>
                      <a:pt x="1034" y="632"/>
                    </a:lnTo>
                    <a:lnTo>
                      <a:pt x="1032" y="632"/>
                    </a:lnTo>
                    <a:lnTo>
                      <a:pt x="1030" y="632"/>
                    </a:lnTo>
                    <a:lnTo>
                      <a:pt x="1030" y="632"/>
                    </a:lnTo>
                    <a:lnTo>
                      <a:pt x="1030" y="630"/>
                    </a:lnTo>
                    <a:lnTo>
                      <a:pt x="1032" y="630"/>
                    </a:lnTo>
                    <a:lnTo>
                      <a:pt x="1034" y="628"/>
                    </a:lnTo>
                    <a:lnTo>
                      <a:pt x="1034" y="628"/>
                    </a:lnTo>
                    <a:lnTo>
                      <a:pt x="1042" y="624"/>
                    </a:lnTo>
                    <a:lnTo>
                      <a:pt x="1042" y="624"/>
                    </a:lnTo>
                    <a:lnTo>
                      <a:pt x="1048" y="620"/>
                    </a:lnTo>
                    <a:lnTo>
                      <a:pt x="1048" y="620"/>
                    </a:lnTo>
                    <a:lnTo>
                      <a:pt x="1050" y="620"/>
                    </a:lnTo>
                    <a:lnTo>
                      <a:pt x="1050" y="620"/>
                    </a:lnTo>
                    <a:lnTo>
                      <a:pt x="1052" y="620"/>
                    </a:lnTo>
                    <a:lnTo>
                      <a:pt x="1054" y="620"/>
                    </a:lnTo>
                    <a:lnTo>
                      <a:pt x="1054" y="620"/>
                    </a:lnTo>
                    <a:lnTo>
                      <a:pt x="1056" y="620"/>
                    </a:lnTo>
                    <a:lnTo>
                      <a:pt x="1058" y="622"/>
                    </a:lnTo>
                    <a:lnTo>
                      <a:pt x="1058" y="620"/>
                    </a:lnTo>
                    <a:lnTo>
                      <a:pt x="1058" y="620"/>
                    </a:lnTo>
                    <a:lnTo>
                      <a:pt x="1060" y="620"/>
                    </a:lnTo>
                    <a:lnTo>
                      <a:pt x="1060" y="618"/>
                    </a:lnTo>
                    <a:lnTo>
                      <a:pt x="1060" y="618"/>
                    </a:lnTo>
                    <a:lnTo>
                      <a:pt x="1060" y="618"/>
                    </a:lnTo>
                    <a:lnTo>
                      <a:pt x="1060" y="616"/>
                    </a:lnTo>
                    <a:lnTo>
                      <a:pt x="1058" y="614"/>
                    </a:lnTo>
                    <a:lnTo>
                      <a:pt x="1058" y="614"/>
                    </a:lnTo>
                    <a:lnTo>
                      <a:pt x="1058" y="612"/>
                    </a:lnTo>
                    <a:lnTo>
                      <a:pt x="1056" y="612"/>
                    </a:lnTo>
                    <a:lnTo>
                      <a:pt x="1054" y="610"/>
                    </a:lnTo>
                    <a:lnTo>
                      <a:pt x="1054" y="610"/>
                    </a:lnTo>
                    <a:lnTo>
                      <a:pt x="1048" y="606"/>
                    </a:lnTo>
                    <a:lnTo>
                      <a:pt x="1042" y="604"/>
                    </a:lnTo>
                    <a:lnTo>
                      <a:pt x="1042" y="604"/>
                    </a:lnTo>
                    <a:lnTo>
                      <a:pt x="1036" y="600"/>
                    </a:lnTo>
                    <a:lnTo>
                      <a:pt x="1034" y="598"/>
                    </a:lnTo>
                    <a:lnTo>
                      <a:pt x="1032" y="596"/>
                    </a:lnTo>
                    <a:lnTo>
                      <a:pt x="1032" y="596"/>
                    </a:lnTo>
                    <a:lnTo>
                      <a:pt x="1030" y="594"/>
                    </a:lnTo>
                    <a:lnTo>
                      <a:pt x="1030" y="594"/>
                    </a:lnTo>
                    <a:lnTo>
                      <a:pt x="1028" y="590"/>
                    </a:lnTo>
                    <a:lnTo>
                      <a:pt x="1026" y="586"/>
                    </a:lnTo>
                    <a:lnTo>
                      <a:pt x="1026" y="584"/>
                    </a:lnTo>
                    <a:lnTo>
                      <a:pt x="1026" y="584"/>
                    </a:lnTo>
                    <a:lnTo>
                      <a:pt x="1022" y="578"/>
                    </a:lnTo>
                    <a:lnTo>
                      <a:pt x="1020" y="572"/>
                    </a:lnTo>
                    <a:lnTo>
                      <a:pt x="1020" y="572"/>
                    </a:lnTo>
                    <a:lnTo>
                      <a:pt x="1018" y="570"/>
                    </a:lnTo>
                    <a:lnTo>
                      <a:pt x="1018" y="570"/>
                    </a:lnTo>
                    <a:lnTo>
                      <a:pt x="1020" y="566"/>
                    </a:lnTo>
                    <a:lnTo>
                      <a:pt x="1020" y="566"/>
                    </a:lnTo>
                    <a:lnTo>
                      <a:pt x="1018" y="566"/>
                    </a:lnTo>
                    <a:lnTo>
                      <a:pt x="1018" y="564"/>
                    </a:lnTo>
                    <a:lnTo>
                      <a:pt x="1018" y="562"/>
                    </a:lnTo>
                    <a:lnTo>
                      <a:pt x="1018" y="562"/>
                    </a:lnTo>
                    <a:lnTo>
                      <a:pt x="1018" y="562"/>
                    </a:lnTo>
                    <a:lnTo>
                      <a:pt x="1018" y="560"/>
                    </a:lnTo>
                    <a:lnTo>
                      <a:pt x="1018" y="558"/>
                    </a:lnTo>
                    <a:lnTo>
                      <a:pt x="1022" y="558"/>
                    </a:lnTo>
                    <a:lnTo>
                      <a:pt x="1022" y="558"/>
                    </a:lnTo>
                    <a:lnTo>
                      <a:pt x="1022" y="556"/>
                    </a:lnTo>
                    <a:lnTo>
                      <a:pt x="1024" y="554"/>
                    </a:lnTo>
                    <a:lnTo>
                      <a:pt x="1024" y="552"/>
                    </a:lnTo>
                    <a:lnTo>
                      <a:pt x="1022" y="550"/>
                    </a:lnTo>
                    <a:lnTo>
                      <a:pt x="1022" y="548"/>
                    </a:lnTo>
                    <a:lnTo>
                      <a:pt x="1022" y="546"/>
                    </a:lnTo>
                    <a:lnTo>
                      <a:pt x="1020" y="542"/>
                    </a:lnTo>
                    <a:lnTo>
                      <a:pt x="1020" y="542"/>
                    </a:lnTo>
                    <a:lnTo>
                      <a:pt x="1018" y="542"/>
                    </a:lnTo>
                    <a:lnTo>
                      <a:pt x="1018" y="540"/>
                    </a:lnTo>
                    <a:lnTo>
                      <a:pt x="1018" y="536"/>
                    </a:lnTo>
                    <a:lnTo>
                      <a:pt x="1018" y="534"/>
                    </a:lnTo>
                    <a:lnTo>
                      <a:pt x="1018" y="532"/>
                    </a:lnTo>
                    <a:lnTo>
                      <a:pt x="1018" y="532"/>
                    </a:lnTo>
                    <a:lnTo>
                      <a:pt x="1018" y="532"/>
                    </a:lnTo>
                    <a:lnTo>
                      <a:pt x="1016" y="528"/>
                    </a:lnTo>
                    <a:lnTo>
                      <a:pt x="1014" y="526"/>
                    </a:lnTo>
                    <a:lnTo>
                      <a:pt x="1014" y="526"/>
                    </a:lnTo>
                    <a:lnTo>
                      <a:pt x="1014" y="526"/>
                    </a:lnTo>
                    <a:lnTo>
                      <a:pt x="1012" y="524"/>
                    </a:lnTo>
                    <a:lnTo>
                      <a:pt x="1012" y="524"/>
                    </a:lnTo>
                    <a:lnTo>
                      <a:pt x="1010" y="522"/>
                    </a:lnTo>
                    <a:lnTo>
                      <a:pt x="1010" y="522"/>
                    </a:lnTo>
                    <a:lnTo>
                      <a:pt x="1010" y="522"/>
                    </a:lnTo>
                    <a:lnTo>
                      <a:pt x="1010" y="522"/>
                    </a:lnTo>
                    <a:lnTo>
                      <a:pt x="1010" y="520"/>
                    </a:lnTo>
                    <a:lnTo>
                      <a:pt x="1010" y="520"/>
                    </a:lnTo>
                    <a:lnTo>
                      <a:pt x="1012" y="518"/>
                    </a:lnTo>
                    <a:lnTo>
                      <a:pt x="1012" y="518"/>
                    </a:lnTo>
                    <a:lnTo>
                      <a:pt x="1014" y="516"/>
                    </a:lnTo>
                    <a:lnTo>
                      <a:pt x="1014" y="516"/>
                    </a:lnTo>
                    <a:lnTo>
                      <a:pt x="1014" y="514"/>
                    </a:lnTo>
                    <a:lnTo>
                      <a:pt x="1014" y="512"/>
                    </a:lnTo>
                    <a:lnTo>
                      <a:pt x="1014" y="512"/>
                    </a:lnTo>
                    <a:lnTo>
                      <a:pt x="1012" y="510"/>
                    </a:lnTo>
                    <a:lnTo>
                      <a:pt x="1010" y="510"/>
                    </a:lnTo>
                    <a:lnTo>
                      <a:pt x="1010" y="508"/>
                    </a:lnTo>
                    <a:lnTo>
                      <a:pt x="1010" y="508"/>
                    </a:lnTo>
                    <a:lnTo>
                      <a:pt x="1010" y="504"/>
                    </a:lnTo>
                    <a:lnTo>
                      <a:pt x="1010" y="502"/>
                    </a:lnTo>
                    <a:lnTo>
                      <a:pt x="1010" y="500"/>
                    </a:lnTo>
                    <a:lnTo>
                      <a:pt x="1010" y="500"/>
                    </a:lnTo>
                    <a:lnTo>
                      <a:pt x="1008" y="498"/>
                    </a:lnTo>
                    <a:lnTo>
                      <a:pt x="1006" y="496"/>
                    </a:lnTo>
                    <a:lnTo>
                      <a:pt x="1006" y="494"/>
                    </a:lnTo>
                    <a:lnTo>
                      <a:pt x="1006" y="494"/>
                    </a:lnTo>
                    <a:lnTo>
                      <a:pt x="1008" y="492"/>
                    </a:lnTo>
                    <a:lnTo>
                      <a:pt x="1008" y="490"/>
                    </a:lnTo>
                    <a:lnTo>
                      <a:pt x="1008" y="490"/>
                    </a:lnTo>
                    <a:lnTo>
                      <a:pt x="1010" y="488"/>
                    </a:lnTo>
                    <a:lnTo>
                      <a:pt x="1010" y="488"/>
                    </a:lnTo>
                    <a:lnTo>
                      <a:pt x="1012" y="486"/>
                    </a:lnTo>
                    <a:lnTo>
                      <a:pt x="1012" y="486"/>
                    </a:lnTo>
                    <a:lnTo>
                      <a:pt x="1012" y="486"/>
                    </a:lnTo>
                    <a:lnTo>
                      <a:pt x="1012" y="484"/>
                    </a:lnTo>
                    <a:lnTo>
                      <a:pt x="1012" y="480"/>
                    </a:lnTo>
                    <a:lnTo>
                      <a:pt x="1012" y="480"/>
                    </a:lnTo>
                    <a:lnTo>
                      <a:pt x="1010" y="480"/>
                    </a:lnTo>
                    <a:lnTo>
                      <a:pt x="1010" y="478"/>
                    </a:lnTo>
                    <a:lnTo>
                      <a:pt x="1008" y="476"/>
                    </a:lnTo>
                    <a:lnTo>
                      <a:pt x="1008" y="476"/>
                    </a:lnTo>
                    <a:lnTo>
                      <a:pt x="1006" y="474"/>
                    </a:lnTo>
                    <a:lnTo>
                      <a:pt x="1006" y="472"/>
                    </a:lnTo>
                    <a:lnTo>
                      <a:pt x="1006" y="472"/>
                    </a:lnTo>
                    <a:lnTo>
                      <a:pt x="1004" y="472"/>
                    </a:lnTo>
                    <a:lnTo>
                      <a:pt x="1004" y="470"/>
                    </a:lnTo>
                    <a:lnTo>
                      <a:pt x="1000" y="470"/>
                    </a:lnTo>
                    <a:lnTo>
                      <a:pt x="998" y="472"/>
                    </a:lnTo>
                    <a:lnTo>
                      <a:pt x="998" y="472"/>
                    </a:lnTo>
                    <a:lnTo>
                      <a:pt x="998" y="472"/>
                    </a:lnTo>
                    <a:lnTo>
                      <a:pt x="996" y="474"/>
                    </a:lnTo>
                    <a:lnTo>
                      <a:pt x="994" y="476"/>
                    </a:lnTo>
                    <a:lnTo>
                      <a:pt x="994" y="476"/>
                    </a:lnTo>
                    <a:lnTo>
                      <a:pt x="992" y="478"/>
                    </a:lnTo>
                    <a:lnTo>
                      <a:pt x="992" y="480"/>
                    </a:lnTo>
                    <a:lnTo>
                      <a:pt x="988" y="484"/>
                    </a:lnTo>
                    <a:lnTo>
                      <a:pt x="984" y="486"/>
                    </a:lnTo>
                    <a:lnTo>
                      <a:pt x="982" y="488"/>
                    </a:lnTo>
                    <a:lnTo>
                      <a:pt x="982" y="488"/>
                    </a:lnTo>
                    <a:lnTo>
                      <a:pt x="980" y="490"/>
                    </a:lnTo>
                    <a:lnTo>
                      <a:pt x="980" y="494"/>
                    </a:lnTo>
                    <a:lnTo>
                      <a:pt x="978" y="496"/>
                    </a:lnTo>
                    <a:lnTo>
                      <a:pt x="978" y="498"/>
                    </a:lnTo>
                    <a:lnTo>
                      <a:pt x="978" y="498"/>
                    </a:lnTo>
                    <a:lnTo>
                      <a:pt x="976" y="498"/>
                    </a:lnTo>
                    <a:lnTo>
                      <a:pt x="976" y="500"/>
                    </a:lnTo>
                    <a:lnTo>
                      <a:pt x="974" y="500"/>
                    </a:lnTo>
                    <a:lnTo>
                      <a:pt x="974" y="500"/>
                    </a:lnTo>
                    <a:lnTo>
                      <a:pt x="972" y="502"/>
                    </a:lnTo>
                    <a:lnTo>
                      <a:pt x="970" y="504"/>
                    </a:lnTo>
                    <a:lnTo>
                      <a:pt x="970" y="504"/>
                    </a:lnTo>
                    <a:lnTo>
                      <a:pt x="964" y="510"/>
                    </a:lnTo>
                    <a:lnTo>
                      <a:pt x="962" y="510"/>
                    </a:lnTo>
                    <a:lnTo>
                      <a:pt x="960" y="512"/>
                    </a:lnTo>
                    <a:lnTo>
                      <a:pt x="960" y="512"/>
                    </a:lnTo>
                    <a:lnTo>
                      <a:pt x="958" y="514"/>
                    </a:lnTo>
                    <a:lnTo>
                      <a:pt x="956" y="514"/>
                    </a:lnTo>
                    <a:lnTo>
                      <a:pt x="956" y="514"/>
                    </a:lnTo>
                    <a:lnTo>
                      <a:pt x="956" y="514"/>
                    </a:lnTo>
                    <a:lnTo>
                      <a:pt x="954" y="512"/>
                    </a:lnTo>
                    <a:lnTo>
                      <a:pt x="954" y="512"/>
                    </a:lnTo>
                    <a:lnTo>
                      <a:pt x="952" y="510"/>
                    </a:lnTo>
                    <a:lnTo>
                      <a:pt x="950" y="510"/>
                    </a:lnTo>
                    <a:lnTo>
                      <a:pt x="950" y="510"/>
                    </a:lnTo>
                    <a:lnTo>
                      <a:pt x="948" y="510"/>
                    </a:lnTo>
                    <a:lnTo>
                      <a:pt x="944" y="510"/>
                    </a:lnTo>
                    <a:lnTo>
                      <a:pt x="942" y="510"/>
                    </a:lnTo>
                    <a:lnTo>
                      <a:pt x="940" y="508"/>
                    </a:lnTo>
                    <a:lnTo>
                      <a:pt x="940" y="508"/>
                    </a:lnTo>
                    <a:lnTo>
                      <a:pt x="938" y="506"/>
                    </a:lnTo>
                    <a:lnTo>
                      <a:pt x="938" y="506"/>
                    </a:lnTo>
                    <a:lnTo>
                      <a:pt x="938" y="502"/>
                    </a:lnTo>
                    <a:lnTo>
                      <a:pt x="936" y="500"/>
                    </a:lnTo>
                    <a:lnTo>
                      <a:pt x="936" y="500"/>
                    </a:lnTo>
                    <a:lnTo>
                      <a:pt x="936" y="498"/>
                    </a:lnTo>
                    <a:lnTo>
                      <a:pt x="936" y="498"/>
                    </a:lnTo>
                    <a:lnTo>
                      <a:pt x="932" y="496"/>
                    </a:lnTo>
                    <a:lnTo>
                      <a:pt x="930" y="496"/>
                    </a:lnTo>
                    <a:lnTo>
                      <a:pt x="930" y="496"/>
                    </a:lnTo>
                    <a:lnTo>
                      <a:pt x="928" y="494"/>
                    </a:lnTo>
                    <a:lnTo>
                      <a:pt x="928" y="496"/>
                    </a:lnTo>
                    <a:lnTo>
                      <a:pt x="926" y="496"/>
                    </a:lnTo>
                    <a:lnTo>
                      <a:pt x="926" y="496"/>
                    </a:lnTo>
                    <a:lnTo>
                      <a:pt x="924" y="498"/>
                    </a:lnTo>
                    <a:lnTo>
                      <a:pt x="924" y="498"/>
                    </a:lnTo>
                    <a:lnTo>
                      <a:pt x="922" y="498"/>
                    </a:lnTo>
                    <a:lnTo>
                      <a:pt x="922" y="498"/>
                    </a:lnTo>
                    <a:lnTo>
                      <a:pt x="922" y="498"/>
                    </a:lnTo>
                    <a:lnTo>
                      <a:pt x="922" y="498"/>
                    </a:lnTo>
                    <a:lnTo>
                      <a:pt x="922" y="496"/>
                    </a:lnTo>
                    <a:lnTo>
                      <a:pt x="924" y="494"/>
                    </a:lnTo>
                    <a:lnTo>
                      <a:pt x="926" y="492"/>
                    </a:lnTo>
                    <a:lnTo>
                      <a:pt x="926" y="492"/>
                    </a:lnTo>
                    <a:lnTo>
                      <a:pt x="928" y="490"/>
                    </a:lnTo>
                    <a:lnTo>
                      <a:pt x="928" y="488"/>
                    </a:lnTo>
                    <a:lnTo>
                      <a:pt x="928" y="488"/>
                    </a:lnTo>
                    <a:lnTo>
                      <a:pt x="928" y="488"/>
                    </a:lnTo>
                    <a:lnTo>
                      <a:pt x="928" y="486"/>
                    </a:lnTo>
                    <a:lnTo>
                      <a:pt x="930" y="484"/>
                    </a:lnTo>
                    <a:lnTo>
                      <a:pt x="930" y="482"/>
                    </a:lnTo>
                    <a:lnTo>
                      <a:pt x="930" y="482"/>
                    </a:lnTo>
                    <a:lnTo>
                      <a:pt x="930" y="480"/>
                    </a:lnTo>
                    <a:lnTo>
                      <a:pt x="930" y="478"/>
                    </a:lnTo>
                    <a:lnTo>
                      <a:pt x="932" y="478"/>
                    </a:lnTo>
                    <a:lnTo>
                      <a:pt x="932" y="478"/>
                    </a:lnTo>
                    <a:lnTo>
                      <a:pt x="934" y="476"/>
                    </a:lnTo>
                    <a:lnTo>
                      <a:pt x="934" y="474"/>
                    </a:lnTo>
                    <a:lnTo>
                      <a:pt x="934" y="472"/>
                    </a:lnTo>
                    <a:lnTo>
                      <a:pt x="934" y="472"/>
                    </a:lnTo>
                    <a:lnTo>
                      <a:pt x="934" y="468"/>
                    </a:lnTo>
                    <a:lnTo>
                      <a:pt x="934" y="466"/>
                    </a:lnTo>
                    <a:lnTo>
                      <a:pt x="932" y="464"/>
                    </a:lnTo>
                    <a:lnTo>
                      <a:pt x="932" y="464"/>
                    </a:lnTo>
                    <a:lnTo>
                      <a:pt x="932" y="462"/>
                    </a:lnTo>
                    <a:lnTo>
                      <a:pt x="932" y="462"/>
                    </a:lnTo>
                    <a:lnTo>
                      <a:pt x="932" y="460"/>
                    </a:lnTo>
                    <a:lnTo>
                      <a:pt x="932" y="460"/>
                    </a:lnTo>
                    <a:lnTo>
                      <a:pt x="934" y="458"/>
                    </a:lnTo>
                    <a:lnTo>
                      <a:pt x="936" y="456"/>
                    </a:lnTo>
                    <a:lnTo>
                      <a:pt x="936" y="456"/>
                    </a:lnTo>
                    <a:lnTo>
                      <a:pt x="936" y="454"/>
                    </a:lnTo>
                    <a:lnTo>
                      <a:pt x="938" y="454"/>
                    </a:lnTo>
                    <a:lnTo>
                      <a:pt x="938" y="454"/>
                    </a:lnTo>
                    <a:lnTo>
                      <a:pt x="938" y="454"/>
                    </a:lnTo>
                    <a:lnTo>
                      <a:pt x="938" y="452"/>
                    </a:lnTo>
                    <a:lnTo>
                      <a:pt x="938" y="452"/>
                    </a:lnTo>
                    <a:lnTo>
                      <a:pt x="938" y="450"/>
                    </a:lnTo>
                    <a:lnTo>
                      <a:pt x="936" y="450"/>
                    </a:lnTo>
                    <a:lnTo>
                      <a:pt x="936" y="448"/>
                    </a:lnTo>
                    <a:lnTo>
                      <a:pt x="932" y="446"/>
                    </a:lnTo>
                    <a:lnTo>
                      <a:pt x="928" y="446"/>
                    </a:lnTo>
                    <a:lnTo>
                      <a:pt x="928" y="446"/>
                    </a:lnTo>
                    <a:lnTo>
                      <a:pt x="924" y="442"/>
                    </a:lnTo>
                    <a:lnTo>
                      <a:pt x="922" y="440"/>
                    </a:lnTo>
                    <a:lnTo>
                      <a:pt x="920" y="438"/>
                    </a:lnTo>
                    <a:lnTo>
                      <a:pt x="916" y="434"/>
                    </a:lnTo>
                    <a:lnTo>
                      <a:pt x="916" y="430"/>
                    </a:lnTo>
                    <a:lnTo>
                      <a:pt x="914" y="426"/>
                    </a:lnTo>
                    <a:lnTo>
                      <a:pt x="912" y="422"/>
                    </a:lnTo>
                    <a:lnTo>
                      <a:pt x="912" y="418"/>
                    </a:lnTo>
                    <a:lnTo>
                      <a:pt x="912" y="418"/>
                    </a:lnTo>
                    <a:lnTo>
                      <a:pt x="912" y="416"/>
                    </a:lnTo>
                    <a:lnTo>
                      <a:pt x="912" y="414"/>
                    </a:lnTo>
                    <a:lnTo>
                      <a:pt x="912" y="414"/>
                    </a:lnTo>
                    <a:lnTo>
                      <a:pt x="910" y="412"/>
                    </a:lnTo>
                    <a:lnTo>
                      <a:pt x="908" y="410"/>
                    </a:lnTo>
                    <a:lnTo>
                      <a:pt x="904" y="408"/>
                    </a:lnTo>
                    <a:lnTo>
                      <a:pt x="904" y="408"/>
                    </a:lnTo>
                    <a:lnTo>
                      <a:pt x="902" y="406"/>
                    </a:lnTo>
                    <a:lnTo>
                      <a:pt x="900" y="404"/>
                    </a:lnTo>
                    <a:lnTo>
                      <a:pt x="900" y="404"/>
                    </a:lnTo>
                    <a:lnTo>
                      <a:pt x="898" y="404"/>
                    </a:lnTo>
                    <a:lnTo>
                      <a:pt x="896" y="404"/>
                    </a:lnTo>
                    <a:lnTo>
                      <a:pt x="896" y="406"/>
                    </a:lnTo>
                    <a:lnTo>
                      <a:pt x="896" y="406"/>
                    </a:lnTo>
                    <a:lnTo>
                      <a:pt x="892" y="408"/>
                    </a:lnTo>
                    <a:lnTo>
                      <a:pt x="890" y="410"/>
                    </a:lnTo>
                    <a:lnTo>
                      <a:pt x="890" y="410"/>
                    </a:lnTo>
                    <a:lnTo>
                      <a:pt x="888" y="410"/>
                    </a:lnTo>
                    <a:lnTo>
                      <a:pt x="886" y="410"/>
                    </a:lnTo>
                    <a:lnTo>
                      <a:pt x="886" y="410"/>
                    </a:lnTo>
                    <a:lnTo>
                      <a:pt x="886" y="410"/>
                    </a:lnTo>
                    <a:lnTo>
                      <a:pt x="884" y="408"/>
                    </a:lnTo>
                    <a:lnTo>
                      <a:pt x="882" y="406"/>
                    </a:lnTo>
                    <a:lnTo>
                      <a:pt x="882" y="404"/>
                    </a:lnTo>
                    <a:lnTo>
                      <a:pt x="880" y="404"/>
                    </a:lnTo>
                    <a:lnTo>
                      <a:pt x="878" y="404"/>
                    </a:lnTo>
                    <a:lnTo>
                      <a:pt x="878" y="404"/>
                    </a:lnTo>
                    <a:lnTo>
                      <a:pt x="876" y="402"/>
                    </a:lnTo>
                    <a:lnTo>
                      <a:pt x="872" y="402"/>
                    </a:lnTo>
                    <a:lnTo>
                      <a:pt x="872" y="402"/>
                    </a:lnTo>
                    <a:lnTo>
                      <a:pt x="872" y="402"/>
                    </a:lnTo>
                    <a:lnTo>
                      <a:pt x="870" y="400"/>
                    </a:lnTo>
                    <a:lnTo>
                      <a:pt x="868" y="400"/>
                    </a:lnTo>
                    <a:lnTo>
                      <a:pt x="868" y="400"/>
                    </a:lnTo>
                    <a:lnTo>
                      <a:pt x="866" y="400"/>
                    </a:lnTo>
                    <a:lnTo>
                      <a:pt x="864" y="398"/>
                    </a:lnTo>
                    <a:lnTo>
                      <a:pt x="862" y="396"/>
                    </a:lnTo>
                    <a:lnTo>
                      <a:pt x="860" y="394"/>
                    </a:lnTo>
                    <a:lnTo>
                      <a:pt x="860" y="394"/>
                    </a:lnTo>
                    <a:lnTo>
                      <a:pt x="858" y="394"/>
                    </a:lnTo>
                    <a:lnTo>
                      <a:pt x="856" y="394"/>
                    </a:lnTo>
                    <a:lnTo>
                      <a:pt x="854" y="394"/>
                    </a:lnTo>
                    <a:lnTo>
                      <a:pt x="852" y="394"/>
                    </a:lnTo>
                    <a:lnTo>
                      <a:pt x="850" y="396"/>
                    </a:lnTo>
                    <a:lnTo>
                      <a:pt x="850" y="396"/>
                    </a:lnTo>
                    <a:lnTo>
                      <a:pt x="848" y="398"/>
                    </a:lnTo>
                    <a:lnTo>
                      <a:pt x="846" y="400"/>
                    </a:lnTo>
                    <a:lnTo>
                      <a:pt x="844" y="402"/>
                    </a:lnTo>
                    <a:lnTo>
                      <a:pt x="844" y="404"/>
                    </a:lnTo>
                    <a:lnTo>
                      <a:pt x="844" y="404"/>
                    </a:lnTo>
                    <a:lnTo>
                      <a:pt x="842" y="406"/>
                    </a:lnTo>
                    <a:lnTo>
                      <a:pt x="842" y="410"/>
                    </a:lnTo>
                    <a:lnTo>
                      <a:pt x="842" y="412"/>
                    </a:lnTo>
                    <a:lnTo>
                      <a:pt x="842" y="414"/>
                    </a:lnTo>
                    <a:lnTo>
                      <a:pt x="842" y="414"/>
                    </a:lnTo>
                    <a:lnTo>
                      <a:pt x="842" y="416"/>
                    </a:lnTo>
                    <a:lnTo>
                      <a:pt x="844" y="418"/>
                    </a:lnTo>
                    <a:lnTo>
                      <a:pt x="844" y="420"/>
                    </a:lnTo>
                    <a:lnTo>
                      <a:pt x="844" y="420"/>
                    </a:lnTo>
                    <a:lnTo>
                      <a:pt x="842" y="420"/>
                    </a:lnTo>
                    <a:lnTo>
                      <a:pt x="842" y="422"/>
                    </a:lnTo>
                    <a:lnTo>
                      <a:pt x="840" y="424"/>
                    </a:lnTo>
                    <a:lnTo>
                      <a:pt x="840" y="424"/>
                    </a:lnTo>
                    <a:lnTo>
                      <a:pt x="838" y="426"/>
                    </a:lnTo>
                    <a:lnTo>
                      <a:pt x="836" y="428"/>
                    </a:lnTo>
                    <a:lnTo>
                      <a:pt x="836" y="430"/>
                    </a:lnTo>
                    <a:lnTo>
                      <a:pt x="836" y="434"/>
                    </a:lnTo>
                    <a:lnTo>
                      <a:pt x="836" y="434"/>
                    </a:lnTo>
                    <a:lnTo>
                      <a:pt x="836" y="438"/>
                    </a:lnTo>
                    <a:lnTo>
                      <a:pt x="836" y="442"/>
                    </a:lnTo>
                    <a:lnTo>
                      <a:pt x="836" y="446"/>
                    </a:lnTo>
                    <a:lnTo>
                      <a:pt x="836" y="446"/>
                    </a:lnTo>
                    <a:lnTo>
                      <a:pt x="834" y="448"/>
                    </a:lnTo>
                    <a:lnTo>
                      <a:pt x="832" y="452"/>
                    </a:lnTo>
                    <a:lnTo>
                      <a:pt x="830" y="458"/>
                    </a:lnTo>
                    <a:lnTo>
                      <a:pt x="830" y="458"/>
                    </a:lnTo>
                    <a:lnTo>
                      <a:pt x="828" y="462"/>
                    </a:lnTo>
                    <a:lnTo>
                      <a:pt x="826" y="462"/>
                    </a:lnTo>
                    <a:lnTo>
                      <a:pt x="824" y="464"/>
                    </a:lnTo>
                    <a:lnTo>
                      <a:pt x="824" y="464"/>
                    </a:lnTo>
                    <a:lnTo>
                      <a:pt x="822" y="466"/>
                    </a:lnTo>
                    <a:lnTo>
                      <a:pt x="818" y="468"/>
                    </a:lnTo>
                    <a:lnTo>
                      <a:pt x="818" y="468"/>
                    </a:lnTo>
                    <a:lnTo>
                      <a:pt x="818" y="470"/>
                    </a:lnTo>
                    <a:lnTo>
                      <a:pt x="814" y="470"/>
                    </a:lnTo>
                    <a:lnTo>
                      <a:pt x="814" y="470"/>
                    </a:lnTo>
                    <a:lnTo>
                      <a:pt x="812" y="472"/>
                    </a:lnTo>
                    <a:lnTo>
                      <a:pt x="808" y="474"/>
                    </a:lnTo>
                    <a:lnTo>
                      <a:pt x="808" y="474"/>
                    </a:lnTo>
                    <a:lnTo>
                      <a:pt x="806" y="476"/>
                    </a:lnTo>
                    <a:lnTo>
                      <a:pt x="802" y="478"/>
                    </a:lnTo>
                    <a:lnTo>
                      <a:pt x="802" y="478"/>
                    </a:lnTo>
                    <a:lnTo>
                      <a:pt x="800" y="480"/>
                    </a:lnTo>
                    <a:lnTo>
                      <a:pt x="800" y="482"/>
                    </a:lnTo>
                    <a:lnTo>
                      <a:pt x="800" y="482"/>
                    </a:lnTo>
                    <a:lnTo>
                      <a:pt x="800" y="482"/>
                    </a:lnTo>
                    <a:lnTo>
                      <a:pt x="800" y="484"/>
                    </a:lnTo>
                    <a:lnTo>
                      <a:pt x="802" y="486"/>
                    </a:lnTo>
                    <a:lnTo>
                      <a:pt x="802" y="486"/>
                    </a:lnTo>
                    <a:lnTo>
                      <a:pt x="806" y="490"/>
                    </a:lnTo>
                    <a:lnTo>
                      <a:pt x="808" y="490"/>
                    </a:lnTo>
                    <a:lnTo>
                      <a:pt x="808" y="490"/>
                    </a:lnTo>
                    <a:lnTo>
                      <a:pt x="812" y="494"/>
                    </a:lnTo>
                    <a:lnTo>
                      <a:pt x="814" y="496"/>
                    </a:lnTo>
                    <a:lnTo>
                      <a:pt x="816" y="498"/>
                    </a:lnTo>
                    <a:lnTo>
                      <a:pt x="816" y="498"/>
                    </a:lnTo>
                    <a:lnTo>
                      <a:pt x="818" y="500"/>
                    </a:lnTo>
                    <a:lnTo>
                      <a:pt x="818" y="504"/>
                    </a:lnTo>
                    <a:lnTo>
                      <a:pt x="818" y="506"/>
                    </a:lnTo>
                    <a:lnTo>
                      <a:pt x="818" y="510"/>
                    </a:lnTo>
                    <a:lnTo>
                      <a:pt x="818" y="514"/>
                    </a:lnTo>
                    <a:lnTo>
                      <a:pt x="818" y="520"/>
                    </a:lnTo>
                    <a:lnTo>
                      <a:pt x="818" y="520"/>
                    </a:lnTo>
                    <a:lnTo>
                      <a:pt x="818" y="528"/>
                    </a:lnTo>
                    <a:lnTo>
                      <a:pt x="816" y="534"/>
                    </a:lnTo>
                    <a:lnTo>
                      <a:pt x="814" y="540"/>
                    </a:lnTo>
                    <a:lnTo>
                      <a:pt x="812" y="546"/>
                    </a:lnTo>
                    <a:lnTo>
                      <a:pt x="812" y="546"/>
                    </a:lnTo>
                    <a:lnTo>
                      <a:pt x="808" y="550"/>
                    </a:lnTo>
                    <a:lnTo>
                      <a:pt x="806" y="556"/>
                    </a:lnTo>
                    <a:lnTo>
                      <a:pt x="802" y="558"/>
                    </a:lnTo>
                    <a:lnTo>
                      <a:pt x="798" y="562"/>
                    </a:lnTo>
                    <a:lnTo>
                      <a:pt x="798" y="562"/>
                    </a:lnTo>
                    <a:lnTo>
                      <a:pt x="794" y="564"/>
                    </a:lnTo>
                    <a:lnTo>
                      <a:pt x="794" y="566"/>
                    </a:lnTo>
                    <a:lnTo>
                      <a:pt x="788" y="568"/>
                    </a:lnTo>
                    <a:lnTo>
                      <a:pt x="788" y="568"/>
                    </a:lnTo>
                    <a:lnTo>
                      <a:pt x="782" y="570"/>
                    </a:lnTo>
                    <a:lnTo>
                      <a:pt x="780" y="570"/>
                    </a:lnTo>
                    <a:lnTo>
                      <a:pt x="778" y="572"/>
                    </a:lnTo>
                    <a:lnTo>
                      <a:pt x="778" y="572"/>
                    </a:lnTo>
                    <a:lnTo>
                      <a:pt x="772" y="572"/>
                    </a:lnTo>
                    <a:lnTo>
                      <a:pt x="768" y="572"/>
                    </a:lnTo>
                    <a:lnTo>
                      <a:pt x="768" y="572"/>
                    </a:lnTo>
                    <a:lnTo>
                      <a:pt x="766" y="572"/>
                    </a:lnTo>
                    <a:lnTo>
                      <a:pt x="764" y="572"/>
                    </a:lnTo>
                    <a:lnTo>
                      <a:pt x="760" y="572"/>
                    </a:lnTo>
                    <a:lnTo>
                      <a:pt x="760" y="572"/>
                    </a:lnTo>
                    <a:lnTo>
                      <a:pt x="758" y="572"/>
                    </a:lnTo>
                    <a:lnTo>
                      <a:pt x="758" y="574"/>
                    </a:lnTo>
                    <a:lnTo>
                      <a:pt x="758" y="574"/>
                    </a:lnTo>
                    <a:lnTo>
                      <a:pt x="758" y="576"/>
                    </a:lnTo>
                    <a:lnTo>
                      <a:pt x="758" y="578"/>
                    </a:lnTo>
                    <a:lnTo>
                      <a:pt x="758" y="582"/>
                    </a:lnTo>
                    <a:lnTo>
                      <a:pt x="758" y="582"/>
                    </a:lnTo>
                    <a:lnTo>
                      <a:pt x="758" y="586"/>
                    </a:lnTo>
                    <a:lnTo>
                      <a:pt x="760" y="590"/>
                    </a:lnTo>
                    <a:lnTo>
                      <a:pt x="760" y="590"/>
                    </a:lnTo>
                    <a:lnTo>
                      <a:pt x="760" y="594"/>
                    </a:lnTo>
                    <a:lnTo>
                      <a:pt x="760" y="596"/>
                    </a:lnTo>
                    <a:lnTo>
                      <a:pt x="760" y="598"/>
                    </a:lnTo>
                    <a:lnTo>
                      <a:pt x="760" y="598"/>
                    </a:lnTo>
                    <a:lnTo>
                      <a:pt x="758" y="600"/>
                    </a:lnTo>
                    <a:lnTo>
                      <a:pt x="756" y="602"/>
                    </a:lnTo>
                    <a:lnTo>
                      <a:pt x="756" y="602"/>
                    </a:lnTo>
                    <a:lnTo>
                      <a:pt x="756" y="602"/>
                    </a:lnTo>
                    <a:lnTo>
                      <a:pt x="754" y="604"/>
                    </a:lnTo>
                    <a:lnTo>
                      <a:pt x="752" y="608"/>
                    </a:lnTo>
                    <a:lnTo>
                      <a:pt x="752" y="608"/>
                    </a:lnTo>
                    <a:lnTo>
                      <a:pt x="750" y="612"/>
                    </a:lnTo>
                    <a:lnTo>
                      <a:pt x="748" y="618"/>
                    </a:lnTo>
                    <a:lnTo>
                      <a:pt x="748" y="618"/>
                    </a:lnTo>
                    <a:lnTo>
                      <a:pt x="748" y="620"/>
                    </a:lnTo>
                    <a:lnTo>
                      <a:pt x="748" y="622"/>
                    </a:lnTo>
                    <a:lnTo>
                      <a:pt x="750" y="626"/>
                    </a:lnTo>
                    <a:lnTo>
                      <a:pt x="750" y="626"/>
                    </a:lnTo>
                    <a:lnTo>
                      <a:pt x="750" y="628"/>
                    </a:lnTo>
                    <a:lnTo>
                      <a:pt x="750" y="630"/>
                    </a:lnTo>
                    <a:lnTo>
                      <a:pt x="748" y="632"/>
                    </a:lnTo>
                    <a:lnTo>
                      <a:pt x="746" y="634"/>
                    </a:lnTo>
                    <a:lnTo>
                      <a:pt x="746" y="634"/>
                    </a:lnTo>
                    <a:lnTo>
                      <a:pt x="744" y="638"/>
                    </a:lnTo>
                    <a:lnTo>
                      <a:pt x="742" y="638"/>
                    </a:lnTo>
                    <a:lnTo>
                      <a:pt x="740" y="640"/>
                    </a:lnTo>
                    <a:lnTo>
                      <a:pt x="740" y="640"/>
                    </a:lnTo>
                    <a:lnTo>
                      <a:pt x="738" y="640"/>
                    </a:lnTo>
                    <a:lnTo>
                      <a:pt x="736" y="640"/>
                    </a:lnTo>
                    <a:lnTo>
                      <a:pt x="732" y="640"/>
                    </a:lnTo>
                    <a:lnTo>
                      <a:pt x="732" y="640"/>
                    </a:lnTo>
                    <a:lnTo>
                      <a:pt x="730" y="642"/>
                    </a:lnTo>
                    <a:lnTo>
                      <a:pt x="730" y="642"/>
                    </a:lnTo>
                    <a:lnTo>
                      <a:pt x="730" y="642"/>
                    </a:lnTo>
                    <a:lnTo>
                      <a:pt x="730" y="644"/>
                    </a:lnTo>
                    <a:lnTo>
                      <a:pt x="728" y="646"/>
                    </a:lnTo>
                    <a:lnTo>
                      <a:pt x="726" y="648"/>
                    </a:lnTo>
                    <a:lnTo>
                      <a:pt x="726" y="650"/>
                    </a:lnTo>
                    <a:lnTo>
                      <a:pt x="726" y="650"/>
                    </a:lnTo>
                    <a:lnTo>
                      <a:pt x="726" y="650"/>
                    </a:lnTo>
                    <a:lnTo>
                      <a:pt x="724" y="652"/>
                    </a:lnTo>
                    <a:lnTo>
                      <a:pt x="722" y="652"/>
                    </a:lnTo>
                    <a:lnTo>
                      <a:pt x="722" y="650"/>
                    </a:lnTo>
                    <a:lnTo>
                      <a:pt x="722" y="650"/>
                    </a:lnTo>
                    <a:lnTo>
                      <a:pt x="720" y="648"/>
                    </a:lnTo>
                    <a:lnTo>
                      <a:pt x="720" y="644"/>
                    </a:lnTo>
                    <a:lnTo>
                      <a:pt x="720" y="644"/>
                    </a:lnTo>
                    <a:lnTo>
                      <a:pt x="720" y="642"/>
                    </a:lnTo>
                    <a:lnTo>
                      <a:pt x="720" y="640"/>
                    </a:lnTo>
                    <a:lnTo>
                      <a:pt x="718" y="638"/>
                    </a:lnTo>
                    <a:lnTo>
                      <a:pt x="716" y="636"/>
                    </a:lnTo>
                    <a:lnTo>
                      <a:pt x="716" y="636"/>
                    </a:lnTo>
                    <a:lnTo>
                      <a:pt x="716" y="636"/>
                    </a:lnTo>
                    <a:lnTo>
                      <a:pt x="714" y="636"/>
                    </a:lnTo>
                    <a:lnTo>
                      <a:pt x="710" y="634"/>
                    </a:lnTo>
                    <a:lnTo>
                      <a:pt x="710" y="634"/>
                    </a:lnTo>
                    <a:lnTo>
                      <a:pt x="708" y="634"/>
                    </a:lnTo>
                    <a:lnTo>
                      <a:pt x="708" y="632"/>
                    </a:lnTo>
                    <a:lnTo>
                      <a:pt x="710" y="632"/>
                    </a:lnTo>
                    <a:lnTo>
                      <a:pt x="710" y="632"/>
                    </a:lnTo>
                    <a:lnTo>
                      <a:pt x="710" y="630"/>
                    </a:lnTo>
                    <a:lnTo>
                      <a:pt x="712" y="630"/>
                    </a:lnTo>
                    <a:lnTo>
                      <a:pt x="714" y="630"/>
                    </a:lnTo>
                    <a:lnTo>
                      <a:pt x="714" y="628"/>
                    </a:lnTo>
                    <a:lnTo>
                      <a:pt x="714" y="628"/>
                    </a:lnTo>
                    <a:lnTo>
                      <a:pt x="716" y="628"/>
                    </a:lnTo>
                    <a:lnTo>
                      <a:pt x="716" y="624"/>
                    </a:lnTo>
                    <a:lnTo>
                      <a:pt x="716" y="624"/>
                    </a:lnTo>
                    <a:lnTo>
                      <a:pt x="716" y="622"/>
                    </a:lnTo>
                    <a:lnTo>
                      <a:pt x="716" y="620"/>
                    </a:lnTo>
                    <a:lnTo>
                      <a:pt x="714" y="618"/>
                    </a:lnTo>
                    <a:lnTo>
                      <a:pt x="714" y="616"/>
                    </a:lnTo>
                    <a:lnTo>
                      <a:pt x="714" y="616"/>
                    </a:lnTo>
                    <a:lnTo>
                      <a:pt x="712" y="614"/>
                    </a:lnTo>
                    <a:lnTo>
                      <a:pt x="710" y="612"/>
                    </a:lnTo>
                    <a:lnTo>
                      <a:pt x="710" y="612"/>
                    </a:lnTo>
                    <a:lnTo>
                      <a:pt x="712" y="612"/>
                    </a:lnTo>
                    <a:lnTo>
                      <a:pt x="712" y="612"/>
                    </a:lnTo>
                    <a:lnTo>
                      <a:pt x="714" y="612"/>
                    </a:lnTo>
                    <a:lnTo>
                      <a:pt x="714" y="612"/>
                    </a:lnTo>
                    <a:lnTo>
                      <a:pt x="716" y="612"/>
                    </a:lnTo>
                    <a:lnTo>
                      <a:pt x="716" y="612"/>
                    </a:lnTo>
                    <a:lnTo>
                      <a:pt x="716" y="610"/>
                    </a:lnTo>
                    <a:lnTo>
                      <a:pt x="716" y="610"/>
                    </a:lnTo>
                    <a:lnTo>
                      <a:pt x="716" y="608"/>
                    </a:lnTo>
                    <a:lnTo>
                      <a:pt x="716" y="606"/>
                    </a:lnTo>
                    <a:lnTo>
                      <a:pt x="716" y="604"/>
                    </a:lnTo>
                    <a:lnTo>
                      <a:pt x="716" y="602"/>
                    </a:lnTo>
                    <a:lnTo>
                      <a:pt x="716" y="602"/>
                    </a:lnTo>
                    <a:lnTo>
                      <a:pt x="714" y="598"/>
                    </a:lnTo>
                    <a:lnTo>
                      <a:pt x="714" y="598"/>
                    </a:lnTo>
                    <a:lnTo>
                      <a:pt x="714" y="598"/>
                    </a:lnTo>
                    <a:lnTo>
                      <a:pt x="714" y="598"/>
                    </a:lnTo>
                    <a:lnTo>
                      <a:pt x="716" y="596"/>
                    </a:lnTo>
                    <a:lnTo>
                      <a:pt x="716" y="596"/>
                    </a:lnTo>
                    <a:lnTo>
                      <a:pt x="718" y="596"/>
                    </a:lnTo>
                    <a:lnTo>
                      <a:pt x="720" y="596"/>
                    </a:lnTo>
                    <a:lnTo>
                      <a:pt x="720" y="596"/>
                    </a:lnTo>
                    <a:lnTo>
                      <a:pt x="720" y="594"/>
                    </a:lnTo>
                    <a:lnTo>
                      <a:pt x="720" y="592"/>
                    </a:lnTo>
                    <a:lnTo>
                      <a:pt x="722" y="588"/>
                    </a:lnTo>
                    <a:lnTo>
                      <a:pt x="722" y="586"/>
                    </a:lnTo>
                    <a:lnTo>
                      <a:pt x="722" y="586"/>
                    </a:lnTo>
                    <a:lnTo>
                      <a:pt x="720" y="586"/>
                    </a:lnTo>
                    <a:lnTo>
                      <a:pt x="720" y="584"/>
                    </a:lnTo>
                    <a:lnTo>
                      <a:pt x="718" y="582"/>
                    </a:lnTo>
                    <a:lnTo>
                      <a:pt x="716" y="582"/>
                    </a:lnTo>
                    <a:lnTo>
                      <a:pt x="716" y="580"/>
                    </a:lnTo>
                    <a:lnTo>
                      <a:pt x="716" y="580"/>
                    </a:lnTo>
                    <a:lnTo>
                      <a:pt x="716" y="580"/>
                    </a:lnTo>
                    <a:lnTo>
                      <a:pt x="716" y="578"/>
                    </a:lnTo>
                    <a:lnTo>
                      <a:pt x="718" y="578"/>
                    </a:lnTo>
                    <a:lnTo>
                      <a:pt x="720" y="576"/>
                    </a:lnTo>
                    <a:lnTo>
                      <a:pt x="720" y="576"/>
                    </a:lnTo>
                    <a:lnTo>
                      <a:pt x="720" y="574"/>
                    </a:lnTo>
                    <a:lnTo>
                      <a:pt x="722" y="572"/>
                    </a:lnTo>
                    <a:lnTo>
                      <a:pt x="722" y="572"/>
                    </a:lnTo>
                    <a:lnTo>
                      <a:pt x="722" y="572"/>
                    </a:lnTo>
                    <a:lnTo>
                      <a:pt x="722" y="568"/>
                    </a:lnTo>
                    <a:lnTo>
                      <a:pt x="722" y="566"/>
                    </a:lnTo>
                    <a:lnTo>
                      <a:pt x="722" y="564"/>
                    </a:lnTo>
                    <a:lnTo>
                      <a:pt x="722" y="562"/>
                    </a:lnTo>
                    <a:lnTo>
                      <a:pt x="722" y="562"/>
                    </a:lnTo>
                    <a:lnTo>
                      <a:pt x="724" y="560"/>
                    </a:lnTo>
                    <a:lnTo>
                      <a:pt x="724" y="560"/>
                    </a:lnTo>
                    <a:lnTo>
                      <a:pt x="724" y="560"/>
                    </a:lnTo>
                    <a:lnTo>
                      <a:pt x="724" y="558"/>
                    </a:lnTo>
                    <a:lnTo>
                      <a:pt x="722" y="558"/>
                    </a:lnTo>
                    <a:lnTo>
                      <a:pt x="722" y="558"/>
                    </a:lnTo>
                    <a:lnTo>
                      <a:pt x="718" y="554"/>
                    </a:lnTo>
                    <a:lnTo>
                      <a:pt x="716" y="554"/>
                    </a:lnTo>
                    <a:lnTo>
                      <a:pt x="714" y="554"/>
                    </a:lnTo>
                    <a:lnTo>
                      <a:pt x="712" y="554"/>
                    </a:lnTo>
                    <a:lnTo>
                      <a:pt x="712" y="554"/>
                    </a:lnTo>
                    <a:lnTo>
                      <a:pt x="706" y="554"/>
                    </a:lnTo>
                    <a:lnTo>
                      <a:pt x="706" y="554"/>
                    </a:lnTo>
                    <a:lnTo>
                      <a:pt x="700" y="554"/>
                    </a:lnTo>
                    <a:lnTo>
                      <a:pt x="700" y="554"/>
                    </a:lnTo>
                    <a:lnTo>
                      <a:pt x="700" y="554"/>
                    </a:lnTo>
                    <a:lnTo>
                      <a:pt x="698" y="554"/>
                    </a:lnTo>
                    <a:lnTo>
                      <a:pt x="696" y="552"/>
                    </a:lnTo>
                    <a:lnTo>
                      <a:pt x="696" y="552"/>
                    </a:lnTo>
                    <a:lnTo>
                      <a:pt x="696" y="550"/>
                    </a:lnTo>
                    <a:lnTo>
                      <a:pt x="696" y="550"/>
                    </a:lnTo>
                    <a:lnTo>
                      <a:pt x="694" y="550"/>
                    </a:lnTo>
                    <a:lnTo>
                      <a:pt x="694" y="550"/>
                    </a:lnTo>
                    <a:lnTo>
                      <a:pt x="692" y="550"/>
                    </a:lnTo>
                    <a:lnTo>
                      <a:pt x="690" y="552"/>
                    </a:lnTo>
                    <a:lnTo>
                      <a:pt x="690" y="552"/>
                    </a:lnTo>
                    <a:lnTo>
                      <a:pt x="688" y="552"/>
                    </a:lnTo>
                    <a:lnTo>
                      <a:pt x="688" y="552"/>
                    </a:lnTo>
                    <a:lnTo>
                      <a:pt x="688" y="552"/>
                    </a:lnTo>
                    <a:lnTo>
                      <a:pt x="688" y="550"/>
                    </a:lnTo>
                    <a:lnTo>
                      <a:pt x="688" y="550"/>
                    </a:lnTo>
                    <a:lnTo>
                      <a:pt x="688" y="550"/>
                    </a:lnTo>
                    <a:lnTo>
                      <a:pt x="688" y="548"/>
                    </a:lnTo>
                    <a:lnTo>
                      <a:pt x="688" y="546"/>
                    </a:lnTo>
                    <a:lnTo>
                      <a:pt x="688" y="546"/>
                    </a:lnTo>
                    <a:lnTo>
                      <a:pt x="688" y="546"/>
                    </a:lnTo>
                    <a:lnTo>
                      <a:pt x="686" y="544"/>
                    </a:lnTo>
                    <a:lnTo>
                      <a:pt x="684" y="542"/>
                    </a:lnTo>
                    <a:lnTo>
                      <a:pt x="684" y="542"/>
                    </a:lnTo>
                    <a:lnTo>
                      <a:pt x="682" y="542"/>
                    </a:lnTo>
                    <a:lnTo>
                      <a:pt x="680" y="540"/>
                    </a:lnTo>
                    <a:lnTo>
                      <a:pt x="680" y="540"/>
                    </a:lnTo>
                    <a:lnTo>
                      <a:pt x="678" y="538"/>
                    </a:lnTo>
                    <a:lnTo>
                      <a:pt x="678" y="536"/>
                    </a:lnTo>
                    <a:lnTo>
                      <a:pt x="676" y="534"/>
                    </a:lnTo>
                    <a:lnTo>
                      <a:pt x="676" y="532"/>
                    </a:lnTo>
                    <a:lnTo>
                      <a:pt x="676" y="530"/>
                    </a:lnTo>
                    <a:lnTo>
                      <a:pt x="674" y="530"/>
                    </a:lnTo>
                    <a:lnTo>
                      <a:pt x="674" y="530"/>
                    </a:lnTo>
                    <a:lnTo>
                      <a:pt x="674" y="528"/>
                    </a:lnTo>
                    <a:lnTo>
                      <a:pt x="672" y="528"/>
                    </a:lnTo>
                    <a:lnTo>
                      <a:pt x="672" y="530"/>
                    </a:lnTo>
                    <a:lnTo>
                      <a:pt x="670" y="530"/>
                    </a:lnTo>
                    <a:lnTo>
                      <a:pt x="670" y="530"/>
                    </a:lnTo>
                    <a:lnTo>
                      <a:pt x="668" y="530"/>
                    </a:lnTo>
                    <a:lnTo>
                      <a:pt x="666" y="528"/>
                    </a:lnTo>
                    <a:lnTo>
                      <a:pt x="666" y="528"/>
                    </a:lnTo>
                    <a:lnTo>
                      <a:pt x="664" y="526"/>
                    </a:lnTo>
                    <a:lnTo>
                      <a:pt x="662" y="524"/>
                    </a:lnTo>
                    <a:lnTo>
                      <a:pt x="662" y="524"/>
                    </a:lnTo>
                    <a:lnTo>
                      <a:pt x="662" y="524"/>
                    </a:lnTo>
                    <a:lnTo>
                      <a:pt x="660" y="522"/>
                    </a:lnTo>
                    <a:lnTo>
                      <a:pt x="660" y="520"/>
                    </a:lnTo>
                    <a:lnTo>
                      <a:pt x="660" y="520"/>
                    </a:lnTo>
                    <a:lnTo>
                      <a:pt x="658" y="514"/>
                    </a:lnTo>
                    <a:lnTo>
                      <a:pt x="656" y="510"/>
                    </a:lnTo>
                    <a:lnTo>
                      <a:pt x="656" y="510"/>
                    </a:lnTo>
                    <a:lnTo>
                      <a:pt x="654" y="508"/>
                    </a:lnTo>
                    <a:lnTo>
                      <a:pt x="652" y="506"/>
                    </a:lnTo>
                    <a:lnTo>
                      <a:pt x="648" y="504"/>
                    </a:lnTo>
                    <a:lnTo>
                      <a:pt x="648" y="504"/>
                    </a:lnTo>
                    <a:lnTo>
                      <a:pt x="644" y="500"/>
                    </a:lnTo>
                    <a:lnTo>
                      <a:pt x="642" y="500"/>
                    </a:lnTo>
                    <a:lnTo>
                      <a:pt x="638" y="498"/>
                    </a:lnTo>
                    <a:lnTo>
                      <a:pt x="638" y="498"/>
                    </a:lnTo>
                    <a:lnTo>
                      <a:pt x="632" y="496"/>
                    </a:lnTo>
                    <a:lnTo>
                      <a:pt x="628" y="494"/>
                    </a:lnTo>
                    <a:lnTo>
                      <a:pt x="628" y="494"/>
                    </a:lnTo>
                    <a:lnTo>
                      <a:pt x="624" y="492"/>
                    </a:lnTo>
                    <a:lnTo>
                      <a:pt x="622" y="492"/>
                    </a:lnTo>
                    <a:lnTo>
                      <a:pt x="618" y="492"/>
                    </a:lnTo>
                    <a:lnTo>
                      <a:pt x="616" y="492"/>
                    </a:lnTo>
                    <a:lnTo>
                      <a:pt x="616" y="492"/>
                    </a:lnTo>
                    <a:lnTo>
                      <a:pt x="614" y="492"/>
                    </a:lnTo>
                    <a:lnTo>
                      <a:pt x="612" y="492"/>
                    </a:lnTo>
                    <a:lnTo>
                      <a:pt x="610" y="492"/>
                    </a:lnTo>
                    <a:lnTo>
                      <a:pt x="610" y="492"/>
                    </a:lnTo>
                    <a:lnTo>
                      <a:pt x="610" y="490"/>
                    </a:lnTo>
                    <a:lnTo>
                      <a:pt x="610" y="490"/>
                    </a:lnTo>
                    <a:lnTo>
                      <a:pt x="610" y="488"/>
                    </a:lnTo>
                    <a:lnTo>
                      <a:pt x="610" y="486"/>
                    </a:lnTo>
                    <a:lnTo>
                      <a:pt x="610" y="486"/>
                    </a:lnTo>
                    <a:lnTo>
                      <a:pt x="612" y="486"/>
                    </a:lnTo>
                    <a:lnTo>
                      <a:pt x="612" y="484"/>
                    </a:lnTo>
                    <a:lnTo>
                      <a:pt x="612" y="482"/>
                    </a:lnTo>
                    <a:lnTo>
                      <a:pt x="610" y="480"/>
                    </a:lnTo>
                    <a:lnTo>
                      <a:pt x="610" y="476"/>
                    </a:lnTo>
                    <a:lnTo>
                      <a:pt x="608" y="474"/>
                    </a:lnTo>
                    <a:lnTo>
                      <a:pt x="608" y="472"/>
                    </a:lnTo>
                    <a:lnTo>
                      <a:pt x="608" y="472"/>
                    </a:lnTo>
                    <a:lnTo>
                      <a:pt x="608" y="468"/>
                    </a:lnTo>
                    <a:lnTo>
                      <a:pt x="610" y="464"/>
                    </a:lnTo>
                    <a:lnTo>
                      <a:pt x="610" y="464"/>
                    </a:lnTo>
                    <a:lnTo>
                      <a:pt x="610" y="462"/>
                    </a:lnTo>
                    <a:lnTo>
                      <a:pt x="610" y="460"/>
                    </a:lnTo>
                    <a:lnTo>
                      <a:pt x="610" y="458"/>
                    </a:lnTo>
                    <a:lnTo>
                      <a:pt x="612" y="456"/>
                    </a:lnTo>
                    <a:lnTo>
                      <a:pt x="612" y="456"/>
                    </a:lnTo>
                    <a:lnTo>
                      <a:pt x="610" y="454"/>
                    </a:lnTo>
                    <a:lnTo>
                      <a:pt x="610" y="454"/>
                    </a:lnTo>
                    <a:lnTo>
                      <a:pt x="608" y="452"/>
                    </a:lnTo>
                    <a:lnTo>
                      <a:pt x="606" y="452"/>
                    </a:lnTo>
                    <a:lnTo>
                      <a:pt x="606" y="452"/>
                    </a:lnTo>
                    <a:lnTo>
                      <a:pt x="600" y="450"/>
                    </a:lnTo>
                    <a:lnTo>
                      <a:pt x="600" y="450"/>
                    </a:lnTo>
                    <a:lnTo>
                      <a:pt x="600" y="450"/>
                    </a:lnTo>
                    <a:lnTo>
                      <a:pt x="598" y="450"/>
                    </a:lnTo>
                    <a:lnTo>
                      <a:pt x="598" y="450"/>
                    </a:lnTo>
                    <a:lnTo>
                      <a:pt x="596" y="450"/>
                    </a:lnTo>
                    <a:lnTo>
                      <a:pt x="596" y="450"/>
                    </a:lnTo>
                    <a:lnTo>
                      <a:pt x="596" y="450"/>
                    </a:lnTo>
                    <a:lnTo>
                      <a:pt x="596" y="450"/>
                    </a:lnTo>
                    <a:lnTo>
                      <a:pt x="594" y="450"/>
                    </a:lnTo>
                    <a:lnTo>
                      <a:pt x="594" y="448"/>
                    </a:lnTo>
                    <a:lnTo>
                      <a:pt x="594" y="448"/>
                    </a:lnTo>
                    <a:lnTo>
                      <a:pt x="594" y="446"/>
                    </a:lnTo>
                    <a:lnTo>
                      <a:pt x="594" y="446"/>
                    </a:lnTo>
                    <a:lnTo>
                      <a:pt x="594" y="444"/>
                    </a:lnTo>
                    <a:lnTo>
                      <a:pt x="596" y="444"/>
                    </a:lnTo>
                    <a:lnTo>
                      <a:pt x="598" y="442"/>
                    </a:lnTo>
                    <a:lnTo>
                      <a:pt x="598" y="442"/>
                    </a:lnTo>
                    <a:lnTo>
                      <a:pt x="598" y="440"/>
                    </a:lnTo>
                    <a:lnTo>
                      <a:pt x="600" y="438"/>
                    </a:lnTo>
                    <a:lnTo>
                      <a:pt x="600" y="438"/>
                    </a:lnTo>
                    <a:lnTo>
                      <a:pt x="600" y="436"/>
                    </a:lnTo>
                    <a:lnTo>
                      <a:pt x="600" y="432"/>
                    </a:lnTo>
                    <a:lnTo>
                      <a:pt x="600" y="428"/>
                    </a:lnTo>
                    <a:lnTo>
                      <a:pt x="600" y="428"/>
                    </a:lnTo>
                    <a:lnTo>
                      <a:pt x="600" y="424"/>
                    </a:lnTo>
                    <a:lnTo>
                      <a:pt x="600" y="422"/>
                    </a:lnTo>
                    <a:lnTo>
                      <a:pt x="600" y="418"/>
                    </a:lnTo>
                    <a:lnTo>
                      <a:pt x="600" y="416"/>
                    </a:lnTo>
                    <a:lnTo>
                      <a:pt x="600" y="416"/>
                    </a:lnTo>
                    <a:lnTo>
                      <a:pt x="604" y="412"/>
                    </a:lnTo>
                    <a:lnTo>
                      <a:pt x="606" y="406"/>
                    </a:lnTo>
                    <a:lnTo>
                      <a:pt x="606" y="406"/>
                    </a:lnTo>
                    <a:lnTo>
                      <a:pt x="610" y="400"/>
                    </a:lnTo>
                    <a:lnTo>
                      <a:pt x="612" y="398"/>
                    </a:lnTo>
                    <a:lnTo>
                      <a:pt x="612" y="396"/>
                    </a:lnTo>
                    <a:lnTo>
                      <a:pt x="614" y="394"/>
                    </a:lnTo>
                    <a:lnTo>
                      <a:pt x="616" y="392"/>
                    </a:lnTo>
                    <a:lnTo>
                      <a:pt x="620" y="390"/>
                    </a:lnTo>
                    <a:lnTo>
                      <a:pt x="622" y="390"/>
                    </a:lnTo>
                    <a:lnTo>
                      <a:pt x="622" y="390"/>
                    </a:lnTo>
                    <a:lnTo>
                      <a:pt x="624" y="388"/>
                    </a:lnTo>
                    <a:lnTo>
                      <a:pt x="626" y="386"/>
                    </a:lnTo>
                    <a:lnTo>
                      <a:pt x="630" y="386"/>
                    </a:lnTo>
                    <a:lnTo>
                      <a:pt x="632" y="384"/>
                    </a:lnTo>
                    <a:lnTo>
                      <a:pt x="632" y="384"/>
                    </a:lnTo>
                    <a:lnTo>
                      <a:pt x="634" y="378"/>
                    </a:lnTo>
                    <a:lnTo>
                      <a:pt x="638" y="372"/>
                    </a:lnTo>
                    <a:lnTo>
                      <a:pt x="638" y="372"/>
                    </a:lnTo>
                    <a:lnTo>
                      <a:pt x="640" y="370"/>
                    </a:lnTo>
                    <a:lnTo>
                      <a:pt x="642" y="368"/>
                    </a:lnTo>
                    <a:lnTo>
                      <a:pt x="644" y="368"/>
                    </a:lnTo>
                    <a:lnTo>
                      <a:pt x="646" y="366"/>
                    </a:lnTo>
                    <a:lnTo>
                      <a:pt x="646" y="366"/>
                    </a:lnTo>
                    <a:lnTo>
                      <a:pt x="648" y="366"/>
                    </a:lnTo>
                    <a:lnTo>
                      <a:pt x="652" y="364"/>
                    </a:lnTo>
                    <a:lnTo>
                      <a:pt x="654" y="362"/>
                    </a:lnTo>
                    <a:lnTo>
                      <a:pt x="656" y="360"/>
                    </a:lnTo>
                    <a:lnTo>
                      <a:pt x="656" y="360"/>
                    </a:lnTo>
                    <a:lnTo>
                      <a:pt x="662" y="356"/>
                    </a:lnTo>
                    <a:lnTo>
                      <a:pt x="664" y="352"/>
                    </a:lnTo>
                    <a:lnTo>
                      <a:pt x="666" y="352"/>
                    </a:lnTo>
                    <a:lnTo>
                      <a:pt x="666" y="352"/>
                    </a:lnTo>
                    <a:lnTo>
                      <a:pt x="668" y="350"/>
                    </a:lnTo>
                    <a:lnTo>
                      <a:pt x="670" y="350"/>
                    </a:lnTo>
                    <a:lnTo>
                      <a:pt x="672" y="350"/>
                    </a:lnTo>
                    <a:lnTo>
                      <a:pt x="674" y="350"/>
                    </a:lnTo>
                    <a:lnTo>
                      <a:pt x="678" y="350"/>
                    </a:lnTo>
                    <a:lnTo>
                      <a:pt x="678" y="350"/>
                    </a:lnTo>
                    <a:lnTo>
                      <a:pt x="680" y="350"/>
                    </a:lnTo>
                    <a:lnTo>
                      <a:pt x="680" y="350"/>
                    </a:lnTo>
                    <a:lnTo>
                      <a:pt x="680" y="348"/>
                    </a:lnTo>
                    <a:lnTo>
                      <a:pt x="682" y="346"/>
                    </a:lnTo>
                    <a:lnTo>
                      <a:pt x="682" y="344"/>
                    </a:lnTo>
                    <a:lnTo>
                      <a:pt x="682" y="342"/>
                    </a:lnTo>
                    <a:lnTo>
                      <a:pt x="682" y="342"/>
                    </a:lnTo>
                    <a:lnTo>
                      <a:pt x="680" y="340"/>
                    </a:lnTo>
                    <a:lnTo>
                      <a:pt x="680" y="338"/>
                    </a:lnTo>
                    <a:lnTo>
                      <a:pt x="680" y="338"/>
                    </a:lnTo>
                    <a:lnTo>
                      <a:pt x="678" y="334"/>
                    </a:lnTo>
                    <a:lnTo>
                      <a:pt x="678" y="334"/>
                    </a:lnTo>
                    <a:lnTo>
                      <a:pt x="676" y="332"/>
                    </a:lnTo>
                    <a:lnTo>
                      <a:pt x="676" y="332"/>
                    </a:lnTo>
                    <a:lnTo>
                      <a:pt x="676" y="332"/>
                    </a:lnTo>
                    <a:lnTo>
                      <a:pt x="674" y="332"/>
                    </a:lnTo>
                    <a:lnTo>
                      <a:pt x="672" y="330"/>
                    </a:lnTo>
                    <a:lnTo>
                      <a:pt x="672" y="330"/>
                    </a:lnTo>
                    <a:lnTo>
                      <a:pt x="668" y="326"/>
                    </a:lnTo>
                    <a:lnTo>
                      <a:pt x="668" y="326"/>
                    </a:lnTo>
                    <a:lnTo>
                      <a:pt x="664" y="324"/>
                    </a:lnTo>
                    <a:lnTo>
                      <a:pt x="662" y="322"/>
                    </a:lnTo>
                    <a:lnTo>
                      <a:pt x="660" y="320"/>
                    </a:lnTo>
                    <a:lnTo>
                      <a:pt x="658" y="320"/>
                    </a:lnTo>
                    <a:lnTo>
                      <a:pt x="658" y="320"/>
                    </a:lnTo>
                    <a:lnTo>
                      <a:pt x="656" y="318"/>
                    </a:lnTo>
                    <a:lnTo>
                      <a:pt x="656" y="316"/>
                    </a:lnTo>
                    <a:lnTo>
                      <a:pt x="652" y="314"/>
                    </a:lnTo>
                    <a:lnTo>
                      <a:pt x="648" y="314"/>
                    </a:lnTo>
                    <a:lnTo>
                      <a:pt x="646" y="312"/>
                    </a:lnTo>
                    <a:lnTo>
                      <a:pt x="646" y="312"/>
                    </a:lnTo>
                    <a:lnTo>
                      <a:pt x="644" y="312"/>
                    </a:lnTo>
                    <a:lnTo>
                      <a:pt x="642" y="312"/>
                    </a:lnTo>
                    <a:lnTo>
                      <a:pt x="638" y="312"/>
                    </a:lnTo>
                    <a:lnTo>
                      <a:pt x="636" y="312"/>
                    </a:lnTo>
                    <a:lnTo>
                      <a:pt x="634" y="312"/>
                    </a:lnTo>
                    <a:lnTo>
                      <a:pt x="632" y="312"/>
                    </a:lnTo>
                    <a:lnTo>
                      <a:pt x="632" y="310"/>
                    </a:lnTo>
                    <a:lnTo>
                      <a:pt x="632" y="310"/>
                    </a:lnTo>
                    <a:lnTo>
                      <a:pt x="634" y="308"/>
                    </a:lnTo>
                    <a:lnTo>
                      <a:pt x="636" y="308"/>
                    </a:lnTo>
                    <a:lnTo>
                      <a:pt x="640" y="308"/>
                    </a:lnTo>
                    <a:lnTo>
                      <a:pt x="642" y="308"/>
                    </a:lnTo>
                    <a:lnTo>
                      <a:pt x="644" y="308"/>
                    </a:lnTo>
                    <a:lnTo>
                      <a:pt x="648" y="308"/>
                    </a:lnTo>
                    <a:lnTo>
                      <a:pt x="652" y="310"/>
                    </a:lnTo>
                    <a:lnTo>
                      <a:pt x="652" y="310"/>
                    </a:lnTo>
                    <a:lnTo>
                      <a:pt x="654" y="312"/>
                    </a:lnTo>
                    <a:lnTo>
                      <a:pt x="656" y="314"/>
                    </a:lnTo>
                    <a:lnTo>
                      <a:pt x="660" y="318"/>
                    </a:lnTo>
                    <a:lnTo>
                      <a:pt x="660" y="318"/>
                    </a:lnTo>
                    <a:lnTo>
                      <a:pt x="666" y="320"/>
                    </a:lnTo>
                    <a:lnTo>
                      <a:pt x="670" y="324"/>
                    </a:lnTo>
                    <a:lnTo>
                      <a:pt x="670" y="324"/>
                    </a:lnTo>
                    <a:lnTo>
                      <a:pt x="674" y="326"/>
                    </a:lnTo>
                    <a:lnTo>
                      <a:pt x="676" y="328"/>
                    </a:lnTo>
                    <a:lnTo>
                      <a:pt x="680" y="330"/>
                    </a:lnTo>
                    <a:lnTo>
                      <a:pt x="680" y="330"/>
                    </a:lnTo>
                    <a:lnTo>
                      <a:pt x="680" y="332"/>
                    </a:lnTo>
                    <a:lnTo>
                      <a:pt x="682" y="334"/>
                    </a:lnTo>
                    <a:lnTo>
                      <a:pt x="684" y="336"/>
                    </a:lnTo>
                    <a:lnTo>
                      <a:pt x="684" y="338"/>
                    </a:lnTo>
                    <a:lnTo>
                      <a:pt x="686" y="338"/>
                    </a:lnTo>
                    <a:lnTo>
                      <a:pt x="686" y="338"/>
                    </a:lnTo>
                    <a:lnTo>
                      <a:pt x="686" y="338"/>
                    </a:lnTo>
                    <a:lnTo>
                      <a:pt x="688" y="338"/>
                    </a:lnTo>
                    <a:lnTo>
                      <a:pt x="692" y="336"/>
                    </a:lnTo>
                    <a:lnTo>
                      <a:pt x="696" y="334"/>
                    </a:lnTo>
                    <a:lnTo>
                      <a:pt x="696" y="334"/>
                    </a:lnTo>
                    <a:lnTo>
                      <a:pt x="700" y="332"/>
                    </a:lnTo>
                    <a:lnTo>
                      <a:pt x="702" y="330"/>
                    </a:lnTo>
                    <a:lnTo>
                      <a:pt x="706" y="330"/>
                    </a:lnTo>
                    <a:lnTo>
                      <a:pt x="706" y="330"/>
                    </a:lnTo>
                    <a:lnTo>
                      <a:pt x="712" y="330"/>
                    </a:lnTo>
                    <a:lnTo>
                      <a:pt x="718" y="330"/>
                    </a:lnTo>
                    <a:lnTo>
                      <a:pt x="720" y="328"/>
                    </a:lnTo>
                    <a:lnTo>
                      <a:pt x="724" y="328"/>
                    </a:lnTo>
                    <a:lnTo>
                      <a:pt x="726" y="328"/>
                    </a:lnTo>
                    <a:lnTo>
                      <a:pt x="730" y="326"/>
                    </a:lnTo>
                    <a:lnTo>
                      <a:pt x="730" y="326"/>
                    </a:lnTo>
                    <a:lnTo>
                      <a:pt x="730" y="326"/>
                    </a:lnTo>
                    <a:lnTo>
                      <a:pt x="732" y="324"/>
                    </a:lnTo>
                    <a:lnTo>
                      <a:pt x="734" y="322"/>
                    </a:lnTo>
                    <a:lnTo>
                      <a:pt x="734" y="320"/>
                    </a:lnTo>
                    <a:lnTo>
                      <a:pt x="736" y="318"/>
                    </a:lnTo>
                    <a:lnTo>
                      <a:pt x="736" y="318"/>
                    </a:lnTo>
                    <a:lnTo>
                      <a:pt x="736" y="316"/>
                    </a:lnTo>
                    <a:lnTo>
                      <a:pt x="736" y="314"/>
                    </a:lnTo>
                    <a:lnTo>
                      <a:pt x="738" y="314"/>
                    </a:lnTo>
                    <a:lnTo>
                      <a:pt x="738" y="314"/>
                    </a:lnTo>
                    <a:lnTo>
                      <a:pt x="740" y="312"/>
                    </a:lnTo>
                    <a:lnTo>
                      <a:pt x="742" y="310"/>
                    </a:lnTo>
                    <a:lnTo>
                      <a:pt x="742" y="310"/>
                    </a:lnTo>
                    <a:lnTo>
                      <a:pt x="744" y="308"/>
                    </a:lnTo>
                    <a:lnTo>
                      <a:pt x="746" y="306"/>
                    </a:lnTo>
                    <a:lnTo>
                      <a:pt x="748" y="304"/>
                    </a:lnTo>
                    <a:lnTo>
                      <a:pt x="750" y="302"/>
                    </a:lnTo>
                    <a:lnTo>
                      <a:pt x="750" y="302"/>
                    </a:lnTo>
                    <a:lnTo>
                      <a:pt x="750" y="300"/>
                    </a:lnTo>
                    <a:lnTo>
                      <a:pt x="750" y="298"/>
                    </a:lnTo>
                    <a:lnTo>
                      <a:pt x="750" y="298"/>
                    </a:lnTo>
                    <a:lnTo>
                      <a:pt x="750" y="298"/>
                    </a:lnTo>
                    <a:lnTo>
                      <a:pt x="750" y="298"/>
                    </a:lnTo>
                    <a:lnTo>
                      <a:pt x="748" y="298"/>
                    </a:lnTo>
                    <a:lnTo>
                      <a:pt x="746" y="298"/>
                    </a:lnTo>
                    <a:lnTo>
                      <a:pt x="744" y="298"/>
                    </a:lnTo>
                    <a:lnTo>
                      <a:pt x="744" y="298"/>
                    </a:lnTo>
                    <a:lnTo>
                      <a:pt x="742" y="300"/>
                    </a:lnTo>
                    <a:lnTo>
                      <a:pt x="738" y="300"/>
                    </a:lnTo>
                    <a:lnTo>
                      <a:pt x="736" y="300"/>
                    </a:lnTo>
                    <a:lnTo>
                      <a:pt x="734" y="300"/>
                    </a:lnTo>
                    <a:lnTo>
                      <a:pt x="730" y="298"/>
                    </a:lnTo>
                    <a:lnTo>
                      <a:pt x="728" y="296"/>
                    </a:lnTo>
                    <a:lnTo>
                      <a:pt x="726" y="296"/>
                    </a:lnTo>
                    <a:lnTo>
                      <a:pt x="726" y="292"/>
                    </a:lnTo>
                    <a:lnTo>
                      <a:pt x="726" y="292"/>
                    </a:lnTo>
                    <a:lnTo>
                      <a:pt x="724" y="290"/>
                    </a:lnTo>
                    <a:lnTo>
                      <a:pt x="722" y="288"/>
                    </a:lnTo>
                    <a:lnTo>
                      <a:pt x="718" y="284"/>
                    </a:lnTo>
                    <a:lnTo>
                      <a:pt x="718" y="284"/>
                    </a:lnTo>
                    <a:lnTo>
                      <a:pt x="716" y="282"/>
                    </a:lnTo>
                    <a:lnTo>
                      <a:pt x="716" y="280"/>
                    </a:lnTo>
                    <a:lnTo>
                      <a:pt x="716" y="280"/>
                    </a:lnTo>
                    <a:lnTo>
                      <a:pt x="716" y="278"/>
                    </a:lnTo>
                    <a:lnTo>
                      <a:pt x="716" y="278"/>
                    </a:lnTo>
                    <a:lnTo>
                      <a:pt x="716" y="278"/>
                    </a:lnTo>
                    <a:lnTo>
                      <a:pt x="718" y="278"/>
                    </a:lnTo>
                    <a:lnTo>
                      <a:pt x="718" y="278"/>
                    </a:lnTo>
                    <a:lnTo>
                      <a:pt x="720" y="280"/>
                    </a:lnTo>
                    <a:lnTo>
                      <a:pt x="720" y="280"/>
                    </a:lnTo>
                    <a:lnTo>
                      <a:pt x="724" y="280"/>
                    </a:lnTo>
                    <a:lnTo>
                      <a:pt x="726" y="282"/>
                    </a:lnTo>
                    <a:lnTo>
                      <a:pt x="728" y="284"/>
                    </a:lnTo>
                    <a:lnTo>
                      <a:pt x="730" y="286"/>
                    </a:lnTo>
                    <a:lnTo>
                      <a:pt x="732" y="290"/>
                    </a:lnTo>
                    <a:lnTo>
                      <a:pt x="736" y="294"/>
                    </a:lnTo>
                    <a:lnTo>
                      <a:pt x="736" y="294"/>
                    </a:lnTo>
                    <a:lnTo>
                      <a:pt x="738" y="294"/>
                    </a:lnTo>
                    <a:lnTo>
                      <a:pt x="738" y="296"/>
                    </a:lnTo>
                    <a:lnTo>
                      <a:pt x="740" y="296"/>
                    </a:lnTo>
                    <a:lnTo>
                      <a:pt x="740" y="296"/>
                    </a:lnTo>
                    <a:lnTo>
                      <a:pt x="744" y="296"/>
                    </a:lnTo>
                    <a:lnTo>
                      <a:pt x="744" y="296"/>
                    </a:lnTo>
                    <a:lnTo>
                      <a:pt x="744" y="296"/>
                    </a:lnTo>
                    <a:lnTo>
                      <a:pt x="748" y="294"/>
                    </a:lnTo>
                    <a:lnTo>
                      <a:pt x="748" y="294"/>
                    </a:lnTo>
                    <a:lnTo>
                      <a:pt x="750" y="294"/>
                    </a:lnTo>
                    <a:lnTo>
                      <a:pt x="750" y="294"/>
                    </a:lnTo>
                    <a:lnTo>
                      <a:pt x="750" y="294"/>
                    </a:lnTo>
                    <a:lnTo>
                      <a:pt x="752" y="294"/>
                    </a:lnTo>
                    <a:lnTo>
                      <a:pt x="754" y="294"/>
                    </a:lnTo>
                    <a:lnTo>
                      <a:pt x="754" y="294"/>
                    </a:lnTo>
                    <a:lnTo>
                      <a:pt x="756" y="294"/>
                    </a:lnTo>
                    <a:lnTo>
                      <a:pt x="758" y="294"/>
                    </a:lnTo>
                    <a:lnTo>
                      <a:pt x="760" y="294"/>
                    </a:lnTo>
                    <a:lnTo>
                      <a:pt x="760" y="294"/>
                    </a:lnTo>
                    <a:lnTo>
                      <a:pt x="766" y="292"/>
                    </a:lnTo>
                    <a:lnTo>
                      <a:pt x="766" y="290"/>
                    </a:lnTo>
                    <a:lnTo>
                      <a:pt x="768" y="288"/>
                    </a:lnTo>
                    <a:lnTo>
                      <a:pt x="768" y="288"/>
                    </a:lnTo>
                    <a:lnTo>
                      <a:pt x="768" y="288"/>
                    </a:lnTo>
                    <a:lnTo>
                      <a:pt x="768" y="286"/>
                    </a:lnTo>
                    <a:lnTo>
                      <a:pt x="768" y="282"/>
                    </a:lnTo>
                    <a:lnTo>
                      <a:pt x="768" y="282"/>
                    </a:lnTo>
                    <a:lnTo>
                      <a:pt x="768" y="280"/>
                    </a:lnTo>
                    <a:lnTo>
                      <a:pt x="770" y="276"/>
                    </a:lnTo>
                    <a:lnTo>
                      <a:pt x="770" y="276"/>
                    </a:lnTo>
                    <a:lnTo>
                      <a:pt x="770" y="274"/>
                    </a:lnTo>
                    <a:lnTo>
                      <a:pt x="772" y="272"/>
                    </a:lnTo>
                    <a:lnTo>
                      <a:pt x="772" y="272"/>
                    </a:lnTo>
                    <a:lnTo>
                      <a:pt x="772" y="270"/>
                    </a:lnTo>
                    <a:lnTo>
                      <a:pt x="772" y="270"/>
                    </a:lnTo>
                    <a:lnTo>
                      <a:pt x="774" y="272"/>
                    </a:lnTo>
                    <a:lnTo>
                      <a:pt x="776" y="272"/>
                    </a:lnTo>
                    <a:lnTo>
                      <a:pt x="776" y="272"/>
                    </a:lnTo>
                    <a:lnTo>
                      <a:pt x="776" y="272"/>
                    </a:lnTo>
                    <a:lnTo>
                      <a:pt x="776" y="274"/>
                    </a:lnTo>
                    <a:lnTo>
                      <a:pt x="778" y="278"/>
                    </a:lnTo>
                    <a:lnTo>
                      <a:pt x="780" y="280"/>
                    </a:lnTo>
                    <a:lnTo>
                      <a:pt x="782" y="282"/>
                    </a:lnTo>
                    <a:lnTo>
                      <a:pt x="782" y="282"/>
                    </a:lnTo>
                    <a:lnTo>
                      <a:pt x="782" y="282"/>
                    </a:lnTo>
                    <a:lnTo>
                      <a:pt x="784" y="282"/>
                    </a:lnTo>
                    <a:lnTo>
                      <a:pt x="784" y="282"/>
                    </a:lnTo>
                    <a:lnTo>
                      <a:pt x="788" y="282"/>
                    </a:lnTo>
                    <a:lnTo>
                      <a:pt x="790" y="282"/>
                    </a:lnTo>
                    <a:lnTo>
                      <a:pt x="792" y="280"/>
                    </a:lnTo>
                    <a:lnTo>
                      <a:pt x="792" y="282"/>
                    </a:lnTo>
                    <a:lnTo>
                      <a:pt x="792" y="282"/>
                    </a:lnTo>
                    <a:lnTo>
                      <a:pt x="794" y="282"/>
                    </a:lnTo>
                    <a:lnTo>
                      <a:pt x="794" y="284"/>
                    </a:lnTo>
                    <a:lnTo>
                      <a:pt x="796" y="284"/>
                    </a:lnTo>
                    <a:lnTo>
                      <a:pt x="796" y="284"/>
                    </a:lnTo>
                    <a:lnTo>
                      <a:pt x="800" y="284"/>
                    </a:lnTo>
                    <a:lnTo>
                      <a:pt x="802" y="286"/>
                    </a:lnTo>
                    <a:lnTo>
                      <a:pt x="802" y="286"/>
                    </a:lnTo>
                    <a:lnTo>
                      <a:pt x="806" y="286"/>
                    </a:lnTo>
                    <a:lnTo>
                      <a:pt x="806" y="286"/>
                    </a:lnTo>
                    <a:lnTo>
                      <a:pt x="806" y="284"/>
                    </a:lnTo>
                    <a:lnTo>
                      <a:pt x="808" y="284"/>
                    </a:lnTo>
                    <a:lnTo>
                      <a:pt x="808" y="282"/>
                    </a:lnTo>
                    <a:lnTo>
                      <a:pt x="808" y="282"/>
                    </a:lnTo>
                    <a:lnTo>
                      <a:pt x="806" y="280"/>
                    </a:lnTo>
                    <a:lnTo>
                      <a:pt x="806" y="278"/>
                    </a:lnTo>
                    <a:lnTo>
                      <a:pt x="806" y="278"/>
                    </a:lnTo>
                    <a:lnTo>
                      <a:pt x="802" y="272"/>
                    </a:lnTo>
                    <a:lnTo>
                      <a:pt x="802" y="270"/>
                    </a:lnTo>
                    <a:lnTo>
                      <a:pt x="800" y="268"/>
                    </a:lnTo>
                    <a:lnTo>
                      <a:pt x="800" y="268"/>
                    </a:lnTo>
                    <a:lnTo>
                      <a:pt x="798" y="266"/>
                    </a:lnTo>
                    <a:lnTo>
                      <a:pt x="798" y="264"/>
                    </a:lnTo>
                    <a:lnTo>
                      <a:pt x="798" y="264"/>
                    </a:lnTo>
                    <a:lnTo>
                      <a:pt x="798" y="264"/>
                    </a:lnTo>
                    <a:lnTo>
                      <a:pt x="798" y="264"/>
                    </a:lnTo>
                    <a:lnTo>
                      <a:pt x="800" y="264"/>
                    </a:lnTo>
                    <a:lnTo>
                      <a:pt x="802" y="266"/>
                    </a:lnTo>
                    <a:lnTo>
                      <a:pt x="806" y="270"/>
                    </a:lnTo>
                    <a:lnTo>
                      <a:pt x="808" y="272"/>
                    </a:lnTo>
                    <a:lnTo>
                      <a:pt x="808" y="272"/>
                    </a:lnTo>
                    <a:lnTo>
                      <a:pt x="810" y="274"/>
                    </a:lnTo>
                    <a:lnTo>
                      <a:pt x="810" y="278"/>
                    </a:lnTo>
                    <a:lnTo>
                      <a:pt x="810" y="280"/>
                    </a:lnTo>
                    <a:lnTo>
                      <a:pt x="812" y="280"/>
                    </a:lnTo>
                    <a:lnTo>
                      <a:pt x="814" y="280"/>
                    </a:lnTo>
                    <a:lnTo>
                      <a:pt x="814" y="282"/>
                    </a:lnTo>
                    <a:lnTo>
                      <a:pt x="814" y="282"/>
                    </a:lnTo>
                    <a:lnTo>
                      <a:pt x="822" y="280"/>
                    </a:lnTo>
                    <a:lnTo>
                      <a:pt x="822" y="280"/>
                    </a:lnTo>
                    <a:lnTo>
                      <a:pt x="824" y="280"/>
                    </a:lnTo>
                    <a:lnTo>
                      <a:pt x="826" y="280"/>
                    </a:lnTo>
                    <a:lnTo>
                      <a:pt x="826" y="280"/>
                    </a:lnTo>
                    <a:lnTo>
                      <a:pt x="828" y="278"/>
                    </a:lnTo>
                    <a:lnTo>
                      <a:pt x="828" y="278"/>
                    </a:lnTo>
                    <a:lnTo>
                      <a:pt x="828" y="274"/>
                    </a:lnTo>
                    <a:lnTo>
                      <a:pt x="830" y="274"/>
                    </a:lnTo>
                    <a:lnTo>
                      <a:pt x="830" y="272"/>
                    </a:lnTo>
                    <a:lnTo>
                      <a:pt x="830" y="272"/>
                    </a:lnTo>
                    <a:lnTo>
                      <a:pt x="830" y="272"/>
                    </a:lnTo>
                    <a:lnTo>
                      <a:pt x="832" y="270"/>
                    </a:lnTo>
                    <a:lnTo>
                      <a:pt x="834" y="272"/>
                    </a:lnTo>
                    <a:lnTo>
                      <a:pt x="834" y="272"/>
                    </a:lnTo>
                    <a:lnTo>
                      <a:pt x="834" y="272"/>
                    </a:lnTo>
                    <a:lnTo>
                      <a:pt x="836" y="272"/>
                    </a:lnTo>
                    <a:lnTo>
                      <a:pt x="838" y="272"/>
                    </a:lnTo>
                    <a:lnTo>
                      <a:pt x="840" y="272"/>
                    </a:lnTo>
                    <a:lnTo>
                      <a:pt x="840" y="272"/>
                    </a:lnTo>
                    <a:lnTo>
                      <a:pt x="842" y="270"/>
                    </a:lnTo>
                    <a:lnTo>
                      <a:pt x="842" y="270"/>
                    </a:lnTo>
                    <a:lnTo>
                      <a:pt x="842" y="266"/>
                    </a:lnTo>
                    <a:lnTo>
                      <a:pt x="842" y="266"/>
                    </a:lnTo>
                    <a:lnTo>
                      <a:pt x="844" y="262"/>
                    </a:lnTo>
                    <a:lnTo>
                      <a:pt x="844" y="258"/>
                    </a:lnTo>
                    <a:lnTo>
                      <a:pt x="846" y="254"/>
                    </a:lnTo>
                    <a:lnTo>
                      <a:pt x="846" y="250"/>
                    </a:lnTo>
                    <a:lnTo>
                      <a:pt x="846" y="250"/>
                    </a:lnTo>
                    <a:lnTo>
                      <a:pt x="844" y="242"/>
                    </a:lnTo>
                    <a:lnTo>
                      <a:pt x="844" y="238"/>
                    </a:lnTo>
                    <a:lnTo>
                      <a:pt x="846" y="234"/>
                    </a:lnTo>
                    <a:lnTo>
                      <a:pt x="846" y="234"/>
                    </a:lnTo>
                    <a:lnTo>
                      <a:pt x="846" y="232"/>
                    </a:lnTo>
                    <a:lnTo>
                      <a:pt x="846" y="230"/>
                    </a:lnTo>
                    <a:lnTo>
                      <a:pt x="848" y="230"/>
                    </a:lnTo>
                    <a:lnTo>
                      <a:pt x="848" y="230"/>
                    </a:lnTo>
                    <a:lnTo>
                      <a:pt x="850" y="228"/>
                    </a:lnTo>
                    <a:lnTo>
                      <a:pt x="852" y="228"/>
                    </a:lnTo>
                    <a:lnTo>
                      <a:pt x="852" y="228"/>
                    </a:lnTo>
                    <a:lnTo>
                      <a:pt x="856" y="228"/>
                    </a:lnTo>
                    <a:lnTo>
                      <a:pt x="858" y="228"/>
                    </a:lnTo>
                    <a:lnTo>
                      <a:pt x="858" y="226"/>
                    </a:lnTo>
                    <a:lnTo>
                      <a:pt x="860" y="224"/>
                    </a:lnTo>
                    <a:lnTo>
                      <a:pt x="860" y="224"/>
                    </a:lnTo>
                    <a:lnTo>
                      <a:pt x="860" y="222"/>
                    </a:lnTo>
                    <a:lnTo>
                      <a:pt x="860" y="220"/>
                    </a:lnTo>
                    <a:lnTo>
                      <a:pt x="860" y="214"/>
                    </a:lnTo>
                    <a:lnTo>
                      <a:pt x="860" y="214"/>
                    </a:lnTo>
                    <a:lnTo>
                      <a:pt x="860" y="212"/>
                    </a:lnTo>
                    <a:lnTo>
                      <a:pt x="860" y="210"/>
                    </a:lnTo>
                    <a:lnTo>
                      <a:pt x="860" y="208"/>
                    </a:lnTo>
                    <a:lnTo>
                      <a:pt x="858" y="208"/>
                    </a:lnTo>
                    <a:lnTo>
                      <a:pt x="858" y="208"/>
                    </a:lnTo>
                    <a:lnTo>
                      <a:pt x="854" y="206"/>
                    </a:lnTo>
                    <a:lnTo>
                      <a:pt x="852" y="206"/>
                    </a:lnTo>
                    <a:lnTo>
                      <a:pt x="852" y="204"/>
                    </a:lnTo>
                    <a:lnTo>
                      <a:pt x="852" y="204"/>
                    </a:lnTo>
                    <a:lnTo>
                      <a:pt x="852" y="202"/>
                    </a:lnTo>
                    <a:lnTo>
                      <a:pt x="852" y="200"/>
                    </a:lnTo>
                    <a:lnTo>
                      <a:pt x="852" y="200"/>
                    </a:lnTo>
                    <a:lnTo>
                      <a:pt x="852" y="198"/>
                    </a:lnTo>
                    <a:lnTo>
                      <a:pt x="852" y="198"/>
                    </a:lnTo>
                    <a:lnTo>
                      <a:pt x="850" y="196"/>
                    </a:lnTo>
                    <a:lnTo>
                      <a:pt x="848" y="194"/>
                    </a:lnTo>
                    <a:lnTo>
                      <a:pt x="844" y="192"/>
                    </a:lnTo>
                    <a:lnTo>
                      <a:pt x="842" y="192"/>
                    </a:lnTo>
                    <a:lnTo>
                      <a:pt x="842" y="192"/>
                    </a:lnTo>
                    <a:lnTo>
                      <a:pt x="840" y="190"/>
                    </a:lnTo>
                    <a:lnTo>
                      <a:pt x="838" y="188"/>
                    </a:lnTo>
                    <a:lnTo>
                      <a:pt x="838" y="188"/>
                    </a:lnTo>
                    <a:lnTo>
                      <a:pt x="836" y="186"/>
                    </a:lnTo>
                    <a:lnTo>
                      <a:pt x="834" y="184"/>
                    </a:lnTo>
                    <a:lnTo>
                      <a:pt x="832" y="184"/>
                    </a:lnTo>
                    <a:lnTo>
                      <a:pt x="828" y="184"/>
                    </a:lnTo>
                    <a:lnTo>
                      <a:pt x="828" y="184"/>
                    </a:lnTo>
                    <a:lnTo>
                      <a:pt x="826" y="182"/>
                    </a:lnTo>
                    <a:lnTo>
                      <a:pt x="826" y="184"/>
                    </a:lnTo>
                    <a:lnTo>
                      <a:pt x="824" y="184"/>
                    </a:lnTo>
                    <a:lnTo>
                      <a:pt x="824" y="184"/>
                    </a:lnTo>
                    <a:lnTo>
                      <a:pt x="824" y="184"/>
                    </a:lnTo>
                    <a:lnTo>
                      <a:pt x="822" y="188"/>
                    </a:lnTo>
                    <a:lnTo>
                      <a:pt x="820" y="188"/>
                    </a:lnTo>
                    <a:lnTo>
                      <a:pt x="820" y="190"/>
                    </a:lnTo>
                    <a:lnTo>
                      <a:pt x="820" y="190"/>
                    </a:lnTo>
                    <a:lnTo>
                      <a:pt x="820" y="194"/>
                    </a:lnTo>
                    <a:lnTo>
                      <a:pt x="818" y="198"/>
                    </a:lnTo>
                    <a:lnTo>
                      <a:pt x="818" y="204"/>
                    </a:lnTo>
                    <a:lnTo>
                      <a:pt x="818" y="204"/>
                    </a:lnTo>
                    <a:lnTo>
                      <a:pt x="818" y="206"/>
                    </a:lnTo>
                    <a:lnTo>
                      <a:pt x="818" y="208"/>
                    </a:lnTo>
                    <a:lnTo>
                      <a:pt x="818" y="208"/>
                    </a:lnTo>
                    <a:lnTo>
                      <a:pt x="816" y="210"/>
                    </a:lnTo>
                    <a:lnTo>
                      <a:pt x="814" y="212"/>
                    </a:lnTo>
                    <a:lnTo>
                      <a:pt x="812" y="212"/>
                    </a:lnTo>
                    <a:lnTo>
                      <a:pt x="812" y="212"/>
                    </a:lnTo>
                    <a:lnTo>
                      <a:pt x="810" y="214"/>
                    </a:lnTo>
                    <a:lnTo>
                      <a:pt x="808" y="214"/>
                    </a:lnTo>
                    <a:lnTo>
                      <a:pt x="806" y="216"/>
                    </a:lnTo>
                    <a:lnTo>
                      <a:pt x="804" y="218"/>
                    </a:lnTo>
                    <a:lnTo>
                      <a:pt x="802" y="222"/>
                    </a:lnTo>
                    <a:lnTo>
                      <a:pt x="802" y="222"/>
                    </a:lnTo>
                    <a:lnTo>
                      <a:pt x="802" y="224"/>
                    </a:lnTo>
                    <a:lnTo>
                      <a:pt x="800" y="226"/>
                    </a:lnTo>
                    <a:lnTo>
                      <a:pt x="800" y="226"/>
                    </a:lnTo>
                    <a:lnTo>
                      <a:pt x="798" y="228"/>
                    </a:lnTo>
                    <a:lnTo>
                      <a:pt x="798" y="228"/>
                    </a:lnTo>
                    <a:lnTo>
                      <a:pt x="796" y="228"/>
                    </a:lnTo>
                    <a:lnTo>
                      <a:pt x="796" y="228"/>
                    </a:lnTo>
                    <a:lnTo>
                      <a:pt x="794" y="228"/>
                    </a:lnTo>
                    <a:lnTo>
                      <a:pt x="792" y="228"/>
                    </a:lnTo>
                    <a:lnTo>
                      <a:pt x="790" y="228"/>
                    </a:lnTo>
                    <a:lnTo>
                      <a:pt x="788" y="230"/>
                    </a:lnTo>
                    <a:lnTo>
                      <a:pt x="788" y="230"/>
                    </a:lnTo>
                    <a:lnTo>
                      <a:pt x="788" y="232"/>
                    </a:lnTo>
                    <a:lnTo>
                      <a:pt x="788" y="232"/>
                    </a:lnTo>
                    <a:lnTo>
                      <a:pt x="786" y="234"/>
                    </a:lnTo>
                    <a:lnTo>
                      <a:pt x="786" y="236"/>
                    </a:lnTo>
                    <a:lnTo>
                      <a:pt x="786" y="236"/>
                    </a:lnTo>
                    <a:lnTo>
                      <a:pt x="786" y="240"/>
                    </a:lnTo>
                    <a:lnTo>
                      <a:pt x="786" y="242"/>
                    </a:lnTo>
                    <a:lnTo>
                      <a:pt x="784" y="242"/>
                    </a:lnTo>
                    <a:lnTo>
                      <a:pt x="784" y="242"/>
                    </a:lnTo>
                    <a:lnTo>
                      <a:pt x="782" y="244"/>
                    </a:lnTo>
                    <a:lnTo>
                      <a:pt x="780" y="246"/>
                    </a:lnTo>
                    <a:lnTo>
                      <a:pt x="780" y="246"/>
                    </a:lnTo>
                    <a:lnTo>
                      <a:pt x="778" y="246"/>
                    </a:lnTo>
                    <a:lnTo>
                      <a:pt x="776" y="248"/>
                    </a:lnTo>
                    <a:lnTo>
                      <a:pt x="776" y="248"/>
                    </a:lnTo>
                    <a:lnTo>
                      <a:pt x="776" y="246"/>
                    </a:lnTo>
                    <a:lnTo>
                      <a:pt x="774" y="244"/>
                    </a:lnTo>
                    <a:lnTo>
                      <a:pt x="774" y="244"/>
                    </a:lnTo>
                    <a:lnTo>
                      <a:pt x="774" y="242"/>
                    </a:lnTo>
                    <a:lnTo>
                      <a:pt x="774" y="242"/>
                    </a:lnTo>
                    <a:lnTo>
                      <a:pt x="774" y="238"/>
                    </a:lnTo>
                    <a:lnTo>
                      <a:pt x="774" y="236"/>
                    </a:lnTo>
                    <a:lnTo>
                      <a:pt x="774" y="236"/>
                    </a:lnTo>
                    <a:lnTo>
                      <a:pt x="770" y="230"/>
                    </a:lnTo>
                    <a:lnTo>
                      <a:pt x="768" y="228"/>
                    </a:lnTo>
                    <a:lnTo>
                      <a:pt x="768" y="224"/>
                    </a:lnTo>
                    <a:lnTo>
                      <a:pt x="768" y="224"/>
                    </a:lnTo>
                    <a:lnTo>
                      <a:pt x="768" y="222"/>
                    </a:lnTo>
                    <a:lnTo>
                      <a:pt x="768" y="222"/>
                    </a:lnTo>
                    <a:lnTo>
                      <a:pt x="768" y="220"/>
                    </a:lnTo>
                    <a:lnTo>
                      <a:pt x="768" y="220"/>
                    </a:lnTo>
                    <a:lnTo>
                      <a:pt x="768" y="220"/>
                    </a:lnTo>
                    <a:lnTo>
                      <a:pt x="770" y="220"/>
                    </a:lnTo>
                    <a:lnTo>
                      <a:pt x="770" y="222"/>
                    </a:lnTo>
                    <a:lnTo>
                      <a:pt x="770" y="222"/>
                    </a:lnTo>
                    <a:lnTo>
                      <a:pt x="772" y="222"/>
                    </a:lnTo>
                    <a:lnTo>
                      <a:pt x="772" y="224"/>
                    </a:lnTo>
                    <a:lnTo>
                      <a:pt x="774" y="224"/>
                    </a:lnTo>
                    <a:lnTo>
                      <a:pt x="774" y="224"/>
                    </a:lnTo>
                    <a:lnTo>
                      <a:pt x="776" y="222"/>
                    </a:lnTo>
                    <a:lnTo>
                      <a:pt x="776" y="222"/>
                    </a:lnTo>
                    <a:lnTo>
                      <a:pt x="778" y="218"/>
                    </a:lnTo>
                    <a:lnTo>
                      <a:pt x="778" y="218"/>
                    </a:lnTo>
                    <a:lnTo>
                      <a:pt x="778" y="212"/>
                    </a:lnTo>
                    <a:lnTo>
                      <a:pt x="780" y="204"/>
                    </a:lnTo>
                    <a:lnTo>
                      <a:pt x="780" y="204"/>
                    </a:lnTo>
                    <a:lnTo>
                      <a:pt x="780" y="202"/>
                    </a:lnTo>
                    <a:lnTo>
                      <a:pt x="780" y="200"/>
                    </a:lnTo>
                    <a:lnTo>
                      <a:pt x="778" y="200"/>
                    </a:lnTo>
                    <a:lnTo>
                      <a:pt x="778" y="200"/>
                    </a:lnTo>
                    <a:lnTo>
                      <a:pt x="776" y="198"/>
                    </a:lnTo>
                    <a:lnTo>
                      <a:pt x="774" y="196"/>
                    </a:lnTo>
                    <a:lnTo>
                      <a:pt x="774" y="196"/>
                    </a:lnTo>
                    <a:lnTo>
                      <a:pt x="772" y="194"/>
                    </a:lnTo>
                    <a:lnTo>
                      <a:pt x="770" y="192"/>
                    </a:lnTo>
                    <a:lnTo>
                      <a:pt x="770" y="192"/>
                    </a:lnTo>
                    <a:lnTo>
                      <a:pt x="768" y="192"/>
                    </a:lnTo>
                    <a:lnTo>
                      <a:pt x="768" y="192"/>
                    </a:lnTo>
                    <a:lnTo>
                      <a:pt x="766" y="194"/>
                    </a:lnTo>
                    <a:lnTo>
                      <a:pt x="766" y="194"/>
                    </a:lnTo>
                    <a:lnTo>
                      <a:pt x="760" y="196"/>
                    </a:lnTo>
                    <a:lnTo>
                      <a:pt x="756" y="198"/>
                    </a:lnTo>
                    <a:lnTo>
                      <a:pt x="754" y="200"/>
                    </a:lnTo>
                    <a:lnTo>
                      <a:pt x="754" y="200"/>
                    </a:lnTo>
                    <a:lnTo>
                      <a:pt x="754" y="202"/>
                    </a:lnTo>
                    <a:lnTo>
                      <a:pt x="754" y="202"/>
                    </a:lnTo>
                    <a:lnTo>
                      <a:pt x="754" y="206"/>
                    </a:lnTo>
                    <a:lnTo>
                      <a:pt x="754" y="206"/>
                    </a:lnTo>
                    <a:lnTo>
                      <a:pt x="754" y="208"/>
                    </a:lnTo>
                    <a:lnTo>
                      <a:pt x="752" y="212"/>
                    </a:lnTo>
                    <a:lnTo>
                      <a:pt x="752" y="212"/>
                    </a:lnTo>
                    <a:lnTo>
                      <a:pt x="752" y="214"/>
                    </a:lnTo>
                    <a:lnTo>
                      <a:pt x="750" y="216"/>
                    </a:lnTo>
                    <a:lnTo>
                      <a:pt x="750" y="218"/>
                    </a:lnTo>
                    <a:lnTo>
                      <a:pt x="748" y="218"/>
                    </a:lnTo>
                    <a:lnTo>
                      <a:pt x="748" y="218"/>
                    </a:lnTo>
                    <a:lnTo>
                      <a:pt x="746" y="216"/>
                    </a:lnTo>
                    <a:lnTo>
                      <a:pt x="746" y="216"/>
                    </a:lnTo>
                    <a:lnTo>
                      <a:pt x="746" y="214"/>
                    </a:lnTo>
                    <a:lnTo>
                      <a:pt x="744" y="210"/>
                    </a:lnTo>
                    <a:lnTo>
                      <a:pt x="744" y="206"/>
                    </a:lnTo>
                    <a:lnTo>
                      <a:pt x="744" y="206"/>
                    </a:lnTo>
                    <a:lnTo>
                      <a:pt x="744" y="204"/>
                    </a:lnTo>
                    <a:lnTo>
                      <a:pt x="744" y="204"/>
                    </a:lnTo>
                    <a:lnTo>
                      <a:pt x="744" y="202"/>
                    </a:lnTo>
                    <a:lnTo>
                      <a:pt x="744" y="200"/>
                    </a:lnTo>
                    <a:lnTo>
                      <a:pt x="746" y="198"/>
                    </a:lnTo>
                    <a:lnTo>
                      <a:pt x="746" y="198"/>
                    </a:lnTo>
                    <a:lnTo>
                      <a:pt x="748" y="196"/>
                    </a:lnTo>
                    <a:lnTo>
                      <a:pt x="748" y="196"/>
                    </a:lnTo>
                    <a:lnTo>
                      <a:pt x="748" y="194"/>
                    </a:lnTo>
                    <a:lnTo>
                      <a:pt x="748" y="194"/>
                    </a:lnTo>
                    <a:lnTo>
                      <a:pt x="748" y="192"/>
                    </a:lnTo>
                    <a:lnTo>
                      <a:pt x="746" y="190"/>
                    </a:lnTo>
                    <a:lnTo>
                      <a:pt x="746" y="188"/>
                    </a:lnTo>
                    <a:lnTo>
                      <a:pt x="746" y="188"/>
                    </a:lnTo>
                    <a:lnTo>
                      <a:pt x="746" y="188"/>
                    </a:lnTo>
                    <a:lnTo>
                      <a:pt x="748" y="188"/>
                    </a:lnTo>
                    <a:lnTo>
                      <a:pt x="748" y="188"/>
                    </a:lnTo>
                    <a:lnTo>
                      <a:pt x="750" y="188"/>
                    </a:lnTo>
                    <a:lnTo>
                      <a:pt x="752" y="188"/>
                    </a:lnTo>
                    <a:lnTo>
                      <a:pt x="754" y="188"/>
                    </a:lnTo>
                    <a:lnTo>
                      <a:pt x="754" y="186"/>
                    </a:lnTo>
                    <a:lnTo>
                      <a:pt x="754" y="186"/>
                    </a:lnTo>
                    <a:lnTo>
                      <a:pt x="754" y="186"/>
                    </a:lnTo>
                    <a:lnTo>
                      <a:pt x="754" y="186"/>
                    </a:lnTo>
                    <a:lnTo>
                      <a:pt x="754" y="184"/>
                    </a:lnTo>
                    <a:lnTo>
                      <a:pt x="752" y="182"/>
                    </a:lnTo>
                    <a:lnTo>
                      <a:pt x="752" y="182"/>
                    </a:lnTo>
                    <a:lnTo>
                      <a:pt x="750" y="178"/>
                    </a:lnTo>
                    <a:lnTo>
                      <a:pt x="750" y="176"/>
                    </a:lnTo>
                    <a:lnTo>
                      <a:pt x="750" y="176"/>
                    </a:lnTo>
                    <a:lnTo>
                      <a:pt x="750" y="176"/>
                    </a:lnTo>
                    <a:lnTo>
                      <a:pt x="748" y="176"/>
                    </a:lnTo>
                    <a:lnTo>
                      <a:pt x="746" y="176"/>
                    </a:lnTo>
                    <a:lnTo>
                      <a:pt x="744" y="174"/>
                    </a:lnTo>
                    <a:lnTo>
                      <a:pt x="744" y="174"/>
                    </a:lnTo>
                    <a:lnTo>
                      <a:pt x="740" y="172"/>
                    </a:lnTo>
                    <a:lnTo>
                      <a:pt x="738" y="172"/>
                    </a:lnTo>
                    <a:lnTo>
                      <a:pt x="736" y="170"/>
                    </a:lnTo>
                    <a:lnTo>
                      <a:pt x="736" y="170"/>
                    </a:lnTo>
                    <a:lnTo>
                      <a:pt x="736" y="170"/>
                    </a:lnTo>
                    <a:lnTo>
                      <a:pt x="736" y="168"/>
                    </a:lnTo>
                    <a:lnTo>
                      <a:pt x="736" y="168"/>
                    </a:lnTo>
                    <a:lnTo>
                      <a:pt x="736" y="166"/>
                    </a:lnTo>
                    <a:lnTo>
                      <a:pt x="738" y="166"/>
                    </a:lnTo>
                    <a:lnTo>
                      <a:pt x="738" y="166"/>
                    </a:lnTo>
                    <a:lnTo>
                      <a:pt x="740" y="166"/>
                    </a:lnTo>
                    <a:lnTo>
                      <a:pt x="740" y="166"/>
                    </a:lnTo>
                    <a:lnTo>
                      <a:pt x="742" y="166"/>
                    </a:lnTo>
                    <a:lnTo>
                      <a:pt x="742" y="166"/>
                    </a:lnTo>
                    <a:lnTo>
                      <a:pt x="744" y="168"/>
                    </a:lnTo>
                    <a:lnTo>
                      <a:pt x="748" y="168"/>
                    </a:lnTo>
                    <a:lnTo>
                      <a:pt x="750" y="168"/>
                    </a:lnTo>
                    <a:lnTo>
                      <a:pt x="752" y="166"/>
                    </a:lnTo>
                    <a:lnTo>
                      <a:pt x="752" y="166"/>
                    </a:lnTo>
                    <a:lnTo>
                      <a:pt x="752" y="166"/>
                    </a:lnTo>
                    <a:lnTo>
                      <a:pt x="754" y="164"/>
                    </a:lnTo>
                    <a:lnTo>
                      <a:pt x="754" y="162"/>
                    </a:lnTo>
                    <a:lnTo>
                      <a:pt x="754" y="162"/>
                    </a:lnTo>
                    <a:lnTo>
                      <a:pt x="754" y="160"/>
                    </a:lnTo>
                    <a:lnTo>
                      <a:pt x="752" y="156"/>
                    </a:lnTo>
                    <a:lnTo>
                      <a:pt x="752" y="154"/>
                    </a:lnTo>
                    <a:lnTo>
                      <a:pt x="752" y="154"/>
                    </a:lnTo>
                    <a:lnTo>
                      <a:pt x="750" y="152"/>
                    </a:lnTo>
                    <a:lnTo>
                      <a:pt x="750" y="148"/>
                    </a:lnTo>
                    <a:lnTo>
                      <a:pt x="748" y="144"/>
                    </a:lnTo>
                    <a:lnTo>
                      <a:pt x="746" y="144"/>
                    </a:lnTo>
                    <a:lnTo>
                      <a:pt x="744" y="142"/>
                    </a:lnTo>
                    <a:lnTo>
                      <a:pt x="744" y="142"/>
                    </a:lnTo>
                    <a:lnTo>
                      <a:pt x="744" y="142"/>
                    </a:lnTo>
                    <a:lnTo>
                      <a:pt x="742" y="140"/>
                    </a:lnTo>
                    <a:lnTo>
                      <a:pt x="740" y="138"/>
                    </a:lnTo>
                    <a:lnTo>
                      <a:pt x="740" y="138"/>
                    </a:lnTo>
                    <a:lnTo>
                      <a:pt x="740" y="136"/>
                    </a:lnTo>
                    <a:lnTo>
                      <a:pt x="742" y="136"/>
                    </a:lnTo>
                    <a:lnTo>
                      <a:pt x="742" y="136"/>
                    </a:lnTo>
                    <a:lnTo>
                      <a:pt x="742" y="134"/>
                    </a:lnTo>
                    <a:lnTo>
                      <a:pt x="744" y="134"/>
                    </a:lnTo>
                    <a:lnTo>
                      <a:pt x="744" y="134"/>
                    </a:lnTo>
                    <a:lnTo>
                      <a:pt x="744" y="134"/>
                    </a:lnTo>
                    <a:lnTo>
                      <a:pt x="744" y="134"/>
                    </a:lnTo>
                    <a:lnTo>
                      <a:pt x="746" y="132"/>
                    </a:lnTo>
                    <a:lnTo>
                      <a:pt x="746" y="132"/>
                    </a:lnTo>
                    <a:lnTo>
                      <a:pt x="746" y="128"/>
                    </a:lnTo>
                    <a:lnTo>
                      <a:pt x="746" y="128"/>
                    </a:lnTo>
                    <a:lnTo>
                      <a:pt x="746" y="122"/>
                    </a:lnTo>
                    <a:lnTo>
                      <a:pt x="746" y="120"/>
                    </a:lnTo>
                    <a:lnTo>
                      <a:pt x="746" y="116"/>
                    </a:lnTo>
                    <a:lnTo>
                      <a:pt x="746" y="116"/>
                    </a:lnTo>
                    <a:lnTo>
                      <a:pt x="748" y="114"/>
                    </a:lnTo>
                    <a:lnTo>
                      <a:pt x="748" y="112"/>
                    </a:lnTo>
                    <a:lnTo>
                      <a:pt x="746" y="110"/>
                    </a:lnTo>
                    <a:lnTo>
                      <a:pt x="746" y="110"/>
                    </a:lnTo>
                    <a:lnTo>
                      <a:pt x="746" y="108"/>
                    </a:lnTo>
                    <a:lnTo>
                      <a:pt x="744" y="108"/>
                    </a:lnTo>
                    <a:lnTo>
                      <a:pt x="744" y="108"/>
                    </a:lnTo>
                    <a:lnTo>
                      <a:pt x="744" y="110"/>
                    </a:lnTo>
                    <a:lnTo>
                      <a:pt x="742" y="110"/>
                    </a:lnTo>
                    <a:lnTo>
                      <a:pt x="742" y="110"/>
                    </a:lnTo>
                    <a:lnTo>
                      <a:pt x="740" y="110"/>
                    </a:lnTo>
                    <a:lnTo>
                      <a:pt x="740" y="110"/>
                    </a:lnTo>
                    <a:lnTo>
                      <a:pt x="738" y="110"/>
                    </a:lnTo>
                    <a:lnTo>
                      <a:pt x="738" y="108"/>
                    </a:lnTo>
                    <a:lnTo>
                      <a:pt x="738" y="108"/>
                    </a:lnTo>
                    <a:lnTo>
                      <a:pt x="738" y="106"/>
                    </a:lnTo>
                    <a:lnTo>
                      <a:pt x="738" y="106"/>
                    </a:lnTo>
                    <a:lnTo>
                      <a:pt x="738" y="104"/>
                    </a:lnTo>
                    <a:lnTo>
                      <a:pt x="738" y="102"/>
                    </a:lnTo>
                    <a:lnTo>
                      <a:pt x="738" y="100"/>
                    </a:lnTo>
                    <a:lnTo>
                      <a:pt x="736" y="100"/>
                    </a:lnTo>
                    <a:lnTo>
                      <a:pt x="736" y="100"/>
                    </a:lnTo>
                    <a:lnTo>
                      <a:pt x="734" y="98"/>
                    </a:lnTo>
                    <a:lnTo>
                      <a:pt x="734" y="98"/>
                    </a:lnTo>
                    <a:lnTo>
                      <a:pt x="732" y="98"/>
                    </a:lnTo>
                    <a:lnTo>
                      <a:pt x="728" y="98"/>
                    </a:lnTo>
                    <a:lnTo>
                      <a:pt x="726" y="100"/>
                    </a:lnTo>
                    <a:lnTo>
                      <a:pt x="722" y="100"/>
                    </a:lnTo>
                    <a:lnTo>
                      <a:pt x="722" y="100"/>
                    </a:lnTo>
                    <a:lnTo>
                      <a:pt x="720" y="102"/>
                    </a:lnTo>
                    <a:lnTo>
                      <a:pt x="720" y="102"/>
                    </a:lnTo>
                    <a:lnTo>
                      <a:pt x="718" y="104"/>
                    </a:lnTo>
                    <a:lnTo>
                      <a:pt x="718" y="104"/>
                    </a:lnTo>
                    <a:lnTo>
                      <a:pt x="718" y="104"/>
                    </a:lnTo>
                    <a:lnTo>
                      <a:pt x="718" y="106"/>
                    </a:lnTo>
                    <a:lnTo>
                      <a:pt x="716" y="108"/>
                    </a:lnTo>
                    <a:lnTo>
                      <a:pt x="716" y="108"/>
                    </a:lnTo>
                    <a:lnTo>
                      <a:pt x="716" y="110"/>
                    </a:lnTo>
                    <a:lnTo>
                      <a:pt x="714" y="110"/>
                    </a:lnTo>
                    <a:lnTo>
                      <a:pt x="712" y="110"/>
                    </a:lnTo>
                    <a:lnTo>
                      <a:pt x="710" y="112"/>
                    </a:lnTo>
                    <a:lnTo>
                      <a:pt x="706" y="112"/>
                    </a:lnTo>
                    <a:lnTo>
                      <a:pt x="706" y="112"/>
                    </a:lnTo>
                    <a:lnTo>
                      <a:pt x="704" y="114"/>
                    </a:lnTo>
                    <a:lnTo>
                      <a:pt x="702" y="116"/>
                    </a:lnTo>
                    <a:lnTo>
                      <a:pt x="700" y="118"/>
                    </a:lnTo>
                    <a:lnTo>
                      <a:pt x="700" y="120"/>
                    </a:lnTo>
                    <a:lnTo>
                      <a:pt x="700" y="120"/>
                    </a:lnTo>
                    <a:lnTo>
                      <a:pt x="700" y="120"/>
                    </a:lnTo>
                    <a:lnTo>
                      <a:pt x="698" y="124"/>
                    </a:lnTo>
                    <a:lnTo>
                      <a:pt x="698" y="128"/>
                    </a:lnTo>
                    <a:lnTo>
                      <a:pt x="698" y="130"/>
                    </a:lnTo>
                    <a:lnTo>
                      <a:pt x="698" y="132"/>
                    </a:lnTo>
                    <a:lnTo>
                      <a:pt x="698" y="132"/>
                    </a:lnTo>
                    <a:lnTo>
                      <a:pt x="698" y="134"/>
                    </a:lnTo>
                    <a:lnTo>
                      <a:pt x="698" y="136"/>
                    </a:lnTo>
                    <a:lnTo>
                      <a:pt x="698" y="136"/>
                    </a:lnTo>
                    <a:lnTo>
                      <a:pt x="698" y="136"/>
                    </a:lnTo>
                    <a:lnTo>
                      <a:pt x="696" y="138"/>
                    </a:lnTo>
                    <a:lnTo>
                      <a:pt x="696" y="138"/>
                    </a:lnTo>
                    <a:lnTo>
                      <a:pt x="694" y="138"/>
                    </a:lnTo>
                    <a:lnTo>
                      <a:pt x="692" y="138"/>
                    </a:lnTo>
                    <a:lnTo>
                      <a:pt x="692" y="138"/>
                    </a:lnTo>
                    <a:lnTo>
                      <a:pt x="692" y="140"/>
                    </a:lnTo>
                    <a:lnTo>
                      <a:pt x="692" y="142"/>
                    </a:lnTo>
                    <a:lnTo>
                      <a:pt x="690" y="142"/>
                    </a:lnTo>
                    <a:lnTo>
                      <a:pt x="690" y="144"/>
                    </a:lnTo>
                    <a:lnTo>
                      <a:pt x="692" y="146"/>
                    </a:lnTo>
                    <a:lnTo>
                      <a:pt x="692" y="150"/>
                    </a:lnTo>
                    <a:lnTo>
                      <a:pt x="692" y="150"/>
                    </a:lnTo>
                    <a:lnTo>
                      <a:pt x="694" y="152"/>
                    </a:lnTo>
                    <a:lnTo>
                      <a:pt x="696" y="154"/>
                    </a:lnTo>
                    <a:lnTo>
                      <a:pt x="698" y="158"/>
                    </a:lnTo>
                    <a:lnTo>
                      <a:pt x="698" y="158"/>
                    </a:lnTo>
                    <a:lnTo>
                      <a:pt x="700" y="160"/>
                    </a:lnTo>
                    <a:lnTo>
                      <a:pt x="700" y="162"/>
                    </a:lnTo>
                    <a:lnTo>
                      <a:pt x="702" y="164"/>
                    </a:lnTo>
                    <a:lnTo>
                      <a:pt x="702" y="164"/>
                    </a:lnTo>
                    <a:lnTo>
                      <a:pt x="704" y="166"/>
                    </a:lnTo>
                    <a:lnTo>
                      <a:pt x="704" y="166"/>
                    </a:lnTo>
                    <a:lnTo>
                      <a:pt x="704" y="166"/>
                    </a:lnTo>
                    <a:lnTo>
                      <a:pt x="706" y="166"/>
                    </a:lnTo>
                    <a:lnTo>
                      <a:pt x="708" y="166"/>
                    </a:lnTo>
                    <a:lnTo>
                      <a:pt x="710" y="166"/>
                    </a:lnTo>
                    <a:lnTo>
                      <a:pt x="710" y="166"/>
                    </a:lnTo>
                    <a:lnTo>
                      <a:pt x="712" y="168"/>
                    </a:lnTo>
                    <a:lnTo>
                      <a:pt x="712" y="168"/>
                    </a:lnTo>
                    <a:lnTo>
                      <a:pt x="712" y="168"/>
                    </a:lnTo>
                    <a:lnTo>
                      <a:pt x="710" y="170"/>
                    </a:lnTo>
                    <a:lnTo>
                      <a:pt x="710" y="172"/>
                    </a:lnTo>
                    <a:lnTo>
                      <a:pt x="710" y="174"/>
                    </a:lnTo>
                    <a:lnTo>
                      <a:pt x="710" y="174"/>
                    </a:lnTo>
                    <a:lnTo>
                      <a:pt x="712" y="176"/>
                    </a:lnTo>
                    <a:lnTo>
                      <a:pt x="712" y="176"/>
                    </a:lnTo>
                    <a:lnTo>
                      <a:pt x="712" y="176"/>
                    </a:lnTo>
                    <a:lnTo>
                      <a:pt x="712" y="176"/>
                    </a:lnTo>
                    <a:lnTo>
                      <a:pt x="710" y="176"/>
                    </a:lnTo>
                    <a:lnTo>
                      <a:pt x="708" y="178"/>
                    </a:lnTo>
                    <a:lnTo>
                      <a:pt x="706" y="178"/>
                    </a:lnTo>
                    <a:lnTo>
                      <a:pt x="704" y="178"/>
                    </a:lnTo>
                    <a:lnTo>
                      <a:pt x="704" y="180"/>
                    </a:lnTo>
                    <a:lnTo>
                      <a:pt x="704" y="180"/>
                    </a:lnTo>
                    <a:lnTo>
                      <a:pt x="702" y="182"/>
                    </a:lnTo>
                    <a:lnTo>
                      <a:pt x="702" y="184"/>
                    </a:lnTo>
                    <a:lnTo>
                      <a:pt x="702" y="186"/>
                    </a:lnTo>
                    <a:lnTo>
                      <a:pt x="702" y="188"/>
                    </a:lnTo>
                    <a:lnTo>
                      <a:pt x="702" y="188"/>
                    </a:lnTo>
                    <a:lnTo>
                      <a:pt x="702" y="188"/>
                    </a:lnTo>
                    <a:lnTo>
                      <a:pt x="702" y="190"/>
                    </a:lnTo>
                    <a:lnTo>
                      <a:pt x="706" y="192"/>
                    </a:lnTo>
                    <a:lnTo>
                      <a:pt x="706" y="192"/>
                    </a:lnTo>
                    <a:lnTo>
                      <a:pt x="706" y="192"/>
                    </a:lnTo>
                    <a:lnTo>
                      <a:pt x="706" y="194"/>
                    </a:lnTo>
                    <a:lnTo>
                      <a:pt x="706" y="194"/>
                    </a:lnTo>
                    <a:lnTo>
                      <a:pt x="706" y="196"/>
                    </a:lnTo>
                    <a:lnTo>
                      <a:pt x="704" y="198"/>
                    </a:lnTo>
                    <a:lnTo>
                      <a:pt x="704" y="200"/>
                    </a:lnTo>
                    <a:lnTo>
                      <a:pt x="704" y="200"/>
                    </a:lnTo>
                    <a:lnTo>
                      <a:pt x="702" y="200"/>
                    </a:lnTo>
                    <a:lnTo>
                      <a:pt x="700" y="202"/>
                    </a:lnTo>
                    <a:lnTo>
                      <a:pt x="696" y="204"/>
                    </a:lnTo>
                    <a:lnTo>
                      <a:pt x="696" y="204"/>
                    </a:lnTo>
                    <a:lnTo>
                      <a:pt x="696" y="204"/>
                    </a:lnTo>
                    <a:lnTo>
                      <a:pt x="694" y="204"/>
                    </a:lnTo>
                    <a:lnTo>
                      <a:pt x="692" y="204"/>
                    </a:lnTo>
                    <a:lnTo>
                      <a:pt x="690" y="206"/>
                    </a:lnTo>
                    <a:lnTo>
                      <a:pt x="690" y="206"/>
                    </a:lnTo>
                    <a:lnTo>
                      <a:pt x="688" y="206"/>
                    </a:lnTo>
                    <a:lnTo>
                      <a:pt x="688" y="208"/>
                    </a:lnTo>
                    <a:lnTo>
                      <a:pt x="688" y="208"/>
                    </a:lnTo>
                    <a:lnTo>
                      <a:pt x="686" y="210"/>
                    </a:lnTo>
                    <a:lnTo>
                      <a:pt x="686" y="210"/>
                    </a:lnTo>
                    <a:lnTo>
                      <a:pt x="684" y="212"/>
                    </a:lnTo>
                    <a:lnTo>
                      <a:pt x="680" y="214"/>
                    </a:lnTo>
                    <a:lnTo>
                      <a:pt x="680" y="214"/>
                    </a:lnTo>
                    <a:lnTo>
                      <a:pt x="678" y="216"/>
                    </a:lnTo>
                    <a:lnTo>
                      <a:pt x="678" y="216"/>
                    </a:lnTo>
                    <a:lnTo>
                      <a:pt x="678" y="218"/>
                    </a:lnTo>
                    <a:lnTo>
                      <a:pt x="678" y="218"/>
                    </a:lnTo>
                    <a:lnTo>
                      <a:pt x="676" y="220"/>
                    </a:lnTo>
                    <a:lnTo>
                      <a:pt x="676" y="222"/>
                    </a:lnTo>
                    <a:lnTo>
                      <a:pt x="676" y="224"/>
                    </a:lnTo>
                    <a:lnTo>
                      <a:pt x="676" y="224"/>
                    </a:lnTo>
                    <a:lnTo>
                      <a:pt x="674" y="224"/>
                    </a:lnTo>
                    <a:lnTo>
                      <a:pt x="674" y="226"/>
                    </a:lnTo>
                    <a:lnTo>
                      <a:pt x="672" y="226"/>
                    </a:lnTo>
                    <a:lnTo>
                      <a:pt x="672" y="226"/>
                    </a:lnTo>
                    <a:lnTo>
                      <a:pt x="672" y="230"/>
                    </a:lnTo>
                    <a:lnTo>
                      <a:pt x="672" y="232"/>
                    </a:lnTo>
                    <a:lnTo>
                      <a:pt x="672" y="232"/>
                    </a:lnTo>
                    <a:lnTo>
                      <a:pt x="672" y="232"/>
                    </a:lnTo>
                    <a:lnTo>
                      <a:pt x="672" y="232"/>
                    </a:lnTo>
                    <a:lnTo>
                      <a:pt x="670" y="232"/>
                    </a:lnTo>
                    <a:lnTo>
                      <a:pt x="668" y="232"/>
                    </a:lnTo>
                    <a:lnTo>
                      <a:pt x="666" y="232"/>
                    </a:lnTo>
                    <a:lnTo>
                      <a:pt x="666" y="232"/>
                    </a:lnTo>
                    <a:lnTo>
                      <a:pt x="666" y="232"/>
                    </a:lnTo>
                    <a:lnTo>
                      <a:pt x="664" y="234"/>
                    </a:lnTo>
                    <a:lnTo>
                      <a:pt x="662" y="236"/>
                    </a:lnTo>
                    <a:lnTo>
                      <a:pt x="662" y="236"/>
                    </a:lnTo>
                    <a:lnTo>
                      <a:pt x="662" y="236"/>
                    </a:lnTo>
                    <a:lnTo>
                      <a:pt x="660" y="238"/>
                    </a:lnTo>
                    <a:lnTo>
                      <a:pt x="660" y="238"/>
                    </a:lnTo>
                    <a:lnTo>
                      <a:pt x="658" y="238"/>
                    </a:lnTo>
                    <a:lnTo>
                      <a:pt x="658" y="238"/>
                    </a:lnTo>
                    <a:lnTo>
                      <a:pt x="658" y="238"/>
                    </a:lnTo>
                    <a:lnTo>
                      <a:pt x="658" y="236"/>
                    </a:lnTo>
                    <a:lnTo>
                      <a:pt x="658" y="236"/>
                    </a:lnTo>
                    <a:lnTo>
                      <a:pt x="660" y="234"/>
                    </a:lnTo>
                    <a:lnTo>
                      <a:pt x="660" y="232"/>
                    </a:lnTo>
                    <a:lnTo>
                      <a:pt x="662" y="230"/>
                    </a:lnTo>
                    <a:lnTo>
                      <a:pt x="666" y="230"/>
                    </a:lnTo>
                    <a:lnTo>
                      <a:pt x="666" y="230"/>
                    </a:lnTo>
                    <a:lnTo>
                      <a:pt x="668" y="228"/>
                    </a:lnTo>
                    <a:lnTo>
                      <a:pt x="668" y="228"/>
                    </a:lnTo>
                    <a:lnTo>
                      <a:pt x="668" y="226"/>
                    </a:lnTo>
                    <a:lnTo>
                      <a:pt x="668" y="226"/>
                    </a:lnTo>
                    <a:lnTo>
                      <a:pt x="670" y="226"/>
                    </a:lnTo>
                    <a:lnTo>
                      <a:pt x="668" y="224"/>
                    </a:lnTo>
                    <a:lnTo>
                      <a:pt x="668" y="224"/>
                    </a:lnTo>
                    <a:lnTo>
                      <a:pt x="668" y="222"/>
                    </a:lnTo>
                    <a:lnTo>
                      <a:pt x="668" y="222"/>
                    </a:lnTo>
                    <a:lnTo>
                      <a:pt x="666" y="220"/>
                    </a:lnTo>
                    <a:lnTo>
                      <a:pt x="666" y="220"/>
                    </a:lnTo>
                    <a:lnTo>
                      <a:pt x="666" y="218"/>
                    </a:lnTo>
                    <a:lnTo>
                      <a:pt x="666" y="218"/>
                    </a:lnTo>
                    <a:lnTo>
                      <a:pt x="668" y="216"/>
                    </a:lnTo>
                    <a:lnTo>
                      <a:pt x="668" y="216"/>
                    </a:lnTo>
                    <a:lnTo>
                      <a:pt x="670" y="216"/>
                    </a:lnTo>
                    <a:lnTo>
                      <a:pt x="672" y="214"/>
                    </a:lnTo>
                    <a:lnTo>
                      <a:pt x="672" y="214"/>
                    </a:lnTo>
                    <a:lnTo>
                      <a:pt x="672" y="212"/>
                    </a:lnTo>
                    <a:lnTo>
                      <a:pt x="672" y="210"/>
                    </a:lnTo>
                    <a:lnTo>
                      <a:pt x="674" y="206"/>
                    </a:lnTo>
                    <a:lnTo>
                      <a:pt x="672" y="206"/>
                    </a:lnTo>
                    <a:lnTo>
                      <a:pt x="672" y="204"/>
                    </a:lnTo>
                    <a:lnTo>
                      <a:pt x="672" y="204"/>
                    </a:lnTo>
                    <a:lnTo>
                      <a:pt x="672" y="202"/>
                    </a:lnTo>
                    <a:lnTo>
                      <a:pt x="670" y="202"/>
                    </a:lnTo>
                    <a:lnTo>
                      <a:pt x="668" y="200"/>
                    </a:lnTo>
                    <a:lnTo>
                      <a:pt x="668" y="200"/>
                    </a:lnTo>
                    <a:lnTo>
                      <a:pt x="666" y="200"/>
                    </a:lnTo>
                    <a:lnTo>
                      <a:pt x="666" y="198"/>
                    </a:lnTo>
                    <a:lnTo>
                      <a:pt x="666" y="196"/>
                    </a:lnTo>
                    <a:lnTo>
                      <a:pt x="666" y="196"/>
                    </a:lnTo>
                    <a:lnTo>
                      <a:pt x="664" y="196"/>
                    </a:lnTo>
                    <a:lnTo>
                      <a:pt x="664" y="194"/>
                    </a:lnTo>
                    <a:lnTo>
                      <a:pt x="662" y="194"/>
                    </a:lnTo>
                    <a:lnTo>
                      <a:pt x="660" y="192"/>
                    </a:lnTo>
                    <a:lnTo>
                      <a:pt x="658" y="192"/>
                    </a:lnTo>
                    <a:lnTo>
                      <a:pt x="658" y="192"/>
                    </a:lnTo>
                    <a:lnTo>
                      <a:pt x="656" y="190"/>
                    </a:lnTo>
                    <a:lnTo>
                      <a:pt x="654" y="190"/>
                    </a:lnTo>
                    <a:lnTo>
                      <a:pt x="652" y="190"/>
                    </a:lnTo>
                    <a:lnTo>
                      <a:pt x="652" y="190"/>
                    </a:lnTo>
                    <a:lnTo>
                      <a:pt x="648" y="192"/>
                    </a:lnTo>
                    <a:lnTo>
                      <a:pt x="646" y="192"/>
                    </a:lnTo>
                    <a:lnTo>
                      <a:pt x="646" y="192"/>
                    </a:lnTo>
                    <a:lnTo>
                      <a:pt x="644" y="194"/>
                    </a:lnTo>
                    <a:lnTo>
                      <a:pt x="644" y="194"/>
                    </a:lnTo>
                    <a:lnTo>
                      <a:pt x="644" y="196"/>
                    </a:lnTo>
                    <a:lnTo>
                      <a:pt x="644" y="198"/>
                    </a:lnTo>
                    <a:lnTo>
                      <a:pt x="646" y="200"/>
                    </a:lnTo>
                    <a:lnTo>
                      <a:pt x="648" y="202"/>
                    </a:lnTo>
                    <a:lnTo>
                      <a:pt x="648" y="202"/>
                    </a:lnTo>
                    <a:lnTo>
                      <a:pt x="648" y="204"/>
                    </a:lnTo>
                    <a:lnTo>
                      <a:pt x="648" y="204"/>
                    </a:lnTo>
                    <a:lnTo>
                      <a:pt x="648" y="206"/>
                    </a:lnTo>
                    <a:lnTo>
                      <a:pt x="646" y="206"/>
                    </a:lnTo>
                    <a:lnTo>
                      <a:pt x="644" y="206"/>
                    </a:lnTo>
                    <a:lnTo>
                      <a:pt x="644" y="206"/>
                    </a:lnTo>
                    <a:lnTo>
                      <a:pt x="640" y="204"/>
                    </a:lnTo>
                    <a:lnTo>
                      <a:pt x="640" y="204"/>
                    </a:lnTo>
                    <a:lnTo>
                      <a:pt x="638" y="204"/>
                    </a:lnTo>
                    <a:lnTo>
                      <a:pt x="636" y="202"/>
                    </a:lnTo>
                    <a:lnTo>
                      <a:pt x="636" y="202"/>
                    </a:lnTo>
                    <a:lnTo>
                      <a:pt x="634" y="202"/>
                    </a:lnTo>
                    <a:lnTo>
                      <a:pt x="634" y="202"/>
                    </a:lnTo>
                    <a:lnTo>
                      <a:pt x="632" y="202"/>
                    </a:lnTo>
                    <a:lnTo>
                      <a:pt x="632" y="202"/>
                    </a:lnTo>
                    <a:lnTo>
                      <a:pt x="630" y="204"/>
                    </a:lnTo>
                    <a:lnTo>
                      <a:pt x="628" y="204"/>
                    </a:lnTo>
                    <a:lnTo>
                      <a:pt x="628" y="204"/>
                    </a:lnTo>
                    <a:lnTo>
                      <a:pt x="626" y="204"/>
                    </a:lnTo>
                    <a:lnTo>
                      <a:pt x="624" y="204"/>
                    </a:lnTo>
                    <a:lnTo>
                      <a:pt x="624" y="204"/>
                    </a:lnTo>
                    <a:lnTo>
                      <a:pt x="624" y="202"/>
                    </a:lnTo>
                    <a:lnTo>
                      <a:pt x="624" y="202"/>
                    </a:lnTo>
                    <a:lnTo>
                      <a:pt x="622" y="200"/>
                    </a:lnTo>
                    <a:lnTo>
                      <a:pt x="620" y="198"/>
                    </a:lnTo>
                    <a:lnTo>
                      <a:pt x="620" y="198"/>
                    </a:lnTo>
                    <a:lnTo>
                      <a:pt x="618" y="198"/>
                    </a:lnTo>
                    <a:lnTo>
                      <a:pt x="616" y="198"/>
                    </a:lnTo>
                    <a:lnTo>
                      <a:pt x="616" y="198"/>
                    </a:lnTo>
                    <a:lnTo>
                      <a:pt x="616" y="198"/>
                    </a:lnTo>
                    <a:lnTo>
                      <a:pt x="614" y="198"/>
                    </a:lnTo>
                    <a:lnTo>
                      <a:pt x="612" y="198"/>
                    </a:lnTo>
                    <a:lnTo>
                      <a:pt x="608" y="200"/>
                    </a:lnTo>
                    <a:lnTo>
                      <a:pt x="608" y="200"/>
                    </a:lnTo>
                    <a:lnTo>
                      <a:pt x="608" y="202"/>
                    </a:lnTo>
                    <a:lnTo>
                      <a:pt x="606" y="202"/>
                    </a:lnTo>
                    <a:lnTo>
                      <a:pt x="604" y="202"/>
                    </a:lnTo>
                    <a:lnTo>
                      <a:pt x="602" y="200"/>
                    </a:lnTo>
                    <a:lnTo>
                      <a:pt x="602" y="200"/>
                    </a:lnTo>
                    <a:lnTo>
                      <a:pt x="602" y="200"/>
                    </a:lnTo>
                    <a:lnTo>
                      <a:pt x="600" y="198"/>
                    </a:lnTo>
                    <a:lnTo>
                      <a:pt x="600" y="196"/>
                    </a:lnTo>
                    <a:lnTo>
                      <a:pt x="600" y="196"/>
                    </a:lnTo>
                    <a:lnTo>
                      <a:pt x="600" y="196"/>
                    </a:lnTo>
                    <a:lnTo>
                      <a:pt x="598" y="196"/>
                    </a:lnTo>
                    <a:lnTo>
                      <a:pt x="596" y="194"/>
                    </a:lnTo>
                    <a:lnTo>
                      <a:pt x="594" y="194"/>
                    </a:lnTo>
                    <a:lnTo>
                      <a:pt x="594" y="194"/>
                    </a:lnTo>
                    <a:lnTo>
                      <a:pt x="594" y="192"/>
                    </a:lnTo>
                    <a:lnTo>
                      <a:pt x="592" y="190"/>
                    </a:lnTo>
                    <a:lnTo>
                      <a:pt x="592" y="190"/>
                    </a:lnTo>
                    <a:lnTo>
                      <a:pt x="590" y="190"/>
                    </a:lnTo>
                    <a:lnTo>
                      <a:pt x="590" y="188"/>
                    </a:lnTo>
                    <a:lnTo>
                      <a:pt x="586" y="188"/>
                    </a:lnTo>
                    <a:lnTo>
                      <a:pt x="586" y="188"/>
                    </a:lnTo>
                    <a:lnTo>
                      <a:pt x="586" y="186"/>
                    </a:lnTo>
                    <a:lnTo>
                      <a:pt x="586" y="184"/>
                    </a:lnTo>
                    <a:lnTo>
                      <a:pt x="586" y="182"/>
                    </a:lnTo>
                    <a:lnTo>
                      <a:pt x="586" y="182"/>
                    </a:lnTo>
                    <a:lnTo>
                      <a:pt x="584" y="182"/>
                    </a:lnTo>
                    <a:lnTo>
                      <a:pt x="582" y="182"/>
                    </a:lnTo>
                    <a:lnTo>
                      <a:pt x="580" y="182"/>
                    </a:lnTo>
                    <a:lnTo>
                      <a:pt x="580" y="182"/>
                    </a:lnTo>
                    <a:lnTo>
                      <a:pt x="576" y="180"/>
                    </a:lnTo>
                    <a:lnTo>
                      <a:pt x="574" y="180"/>
                    </a:lnTo>
                    <a:lnTo>
                      <a:pt x="574" y="180"/>
                    </a:lnTo>
                    <a:lnTo>
                      <a:pt x="572" y="178"/>
                    </a:lnTo>
                    <a:lnTo>
                      <a:pt x="572" y="178"/>
                    </a:lnTo>
                    <a:lnTo>
                      <a:pt x="570" y="176"/>
                    </a:lnTo>
                    <a:lnTo>
                      <a:pt x="570" y="176"/>
                    </a:lnTo>
                    <a:lnTo>
                      <a:pt x="570" y="176"/>
                    </a:lnTo>
                    <a:lnTo>
                      <a:pt x="570" y="174"/>
                    </a:lnTo>
                    <a:lnTo>
                      <a:pt x="570" y="172"/>
                    </a:lnTo>
                    <a:lnTo>
                      <a:pt x="570" y="166"/>
                    </a:lnTo>
                    <a:lnTo>
                      <a:pt x="570" y="166"/>
                    </a:lnTo>
                    <a:lnTo>
                      <a:pt x="570" y="164"/>
                    </a:lnTo>
                    <a:lnTo>
                      <a:pt x="570" y="164"/>
                    </a:lnTo>
                    <a:lnTo>
                      <a:pt x="568" y="162"/>
                    </a:lnTo>
                    <a:lnTo>
                      <a:pt x="568" y="160"/>
                    </a:lnTo>
                    <a:lnTo>
                      <a:pt x="564" y="158"/>
                    </a:lnTo>
                    <a:lnTo>
                      <a:pt x="562" y="158"/>
                    </a:lnTo>
                    <a:lnTo>
                      <a:pt x="562" y="158"/>
                    </a:lnTo>
                    <a:lnTo>
                      <a:pt x="556" y="154"/>
                    </a:lnTo>
                    <a:lnTo>
                      <a:pt x="554" y="152"/>
                    </a:lnTo>
                    <a:lnTo>
                      <a:pt x="552" y="152"/>
                    </a:lnTo>
                    <a:lnTo>
                      <a:pt x="552" y="152"/>
                    </a:lnTo>
                    <a:lnTo>
                      <a:pt x="552" y="152"/>
                    </a:lnTo>
                    <a:lnTo>
                      <a:pt x="550" y="152"/>
                    </a:lnTo>
                    <a:lnTo>
                      <a:pt x="548" y="154"/>
                    </a:lnTo>
                    <a:lnTo>
                      <a:pt x="546" y="154"/>
                    </a:lnTo>
                    <a:lnTo>
                      <a:pt x="542" y="156"/>
                    </a:lnTo>
                    <a:lnTo>
                      <a:pt x="542" y="156"/>
                    </a:lnTo>
                    <a:lnTo>
                      <a:pt x="536" y="156"/>
                    </a:lnTo>
                    <a:lnTo>
                      <a:pt x="536" y="158"/>
                    </a:lnTo>
                    <a:lnTo>
                      <a:pt x="534" y="158"/>
                    </a:lnTo>
                    <a:lnTo>
                      <a:pt x="532" y="158"/>
                    </a:lnTo>
                    <a:lnTo>
                      <a:pt x="532" y="160"/>
                    </a:lnTo>
                    <a:lnTo>
                      <a:pt x="532" y="160"/>
                    </a:lnTo>
                    <a:lnTo>
                      <a:pt x="532" y="162"/>
                    </a:lnTo>
                    <a:lnTo>
                      <a:pt x="532" y="162"/>
                    </a:lnTo>
                    <a:lnTo>
                      <a:pt x="534" y="164"/>
                    </a:lnTo>
                    <a:lnTo>
                      <a:pt x="534" y="164"/>
                    </a:lnTo>
                    <a:lnTo>
                      <a:pt x="536" y="166"/>
                    </a:lnTo>
                    <a:lnTo>
                      <a:pt x="538" y="168"/>
                    </a:lnTo>
                    <a:lnTo>
                      <a:pt x="538" y="168"/>
                    </a:lnTo>
                    <a:lnTo>
                      <a:pt x="544" y="168"/>
                    </a:lnTo>
                    <a:lnTo>
                      <a:pt x="548" y="168"/>
                    </a:lnTo>
                    <a:lnTo>
                      <a:pt x="552" y="166"/>
                    </a:lnTo>
                    <a:lnTo>
                      <a:pt x="558" y="166"/>
                    </a:lnTo>
                    <a:lnTo>
                      <a:pt x="558" y="166"/>
                    </a:lnTo>
                    <a:lnTo>
                      <a:pt x="556" y="168"/>
                    </a:lnTo>
                    <a:lnTo>
                      <a:pt x="554" y="170"/>
                    </a:lnTo>
                    <a:lnTo>
                      <a:pt x="552" y="172"/>
                    </a:lnTo>
                    <a:lnTo>
                      <a:pt x="548" y="174"/>
                    </a:lnTo>
                    <a:lnTo>
                      <a:pt x="548" y="174"/>
                    </a:lnTo>
                    <a:lnTo>
                      <a:pt x="546" y="174"/>
                    </a:lnTo>
                    <a:lnTo>
                      <a:pt x="542" y="174"/>
                    </a:lnTo>
                    <a:lnTo>
                      <a:pt x="538" y="172"/>
                    </a:lnTo>
                    <a:lnTo>
                      <a:pt x="538" y="172"/>
                    </a:lnTo>
                    <a:lnTo>
                      <a:pt x="536" y="172"/>
                    </a:lnTo>
                    <a:lnTo>
                      <a:pt x="534" y="172"/>
                    </a:lnTo>
                    <a:lnTo>
                      <a:pt x="532" y="172"/>
                    </a:lnTo>
                    <a:lnTo>
                      <a:pt x="530" y="174"/>
                    </a:lnTo>
                    <a:lnTo>
                      <a:pt x="528" y="176"/>
                    </a:lnTo>
                    <a:lnTo>
                      <a:pt x="526" y="176"/>
                    </a:lnTo>
                    <a:lnTo>
                      <a:pt x="524" y="180"/>
                    </a:lnTo>
                    <a:lnTo>
                      <a:pt x="524" y="182"/>
                    </a:lnTo>
                    <a:lnTo>
                      <a:pt x="524" y="186"/>
                    </a:lnTo>
                    <a:lnTo>
                      <a:pt x="524" y="186"/>
                    </a:lnTo>
                    <a:lnTo>
                      <a:pt x="524" y="186"/>
                    </a:lnTo>
                    <a:lnTo>
                      <a:pt x="524" y="188"/>
                    </a:lnTo>
                    <a:lnTo>
                      <a:pt x="524" y="190"/>
                    </a:lnTo>
                    <a:lnTo>
                      <a:pt x="524" y="190"/>
                    </a:lnTo>
                    <a:lnTo>
                      <a:pt x="526" y="192"/>
                    </a:lnTo>
                    <a:lnTo>
                      <a:pt x="526" y="194"/>
                    </a:lnTo>
                    <a:lnTo>
                      <a:pt x="526" y="196"/>
                    </a:lnTo>
                    <a:lnTo>
                      <a:pt x="526" y="196"/>
                    </a:lnTo>
                    <a:lnTo>
                      <a:pt x="526" y="200"/>
                    </a:lnTo>
                    <a:lnTo>
                      <a:pt x="526" y="200"/>
                    </a:lnTo>
                    <a:lnTo>
                      <a:pt x="526" y="200"/>
                    </a:lnTo>
                    <a:lnTo>
                      <a:pt x="524" y="200"/>
                    </a:lnTo>
                    <a:lnTo>
                      <a:pt x="524" y="200"/>
                    </a:lnTo>
                    <a:lnTo>
                      <a:pt x="524" y="200"/>
                    </a:lnTo>
                    <a:lnTo>
                      <a:pt x="524" y="200"/>
                    </a:lnTo>
                    <a:lnTo>
                      <a:pt x="520" y="200"/>
                    </a:lnTo>
                    <a:lnTo>
                      <a:pt x="520" y="200"/>
                    </a:lnTo>
                    <a:lnTo>
                      <a:pt x="520" y="198"/>
                    </a:lnTo>
                    <a:lnTo>
                      <a:pt x="518" y="198"/>
                    </a:lnTo>
                    <a:lnTo>
                      <a:pt x="518" y="198"/>
                    </a:lnTo>
                    <a:lnTo>
                      <a:pt x="518" y="200"/>
                    </a:lnTo>
                    <a:lnTo>
                      <a:pt x="516" y="200"/>
                    </a:lnTo>
                    <a:lnTo>
                      <a:pt x="514" y="202"/>
                    </a:lnTo>
                    <a:lnTo>
                      <a:pt x="514" y="202"/>
                    </a:lnTo>
                    <a:lnTo>
                      <a:pt x="514" y="204"/>
                    </a:lnTo>
                    <a:lnTo>
                      <a:pt x="514" y="206"/>
                    </a:lnTo>
                    <a:lnTo>
                      <a:pt x="514" y="206"/>
                    </a:lnTo>
                    <a:lnTo>
                      <a:pt x="512" y="206"/>
                    </a:lnTo>
                    <a:lnTo>
                      <a:pt x="512" y="204"/>
                    </a:lnTo>
                    <a:lnTo>
                      <a:pt x="512" y="204"/>
                    </a:lnTo>
                    <a:lnTo>
                      <a:pt x="510" y="202"/>
                    </a:lnTo>
                    <a:lnTo>
                      <a:pt x="510" y="200"/>
                    </a:lnTo>
                    <a:lnTo>
                      <a:pt x="510" y="198"/>
                    </a:lnTo>
                    <a:lnTo>
                      <a:pt x="510" y="196"/>
                    </a:lnTo>
                    <a:lnTo>
                      <a:pt x="510" y="196"/>
                    </a:lnTo>
                    <a:lnTo>
                      <a:pt x="512" y="194"/>
                    </a:lnTo>
                    <a:lnTo>
                      <a:pt x="512" y="194"/>
                    </a:lnTo>
                    <a:lnTo>
                      <a:pt x="514" y="194"/>
                    </a:lnTo>
                    <a:lnTo>
                      <a:pt x="516" y="194"/>
                    </a:lnTo>
                    <a:lnTo>
                      <a:pt x="516" y="192"/>
                    </a:lnTo>
                    <a:lnTo>
                      <a:pt x="516" y="192"/>
                    </a:lnTo>
                    <a:lnTo>
                      <a:pt x="516" y="190"/>
                    </a:lnTo>
                    <a:lnTo>
                      <a:pt x="514" y="188"/>
                    </a:lnTo>
                    <a:lnTo>
                      <a:pt x="512" y="186"/>
                    </a:lnTo>
                    <a:lnTo>
                      <a:pt x="512" y="186"/>
                    </a:lnTo>
                    <a:lnTo>
                      <a:pt x="510" y="180"/>
                    </a:lnTo>
                    <a:lnTo>
                      <a:pt x="510" y="180"/>
                    </a:lnTo>
                    <a:lnTo>
                      <a:pt x="508" y="176"/>
                    </a:lnTo>
                    <a:lnTo>
                      <a:pt x="506" y="176"/>
                    </a:lnTo>
                    <a:lnTo>
                      <a:pt x="506" y="176"/>
                    </a:lnTo>
                    <a:lnTo>
                      <a:pt x="506" y="176"/>
                    </a:lnTo>
                    <a:lnTo>
                      <a:pt x="506" y="172"/>
                    </a:lnTo>
                    <a:lnTo>
                      <a:pt x="504" y="168"/>
                    </a:lnTo>
                    <a:lnTo>
                      <a:pt x="504" y="166"/>
                    </a:lnTo>
                    <a:lnTo>
                      <a:pt x="502" y="166"/>
                    </a:lnTo>
                    <a:lnTo>
                      <a:pt x="502" y="164"/>
                    </a:lnTo>
                    <a:lnTo>
                      <a:pt x="500" y="164"/>
                    </a:lnTo>
                    <a:lnTo>
                      <a:pt x="500" y="164"/>
                    </a:lnTo>
                    <a:lnTo>
                      <a:pt x="500" y="164"/>
                    </a:lnTo>
                    <a:lnTo>
                      <a:pt x="498" y="164"/>
                    </a:lnTo>
                    <a:lnTo>
                      <a:pt x="496" y="164"/>
                    </a:lnTo>
                    <a:lnTo>
                      <a:pt x="496" y="164"/>
                    </a:lnTo>
                    <a:lnTo>
                      <a:pt x="492" y="164"/>
                    </a:lnTo>
                    <a:lnTo>
                      <a:pt x="490" y="164"/>
                    </a:lnTo>
                    <a:lnTo>
                      <a:pt x="490" y="164"/>
                    </a:lnTo>
                    <a:lnTo>
                      <a:pt x="484" y="164"/>
                    </a:lnTo>
                    <a:lnTo>
                      <a:pt x="482" y="164"/>
                    </a:lnTo>
                    <a:lnTo>
                      <a:pt x="480" y="164"/>
                    </a:lnTo>
                    <a:lnTo>
                      <a:pt x="480" y="164"/>
                    </a:lnTo>
                    <a:lnTo>
                      <a:pt x="476" y="162"/>
                    </a:lnTo>
                    <a:lnTo>
                      <a:pt x="474" y="162"/>
                    </a:lnTo>
                    <a:lnTo>
                      <a:pt x="472" y="162"/>
                    </a:lnTo>
                    <a:lnTo>
                      <a:pt x="472" y="162"/>
                    </a:lnTo>
                    <a:lnTo>
                      <a:pt x="470" y="162"/>
                    </a:lnTo>
                    <a:lnTo>
                      <a:pt x="468" y="162"/>
                    </a:lnTo>
                    <a:lnTo>
                      <a:pt x="468" y="162"/>
                    </a:lnTo>
                    <a:lnTo>
                      <a:pt x="468" y="160"/>
                    </a:lnTo>
                    <a:lnTo>
                      <a:pt x="466" y="160"/>
                    </a:lnTo>
                    <a:lnTo>
                      <a:pt x="466" y="160"/>
                    </a:lnTo>
                    <a:lnTo>
                      <a:pt x="464" y="160"/>
                    </a:lnTo>
                    <a:lnTo>
                      <a:pt x="462" y="160"/>
                    </a:lnTo>
                    <a:lnTo>
                      <a:pt x="458" y="160"/>
                    </a:lnTo>
                    <a:lnTo>
                      <a:pt x="458" y="160"/>
                    </a:lnTo>
                    <a:lnTo>
                      <a:pt x="450" y="160"/>
                    </a:lnTo>
                    <a:lnTo>
                      <a:pt x="450" y="160"/>
                    </a:lnTo>
                    <a:lnTo>
                      <a:pt x="448" y="160"/>
                    </a:lnTo>
                    <a:lnTo>
                      <a:pt x="446" y="158"/>
                    </a:lnTo>
                    <a:lnTo>
                      <a:pt x="446" y="158"/>
                    </a:lnTo>
                    <a:lnTo>
                      <a:pt x="444" y="158"/>
                    </a:lnTo>
                    <a:lnTo>
                      <a:pt x="444" y="158"/>
                    </a:lnTo>
                    <a:lnTo>
                      <a:pt x="440" y="154"/>
                    </a:lnTo>
                    <a:lnTo>
                      <a:pt x="440" y="154"/>
                    </a:lnTo>
                    <a:lnTo>
                      <a:pt x="438" y="152"/>
                    </a:lnTo>
                    <a:lnTo>
                      <a:pt x="436" y="152"/>
                    </a:lnTo>
                    <a:lnTo>
                      <a:pt x="436" y="152"/>
                    </a:lnTo>
                    <a:lnTo>
                      <a:pt x="436" y="152"/>
                    </a:lnTo>
                    <a:lnTo>
                      <a:pt x="436" y="152"/>
                    </a:lnTo>
                    <a:lnTo>
                      <a:pt x="436" y="150"/>
                    </a:lnTo>
                    <a:lnTo>
                      <a:pt x="436" y="150"/>
                    </a:lnTo>
                    <a:lnTo>
                      <a:pt x="436" y="148"/>
                    </a:lnTo>
                    <a:lnTo>
                      <a:pt x="436" y="148"/>
                    </a:lnTo>
                    <a:lnTo>
                      <a:pt x="438" y="146"/>
                    </a:lnTo>
                    <a:lnTo>
                      <a:pt x="440" y="144"/>
                    </a:lnTo>
                    <a:lnTo>
                      <a:pt x="440" y="144"/>
                    </a:lnTo>
                    <a:lnTo>
                      <a:pt x="440" y="144"/>
                    </a:lnTo>
                    <a:lnTo>
                      <a:pt x="440" y="142"/>
                    </a:lnTo>
                    <a:lnTo>
                      <a:pt x="442" y="142"/>
                    </a:lnTo>
                    <a:lnTo>
                      <a:pt x="442" y="142"/>
                    </a:lnTo>
                    <a:lnTo>
                      <a:pt x="446" y="142"/>
                    </a:lnTo>
                    <a:lnTo>
                      <a:pt x="448" y="144"/>
                    </a:lnTo>
                    <a:lnTo>
                      <a:pt x="448" y="144"/>
                    </a:lnTo>
                    <a:lnTo>
                      <a:pt x="450" y="142"/>
                    </a:lnTo>
                    <a:lnTo>
                      <a:pt x="454" y="142"/>
                    </a:lnTo>
                    <a:lnTo>
                      <a:pt x="454" y="142"/>
                    </a:lnTo>
                    <a:lnTo>
                      <a:pt x="456" y="140"/>
                    </a:lnTo>
                    <a:lnTo>
                      <a:pt x="456" y="140"/>
                    </a:lnTo>
                    <a:lnTo>
                      <a:pt x="456" y="138"/>
                    </a:lnTo>
                    <a:lnTo>
                      <a:pt x="456" y="138"/>
                    </a:lnTo>
                    <a:lnTo>
                      <a:pt x="456" y="136"/>
                    </a:lnTo>
                    <a:lnTo>
                      <a:pt x="454" y="132"/>
                    </a:lnTo>
                    <a:lnTo>
                      <a:pt x="452" y="128"/>
                    </a:lnTo>
                    <a:lnTo>
                      <a:pt x="452" y="128"/>
                    </a:lnTo>
                    <a:lnTo>
                      <a:pt x="450" y="122"/>
                    </a:lnTo>
                    <a:lnTo>
                      <a:pt x="448" y="118"/>
                    </a:lnTo>
                    <a:lnTo>
                      <a:pt x="448" y="118"/>
                    </a:lnTo>
                    <a:lnTo>
                      <a:pt x="448" y="116"/>
                    </a:lnTo>
                    <a:lnTo>
                      <a:pt x="446" y="114"/>
                    </a:lnTo>
                    <a:lnTo>
                      <a:pt x="444" y="114"/>
                    </a:lnTo>
                    <a:lnTo>
                      <a:pt x="444" y="112"/>
                    </a:lnTo>
                    <a:lnTo>
                      <a:pt x="442" y="112"/>
                    </a:lnTo>
                    <a:lnTo>
                      <a:pt x="440" y="114"/>
                    </a:lnTo>
                    <a:lnTo>
                      <a:pt x="440" y="114"/>
                    </a:lnTo>
                    <a:lnTo>
                      <a:pt x="438" y="114"/>
                    </a:lnTo>
                    <a:lnTo>
                      <a:pt x="438" y="114"/>
                    </a:lnTo>
                    <a:lnTo>
                      <a:pt x="436" y="116"/>
                    </a:lnTo>
                    <a:lnTo>
                      <a:pt x="436" y="116"/>
                    </a:lnTo>
                    <a:lnTo>
                      <a:pt x="434" y="116"/>
                    </a:lnTo>
                    <a:lnTo>
                      <a:pt x="434" y="114"/>
                    </a:lnTo>
                    <a:lnTo>
                      <a:pt x="434" y="114"/>
                    </a:lnTo>
                    <a:lnTo>
                      <a:pt x="430" y="114"/>
                    </a:lnTo>
                    <a:lnTo>
                      <a:pt x="426" y="112"/>
                    </a:lnTo>
                    <a:lnTo>
                      <a:pt x="422" y="110"/>
                    </a:lnTo>
                    <a:lnTo>
                      <a:pt x="422" y="110"/>
                    </a:lnTo>
                    <a:lnTo>
                      <a:pt x="420" y="108"/>
                    </a:lnTo>
                    <a:lnTo>
                      <a:pt x="420" y="108"/>
                    </a:lnTo>
                    <a:lnTo>
                      <a:pt x="418" y="106"/>
                    </a:lnTo>
                    <a:lnTo>
                      <a:pt x="418" y="106"/>
                    </a:lnTo>
                    <a:lnTo>
                      <a:pt x="416" y="106"/>
                    </a:lnTo>
                    <a:lnTo>
                      <a:pt x="416" y="104"/>
                    </a:lnTo>
                    <a:lnTo>
                      <a:pt x="416" y="104"/>
                    </a:lnTo>
                    <a:lnTo>
                      <a:pt x="414" y="102"/>
                    </a:lnTo>
                    <a:lnTo>
                      <a:pt x="414" y="100"/>
                    </a:lnTo>
                    <a:lnTo>
                      <a:pt x="412" y="98"/>
                    </a:lnTo>
                    <a:lnTo>
                      <a:pt x="410" y="96"/>
                    </a:lnTo>
                    <a:lnTo>
                      <a:pt x="410" y="96"/>
                    </a:lnTo>
                    <a:lnTo>
                      <a:pt x="408" y="94"/>
                    </a:lnTo>
                    <a:lnTo>
                      <a:pt x="406" y="92"/>
                    </a:lnTo>
                    <a:lnTo>
                      <a:pt x="406" y="92"/>
                    </a:lnTo>
                    <a:lnTo>
                      <a:pt x="404" y="88"/>
                    </a:lnTo>
                    <a:lnTo>
                      <a:pt x="402" y="86"/>
                    </a:lnTo>
                    <a:lnTo>
                      <a:pt x="402" y="86"/>
                    </a:lnTo>
                    <a:lnTo>
                      <a:pt x="396" y="82"/>
                    </a:lnTo>
                    <a:lnTo>
                      <a:pt x="392" y="76"/>
                    </a:lnTo>
                    <a:lnTo>
                      <a:pt x="392" y="76"/>
                    </a:lnTo>
                    <a:lnTo>
                      <a:pt x="390" y="72"/>
                    </a:lnTo>
                    <a:lnTo>
                      <a:pt x="388" y="70"/>
                    </a:lnTo>
                    <a:lnTo>
                      <a:pt x="386" y="68"/>
                    </a:lnTo>
                    <a:lnTo>
                      <a:pt x="384" y="66"/>
                    </a:lnTo>
                    <a:lnTo>
                      <a:pt x="380" y="66"/>
                    </a:lnTo>
                    <a:lnTo>
                      <a:pt x="378" y="64"/>
                    </a:lnTo>
                    <a:lnTo>
                      <a:pt x="374" y="64"/>
                    </a:lnTo>
                    <a:lnTo>
                      <a:pt x="372" y="64"/>
                    </a:lnTo>
                    <a:lnTo>
                      <a:pt x="372" y="64"/>
                    </a:lnTo>
                    <a:lnTo>
                      <a:pt x="368" y="66"/>
                    </a:lnTo>
                    <a:lnTo>
                      <a:pt x="366" y="68"/>
                    </a:lnTo>
                    <a:lnTo>
                      <a:pt x="362" y="70"/>
                    </a:lnTo>
                    <a:lnTo>
                      <a:pt x="360" y="74"/>
                    </a:lnTo>
                    <a:lnTo>
                      <a:pt x="360" y="74"/>
                    </a:lnTo>
                    <a:lnTo>
                      <a:pt x="360" y="76"/>
                    </a:lnTo>
                    <a:lnTo>
                      <a:pt x="360" y="78"/>
                    </a:lnTo>
                    <a:lnTo>
                      <a:pt x="358" y="80"/>
                    </a:lnTo>
                    <a:lnTo>
                      <a:pt x="358" y="80"/>
                    </a:lnTo>
                    <a:lnTo>
                      <a:pt x="358" y="78"/>
                    </a:lnTo>
                    <a:lnTo>
                      <a:pt x="356" y="78"/>
                    </a:lnTo>
                    <a:lnTo>
                      <a:pt x="356" y="78"/>
                    </a:lnTo>
                    <a:lnTo>
                      <a:pt x="354" y="74"/>
                    </a:lnTo>
                    <a:lnTo>
                      <a:pt x="352" y="74"/>
                    </a:lnTo>
                    <a:lnTo>
                      <a:pt x="352" y="72"/>
                    </a:lnTo>
                    <a:lnTo>
                      <a:pt x="352" y="72"/>
                    </a:lnTo>
                    <a:lnTo>
                      <a:pt x="352" y="72"/>
                    </a:lnTo>
                    <a:lnTo>
                      <a:pt x="354" y="70"/>
                    </a:lnTo>
                    <a:lnTo>
                      <a:pt x="356" y="68"/>
                    </a:lnTo>
                    <a:lnTo>
                      <a:pt x="356" y="68"/>
                    </a:lnTo>
                    <a:lnTo>
                      <a:pt x="358" y="66"/>
                    </a:lnTo>
                    <a:lnTo>
                      <a:pt x="360" y="64"/>
                    </a:lnTo>
                    <a:lnTo>
                      <a:pt x="360" y="62"/>
                    </a:lnTo>
                    <a:lnTo>
                      <a:pt x="360" y="62"/>
                    </a:lnTo>
                    <a:lnTo>
                      <a:pt x="360" y="62"/>
                    </a:lnTo>
                    <a:lnTo>
                      <a:pt x="358" y="60"/>
                    </a:lnTo>
                    <a:lnTo>
                      <a:pt x="358" y="60"/>
                    </a:lnTo>
                    <a:lnTo>
                      <a:pt x="358" y="58"/>
                    </a:lnTo>
                    <a:lnTo>
                      <a:pt x="358" y="58"/>
                    </a:lnTo>
                    <a:lnTo>
                      <a:pt x="358" y="58"/>
                    </a:lnTo>
                    <a:lnTo>
                      <a:pt x="358" y="56"/>
                    </a:lnTo>
                    <a:lnTo>
                      <a:pt x="358" y="54"/>
                    </a:lnTo>
                    <a:lnTo>
                      <a:pt x="360" y="52"/>
                    </a:lnTo>
                    <a:lnTo>
                      <a:pt x="358" y="52"/>
                    </a:lnTo>
                    <a:lnTo>
                      <a:pt x="358" y="50"/>
                    </a:lnTo>
                    <a:lnTo>
                      <a:pt x="356" y="50"/>
                    </a:lnTo>
                    <a:lnTo>
                      <a:pt x="356" y="50"/>
                    </a:lnTo>
                    <a:lnTo>
                      <a:pt x="352" y="52"/>
                    </a:lnTo>
                    <a:lnTo>
                      <a:pt x="350" y="52"/>
                    </a:lnTo>
                    <a:lnTo>
                      <a:pt x="346" y="54"/>
                    </a:lnTo>
                    <a:lnTo>
                      <a:pt x="346" y="56"/>
                    </a:lnTo>
                    <a:lnTo>
                      <a:pt x="344" y="58"/>
                    </a:lnTo>
                    <a:lnTo>
                      <a:pt x="344" y="58"/>
                    </a:lnTo>
                    <a:lnTo>
                      <a:pt x="344" y="58"/>
                    </a:lnTo>
                    <a:lnTo>
                      <a:pt x="342" y="62"/>
                    </a:lnTo>
                    <a:lnTo>
                      <a:pt x="340" y="66"/>
                    </a:lnTo>
                    <a:lnTo>
                      <a:pt x="340" y="66"/>
                    </a:lnTo>
                    <a:lnTo>
                      <a:pt x="340" y="68"/>
                    </a:lnTo>
                    <a:lnTo>
                      <a:pt x="338" y="68"/>
                    </a:lnTo>
                    <a:lnTo>
                      <a:pt x="338" y="68"/>
                    </a:lnTo>
                    <a:lnTo>
                      <a:pt x="338" y="68"/>
                    </a:lnTo>
                    <a:lnTo>
                      <a:pt x="336" y="66"/>
                    </a:lnTo>
                    <a:lnTo>
                      <a:pt x="336" y="64"/>
                    </a:lnTo>
                    <a:lnTo>
                      <a:pt x="336" y="64"/>
                    </a:lnTo>
                    <a:lnTo>
                      <a:pt x="334" y="62"/>
                    </a:lnTo>
                    <a:lnTo>
                      <a:pt x="332" y="62"/>
                    </a:lnTo>
                    <a:lnTo>
                      <a:pt x="330" y="60"/>
                    </a:lnTo>
                    <a:lnTo>
                      <a:pt x="328" y="60"/>
                    </a:lnTo>
                    <a:lnTo>
                      <a:pt x="328" y="60"/>
                    </a:lnTo>
                    <a:lnTo>
                      <a:pt x="328" y="58"/>
                    </a:lnTo>
                    <a:lnTo>
                      <a:pt x="326" y="56"/>
                    </a:lnTo>
                    <a:lnTo>
                      <a:pt x="326" y="52"/>
                    </a:lnTo>
                    <a:lnTo>
                      <a:pt x="326" y="52"/>
                    </a:lnTo>
                    <a:lnTo>
                      <a:pt x="326" y="50"/>
                    </a:lnTo>
                    <a:lnTo>
                      <a:pt x="328" y="48"/>
                    </a:lnTo>
                    <a:lnTo>
                      <a:pt x="330" y="42"/>
                    </a:lnTo>
                    <a:lnTo>
                      <a:pt x="330" y="42"/>
                    </a:lnTo>
                    <a:lnTo>
                      <a:pt x="332" y="40"/>
                    </a:lnTo>
                    <a:lnTo>
                      <a:pt x="332" y="36"/>
                    </a:lnTo>
                    <a:lnTo>
                      <a:pt x="332" y="34"/>
                    </a:lnTo>
                    <a:lnTo>
                      <a:pt x="332" y="30"/>
                    </a:lnTo>
                    <a:lnTo>
                      <a:pt x="332" y="30"/>
                    </a:lnTo>
                    <a:lnTo>
                      <a:pt x="330" y="28"/>
                    </a:lnTo>
                    <a:lnTo>
                      <a:pt x="330" y="26"/>
                    </a:lnTo>
                    <a:lnTo>
                      <a:pt x="328" y="24"/>
                    </a:lnTo>
                    <a:lnTo>
                      <a:pt x="326" y="22"/>
                    </a:lnTo>
                    <a:lnTo>
                      <a:pt x="326" y="22"/>
                    </a:lnTo>
                    <a:lnTo>
                      <a:pt x="326" y="22"/>
                    </a:lnTo>
                    <a:lnTo>
                      <a:pt x="324" y="22"/>
                    </a:lnTo>
                    <a:lnTo>
                      <a:pt x="324" y="22"/>
                    </a:lnTo>
                    <a:lnTo>
                      <a:pt x="322" y="24"/>
                    </a:lnTo>
                    <a:lnTo>
                      <a:pt x="322" y="26"/>
                    </a:lnTo>
                    <a:lnTo>
                      <a:pt x="322" y="28"/>
                    </a:lnTo>
                    <a:lnTo>
                      <a:pt x="322" y="32"/>
                    </a:lnTo>
                    <a:lnTo>
                      <a:pt x="322" y="32"/>
                    </a:lnTo>
                    <a:lnTo>
                      <a:pt x="322" y="32"/>
                    </a:lnTo>
                    <a:lnTo>
                      <a:pt x="322" y="34"/>
                    </a:lnTo>
                    <a:lnTo>
                      <a:pt x="318" y="36"/>
                    </a:lnTo>
                    <a:lnTo>
                      <a:pt x="316" y="38"/>
                    </a:lnTo>
                    <a:lnTo>
                      <a:pt x="312" y="40"/>
                    </a:lnTo>
                    <a:lnTo>
                      <a:pt x="312" y="40"/>
                    </a:lnTo>
                    <a:lnTo>
                      <a:pt x="312" y="40"/>
                    </a:lnTo>
                    <a:lnTo>
                      <a:pt x="312" y="40"/>
                    </a:lnTo>
                    <a:lnTo>
                      <a:pt x="310" y="40"/>
                    </a:lnTo>
                    <a:lnTo>
                      <a:pt x="308" y="40"/>
                    </a:lnTo>
                    <a:lnTo>
                      <a:pt x="308" y="40"/>
                    </a:lnTo>
                    <a:lnTo>
                      <a:pt x="306" y="40"/>
                    </a:lnTo>
                    <a:lnTo>
                      <a:pt x="306" y="42"/>
                    </a:lnTo>
                    <a:lnTo>
                      <a:pt x="306" y="42"/>
                    </a:lnTo>
                    <a:lnTo>
                      <a:pt x="304" y="42"/>
                    </a:lnTo>
                    <a:lnTo>
                      <a:pt x="304" y="42"/>
                    </a:lnTo>
                    <a:lnTo>
                      <a:pt x="302" y="44"/>
                    </a:lnTo>
                    <a:lnTo>
                      <a:pt x="300" y="42"/>
                    </a:lnTo>
                    <a:lnTo>
                      <a:pt x="300" y="42"/>
                    </a:lnTo>
                    <a:lnTo>
                      <a:pt x="298" y="42"/>
                    </a:lnTo>
                    <a:lnTo>
                      <a:pt x="298" y="42"/>
                    </a:lnTo>
                    <a:lnTo>
                      <a:pt x="298" y="40"/>
                    </a:lnTo>
                    <a:lnTo>
                      <a:pt x="298" y="40"/>
                    </a:lnTo>
                    <a:lnTo>
                      <a:pt x="300" y="40"/>
                    </a:lnTo>
                    <a:lnTo>
                      <a:pt x="300" y="38"/>
                    </a:lnTo>
                    <a:lnTo>
                      <a:pt x="300" y="38"/>
                    </a:lnTo>
                    <a:lnTo>
                      <a:pt x="300" y="36"/>
                    </a:lnTo>
                    <a:lnTo>
                      <a:pt x="300" y="36"/>
                    </a:lnTo>
                    <a:lnTo>
                      <a:pt x="300" y="36"/>
                    </a:lnTo>
                    <a:lnTo>
                      <a:pt x="298" y="36"/>
                    </a:lnTo>
                    <a:lnTo>
                      <a:pt x="296" y="36"/>
                    </a:lnTo>
                    <a:lnTo>
                      <a:pt x="294" y="38"/>
                    </a:lnTo>
                    <a:lnTo>
                      <a:pt x="294" y="38"/>
                    </a:lnTo>
                    <a:lnTo>
                      <a:pt x="290" y="38"/>
                    </a:lnTo>
                    <a:lnTo>
                      <a:pt x="288" y="38"/>
                    </a:lnTo>
                    <a:lnTo>
                      <a:pt x="288" y="40"/>
                    </a:lnTo>
                    <a:lnTo>
                      <a:pt x="288" y="40"/>
                    </a:lnTo>
                    <a:lnTo>
                      <a:pt x="284" y="42"/>
                    </a:lnTo>
                    <a:lnTo>
                      <a:pt x="278" y="42"/>
                    </a:lnTo>
                    <a:lnTo>
                      <a:pt x="278" y="42"/>
                    </a:lnTo>
                    <a:lnTo>
                      <a:pt x="276" y="42"/>
                    </a:lnTo>
                    <a:lnTo>
                      <a:pt x="274" y="42"/>
                    </a:lnTo>
                    <a:lnTo>
                      <a:pt x="268" y="44"/>
                    </a:lnTo>
                    <a:lnTo>
                      <a:pt x="268" y="44"/>
                    </a:lnTo>
                    <a:lnTo>
                      <a:pt x="264" y="46"/>
                    </a:lnTo>
                    <a:lnTo>
                      <a:pt x="262" y="46"/>
                    </a:lnTo>
                    <a:lnTo>
                      <a:pt x="258" y="48"/>
                    </a:lnTo>
                    <a:lnTo>
                      <a:pt x="254" y="48"/>
                    </a:lnTo>
                    <a:lnTo>
                      <a:pt x="254" y="48"/>
                    </a:lnTo>
                    <a:lnTo>
                      <a:pt x="252" y="52"/>
                    </a:lnTo>
                    <a:lnTo>
                      <a:pt x="250" y="54"/>
                    </a:lnTo>
                    <a:lnTo>
                      <a:pt x="250" y="54"/>
                    </a:lnTo>
                    <a:lnTo>
                      <a:pt x="248" y="56"/>
                    </a:lnTo>
                    <a:lnTo>
                      <a:pt x="248" y="56"/>
                    </a:lnTo>
                    <a:lnTo>
                      <a:pt x="246" y="56"/>
                    </a:lnTo>
                    <a:lnTo>
                      <a:pt x="246" y="56"/>
                    </a:lnTo>
                    <a:lnTo>
                      <a:pt x="244" y="54"/>
                    </a:lnTo>
                    <a:lnTo>
                      <a:pt x="244" y="54"/>
                    </a:lnTo>
                    <a:lnTo>
                      <a:pt x="244" y="54"/>
                    </a:lnTo>
                    <a:lnTo>
                      <a:pt x="244" y="54"/>
                    </a:lnTo>
                    <a:lnTo>
                      <a:pt x="242" y="54"/>
                    </a:lnTo>
                    <a:lnTo>
                      <a:pt x="240" y="54"/>
                    </a:lnTo>
                    <a:lnTo>
                      <a:pt x="240" y="54"/>
                    </a:lnTo>
                    <a:lnTo>
                      <a:pt x="240" y="56"/>
                    </a:lnTo>
                    <a:lnTo>
                      <a:pt x="238" y="54"/>
                    </a:lnTo>
                    <a:lnTo>
                      <a:pt x="238" y="54"/>
                    </a:lnTo>
                    <a:lnTo>
                      <a:pt x="238" y="54"/>
                    </a:lnTo>
                    <a:lnTo>
                      <a:pt x="238" y="54"/>
                    </a:lnTo>
                    <a:lnTo>
                      <a:pt x="238" y="52"/>
                    </a:lnTo>
                    <a:lnTo>
                      <a:pt x="238" y="50"/>
                    </a:lnTo>
                    <a:lnTo>
                      <a:pt x="238" y="50"/>
                    </a:lnTo>
                    <a:lnTo>
                      <a:pt x="240" y="48"/>
                    </a:lnTo>
                    <a:lnTo>
                      <a:pt x="242" y="48"/>
                    </a:lnTo>
                    <a:lnTo>
                      <a:pt x="246" y="46"/>
                    </a:lnTo>
                    <a:lnTo>
                      <a:pt x="246" y="46"/>
                    </a:lnTo>
                    <a:lnTo>
                      <a:pt x="248" y="44"/>
                    </a:lnTo>
                    <a:lnTo>
                      <a:pt x="250" y="44"/>
                    </a:lnTo>
                    <a:lnTo>
                      <a:pt x="256" y="44"/>
                    </a:lnTo>
                    <a:lnTo>
                      <a:pt x="256" y="44"/>
                    </a:lnTo>
                    <a:lnTo>
                      <a:pt x="260" y="44"/>
                    </a:lnTo>
                    <a:lnTo>
                      <a:pt x="262" y="42"/>
                    </a:lnTo>
                    <a:lnTo>
                      <a:pt x="268" y="40"/>
                    </a:lnTo>
                    <a:lnTo>
                      <a:pt x="268" y="40"/>
                    </a:lnTo>
                    <a:lnTo>
                      <a:pt x="270" y="40"/>
                    </a:lnTo>
                    <a:lnTo>
                      <a:pt x="272" y="38"/>
                    </a:lnTo>
                    <a:lnTo>
                      <a:pt x="278" y="38"/>
                    </a:lnTo>
                    <a:lnTo>
                      <a:pt x="278" y="38"/>
                    </a:lnTo>
                    <a:lnTo>
                      <a:pt x="280" y="38"/>
                    </a:lnTo>
                    <a:lnTo>
                      <a:pt x="284" y="36"/>
                    </a:lnTo>
                    <a:lnTo>
                      <a:pt x="288" y="34"/>
                    </a:lnTo>
                    <a:lnTo>
                      <a:pt x="288" y="34"/>
                    </a:lnTo>
                    <a:lnTo>
                      <a:pt x="294" y="30"/>
                    </a:lnTo>
                    <a:lnTo>
                      <a:pt x="296" y="28"/>
                    </a:lnTo>
                    <a:lnTo>
                      <a:pt x="296" y="26"/>
                    </a:lnTo>
                    <a:lnTo>
                      <a:pt x="298" y="26"/>
                    </a:lnTo>
                    <a:lnTo>
                      <a:pt x="298" y="26"/>
                    </a:lnTo>
                    <a:lnTo>
                      <a:pt x="296" y="26"/>
                    </a:lnTo>
                    <a:lnTo>
                      <a:pt x="296" y="24"/>
                    </a:lnTo>
                    <a:lnTo>
                      <a:pt x="296" y="24"/>
                    </a:lnTo>
                    <a:lnTo>
                      <a:pt x="292" y="24"/>
                    </a:lnTo>
                    <a:lnTo>
                      <a:pt x="292" y="24"/>
                    </a:lnTo>
                    <a:lnTo>
                      <a:pt x="292" y="24"/>
                    </a:lnTo>
                    <a:lnTo>
                      <a:pt x="290" y="24"/>
                    </a:lnTo>
                    <a:lnTo>
                      <a:pt x="288" y="24"/>
                    </a:lnTo>
                    <a:lnTo>
                      <a:pt x="288" y="26"/>
                    </a:lnTo>
                    <a:lnTo>
                      <a:pt x="288" y="26"/>
                    </a:lnTo>
                    <a:lnTo>
                      <a:pt x="284" y="28"/>
                    </a:lnTo>
                    <a:lnTo>
                      <a:pt x="276" y="30"/>
                    </a:lnTo>
                    <a:lnTo>
                      <a:pt x="276" y="30"/>
                    </a:lnTo>
                    <a:lnTo>
                      <a:pt x="274" y="30"/>
                    </a:lnTo>
                    <a:lnTo>
                      <a:pt x="272" y="32"/>
                    </a:lnTo>
                    <a:lnTo>
                      <a:pt x="270" y="32"/>
                    </a:lnTo>
                    <a:lnTo>
                      <a:pt x="270" y="32"/>
                    </a:lnTo>
                    <a:lnTo>
                      <a:pt x="268" y="32"/>
                    </a:lnTo>
                    <a:lnTo>
                      <a:pt x="264" y="30"/>
                    </a:lnTo>
                    <a:lnTo>
                      <a:pt x="264" y="30"/>
                    </a:lnTo>
                    <a:lnTo>
                      <a:pt x="262" y="30"/>
                    </a:lnTo>
                    <a:lnTo>
                      <a:pt x="260" y="30"/>
                    </a:lnTo>
                    <a:lnTo>
                      <a:pt x="258" y="30"/>
                    </a:lnTo>
                    <a:lnTo>
                      <a:pt x="258" y="30"/>
                    </a:lnTo>
                    <a:lnTo>
                      <a:pt x="258" y="30"/>
                    </a:lnTo>
                    <a:lnTo>
                      <a:pt x="256" y="30"/>
                    </a:lnTo>
                    <a:lnTo>
                      <a:pt x="254" y="30"/>
                    </a:lnTo>
                    <a:lnTo>
                      <a:pt x="254" y="32"/>
                    </a:lnTo>
                    <a:lnTo>
                      <a:pt x="252" y="34"/>
                    </a:lnTo>
                    <a:lnTo>
                      <a:pt x="250" y="34"/>
                    </a:lnTo>
                    <a:lnTo>
                      <a:pt x="250" y="36"/>
                    </a:lnTo>
                    <a:lnTo>
                      <a:pt x="250" y="36"/>
                    </a:lnTo>
                    <a:lnTo>
                      <a:pt x="248" y="36"/>
                    </a:lnTo>
                    <a:lnTo>
                      <a:pt x="246" y="36"/>
                    </a:lnTo>
                    <a:lnTo>
                      <a:pt x="244" y="36"/>
                    </a:lnTo>
                    <a:lnTo>
                      <a:pt x="242" y="36"/>
                    </a:lnTo>
                    <a:lnTo>
                      <a:pt x="240" y="34"/>
                    </a:lnTo>
                    <a:lnTo>
                      <a:pt x="240" y="34"/>
                    </a:lnTo>
                    <a:lnTo>
                      <a:pt x="238" y="34"/>
                    </a:lnTo>
                    <a:lnTo>
                      <a:pt x="236" y="32"/>
                    </a:lnTo>
                    <a:lnTo>
                      <a:pt x="236" y="32"/>
                    </a:lnTo>
                    <a:lnTo>
                      <a:pt x="234" y="30"/>
                    </a:lnTo>
                    <a:lnTo>
                      <a:pt x="234" y="28"/>
                    </a:lnTo>
                    <a:lnTo>
                      <a:pt x="234" y="28"/>
                    </a:lnTo>
                    <a:lnTo>
                      <a:pt x="232" y="28"/>
                    </a:lnTo>
                    <a:lnTo>
                      <a:pt x="232" y="28"/>
                    </a:lnTo>
                    <a:lnTo>
                      <a:pt x="230" y="28"/>
                    </a:lnTo>
                    <a:lnTo>
                      <a:pt x="230" y="28"/>
                    </a:lnTo>
                    <a:lnTo>
                      <a:pt x="228" y="30"/>
                    </a:lnTo>
                    <a:lnTo>
                      <a:pt x="226" y="32"/>
                    </a:lnTo>
                    <a:lnTo>
                      <a:pt x="226" y="32"/>
                    </a:lnTo>
                    <a:lnTo>
                      <a:pt x="224" y="32"/>
                    </a:lnTo>
                    <a:lnTo>
                      <a:pt x="222" y="32"/>
                    </a:lnTo>
                    <a:lnTo>
                      <a:pt x="218" y="32"/>
                    </a:lnTo>
                    <a:lnTo>
                      <a:pt x="216" y="32"/>
                    </a:lnTo>
                    <a:lnTo>
                      <a:pt x="214" y="30"/>
                    </a:lnTo>
                    <a:lnTo>
                      <a:pt x="214" y="30"/>
                    </a:lnTo>
                    <a:lnTo>
                      <a:pt x="212" y="30"/>
                    </a:lnTo>
                    <a:lnTo>
                      <a:pt x="208" y="30"/>
                    </a:lnTo>
                    <a:lnTo>
                      <a:pt x="208" y="30"/>
                    </a:lnTo>
                    <a:lnTo>
                      <a:pt x="208" y="30"/>
                    </a:lnTo>
                    <a:lnTo>
                      <a:pt x="208" y="30"/>
                    </a:lnTo>
                    <a:lnTo>
                      <a:pt x="208" y="32"/>
                    </a:lnTo>
                    <a:lnTo>
                      <a:pt x="208" y="32"/>
                    </a:lnTo>
                    <a:lnTo>
                      <a:pt x="208" y="34"/>
                    </a:lnTo>
                    <a:lnTo>
                      <a:pt x="208" y="34"/>
                    </a:lnTo>
                    <a:lnTo>
                      <a:pt x="210" y="34"/>
                    </a:lnTo>
                    <a:lnTo>
                      <a:pt x="210" y="34"/>
                    </a:lnTo>
                    <a:lnTo>
                      <a:pt x="210" y="34"/>
                    </a:lnTo>
                    <a:lnTo>
                      <a:pt x="210" y="36"/>
                    </a:lnTo>
                    <a:lnTo>
                      <a:pt x="210" y="36"/>
                    </a:lnTo>
                    <a:lnTo>
                      <a:pt x="212" y="38"/>
                    </a:lnTo>
                    <a:lnTo>
                      <a:pt x="212" y="38"/>
                    </a:lnTo>
                    <a:lnTo>
                      <a:pt x="212" y="40"/>
                    </a:lnTo>
                    <a:lnTo>
                      <a:pt x="212" y="40"/>
                    </a:lnTo>
                    <a:lnTo>
                      <a:pt x="212" y="40"/>
                    </a:lnTo>
                    <a:lnTo>
                      <a:pt x="212" y="42"/>
                    </a:lnTo>
                    <a:lnTo>
                      <a:pt x="212" y="44"/>
                    </a:lnTo>
                    <a:lnTo>
                      <a:pt x="212" y="46"/>
                    </a:lnTo>
                    <a:lnTo>
                      <a:pt x="210" y="46"/>
                    </a:lnTo>
                    <a:lnTo>
                      <a:pt x="210" y="46"/>
                    </a:lnTo>
                    <a:lnTo>
                      <a:pt x="208" y="48"/>
                    </a:lnTo>
                    <a:lnTo>
                      <a:pt x="208" y="48"/>
                    </a:lnTo>
                    <a:lnTo>
                      <a:pt x="206" y="46"/>
                    </a:lnTo>
                    <a:lnTo>
                      <a:pt x="206" y="46"/>
                    </a:lnTo>
                    <a:lnTo>
                      <a:pt x="202" y="44"/>
                    </a:lnTo>
                    <a:lnTo>
                      <a:pt x="200" y="44"/>
                    </a:lnTo>
                    <a:lnTo>
                      <a:pt x="200" y="44"/>
                    </a:lnTo>
                    <a:lnTo>
                      <a:pt x="198" y="42"/>
                    </a:lnTo>
                    <a:lnTo>
                      <a:pt x="196" y="42"/>
                    </a:lnTo>
                    <a:lnTo>
                      <a:pt x="196" y="42"/>
                    </a:lnTo>
                    <a:lnTo>
                      <a:pt x="194" y="40"/>
                    </a:lnTo>
                    <a:lnTo>
                      <a:pt x="192" y="40"/>
                    </a:lnTo>
                    <a:lnTo>
                      <a:pt x="190" y="36"/>
                    </a:lnTo>
                    <a:lnTo>
                      <a:pt x="190" y="36"/>
                    </a:lnTo>
                    <a:lnTo>
                      <a:pt x="186" y="34"/>
                    </a:lnTo>
                    <a:lnTo>
                      <a:pt x="184" y="32"/>
                    </a:lnTo>
                    <a:lnTo>
                      <a:pt x="184" y="32"/>
                    </a:lnTo>
                    <a:lnTo>
                      <a:pt x="182" y="32"/>
                    </a:lnTo>
                    <a:lnTo>
                      <a:pt x="182" y="30"/>
                    </a:lnTo>
                    <a:lnTo>
                      <a:pt x="182" y="28"/>
                    </a:lnTo>
                    <a:lnTo>
                      <a:pt x="182" y="24"/>
                    </a:lnTo>
                    <a:lnTo>
                      <a:pt x="180" y="22"/>
                    </a:lnTo>
                    <a:lnTo>
                      <a:pt x="180" y="22"/>
                    </a:lnTo>
                    <a:lnTo>
                      <a:pt x="180" y="22"/>
                    </a:lnTo>
                    <a:lnTo>
                      <a:pt x="180" y="20"/>
                    </a:lnTo>
                    <a:lnTo>
                      <a:pt x="178" y="20"/>
                    </a:lnTo>
                    <a:lnTo>
                      <a:pt x="176" y="18"/>
                    </a:lnTo>
                    <a:lnTo>
                      <a:pt x="176" y="18"/>
                    </a:lnTo>
                    <a:lnTo>
                      <a:pt x="174" y="18"/>
                    </a:lnTo>
                    <a:lnTo>
                      <a:pt x="174" y="16"/>
                    </a:lnTo>
                    <a:lnTo>
                      <a:pt x="174" y="14"/>
                    </a:lnTo>
                    <a:lnTo>
                      <a:pt x="174" y="14"/>
                    </a:lnTo>
                    <a:lnTo>
                      <a:pt x="170" y="10"/>
                    </a:lnTo>
                    <a:lnTo>
                      <a:pt x="170" y="6"/>
                    </a:lnTo>
                    <a:lnTo>
                      <a:pt x="168" y="4"/>
                    </a:lnTo>
                    <a:lnTo>
                      <a:pt x="168" y="4"/>
                    </a:lnTo>
                    <a:lnTo>
                      <a:pt x="166" y="4"/>
                    </a:lnTo>
                    <a:lnTo>
                      <a:pt x="166" y="4"/>
                    </a:lnTo>
                    <a:lnTo>
                      <a:pt x="162" y="2"/>
                    </a:lnTo>
                    <a:lnTo>
                      <a:pt x="158" y="2"/>
                    </a:lnTo>
                    <a:lnTo>
                      <a:pt x="154" y="2"/>
                    </a:lnTo>
                    <a:lnTo>
                      <a:pt x="154" y="2"/>
                    </a:lnTo>
                    <a:lnTo>
                      <a:pt x="152" y="0"/>
                    </a:lnTo>
                    <a:lnTo>
                      <a:pt x="152" y="0"/>
                    </a:lnTo>
                    <a:lnTo>
                      <a:pt x="150" y="2"/>
                    </a:lnTo>
                    <a:lnTo>
                      <a:pt x="148" y="4"/>
                    </a:lnTo>
                    <a:lnTo>
                      <a:pt x="146" y="10"/>
                    </a:lnTo>
                    <a:lnTo>
                      <a:pt x="142" y="18"/>
                    </a:lnTo>
                    <a:lnTo>
                      <a:pt x="142" y="18"/>
                    </a:lnTo>
                    <a:lnTo>
                      <a:pt x="138" y="28"/>
                    </a:lnTo>
                    <a:lnTo>
                      <a:pt x="132" y="38"/>
                    </a:lnTo>
                    <a:lnTo>
                      <a:pt x="132" y="38"/>
                    </a:lnTo>
                    <a:lnTo>
                      <a:pt x="118" y="62"/>
                    </a:lnTo>
                    <a:lnTo>
                      <a:pt x="112" y="76"/>
                    </a:lnTo>
                    <a:lnTo>
                      <a:pt x="104" y="86"/>
                    </a:lnTo>
                    <a:lnTo>
                      <a:pt x="104" y="86"/>
                    </a:lnTo>
                    <a:lnTo>
                      <a:pt x="96" y="100"/>
                    </a:lnTo>
                    <a:lnTo>
                      <a:pt x="90" y="110"/>
                    </a:lnTo>
                    <a:lnTo>
                      <a:pt x="74" y="136"/>
                    </a:lnTo>
                    <a:lnTo>
                      <a:pt x="60" y="160"/>
                    </a:lnTo>
                    <a:lnTo>
                      <a:pt x="54" y="174"/>
                    </a:lnTo>
                    <a:lnTo>
                      <a:pt x="46" y="184"/>
                    </a:lnTo>
                    <a:lnTo>
                      <a:pt x="46" y="184"/>
                    </a:lnTo>
                    <a:lnTo>
                      <a:pt x="36" y="198"/>
                    </a:lnTo>
                    <a:lnTo>
                      <a:pt x="28" y="210"/>
                    </a:lnTo>
                    <a:lnTo>
                      <a:pt x="14" y="234"/>
                    </a:lnTo>
                    <a:lnTo>
                      <a:pt x="14" y="234"/>
                    </a:lnTo>
                    <a:lnTo>
                      <a:pt x="8" y="248"/>
                    </a:lnTo>
                    <a:lnTo>
                      <a:pt x="4" y="252"/>
                    </a:lnTo>
                    <a:lnTo>
                      <a:pt x="2" y="258"/>
                    </a:lnTo>
                    <a:lnTo>
                      <a:pt x="2" y="258"/>
                    </a:lnTo>
                    <a:lnTo>
                      <a:pt x="0" y="264"/>
                    </a:lnTo>
                    <a:lnTo>
                      <a:pt x="0" y="264"/>
                    </a:lnTo>
                    <a:lnTo>
                      <a:pt x="0" y="266"/>
                    </a:lnTo>
                    <a:lnTo>
                      <a:pt x="0" y="268"/>
                    </a:lnTo>
                    <a:lnTo>
                      <a:pt x="2" y="268"/>
                    </a:lnTo>
                    <a:lnTo>
                      <a:pt x="2" y="268"/>
                    </a:lnTo>
                    <a:lnTo>
                      <a:pt x="4" y="268"/>
                    </a:lnTo>
                    <a:lnTo>
                      <a:pt x="6" y="268"/>
                    </a:lnTo>
                    <a:lnTo>
                      <a:pt x="8" y="268"/>
                    </a:lnTo>
                    <a:lnTo>
                      <a:pt x="12" y="268"/>
                    </a:lnTo>
                    <a:lnTo>
                      <a:pt x="16" y="270"/>
                    </a:lnTo>
                    <a:lnTo>
                      <a:pt x="16" y="270"/>
                    </a:lnTo>
                    <a:lnTo>
                      <a:pt x="18" y="270"/>
                    </a:lnTo>
                    <a:lnTo>
                      <a:pt x="20" y="272"/>
                    </a:lnTo>
                    <a:lnTo>
                      <a:pt x="20" y="272"/>
                    </a:lnTo>
                    <a:lnTo>
                      <a:pt x="22" y="274"/>
                    </a:lnTo>
                    <a:lnTo>
                      <a:pt x="22" y="278"/>
                    </a:lnTo>
                    <a:lnTo>
                      <a:pt x="22" y="282"/>
                    </a:lnTo>
                    <a:lnTo>
                      <a:pt x="22" y="288"/>
                    </a:lnTo>
                    <a:lnTo>
                      <a:pt x="22" y="296"/>
                    </a:lnTo>
                    <a:lnTo>
                      <a:pt x="22" y="298"/>
                    </a:lnTo>
                    <a:lnTo>
                      <a:pt x="22" y="302"/>
                    </a:lnTo>
                    <a:lnTo>
                      <a:pt x="24" y="304"/>
                    </a:lnTo>
                    <a:lnTo>
                      <a:pt x="26" y="306"/>
                    </a:lnTo>
                    <a:lnTo>
                      <a:pt x="28" y="308"/>
                    </a:lnTo>
                    <a:lnTo>
                      <a:pt x="30" y="310"/>
                    </a:lnTo>
                    <a:lnTo>
                      <a:pt x="30" y="310"/>
                    </a:lnTo>
                    <a:lnTo>
                      <a:pt x="32" y="310"/>
                    </a:lnTo>
                    <a:lnTo>
                      <a:pt x="34" y="310"/>
                    </a:lnTo>
                    <a:lnTo>
                      <a:pt x="36" y="310"/>
                    </a:lnTo>
                    <a:lnTo>
                      <a:pt x="36" y="308"/>
                    </a:lnTo>
                    <a:lnTo>
                      <a:pt x="38" y="308"/>
                    </a:lnTo>
                    <a:lnTo>
                      <a:pt x="44" y="306"/>
                    </a:lnTo>
                    <a:lnTo>
                      <a:pt x="44" y="306"/>
                    </a:lnTo>
                    <a:lnTo>
                      <a:pt x="46" y="304"/>
                    </a:lnTo>
                    <a:lnTo>
                      <a:pt x="48" y="304"/>
                    </a:lnTo>
                    <a:lnTo>
                      <a:pt x="54" y="302"/>
                    </a:lnTo>
                    <a:lnTo>
                      <a:pt x="54" y="302"/>
                    </a:lnTo>
                    <a:lnTo>
                      <a:pt x="60" y="302"/>
                    </a:lnTo>
                    <a:lnTo>
                      <a:pt x="60" y="302"/>
                    </a:lnTo>
                    <a:lnTo>
                      <a:pt x="62" y="302"/>
                    </a:lnTo>
                    <a:lnTo>
                      <a:pt x="64" y="302"/>
                    </a:lnTo>
                    <a:lnTo>
                      <a:pt x="64" y="304"/>
                    </a:lnTo>
                    <a:lnTo>
                      <a:pt x="64" y="304"/>
                    </a:lnTo>
                    <a:lnTo>
                      <a:pt x="64" y="306"/>
                    </a:lnTo>
                    <a:lnTo>
                      <a:pt x="64" y="306"/>
                    </a:lnTo>
                    <a:lnTo>
                      <a:pt x="64" y="314"/>
                    </a:lnTo>
                    <a:lnTo>
                      <a:pt x="66" y="316"/>
                    </a:lnTo>
                    <a:lnTo>
                      <a:pt x="66" y="320"/>
                    </a:lnTo>
                    <a:lnTo>
                      <a:pt x="66" y="320"/>
                    </a:lnTo>
                    <a:lnTo>
                      <a:pt x="70" y="334"/>
                    </a:lnTo>
                    <a:lnTo>
                      <a:pt x="72" y="340"/>
                    </a:lnTo>
                    <a:lnTo>
                      <a:pt x="76" y="346"/>
                    </a:lnTo>
                    <a:lnTo>
                      <a:pt x="76" y="346"/>
                    </a:lnTo>
                    <a:lnTo>
                      <a:pt x="78" y="350"/>
                    </a:lnTo>
                    <a:lnTo>
                      <a:pt x="78" y="352"/>
                    </a:lnTo>
                    <a:lnTo>
                      <a:pt x="78" y="356"/>
                    </a:lnTo>
                    <a:lnTo>
                      <a:pt x="78" y="358"/>
                    </a:lnTo>
                    <a:lnTo>
                      <a:pt x="78" y="360"/>
                    </a:lnTo>
                    <a:lnTo>
                      <a:pt x="78" y="360"/>
                    </a:lnTo>
                    <a:lnTo>
                      <a:pt x="74" y="368"/>
                    </a:lnTo>
                    <a:lnTo>
                      <a:pt x="72" y="370"/>
                    </a:lnTo>
                    <a:lnTo>
                      <a:pt x="70" y="374"/>
                    </a:lnTo>
                    <a:lnTo>
                      <a:pt x="70" y="378"/>
                    </a:lnTo>
                    <a:lnTo>
                      <a:pt x="70" y="382"/>
                    </a:lnTo>
                    <a:lnTo>
                      <a:pt x="70" y="386"/>
                    </a:lnTo>
                    <a:lnTo>
                      <a:pt x="70" y="390"/>
                    </a:lnTo>
                    <a:lnTo>
                      <a:pt x="70" y="390"/>
                    </a:lnTo>
                    <a:lnTo>
                      <a:pt x="70" y="394"/>
                    </a:lnTo>
                    <a:lnTo>
                      <a:pt x="72" y="396"/>
                    </a:lnTo>
                    <a:lnTo>
                      <a:pt x="76" y="400"/>
                    </a:lnTo>
                    <a:lnTo>
                      <a:pt x="80" y="404"/>
                    </a:lnTo>
                    <a:lnTo>
                      <a:pt x="82" y="408"/>
                    </a:lnTo>
                    <a:lnTo>
                      <a:pt x="82" y="410"/>
                    </a:lnTo>
                    <a:lnTo>
                      <a:pt x="82" y="410"/>
                    </a:lnTo>
                    <a:lnTo>
                      <a:pt x="84" y="412"/>
                    </a:lnTo>
                    <a:lnTo>
                      <a:pt x="84" y="414"/>
                    </a:lnTo>
                    <a:lnTo>
                      <a:pt x="84" y="418"/>
                    </a:lnTo>
                    <a:lnTo>
                      <a:pt x="82" y="420"/>
                    </a:lnTo>
                    <a:lnTo>
                      <a:pt x="82" y="424"/>
                    </a:lnTo>
                    <a:lnTo>
                      <a:pt x="80" y="426"/>
                    </a:lnTo>
                    <a:lnTo>
                      <a:pt x="80" y="430"/>
                    </a:lnTo>
                    <a:lnTo>
                      <a:pt x="78" y="432"/>
                    </a:lnTo>
                    <a:lnTo>
                      <a:pt x="78" y="432"/>
                    </a:lnTo>
                    <a:lnTo>
                      <a:pt x="74" y="434"/>
                    </a:lnTo>
                    <a:lnTo>
                      <a:pt x="70" y="436"/>
                    </a:lnTo>
                    <a:lnTo>
                      <a:pt x="68" y="438"/>
                    </a:lnTo>
                    <a:lnTo>
                      <a:pt x="64" y="438"/>
                    </a:lnTo>
                    <a:lnTo>
                      <a:pt x="64" y="438"/>
                    </a:lnTo>
                    <a:lnTo>
                      <a:pt x="64" y="440"/>
                    </a:lnTo>
                    <a:lnTo>
                      <a:pt x="64" y="442"/>
                    </a:lnTo>
                    <a:lnTo>
                      <a:pt x="64" y="442"/>
                    </a:lnTo>
                    <a:lnTo>
                      <a:pt x="64" y="446"/>
                    </a:lnTo>
                    <a:lnTo>
                      <a:pt x="62" y="448"/>
                    </a:lnTo>
                    <a:lnTo>
                      <a:pt x="60" y="452"/>
                    </a:lnTo>
                    <a:lnTo>
                      <a:pt x="60" y="452"/>
                    </a:lnTo>
                    <a:lnTo>
                      <a:pt x="58" y="458"/>
                    </a:lnTo>
                    <a:lnTo>
                      <a:pt x="58" y="460"/>
                    </a:lnTo>
                    <a:lnTo>
                      <a:pt x="58" y="462"/>
                    </a:lnTo>
                    <a:lnTo>
                      <a:pt x="58" y="462"/>
                    </a:lnTo>
                    <a:lnTo>
                      <a:pt x="58" y="466"/>
                    </a:lnTo>
                    <a:lnTo>
                      <a:pt x="60" y="470"/>
                    </a:lnTo>
                    <a:lnTo>
                      <a:pt x="60" y="472"/>
                    </a:lnTo>
                    <a:lnTo>
                      <a:pt x="62" y="474"/>
                    </a:lnTo>
                    <a:lnTo>
                      <a:pt x="62" y="474"/>
                    </a:lnTo>
                    <a:lnTo>
                      <a:pt x="62" y="474"/>
                    </a:lnTo>
                    <a:lnTo>
                      <a:pt x="64" y="474"/>
                    </a:lnTo>
                    <a:lnTo>
                      <a:pt x="64" y="474"/>
                    </a:lnTo>
                    <a:lnTo>
                      <a:pt x="68" y="474"/>
                    </a:lnTo>
                    <a:lnTo>
                      <a:pt x="68" y="474"/>
                    </a:lnTo>
                    <a:lnTo>
                      <a:pt x="70" y="474"/>
                    </a:lnTo>
                    <a:lnTo>
                      <a:pt x="70" y="474"/>
                    </a:lnTo>
                    <a:lnTo>
                      <a:pt x="70" y="474"/>
                    </a:lnTo>
                    <a:lnTo>
                      <a:pt x="70" y="474"/>
                    </a:lnTo>
                    <a:lnTo>
                      <a:pt x="70" y="476"/>
                    </a:lnTo>
                    <a:lnTo>
                      <a:pt x="70" y="476"/>
                    </a:lnTo>
                    <a:lnTo>
                      <a:pt x="70" y="480"/>
                    </a:lnTo>
                    <a:lnTo>
                      <a:pt x="68" y="482"/>
                    </a:lnTo>
                    <a:lnTo>
                      <a:pt x="68" y="484"/>
                    </a:lnTo>
                    <a:lnTo>
                      <a:pt x="68" y="484"/>
                    </a:lnTo>
                    <a:lnTo>
                      <a:pt x="68" y="486"/>
                    </a:lnTo>
                    <a:lnTo>
                      <a:pt x="68" y="486"/>
                    </a:lnTo>
                    <a:lnTo>
                      <a:pt x="68" y="488"/>
                    </a:lnTo>
                    <a:lnTo>
                      <a:pt x="68" y="488"/>
                    </a:lnTo>
                    <a:lnTo>
                      <a:pt x="70" y="492"/>
                    </a:lnTo>
                    <a:lnTo>
                      <a:pt x="70" y="494"/>
                    </a:lnTo>
                    <a:lnTo>
                      <a:pt x="70" y="494"/>
                    </a:lnTo>
                    <a:lnTo>
                      <a:pt x="70" y="498"/>
                    </a:lnTo>
                    <a:lnTo>
                      <a:pt x="70" y="500"/>
                    </a:lnTo>
                    <a:lnTo>
                      <a:pt x="70" y="500"/>
                    </a:lnTo>
                    <a:lnTo>
                      <a:pt x="68" y="504"/>
                    </a:lnTo>
                    <a:lnTo>
                      <a:pt x="68" y="506"/>
                    </a:lnTo>
                    <a:lnTo>
                      <a:pt x="70" y="506"/>
                    </a:lnTo>
                    <a:lnTo>
                      <a:pt x="70" y="506"/>
                    </a:lnTo>
                    <a:lnTo>
                      <a:pt x="70" y="508"/>
                    </a:lnTo>
                    <a:lnTo>
                      <a:pt x="70" y="508"/>
                    </a:lnTo>
                    <a:lnTo>
                      <a:pt x="72" y="510"/>
                    </a:lnTo>
                    <a:lnTo>
                      <a:pt x="72" y="510"/>
                    </a:lnTo>
                    <a:lnTo>
                      <a:pt x="74" y="510"/>
                    </a:lnTo>
                    <a:lnTo>
                      <a:pt x="74" y="512"/>
                    </a:lnTo>
                    <a:lnTo>
                      <a:pt x="74" y="514"/>
                    </a:lnTo>
                    <a:lnTo>
                      <a:pt x="74" y="514"/>
                    </a:lnTo>
                    <a:lnTo>
                      <a:pt x="72" y="516"/>
                    </a:lnTo>
                    <a:lnTo>
                      <a:pt x="70" y="520"/>
                    </a:lnTo>
                    <a:lnTo>
                      <a:pt x="70" y="520"/>
                    </a:lnTo>
                    <a:lnTo>
                      <a:pt x="70" y="522"/>
                    </a:lnTo>
                    <a:lnTo>
                      <a:pt x="70" y="524"/>
                    </a:lnTo>
                    <a:lnTo>
                      <a:pt x="70" y="524"/>
                    </a:lnTo>
                    <a:lnTo>
                      <a:pt x="68" y="524"/>
                    </a:lnTo>
                    <a:lnTo>
                      <a:pt x="68" y="526"/>
                    </a:lnTo>
                    <a:lnTo>
                      <a:pt x="66" y="528"/>
                    </a:lnTo>
                    <a:lnTo>
                      <a:pt x="66" y="528"/>
                    </a:lnTo>
                    <a:lnTo>
                      <a:pt x="66" y="532"/>
                    </a:lnTo>
                    <a:lnTo>
                      <a:pt x="66" y="534"/>
                    </a:lnTo>
                    <a:lnTo>
                      <a:pt x="66" y="534"/>
                    </a:lnTo>
                    <a:lnTo>
                      <a:pt x="66" y="542"/>
                    </a:lnTo>
                    <a:lnTo>
                      <a:pt x="64" y="548"/>
                    </a:lnTo>
                    <a:lnTo>
                      <a:pt x="64" y="548"/>
                    </a:lnTo>
                    <a:lnTo>
                      <a:pt x="64" y="550"/>
                    </a:lnTo>
                    <a:lnTo>
                      <a:pt x="64" y="552"/>
                    </a:lnTo>
                    <a:lnTo>
                      <a:pt x="66" y="554"/>
                    </a:lnTo>
                    <a:lnTo>
                      <a:pt x="68" y="556"/>
                    </a:lnTo>
                    <a:lnTo>
                      <a:pt x="68" y="556"/>
                    </a:lnTo>
                    <a:lnTo>
                      <a:pt x="68" y="556"/>
                    </a:lnTo>
                    <a:lnTo>
                      <a:pt x="70" y="558"/>
                    </a:lnTo>
                    <a:lnTo>
                      <a:pt x="70" y="558"/>
                    </a:lnTo>
                    <a:lnTo>
                      <a:pt x="72" y="558"/>
                    </a:lnTo>
                    <a:lnTo>
                      <a:pt x="72" y="558"/>
                    </a:lnTo>
                    <a:lnTo>
                      <a:pt x="72" y="558"/>
                    </a:lnTo>
                    <a:lnTo>
                      <a:pt x="76" y="556"/>
                    </a:lnTo>
                    <a:lnTo>
                      <a:pt x="78" y="556"/>
                    </a:lnTo>
                    <a:lnTo>
                      <a:pt x="80" y="556"/>
                    </a:lnTo>
                    <a:lnTo>
                      <a:pt x="80" y="556"/>
                    </a:lnTo>
                    <a:lnTo>
                      <a:pt x="80" y="556"/>
                    </a:lnTo>
                    <a:lnTo>
                      <a:pt x="80" y="558"/>
                    </a:lnTo>
                    <a:lnTo>
                      <a:pt x="80" y="558"/>
                    </a:lnTo>
                    <a:lnTo>
                      <a:pt x="80" y="558"/>
                    </a:lnTo>
                    <a:lnTo>
                      <a:pt x="80" y="558"/>
                    </a:lnTo>
                    <a:lnTo>
                      <a:pt x="80" y="560"/>
                    </a:lnTo>
                    <a:lnTo>
                      <a:pt x="82" y="560"/>
                    </a:lnTo>
                    <a:lnTo>
                      <a:pt x="84" y="560"/>
                    </a:lnTo>
                    <a:lnTo>
                      <a:pt x="84" y="560"/>
                    </a:lnTo>
                    <a:lnTo>
                      <a:pt x="86" y="560"/>
                    </a:lnTo>
                    <a:lnTo>
                      <a:pt x="86" y="562"/>
                    </a:lnTo>
                    <a:lnTo>
                      <a:pt x="86" y="562"/>
                    </a:lnTo>
                    <a:lnTo>
                      <a:pt x="86" y="564"/>
                    </a:lnTo>
                    <a:lnTo>
                      <a:pt x="84" y="566"/>
                    </a:lnTo>
                    <a:lnTo>
                      <a:pt x="84" y="566"/>
                    </a:lnTo>
                    <a:lnTo>
                      <a:pt x="84" y="568"/>
                    </a:lnTo>
                    <a:lnTo>
                      <a:pt x="84" y="568"/>
                    </a:lnTo>
                    <a:lnTo>
                      <a:pt x="84" y="568"/>
                    </a:lnTo>
                    <a:lnTo>
                      <a:pt x="86" y="570"/>
                    </a:lnTo>
                    <a:lnTo>
                      <a:pt x="88" y="568"/>
                    </a:lnTo>
                    <a:lnTo>
                      <a:pt x="88" y="568"/>
                    </a:lnTo>
                    <a:lnTo>
                      <a:pt x="90" y="568"/>
                    </a:lnTo>
                    <a:lnTo>
                      <a:pt x="90" y="568"/>
                    </a:lnTo>
                    <a:lnTo>
                      <a:pt x="92" y="568"/>
                    </a:lnTo>
                    <a:lnTo>
                      <a:pt x="92" y="570"/>
                    </a:lnTo>
                    <a:lnTo>
                      <a:pt x="92" y="570"/>
                    </a:lnTo>
                    <a:lnTo>
                      <a:pt x="92" y="570"/>
                    </a:lnTo>
                    <a:lnTo>
                      <a:pt x="92" y="572"/>
                    </a:lnTo>
                    <a:lnTo>
                      <a:pt x="92" y="574"/>
                    </a:lnTo>
                    <a:lnTo>
                      <a:pt x="92" y="576"/>
                    </a:lnTo>
                    <a:lnTo>
                      <a:pt x="94" y="576"/>
                    </a:lnTo>
                    <a:lnTo>
                      <a:pt x="94" y="578"/>
                    </a:lnTo>
                    <a:lnTo>
                      <a:pt x="94" y="578"/>
                    </a:lnTo>
                    <a:lnTo>
                      <a:pt x="94" y="578"/>
                    </a:lnTo>
                    <a:lnTo>
                      <a:pt x="96" y="578"/>
                    </a:lnTo>
                    <a:lnTo>
                      <a:pt x="100" y="578"/>
                    </a:lnTo>
                    <a:lnTo>
                      <a:pt x="100" y="580"/>
                    </a:lnTo>
                    <a:lnTo>
                      <a:pt x="102" y="580"/>
                    </a:lnTo>
                    <a:lnTo>
                      <a:pt x="102" y="580"/>
                    </a:lnTo>
                    <a:lnTo>
                      <a:pt x="102" y="582"/>
                    </a:lnTo>
                    <a:lnTo>
                      <a:pt x="102" y="582"/>
                    </a:lnTo>
                    <a:lnTo>
                      <a:pt x="100" y="582"/>
                    </a:lnTo>
                    <a:lnTo>
                      <a:pt x="100" y="582"/>
                    </a:lnTo>
                    <a:lnTo>
                      <a:pt x="100" y="584"/>
                    </a:lnTo>
                    <a:lnTo>
                      <a:pt x="98" y="584"/>
                    </a:lnTo>
                    <a:lnTo>
                      <a:pt x="98" y="584"/>
                    </a:lnTo>
                    <a:lnTo>
                      <a:pt x="98" y="586"/>
                    </a:lnTo>
                    <a:lnTo>
                      <a:pt x="98" y="586"/>
                    </a:lnTo>
                    <a:lnTo>
                      <a:pt x="98" y="590"/>
                    </a:lnTo>
                    <a:lnTo>
                      <a:pt x="98" y="590"/>
                    </a:lnTo>
                    <a:lnTo>
                      <a:pt x="98" y="592"/>
                    </a:lnTo>
                    <a:lnTo>
                      <a:pt x="98" y="594"/>
                    </a:lnTo>
                    <a:lnTo>
                      <a:pt x="100" y="600"/>
                    </a:lnTo>
                    <a:lnTo>
                      <a:pt x="100" y="600"/>
                    </a:lnTo>
                    <a:lnTo>
                      <a:pt x="102" y="604"/>
                    </a:lnTo>
                    <a:lnTo>
                      <a:pt x="102" y="604"/>
                    </a:lnTo>
                    <a:lnTo>
                      <a:pt x="104" y="604"/>
                    </a:lnTo>
                    <a:lnTo>
                      <a:pt x="106" y="604"/>
                    </a:lnTo>
                    <a:lnTo>
                      <a:pt x="112" y="604"/>
                    </a:lnTo>
                    <a:lnTo>
                      <a:pt x="112" y="604"/>
                    </a:lnTo>
                    <a:lnTo>
                      <a:pt x="112" y="604"/>
                    </a:lnTo>
                    <a:lnTo>
                      <a:pt x="112" y="604"/>
                    </a:lnTo>
                    <a:lnTo>
                      <a:pt x="112" y="60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84" name="Freeform 97"/>
              <p:cNvSpPr>
                <a:spLocks/>
              </p:cNvSpPr>
              <p:nvPr/>
            </p:nvSpPr>
            <p:spPr bwMode="auto">
              <a:xfrm>
                <a:off x="1399" y="1390"/>
                <a:ext cx="8" cy="6"/>
              </a:xfrm>
              <a:custGeom>
                <a:avLst/>
                <a:gdLst>
                  <a:gd name="T0" fmla="*/ 2 w 8"/>
                  <a:gd name="T1" fmla="*/ 2 h 6"/>
                  <a:gd name="T2" fmla="*/ 2 w 8"/>
                  <a:gd name="T3" fmla="*/ 2 h 6"/>
                  <a:gd name="T4" fmla="*/ 0 w 8"/>
                  <a:gd name="T5" fmla="*/ 2 h 6"/>
                  <a:gd name="T6" fmla="*/ 0 w 8"/>
                  <a:gd name="T7" fmla="*/ 4 h 6"/>
                  <a:gd name="T8" fmla="*/ 0 w 8"/>
                  <a:gd name="T9" fmla="*/ 4 h 6"/>
                  <a:gd name="T10" fmla="*/ 2 w 8"/>
                  <a:gd name="T11" fmla="*/ 4 h 6"/>
                  <a:gd name="T12" fmla="*/ 2 w 8"/>
                  <a:gd name="T13" fmla="*/ 4 h 6"/>
                  <a:gd name="T14" fmla="*/ 2 w 8"/>
                  <a:gd name="T15" fmla="*/ 6 h 6"/>
                  <a:gd name="T16" fmla="*/ 4 w 8"/>
                  <a:gd name="T17" fmla="*/ 6 h 6"/>
                  <a:gd name="T18" fmla="*/ 4 w 8"/>
                  <a:gd name="T19" fmla="*/ 6 h 6"/>
                  <a:gd name="T20" fmla="*/ 4 w 8"/>
                  <a:gd name="T21" fmla="*/ 4 h 6"/>
                  <a:gd name="T22" fmla="*/ 4 w 8"/>
                  <a:gd name="T23" fmla="*/ 4 h 6"/>
                  <a:gd name="T24" fmla="*/ 4 w 8"/>
                  <a:gd name="T25" fmla="*/ 4 h 6"/>
                  <a:gd name="T26" fmla="*/ 8 w 8"/>
                  <a:gd name="T27" fmla="*/ 4 h 6"/>
                  <a:gd name="T28" fmla="*/ 8 w 8"/>
                  <a:gd name="T29" fmla="*/ 4 h 6"/>
                  <a:gd name="T30" fmla="*/ 8 w 8"/>
                  <a:gd name="T31" fmla="*/ 2 h 6"/>
                  <a:gd name="T32" fmla="*/ 8 w 8"/>
                  <a:gd name="T33" fmla="*/ 2 h 6"/>
                  <a:gd name="T34" fmla="*/ 8 w 8"/>
                  <a:gd name="T35" fmla="*/ 2 h 6"/>
                  <a:gd name="T36" fmla="*/ 8 w 8"/>
                  <a:gd name="T37" fmla="*/ 2 h 6"/>
                  <a:gd name="T38" fmla="*/ 8 w 8"/>
                  <a:gd name="T39" fmla="*/ 2 h 6"/>
                  <a:gd name="T40" fmla="*/ 8 w 8"/>
                  <a:gd name="T41" fmla="*/ 2 h 6"/>
                  <a:gd name="T42" fmla="*/ 4 w 8"/>
                  <a:gd name="T43" fmla="*/ 0 h 6"/>
                  <a:gd name="T44" fmla="*/ 2 w 8"/>
                  <a:gd name="T45" fmla="*/ 2 h 6"/>
                  <a:gd name="T46" fmla="*/ 2 w 8"/>
                  <a:gd name="T47" fmla="*/ 2 h 6"/>
                  <a:gd name="T48" fmla="*/ 2 w 8"/>
                  <a:gd name="T49" fmla="*/ 2 h 6"/>
                  <a:gd name="T50" fmla="*/ 2 w 8"/>
                  <a:gd name="T51" fmla="*/ 2 h 6"/>
                  <a:gd name="T52" fmla="*/ 2 w 8"/>
                  <a:gd name="T53" fmla="*/ 2 h 6"/>
                  <a:gd name="T54" fmla="*/ 2 w 8"/>
                  <a:gd name="T55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" h="6">
                    <a:moveTo>
                      <a:pt x="2" y="2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85" name="Freeform 99"/>
              <p:cNvSpPr>
                <a:spLocks/>
              </p:cNvSpPr>
              <p:nvPr/>
            </p:nvSpPr>
            <p:spPr bwMode="auto">
              <a:xfrm>
                <a:off x="1327" y="1370"/>
                <a:ext cx="14" cy="6"/>
              </a:xfrm>
              <a:custGeom>
                <a:avLst/>
                <a:gdLst>
                  <a:gd name="T0" fmla="*/ 2 w 14"/>
                  <a:gd name="T1" fmla="*/ 0 h 6"/>
                  <a:gd name="T2" fmla="*/ 2 w 14"/>
                  <a:gd name="T3" fmla="*/ 0 h 6"/>
                  <a:gd name="T4" fmla="*/ 2 w 14"/>
                  <a:gd name="T5" fmla="*/ 0 h 6"/>
                  <a:gd name="T6" fmla="*/ 0 w 14"/>
                  <a:gd name="T7" fmla="*/ 0 h 6"/>
                  <a:gd name="T8" fmla="*/ 0 w 14"/>
                  <a:gd name="T9" fmla="*/ 0 h 6"/>
                  <a:gd name="T10" fmla="*/ 0 w 14"/>
                  <a:gd name="T11" fmla="*/ 0 h 6"/>
                  <a:gd name="T12" fmla="*/ 0 w 14"/>
                  <a:gd name="T13" fmla="*/ 0 h 6"/>
                  <a:gd name="T14" fmla="*/ 2 w 14"/>
                  <a:gd name="T15" fmla="*/ 2 h 6"/>
                  <a:gd name="T16" fmla="*/ 2 w 14"/>
                  <a:gd name="T17" fmla="*/ 4 h 6"/>
                  <a:gd name="T18" fmla="*/ 4 w 14"/>
                  <a:gd name="T19" fmla="*/ 4 h 6"/>
                  <a:gd name="T20" fmla="*/ 6 w 14"/>
                  <a:gd name="T21" fmla="*/ 6 h 6"/>
                  <a:gd name="T22" fmla="*/ 6 w 14"/>
                  <a:gd name="T23" fmla="*/ 6 h 6"/>
                  <a:gd name="T24" fmla="*/ 8 w 14"/>
                  <a:gd name="T25" fmla="*/ 6 h 6"/>
                  <a:gd name="T26" fmla="*/ 8 w 14"/>
                  <a:gd name="T27" fmla="*/ 6 h 6"/>
                  <a:gd name="T28" fmla="*/ 12 w 14"/>
                  <a:gd name="T29" fmla="*/ 4 h 6"/>
                  <a:gd name="T30" fmla="*/ 12 w 14"/>
                  <a:gd name="T31" fmla="*/ 4 h 6"/>
                  <a:gd name="T32" fmla="*/ 12 w 14"/>
                  <a:gd name="T33" fmla="*/ 4 h 6"/>
                  <a:gd name="T34" fmla="*/ 14 w 14"/>
                  <a:gd name="T35" fmla="*/ 4 h 6"/>
                  <a:gd name="T36" fmla="*/ 12 w 14"/>
                  <a:gd name="T37" fmla="*/ 2 h 6"/>
                  <a:gd name="T38" fmla="*/ 12 w 14"/>
                  <a:gd name="T39" fmla="*/ 2 h 6"/>
                  <a:gd name="T40" fmla="*/ 12 w 14"/>
                  <a:gd name="T41" fmla="*/ 2 h 6"/>
                  <a:gd name="T42" fmla="*/ 12 w 14"/>
                  <a:gd name="T43" fmla="*/ 2 h 6"/>
                  <a:gd name="T44" fmla="*/ 10 w 14"/>
                  <a:gd name="T45" fmla="*/ 2 h 6"/>
                  <a:gd name="T46" fmla="*/ 10 w 14"/>
                  <a:gd name="T47" fmla="*/ 2 h 6"/>
                  <a:gd name="T48" fmla="*/ 8 w 14"/>
                  <a:gd name="T49" fmla="*/ 0 h 6"/>
                  <a:gd name="T50" fmla="*/ 8 w 14"/>
                  <a:gd name="T51" fmla="*/ 0 h 6"/>
                  <a:gd name="T52" fmla="*/ 4 w 14"/>
                  <a:gd name="T53" fmla="*/ 0 h 6"/>
                  <a:gd name="T54" fmla="*/ 4 w 14"/>
                  <a:gd name="T55" fmla="*/ 0 h 6"/>
                  <a:gd name="T56" fmla="*/ 2 w 14"/>
                  <a:gd name="T57" fmla="*/ 0 h 6"/>
                  <a:gd name="T58" fmla="*/ 2 w 14"/>
                  <a:gd name="T59" fmla="*/ 0 h 6"/>
                  <a:gd name="T60" fmla="*/ 2 w 14"/>
                  <a:gd name="T61" fmla="*/ 0 h 6"/>
                  <a:gd name="T62" fmla="*/ 2 w 14"/>
                  <a:gd name="T63" fmla="*/ 0 h 6"/>
                  <a:gd name="T64" fmla="*/ 2 w 14"/>
                  <a:gd name="T6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4" h="6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4" y="4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86" name="Freeform 101"/>
              <p:cNvSpPr>
                <a:spLocks/>
              </p:cNvSpPr>
              <p:nvPr/>
            </p:nvSpPr>
            <p:spPr bwMode="auto">
              <a:xfrm>
                <a:off x="1341" y="1368"/>
                <a:ext cx="6" cy="6"/>
              </a:xfrm>
              <a:custGeom>
                <a:avLst/>
                <a:gdLst>
                  <a:gd name="T0" fmla="*/ 2 w 6"/>
                  <a:gd name="T1" fmla="*/ 2 h 6"/>
                  <a:gd name="T2" fmla="*/ 2 w 6"/>
                  <a:gd name="T3" fmla="*/ 2 h 6"/>
                  <a:gd name="T4" fmla="*/ 0 w 6"/>
                  <a:gd name="T5" fmla="*/ 2 h 6"/>
                  <a:gd name="T6" fmla="*/ 0 w 6"/>
                  <a:gd name="T7" fmla="*/ 4 h 6"/>
                  <a:gd name="T8" fmla="*/ 2 w 6"/>
                  <a:gd name="T9" fmla="*/ 4 h 6"/>
                  <a:gd name="T10" fmla="*/ 2 w 6"/>
                  <a:gd name="T11" fmla="*/ 4 h 6"/>
                  <a:gd name="T12" fmla="*/ 2 w 6"/>
                  <a:gd name="T13" fmla="*/ 6 h 6"/>
                  <a:gd name="T14" fmla="*/ 2 w 6"/>
                  <a:gd name="T15" fmla="*/ 6 h 6"/>
                  <a:gd name="T16" fmla="*/ 4 w 6"/>
                  <a:gd name="T17" fmla="*/ 6 h 6"/>
                  <a:gd name="T18" fmla="*/ 4 w 6"/>
                  <a:gd name="T19" fmla="*/ 4 h 6"/>
                  <a:gd name="T20" fmla="*/ 4 w 6"/>
                  <a:gd name="T21" fmla="*/ 4 h 6"/>
                  <a:gd name="T22" fmla="*/ 6 w 6"/>
                  <a:gd name="T23" fmla="*/ 4 h 6"/>
                  <a:gd name="T24" fmla="*/ 6 w 6"/>
                  <a:gd name="T25" fmla="*/ 2 h 6"/>
                  <a:gd name="T26" fmla="*/ 6 w 6"/>
                  <a:gd name="T27" fmla="*/ 2 h 6"/>
                  <a:gd name="T28" fmla="*/ 4 w 6"/>
                  <a:gd name="T29" fmla="*/ 0 h 6"/>
                  <a:gd name="T30" fmla="*/ 4 w 6"/>
                  <a:gd name="T31" fmla="*/ 0 h 6"/>
                  <a:gd name="T32" fmla="*/ 2 w 6"/>
                  <a:gd name="T33" fmla="*/ 0 h 6"/>
                  <a:gd name="T34" fmla="*/ 2 w 6"/>
                  <a:gd name="T35" fmla="*/ 0 h 6"/>
                  <a:gd name="T36" fmla="*/ 2 w 6"/>
                  <a:gd name="T37" fmla="*/ 2 h 6"/>
                  <a:gd name="T38" fmla="*/ 2 w 6"/>
                  <a:gd name="T39" fmla="*/ 2 h 6"/>
                  <a:gd name="T40" fmla="*/ 2 w 6"/>
                  <a:gd name="T41" fmla="*/ 2 h 6"/>
                  <a:gd name="T42" fmla="*/ 2 w 6"/>
                  <a:gd name="T43" fmla="*/ 2 h 6"/>
                  <a:gd name="T44" fmla="*/ 2 w 6"/>
                  <a:gd name="T45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" h="6">
                    <a:moveTo>
                      <a:pt x="2" y="2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87" name="Freeform 102"/>
              <p:cNvSpPr>
                <a:spLocks/>
              </p:cNvSpPr>
              <p:nvPr/>
            </p:nvSpPr>
            <p:spPr bwMode="auto">
              <a:xfrm>
                <a:off x="1341" y="1368"/>
                <a:ext cx="6" cy="6"/>
              </a:xfrm>
              <a:custGeom>
                <a:avLst/>
                <a:gdLst>
                  <a:gd name="T0" fmla="*/ 2 w 6"/>
                  <a:gd name="T1" fmla="*/ 2 h 6"/>
                  <a:gd name="T2" fmla="*/ 2 w 6"/>
                  <a:gd name="T3" fmla="*/ 2 h 6"/>
                  <a:gd name="T4" fmla="*/ 0 w 6"/>
                  <a:gd name="T5" fmla="*/ 2 h 6"/>
                  <a:gd name="T6" fmla="*/ 0 w 6"/>
                  <a:gd name="T7" fmla="*/ 4 h 6"/>
                  <a:gd name="T8" fmla="*/ 2 w 6"/>
                  <a:gd name="T9" fmla="*/ 4 h 6"/>
                  <a:gd name="T10" fmla="*/ 2 w 6"/>
                  <a:gd name="T11" fmla="*/ 4 h 6"/>
                  <a:gd name="T12" fmla="*/ 2 w 6"/>
                  <a:gd name="T13" fmla="*/ 6 h 6"/>
                  <a:gd name="T14" fmla="*/ 2 w 6"/>
                  <a:gd name="T15" fmla="*/ 6 h 6"/>
                  <a:gd name="T16" fmla="*/ 4 w 6"/>
                  <a:gd name="T17" fmla="*/ 6 h 6"/>
                  <a:gd name="T18" fmla="*/ 4 w 6"/>
                  <a:gd name="T19" fmla="*/ 4 h 6"/>
                  <a:gd name="T20" fmla="*/ 4 w 6"/>
                  <a:gd name="T21" fmla="*/ 4 h 6"/>
                  <a:gd name="T22" fmla="*/ 6 w 6"/>
                  <a:gd name="T23" fmla="*/ 4 h 6"/>
                  <a:gd name="T24" fmla="*/ 6 w 6"/>
                  <a:gd name="T25" fmla="*/ 2 h 6"/>
                  <a:gd name="T26" fmla="*/ 6 w 6"/>
                  <a:gd name="T27" fmla="*/ 2 h 6"/>
                  <a:gd name="T28" fmla="*/ 4 w 6"/>
                  <a:gd name="T29" fmla="*/ 0 h 6"/>
                  <a:gd name="T30" fmla="*/ 4 w 6"/>
                  <a:gd name="T31" fmla="*/ 0 h 6"/>
                  <a:gd name="T32" fmla="*/ 2 w 6"/>
                  <a:gd name="T33" fmla="*/ 0 h 6"/>
                  <a:gd name="T34" fmla="*/ 2 w 6"/>
                  <a:gd name="T35" fmla="*/ 0 h 6"/>
                  <a:gd name="T36" fmla="*/ 2 w 6"/>
                  <a:gd name="T37" fmla="*/ 2 h 6"/>
                  <a:gd name="T38" fmla="*/ 2 w 6"/>
                  <a:gd name="T39" fmla="*/ 2 h 6"/>
                  <a:gd name="T40" fmla="*/ 2 w 6"/>
                  <a:gd name="T41" fmla="*/ 2 h 6"/>
                  <a:gd name="T42" fmla="*/ 2 w 6"/>
                  <a:gd name="T43" fmla="*/ 2 h 6"/>
                  <a:gd name="T44" fmla="*/ 2 w 6"/>
                  <a:gd name="T45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" h="6">
                    <a:moveTo>
                      <a:pt x="2" y="2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88" name="Freeform 105"/>
              <p:cNvSpPr>
                <a:spLocks/>
              </p:cNvSpPr>
              <p:nvPr/>
            </p:nvSpPr>
            <p:spPr bwMode="auto">
              <a:xfrm>
                <a:off x="1361" y="1376"/>
                <a:ext cx="6" cy="4"/>
              </a:xfrm>
              <a:custGeom>
                <a:avLst/>
                <a:gdLst>
                  <a:gd name="T0" fmla="*/ 0 w 6"/>
                  <a:gd name="T1" fmla="*/ 2 h 4"/>
                  <a:gd name="T2" fmla="*/ 0 w 6"/>
                  <a:gd name="T3" fmla="*/ 2 h 4"/>
                  <a:gd name="T4" fmla="*/ 0 w 6"/>
                  <a:gd name="T5" fmla="*/ 0 h 4"/>
                  <a:gd name="T6" fmla="*/ 0 w 6"/>
                  <a:gd name="T7" fmla="*/ 2 h 4"/>
                  <a:gd name="T8" fmla="*/ 0 w 6"/>
                  <a:gd name="T9" fmla="*/ 2 h 4"/>
                  <a:gd name="T10" fmla="*/ 0 w 6"/>
                  <a:gd name="T11" fmla="*/ 2 h 4"/>
                  <a:gd name="T12" fmla="*/ 0 w 6"/>
                  <a:gd name="T13" fmla="*/ 2 h 4"/>
                  <a:gd name="T14" fmla="*/ 0 w 6"/>
                  <a:gd name="T15" fmla="*/ 4 h 4"/>
                  <a:gd name="T16" fmla="*/ 0 w 6"/>
                  <a:gd name="T17" fmla="*/ 4 h 4"/>
                  <a:gd name="T18" fmla="*/ 0 w 6"/>
                  <a:gd name="T19" fmla="*/ 4 h 4"/>
                  <a:gd name="T20" fmla="*/ 4 w 6"/>
                  <a:gd name="T21" fmla="*/ 4 h 4"/>
                  <a:gd name="T22" fmla="*/ 6 w 6"/>
                  <a:gd name="T23" fmla="*/ 4 h 4"/>
                  <a:gd name="T24" fmla="*/ 6 w 6"/>
                  <a:gd name="T25" fmla="*/ 4 h 4"/>
                  <a:gd name="T26" fmla="*/ 6 w 6"/>
                  <a:gd name="T27" fmla="*/ 4 h 4"/>
                  <a:gd name="T28" fmla="*/ 6 w 6"/>
                  <a:gd name="T29" fmla="*/ 4 h 4"/>
                  <a:gd name="T30" fmla="*/ 6 w 6"/>
                  <a:gd name="T31" fmla="*/ 2 h 4"/>
                  <a:gd name="T32" fmla="*/ 6 w 6"/>
                  <a:gd name="T33" fmla="*/ 2 h 4"/>
                  <a:gd name="T34" fmla="*/ 6 w 6"/>
                  <a:gd name="T35" fmla="*/ 0 h 4"/>
                  <a:gd name="T36" fmla="*/ 6 w 6"/>
                  <a:gd name="T37" fmla="*/ 0 h 4"/>
                  <a:gd name="T38" fmla="*/ 6 w 6"/>
                  <a:gd name="T39" fmla="*/ 0 h 4"/>
                  <a:gd name="T40" fmla="*/ 4 w 6"/>
                  <a:gd name="T41" fmla="*/ 0 h 4"/>
                  <a:gd name="T42" fmla="*/ 2 w 6"/>
                  <a:gd name="T43" fmla="*/ 0 h 4"/>
                  <a:gd name="T44" fmla="*/ 2 w 6"/>
                  <a:gd name="T45" fmla="*/ 2 h 4"/>
                  <a:gd name="T46" fmla="*/ 0 w 6"/>
                  <a:gd name="T47" fmla="*/ 2 h 4"/>
                  <a:gd name="T48" fmla="*/ 0 w 6"/>
                  <a:gd name="T49" fmla="*/ 2 h 4"/>
                  <a:gd name="T50" fmla="*/ 0 w 6"/>
                  <a:gd name="T51" fmla="*/ 2 h 4"/>
                  <a:gd name="T52" fmla="*/ 0 w 6"/>
                  <a:gd name="T53" fmla="*/ 2 h 4"/>
                  <a:gd name="T54" fmla="*/ 0 w 6"/>
                  <a:gd name="T55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6" h="4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89" name="Freeform 107"/>
              <p:cNvSpPr>
                <a:spLocks/>
              </p:cNvSpPr>
              <p:nvPr/>
            </p:nvSpPr>
            <p:spPr bwMode="auto">
              <a:xfrm>
                <a:off x="1261" y="1146"/>
                <a:ext cx="138" cy="106"/>
              </a:xfrm>
              <a:custGeom>
                <a:avLst/>
                <a:gdLst>
                  <a:gd name="T0" fmla="*/ 48 w 138"/>
                  <a:gd name="T1" fmla="*/ 14 h 106"/>
                  <a:gd name="T2" fmla="*/ 48 w 138"/>
                  <a:gd name="T3" fmla="*/ 18 h 106"/>
                  <a:gd name="T4" fmla="*/ 44 w 138"/>
                  <a:gd name="T5" fmla="*/ 26 h 106"/>
                  <a:gd name="T6" fmla="*/ 46 w 138"/>
                  <a:gd name="T7" fmla="*/ 32 h 106"/>
                  <a:gd name="T8" fmla="*/ 44 w 138"/>
                  <a:gd name="T9" fmla="*/ 34 h 106"/>
                  <a:gd name="T10" fmla="*/ 38 w 138"/>
                  <a:gd name="T11" fmla="*/ 30 h 106"/>
                  <a:gd name="T12" fmla="*/ 34 w 138"/>
                  <a:gd name="T13" fmla="*/ 34 h 106"/>
                  <a:gd name="T14" fmla="*/ 24 w 138"/>
                  <a:gd name="T15" fmla="*/ 40 h 106"/>
                  <a:gd name="T16" fmla="*/ 20 w 138"/>
                  <a:gd name="T17" fmla="*/ 46 h 106"/>
                  <a:gd name="T18" fmla="*/ 24 w 138"/>
                  <a:gd name="T19" fmla="*/ 48 h 106"/>
                  <a:gd name="T20" fmla="*/ 20 w 138"/>
                  <a:gd name="T21" fmla="*/ 50 h 106"/>
                  <a:gd name="T22" fmla="*/ 14 w 138"/>
                  <a:gd name="T23" fmla="*/ 52 h 106"/>
                  <a:gd name="T24" fmla="*/ 10 w 138"/>
                  <a:gd name="T25" fmla="*/ 60 h 106"/>
                  <a:gd name="T26" fmla="*/ 4 w 138"/>
                  <a:gd name="T27" fmla="*/ 62 h 106"/>
                  <a:gd name="T28" fmla="*/ 0 w 138"/>
                  <a:gd name="T29" fmla="*/ 66 h 106"/>
                  <a:gd name="T30" fmla="*/ 6 w 138"/>
                  <a:gd name="T31" fmla="*/ 72 h 106"/>
                  <a:gd name="T32" fmla="*/ 8 w 138"/>
                  <a:gd name="T33" fmla="*/ 80 h 106"/>
                  <a:gd name="T34" fmla="*/ 6 w 138"/>
                  <a:gd name="T35" fmla="*/ 96 h 106"/>
                  <a:gd name="T36" fmla="*/ 6 w 138"/>
                  <a:gd name="T37" fmla="*/ 104 h 106"/>
                  <a:gd name="T38" fmla="*/ 12 w 138"/>
                  <a:gd name="T39" fmla="*/ 106 h 106"/>
                  <a:gd name="T40" fmla="*/ 20 w 138"/>
                  <a:gd name="T41" fmla="*/ 104 h 106"/>
                  <a:gd name="T42" fmla="*/ 30 w 138"/>
                  <a:gd name="T43" fmla="*/ 102 h 106"/>
                  <a:gd name="T44" fmla="*/ 30 w 138"/>
                  <a:gd name="T45" fmla="*/ 98 h 106"/>
                  <a:gd name="T46" fmla="*/ 34 w 138"/>
                  <a:gd name="T47" fmla="*/ 96 h 106"/>
                  <a:gd name="T48" fmla="*/ 38 w 138"/>
                  <a:gd name="T49" fmla="*/ 100 h 106"/>
                  <a:gd name="T50" fmla="*/ 44 w 138"/>
                  <a:gd name="T51" fmla="*/ 102 h 106"/>
                  <a:gd name="T52" fmla="*/ 46 w 138"/>
                  <a:gd name="T53" fmla="*/ 98 h 106"/>
                  <a:gd name="T54" fmla="*/ 48 w 138"/>
                  <a:gd name="T55" fmla="*/ 94 h 106"/>
                  <a:gd name="T56" fmla="*/ 60 w 138"/>
                  <a:gd name="T57" fmla="*/ 86 h 106"/>
                  <a:gd name="T58" fmla="*/ 74 w 138"/>
                  <a:gd name="T59" fmla="*/ 82 h 106"/>
                  <a:gd name="T60" fmla="*/ 84 w 138"/>
                  <a:gd name="T61" fmla="*/ 76 h 106"/>
                  <a:gd name="T62" fmla="*/ 96 w 138"/>
                  <a:gd name="T63" fmla="*/ 76 h 106"/>
                  <a:gd name="T64" fmla="*/ 108 w 138"/>
                  <a:gd name="T65" fmla="*/ 70 h 106"/>
                  <a:gd name="T66" fmla="*/ 118 w 138"/>
                  <a:gd name="T67" fmla="*/ 64 h 106"/>
                  <a:gd name="T68" fmla="*/ 130 w 138"/>
                  <a:gd name="T69" fmla="*/ 60 h 106"/>
                  <a:gd name="T70" fmla="*/ 138 w 138"/>
                  <a:gd name="T71" fmla="*/ 58 h 106"/>
                  <a:gd name="T72" fmla="*/ 136 w 138"/>
                  <a:gd name="T73" fmla="*/ 54 h 106"/>
                  <a:gd name="T74" fmla="*/ 130 w 138"/>
                  <a:gd name="T75" fmla="*/ 44 h 106"/>
                  <a:gd name="T76" fmla="*/ 126 w 138"/>
                  <a:gd name="T77" fmla="*/ 34 h 106"/>
                  <a:gd name="T78" fmla="*/ 120 w 138"/>
                  <a:gd name="T79" fmla="*/ 26 h 106"/>
                  <a:gd name="T80" fmla="*/ 110 w 138"/>
                  <a:gd name="T81" fmla="*/ 24 h 106"/>
                  <a:gd name="T82" fmla="*/ 106 w 138"/>
                  <a:gd name="T83" fmla="*/ 28 h 106"/>
                  <a:gd name="T84" fmla="*/ 104 w 138"/>
                  <a:gd name="T85" fmla="*/ 34 h 106"/>
                  <a:gd name="T86" fmla="*/ 102 w 138"/>
                  <a:gd name="T87" fmla="*/ 24 h 106"/>
                  <a:gd name="T88" fmla="*/ 100 w 138"/>
                  <a:gd name="T89" fmla="*/ 24 h 106"/>
                  <a:gd name="T90" fmla="*/ 96 w 138"/>
                  <a:gd name="T91" fmla="*/ 34 h 106"/>
                  <a:gd name="T92" fmla="*/ 94 w 138"/>
                  <a:gd name="T93" fmla="*/ 30 h 106"/>
                  <a:gd name="T94" fmla="*/ 94 w 138"/>
                  <a:gd name="T95" fmla="*/ 24 h 106"/>
                  <a:gd name="T96" fmla="*/ 82 w 138"/>
                  <a:gd name="T97" fmla="*/ 10 h 106"/>
                  <a:gd name="T98" fmla="*/ 74 w 138"/>
                  <a:gd name="T99" fmla="*/ 6 h 106"/>
                  <a:gd name="T100" fmla="*/ 58 w 138"/>
                  <a:gd name="T101" fmla="*/ 2 h 106"/>
                  <a:gd name="T102" fmla="*/ 50 w 138"/>
                  <a:gd name="T103" fmla="*/ 0 h 106"/>
                  <a:gd name="T104" fmla="*/ 44 w 138"/>
                  <a:gd name="T105" fmla="*/ 2 h 106"/>
                  <a:gd name="T106" fmla="*/ 44 w 138"/>
                  <a:gd name="T107" fmla="*/ 8 h 106"/>
                  <a:gd name="T108" fmla="*/ 44 w 138"/>
                  <a:gd name="T109" fmla="*/ 10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38" h="106">
                    <a:moveTo>
                      <a:pt x="44" y="10"/>
                    </a:moveTo>
                    <a:lnTo>
                      <a:pt x="44" y="10"/>
                    </a:lnTo>
                    <a:lnTo>
                      <a:pt x="46" y="12"/>
                    </a:lnTo>
                    <a:lnTo>
                      <a:pt x="46" y="14"/>
                    </a:lnTo>
                    <a:lnTo>
                      <a:pt x="48" y="14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6" y="20"/>
                    </a:lnTo>
                    <a:lnTo>
                      <a:pt x="46" y="22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8"/>
                    </a:lnTo>
                    <a:lnTo>
                      <a:pt x="46" y="30"/>
                    </a:lnTo>
                    <a:lnTo>
                      <a:pt x="46" y="32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6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0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4" y="34"/>
                    </a:lnTo>
                    <a:lnTo>
                      <a:pt x="34" y="34"/>
                    </a:lnTo>
                    <a:lnTo>
                      <a:pt x="32" y="34"/>
                    </a:lnTo>
                    <a:lnTo>
                      <a:pt x="30" y="36"/>
                    </a:lnTo>
                    <a:lnTo>
                      <a:pt x="30" y="36"/>
                    </a:lnTo>
                    <a:lnTo>
                      <a:pt x="26" y="38"/>
                    </a:lnTo>
                    <a:lnTo>
                      <a:pt x="24" y="40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0" y="44"/>
                    </a:lnTo>
                    <a:lnTo>
                      <a:pt x="20" y="44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4" y="48"/>
                    </a:lnTo>
                    <a:lnTo>
                      <a:pt x="22" y="50"/>
                    </a:lnTo>
                    <a:lnTo>
                      <a:pt x="22" y="50"/>
                    </a:lnTo>
                    <a:lnTo>
                      <a:pt x="22" y="50"/>
                    </a:lnTo>
                    <a:lnTo>
                      <a:pt x="22" y="50"/>
                    </a:lnTo>
                    <a:lnTo>
                      <a:pt x="20" y="50"/>
                    </a:lnTo>
                    <a:lnTo>
                      <a:pt x="18" y="50"/>
                    </a:lnTo>
                    <a:lnTo>
                      <a:pt x="16" y="50"/>
                    </a:lnTo>
                    <a:lnTo>
                      <a:pt x="16" y="50"/>
                    </a:lnTo>
                    <a:lnTo>
                      <a:pt x="16" y="52"/>
                    </a:lnTo>
                    <a:lnTo>
                      <a:pt x="14" y="52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4" y="58"/>
                    </a:lnTo>
                    <a:lnTo>
                      <a:pt x="12" y="58"/>
                    </a:lnTo>
                    <a:lnTo>
                      <a:pt x="10" y="60"/>
                    </a:lnTo>
                    <a:lnTo>
                      <a:pt x="10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6" y="62"/>
                    </a:lnTo>
                    <a:lnTo>
                      <a:pt x="4" y="62"/>
                    </a:lnTo>
                    <a:lnTo>
                      <a:pt x="2" y="62"/>
                    </a:lnTo>
                    <a:lnTo>
                      <a:pt x="2" y="64"/>
                    </a:lnTo>
                    <a:lnTo>
                      <a:pt x="0" y="64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2" y="70"/>
                    </a:lnTo>
                    <a:lnTo>
                      <a:pt x="2" y="70"/>
                    </a:lnTo>
                    <a:lnTo>
                      <a:pt x="6" y="72"/>
                    </a:lnTo>
                    <a:lnTo>
                      <a:pt x="6" y="72"/>
                    </a:lnTo>
                    <a:lnTo>
                      <a:pt x="6" y="74"/>
                    </a:lnTo>
                    <a:lnTo>
                      <a:pt x="6" y="74"/>
                    </a:lnTo>
                    <a:lnTo>
                      <a:pt x="8" y="76"/>
                    </a:lnTo>
                    <a:lnTo>
                      <a:pt x="8" y="80"/>
                    </a:lnTo>
                    <a:lnTo>
                      <a:pt x="8" y="82"/>
                    </a:lnTo>
                    <a:lnTo>
                      <a:pt x="8" y="84"/>
                    </a:lnTo>
                    <a:lnTo>
                      <a:pt x="6" y="90"/>
                    </a:lnTo>
                    <a:lnTo>
                      <a:pt x="6" y="94"/>
                    </a:lnTo>
                    <a:lnTo>
                      <a:pt x="6" y="96"/>
                    </a:lnTo>
                    <a:lnTo>
                      <a:pt x="6" y="96"/>
                    </a:lnTo>
                    <a:lnTo>
                      <a:pt x="6" y="100"/>
                    </a:lnTo>
                    <a:lnTo>
                      <a:pt x="6" y="102"/>
                    </a:lnTo>
                    <a:lnTo>
                      <a:pt x="6" y="104"/>
                    </a:lnTo>
                    <a:lnTo>
                      <a:pt x="6" y="104"/>
                    </a:lnTo>
                    <a:lnTo>
                      <a:pt x="8" y="106"/>
                    </a:lnTo>
                    <a:lnTo>
                      <a:pt x="8" y="106"/>
                    </a:lnTo>
                    <a:lnTo>
                      <a:pt x="8" y="106"/>
                    </a:lnTo>
                    <a:lnTo>
                      <a:pt x="10" y="106"/>
                    </a:lnTo>
                    <a:lnTo>
                      <a:pt x="12" y="106"/>
                    </a:lnTo>
                    <a:lnTo>
                      <a:pt x="14" y="106"/>
                    </a:lnTo>
                    <a:lnTo>
                      <a:pt x="14" y="106"/>
                    </a:lnTo>
                    <a:lnTo>
                      <a:pt x="16" y="104"/>
                    </a:lnTo>
                    <a:lnTo>
                      <a:pt x="20" y="104"/>
                    </a:lnTo>
                    <a:lnTo>
                      <a:pt x="20" y="104"/>
                    </a:lnTo>
                    <a:lnTo>
                      <a:pt x="26" y="104"/>
                    </a:lnTo>
                    <a:lnTo>
                      <a:pt x="28" y="104"/>
                    </a:lnTo>
                    <a:lnTo>
                      <a:pt x="30" y="104"/>
                    </a:lnTo>
                    <a:lnTo>
                      <a:pt x="30" y="102"/>
                    </a:lnTo>
                    <a:lnTo>
                      <a:pt x="30" y="102"/>
                    </a:lnTo>
                    <a:lnTo>
                      <a:pt x="30" y="102"/>
                    </a:lnTo>
                    <a:lnTo>
                      <a:pt x="30" y="100"/>
                    </a:lnTo>
                    <a:lnTo>
                      <a:pt x="30" y="98"/>
                    </a:lnTo>
                    <a:lnTo>
                      <a:pt x="30" y="98"/>
                    </a:lnTo>
                    <a:lnTo>
                      <a:pt x="30" y="98"/>
                    </a:lnTo>
                    <a:lnTo>
                      <a:pt x="30" y="96"/>
                    </a:lnTo>
                    <a:lnTo>
                      <a:pt x="30" y="96"/>
                    </a:lnTo>
                    <a:lnTo>
                      <a:pt x="30" y="96"/>
                    </a:lnTo>
                    <a:lnTo>
                      <a:pt x="32" y="96"/>
                    </a:lnTo>
                    <a:lnTo>
                      <a:pt x="34" y="96"/>
                    </a:lnTo>
                    <a:lnTo>
                      <a:pt x="34" y="96"/>
                    </a:lnTo>
                    <a:lnTo>
                      <a:pt x="36" y="98"/>
                    </a:lnTo>
                    <a:lnTo>
                      <a:pt x="36" y="98"/>
                    </a:lnTo>
                    <a:lnTo>
                      <a:pt x="36" y="100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40" y="102"/>
                    </a:lnTo>
                    <a:lnTo>
                      <a:pt x="40" y="102"/>
                    </a:lnTo>
                    <a:lnTo>
                      <a:pt x="42" y="102"/>
                    </a:lnTo>
                    <a:lnTo>
                      <a:pt x="44" y="102"/>
                    </a:lnTo>
                    <a:lnTo>
                      <a:pt x="44" y="102"/>
                    </a:lnTo>
                    <a:lnTo>
                      <a:pt x="44" y="102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98"/>
                    </a:lnTo>
                    <a:lnTo>
                      <a:pt x="46" y="98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8" y="94"/>
                    </a:lnTo>
                    <a:lnTo>
                      <a:pt x="48" y="94"/>
                    </a:lnTo>
                    <a:lnTo>
                      <a:pt x="48" y="94"/>
                    </a:lnTo>
                    <a:lnTo>
                      <a:pt x="54" y="90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60" y="86"/>
                    </a:lnTo>
                    <a:lnTo>
                      <a:pt x="62" y="86"/>
                    </a:lnTo>
                    <a:lnTo>
                      <a:pt x="68" y="84"/>
                    </a:lnTo>
                    <a:lnTo>
                      <a:pt x="68" y="84"/>
                    </a:lnTo>
                    <a:lnTo>
                      <a:pt x="70" y="84"/>
                    </a:lnTo>
                    <a:lnTo>
                      <a:pt x="74" y="82"/>
                    </a:lnTo>
                    <a:lnTo>
                      <a:pt x="76" y="82"/>
                    </a:lnTo>
                    <a:lnTo>
                      <a:pt x="78" y="80"/>
                    </a:lnTo>
                    <a:lnTo>
                      <a:pt x="78" y="80"/>
                    </a:lnTo>
                    <a:lnTo>
                      <a:pt x="82" y="76"/>
                    </a:lnTo>
                    <a:lnTo>
                      <a:pt x="84" y="76"/>
                    </a:lnTo>
                    <a:lnTo>
                      <a:pt x="86" y="74"/>
                    </a:lnTo>
                    <a:lnTo>
                      <a:pt x="88" y="74"/>
                    </a:lnTo>
                    <a:lnTo>
                      <a:pt x="88" y="74"/>
                    </a:lnTo>
                    <a:lnTo>
                      <a:pt x="92" y="74"/>
                    </a:lnTo>
                    <a:lnTo>
                      <a:pt x="96" y="76"/>
                    </a:lnTo>
                    <a:lnTo>
                      <a:pt x="98" y="74"/>
                    </a:lnTo>
                    <a:lnTo>
                      <a:pt x="98" y="74"/>
                    </a:lnTo>
                    <a:lnTo>
                      <a:pt x="100" y="74"/>
                    </a:lnTo>
                    <a:lnTo>
                      <a:pt x="102" y="72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12" y="66"/>
                    </a:lnTo>
                    <a:lnTo>
                      <a:pt x="114" y="66"/>
                    </a:lnTo>
                    <a:lnTo>
                      <a:pt x="118" y="64"/>
                    </a:lnTo>
                    <a:lnTo>
                      <a:pt x="118" y="64"/>
                    </a:lnTo>
                    <a:lnTo>
                      <a:pt x="122" y="64"/>
                    </a:lnTo>
                    <a:lnTo>
                      <a:pt x="124" y="62"/>
                    </a:lnTo>
                    <a:lnTo>
                      <a:pt x="126" y="62"/>
                    </a:lnTo>
                    <a:lnTo>
                      <a:pt x="126" y="62"/>
                    </a:lnTo>
                    <a:lnTo>
                      <a:pt x="130" y="60"/>
                    </a:lnTo>
                    <a:lnTo>
                      <a:pt x="132" y="58"/>
                    </a:lnTo>
                    <a:lnTo>
                      <a:pt x="132" y="58"/>
                    </a:lnTo>
                    <a:lnTo>
                      <a:pt x="136" y="58"/>
                    </a:lnTo>
                    <a:lnTo>
                      <a:pt x="136" y="58"/>
                    </a:lnTo>
                    <a:lnTo>
                      <a:pt x="138" y="58"/>
                    </a:lnTo>
                    <a:lnTo>
                      <a:pt x="138" y="58"/>
                    </a:lnTo>
                    <a:lnTo>
                      <a:pt x="138" y="56"/>
                    </a:lnTo>
                    <a:lnTo>
                      <a:pt x="138" y="56"/>
                    </a:lnTo>
                    <a:lnTo>
                      <a:pt x="138" y="54"/>
                    </a:lnTo>
                    <a:lnTo>
                      <a:pt x="136" y="54"/>
                    </a:lnTo>
                    <a:lnTo>
                      <a:pt x="136" y="54"/>
                    </a:lnTo>
                    <a:lnTo>
                      <a:pt x="134" y="52"/>
                    </a:lnTo>
                    <a:lnTo>
                      <a:pt x="132" y="50"/>
                    </a:lnTo>
                    <a:lnTo>
                      <a:pt x="132" y="46"/>
                    </a:lnTo>
                    <a:lnTo>
                      <a:pt x="130" y="44"/>
                    </a:lnTo>
                    <a:lnTo>
                      <a:pt x="130" y="44"/>
                    </a:lnTo>
                    <a:lnTo>
                      <a:pt x="130" y="42"/>
                    </a:lnTo>
                    <a:lnTo>
                      <a:pt x="128" y="38"/>
                    </a:lnTo>
                    <a:lnTo>
                      <a:pt x="126" y="34"/>
                    </a:lnTo>
                    <a:lnTo>
                      <a:pt x="126" y="34"/>
                    </a:lnTo>
                    <a:lnTo>
                      <a:pt x="126" y="32"/>
                    </a:lnTo>
                    <a:lnTo>
                      <a:pt x="124" y="30"/>
                    </a:lnTo>
                    <a:lnTo>
                      <a:pt x="122" y="28"/>
                    </a:lnTo>
                    <a:lnTo>
                      <a:pt x="120" y="26"/>
                    </a:lnTo>
                    <a:lnTo>
                      <a:pt x="120" y="26"/>
                    </a:lnTo>
                    <a:lnTo>
                      <a:pt x="118" y="26"/>
                    </a:lnTo>
                    <a:lnTo>
                      <a:pt x="116" y="24"/>
                    </a:lnTo>
                    <a:lnTo>
                      <a:pt x="112" y="24"/>
                    </a:lnTo>
                    <a:lnTo>
                      <a:pt x="110" y="24"/>
                    </a:lnTo>
                    <a:lnTo>
                      <a:pt x="110" y="24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6" y="28"/>
                    </a:lnTo>
                    <a:lnTo>
                      <a:pt x="106" y="28"/>
                    </a:lnTo>
                    <a:lnTo>
                      <a:pt x="106" y="30"/>
                    </a:lnTo>
                    <a:lnTo>
                      <a:pt x="106" y="32"/>
                    </a:lnTo>
                    <a:lnTo>
                      <a:pt x="104" y="34"/>
                    </a:lnTo>
                    <a:lnTo>
                      <a:pt x="104" y="34"/>
                    </a:lnTo>
                    <a:lnTo>
                      <a:pt x="104" y="34"/>
                    </a:lnTo>
                    <a:lnTo>
                      <a:pt x="104" y="32"/>
                    </a:lnTo>
                    <a:lnTo>
                      <a:pt x="104" y="30"/>
                    </a:lnTo>
                    <a:lnTo>
                      <a:pt x="104" y="26"/>
                    </a:lnTo>
                    <a:lnTo>
                      <a:pt x="104" y="26"/>
                    </a:lnTo>
                    <a:lnTo>
                      <a:pt x="102" y="24"/>
                    </a:lnTo>
                    <a:lnTo>
                      <a:pt x="102" y="24"/>
                    </a:lnTo>
                    <a:lnTo>
                      <a:pt x="102" y="24"/>
                    </a:lnTo>
                    <a:lnTo>
                      <a:pt x="100" y="24"/>
                    </a:lnTo>
                    <a:lnTo>
                      <a:pt x="100" y="24"/>
                    </a:lnTo>
                    <a:lnTo>
                      <a:pt x="100" y="24"/>
                    </a:lnTo>
                    <a:lnTo>
                      <a:pt x="98" y="28"/>
                    </a:lnTo>
                    <a:lnTo>
                      <a:pt x="96" y="30"/>
                    </a:lnTo>
                    <a:lnTo>
                      <a:pt x="96" y="30"/>
                    </a:lnTo>
                    <a:lnTo>
                      <a:pt x="96" y="32"/>
                    </a:lnTo>
                    <a:lnTo>
                      <a:pt x="96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2"/>
                    </a:lnTo>
                    <a:lnTo>
                      <a:pt x="94" y="32"/>
                    </a:lnTo>
                    <a:lnTo>
                      <a:pt x="94" y="30"/>
                    </a:lnTo>
                    <a:lnTo>
                      <a:pt x="94" y="28"/>
                    </a:lnTo>
                    <a:lnTo>
                      <a:pt x="94" y="26"/>
                    </a:lnTo>
                    <a:lnTo>
                      <a:pt x="94" y="26"/>
                    </a:lnTo>
                    <a:lnTo>
                      <a:pt x="94" y="24"/>
                    </a:lnTo>
                    <a:lnTo>
                      <a:pt x="94" y="24"/>
                    </a:lnTo>
                    <a:lnTo>
                      <a:pt x="90" y="20"/>
                    </a:lnTo>
                    <a:lnTo>
                      <a:pt x="86" y="16"/>
                    </a:lnTo>
                    <a:lnTo>
                      <a:pt x="86" y="16"/>
                    </a:lnTo>
                    <a:lnTo>
                      <a:pt x="84" y="12"/>
                    </a:lnTo>
                    <a:lnTo>
                      <a:pt x="82" y="10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78" y="8"/>
                    </a:lnTo>
                    <a:lnTo>
                      <a:pt x="76" y="6"/>
                    </a:lnTo>
                    <a:lnTo>
                      <a:pt x="74" y="6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64" y="4"/>
                    </a:lnTo>
                    <a:lnTo>
                      <a:pt x="62" y="4"/>
                    </a:lnTo>
                    <a:lnTo>
                      <a:pt x="58" y="2"/>
                    </a:lnTo>
                    <a:lnTo>
                      <a:pt x="58" y="2"/>
                    </a:lnTo>
                    <a:lnTo>
                      <a:pt x="56" y="2"/>
                    </a:lnTo>
                    <a:lnTo>
                      <a:pt x="54" y="0"/>
                    </a:lnTo>
                    <a:lnTo>
                      <a:pt x="52" y="0"/>
                    </a:lnTo>
                    <a:lnTo>
                      <a:pt x="50" y="0"/>
                    </a:lnTo>
                    <a:lnTo>
                      <a:pt x="50" y="0"/>
                    </a:lnTo>
                    <a:lnTo>
                      <a:pt x="48" y="0"/>
                    </a:lnTo>
                    <a:lnTo>
                      <a:pt x="46" y="0"/>
                    </a:lnTo>
                    <a:lnTo>
                      <a:pt x="44" y="2"/>
                    </a:lnTo>
                    <a:lnTo>
                      <a:pt x="44" y="2"/>
                    </a:lnTo>
                    <a:lnTo>
                      <a:pt x="44" y="2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6"/>
                    </a:lnTo>
                    <a:lnTo>
                      <a:pt x="44" y="8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4" y="1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90" name="Freeform 109"/>
              <p:cNvSpPr>
                <a:spLocks/>
              </p:cNvSpPr>
              <p:nvPr/>
            </p:nvSpPr>
            <p:spPr bwMode="auto">
              <a:xfrm>
                <a:off x="1323" y="1206"/>
                <a:ext cx="198" cy="178"/>
              </a:xfrm>
              <a:custGeom>
                <a:avLst/>
                <a:gdLst>
                  <a:gd name="T0" fmla="*/ 44 w 198"/>
                  <a:gd name="T1" fmla="*/ 16 h 178"/>
                  <a:gd name="T2" fmla="*/ 22 w 198"/>
                  <a:gd name="T3" fmla="*/ 22 h 178"/>
                  <a:gd name="T4" fmla="*/ 14 w 198"/>
                  <a:gd name="T5" fmla="*/ 28 h 178"/>
                  <a:gd name="T6" fmla="*/ 4 w 198"/>
                  <a:gd name="T7" fmla="*/ 44 h 178"/>
                  <a:gd name="T8" fmla="*/ 10 w 198"/>
                  <a:gd name="T9" fmla="*/ 46 h 178"/>
                  <a:gd name="T10" fmla="*/ 16 w 198"/>
                  <a:gd name="T11" fmla="*/ 58 h 178"/>
                  <a:gd name="T12" fmla="*/ 32 w 198"/>
                  <a:gd name="T13" fmla="*/ 56 h 178"/>
                  <a:gd name="T14" fmla="*/ 44 w 198"/>
                  <a:gd name="T15" fmla="*/ 50 h 178"/>
                  <a:gd name="T16" fmla="*/ 30 w 198"/>
                  <a:gd name="T17" fmla="*/ 60 h 178"/>
                  <a:gd name="T18" fmla="*/ 6 w 198"/>
                  <a:gd name="T19" fmla="*/ 66 h 178"/>
                  <a:gd name="T20" fmla="*/ 16 w 198"/>
                  <a:gd name="T21" fmla="*/ 78 h 178"/>
                  <a:gd name="T22" fmla="*/ 38 w 198"/>
                  <a:gd name="T23" fmla="*/ 84 h 178"/>
                  <a:gd name="T24" fmla="*/ 64 w 198"/>
                  <a:gd name="T25" fmla="*/ 96 h 178"/>
                  <a:gd name="T26" fmla="*/ 50 w 198"/>
                  <a:gd name="T27" fmla="*/ 98 h 178"/>
                  <a:gd name="T28" fmla="*/ 22 w 198"/>
                  <a:gd name="T29" fmla="*/ 90 h 178"/>
                  <a:gd name="T30" fmla="*/ 0 w 198"/>
                  <a:gd name="T31" fmla="*/ 100 h 178"/>
                  <a:gd name="T32" fmla="*/ 6 w 198"/>
                  <a:gd name="T33" fmla="*/ 114 h 178"/>
                  <a:gd name="T34" fmla="*/ 16 w 198"/>
                  <a:gd name="T35" fmla="*/ 124 h 178"/>
                  <a:gd name="T36" fmla="*/ 30 w 198"/>
                  <a:gd name="T37" fmla="*/ 134 h 178"/>
                  <a:gd name="T38" fmla="*/ 26 w 198"/>
                  <a:gd name="T39" fmla="*/ 150 h 178"/>
                  <a:gd name="T40" fmla="*/ 44 w 198"/>
                  <a:gd name="T41" fmla="*/ 156 h 178"/>
                  <a:gd name="T42" fmla="*/ 62 w 198"/>
                  <a:gd name="T43" fmla="*/ 162 h 178"/>
                  <a:gd name="T44" fmla="*/ 80 w 198"/>
                  <a:gd name="T45" fmla="*/ 162 h 178"/>
                  <a:gd name="T46" fmla="*/ 98 w 198"/>
                  <a:gd name="T47" fmla="*/ 158 h 178"/>
                  <a:gd name="T48" fmla="*/ 112 w 198"/>
                  <a:gd name="T49" fmla="*/ 152 h 178"/>
                  <a:gd name="T50" fmla="*/ 124 w 198"/>
                  <a:gd name="T51" fmla="*/ 150 h 178"/>
                  <a:gd name="T52" fmla="*/ 134 w 198"/>
                  <a:gd name="T53" fmla="*/ 160 h 178"/>
                  <a:gd name="T54" fmla="*/ 144 w 198"/>
                  <a:gd name="T55" fmla="*/ 168 h 178"/>
                  <a:gd name="T56" fmla="*/ 164 w 198"/>
                  <a:gd name="T57" fmla="*/ 176 h 178"/>
                  <a:gd name="T58" fmla="*/ 176 w 198"/>
                  <a:gd name="T59" fmla="*/ 164 h 178"/>
                  <a:gd name="T60" fmla="*/ 162 w 198"/>
                  <a:gd name="T61" fmla="*/ 168 h 178"/>
                  <a:gd name="T62" fmla="*/ 162 w 198"/>
                  <a:gd name="T63" fmla="*/ 154 h 178"/>
                  <a:gd name="T64" fmla="*/ 170 w 198"/>
                  <a:gd name="T65" fmla="*/ 156 h 178"/>
                  <a:gd name="T66" fmla="*/ 178 w 198"/>
                  <a:gd name="T67" fmla="*/ 154 h 178"/>
                  <a:gd name="T68" fmla="*/ 184 w 198"/>
                  <a:gd name="T69" fmla="*/ 156 h 178"/>
                  <a:gd name="T70" fmla="*/ 192 w 198"/>
                  <a:gd name="T71" fmla="*/ 158 h 178"/>
                  <a:gd name="T72" fmla="*/ 198 w 198"/>
                  <a:gd name="T73" fmla="*/ 150 h 178"/>
                  <a:gd name="T74" fmla="*/ 192 w 198"/>
                  <a:gd name="T75" fmla="*/ 132 h 178"/>
                  <a:gd name="T76" fmla="*/ 178 w 198"/>
                  <a:gd name="T77" fmla="*/ 120 h 178"/>
                  <a:gd name="T78" fmla="*/ 170 w 198"/>
                  <a:gd name="T79" fmla="*/ 104 h 178"/>
                  <a:gd name="T80" fmla="*/ 178 w 198"/>
                  <a:gd name="T81" fmla="*/ 92 h 178"/>
                  <a:gd name="T82" fmla="*/ 178 w 198"/>
                  <a:gd name="T83" fmla="*/ 68 h 178"/>
                  <a:gd name="T84" fmla="*/ 176 w 198"/>
                  <a:gd name="T85" fmla="*/ 48 h 178"/>
                  <a:gd name="T86" fmla="*/ 160 w 198"/>
                  <a:gd name="T87" fmla="*/ 34 h 178"/>
                  <a:gd name="T88" fmla="*/ 148 w 198"/>
                  <a:gd name="T89" fmla="*/ 46 h 178"/>
                  <a:gd name="T90" fmla="*/ 148 w 198"/>
                  <a:gd name="T91" fmla="*/ 64 h 178"/>
                  <a:gd name="T92" fmla="*/ 138 w 198"/>
                  <a:gd name="T93" fmla="*/ 68 h 178"/>
                  <a:gd name="T94" fmla="*/ 136 w 198"/>
                  <a:gd name="T95" fmla="*/ 54 h 178"/>
                  <a:gd name="T96" fmla="*/ 136 w 198"/>
                  <a:gd name="T97" fmla="*/ 38 h 178"/>
                  <a:gd name="T98" fmla="*/ 120 w 198"/>
                  <a:gd name="T99" fmla="*/ 32 h 178"/>
                  <a:gd name="T100" fmla="*/ 124 w 198"/>
                  <a:gd name="T101" fmla="*/ 46 h 178"/>
                  <a:gd name="T102" fmla="*/ 112 w 198"/>
                  <a:gd name="T103" fmla="*/ 44 h 178"/>
                  <a:gd name="T104" fmla="*/ 94 w 198"/>
                  <a:gd name="T105" fmla="*/ 46 h 178"/>
                  <a:gd name="T106" fmla="*/ 112 w 198"/>
                  <a:gd name="T107" fmla="*/ 40 h 178"/>
                  <a:gd name="T108" fmla="*/ 112 w 198"/>
                  <a:gd name="T109" fmla="*/ 32 h 178"/>
                  <a:gd name="T110" fmla="*/ 98 w 198"/>
                  <a:gd name="T111" fmla="*/ 24 h 178"/>
                  <a:gd name="T112" fmla="*/ 92 w 198"/>
                  <a:gd name="T113" fmla="*/ 30 h 178"/>
                  <a:gd name="T114" fmla="*/ 84 w 198"/>
                  <a:gd name="T115" fmla="*/ 24 h 178"/>
                  <a:gd name="T116" fmla="*/ 88 w 198"/>
                  <a:gd name="T117" fmla="*/ 6 h 178"/>
                  <a:gd name="T118" fmla="*/ 68 w 198"/>
                  <a:gd name="T119" fmla="*/ 4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98" h="178">
                    <a:moveTo>
                      <a:pt x="68" y="4"/>
                    </a:moveTo>
                    <a:lnTo>
                      <a:pt x="68" y="4"/>
                    </a:lnTo>
                    <a:lnTo>
                      <a:pt x="64" y="6"/>
                    </a:lnTo>
                    <a:lnTo>
                      <a:pt x="62" y="6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54" y="10"/>
                    </a:lnTo>
                    <a:lnTo>
                      <a:pt x="50" y="12"/>
                    </a:lnTo>
                    <a:lnTo>
                      <a:pt x="48" y="14"/>
                    </a:lnTo>
                    <a:lnTo>
                      <a:pt x="46" y="16"/>
                    </a:lnTo>
                    <a:lnTo>
                      <a:pt x="44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36" y="16"/>
                    </a:lnTo>
                    <a:lnTo>
                      <a:pt x="34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28" y="18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4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8"/>
                    </a:lnTo>
                    <a:lnTo>
                      <a:pt x="22" y="28"/>
                    </a:lnTo>
                    <a:lnTo>
                      <a:pt x="20" y="28"/>
                    </a:lnTo>
                    <a:lnTo>
                      <a:pt x="18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4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8" y="34"/>
                    </a:lnTo>
                    <a:lnTo>
                      <a:pt x="6" y="36"/>
                    </a:lnTo>
                    <a:lnTo>
                      <a:pt x="4" y="36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2" y="40"/>
                    </a:lnTo>
                    <a:lnTo>
                      <a:pt x="2" y="42"/>
                    </a:lnTo>
                    <a:lnTo>
                      <a:pt x="2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10" y="46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50"/>
                    </a:lnTo>
                    <a:lnTo>
                      <a:pt x="10" y="50"/>
                    </a:lnTo>
                    <a:lnTo>
                      <a:pt x="12" y="52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4" y="56"/>
                    </a:lnTo>
                    <a:lnTo>
                      <a:pt x="16" y="56"/>
                    </a:lnTo>
                    <a:lnTo>
                      <a:pt x="16" y="58"/>
                    </a:lnTo>
                    <a:lnTo>
                      <a:pt x="16" y="58"/>
                    </a:lnTo>
                    <a:lnTo>
                      <a:pt x="16" y="58"/>
                    </a:lnTo>
                    <a:lnTo>
                      <a:pt x="18" y="58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24" y="56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30" y="5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4" y="54"/>
                    </a:lnTo>
                    <a:lnTo>
                      <a:pt x="34" y="54"/>
                    </a:lnTo>
                    <a:lnTo>
                      <a:pt x="34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0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42" y="50"/>
                    </a:lnTo>
                    <a:lnTo>
                      <a:pt x="44" y="50"/>
                    </a:lnTo>
                    <a:lnTo>
                      <a:pt x="44" y="50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6" y="58"/>
                    </a:lnTo>
                    <a:lnTo>
                      <a:pt x="34" y="60"/>
                    </a:lnTo>
                    <a:lnTo>
                      <a:pt x="30" y="60"/>
                    </a:lnTo>
                    <a:lnTo>
                      <a:pt x="28" y="62"/>
                    </a:lnTo>
                    <a:lnTo>
                      <a:pt x="28" y="62"/>
                    </a:lnTo>
                    <a:lnTo>
                      <a:pt x="22" y="62"/>
                    </a:lnTo>
                    <a:lnTo>
                      <a:pt x="16" y="62"/>
                    </a:lnTo>
                    <a:lnTo>
                      <a:pt x="16" y="62"/>
                    </a:lnTo>
                    <a:lnTo>
                      <a:pt x="14" y="62"/>
                    </a:lnTo>
                    <a:lnTo>
                      <a:pt x="10" y="62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6" y="66"/>
                    </a:lnTo>
                    <a:lnTo>
                      <a:pt x="6" y="66"/>
                    </a:lnTo>
                    <a:lnTo>
                      <a:pt x="6" y="66"/>
                    </a:lnTo>
                    <a:lnTo>
                      <a:pt x="6" y="68"/>
                    </a:lnTo>
                    <a:lnTo>
                      <a:pt x="6" y="70"/>
                    </a:lnTo>
                    <a:lnTo>
                      <a:pt x="6" y="70"/>
                    </a:lnTo>
                    <a:lnTo>
                      <a:pt x="8" y="72"/>
                    </a:lnTo>
                    <a:lnTo>
                      <a:pt x="8" y="74"/>
                    </a:lnTo>
                    <a:lnTo>
                      <a:pt x="8" y="74"/>
                    </a:lnTo>
                    <a:lnTo>
                      <a:pt x="12" y="74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6" y="78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8" y="82"/>
                    </a:lnTo>
                    <a:lnTo>
                      <a:pt x="20" y="82"/>
                    </a:lnTo>
                    <a:lnTo>
                      <a:pt x="22" y="82"/>
                    </a:lnTo>
                    <a:lnTo>
                      <a:pt x="26" y="84"/>
                    </a:lnTo>
                    <a:lnTo>
                      <a:pt x="28" y="84"/>
                    </a:lnTo>
                    <a:lnTo>
                      <a:pt x="28" y="84"/>
                    </a:lnTo>
                    <a:lnTo>
                      <a:pt x="32" y="84"/>
                    </a:lnTo>
                    <a:lnTo>
                      <a:pt x="36" y="84"/>
                    </a:lnTo>
                    <a:lnTo>
                      <a:pt x="38" y="84"/>
                    </a:lnTo>
                    <a:lnTo>
                      <a:pt x="40" y="84"/>
                    </a:lnTo>
                    <a:lnTo>
                      <a:pt x="40" y="84"/>
                    </a:lnTo>
                    <a:lnTo>
                      <a:pt x="46" y="86"/>
                    </a:lnTo>
                    <a:lnTo>
                      <a:pt x="52" y="88"/>
                    </a:lnTo>
                    <a:lnTo>
                      <a:pt x="58" y="90"/>
                    </a:lnTo>
                    <a:lnTo>
                      <a:pt x="62" y="94"/>
                    </a:lnTo>
                    <a:lnTo>
                      <a:pt x="62" y="94"/>
                    </a:lnTo>
                    <a:lnTo>
                      <a:pt x="64" y="94"/>
                    </a:lnTo>
                    <a:lnTo>
                      <a:pt x="64" y="94"/>
                    </a:lnTo>
                    <a:lnTo>
                      <a:pt x="64" y="96"/>
                    </a:lnTo>
                    <a:lnTo>
                      <a:pt x="64" y="96"/>
                    </a:lnTo>
                    <a:lnTo>
                      <a:pt x="64" y="96"/>
                    </a:lnTo>
                    <a:lnTo>
                      <a:pt x="64" y="96"/>
                    </a:lnTo>
                    <a:lnTo>
                      <a:pt x="62" y="96"/>
                    </a:lnTo>
                    <a:lnTo>
                      <a:pt x="62" y="96"/>
                    </a:lnTo>
                    <a:lnTo>
                      <a:pt x="62" y="96"/>
                    </a:lnTo>
                    <a:lnTo>
                      <a:pt x="58" y="98"/>
                    </a:lnTo>
                    <a:lnTo>
                      <a:pt x="56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50" y="98"/>
                    </a:lnTo>
                    <a:lnTo>
                      <a:pt x="50" y="98"/>
                    </a:lnTo>
                    <a:lnTo>
                      <a:pt x="46" y="94"/>
                    </a:lnTo>
                    <a:lnTo>
                      <a:pt x="46" y="94"/>
                    </a:lnTo>
                    <a:lnTo>
                      <a:pt x="42" y="94"/>
                    </a:lnTo>
                    <a:lnTo>
                      <a:pt x="40" y="92"/>
                    </a:lnTo>
                    <a:lnTo>
                      <a:pt x="40" y="92"/>
                    </a:lnTo>
                    <a:lnTo>
                      <a:pt x="38" y="90"/>
                    </a:lnTo>
                    <a:lnTo>
                      <a:pt x="36" y="90"/>
                    </a:lnTo>
                    <a:lnTo>
                      <a:pt x="28" y="90"/>
                    </a:lnTo>
                    <a:lnTo>
                      <a:pt x="28" y="90"/>
                    </a:lnTo>
                    <a:lnTo>
                      <a:pt x="26" y="88"/>
                    </a:lnTo>
                    <a:lnTo>
                      <a:pt x="22" y="90"/>
                    </a:lnTo>
                    <a:lnTo>
                      <a:pt x="16" y="90"/>
                    </a:lnTo>
                    <a:lnTo>
                      <a:pt x="16" y="90"/>
                    </a:lnTo>
                    <a:lnTo>
                      <a:pt x="14" y="92"/>
                    </a:lnTo>
                    <a:lnTo>
                      <a:pt x="10" y="92"/>
                    </a:lnTo>
                    <a:lnTo>
                      <a:pt x="10" y="92"/>
                    </a:lnTo>
                    <a:lnTo>
                      <a:pt x="8" y="94"/>
                    </a:lnTo>
                    <a:lnTo>
                      <a:pt x="4" y="94"/>
                    </a:lnTo>
                    <a:lnTo>
                      <a:pt x="4" y="94"/>
                    </a:lnTo>
                    <a:lnTo>
                      <a:pt x="2" y="94"/>
                    </a:lnTo>
                    <a:lnTo>
                      <a:pt x="2" y="96"/>
                    </a:lnTo>
                    <a:lnTo>
                      <a:pt x="0" y="100"/>
                    </a:lnTo>
                    <a:lnTo>
                      <a:pt x="0" y="102"/>
                    </a:lnTo>
                    <a:lnTo>
                      <a:pt x="0" y="102"/>
                    </a:lnTo>
                    <a:lnTo>
                      <a:pt x="0" y="102"/>
                    </a:lnTo>
                    <a:lnTo>
                      <a:pt x="2" y="104"/>
                    </a:lnTo>
                    <a:lnTo>
                      <a:pt x="2" y="106"/>
                    </a:lnTo>
                    <a:lnTo>
                      <a:pt x="4" y="108"/>
                    </a:lnTo>
                    <a:lnTo>
                      <a:pt x="4" y="108"/>
                    </a:lnTo>
                    <a:lnTo>
                      <a:pt x="4" y="110"/>
                    </a:lnTo>
                    <a:lnTo>
                      <a:pt x="6" y="112"/>
                    </a:lnTo>
                    <a:lnTo>
                      <a:pt x="6" y="112"/>
                    </a:lnTo>
                    <a:lnTo>
                      <a:pt x="6" y="114"/>
                    </a:lnTo>
                    <a:lnTo>
                      <a:pt x="6" y="116"/>
                    </a:lnTo>
                    <a:lnTo>
                      <a:pt x="8" y="116"/>
                    </a:lnTo>
                    <a:lnTo>
                      <a:pt x="10" y="118"/>
                    </a:lnTo>
                    <a:lnTo>
                      <a:pt x="12" y="118"/>
                    </a:lnTo>
                    <a:lnTo>
                      <a:pt x="12" y="118"/>
                    </a:lnTo>
                    <a:lnTo>
                      <a:pt x="14" y="120"/>
                    </a:lnTo>
                    <a:lnTo>
                      <a:pt x="14" y="120"/>
                    </a:lnTo>
                    <a:lnTo>
                      <a:pt x="14" y="122"/>
                    </a:lnTo>
                    <a:lnTo>
                      <a:pt x="16" y="122"/>
                    </a:lnTo>
                    <a:lnTo>
                      <a:pt x="16" y="122"/>
                    </a:lnTo>
                    <a:lnTo>
                      <a:pt x="16" y="124"/>
                    </a:lnTo>
                    <a:lnTo>
                      <a:pt x="18" y="124"/>
                    </a:lnTo>
                    <a:lnTo>
                      <a:pt x="20" y="124"/>
                    </a:lnTo>
                    <a:lnTo>
                      <a:pt x="20" y="124"/>
                    </a:lnTo>
                    <a:lnTo>
                      <a:pt x="22" y="126"/>
                    </a:lnTo>
                    <a:lnTo>
                      <a:pt x="24" y="126"/>
                    </a:lnTo>
                    <a:lnTo>
                      <a:pt x="26" y="130"/>
                    </a:lnTo>
                    <a:lnTo>
                      <a:pt x="26" y="130"/>
                    </a:lnTo>
                    <a:lnTo>
                      <a:pt x="28" y="132"/>
                    </a:lnTo>
                    <a:lnTo>
                      <a:pt x="28" y="134"/>
                    </a:lnTo>
                    <a:lnTo>
                      <a:pt x="28" y="134"/>
                    </a:lnTo>
                    <a:lnTo>
                      <a:pt x="30" y="134"/>
                    </a:lnTo>
                    <a:lnTo>
                      <a:pt x="28" y="136"/>
                    </a:lnTo>
                    <a:lnTo>
                      <a:pt x="28" y="136"/>
                    </a:lnTo>
                    <a:lnTo>
                      <a:pt x="28" y="136"/>
                    </a:lnTo>
                    <a:lnTo>
                      <a:pt x="28" y="138"/>
                    </a:lnTo>
                    <a:lnTo>
                      <a:pt x="26" y="140"/>
                    </a:lnTo>
                    <a:lnTo>
                      <a:pt x="24" y="142"/>
                    </a:lnTo>
                    <a:lnTo>
                      <a:pt x="26" y="144"/>
                    </a:lnTo>
                    <a:lnTo>
                      <a:pt x="26" y="144"/>
                    </a:lnTo>
                    <a:lnTo>
                      <a:pt x="26" y="148"/>
                    </a:lnTo>
                    <a:lnTo>
                      <a:pt x="26" y="148"/>
                    </a:lnTo>
                    <a:lnTo>
                      <a:pt x="26" y="150"/>
                    </a:lnTo>
                    <a:lnTo>
                      <a:pt x="26" y="152"/>
                    </a:lnTo>
                    <a:lnTo>
                      <a:pt x="28" y="152"/>
                    </a:lnTo>
                    <a:lnTo>
                      <a:pt x="28" y="152"/>
                    </a:lnTo>
                    <a:lnTo>
                      <a:pt x="28" y="152"/>
                    </a:lnTo>
                    <a:lnTo>
                      <a:pt x="30" y="152"/>
                    </a:lnTo>
                    <a:lnTo>
                      <a:pt x="34" y="154"/>
                    </a:lnTo>
                    <a:lnTo>
                      <a:pt x="34" y="154"/>
                    </a:lnTo>
                    <a:lnTo>
                      <a:pt x="36" y="154"/>
                    </a:lnTo>
                    <a:lnTo>
                      <a:pt x="38" y="154"/>
                    </a:lnTo>
                    <a:lnTo>
                      <a:pt x="38" y="154"/>
                    </a:lnTo>
                    <a:lnTo>
                      <a:pt x="44" y="156"/>
                    </a:lnTo>
                    <a:lnTo>
                      <a:pt x="46" y="156"/>
                    </a:lnTo>
                    <a:lnTo>
                      <a:pt x="48" y="158"/>
                    </a:lnTo>
                    <a:lnTo>
                      <a:pt x="48" y="158"/>
                    </a:lnTo>
                    <a:lnTo>
                      <a:pt x="52" y="158"/>
                    </a:lnTo>
                    <a:lnTo>
                      <a:pt x="54" y="158"/>
                    </a:lnTo>
                    <a:lnTo>
                      <a:pt x="54" y="158"/>
                    </a:lnTo>
                    <a:lnTo>
                      <a:pt x="56" y="158"/>
                    </a:lnTo>
                    <a:lnTo>
                      <a:pt x="58" y="160"/>
                    </a:lnTo>
                    <a:lnTo>
                      <a:pt x="58" y="160"/>
                    </a:lnTo>
                    <a:lnTo>
                      <a:pt x="60" y="162"/>
                    </a:lnTo>
                    <a:lnTo>
                      <a:pt x="62" y="162"/>
                    </a:lnTo>
                    <a:lnTo>
                      <a:pt x="64" y="162"/>
                    </a:lnTo>
                    <a:lnTo>
                      <a:pt x="68" y="162"/>
                    </a:lnTo>
                    <a:lnTo>
                      <a:pt x="68" y="162"/>
                    </a:lnTo>
                    <a:lnTo>
                      <a:pt x="70" y="162"/>
                    </a:lnTo>
                    <a:lnTo>
                      <a:pt x="72" y="160"/>
                    </a:lnTo>
                    <a:lnTo>
                      <a:pt x="72" y="160"/>
                    </a:lnTo>
                    <a:lnTo>
                      <a:pt x="74" y="160"/>
                    </a:lnTo>
                    <a:lnTo>
                      <a:pt x="76" y="160"/>
                    </a:lnTo>
                    <a:lnTo>
                      <a:pt x="78" y="162"/>
                    </a:lnTo>
                    <a:lnTo>
                      <a:pt x="78" y="162"/>
                    </a:lnTo>
                    <a:lnTo>
                      <a:pt x="80" y="162"/>
                    </a:lnTo>
                    <a:lnTo>
                      <a:pt x="86" y="160"/>
                    </a:lnTo>
                    <a:lnTo>
                      <a:pt x="88" y="160"/>
                    </a:lnTo>
                    <a:lnTo>
                      <a:pt x="90" y="158"/>
                    </a:lnTo>
                    <a:lnTo>
                      <a:pt x="90" y="158"/>
                    </a:lnTo>
                    <a:lnTo>
                      <a:pt x="92" y="158"/>
                    </a:lnTo>
                    <a:lnTo>
                      <a:pt x="92" y="156"/>
                    </a:lnTo>
                    <a:lnTo>
                      <a:pt x="94" y="156"/>
                    </a:lnTo>
                    <a:lnTo>
                      <a:pt x="94" y="156"/>
                    </a:lnTo>
                    <a:lnTo>
                      <a:pt x="96" y="156"/>
                    </a:lnTo>
                    <a:lnTo>
                      <a:pt x="96" y="156"/>
                    </a:lnTo>
                    <a:lnTo>
                      <a:pt x="98" y="158"/>
                    </a:lnTo>
                    <a:lnTo>
                      <a:pt x="98" y="158"/>
                    </a:lnTo>
                    <a:lnTo>
                      <a:pt x="100" y="158"/>
                    </a:lnTo>
                    <a:lnTo>
                      <a:pt x="104" y="158"/>
                    </a:lnTo>
                    <a:lnTo>
                      <a:pt x="106" y="158"/>
                    </a:lnTo>
                    <a:lnTo>
                      <a:pt x="108" y="158"/>
                    </a:lnTo>
                    <a:lnTo>
                      <a:pt x="108" y="158"/>
                    </a:lnTo>
                    <a:lnTo>
                      <a:pt x="108" y="158"/>
                    </a:lnTo>
                    <a:lnTo>
                      <a:pt x="110" y="156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2"/>
                    </a:lnTo>
                    <a:lnTo>
                      <a:pt x="112" y="152"/>
                    </a:lnTo>
                    <a:lnTo>
                      <a:pt x="116" y="152"/>
                    </a:lnTo>
                    <a:lnTo>
                      <a:pt x="116" y="152"/>
                    </a:lnTo>
                    <a:lnTo>
                      <a:pt x="116" y="150"/>
                    </a:lnTo>
                    <a:lnTo>
                      <a:pt x="120" y="148"/>
                    </a:lnTo>
                    <a:lnTo>
                      <a:pt x="120" y="148"/>
                    </a:lnTo>
                    <a:lnTo>
                      <a:pt x="122" y="148"/>
                    </a:lnTo>
                    <a:lnTo>
                      <a:pt x="124" y="148"/>
                    </a:lnTo>
                    <a:lnTo>
                      <a:pt x="124" y="148"/>
                    </a:lnTo>
                    <a:lnTo>
                      <a:pt x="124" y="148"/>
                    </a:lnTo>
                    <a:lnTo>
                      <a:pt x="124" y="150"/>
                    </a:lnTo>
                    <a:lnTo>
                      <a:pt x="126" y="150"/>
                    </a:lnTo>
                    <a:lnTo>
                      <a:pt x="126" y="152"/>
                    </a:lnTo>
                    <a:lnTo>
                      <a:pt x="126" y="154"/>
                    </a:lnTo>
                    <a:lnTo>
                      <a:pt x="126" y="154"/>
                    </a:lnTo>
                    <a:lnTo>
                      <a:pt x="128" y="154"/>
                    </a:lnTo>
                    <a:lnTo>
                      <a:pt x="130" y="156"/>
                    </a:lnTo>
                    <a:lnTo>
                      <a:pt x="130" y="156"/>
                    </a:lnTo>
                    <a:lnTo>
                      <a:pt x="132" y="158"/>
                    </a:lnTo>
                    <a:lnTo>
                      <a:pt x="134" y="158"/>
                    </a:lnTo>
                    <a:lnTo>
                      <a:pt x="134" y="160"/>
                    </a:lnTo>
                    <a:lnTo>
                      <a:pt x="134" y="160"/>
                    </a:lnTo>
                    <a:lnTo>
                      <a:pt x="134" y="160"/>
                    </a:lnTo>
                    <a:lnTo>
                      <a:pt x="134" y="162"/>
                    </a:lnTo>
                    <a:lnTo>
                      <a:pt x="134" y="164"/>
                    </a:lnTo>
                    <a:lnTo>
                      <a:pt x="136" y="164"/>
                    </a:lnTo>
                    <a:lnTo>
                      <a:pt x="136" y="164"/>
                    </a:lnTo>
                    <a:lnTo>
                      <a:pt x="136" y="164"/>
                    </a:lnTo>
                    <a:lnTo>
                      <a:pt x="136" y="166"/>
                    </a:lnTo>
                    <a:lnTo>
                      <a:pt x="138" y="166"/>
                    </a:lnTo>
                    <a:lnTo>
                      <a:pt x="142" y="168"/>
                    </a:lnTo>
                    <a:lnTo>
                      <a:pt x="142" y="168"/>
                    </a:lnTo>
                    <a:lnTo>
                      <a:pt x="144" y="168"/>
                    </a:lnTo>
                    <a:lnTo>
                      <a:pt x="144" y="168"/>
                    </a:lnTo>
                    <a:lnTo>
                      <a:pt x="148" y="172"/>
                    </a:lnTo>
                    <a:lnTo>
                      <a:pt x="150" y="174"/>
                    </a:lnTo>
                    <a:lnTo>
                      <a:pt x="154" y="174"/>
                    </a:lnTo>
                    <a:lnTo>
                      <a:pt x="154" y="174"/>
                    </a:lnTo>
                    <a:lnTo>
                      <a:pt x="156" y="174"/>
                    </a:lnTo>
                    <a:lnTo>
                      <a:pt x="160" y="176"/>
                    </a:lnTo>
                    <a:lnTo>
                      <a:pt x="162" y="178"/>
                    </a:lnTo>
                    <a:lnTo>
                      <a:pt x="162" y="178"/>
                    </a:lnTo>
                    <a:lnTo>
                      <a:pt x="164" y="176"/>
                    </a:lnTo>
                    <a:lnTo>
                      <a:pt x="164" y="176"/>
                    </a:lnTo>
                    <a:lnTo>
                      <a:pt x="166" y="176"/>
                    </a:lnTo>
                    <a:lnTo>
                      <a:pt x="166" y="174"/>
                    </a:lnTo>
                    <a:lnTo>
                      <a:pt x="168" y="172"/>
                    </a:lnTo>
                    <a:lnTo>
                      <a:pt x="168" y="172"/>
                    </a:lnTo>
                    <a:lnTo>
                      <a:pt x="170" y="170"/>
                    </a:lnTo>
                    <a:lnTo>
                      <a:pt x="172" y="168"/>
                    </a:lnTo>
                    <a:lnTo>
                      <a:pt x="172" y="168"/>
                    </a:lnTo>
                    <a:lnTo>
                      <a:pt x="174" y="168"/>
                    </a:lnTo>
                    <a:lnTo>
                      <a:pt x="176" y="166"/>
                    </a:lnTo>
                    <a:lnTo>
                      <a:pt x="176" y="164"/>
                    </a:lnTo>
                    <a:lnTo>
                      <a:pt x="176" y="164"/>
                    </a:lnTo>
                    <a:lnTo>
                      <a:pt x="176" y="164"/>
                    </a:lnTo>
                    <a:lnTo>
                      <a:pt x="174" y="164"/>
                    </a:lnTo>
                    <a:lnTo>
                      <a:pt x="174" y="164"/>
                    </a:lnTo>
                    <a:lnTo>
                      <a:pt x="172" y="162"/>
                    </a:lnTo>
                    <a:lnTo>
                      <a:pt x="170" y="162"/>
                    </a:lnTo>
                    <a:lnTo>
                      <a:pt x="168" y="164"/>
                    </a:lnTo>
                    <a:lnTo>
                      <a:pt x="166" y="164"/>
                    </a:lnTo>
                    <a:lnTo>
                      <a:pt x="166" y="164"/>
                    </a:lnTo>
                    <a:lnTo>
                      <a:pt x="164" y="166"/>
                    </a:lnTo>
                    <a:lnTo>
                      <a:pt x="162" y="166"/>
                    </a:lnTo>
                    <a:lnTo>
                      <a:pt x="162" y="168"/>
                    </a:lnTo>
                    <a:lnTo>
                      <a:pt x="162" y="168"/>
                    </a:lnTo>
                    <a:lnTo>
                      <a:pt x="162" y="166"/>
                    </a:lnTo>
                    <a:lnTo>
                      <a:pt x="162" y="166"/>
                    </a:lnTo>
                    <a:lnTo>
                      <a:pt x="162" y="164"/>
                    </a:lnTo>
                    <a:lnTo>
                      <a:pt x="162" y="164"/>
                    </a:lnTo>
                    <a:lnTo>
                      <a:pt x="162" y="164"/>
                    </a:lnTo>
                    <a:lnTo>
                      <a:pt x="164" y="160"/>
                    </a:lnTo>
                    <a:lnTo>
                      <a:pt x="162" y="158"/>
                    </a:lnTo>
                    <a:lnTo>
                      <a:pt x="162" y="158"/>
                    </a:lnTo>
                    <a:lnTo>
                      <a:pt x="162" y="154"/>
                    </a:lnTo>
                    <a:lnTo>
                      <a:pt x="162" y="154"/>
                    </a:lnTo>
                    <a:lnTo>
                      <a:pt x="162" y="152"/>
                    </a:lnTo>
                    <a:lnTo>
                      <a:pt x="162" y="152"/>
                    </a:lnTo>
                    <a:lnTo>
                      <a:pt x="162" y="152"/>
                    </a:lnTo>
                    <a:lnTo>
                      <a:pt x="164" y="154"/>
                    </a:lnTo>
                    <a:lnTo>
                      <a:pt x="164" y="156"/>
                    </a:lnTo>
                    <a:lnTo>
                      <a:pt x="166" y="158"/>
                    </a:lnTo>
                    <a:lnTo>
                      <a:pt x="168" y="158"/>
                    </a:lnTo>
                    <a:lnTo>
                      <a:pt x="168" y="158"/>
                    </a:lnTo>
                    <a:lnTo>
                      <a:pt x="168" y="158"/>
                    </a:lnTo>
                    <a:lnTo>
                      <a:pt x="170" y="156"/>
                    </a:lnTo>
                    <a:lnTo>
                      <a:pt x="170" y="156"/>
                    </a:lnTo>
                    <a:lnTo>
                      <a:pt x="170" y="154"/>
                    </a:lnTo>
                    <a:lnTo>
                      <a:pt x="170" y="154"/>
                    </a:lnTo>
                    <a:lnTo>
                      <a:pt x="170" y="154"/>
                    </a:lnTo>
                    <a:lnTo>
                      <a:pt x="172" y="154"/>
                    </a:lnTo>
                    <a:lnTo>
                      <a:pt x="172" y="154"/>
                    </a:lnTo>
                    <a:lnTo>
                      <a:pt x="174" y="154"/>
                    </a:lnTo>
                    <a:lnTo>
                      <a:pt x="174" y="154"/>
                    </a:lnTo>
                    <a:lnTo>
                      <a:pt x="174" y="154"/>
                    </a:lnTo>
                    <a:lnTo>
                      <a:pt x="176" y="154"/>
                    </a:lnTo>
                    <a:lnTo>
                      <a:pt x="176" y="154"/>
                    </a:lnTo>
                    <a:lnTo>
                      <a:pt x="178" y="154"/>
                    </a:lnTo>
                    <a:lnTo>
                      <a:pt x="180" y="154"/>
                    </a:lnTo>
                    <a:lnTo>
                      <a:pt x="180" y="154"/>
                    </a:lnTo>
                    <a:lnTo>
                      <a:pt x="180" y="154"/>
                    </a:lnTo>
                    <a:lnTo>
                      <a:pt x="180" y="154"/>
                    </a:lnTo>
                    <a:lnTo>
                      <a:pt x="182" y="156"/>
                    </a:lnTo>
                    <a:lnTo>
                      <a:pt x="182" y="156"/>
                    </a:lnTo>
                    <a:lnTo>
                      <a:pt x="184" y="156"/>
                    </a:lnTo>
                    <a:lnTo>
                      <a:pt x="184" y="158"/>
                    </a:lnTo>
                    <a:lnTo>
                      <a:pt x="184" y="156"/>
                    </a:lnTo>
                    <a:lnTo>
                      <a:pt x="184" y="156"/>
                    </a:lnTo>
                    <a:lnTo>
                      <a:pt x="184" y="156"/>
                    </a:lnTo>
                    <a:lnTo>
                      <a:pt x="184" y="156"/>
                    </a:lnTo>
                    <a:lnTo>
                      <a:pt x="186" y="156"/>
                    </a:lnTo>
                    <a:lnTo>
                      <a:pt x="186" y="156"/>
                    </a:lnTo>
                    <a:lnTo>
                      <a:pt x="186" y="156"/>
                    </a:lnTo>
                    <a:lnTo>
                      <a:pt x="186" y="156"/>
                    </a:lnTo>
                    <a:lnTo>
                      <a:pt x="188" y="156"/>
                    </a:lnTo>
                    <a:lnTo>
                      <a:pt x="188" y="158"/>
                    </a:lnTo>
                    <a:lnTo>
                      <a:pt x="190" y="158"/>
                    </a:lnTo>
                    <a:lnTo>
                      <a:pt x="190" y="160"/>
                    </a:lnTo>
                    <a:lnTo>
                      <a:pt x="190" y="160"/>
                    </a:lnTo>
                    <a:lnTo>
                      <a:pt x="192" y="158"/>
                    </a:lnTo>
                    <a:lnTo>
                      <a:pt x="192" y="158"/>
                    </a:lnTo>
                    <a:lnTo>
                      <a:pt x="192" y="158"/>
                    </a:lnTo>
                    <a:lnTo>
                      <a:pt x="194" y="158"/>
                    </a:lnTo>
                    <a:lnTo>
                      <a:pt x="194" y="156"/>
                    </a:lnTo>
                    <a:lnTo>
                      <a:pt x="194" y="156"/>
                    </a:lnTo>
                    <a:lnTo>
                      <a:pt x="196" y="154"/>
                    </a:lnTo>
                    <a:lnTo>
                      <a:pt x="198" y="154"/>
                    </a:lnTo>
                    <a:lnTo>
                      <a:pt x="198" y="154"/>
                    </a:lnTo>
                    <a:lnTo>
                      <a:pt x="198" y="154"/>
                    </a:lnTo>
                    <a:lnTo>
                      <a:pt x="198" y="152"/>
                    </a:lnTo>
                    <a:lnTo>
                      <a:pt x="198" y="150"/>
                    </a:lnTo>
                    <a:lnTo>
                      <a:pt x="198" y="150"/>
                    </a:lnTo>
                    <a:lnTo>
                      <a:pt x="198" y="146"/>
                    </a:lnTo>
                    <a:lnTo>
                      <a:pt x="198" y="144"/>
                    </a:lnTo>
                    <a:lnTo>
                      <a:pt x="198" y="144"/>
                    </a:lnTo>
                    <a:lnTo>
                      <a:pt x="198" y="142"/>
                    </a:lnTo>
                    <a:lnTo>
                      <a:pt x="198" y="140"/>
                    </a:lnTo>
                    <a:lnTo>
                      <a:pt x="196" y="136"/>
                    </a:lnTo>
                    <a:lnTo>
                      <a:pt x="196" y="136"/>
                    </a:lnTo>
                    <a:lnTo>
                      <a:pt x="194" y="134"/>
                    </a:lnTo>
                    <a:lnTo>
                      <a:pt x="194" y="134"/>
                    </a:lnTo>
                    <a:lnTo>
                      <a:pt x="192" y="132"/>
                    </a:lnTo>
                    <a:lnTo>
                      <a:pt x="190" y="132"/>
                    </a:lnTo>
                    <a:lnTo>
                      <a:pt x="184" y="130"/>
                    </a:lnTo>
                    <a:lnTo>
                      <a:pt x="184" y="130"/>
                    </a:lnTo>
                    <a:lnTo>
                      <a:pt x="184" y="130"/>
                    </a:lnTo>
                    <a:lnTo>
                      <a:pt x="184" y="128"/>
                    </a:lnTo>
                    <a:lnTo>
                      <a:pt x="184" y="128"/>
                    </a:lnTo>
                    <a:lnTo>
                      <a:pt x="182" y="126"/>
                    </a:lnTo>
                    <a:lnTo>
                      <a:pt x="182" y="124"/>
                    </a:lnTo>
                    <a:lnTo>
                      <a:pt x="180" y="122"/>
                    </a:lnTo>
                    <a:lnTo>
                      <a:pt x="180" y="122"/>
                    </a:lnTo>
                    <a:lnTo>
                      <a:pt x="178" y="120"/>
                    </a:lnTo>
                    <a:lnTo>
                      <a:pt x="176" y="118"/>
                    </a:lnTo>
                    <a:lnTo>
                      <a:pt x="174" y="118"/>
                    </a:lnTo>
                    <a:lnTo>
                      <a:pt x="172" y="116"/>
                    </a:lnTo>
                    <a:lnTo>
                      <a:pt x="172" y="116"/>
                    </a:lnTo>
                    <a:lnTo>
                      <a:pt x="170" y="114"/>
                    </a:lnTo>
                    <a:lnTo>
                      <a:pt x="170" y="112"/>
                    </a:lnTo>
                    <a:lnTo>
                      <a:pt x="168" y="108"/>
                    </a:lnTo>
                    <a:lnTo>
                      <a:pt x="168" y="106"/>
                    </a:lnTo>
                    <a:lnTo>
                      <a:pt x="170" y="106"/>
                    </a:lnTo>
                    <a:lnTo>
                      <a:pt x="170" y="106"/>
                    </a:lnTo>
                    <a:lnTo>
                      <a:pt x="170" y="104"/>
                    </a:lnTo>
                    <a:lnTo>
                      <a:pt x="172" y="104"/>
                    </a:lnTo>
                    <a:lnTo>
                      <a:pt x="172" y="104"/>
                    </a:lnTo>
                    <a:lnTo>
                      <a:pt x="174" y="104"/>
                    </a:lnTo>
                    <a:lnTo>
                      <a:pt x="176" y="104"/>
                    </a:lnTo>
                    <a:lnTo>
                      <a:pt x="178" y="104"/>
                    </a:lnTo>
                    <a:lnTo>
                      <a:pt x="178" y="102"/>
                    </a:lnTo>
                    <a:lnTo>
                      <a:pt x="178" y="102"/>
                    </a:lnTo>
                    <a:lnTo>
                      <a:pt x="178" y="102"/>
                    </a:lnTo>
                    <a:lnTo>
                      <a:pt x="180" y="100"/>
                    </a:lnTo>
                    <a:lnTo>
                      <a:pt x="180" y="96"/>
                    </a:lnTo>
                    <a:lnTo>
                      <a:pt x="178" y="92"/>
                    </a:lnTo>
                    <a:lnTo>
                      <a:pt x="178" y="92"/>
                    </a:lnTo>
                    <a:lnTo>
                      <a:pt x="178" y="86"/>
                    </a:lnTo>
                    <a:lnTo>
                      <a:pt x="178" y="84"/>
                    </a:lnTo>
                    <a:lnTo>
                      <a:pt x="180" y="80"/>
                    </a:lnTo>
                    <a:lnTo>
                      <a:pt x="180" y="80"/>
                    </a:lnTo>
                    <a:lnTo>
                      <a:pt x="180" y="78"/>
                    </a:lnTo>
                    <a:lnTo>
                      <a:pt x="180" y="76"/>
                    </a:lnTo>
                    <a:lnTo>
                      <a:pt x="178" y="70"/>
                    </a:lnTo>
                    <a:lnTo>
                      <a:pt x="178" y="70"/>
                    </a:lnTo>
                    <a:lnTo>
                      <a:pt x="178" y="68"/>
                    </a:lnTo>
                    <a:lnTo>
                      <a:pt x="178" y="68"/>
                    </a:lnTo>
                    <a:lnTo>
                      <a:pt x="178" y="64"/>
                    </a:lnTo>
                    <a:lnTo>
                      <a:pt x="180" y="62"/>
                    </a:lnTo>
                    <a:lnTo>
                      <a:pt x="180" y="60"/>
                    </a:lnTo>
                    <a:lnTo>
                      <a:pt x="180" y="60"/>
                    </a:lnTo>
                    <a:lnTo>
                      <a:pt x="182" y="56"/>
                    </a:lnTo>
                    <a:lnTo>
                      <a:pt x="182" y="54"/>
                    </a:lnTo>
                    <a:lnTo>
                      <a:pt x="180" y="52"/>
                    </a:lnTo>
                    <a:lnTo>
                      <a:pt x="180" y="50"/>
                    </a:lnTo>
                    <a:lnTo>
                      <a:pt x="178" y="50"/>
                    </a:lnTo>
                    <a:lnTo>
                      <a:pt x="178" y="50"/>
                    </a:lnTo>
                    <a:lnTo>
                      <a:pt x="176" y="48"/>
                    </a:lnTo>
                    <a:lnTo>
                      <a:pt x="176" y="46"/>
                    </a:lnTo>
                    <a:lnTo>
                      <a:pt x="176" y="46"/>
                    </a:lnTo>
                    <a:lnTo>
                      <a:pt x="174" y="44"/>
                    </a:lnTo>
                    <a:lnTo>
                      <a:pt x="172" y="42"/>
                    </a:lnTo>
                    <a:lnTo>
                      <a:pt x="172" y="42"/>
                    </a:lnTo>
                    <a:lnTo>
                      <a:pt x="170" y="40"/>
                    </a:lnTo>
                    <a:lnTo>
                      <a:pt x="168" y="38"/>
                    </a:lnTo>
                    <a:lnTo>
                      <a:pt x="164" y="36"/>
                    </a:lnTo>
                    <a:lnTo>
                      <a:pt x="164" y="36"/>
                    </a:lnTo>
                    <a:lnTo>
                      <a:pt x="162" y="34"/>
                    </a:lnTo>
                    <a:lnTo>
                      <a:pt x="160" y="34"/>
                    </a:lnTo>
                    <a:lnTo>
                      <a:pt x="158" y="34"/>
                    </a:lnTo>
                    <a:lnTo>
                      <a:pt x="156" y="34"/>
                    </a:lnTo>
                    <a:lnTo>
                      <a:pt x="156" y="34"/>
                    </a:lnTo>
                    <a:lnTo>
                      <a:pt x="154" y="36"/>
                    </a:lnTo>
                    <a:lnTo>
                      <a:pt x="152" y="38"/>
                    </a:lnTo>
                    <a:lnTo>
                      <a:pt x="150" y="42"/>
                    </a:lnTo>
                    <a:lnTo>
                      <a:pt x="148" y="42"/>
                    </a:lnTo>
                    <a:lnTo>
                      <a:pt x="148" y="44"/>
                    </a:lnTo>
                    <a:lnTo>
                      <a:pt x="148" y="44"/>
                    </a:lnTo>
                    <a:lnTo>
                      <a:pt x="148" y="46"/>
                    </a:lnTo>
                    <a:lnTo>
                      <a:pt x="148" y="46"/>
                    </a:lnTo>
                    <a:lnTo>
                      <a:pt x="148" y="48"/>
                    </a:lnTo>
                    <a:lnTo>
                      <a:pt x="150" y="52"/>
                    </a:lnTo>
                    <a:lnTo>
                      <a:pt x="150" y="52"/>
                    </a:lnTo>
                    <a:lnTo>
                      <a:pt x="150" y="54"/>
                    </a:lnTo>
                    <a:lnTo>
                      <a:pt x="150" y="54"/>
                    </a:lnTo>
                    <a:lnTo>
                      <a:pt x="150" y="56"/>
                    </a:lnTo>
                    <a:lnTo>
                      <a:pt x="148" y="58"/>
                    </a:lnTo>
                    <a:lnTo>
                      <a:pt x="148" y="58"/>
                    </a:lnTo>
                    <a:lnTo>
                      <a:pt x="148" y="60"/>
                    </a:lnTo>
                    <a:lnTo>
                      <a:pt x="148" y="60"/>
                    </a:lnTo>
                    <a:lnTo>
                      <a:pt x="148" y="64"/>
                    </a:lnTo>
                    <a:lnTo>
                      <a:pt x="148" y="66"/>
                    </a:lnTo>
                    <a:lnTo>
                      <a:pt x="148" y="66"/>
                    </a:lnTo>
                    <a:lnTo>
                      <a:pt x="148" y="66"/>
                    </a:lnTo>
                    <a:lnTo>
                      <a:pt x="146" y="68"/>
                    </a:lnTo>
                    <a:lnTo>
                      <a:pt x="146" y="68"/>
                    </a:lnTo>
                    <a:lnTo>
                      <a:pt x="146" y="68"/>
                    </a:lnTo>
                    <a:lnTo>
                      <a:pt x="142" y="68"/>
                    </a:lnTo>
                    <a:lnTo>
                      <a:pt x="142" y="68"/>
                    </a:lnTo>
                    <a:lnTo>
                      <a:pt x="142" y="68"/>
                    </a:lnTo>
                    <a:lnTo>
                      <a:pt x="140" y="68"/>
                    </a:lnTo>
                    <a:lnTo>
                      <a:pt x="138" y="68"/>
                    </a:lnTo>
                    <a:lnTo>
                      <a:pt x="138" y="68"/>
                    </a:lnTo>
                    <a:lnTo>
                      <a:pt x="136" y="68"/>
                    </a:lnTo>
                    <a:lnTo>
                      <a:pt x="136" y="68"/>
                    </a:lnTo>
                    <a:lnTo>
                      <a:pt x="136" y="66"/>
                    </a:lnTo>
                    <a:lnTo>
                      <a:pt x="136" y="66"/>
                    </a:lnTo>
                    <a:lnTo>
                      <a:pt x="136" y="62"/>
                    </a:lnTo>
                    <a:lnTo>
                      <a:pt x="136" y="60"/>
                    </a:lnTo>
                    <a:lnTo>
                      <a:pt x="136" y="60"/>
                    </a:lnTo>
                    <a:lnTo>
                      <a:pt x="136" y="56"/>
                    </a:lnTo>
                    <a:lnTo>
                      <a:pt x="136" y="54"/>
                    </a:lnTo>
                    <a:lnTo>
                      <a:pt x="136" y="54"/>
                    </a:lnTo>
                    <a:lnTo>
                      <a:pt x="136" y="50"/>
                    </a:lnTo>
                    <a:lnTo>
                      <a:pt x="138" y="50"/>
                    </a:lnTo>
                    <a:lnTo>
                      <a:pt x="138" y="48"/>
                    </a:lnTo>
                    <a:lnTo>
                      <a:pt x="138" y="48"/>
                    </a:lnTo>
                    <a:lnTo>
                      <a:pt x="136" y="46"/>
                    </a:lnTo>
                    <a:lnTo>
                      <a:pt x="136" y="44"/>
                    </a:lnTo>
                    <a:lnTo>
                      <a:pt x="136" y="44"/>
                    </a:lnTo>
                    <a:lnTo>
                      <a:pt x="136" y="42"/>
                    </a:lnTo>
                    <a:lnTo>
                      <a:pt x="136" y="40"/>
                    </a:lnTo>
                    <a:lnTo>
                      <a:pt x="136" y="38"/>
                    </a:lnTo>
                    <a:lnTo>
                      <a:pt x="136" y="38"/>
                    </a:lnTo>
                    <a:lnTo>
                      <a:pt x="134" y="36"/>
                    </a:lnTo>
                    <a:lnTo>
                      <a:pt x="132" y="36"/>
                    </a:lnTo>
                    <a:lnTo>
                      <a:pt x="128" y="32"/>
                    </a:lnTo>
                    <a:lnTo>
                      <a:pt x="128" y="32"/>
                    </a:lnTo>
                    <a:lnTo>
                      <a:pt x="126" y="30"/>
                    </a:lnTo>
                    <a:lnTo>
                      <a:pt x="124" y="30"/>
                    </a:lnTo>
                    <a:lnTo>
                      <a:pt x="122" y="30"/>
                    </a:lnTo>
                    <a:lnTo>
                      <a:pt x="122" y="30"/>
                    </a:lnTo>
                    <a:lnTo>
                      <a:pt x="120" y="30"/>
                    </a:lnTo>
                    <a:lnTo>
                      <a:pt x="120" y="32"/>
                    </a:lnTo>
                    <a:lnTo>
                      <a:pt x="120" y="32"/>
                    </a:lnTo>
                    <a:lnTo>
                      <a:pt x="120" y="34"/>
                    </a:lnTo>
                    <a:lnTo>
                      <a:pt x="120" y="34"/>
                    </a:lnTo>
                    <a:lnTo>
                      <a:pt x="122" y="36"/>
                    </a:lnTo>
                    <a:lnTo>
                      <a:pt x="122" y="38"/>
                    </a:lnTo>
                    <a:lnTo>
                      <a:pt x="122" y="38"/>
                    </a:lnTo>
                    <a:lnTo>
                      <a:pt x="120" y="40"/>
                    </a:lnTo>
                    <a:lnTo>
                      <a:pt x="120" y="40"/>
                    </a:lnTo>
                    <a:lnTo>
                      <a:pt x="122" y="42"/>
                    </a:lnTo>
                    <a:lnTo>
                      <a:pt x="122" y="42"/>
                    </a:lnTo>
                    <a:lnTo>
                      <a:pt x="122" y="44"/>
                    </a:lnTo>
                    <a:lnTo>
                      <a:pt x="124" y="46"/>
                    </a:lnTo>
                    <a:lnTo>
                      <a:pt x="122" y="46"/>
                    </a:lnTo>
                    <a:lnTo>
                      <a:pt x="122" y="46"/>
                    </a:lnTo>
                    <a:lnTo>
                      <a:pt x="122" y="46"/>
                    </a:lnTo>
                    <a:lnTo>
                      <a:pt x="122" y="46"/>
                    </a:lnTo>
                    <a:lnTo>
                      <a:pt x="122" y="46"/>
                    </a:lnTo>
                    <a:lnTo>
                      <a:pt x="120" y="46"/>
                    </a:lnTo>
                    <a:lnTo>
                      <a:pt x="118" y="46"/>
                    </a:lnTo>
                    <a:lnTo>
                      <a:pt x="118" y="46"/>
                    </a:lnTo>
                    <a:lnTo>
                      <a:pt x="116" y="44"/>
                    </a:lnTo>
                    <a:lnTo>
                      <a:pt x="114" y="44"/>
                    </a:lnTo>
                    <a:lnTo>
                      <a:pt x="112" y="44"/>
                    </a:lnTo>
                    <a:lnTo>
                      <a:pt x="110" y="46"/>
                    </a:lnTo>
                    <a:lnTo>
                      <a:pt x="110" y="46"/>
                    </a:lnTo>
                    <a:lnTo>
                      <a:pt x="104" y="46"/>
                    </a:lnTo>
                    <a:lnTo>
                      <a:pt x="102" y="48"/>
                    </a:lnTo>
                    <a:lnTo>
                      <a:pt x="98" y="48"/>
                    </a:lnTo>
                    <a:lnTo>
                      <a:pt x="98" y="48"/>
                    </a:lnTo>
                    <a:lnTo>
                      <a:pt x="98" y="48"/>
                    </a:lnTo>
                    <a:lnTo>
                      <a:pt x="96" y="48"/>
                    </a:lnTo>
                    <a:lnTo>
                      <a:pt x="94" y="48"/>
                    </a:lnTo>
                    <a:lnTo>
                      <a:pt x="94" y="46"/>
                    </a:lnTo>
                    <a:lnTo>
                      <a:pt x="94" y="46"/>
                    </a:lnTo>
                    <a:lnTo>
                      <a:pt x="94" y="46"/>
                    </a:lnTo>
                    <a:lnTo>
                      <a:pt x="96" y="46"/>
                    </a:lnTo>
                    <a:lnTo>
                      <a:pt x="96" y="44"/>
                    </a:lnTo>
                    <a:lnTo>
                      <a:pt x="96" y="44"/>
                    </a:lnTo>
                    <a:lnTo>
                      <a:pt x="102" y="44"/>
                    </a:lnTo>
                    <a:lnTo>
                      <a:pt x="106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10" y="42"/>
                    </a:lnTo>
                    <a:lnTo>
                      <a:pt x="112" y="40"/>
                    </a:lnTo>
                    <a:lnTo>
                      <a:pt x="112" y="40"/>
                    </a:lnTo>
                    <a:lnTo>
                      <a:pt x="112" y="40"/>
                    </a:lnTo>
                    <a:lnTo>
                      <a:pt x="114" y="38"/>
                    </a:lnTo>
                    <a:lnTo>
                      <a:pt x="114" y="38"/>
                    </a:lnTo>
                    <a:lnTo>
                      <a:pt x="114" y="36"/>
                    </a:lnTo>
                    <a:lnTo>
                      <a:pt x="114" y="36"/>
                    </a:lnTo>
                    <a:lnTo>
                      <a:pt x="112" y="36"/>
                    </a:lnTo>
                    <a:lnTo>
                      <a:pt x="112" y="36"/>
                    </a:lnTo>
                    <a:lnTo>
                      <a:pt x="112" y="36"/>
                    </a:lnTo>
                    <a:lnTo>
                      <a:pt x="112" y="34"/>
                    </a:lnTo>
                    <a:lnTo>
                      <a:pt x="112" y="32"/>
                    </a:lnTo>
                    <a:lnTo>
                      <a:pt x="112" y="32"/>
                    </a:lnTo>
                    <a:lnTo>
                      <a:pt x="110" y="32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28"/>
                    </a:lnTo>
                    <a:lnTo>
                      <a:pt x="106" y="26"/>
                    </a:lnTo>
                    <a:lnTo>
                      <a:pt x="104" y="24"/>
                    </a:lnTo>
                    <a:lnTo>
                      <a:pt x="102" y="22"/>
                    </a:lnTo>
                    <a:lnTo>
                      <a:pt x="102" y="22"/>
                    </a:lnTo>
                    <a:lnTo>
                      <a:pt x="100" y="22"/>
                    </a:lnTo>
                    <a:lnTo>
                      <a:pt x="98" y="22"/>
                    </a:lnTo>
                    <a:lnTo>
                      <a:pt x="98" y="24"/>
                    </a:lnTo>
                    <a:lnTo>
                      <a:pt x="98" y="24"/>
                    </a:lnTo>
                    <a:lnTo>
                      <a:pt x="96" y="24"/>
                    </a:lnTo>
                    <a:lnTo>
                      <a:pt x="94" y="24"/>
                    </a:lnTo>
                    <a:lnTo>
                      <a:pt x="94" y="24"/>
                    </a:lnTo>
                    <a:lnTo>
                      <a:pt x="92" y="26"/>
                    </a:lnTo>
                    <a:lnTo>
                      <a:pt x="92" y="26"/>
                    </a:lnTo>
                    <a:lnTo>
                      <a:pt x="92" y="26"/>
                    </a:lnTo>
                    <a:lnTo>
                      <a:pt x="92" y="28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0" y="30"/>
                    </a:lnTo>
                    <a:lnTo>
                      <a:pt x="90" y="30"/>
                    </a:lnTo>
                    <a:lnTo>
                      <a:pt x="90" y="28"/>
                    </a:lnTo>
                    <a:lnTo>
                      <a:pt x="88" y="26"/>
                    </a:lnTo>
                    <a:lnTo>
                      <a:pt x="88" y="26"/>
                    </a:lnTo>
                    <a:lnTo>
                      <a:pt x="88" y="26"/>
                    </a:lnTo>
                    <a:lnTo>
                      <a:pt x="86" y="26"/>
                    </a:lnTo>
                    <a:lnTo>
                      <a:pt x="84" y="24"/>
                    </a:lnTo>
                    <a:lnTo>
                      <a:pt x="84" y="24"/>
                    </a:lnTo>
                    <a:lnTo>
                      <a:pt x="84" y="24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6" y="20"/>
                    </a:lnTo>
                    <a:lnTo>
                      <a:pt x="88" y="20"/>
                    </a:lnTo>
                    <a:lnTo>
                      <a:pt x="88" y="18"/>
                    </a:lnTo>
                    <a:lnTo>
                      <a:pt x="88" y="16"/>
                    </a:lnTo>
                    <a:lnTo>
                      <a:pt x="88" y="12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6"/>
                    </a:lnTo>
                    <a:lnTo>
                      <a:pt x="88" y="6"/>
                    </a:lnTo>
                    <a:lnTo>
                      <a:pt x="88" y="6"/>
                    </a:lnTo>
                    <a:lnTo>
                      <a:pt x="86" y="4"/>
                    </a:lnTo>
                    <a:lnTo>
                      <a:pt x="84" y="2"/>
                    </a:lnTo>
                    <a:lnTo>
                      <a:pt x="80" y="2"/>
                    </a:lnTo>
                    <a:lnTo>
                      <a:pt x="80" y="2"/>
                    </a:lnTo>
                    <a:lnTo>
                      <a:pt x="78" y="0"/>
                    </a:lnTo>
                    <a:lnTo>
                      <a:pt x="76" y="2"/>
                    </a:lnTo>
                    <a:lnTo>
                      <a:pt x="74" y="2"/>
                    </a:lnTo>
                    <a:lnTo>
                      <a:pt x="72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91" name="Freeform 111"/>
              <p:cNvSpPr>
                <a:spLocks/>
              </p:cNvSpPr>
              <p:nvPr/>
            </p:nvSpPr>
            <p:spPr bwMode="auto">
              <a:xfrm>
                <a:off x="1539" y="1332"/>
                <a:ext cx="8" cy="10"/>
              </a:xfrm>
              <a:custGeom>
                <a:avLst/>
                <a:gdLst>
                  <a:gd name="T0" fmla="*/ 0 w 8"/>
                  <a:gd name="T1" fmla="*/ 4 h 10"/>
                  <a:gd name="T2" fmla="*/ 0 w 8"/>
                  <a:gd name="T3" fmla="*/ 4 h 10"/>
                  <a:gd name="T4" fmla="*/ 0 w 8"/>
                  <a:gd name="T5" fmla="*/ 6 h 10"/>
                  <a:gd name="T6" fmla="*/ 0 w 8"/>
                  <a:gd name="T7" fmla="*/ 8 h 10"/>
                  <a:gd name="T8" fmla="*/ 2 w 8"/>
                  <a:gd name="T9" fmla="*/ 10 h 10"/>
                  <a:gd name="T10" fmla="*/ 4 w 8"/>
                  <a:gd name="T11" fmla="*/ 10 h 10"/>
                  <a:gd name="T12" fmla="*/ 4 w 8"/>
                  <a:gd name="T13" fmla="*/ 10 h 10"/>
                  <a:gd name="T14" fmla="*/ 6 w 8"/>
                  <a:gd name="T15" fmla="*/ 10 h 10"/>
                  <a:gd name="T16" fmla="*/ 6 w 8"/>
                  <a:gd name="T17" fmla="*/ 10 h 10"/>
                  <a:gd name="T18" fmla="*/ 8 w 8"/>
                  <a:gd name="T19" fmla="*/ 10 h 10"/>
                  <a:gd name="T20" fmla="*/ 8 w 8"/>
                  <a:gd name="T21" fmla="*/ 8 h 10"/>
                  <a:gd name="T22" fmla="*/ 8 w 8"/>
                  <a:gd name="T23" fmla="*/ 8 h 10"/>
                  <a:gd name="T24" fmla="*/ 8 w 8"/>
                  <a:gd name="T25" fmla="*/ 8 h 10"/>
                  <a:gd name="T26" fmla="*/ 8 w 8"/>
                  <a:gd name="T27" fmla="*/ 4 h 10"/>
                  <a:gd name="T28" fmla="*/ 8 w 8"/>
                  <a:gd name="T29" fmla="*/ 2 h 10"/>
                  <a:gd name="T30" fmla="*/ 6 w 8"/>
                  <a:gd name="T31" fmla="*/ 0 h 10"/>
                  <a:gd name="T32" fmla="*/ 6 w 8"/>
                  <a:gd name="T33" fmla="*/ 0 h 10"/>
                  <a:gd name="T34" fmla="*/ 6 w 8"/>
                  <a:gd name="T35" fmla="*/ 0 h 10"/>
                  <a:gd name="T36" fmla="*/ 6 w 8"/>
                  <a:gd name="T37" fmla="*/ 0 h 10"/>
                  <a:gd name="T38" fmla="*/ 4 w 8"/>
                  <a:gd name="T39" fmla="*/ 0 h 10"/>
                  <a:gd name="T40" fmla="*/ 4 w 8"/>
                  <a:gd name="T41" fmla="*/ 2 h 10"/>
                  <a:gd name="T42" fmla="*/ 2 w 8"/>
                  <a:gd name="T43" fmla="*/ 4 h 10"/>
                  <a:gd name="T44" fmla="*/ 0 w 8"/>
                  <a:gd name="T45" fmla="*/ 4 h 10"/>
                  <a:gd name="T46" fmla="*/ 0 w 8"/>
                  <a:gd name="T47" fmla="*/ 4 h 10"/>
                  <a:gd name="T48" fmla="*/ 0 w 8"/>
                  <a:gd name="T49" fmla="*/ 4 h 10"/>
                  <a:gd name="T50" fmla="*/ 0 w 8"/>
                  <a:gd name="T51" fmla="*/ 4 h 10"/>
                  <a:gd name="T52" fmla="*/ 0 w 8"/>
                  <a:gd name="T53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8" h="10">
                    <a:moveTo>
                      <a:pt x="0" y="4"/>
                    </a:moveTo>
                    <a:lnTo>
                      <a:pt x="0" y="4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8" y="10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92" name="Freeform 113"/>
              <p:cNvSpPr>
                <a:spLocks/>
              </p:cNvSpPr>
              <p:nvPr/>
            </p:nvSpPr>
            <p:spPr bwMode="auto">
              <a:xfrm>
                <a:off x="1513" y="1376"/>
                <a:ext cx="10" cy="10"/>
              </a:xfrm>
              <a:custGeom>
                <a:avLst/>
                <a:gdLst>
                  <a:gd name="T0" fmla="*/ 0 w 10"/>
                  <a:gd name="T1" fmla="*/ 0 h 10"/>
                  <a:gd name="T2" fmla="*/ 0 w 10"/>
                  <a:gd name="T3" fmla="*/ 0 h 10"/>
                  <a:gd name="T4" fmla="*/ 0 w 10"/>
                  <a:gd name="T5" fmla="*/ 0 h 10"/>
                  <a:gd name="T6" fmla="*/ 0 w 10"/>
                  <a:gd name="T7" fmla="*/ 2 h 10"/>
                  <a:gd name="T8" fmla="*/ 0 w 10"/>
                  <a:gd name="T9" fmla="*/ 2 h 10"/>
                  <a:gd name="T10" fmla="*/ 0 w 10"/>
                  <a:gd name="T11" fmla="*/ 2 h 10"/>
                  <a:gd name="T12" fmla="*/ 0 w 10"/>
                  <a:gd name="T13" fmla="*/ 2 h 10"/>
                  <a:gd name="T14" fmla="*/ 2 w 10"/>
                  <a:gd name="T15" fmla="*/ 6 h 10"/>
                  <a:gd name="T16" fmla="*/ 2 w 10"/>
                  <a:gd name="T17" fmla="*/ 6 h 10"/>
                  <a:gd name="T18" fmla="*/ 2 w 10"/>
                  <a:gd name="T19" fmla="*/ 8 h 10"/>
                  <a:gd name="T20" fmla="*/ 2 w 10"/>
                  <a:gd name="T21" fmla="*/ 10 h 10"/>
                  <a:gd name="T22" fmla="*/ 2 w 10"/>
                  <a:gd name="T23" fmla="*/ 10 h 10"/>
                  <a:gd name="T24" fmla="*/ 4 w 10"/>
                  <a:gd name="T25" fmla="*/ 10 h 10"/>
                  <a:gd name="T26" fmla="*/ 4 w 10"/>
                  <a:gd name="T27" fmla="*/ 10 h 10"/>
                  <a:gd name="T28" fmla="*/ 6 w 10"/>
                  <a:gd name="T29" fmla="*/ 8 h 10"/>
                  <a:gd name="T30" fmla="*/ 8 w 10"/>
                  <a:gd name="T31" fmla="*/ 6 h 10"/>
                  <a:gd name="T32" fmla="*/ 8 w 10"/>
                  <a:gd name="T33" fmla="*/ 6 h 10"/>
                  <a:gd name="T34" fmla="*/ 10 w 10"/>
                  <a:gd name="T35" fmla="*/ 4 h 10"/>
                  <a:gd name="T36" fmla="*/ 10 w 10"/>
                  <a:gd name="T37" fmla="*/ 4 h 10"/>
                  <a:gd name="T38" fmla="*/ 10 w 10"/>
                  <a:gd name="T39" fmla="*/ 4 h 10"/>
                  <a:gd name="T40" fmla="*/ 10 w 10"/>
                  <a:gd name="T41" fmla="*/ 4 h 10"/>
                  <a:gd name="T42" fmla="*/ 10 w 10"/>
                  <a:gd name="T43" fmla="*/ 2 h 10"/>
                  <a:gd name="T44" fmla="*/ 10 w 10"/>
                  <a:gd name="T45" fmla="*/ 2 h 10"/>
                  <a:gd name="T46" fmla="*/ 6 w 10"/>
                  <a:gd name="T47" fmla="*/ 2 h 10"/>
                  <a:gd name="T48" fmla="*/ 2 w 10"/>
                  <a:gd name="T49" fmla="*/ 0 h 10"/>
                  <a:gd name="T50" fmla="*/ 0 w 10"/>
                  <a:gd name="T51" fmla="*/ 0 h 10"/>
                  <a:gd name="T52" fmla="*/ 0 w 10"/>
                  <a:gd name="T53" fmla="*/ 0 h 10"/>
                  <a:gd name="T54" fmla="*/ 0 w 10"/>
                  <a:gd name="T55" fmla="*/ 0 h 10"/>
                  <a:gd name="T56" fmla="*/ 0 w 10"/>
                  <a:gd name="T57" fmla="*/ 0 h 10"/>
                  <a:gd name="T58" fmla="*/ 0 w 10"/>
                  <a:gd name="T5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0" h="1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8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93" name="Freeform 115"/>
              <p:cNvSpPr>
                <a:spLocks/>
              </p:cNvSpPr>
              <p:nvPr/>
            </p:nvSpPr>
            <p:spPr bwMode="auto">
              <a:xfrm>
                <a:off x="1499" y="1376"/>
                <a:ext cx="8" cy="10"/>
              </a:xfrm>
              <a:custGeom>
                <a:avLst/>
                <a:gdLst>
                  <a:gd name="T0" fmla="*/ 2 w 8"/>
                  <a:gd name="T1" fmla="*/ 2 h 10"/>
                  <a:gd name="T2" fmla="*/ 2 w 8"/>
                  <a:gd name="T3" fmla="*/ 2 h 10"/>
                  <a:gd name="T4" fmla="*/ 0 w 8"/>
                  <a:gd name="T5" fmla="*/ 4 h 10"/>
                  <a:gd name="T6" fmla="*/ 0 w 8"/>
                  <a:gd name="T7" fmla="*/ 6 h 10"/>
                  <a:gd name="T8" fmla="*/ 0 w 8"/>
                  <a:gd name="T9" fmla="*/ 8 h 10"/>
                  <a:gd name="T10" fmla="*/ 2 w 8"/>
                  <a:gd name="T11" fmla="*/ 8 h 10"/>
                  <a:gd name="T12" fmla="*/ 2 w 8"/>
                  <a:gd name="T13" fmla="*/ 8 h 10"/>
                  <a:gd name="T14" fmla="*/ 2 w 8"/>
                  <a:gd name="T15" fmla="*/ 8 h 10"/>
                  <a:gd name="T16" fmla="*/ 4 w 8"/>
                  <a:gd name="T17" fmla="*/ 10 h 10"/>
                  <a:gd name="T18" fmla="*/ 6 w 8"/>
                  <a:gd name="T19" fmla="*/ 10 h 10"/>
                  <a:gd name="T20" fmla="*/ 8 w 8"/>
                  <a:gd name="T21" fmla="*/ 10 h 10"/>
                  <a:gd name="T22" fmla="*/ 8 w 8"/>
                  <a:gd name="T23" fmla="*/ 10 h 10"/>
                  <a:gd name="T24" fmla="*/ 8 w 8"/>
                  <a:gd name="T25" fmla="*/ 8 h 10"/>
                  <a:gd name="T26" fmla="*/ 8 w 8"/>
                  <a:gd name="T27" fmla="*/ 8 h 10"/>
                  <a:gd name="T28" fmla="*/ 8 w 8"/>
                  <a:gd name="T29" fmla="*/ 8 h 10"/>
                  <a:gd name="T30" fmla="*/ 8 w 8"/>
                  <a:gd name="T31" fmla="*/ 6 h 10"/>
                  <a:gd name="T32" fmla="*/ 8 w 8"/>
                  <a:gd name="T33" fmla="*/ 6 h 10"/>
                  <a:gd name="T34" fmla="*/ 8 w 8"/>
                  <a:gd name="T35" fmla="*/ 4 h 10"/>
                  <a:gd name="T36" fmla="*/ 8 w 8"/>
                  <a:gd name="T37" fmla="*/ 4 h 10"/>
                  <a:gd name="T38" fmla="*/ 8 w 8"/>
                  <a:gd name="T39" fmla="*/ 4 h 10"/>
                  <a:gd name="T40" fmla="*/ 6 w 8"/>
                  <a:gd name="T41" fmla="*/ 2 h 10"/>
                  <a:gd name="T42" fmla="*/ 6 w 8"/>
                  <a:gd name="T43" fmla="*/ 0 h 10"/>
                  <a:gd name="T44" fmla="*/ 6 w 8"/>
                  <a:gd name="T45" fmla="*/ 0 h 10"/>
                  <a:gd name="T46" fmla="*/ 4 w 8"/>
                  <a:gd name="T47" fmla="*/ 0 h 10"/>
                  <a:gd name="T48" fmla="*/ 4 w 8"/>
                  <a:gd name="T49" fmla="*/ 0 h 10"/>
                  <a:gd name="T50" fmla="*/ 4 w 8"/>
                  <a:gd name="T51" fmla="*/ 0 h 10"/>
                  <a:gd name="T52" fmla="*/ 2 w 8"/>
                  <a:gd name="T53" fmla="*/ 0 h 10"/>
                  <a:gd name="T54" fmla="*/ 2 w 8"/>
                  <a:gd name="T55" fmla="*/ 2 h 10"/>
                  <a:gd name="T56" fmla="*/ 2 w 8"/>
                  <a:gd name="T57" fmla="*/ 2 h 10"/>
                  <a:gd name="T58" fmla="*/ 2 w 8"/>
                  <a:gd name="T59" fmla="*/ 2 h 10"/>
                  <a:gd name="T60" fmla="*/ 2 w 8"/>
                  <a:gd name="T61" fmla="*/ 2 h 10"/>
                  <a:gd name="T62" fmla="*/ 2 w 8"/>
                  <a:gd name="T63" fmla="*/ 2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8" h="10">
                    <a:moveTo>
                      <a:pt x="2" y="2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94" name="Freeform 117"/>
              <p:cNvSpPr>
                <a:spLocks/>
              </p:cNvSpPr>
              <p:nvPr/>
            </p:nvSpPr>
            <p:spPr bwMode="auto">
              <a:xfrm>
                <a:off x="1541" y="1244"/>
                <a:ext cx="72" cy="80"/>
              </a:xfrm>
              <a:custGeom>
                <a:avLst/>
                <a:gdLst>
                  <a:gd name="T0" fmla="*/ 52 w 72"/>
                  <a:gd name="T1" fmla="*/ 10 h 80"/>
                  <a:gd name="T2" fmla="*/ 48 w 72"/>
                  <a:gd name="T3" fmla="*/ 8 h 80"/>
                  <a:gd name="T4" fmla="*/ 44 w 72"/>
                  <a:gd name="T5" fmla="*/ 4 h 80"/>
                  <a:gd name="T6" fmla="*/ 34 w 72"/>
                  <a:gd name="T7" fmla="*/ 4 h 80"/>
                  <a:gd name="T8" fmla="*/ 30 w 72"/>
                  <a:gd name="T9" fmla="*/ 6 h 80"/>
                  <a:gd name="T10" fmla="*/ 28 w 72"/>
                  <a:gd name="T11" fmla="*/ 8 h 80"/>
                  <a:gd name="T12" fmla="*/ 24 w 72"/>
                  <a:gd name="T13" fmla="*/ 8 h 80"/>
                  <a:gd name="T14" fmla="*/ 22 w 72"/>
                  <a:gd name="T15" fmla="*/ 12 h 80"/>
                  <a:gd name="T16" fmla="*/ 26 w 72"/>
                  <a:gd name="T17" fmla="*/ 20 h 80"/>
                  <a:gd name="T18" fmla="*/ 26 w 72"/>
                  <a:gd name="T19" fmla="*/ 24 h 80"/>
                  <a:gd name="T20" fmla="*/ 22 w 72"/>
                  <a:gd name="T21" fmla="*/ 28 h 80"/>
                  <a:gd name="T22" fmla="*/ 20 w 72"/>
                  <a:gd name="T23" fmla="*/ 26 h 80"/>
                  <a:gd name="T24" fmla="*/ 18 w 72"/>
                  <a:gd name="T25" fmla="*/ 26 h 80"/>
                  <a:gd name="T26" fmla="*/ 18 w 72"/>
                  <a:gd name="T27" fmla="*/ 30 h 80"/>
                  <a:gd name="T28" fmla="*/ 14 w 72"/>
                  <a:gd name="T29" fmla="*/ 28 h 80"/>
                  <a:gd name="T30" fmla="*/ 10 w 72"/>
                  <a:gd name="T31" fmla="*/ 22 h 80"/>
                  <a:gd name="T32" fmla="*/ 4 w 72"/>
                  <a:gd name="T33" fmla="*/ 24 h 80"/>
                  <a:gd name="T34" fmla="*/ 0 w 72"/>
                  <a:gd name="T35" fmla="*/ 30 h 80"/>
                  <a:gd name="T36" fmla="*/ 6 w 72"/>
                  <a:gd name="T37" fmla="*/ 36 h 80"/>
                  <a:gd name="T38" fmla="*/ 6 w 72"/>
                  <a:gd name="T39" fmla="*/ 42 h 80"/>
                  <a:gd name="T40" fmla="*/ 8 w 72"/>
                  <a:gd name="T41" fmla="*/ 50 h 80"/>
                  <a:gd name="T42" fmla="*/ 14 w 72"/>
                  <a:gd name="T43" fmla="*/ 54 h 80"/>
                  <a:gd name="T44" fmla="*/ 18 w 72"/>
                  <a:gd name="T45" fmla="*/ 56 h 80"/>
                  <a:gd name="T46" fmla="*/ 16 w 72"/>
                  <a:gd name="T47" fmla="*/ 64 h 80"/>
                  <a:gd name="T48" fmla="*/ 18 w 72"/>
                  <a:gd name="T49" fmla="*/ 72 h 80"/>
                  <a:gd name="T50" fmla="*/ 16 w 72"/>
                  <a:gd name="T51" fmla="*/ 76 h 80"/>
                  <a:gd name="T52" fmla="*/ 18 w 72"/>
                  <a:gd name="T53" fmla="*/ 80 h 80"/>
                  <a:gd name="T54" fmla="*/ 26 w 72"/>
                  <a:gd name="T55" fmla="*/ 78 h 80"/>
                  <a:gd name="T56" fmla="*/ 30 w 72"/>
                  <a:gd name="T57" fmla="*/ 76 h 80"/>
                  <a:gd name="T58" fmla="*/ 30 w 72"/>
                  <a:gd name="T59" fmla="*/ 68 h 80"/>
                  <a:gd name="T60" fmla="*/ 30 w 72"/>
                  <a:gd name="T61" fmla="*/ 64 h 80"/>
                  <a:gd name="T62" fmla="*/ 34 w 72"/>
                  <a:gd name="T63" fmla="*/ 62 h 80"/>
                  <a:gd name="T64" fmla="*/ 34 w 72"/>
                  <a:gd name="T65" fmla="*/ 68 h 80"/>
                  <a:gd name="T66" fmla="*/ 38 w 72"/>
                  <a:gd name="T67" fmla="*/ 72 h 80"/>
                  <a:gd name="T68" fmla="*/ 46 w 72"/>
                  <a:gd name="T69" fmla="*/ 70 h 80"/>
                  <a:gd name="T70" fmla="*/ 52 w 72"/>
                  <a:gd name="T71" fmla="*/ 62 h 80"/>
                  <a:gd name="T72" fmla="*/ 54 w 72"/>
                  <a:gd name="T73" fmla="*/ 56 h 80"/>
                  <a:gd name="T74" fmla="*/ 50 w 72"/>
                  <a:gd name="T75" fmla="*/ 52 h 80"/>
                  <a:gd name="T76" fmla="*/ 56 w 72"/>
                  <a:gd name="T77" fmla="*/ 48 h 80"/>
                  <a:gd name="T78" fmla="*/ 56 w 72"/>
                  <a:gd name="T79" fmla="*/ 44 h 80"/>
                  <a:gd name="T80" fmla="*/ 54 w 72"/>
                  <a:gd name="T81" fmla="*/ 38 h 80"/>
                  <a:gd name="T82" fmla="*/ 56 w 72"/>
                  <a:gd name="T83" fmla="*/ 34 h 80"/>
                  <a:gd name="T84" fmla="*/ 50 w 72"/>
                  <a:gd name="T85" fmla="*/ 30 h 80"/>
                  <a:gd name="T86" fmla="*/ 46 w 72"/>
                  <a:gd name="T87" fmla="*/ 30 h 80"/>
                  <a:gd name="T88" fmla="*/ 42 w 72"/>
                  <a:gd name="T89" fmla="*/ 36 h 80"/>
                  <a:gd name="T90" fmla="*/ 40 w 72"/>
                  <a:gd name="T91" fmla="*/ 38 h 80"/>
                  <a:gd name="T92" fmla="*/ 38 w 72"/>
                  <a:gd name="T93" fmla="*/ 38 h 80"/>
                  <a:gd name="T94" fmla="*/ 42 w 72"/>
                  <a:gd name="T95" fmla="*/ 30 h 80"/>
                  <a:gd name="T96" fmla="*/ 48 w 72"/>
                  <a:gd name="T97" fmla="*/ 26 h 80"/>
                  <a:gd name="T98" fmla="*/ 56 w 72"/>
                  <a:gd name="T99" fmla="*/ 26 h 80"/>
                  <a:gd name="T100" fmla="*/ 66 w 72"/>
                  <a:gd name="T101" fmla="*/ 22 h 80"/>
                  <a:gd name="T102" fmla="*/ 72 w 72"/>
                  <a:gd name="T103" fmla="*/ 18 h 80"/>
                  <a:gd name="T104" fmla="*/ 68 w 72"/>
                  <a:gd name="T105" fmla="*/ 16 h 80"/>
                  <a:gd name="T106" fmla="*/ 68 w 72"/>
                  <a:gd name="T107" fmla="*/ 14 h 80"/>
                  <a:gd name="T108" fmla="*/ 70 w 72"/>
                  <a:gd name="T109" fmla="*/ 10 h 80"/>
                  <a:gd name="T110" fmla="*/ 62 w 72"/>
                  <a:gd name="T111" fmla="*/ 8 h 80"/>
                  <a:gd name="T112" fmla="*/ 58 w 72"/>
                  <a:gd name="T113" fmla="*/ 6 h 80"/>
                  <a:gd name="T114" fmla="*/ 62 w 72"/>
                  <a:gd name="T115" fmla="*/ 4 h 80"/>
                  <a:gd name="T116" fmla="*/ 56 w 72"/>
                  <a:gd name="T117" fmla="*/ 0 h 80"/>
                  <a:gd name="T118" fmla="*/ 54 w 72"/>
                  <a:gd name="T119" fmla="*/ 2 h 80"/>
                  <a:gd name="T120" fmla="*/ 52 w 72"/>
                  <a:gd name="T121" fmla="*/ 8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72" h="80">
                    <a:moveTo>
                      <a:pt x="52" y="8"/>
                    </a:move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0" y="10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6" y="6"/>
                    </a:lnTo>
                    <a:lnTo>
                      <a:pt x="46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2" y="2"/>
                    </a:lnTo>
                    <a:lnTo>
                      <a:pt x="40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4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6"/>
                    </a:lnTo>
                    <a:lnTo>
                      <a:pt x="32" y="6"/>
                    </a:lnTo>
                    <a:lnTo>
                      <a:pt x="30" y="6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2"/>
                    </a:lnTo>
                    <a:lnTo>
                      <a:pt x="22" y="14"/>
                    </a:lnTo>
                    <a:lnTo>
                      <a:pt x="22" y="16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6" y="20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4"/>
                    </a:lnTo>
                    <a:lnTo>
                      <a:pt x="26" y="24"/>
                    </a:lnTo>
                    <a:lnTo>
                      <a:pt x="26" y="24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8"/>
                    </a:lnTo>
                    <a:lnTo>
                      <a:pt x="22" y="28"/>
                    </a:lnTo>
                    <a:lnTo>
                      <a:pt x="22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4" y="30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24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8" y="22"/>
                    </a:lnTo>
                    <a:lnTo>
                      <a:pt x="6" y="22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2" y="24"/>
                    </a:lnTo>
                    <a:lnTo>
                      <a:pt x="0" y="26"/>
                    </a:lnTo>
                    <a:lnTo>
                      <a:pt x="0" y="28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2"/>
                    </a:lnTo>
                    <a:lnTo>
                      <a:pt x="2" y="32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40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4"/>
                    </a:lnTo>
                    <a:lnTo>
                      <a:pt x="6" y="46"/>
                    </a:lnTo>
                    <a:lnTo>
                      <a:pt x="6" y="48"/>
                    </a:lnTo>
                    <a:lnTo>
                      <a:pt x="8" y="50"/>
                    </a:lnTo>
                    <a:lnTo>
                      <a:pt x="8" y="50"/>
                    </a:lnTo>
                    <a:lnTo>
                      <a:pt x="8" y="52"/>
                    </a:lnTo>
                    <a:lnTo>
                      <a:pt x="10" y="52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6" y="54"/>
                    </a:lnTo>
                    <a:lnTo>
                      <a:pt x="16" y="56"/>
                    </a:lnTo>
                    <a:lnTo>
                      <a:pt x="18" y="56"/>
                    </a:lnTo>
                    <a:lnTo>
                      <a:pt x="18" y="56"/>
                    </a:lnTo>
                    <a:lnTo>
                      <a:pt x="18" y="58"/>
                    </a:lnTo>
                    <a:lnTo>
                      <a:pt x="16" y="60"/>
                    </a:lnTo>
                    <a:lnTo>
                      <a:pt x="16" y="62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8" y="66"/>
                    </a:lnTo>
                    <a:lnTo>
                      <a:pt x="18" y="68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72"/>
                    </a:lnTo>
                    <a:lnTo>
                      <a:pt x="18" y="72"/>
                    </a:lnTo>
                    <a:lnTo>
                      <a:pt x="16" y="74"/>
                    </a:lnTo>
                    <a:lnTo>
                      <a:pt x="16" y="76"/>
                    </a:lnTo>
                    <a:lnTo>
                      <a:pt x="16" y="76"/>
                    </a:lnTo>
                    <a:lnTo>
                      <a:pt x="16" y="76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8" y="80"/>
                    </a:lnTo>
                    <a:lnTo>
                      <a:pt x="18" y="80"/>
                    </a:lnTo>
                    <a:lnTo>
                      <a:pt x="20" y="80"/>
                    </a:lnTo>
                    <a:lnTo>
                      <a:pt x="22" y="80"/>
                    </a:lnTo>
                    <a:lnTo>
                      <a:pt x="22" y="80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8" y="78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68"/>
                    </a:lnTo>
                    <a:lnTo>
                      <a:pt x="30" y="68"/>
                    </a:lnTo>
                    <a:lnTo>
                      <a:pt x="30" y="66"/>
                    </a:lnTo>
                    <a:lnTo>
                      <a:pt x="30" y="64"/>
                    </a:lnTo>
                    <a:lnTo>
                      <a:pt x="30" y="64"/>
                    </a:lnTo>
                    <a:lnTo>
                      <a:pt x="30" y="64"/>
                    </a:lnTo>
                    <a:lnTo>
                      <a:pt x="32" y="62"/>
                    </a:lnTo>
                    <a:lnTo>
                      <a:pt x="34" y="60"/>
                    </a:lnTo>
                    <a:lnTo>
                      <a:pt x="34" y="60"/>
                    </a:lnTo>
                    <a:lnTo>
                      <a:pt x="34" y="60"/>
                    </a:lnTo>
                    <a:lnTo>
                      <a:pt x="34" y="62"/>
                    </a:lnTo>
                    <a:lnTo>
                      <a:pt x="34" y="64"/>
                    </a:lnTo>
                    <a:lnTo>
                      <a:pt x="32" y="66"/>
                    </a:lnTo>
                    <a:lnTo>
                      <a:pt x="32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34" y="70"/>
                    </a:lnTo>
                    <a:lnTo>
                      <a:pt x="34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40" y="72"/>
                    </a:lnTo>
                    <a:lnTo>
                      <a:pt x="42" y="72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8" y="68"/>
                    </a:lnTo>
                    <a:lnTo>
                      <a:pt x="50" y="66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2"/>
                    </a:lnTo>
                    <a:lnTo>
                      <a:pt x="54" y="60"/>
                    </a:lnTo>
                    <a:lnTo>
                      <a:pt x="54" y="58"/>
                    </a:lnTo>
                    <a:lnTo>
                      <a:pt x="54" y="56"/>
                    </a:lnTo>
                    <a:lnTo>
                      <a:pt x="54" y="56"/>
                    </a:lnTo>
                    <a:lnTo>
                      <a:pt x="54" y="56"/>
                    </a:lnTo>
                    <a:lnTo>
                      <a:pt x="52" y="54"/>
                    </a:lnTo>
                    <a:lnTo>
                      <a:pt x="50" y="54"/>
                    </a:lnTo>
                    <a:lnTo>
                      <a:pt x="50" y="52"/>
                    </a:lnTo>
                    <a:lnTo>
                      <a:pt x="50" y="52"/>
                    </a:lnTo>
                    <a:lnTo>
                      <a:pt x="50" y="52"/>
                    </a:lnTo>
                    <a:lnTo>
                      <a:pt x="50" y="50"/>
                    </a:lnTo>
                    <a:lnTo>
                      <a:pt x="50" y="50"/>
                    </a:lnTo>
                    <a:lnTo>
                      <a:pt x="52" y="48"/>
                    </a:lnTo>
                    <a:lnTo>
                      <a:pt x="54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6"/>
                    </a:lnTo>
                    <a:lnTo>
                      <a:pt x="58" y="46"/>
                    </a:lnTo>
                    <a:lnTo>
                      <a:pt x="56" y="46"/>
                    </a:lnTo>
                    <a:lnTo>
                      <a:pt x="56" y="44"/>
                    </a:lnTo>
                    <a:lnTo>
                      <a:pt x="56" y="42"/>
                    </a:lnTo>
                    <a:lnTo>
                      <a:pt x="54" y="40"/>
                    </a:lnTo>
                    <a:lnTo>
                      <a:pt x="54" y="40"/>
                    </a:lnTo>
                    <a:lnTo>
                      <a:pt x="54" y="40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4"/>
                    </a:lnTo>
                    <a:lnTo>
                      <a:pt x="54" y="34"/>
                    </a:lnTo>
                    <a:lnTo>
                      <a:pt x="54" y="34"/>
                    </a:lnTo>
                    <a:lnTo>
                      <a:pt x="54" y="32"/>
                    </a:lnTo>
                    <a:lnTo>
                      <a:pt x="52" y="32"/>
                    </a:lnTo>
                    <a:lnTo>
                      <a:pt x="50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28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2" y="34"/>
                    </a:lnTo>
                    <a:lnTo>
                      <a:pt x="42" y="36"/>
                    </a:lnTo>
                    <a:lnTo>
                      <a:pt x="42" y="36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38" y="40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2" y="30"/>
                    </a:lnTo>
                    <a:lnTo>
                      <a:pt x="42" y="28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6" y="26"/>
                    </a:lnTo>
                    <a:lnTo>
                      <a:pt x="48" y="26"/>
                    </a:lnTo>
                    <a:lnTo>
                      <a:pt x="50" y="26"/>
                    </a:lnTo>
                    <a:lnTo>
                      <a:pt x="50" y="26"/>
                    </a:lnTo>
                    <a:lnTo>
                      <a:pt x="52" y="26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4"/>
                    </a:lnTo>
                    <a:lnTo>
                      <a:pt x="58" y="24"/>
                    </a:lnTo>
                    <a:lnTo>
                      <a:pt x="58" y="24"/>
                    </a:lnTo>
                    <a:lnTo>
                      <a:pt x="62" y="22"/>
                    </a:lnTo>
                    <a:lnTo>
                      <a:pt x="66" y="22"/>
                    </a:lnTo>
                    <a:lnTo>
                      <a:pt x="66" y="22"/>
                    </a:lnTo>
                    <a:lnTo>
                      <a:pt x="70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0" y="18"/>
                    </a:lnTo>
                    <a:lnTo>
                      <a:pt x="68" y="16"/>
                    </a:lnTo>
                    <a:lnTo>
                      <a:pt x="68" y="16"/>
                    </a:lnTo>
                    <a:lnTo>
                      <a:pt x="68" y="16"/>
                    </a:lnTo>
                    <a:lnTo>
                      <a:pt x="66" y="16"/>
                    </a:lnTo>
                    <a:lnTo>
                      <a:pt x="66" y="16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2"/>
                    </a:lnTo>
                    <a:lnTo>
                      <a:pt x="70" y="12"/>
                    </a:lnTo>
                    <a:lnTo>
                      <a:pt x="70" y="10"/>
                    </a:lnTo>
                    <a:lnTo>
                      <a:pt x="70" y="10"/>
                    </a:lnTo>
                    <a:lnTo>
                      <a:pt x="68" y="10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6" y="8"/>
                    </a:lnTo>
                    <a:lnTo>
                      <a:pt x="62" y="8"/>
                    </a:lnTo>
                    <a:lnTo>
                      <a:pt x="62" y="8"/>
                    </a:lnTo>
                    <a:lnTo>
                      <a:pt x="62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6"/>
                    </a:lnTo>
                    <a:lnTo>
                      <a:pt x="58" y="6"/>
                    </a:lnTo>
                    <a:lnTo>
                      <a:pt x="60" y="6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2"/>
                    </a:lnTo>
                    <a:lnTo>
                      <a:pt x="60" y="2"/>
                    </a:lnTo>
                    <a:lnTo>
                      <a:pt x="58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4" y="0"/>
                    </a:lnTo>
                    <a:lnTo>
                      <a:pt x="54" y="2"/>
                    </a:lnTo>
                    <a:lnTo>
                      <a:pt x="54" y="2"/>
                    </a:lnTo>
                    <a:lnTo>
                      <a:pt x="52" y="4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95" name="Freeform 119"/>
              <p:cNvSpPr>
                <a:spLocks/>
              </p:cNvSpPr>
              <p:nvPr/>
            </p:nvSpPr>
            <p:spPr bwMode="auto">
              <a:xfrm>
                <a:off x="1503" y="1226"/>
                <a:ext cx="28" cy="26"/>
              </a:xfrm>
              <a:custGeom>
                <a:avLst/>
                <a:gdLst>
                  <a:gd name="T0" fmla="*/ 20 w 28"/>
                  <a:gd name="T1" fmla="*/ 6 h 26"/>
                  <a:gd name="T2" fmla="*/ 18 w 28"/>
                  <a:gd name="T3" fmla="*/ 6 h 26"/>
                  <a:gd name="T4" fmla="*/ 16 w 28"/>
                  <a:gd name="T5" fmla="*/ 6 h 26"/>
                  <a:gd name="T6" fmla="*/ 10 w 28"/>
                  <a:gd name="T7" fmla="*/ 2 h 26"/>
                  <a:gd name="T8" fmla="*/ 10 w 28"/>
                  <a:gd name="T9" fmla="*/ 2 h 26"/>
                  <a:gd name="T10" fmla="*/ 6 w 28"/>
                  <a:gd name="T11" fmla="*/ 0 h 26"/>
                  <a:gd name="T12" fmla="*/ 4 w 28"/>
                  <a:gd name="T13" fmla="*/ 0 h 26"/>
                  <a:gd name="T14" fmla="*/ 4 w 28"/>
                  <a:gd name="T15" fmla="*/ 2 h 26"/>
                  <a:gd name="T16" fmla="*/ 4 w 28"/>
                  <a:gd name="T17" fmla="*/ 2 h 26"/>
                  <a:gd name="T18" fmla="*/ 0 w 28"/>
                  <a:gd name="T19" fmla="*/ 6 h 26"/>
                  <a:gd name="T20" fmla="*/ 0 w 28"/>
                  <a:gd name="T21" fmla="*/ 6 h 26"/>
                  <a:gd name="T22" fmla="*/ 2 w 28"/>
                  <a:gd name="T23" fmla="*/ 10 h 26"/>
                  <a:gd name="T24" fmla="*/ 4 w 28"/>
                  <a:gd name="T25" fmla="*/ 12 h 26"/>
                  <a:gd name="T26" fmla="*/ 6 w 28"/>
                  <a:gd name="T27" fmla="*/ 16 h 26"/>
                  <a:gd name="T28" fmla="*/ 6 w 28"/>
                  <a:gd name="T29" fmla="*/ 18 h 26"/>
                  <a:gd name="T30" fmla="*/ 8 w 28"/>
                  <a:gd name="T31" fmla="*/ 20 h 26"/>
                  <a:gd name="T32" fmla="*/ 10 w 28"/>
                  <a:gd name="T33" fmla="*/ 22 h 26"/>
                  <a:gd name="T34" fmla="*/ 10 w 28"/>
                  <a:gd name="T35" fmla="*/ 24 h 26"/>
                  <a:gd name="T36" fmla="*/ 12 w 28"/>
                  <a:gd name="T37" fmla="*/ 26 h 26"/>
                  <a:gd name="T38" fmla="*/ 12 w 28"/>
                  <a:gd name="T39" fmla="*/ 26 h 26"/>
                  <a:gd name="T40" fmla="*/ 16 w 28"/>
                  <a:gd name="T41" fmla="*/ 26 h 26"/>
                  <a:gd name="T42" fmla="*/ 18 w 28"/>
                  <a:gd name="T43" fmla="*/ 24 h 26"/>
                  <a:gd name="T44" fmla="*/ 24 w 28"/>
                  <a:gd name="T45" fmla="*/ 20 h 26"/>
                  <a:gd name="T46" fmla="*/ 26 w 28"/>
                  <a:gd name="T47" fmla="*/ 18 h 26"/>
                  <a:gd name="T48" fmla="*/ 28 w 28"/>
                  <a:gd name="T49" fmla="*/ 16 h 26"/>
                  <a:gd name="T50" fmla="*/ 28 w 28"/>
                  <a:gd name="T51" fmla="*/ 14 h 26"/>
                  <a:gd name="T52" fmla="*/ 26 w 28"/>
                  <a:gd name="T53" fmla="*/ 12 h 26"/>
                  <a:gd name="T54" fmla="*/ 26 w 28"/>
                  <a:gd name="T55" fmla="*/ 10 h 26"/>
                  <a:gd name="T56" fmla="*/ 24 w 28"/>
                  <a:gd name="T57" fmla="*/ 6 h 26"/>
                  <a:gd name="T58" fmla="*/ 22 w 28"/>
                  <a:gd name="T59" fmla="*/ 6 h 26"/>
                  <a:gd name="T60" fmla="*/ 22 w 28"/>
                  <a:gd name="T61" fmla="*/ 6 h 26"/>
                  <a:gd name="T62" fmla="*/ 20 w 28"/>
                  <a:gd name="T63" fmla="*/ 6 h 26"/>
                  <a:gd name="T64" fmla="*/ 20 w 28"/>
                  <a:gd name="T65" fmla="*/ 6 h 26"/>
                  <a:gd name="T66" fmla="*/ 20 w 28"/>
                  <a:gd name="T67" fmla="*/ 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8" h="26">
                    <a:moveTo>
                      <a:pt x="20" y="6"/>
                    </a:moveTo>
                    <a:lnTo>
                      <a:pt x="20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2" y="4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8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4"/>
                    </a:lnTo>
                    <a:lnTo>
                      <a:pt x="10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20" y="22"/>
                    </a:lnTo>
                    <a:lnTo>
                      <a:pt x="24" y="20"/>
                    </a:lnTo>
                    <a:lnTo>
                      <a:pt x="24" y="20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28" y="14"/>
                    </a:lnTo>
                    <a:lnTo>
                      <a:pt x="28" y="14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0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96" name="Freeform 121"/>
              <p:cNvSpPr>
                <a:spLocks/>
              </p:cNvSpPr>
              <p:nvPr/>
            </p:nvSpPr>
            <p:spPr bwMode="auto">
              <a:xfrm>
                <a:off x="1357" y="1070"/>
                <a:ext cx="110" cy="46"/>
              </a:xfrm>
              <a:custGeom>
                <a:avLst/>
                <a:gdLst>
                  <a:gd name="T0" fmla="*/ 54 w 110"/>
                  <a:gd name="T1" fmla="*/ 6 h 46"/>
                  <a:gd name="T2" fmla="*/ 52 w 110"/>
                  <a:gd name="T3" fmla="*/ 8 h 46"/>
                  <a:gd name="T4" fmla="*/ 50 w 110"/>
                  <a:gd name="T5" fmla="*/ 12 h 46"/>
                  <a:gd name="T6" fmla="*/ 42 w 110"/>
                  <a:gd name="T7" fmla="*/ 14 h 46"/>
                  <a:gd name="T8" fmla="*/ 32 w 110"/>
                  <a:gd name="T9" fmla="*/ 14 h 46"/>
                  <a:gd name="T10" fmla="*/ 22 w 110"/>
                  <a:gd name="T11" fmla="*/ 16 h 46"/>
                  <a:gd name="T12" fmla="*/ 18 w 110"/>
                  <a:gd name="T13" fmla="*/ 18 h 46"/>
                  <a:gd name="T14" fmla="*/ 10 w 110"/>
                  <a:gd name="T15" fmla="*/ 16 h 46"/>
                  <a:gd name="T16" fmla="*/ 6 w 110"/>
                  <a:gd name="T17" fmla="*/ 16 h 46"/>
                  <a:gd name="T18" fmla="*/ 4 w 110"/>
                  <a:gd name="T19" fmla="*/ 20 h 46"/>
                  <a:gd name="T20" fmla="*/ 2 w 110"/>
                  <a:gd name="T21" fmla="*/ 28 h 46"/>
                  <a:gd name="T22" fmla="*/ 0 w 110"/>
                  <a:gd name="T23" fmla="*/ 32 h 46"/>
                  <a:gd name="T24" fmla="*/ 4 w 110"/>
                  <a:gd name="T25" fmla="*/ 38 h 46"/>
                  <a:gd name="T26" fmla="*/ 6 w 110"/>
                  <a:gd name="T27" fmla="*/ 38 h 46"/>
                  <a:gd name="T28" fmla="*/ 14 w 110"/>
                  <a:gd name="T29" fmla="*/ 36 h 46"/>
                  <a:gd name="T30" fmla="*/ 18 w 110"/>
                  <a:gd name="T31" fmla="*/ 38 h 46"/>
                  <a:gd name="T32" fmla="*/ 20 w 110"/>
                  <a:gd name="T33" fmla="*/ 42 h 46"/>
                  <a:gd name="T34" fmla="*/ 28 w 110"/>
                  <a:gd name="T35" fmla="*/ 44 h 46"/>
                  <a:gd name="T36" fmla="*/ 34 w 110"/>
                  <a:gd name="T37" fmla="*/ 44 h 46"/>
                  <a:gd name="T38" fmla="*/ 38 w 110"/>
                  <a:gd name="T39" fmla="*/ 42 h 46"/>
                  <a:gd name="T40" fmla="*/ 40 w 110"/>
                  <a:gd name="T41" fmla="*/ 46 h 46"/>
                  <a:gd name="T42" fmla="*/ 44 w 110"/>
                  <a:gd name="T43" fmla="*/ 46 h 46"/>
                  <a:gd name="T44" fmla="*/ 50 w 110"/>
                  <a:gd name="T45" fmla="*/ 38 h 46"/>
                  <a:gd name="T46" fmla="*/ 54 w 110"/>
                  <a:gd name="T47" fmla="*/ 36 h 46"/>
                  <a:gd name="T48" fmla="*/ 58 w 110"/>
                  <a:gd name="T49" fmla="*/ 34 h 46"/>
                  <a:gd name="T50" fmla="*/ 60 w 110"/>
                  <a:gd name="T51" fmla="*/ 32 h 46"/>
                  <a:gd name="T52" fmla="*/ 60 w 110"/>
                  <a:gd name="T53" fmla="*/ 28 h 46"/>
                  <a:gd name="T54" fmla="*/ 68 w 110"/>
                  <a:gd name="T55" fmla="*/ 20 h 46"/>
                  <a:gd name="T56" fmla="*/ 70 w 110"/>
                  <a:gd name="T57" fmla="*/ 26 h 46"/>
                  <a:gd name="T58" fmla="*/ 66 w 110"/>
                  <a:gd name="T59" fmla="*/ 32 h 46"/>
                  <a:gd name="T60" fmla="*/ 64 w 110"/>
                  <a:gd name="T61" fmla="*/ 38 h 46"/>
                  <a:gd name="T62" fmla="*/ 66 w 110"/>
                  <a:gd name="T63" fmla="*/ 42 h 46"/>
                  <a:gd name="T64" fmla="*/ 76 w 110"/>
                  <a:gd name="T65" fmla="*/ 42 h 46"/>
                  <a:gd name="T66" fmla="*/ 80 w 110"/>
                  <a:gd name="T67" fmla="*/ 38 h 46"/>
                  <a:gd name="T68" fmla="*/ 80 w 110"/>
                  <a:gd name="T69" fmla="*/ 34 h 46"/>
                  <a:gd name="T70" fmla="*/ 88 w 110"/>
                  <a:gd name="T71" fmla="*/ 34 h 46"/>
                  <a:gd name="T72" fmla="*/ 94 w 110"/>
                  <a:gd name="T73" fmla="*/ 32 h 46"/>
                  <a:gd name="T74" fmla="*/ 92 w 110"/>
                  <a:gd name="T75" fmla="*/ 26 h 46"/>
                  <a:gd name="T76" fmla="*/ 92 w 110"/>
                  <a:gd name="T77" fmla="*/ 22 h 46"/>
                  <a:gd name="T78" fmla="*/ 98 w 110"/>
                  <a:gd name="T79" fmla="*/ 24 h 46"/>
                  <a:gd name="T80" fmla="*/ 102 w 110"/>
                  <a:gd name="T81" fmla="*/ 20 h 46"/>
                  <a:gd name="T82" fmla="*/ 108 w 110"/>
                  <a:gd name="T83" fmla="*/ 16 h 46"/>
                  <a:gd name="T84" fmla="*/ 110 w 110"/>
                  <a:gd name="T85" fmla="*/ 14 h 46"/>
                  <a:gd name="T86" fmla="*/ 106 w 110"/>
                  <a:gd name="T87" fmla="*/ 8 h 46"/>
                  <a:gd name="T88" fmla="*/ 94 w 110"/>
                  <a:gd name="T89" fmla="*/ 4 h 46"/>
                  <a:gd name="T90" fmla="*/ 90 w 110"/>
                  <a:gd name="T91" fmla="*/ 6 h 46"/>
                  <a:gd name="T92" fmla="*/ 86 w 110"/>
                  <a:gd name="T93" fmla="*/ 10 h 46"/>
                  <a:gd name="T94" fmla="*/ 80 w 110"/>
                  <a:gd name="T95" fmla="*/ 8 h 46"/>
                  <a:gd name="T96" fmla="*/ 78 w 110"/>
                  <a:gd name="T97" fmla="*/ 8 h 46"/>
                  <a:gd name="T98" fmla="*/ 76 w 110"/>
                  <a:gd name="T99" fmla="*/ 8 h 46"/>
                  <a:gd name="T100" fmla="*/ 68 w 110"/>
                  <a:gd name="T101" fmla="*/ 2 h 46"/>
                  <a:gd name="T102" fmla="*/ 64 w 110"/>
                  <a:gd name="T103" fmla="*/ 0 h 46"/>
                  <a:gd name="T104" fmla="*/ 56 w 110"/>
                  <a:gd name="T105" fmla="*/ 4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10" h="46">
                    <a:moveTo>
                      <a:pt x="56" y="4"/>
                    </a:moveTo>
                    <a:lnTo>
                      <a:pt x="56" y="4"/>
                    </a:lnTo>
                    <a:lnTo>
                      <a:pt x="54" y="4"/>
                    </a:lnTo>
                    <a:lnTo>
                      <a:pt x="54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8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4"/>
                    </a:lnTo>
                    <a:lnTo>
                      <a:pt x="46" y="14"/>
                    </a:lnTo>
                    <a:lnTo>
                      <a:pt x="44" y="14"/>
                    </a:lnTo>
                    <a:lnTo>
                      <a:pt x="42" y="14"/>
                    </a:lnTo>
                    <a:lnTo>
                      <a:pt x="42" y="14"/>
                    </a:lnTo>
                    <a:lnTo>
                      <a:pt x="36" y="14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28" y="14"/>
                    </a:lnTo>
                    <a:lnTo>
                      <a:pt x="28" y="14"/>
                    </a:lnTo>
                    <a:lnTo>
                      <a:pt x="24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18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4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8" y="14"/>
                    </a:lnTo>
                    <a:lnTo>
                      <a:pt x="8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4" y="16"/>
                    </a:lnTo>
                    <a:lnTo>
                      <a:pt x="4" y="18"/>
                    </a:lnTo>
                    <a:lnTo>
                      <a:pt x="4" y="20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6"/>
                    </a:lnTo>
                    <a:lnTo>
                      <a:pt x="2" y="28"/>
                    </a:lnTo>
                    <a:lnTo>
                      <a:pt x="2" y="28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2" y="34"/>
                    </a:lnTo>
                    <a:lnTo>
                      <a:pt x="2" y="36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12" y="38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20" y="40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2" y="44"/>
                    </a:lnTo>
                    <a:lnTo>
                      <a:pt x="24" y="44"/>
                    </a:lnTo>
                    <a:lnTo>
                      <a:pt x="26" y="44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30" y="44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40" y="42"/>
                    </a:lnTo>
                    <a:lnTo>
                      <a:pt x="40" y="46"/>
                    </a:lnTo>
                    <a:lnTo>
                      <a:pt x="40" y="46"/>
                    </a:lnTo>
                    <a:lnTo>
                      <a:pt x="42" y="46"/>
                    </a:lnTo>
                    <a:lnTo>
                      <a:pt x="42" y="46"/>
                    </a:lnTo>
                    <a:lnTo>
                      <a:pt x="44" y="46"/>
                    </a:lnTo>
                    <a:lnTo>
                      <a:pt x="44" y="46"/>
                    </a:lnTo>
                    <a:lnTo>
                      <a:pt x="46" y="44"/>
                    </a:lnTo>
                    <a:lnTo>
                      <a:pt x="46" y="42"/>
                    </a:lnTo>
                    <a:lnTo>
                      <a:pt x="50" y="40"/>
                    </a:lnTo>
                    <a:lnTo>
                      <a:pt x="50" y="38"/>
                    </a:lnTo>
                    <a:lnTo>
                      <a:pt x="50" y="38"/>
                    </a:lnTo>
                    <a:lnTo>
                      <a:pt x="50" y="38"/>
                    </a:lnTo>
                    <a:lnTo>
                      <a:pt x="52" y="36"/>
                    </a:lnTo>
                    <a:lnTo>
                      <a:pt x="54" y="36"/>
                    </a:lnTo>
                    <a:lnTo>
                      <a:pt x="54" y="34"/>
                    </a:lnTo>
                    <a:lnTo>
                      <a:pt x="54" y="34"/>
                    </a:lnTo>
                    <a:lnTo>
                      <a:pt x="56" y="34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60" y="34"/>
                    </a:lnTo>
                    <a:lnTo>
                      <a:pt x="60" y="32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28"/>
                    </a:lnTo>
                    <a:lnTo>
                      <a:pt x="64" y="24"/>
                    </a:lnTo>
                    <a:lnTo>
                      <a:pt x="64" y="22"/>
                    </a:lnTo>
                    <a:lnTo>
                      <a:pt x="66" y="22"/>
                    </a:lnTo>
                    <a:lnTo>
                      <a:pt x="68" y="20"/>
                    </a:lnTo>
                    <a:lnTo>
                      <a:pt x="70" y="20"/>
                    </a:lnTo>
                    <a:lnTo>
                      <a:pt x="70" y="20"/>
                    </a:lnTo>
                    <a:lnTo>
                      <a:pt x="70" y="22"/>
                    </a:lnTo>
                    <a:lnTo>
                      <a:pt x="70" y="26"/>
                    </a:lnTo>
                    <a:lnTo>
                      <a:pt x="70" y="28"/>
                    </a:lnTo>
                    <a:lnTo>
                      <a:pt x="68" y="30"/>
                    </a:lnTo>
                    <a:lnTo>
                      <a:pt x="68" y="30"/>
                    </a:lnTo>
                    <a:lnTo>
                      <a:pt x="66" y="32"/>
                    </a:lnTo>
                    <a:lnTo>
                      <a:pt x="64" y="34"/>
                    </a:lnTo>
                    <a:lnTo>
                      <a:pt x="64" y="36"/>
                    </a:lnTo>
                    <a:lnTo>
                      <a:pt x="64" y="36"/>
                    </a:lnTo>
                    <a:lnTo>
                      <a:pt x="64" y="38"/>
                    </a:lnTo>
                    <a:lnTo>
                      <a:pt x="64" y="38"/>
                    </a:lnTo>
                    <a:lnTo>
                      <a:pt x="64" y="38"/>
                    </a:lnTo>
                    <a:lnTo>
                      <a:pt x="66" y="40"/>
                    </a:lnTo>
                    <a:lnTo>
                      <a:pt x="66" y="42"/>
                    </a:lnTo>
                    <a:lnTo>
                      <a:pt x="68" y="42"/>
                    </a:lnTo>
                    <a:lnTo>
                      <a:pt x="72" y="42"/>
                    </a:lnTo>
                    <a:lnTo>
                      <a:pt x="74" y="42"/>
                    </a:lnTo>
                    <a:lnTo>
                      <a:pt x="76" y="42"/>
                    </a:lnTo>
                    <a:lnTo>
                      <a:pt x="78" y="40"/>
                    </a:lnTo>
                    <a:lnTo>
                      <a:pt x="78" y="38"/>
                    </a:lnTo>
                    <a:lnTo>
                      <a:pt x="78" y="38"/>
                    </a:lnTo>
                    <a:lnTo>
                      <a:pt x="80" y="38"/>
                    </a:lnTo>
                    <a:lnTo>
                      <a:pt x="80" y="38"/>
                    </a:lnTo>
                    <a:lnTo>
                      <a:pt x="80" y="36"/>
                    </a:lnTo>
                    <a:lnTo>
                      <a:pt x="80" y="34"/>
                    </a:lnTo>
                    <a:lnTo>
                      <a:pt x="80" y="34"/>
                    </a:lnTo>
                    <a:lnTo>
                      <a:pt x="82" y="34"/>
                    </a:lnTo>
                    <a:lnTo>
                      <a:pt x="84" y="32"/>
                    </a:lnTo>
                    <a:lnTo>
                      <a:pt x="84" y="32"/>
                    </a:lnTo>
                    <a:lnTo>
                      <a:pt x="88" y="34"/>
                    </a:lnTo>
                    <a:lnTo>
                      <a:pt x="90" y="34"/>
                    </a:lnTo>
                    <a:lnTo>
                      <a:pt x="92" y="32"/>
                    </a:lnTo>
                    <a:lnTo>
                      <a:pt x="92" y="32"/>
                    </a:lnTo>
                    <a:lnTo>
                      <a:pt x="94" y="32"/>
                    </a:lnTo>
                    <a:lnTo>
                      <a:pt x="94" y="32"/>
                    </a:lnTo>
                    <a:lnTo>
                      <a:pt x="94" y="30"/>
                    </a:lnTo>
                    <a:lnTo>
                      <a:pt x="94" y="30"/>
                    </a:lnTo>
                    <a:lnTo>
                      <a:pt x="92" y="26"/>
                    </a:lnTo>
                    <a:lnTo>
                      <a:pt x="92" y="24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4" y="22"/>
                    </a:lnTo>
                    <a:lnTo>
                      <a:pt x="94" y="22"/>
                    </a:lnTo>
                    <a:lnTo>
                      <a:pt x="96" y="24"/>
                    </a:lnTo>
                    <a:lnTo>
                      <a:pt x="98" y="24"/>
                    </a:lnTo>
                    <a:lnTo>
                      <a:pt x="98" y="24"/>
                    </a:lnTo>
                    <a:lnTo>
                      <a:pt x="100" y="24"/>
                    </a:lnTo>
                    <a:lnTo>
                      <a:pt x="100" y="22"/>
                    </a:lnTo>
                    <a:lnTo>
                      <a:pt x="102" y="20"/>
                    </a:lnTo>
                    <a:lnTo>
                      <a:pt x="102" y="20"/>
                    </a:lnTo>
                    <a:lnTo>
                      <a:pt x="106" y="18"/>
                    </a:lnTo>
                    <a:lnTo>
                      <a:pt x="106" y="18"/>
                    </a:lnTo>
                    <a:lnTo>
                      <a:pt x="108" y="16"/>
                    </a:lnTo>
                    <a:lnTo>
                      <a:pt x="110" y="16"/>
                    </a:lnTo>
                    <a:lnTo>
                      <a:pt x="110" y="16"/>
                    </a:lnTo>
                    <a:lnTo>
                      <a:pt x="110" y="16"/>
                    </a:lnTo>
                    <a:lnTo>
                      <a:pt x="110" y="14"/>
                    </a:lnTo>
                    <a:lnTo>
                      <a:pt x="108" y="12"/>
                    </a:lnTo>
                    <a:lnTo>
                      <a:pt x="108" y="10"/>
                    </a:lnTo>
                    <a:lnTo>
                      <a:pt x="108" y="10"/>
                    </a:lnTo>
                    <a:lnTo>
                      <a:pt x="106" y="8"/>
                    </a:lnTo>
                    <a:lnTo>
                      <a:pt x="104" y="8"/>
                    </a:lnTo>
                    <a:lnTo>
                      <a:pt x="104" y="8"/>
                    </a:lnTo>
                    <a:lnTo>
                      <a:pt x="94" y="4"/>
                    </a:lnTo>
                    <a:lnTo>
                      <a:pt x="94" y="4"/>
                    </a:lnTo>
                    <a:lnTo>
                      <a:pt x="92" y="4"/>
                    </a:lnTo>
                    <a:lnTo>
                      <a:pt x="92" y="4"/>
                    </a:lnTo>
                    <a:lnTo>
                      <a:pt x="90" y="4"/>
                    </a:lnTo>
                    <a:lnTo>
                      <a:pt x="90" y="6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6" y="8"/>
                    </a:lnTo>
                    <a:lnTo>
                      <a:pt x="86" y="10"/>
                    </a:lnTo>
                    <a:lnTo>
                      <a:pt x="84" y="10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74" y="8"/>
                    </a:lnTo>
                    <a:lnTo>
                      <a:pt x="74" y="8"/>
                    </a:lnTo>
                    <a:lnTo>
                      <a:pt x="72" y="6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0"/>
                    </a:lnTo>
                    <a:lnTo>
                      <a:pt x="66" y="0"/>
                    </a:lnTo>
                    <a:lnTo>
                      <a:pt x="64" y="0"/>
                    </a:lnTo>
                    <a:lnTo>
                      <a:pt x="62" y="0"/>
                    </a:lnTo>
                    <a:lnTo>
                      <a:pt x="60" y="2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97" name="Freeform 123"/>
              <p:cNvSpPr>
                <a:spLocks/>
              </p:cNvSpPr>
              <p:nvPr/>
            </p:nvSpPr>
            <p:spPr bwMode="auto">
              <a:xfrm>
                <a:off x="1395" y="1118"/>
                <a:ext cx="24" cy="14"/>
              </a:xfrm>
              <a:custGeom>
                <a:avLst/>
                <a:gdLst>
                  <a:gd name="T0" fmla="*/ 16 w 24"/>
                  <a:gd name="T1" fmla="*/ 2 h 14"/>
                  <a:gd name="T2" fmla="*/ 16 w 24"/>
                  <a:gd name="T3" fmla="*/ 2 h 14"/>
                  <a:gd name="T4" fmla="*/ 12 w 24"/>
                  <a:gd name="T5" fmla="*/ 4 h 14"/>
                  <a:gd name="T6" fmla="*/ 12 w 24"/>
                  <a:gd name="T7" fmla="*/ 4 h 14"/>
                  <a:gd name="T8" fmla="*/ 8 w 24"/>
                  <a:gd name="T9" fmla="*/ 4 h 14"/>
                  <a:gd name="T10" fmla="*/ 8 w 24"/>
                  <a:gd name="T11" fmla="*/ 4 h 14"/>
                  <a:gd name="T12" fmla="*/ 6 w 24"/>
                  <a:gd name="T13" fmla="*/ 6 h 14"/>
                  <a:gd name="T14" fmla="*/ 6 w 24"/>
                  <a:gd name="T15" fmla="*/ 8 h 14"/>
                  <a:gd name="T16" fmla="*/ 4 w 24"/>
                  <a:gd name="T17" fmla="*/ 10 h 14"/>
                  <a:gd name="T18" fmla="*/ 4 w 24"/>
                  <a:gd name="T19" fmla="*/ 10 h 14"/>
                  <a:gd name="T20" fmla="*/ 2 w 24"/>
                  <a:gd name="T21" fmla="*/ 12 h 14"/>
                  <a:gd name="T22" fmla="*/ 0 w 24"/>
                  <a:gd name="T23" fmla="*/ 14 h 14"/>
                  <a:gd name="T24" fmla="*/ 0 w 24"/>
                  <a:gd name="T25" fmla="*/ 14 h 14"/>
                  <a:gd name="T26" fmla="*/ 0 w 24"/>
                  <a:gd name="T27" fmla="*/ 14 h 14"/>
                  <a:gd name="T28" fmla="*/ 2 w 24"/>
                  <a:gd name="T29" fmla="*/ 14 h 14"/>
                  <a:gd name="T30" fmla="*/ 4 w 24"/>
                  <a:gd name="T31" fmla="*/ 14 h 14"/>
                  <a:gd name="T32" fmla="*/ 6 w 24"/>
                  <a:gd name="T33" fmla="*/ 12 h 14"/>
                  <a:gd name="T34" fmla="*/ 6 w 24"/>
                  <a:gd name="T35" fmla="*/ 12 h 14"/>
                  <a:gd name="T36" fmla="*/ 16 w 24"/>
                  <a:gd name="T37" fmla="*/ 10 h 14"/>
                  <a:gd name="T38" fmla="*/ 16 w 24"/>
                  <a:gd name="T39" fmla="*/ 10 h 14"/>
                  <a:gd name="T40" fmla="*/ 18 w 24"/>
                  <a:gd name="T41" fmla="*/ 8 h 14"/>
                  <a:gd name="T42" fmla="*/ 22 w 24"/>
                  <a:gd name="T43" fmla="*/ 6 h 14"/>
                  <a:gd name="T44" fmla="*/ 22 w 24"/>
                  <a:gd name="T45" fmla="*/ 6 h 14"/>
                  <a:gd name="T46" fmla="*/ 22 w 24"/>
                  <a:gd name="T47" fmla="*/ 4 h 14"/>
                  <a:gd name="T48" fmla="*/ 24 w 24"/>
                  <a:gd name="T49" fmla="*/ 4 h 14"/>
                  <a:gd name="T50" fmla="*/ 24 w 24"/>
                  <a:gd name="T51" fmla="*/ 2 h 14"/>
                  <a:gd name="T52" fmla="*/ 24 w 24"/>
                  <a:gd name="T53" fmla="*/ 2 h 14"/>
                  <a:gd name="T54" fmla="*/ 22 w 24"/>
                  <a:gd name="T55" fmla="*/ 0 h 14"/>
                  <a:gd name="T56" fmla="*/ 22 w 24"/>
                  <a:gd name="T57" fmla="*/ 0 h 14"/>
                  <a:gd name="T58" fmla="*/ 22 w 24"/>
                  <a:gd name="T59" fmla="*/ 0 h 14"/>
                  <a:gd name="T60" fmla="*/ 20 w 24"/>
                  <a:gd name="T61" fmla="*/ 0 h 14"/>
                  <a:gd name="T62" fmla="*/ 18 w 24"/>
                  <a:gd name="T63" fmla="*/ 0 h 14"/>
                  <a:gd name="T64" fmla="*/ 16 w 24"/>
                  <a:gd name="T65" fmla="*/ 2 h 14"/>
                  <a:gd name="T66" fmla="*/ 16 w 24"/>
                  <a:gd name="T67" fmla="*/ 2 h 14"/>
                  <a:gd name="T68" fmla="*/ 16 w 24"/>
                  <a:gd name="T69" fmla="*/ 2 h 14"/>
                  <a:gd name="T70" fmla="*/ 16 w 24"/>
                  <a:gd name="T71" fmla="*/ 2 h 14"/>
                  <a:gd name="T72" fmla="*/ 16 w 24"/>
                  <a:gd name="T73" fmla="*/ 2 h 14"/>
                  <a:gd name="T74" fmla="*/ 16 w 24"/>
                  <a:gd name="T75" fmla="*/ 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4" h="14">
                    <a:moveTo>
                      <a:pt x="16" y="2"/>
                    </a:moveTo>
                    <a:lnTo>
                      <a:pt x="16" y="2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6"/>
                    </a:lnTo>
                    <a:lnTo>
                      <a:pt x="6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2" y="12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4"/>
                    </a:lnTo>
                    <a:lnTo>
                      <a:pt x="4" y="14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8" y="8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4"/>
                    </a:lnTo>
                    <a:lnTo>
                      <a:pt x="24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98" name="Freeform 125"/>
              <p:cNvSpPr>
                <a:spLocks/>
              </p:cNvSpPr>
              <p:nvPr/>
            </p:nvSpPr>
            <p:spPr bwMode="auto">
              <a:xfrm>
                <a:off x="1407" y="1114"/>
                <a:ext cx="136" cy="82"/>
              </a:xfrm>
              <a:custGeom>
                <a:avLst/>
                <a:gdLst>
                  <a:gd name="T0" fmla="*/ 30 w 136"/>
                  <a:gd name="T1" fmla="*/ 4 h 82"/>
                  <a:gd name="T2" fmla="*/ 22 w 136"/>
                  <a:gd name="T3" fmla="*/ 8 h 82"/>
                  <a:gd name="T4" fmla="*/ 28 w 136"/>
                  <a:gd name="T5" fmla="*/ 14 h 82"/>
                  <a:gd name="T6" fmla="*/ 20 w 136"/>
                  <a:gd name="T7" fmla="*/ 12 h 82"/>
                  <a:gd name="T8" fmla="*/ 12 w 136"/>
                  <a:gd name="T9" fmla="*/ 16 h 82"/>
                  <a:gd name="T10" fmla="*/ 22 w 136"/>
                  <a:gd name="T11" fmla="*/ 22 h 82"/>
                  <a:gd name="T12" fmla="*/ 26 w 136"/>
                  <a:gd name="T13" fmla="*/ 26 h 82"/>
                  <a:gd name="T14" fmla="*/ 18 w 136"/>
                  <a:gd name="T15" fmla="*/ 28 h 82"/>
                  <a:gd name="T16" fmla="*/ 8 w 136"/>
                  <a:gd name="T17" fmla="*/ 24 h 82"/>
                  <a:gd name="T18" fmla="*/ 0 w 136"/>
                  <a:gd name="T19" fmla="*/ 28 h 82"/>
                  <a:gd name="T20" fmla="*/ 6 w 136"/>
                  <a:gd name="T21" fmla="*/ 36 h 82"/>
                  <a:gd name="T22" fmla="*/ 18 w 136"/>
                  <a:gd name="T23" fmla="*/ 42 h 82"/>
                  <a:gd name="T24" fmla="*/ 24 w 136"/>
                  <a:gd name="T25" fmla="*/ 44 h 82"/>
                  <a:gd name="T26" fmla="*/ 32 w 136"/>
                  <a:gd name="T27" fmla="*/ 44 h 82"/>
                  <a:gd name="T28" fmla="*/ 40 w 136"/>
                  <a:gd name="T29" fmla="*/ 42 h 82"/>
                  <a:gd name="T30" fmla="*/ 42 w 136"/>
                  <a:gd name="T31" fmla="*/ 52 h 82"/>
                  <a:gd name="T32" fmla="*/ 52 w 136"/>
                  <a:gd name="T33" fmla="*/ 54 h 82"/>
                  <a:gd name="T34" fmla="*/ 62 w 136"/>
                  <a:gd name="T35" fmla="*/ 56 h 82"/>
                  <a:gd name="T36" fmla="*/ 64 w 136"/>
                  <a:gd name="T37" fmla="*/ 58 h 82"/>
                  <a:gd name="T38" fmla="*/ 56 w 136"/>
                  <a:gd name="T39" fmla="*/ 62 h 82"/>
                  <a:gd name="T40" fmla="*/ 44 w 136"/>
                  <a:gd name="T41" fmla="*/ 58 h 82"/>
                  <a:gd name="T42" fmla="*/ 34 w 136"/>
                  <a:gd name="T43" fmla="*/ 58 h 82"/>
                  <a:gd name="T44" fmla="*/ 28 w 136"/>
                  <a:gd name="T45" fmla="*/ 62 h 82"/>
                  <a:gd name="T46" fmla="*/ 32 w 136"/>
                  <a:gd name="T47" fmla="*/ 72 h 82"/>
                  <a:gd name="T48" fmla="*/ 50 w 136"/>
                  <a:gd name="T49" fmla="*/ 78 h 82"/>
                  <a:gd name="T50" fmla="*/ 66 w 136"/>
                  <a:gd name="T51" fmla="*/ 80 h 82"/>
                  <a:gd name="T52" fmla="*/ 72 w 136"/>
                  <a:gd name="T53" fmla="*/ 74 h 82"/>
                  <a:gd name="T54" fmla="*/ 86 w 136"/>
                  <a:gd name="T55" fmla="*/ 70 h 82"/>
                  <a:gd name="T56" fmla="*/ 90 w 136"/>
                  <a:gd name="T57" fmla="*/ 72 h 82"/>
                  <a:gd name="T58" fmla="*/ 100 w 136"/>
                  <a:gd name="T59" fmla="*/ 74 h 82"/>
                  <a:gd name="T60" fmla="*/ 106 w 136"/>
                  <a:gd name="T61" fmla="*/ 76 h 82"/>
                  <a:gd name="T62" fmla="*/ 112 w 136"/>
                  <a:gd name="T63" fmla="*/ 80 h 82"/>
                  <a:gd name="T64" fmla="*/ 124 w 136"/>
                  <a:gd name="T65" fmla="*/ 74 h 82"/>
                  <a:gd name="T66" fmla="*/ 134 w 136"/>
                  <a:gd name="T67" fmla="*/ 66 h 82"/>
                  <a:gd name="T68" fmla="*/ 136 w 136"/>
                  <a:gd name="T69" fmla="*/ 48 h 82"/>
                  <a:gd name="T70" fmla="*/ 128 w 136"/>
                  <a:gd name="T71" fmla="*/ 42 h 82"/>
                  <a:gd name="T72" fmla="*/ 124 w 136"/>
                  <a:gd name="T73" fmla="*/ 52 h 82"/>
                  <a:gd name="T74" fmla="*/ 120 w 136"/>
                  <a:gd name="T75" fmla="*/ 52 h 82"/>
                  <a:gd name="T76" fmla="*/ 116 w 136"/>
                  <a:gd name="T77" fmla="*/ 48 h 82"/>
                  <a:gd name="T78" fmla="*/ 116 w 136"/>
                  <a:gd name="T79" fmla="*/ 42 h 82"/>
                  <a:gd name="T80" fmla="*/ 114 w 136"/>
                  <a:gd name="T81" fmla="*/ 34 h 82"/>
                  <a:gd name="T82" fmla="*/ 120 w 136"/>
                  <a:gd name="T83" fmla="*/ 30 h 82"/>
                  <a:gd name="T84" fmla="*/ 120 w 136"/>
                  <a:gd name="T85" fmla="*/ 20 h 82"/>
                  <a:gd name="T86" fmla="*/ 120 w 136"/>
                  <a:gd name="T87" fmla="*/ 14 h 82"/>
                  <a:gd name="T88" fmla="*/ 106 w 136"/>
                  <a:gd name="T89" fmla="*/ 12 h 82"/>
                  <a:gd name="T90" fmla="*/ 100 w 136"/>
                  <a:gd name="T91" fmla="*/ 18 h 82"/>
                  <a:gd name="T92" fmla="*/ 92 w 136"/>
                  <a:gd name="T93" fmla="*/ 18 h 82"/>
                  <a:gd name="T94" fmla="*/ 94 w 136"/>
                  <a:gd name="T95" fmla="*/ 24 h 82"/>
                  <a:gd name="T96" fmla="*/ 100 w 136"/>
                  <a:gd name="T97" fmla="*/ 34 h 82"/>
                  <a:gd name="T98" fmla="*/ 92 w 136"/>
                  <a:gd name="T99" fmla="*/ 42 h 82"/>
                  <a:gd name="T100" fmla="*/ 98 w 136"/>
                  <a:gd name="T101" fmla="*/ 48 h 82"/>
                  <a:gd name="T102" fmla="*/ 92 w 136"/>
                  <a:gd name="T103" fmla="*/ 50 h 82"/>
                  <a:gd name="T104" fmla="*/ 74 w 136"/>
                  <a:gd name="T105" fmla="*/ 48 h 82"/>
                  <a:gd name="T106" fmla="*/ 68 w 136"/>
                  <a:gd name="T107" fmla="*/ 40 h 82"/>
                  <a:gd name="T108" fmla="*/ 70 w 136"/>
                  <a:gd name="T109" fmla="*/ 36 h 82"/>
                  <a:gd name="T110" fmla="*/ 68 w 136"/>
                  <a:gd name="T111" fmla="*/ 28 h 82"/>
                  <a:gd name="T112" fmla="*/ 66 w 136"/>
                  <a:gd name="T113" fmla="*/ 22 h 82"/>
                  <a:gd name="T114" fmla="*/ 62 w 136"/>
                  <a:gd name="T115" fmla="*/ 14 h 82"/>
                  <a:gd name="T116" fmla="*/ 54 w 136"/>
                  <a:gd name="T117" fmla="*/ 10 h 82"/>
                  <a:gd name="T118" fmla="*/ 44 w 136"/>
                  <a:gd name="T119" fmla="*/ 0 h 82"/>
                  <a:gd name="T120" fmla="*/ 36 w 136"/>
                  <a:gd name="T121" fmla="*/ 2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36" h="82">
                    <a:moveTo>
                      <a:pt x="36" y="2"/>
                    </a:moveTo>
                    <a:lnTo>
                      <a:pt x="36" y="2"/>
                    </a:lnTo>
                    <a:lnTo>
                      <a:pt x="36" y="2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2" y="2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6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2" y="4"/>
                    </a:lnTo>
                    <a:lnTo>
                      <a:pt x="22" y="6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4" y="10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8" y="12"/>
                    </a:lnTo>
                    <a:lnTo>
                      <a:pt x="28" y="14"/>
                    </a:lnTo>
                    <a:lnTo>
                      <a:pt x="28" y="14"/>
                    </a:lnTo>
                    <a:lnTo>
                      <a:pt x="28" y="14"/>
                    </a:lnTo>
                    <a:lnTo>
                      <a:pt x="28" y="14"/>
                    </a:lnTo>
                    <a:lnTo>
                      <a:pt x="28" y="14"/>
                    </a:lnTo>
                    <a:lnTo>
                      <a:pt x="26" y="14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0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4" y="14"/>
                    </a:lnTo>
                    <a:lnTo>
                      <a:pt x="14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8"/>
                    </a:lnTo>
                    <a:lnTo>
                      <a:pt x="14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8" y="20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2" y="22"/>
                    </a:lnTo>
                    <a:lnTo>
                      <a:pt x="24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8" y="24"/>
                    </a:lnTo>
                    <a:lnTo>
                      <a:pt x="28" y="24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6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4"/>
                    </a:lnTo>
                    <a:lnTo>
                      <a:pt x="22" y="24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0" y="26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16" y="28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2" y="26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4"/>
                    </a:lnTo>
                    <a:lnTo>
                      <a:pt x="0" y="24"/>
                    </a:lnTo>
                    <a:lnTo>
                      <a:pt x="0" y="26"/>
                    </a:lnTo>
                    <a:lnTo>
                      <a:pt x="0" y="28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2" y="32"/>
                    </a:lnTo>
                    <a:lnTo>
                      <a:pt x="2" y="34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6" y="36"/>
                    </a:lnTo>
                    <a:lnTo>
                      <a:pt x="8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2" y="36"/>
                    </a:lnTo>
                    <a:lnTo>
                      <a:pt x="12" y="36"/>
                    </a:lnTo>
                    <a:lnTo>
                      <a:pt x="14" y="36"/>
                    </a:lnTo>
                    <a:lnTo>
                      <a:pt x="16" y="38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4" y="44"/>
                    </a:lnTo>
                    <a:lnTo>
                      <a:pt x="24" y="44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8" y="46"/>
                    </a:lnTo>
                    <a:lnTo>
                      <a:pt x="32" y="44"/>
                    </a:lnTo>
                    <a:lnTo>
                      <a:pt x="32" y="44"/>
                    </a:lnTo>
                    <a:lnTo>
                      <a:pt x="32" y="44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40" y="42"/>
                    </a:lnTo>
                    <a:lnTo>
                      <a:pt x="40" y="42"/>
                    </a:lnTo>
                    <a:lnTo>
                      <a:pt x="40" y="44"/>
                    </a:lnTo>
                    <a:lnTo>
                      <a:pt x="40" y="46"/>
                    </a:lnTo>
                    <a:lnTo>
                      <a:pt x="40" y="46"/>
                    </a:lnTo>
                    <a:lnTo>
                      <a:pt x="40" y="48"/>
                    </a:lnTo>
                    <a:lnTo>
                      <a:pt x="40" y="50"/>
                    </a:lnTo>
                    <a:lnTo>
                      <a:pt x="40" y="50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4" y="54"/>
                    </a:lnTo>
                    <a:lnTo>
                      <a:pt x="46" y="54"/>
                    </a:lnTo>
                    <a:lnTo>
                      <a:pt x="50" y="54"/>
                    </a:lnTo>
                    <a:lnTo>
                      <a:pt x="50" y="54"/>
                    </a:lnTo>
                    <a:lnTo>
                      <a:pt x="50" y="54"/>
                    </a:lnTo>
                    <a:lnTo>
                      <a:pt x="52" y="54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4" y="56"/>
                    </a:lnTo>
                    <a:lnTo>
                      <a:pt x="54" y="56"/>
                    </a:lnTo>
                    <a:lnTo>
                      <a:pt x="58" y="56"/>
                    </a:lnTo>
                    <a:lnTo>
                      <a:pt x="58" y="56"/>
                    </a:lnTo>
                    <a:lnTo>
                      <a:pt x="60" y="56"/>
                    </a:lnTo>
                    <a:lnTo>
                      <a:pt x="62" y="56"/>
                    </a:lnTo>
                    <a:lnTo>
                      <a:pt x="62" y="56"/>
                    </a:lnTo>
                    <a:lnTo>
                      <a:pt x="62" y="54"/>
                    </a:lnTo>
                    <a:lnTo>
                      <a:pt x="64" y="54"/>
                    </a:lnTo>
                    <a:lnTo>
                      <a:pt x="64" y="54"/>
                    </a:lnTo>
                    <a:lnTo>
                      <a:pt x="66" y="56"/>
                    </a:lnTo>
                    <a:lnTo>
                      <a:pt x="66" y="56"/>
                    </a:lnTo>
                    <a:lnTo>
                      <a:pt x="64" y="56"/>
                    </a:lnTo>
                    <a:lnTo>
                      <a:pt x="64" y="58"/>
                    </a:lnTo>
                    <a:lnTo>
                      <a:pt x="64" y="60"/>
                    </a:lnTo>
                    <a:lnTo>
                      <a:pt x="62" y="60"/>
                    </a:lnTo>
                    <a:lnTo>
                      <a:pt x="62" y="60"/>
                    </a:lnTo>
                    <a:lnTo>
                      <a:pt x="60" y="62"/>
                    </a:lnTo>
                    <a:lnTo>
                      <a:pt x="58" y="62"/>
                    </a:lnTo>
                    <a:lnTo>
                      <a:pt x="58" y="62"/>
                    </a:lnTo>
                    <a:lnTo>
                      <a:pt x="56" y="62"/>
                    </a:lnTo>
                    <a:lnTo>
                      <a:pt x="56" y="62"/>
                    </a:lnTo>
                    <a:lnTo>
                      <a:pt x="52" y="60"/>
                    </a:lnTo>
                    <a:lnTo>
                      <a:pt x="48" y="60"/>
                    </a:lnTo>
                    <a:lnTo>
                      <a:pt x="48" y="60"/>
                    </a:lnTo>
                    <a:lnTo>
                      <a:pt x="48" y="58"/>
                    </a:lnTo>
                    <a:lnTo>
                      <a:pt x="46" y="58"/>
                    </a:lnTo>
                    <a:lnTo>
                      <a:pt x="46" y="58"/>
                    </a:lnTo>
                    <a:lnTo>
                      <a:pt x="44" y="58"/>
                    </a:lnTo>
                    <a:lnTo>
                      <a:pt x="44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0" y="58"/>
                    </a:lnTo>
                    <a:lnTo>
                      <a:pt x="40" y="58"/>
                    </a:lnTo>
                    <a:lnTo>
                      <a:pt x="38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2" y="58"/>
                    </a:lnTo>
                    <a:lnTo>
                      <a:pt x="30" y="58"/>
                    </a:lnTo>
                    <a:lnTo>
                      <a:pt x="28" y="58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62"/>
                    </a:lnTo>
                    <a:lnTo>
                      <a:pt x="28" y="62"/>
                    </a:lnTo>
                    <a:lnTo>
                      <a:pt x="28" y="64"/>
                    </a:lnTo>
                    <a:lnTo>
                      <a:pt x="28" y="64"/>
                    </a:lnTo>
                    <a:lnTo>
                      <a:pt x="30" y="66"/>
                    </a:lnTo>
                    <a:lnTo>
                      <a:pt x="30" y="66"/>
                    </a:lnTo>
                    <a:lnTo>
                      <a:pt x="30" y="66"/>
                    </a:lnTo>
                    <a:lnTo>
                      <a:pt x="30" y="70"/>
                    </a:lnTo>
                    <a:lnTo>
                      <a:pt x="32" y="72"/>
                    </a:lnTo>
                    <a:lnTo>
                      <a:pt x="32" y="72"/>
                    </a:lnTo>
                    <a:lnTo>
                      <a:pt x="32" y="72"/>
                    </a:lnTo>
                    <a:lnTo>
                      <a:pt x="34" y="74"/>
                    </a:lnTo>
                    <a:lnTo>
                      <a:pt x="38" y="74"/>
                    </a:lnTo>
                    <a:lnTo>
                      <a:pt x="42" y="76"/>
                    </a:lnTo>
                    <a:lnTo>
                      <a:pt x="42" y="76"/>
                    </a:lnTo>
                    <a:lnTo>
                      <a:pt x="46" y="78"/>
                    </a:lnTo>
                    <a:lnTo>
                      <a:pt x="50" y="78"/>
                    </a:lnTo>
                    <a:lnTo>
                      <a:pt x="50" y="78"/>
                    </a:lnTo>
                    <a:lnTo>
                      <a:pt x="52" y="80"/>
                    </a:lnTo>
                    <a:lnTo>
                      <a:pt x="56" y="82"/>
                    </a:lnTo>
                    <a:lnTo>
                      <a:pt x="60" y="82"/>
                    </a:lnTo>
                    <a:lnTo>
                      <a:pt x="62" y="82"/>
                    </a:lnTo>
                    <a:lnTo>
                      <a:pt x="64" y="82"/>
                    </a:lnTo>
                    <a:lnTo>
                      <a:pt x="64" y="82"/>
                    </a:lnTo>
                    <a:lnTo>
                      <a:pt x="66" y="80"/>
                    </a:lnTo>
                    <a:lnTo>
                      <a:pt x="68" y="80"/>
                    </a:lnTo>
                    <a:lnTo>
                      <a:pt x="70" y="76"/>
                    </a:lnTo>
                    <a:lnTo>
                      <a:pt x="70" y="76"/>
                    </a:lnTo>
                    <a:lnTo>
                      <a:pt x="70" y="76"/>
                    </a:lnTo>
                    <a:lnTo>
                      <a:pt x="70" y="74"/>
                    </a:lnTo>
                    <a:lnTo>
                      <a:pt x="70" y="74"/>
                    </a:lnTo>
                    <a:lnTo>
                      <a:pt x="72" y="74"/>
                    </a:lnTo>
                    <a:lnTo>
                      <a:pt x="72" y="74"/>
                    </a:lnTo>
                    <a:lnTo>
                      <a:pt x="74" y="74"/>
                    </a:lnTo>
                    <a:lnTo>
                      <a:pt x="74" y="74"/>
                    </a:lnTo>
                    <a:lnTo>
                      <a:pt x="78" y="74"/>
                    </a:lnTo>
                    <a:lnTo>
                      <a:pt x="78" y="74"/>
                    </a:lnTo>
                    <a:lnTo>
                      <a:pt x="80" y="72"/>
                    </a:lnTo>
                    <a:lnTo>
                      <a:pt x="82" y="72"/>
                    </a:lnTo>
                    <a:lnTo>
                      <a:pt x="82" y="72"/>
                    </a:lnTo>
                    <a:lnTo>
                      <a:pt x="86" y="70"/>
                    </a:lnTo>
                    <a:lnTo>
                      <a:pt x="86" y="70"/>
                    </a:lnTo>
                    <a:lnTo>
                      <a:pt x="88" y="68"/>
                    </a:lnTo>
                    <a:lnTo>
                      <a:pt x="88" y="68"/>
                    </a:lnTo>
                    <a:lnTo>
                      <a:pt x="90" y="68"/>
                    </a:lnTo>
                    <a:lnTo>
                      <a:pt x="90" y="68"/>
                    </a:lnTo>
                    <a:lnTo>
                      <a:pt x="90" y="68"/>
                    </a:lnTo>
                    <a:lnTo>
                      <a:pt x="90" y="70"/>
                    </a:lnTo>
                    <a:lnTo>
                      <a:pt x="90" y="72"/>
                    </a:lnTo>
                    <a:lnTo>
                      <a:pt x="90" y="72"/>
                    </a:lnTo>
                    <a:lnTo>
                      <a:pt x="90" y="72"/>
                    </a:lnTo>
                    <a:lnTo>
                      <a:pt x="92" y="72"/>
                    </a:lnTo>
                    <a:lnTo>
                      <a:pt x="92" y="74"/>
                    </a:lnTo>
                    <a:lnTo>
                      <a:pt x="94" y="74"/>
                    </a:lnTo>
                    <a:lnTo>
                      <a:pt x="94" y="74"/>
                    </a:lnTo>
                    <a:lnTo>
                      <a:pt x="98" y="74"/>
                    </a:lnTo>
                    <a:lnTo>
                      <a:pt x="100" y="74"/>
                    </a:lnTo>
                    <a:lnTo>
                      <a:pt x="100" y="74"/>
                    </a:lnTo>
                    <a:lnTo>
                      <a:pt x="100" y="74"/>
                    </a:lnTo>
                    <a:lnTo>
                      <a:pt x="102" y="72"/>
                    </a:lnTo>
                    <a:lnTo>
                      <a:pt x="104" y="72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6" y="76"/>
                    </a:lnTo>
                    <a:lnTo>
                      <a:pt x="106" y="76"/>
                    </a:lnTo>
                    <a:lnTo>
                      <a:pt x="106" y="76"/>
                    </a:lnTo>
                    <a:lnTo>
                      <a:pt x="108" y="78"/>
                    </a:lnTo>
                    <a:lnTo>
                      <a:pt x="110" y="78"/>
                    </a:lnTo>
                    <a:lnTo>
                      <a:pt x="110" y="78"/>
                    </a:lnTo>
                    <a:lnTo>
                      <a:pt x="112" y="78"/>
                    </a:lnTo>
                    <a:lnTo>
                      <a:pt x="112" y="80"/>
                    </a:lnTo>
                    <a:lnTo>
                      <a:pt x="112" y="80"/>
                    </a:lnTo>
                    <a:lnTo>
                      <a:pt x="114" y="80"/>
                    </a:lnTo>
                    <a:lnTo>
                      <a:pt x="116" y="80"/>
                    </a:lnTo>
                    <a:lnTo>
                      <a:pt x="118" y="80"/>
                    </a:lnTo>
                    <a:lnTo>
                      <a:pt x="120" y="80"/>
                    </a:lnTo>
                    <a:lnTo>
                      <a:pt x="120" y="80"/>
                    </a:lnTo>
                    <a:lnTo>
                      <a:pt x="122" y="80"/>
                    </a:lnTo>
                    <a:lnTo>
                      <a:pt x="122" y="78"/>
                    </a:lnTo>
                    <a:lnTo>
                      <a:pt x="124" y="74"/>
                    </a:lnTo>
                    <a:lnTo>
                      <a:pt x="124" y="74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30" y="70"/>
                    </a:lnTo>
                    <a:lnTo>
                      <a:pt x="130" y="70"/>
                    </a:lnTo>
                    <a:lnTo>
                      <a:pt x="132" y="70"/>
                    </a:lnTo>
                    <a:lnTo>
                      <a:pt x="134" y="68"/>
                    </a:lnTo>
                    <a:lnTo>
                      <a:pt x="134" y="66"/>
                    </a:lnTo>
                    <a:lnTo>
                      <a:pt x="136" y="66"/>
                    </a:lnTo>
                    <a:lnTo>
                      <a:pt x="136" y="66"/>
                    </a:lnTo>
                    <a:lnTo>
                      <a:pt x="136" y="64"/>
                    </a:lnTo>
                    <a:lnTo>
                      <a:pt x="136" y="62"/>
                    </a:lnTo>
                    <a:lnTo>
                      <a:pt x="136" y="58"/>
                    </a:lnTo>
                    <a:lnTo>
                      <a:pt x="136" y="58"/>
                    </a:lnTo>
                    <a:lnTo>
                      <a:pt x="136" y="54"/>
                    </a:lnTo>
                    <a:lnTo>
                      <a:pt x="136" y="48"/>
                    </a:lnTo>
                    <a:lnTo>
                      <a:pt x="136" y="48"/>
                    </a:lnTo>
                    <a:lnTo>
                      <a:pt x="136" y="48"/>
                    </a:lnTo>
                    <a:lnTo>
                      <a:pt x="134" y="46"/>
                    </a:lnTo>
                    <a:lnTo>
                      <a:pt x="132" y="44"/>
                    </a:lnTo>
                    <a:lnTo>
                      <a:pt x="130" y="44"/>
                    </a:lnTo>
                    <a:lnTo>
                      <a:pt x="130" y="44"/>
                    </a:lnTo>
                    <a:lnTo>
                      <a:pt x="130" y="42"/>
                    </a:lnTo>
                    <a:lnTo>
                      <a:pt x="128" y="42"/>
                    </a:lnTo>
                    <a:lnTo>
                      <a:pt x="126" y="44"/>
                    </a:lnTo>
                    <a:lnTo>
                      <a:pt x="124" y="44"/>
                    </a:lnTo>
                    <a:lnTo>
                      <a:pt x="124" y="44"/>
                    </a:lnTo>
                    <a:lnTo>
                      <a:pt x="124" y="46"/>
                    </a:lnTo>
                    <a:lnTo>
                      <a:pt x="124" y="48"/>
                    </a:lnTo>
                    <a:lnTo>
                      <a:pt x="124" y="48"/>
                    </a:lnTo>
                    <a:lnTo>
                      <a:pt x="124" y="50"/>
                    </a:lnTo>
                    <a:lnTo>
                      <a:pt x="124" y="52"/>
                    </a:lnTo>
                    <a:lnTo>
                      <a:pt x="124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4"/>
                    </a:lnTo>
                    <a:lnTo>
                      <a:pt x="120" y="54"/>
                    </a:lnTo>
                    <a:lnTo>
                      <a:pt x="120" y="54"/>
                    </a:lnTo>
                    <a:lnTo>
                      <a:pt x="120" y="52"/>
                    </a:lnTo>
                    <a:lnTo>
                      <a:pt x="120" y="52"/>
                    </a:lnTo>
                    <a:lnTo>
                      <a:pt x="118" y="50"/>
                    </a:lnTo>
                    <a:lnTo>
                      <a:pt x="118" y="50"/>
                    </a:lnTo>
                    <a:lnTo>
                      <a:pt x="118" y="48"/>
                    </a:lnTo>
                    <a:lnTo>
                      <a:pt x="118" y="48"/>
                    </a:lnTo>
                    <a:lnTo>
                      <a:pt x="118" y="48"/>
                    </a:lnTo>
                    <a:lnTo>
                      <a:pt x="118" y="48"/>
                    </a:lnTo>
                    <a:lnTo>
                      <a:pt x="116" y="48"/>
                    </a:lnTo>
                    <a:lnTo>
                      <a:pt x="116" y="48"/>
                    </a:lnTo>
                    <a:lnTo>
                      <a:pt x="116" y="48"/>
                    </a:lnTo>
                    <a:lnTo>
                      <a:pt x="114" y="46"/>
                    </a:lnTo>
                    <a:lnTo>
                      <a:pt x="114" y="46"/>
                    </a:lnTo>
                    <a:lnTo>
                      <a:pt x="116" y="46"/>
                    </a:lnTo>
                    <a:lnTo>
                      <a:pt x="116" y="44"/>
                    </a:lnTo>
                    <a:lnTo>
                      <a:pt x="116" y="44"/>
                    </a:lnTo>
                    <a:lnTo>
                      <a:pt x="116" y="44"/>
                    </a:lnTo>
                    <a:lnTo>
                      <a:pt x="116" y="42"/>
                    </a:lnTo>
                    <a:lnTo>
                      <a:pt x="116" y="40"/>
                    </a:lnTo>
                    <a:lnTo>
                      <a:pt x="116" y="40"/>
                    </a:lnTo>
                    <a:lnTo>
                      <a:pt x="116" y="38"/>
                    </a:lnTo>
                    <a:lnTo>
                      <a:pt x="116" y="38"/>
                    </a:lnTo>
                    <a:lnTo>
                      <a:pt x="114" y="36"/>
                    </a:lnTo>
                    <a:lnTo>
                      <a:pt x="114" y="34"/>
                    </a:lnTo>
                    <a:lnTo>
                      <a:pt x="114" y="34"/>
                    </a:lnTo>
                    <a:lnTo>
                      <a:pt x="114" y="34"/>
                    </a:lnTo>
                    <a:lnTo>
                      <a:pt x="114" y="32"/>
                    </a:lnTo>
                    <a:lnTo>
                      <a:pt x="116" y="32"/>
                    </a:lnTo>
                    <a:lnTo>
                      <a:pt x="116" y="32"/>
                    </a:lnTo>
                    <a:lnTo>
                      <a:pt x="118" y="32"/>
                    </a:lnTo>
                    <a:lnTo>
                      <a:pt x="118" y="32"/>
                    </a:lnTo>
                    <a:lnTo>
                      <a:pt x="120" y="32"/>
                    </a:lnTo>
                    <a:lnTo>
                      <a:pt x="120" y="32"/>
                    </a:lnTo>
                    <a:lnTo>
                      <a:pt x="120" y="30"/>
                    </a:lnTo>
                    <a:lnTo>
                      <a:pt x="120" y="30"/>
                    </a:lnTo>
                    <a:lnTo>
                      <a:pt x="120" y="30"/>
                    </a:lnTo>
                    <a:lnTo>
                      <a:pt x="120" y="28"/>
                    </a:lnTo>
                    <a:lnTo>
                      <a:pt x="120" y="26"/>
                    </a:lnTo>
                    <a:lnTo>
                      <a:pt x="120" y="26"/>
                    </a:lnTo>
                    <a:lnTo>
                      <a:pt x="120" y="22"/>
                    </a:lnTo>
                    <a:lnTo>
                      <a:pt x="120" y="22"/>
                    </a:lnTo>
                    <a:lnTo>
                      <a:pt x="120" y="20"/>
                    </a:lnTo>
                    <a:lnTo>
                      <a:pt x="120" y="20"/>
                    </a:lnTo>
                    <a:lnTo>
                      <a:pt x="120" y="18"/>
                    </a:lnTo>
                    <a:lnTo>
                      <a:pt x="120" y="18"/>
                    </a:lnTo>
                    <a:lnTo>
                      <a:pt x="120" y="18"/>
                    </a:lnTo>
                    <a:lnTo>
                      <a:pt x="120" y="18"/>
                    </a:lnTo>
                    <a:lnTo>
                      <a:pt x="120" y="16"/>
                    </a:lnTo>
                    <a:lnTo>
                      <a:pt x="120" y="16"/>
                    </a:lnTo>
                    <a:lnTo>
                      <a:pt x="120" y="14"/>
                    </a:lnTo>
                    <a:lnTo>
                      <a:pt x="120" y="14"/>
                    </a:lnTo>
                    <a:lnTo>
                      <a:pt x="118" y="12"/>
                    </a:lnTo>
                    <a:lnTo>
                      <a:pt x="116" y="12"/>
                    </a:lnTo>
                    <a:lnTo>
                      <a:pt x="114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08" y="12"/>
                    </a:lnTo>
                    <a:lnTo>
                      <a:pt x="106" y="12"/>
                    </a:lnTo>
                    <a:lnTo>
                      <a:pt x="106" y="12"/>
                    </a:lnTo>
                    <a:lnTo>
                      <a:pt x="104" y="14"/>
                    </a:lnTo>
                    <a:lnTo>
                      <a:pt x="102" y="14"/>
                    </a:lnTo>
                    <a:lnTo>
                      <a:pt x="102" y="16"/>
                    </a:lnTo>
                    <a:lnTo>
                      <a:pt x="102" y="16"/>
                    </a:lnTo>
                    <a:lnTo>
                      <a:pt x="100" y="18"/>
                    </a:lnTo>
                    <a:lnTo>
                      <a:pt x="100" y="18"/>
                    </a:lnTo>
                    <a:lnTo>
                      <a:pt x="100" y="18"/>
                    </a:lnTo>
                    <a:lnTo>
                      <a:pt x="100" y="18"/>
                    </a:lnTo>
                    <a:lnTo>
                      <a:pt x="98" y="18"/>
                    </a:lnTo>
                    <a:lnTo>
                      <a:pt x="98" y="18"/>
                    </a:lnTo>
                    <a:lnTo>
                      <a:pt x="96" y="18"/>
                    </a:lnTo>
                    <a:lnTo>
                      <a:pt x="96" y="18"/>
                    </a:lnTo>
                    <a:lnTo>
                      <a:pt x="94" y="18"/>
                    </a:lnTo>
                    <a:lnTo>
                      <a:pt x="94" y="18"/>
                    </a:lnTo>
                    <a:lnTo>
                      <a:pt x="92" y="18"/>
                    </a:lnTo>
                    <a:lnTo>
                      <a:pt x="92" y="18"/>
                    </a:lnTo>
                    <a:lnTo>
                      <a:pt x="92" y="18"/>
                    </a:lnTo>
                    <a:lnTo>
                      <a:pt x="92" y="18"/>
                    </a:lnTo>
                    <a:lnTo>
                      <a:pt x="92" y="20"/>
                    </a:lnTo>
                    <a:lnTo>
                      <a:pt x="92" y="20"/>
                    </a:lnTo>
                    <a:lnTo>
                      <a:pt x="92" y="22"/>
                    </a:lnTo>
                    <a:lnTo>
                      <a:pt x="94" y="24"/>
                    </a:lnTo>
                    <a:lnTo>
                      <a:pt x="94" y="24"/>
                    </a:lnTo>
                    <a:lnTo>
                      <a:pt x="96" y="26"/>
                    </a:lnTo>
                    <a:lnTo>
                      <a:pt x="98" y="28"/>
                    </a:lnTo>
                    <a:lnTo>
                      <a:pt x="98" y="28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2"/>
                    </a:lnTo>
                    <a:lnTo>
                      <a:pt x="100" y="32"/>
                    </a:lnTo>
                    <a:lnTo>
                      <a:pt x="100" y="34"/>
                    </a:lnTo>
                    <a:lnTo>
                      <a:pt x="98" y="34"/>
                    </a:lnTo>
                    <a:lnTo>
                      <a:pt x="98" y="34"/>
                    </a:lnTo>
                    <a:lnTo>
                      <a:pt x="94" y="36"/>
                    </a:lnTo>
                    <a:lnTo>
                      <a:pt x="92" y="38"/>
                    </a:lnTo>
                    <a:lnTo>
                      <a:pt x="92" y="38"/>
                    </a:lnTo>
                    <a:lnTo>
                      <a:pt x="92" y="40"/>
                    </a:lnTo>
                    <a:lnTo>
                      <a:pt x="92" y="40"/>
                    </a:lnTo>
                    <a:lnTo>
                      <a:pt x="92" y="42"/>
                    </a:lnTo>
                    <a:lnTo>
                      <a:pt x="92" y="42"/>
                    </a:lnTo>
                    <a:lnTo>
                      <a:pt x="94" y="42"/>
                    </a:lnTo>
                    <a:lnTo>
                      <a:pt x="94" y="42"/>
                    </a:lnTo>
                    <a:lnTo>
                      <a:pt x="96" y="44"/>
                    </a:lnTo>
                    <a:lnTo>
                      <a:pt x="98" y="46"/>
                    </a:lnTo>
                    <a:lnTo>
                      <a:pt x="98" y="48"/>
                    </a:lnTo>
                    <a:lnTo>
                      <a:pt x="98" y="48"/>
                    </a:lnTo>
                    <a:lnTo>
                      <a:pt x="98" y="48"/>
                    </a:lnTo>
                    <a:lnTo>
                      <a:pt x="96" y="50"/>
                    </a:lnTo>
                    <a:lnTo>
                      <a:pt x="96" y="50"/>
                    </a:lnTo>
                    <a:lnTo>
                      <a:pt x="96" y="50"/>
                    </a:lnTo>
                    <a:lnTo>
                      <a:pt x="96" y="50"/>
                    </a:lnTo>
                    <a:lnTo>
                      <a:pt x="94" y="50"/>
                    </a:lnTo>
                    <a:lnTo>
                      <a:pt x="94" y="50"/>
                    </a:lnTo>
                    <a:lnTo>
                      <a:pt x="92" y="50"/>
                    </a:lnTo>
                    <a:lnTo>
                      <a:pt x="92" y="50"/>
                    </a:lnTo>
                    <a:lnTo>
                      <a:pt x="90" y="48"/>
                    </a:lnTo>
                    <a:lnTo>
                      <a:pt x="88" y="48"/>
                    </a:lnTo>
                    <a:lnTo>
                      <a:pt x="86" y="46"/>
                    </a:lnTo>
                    <a:lnTo>
                      <a:pt x="84" y="46"/>
                    </a:lnTo>
                    <a:lnTo>
                      <a:pt x="84" y="46"/>
                    </a:lnTo>
                    <a:lnTo>
                      <a:pt x="80" y="48"/>
                    </a:lnTo>
                    <a:lnTo>
                      <a:pt x="76" y="48"/>
                    </a:lnTo>
                    <a:lnTo>
                      <a:pt x="74" y="48"/>
                    </a:lnTo>
                    <a:lnTo>
                      <a:pt x="72" y="48"/>
                    </a:lnTo>
                    <a:lnTo>
                      <a:pt x="72" y="46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0" y="44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68" y="40"/>
                    </a:lnTo>
                    <a:lnTo>
                      <a:pt x="68" y="40"/>
                    </a:lnTo>
                    <a:lnTo>
                      <a:pt x="68" y="40"/>
                    </a:lnTo>
                    <a:lnTo>
                      <a:pt x="68" y="40"/>
                    </a:lnTo>
                    <a:lnTo>
                      <a:pt x="68" y="38"/>
                    </a:lnTo>
                    <a:lnTo>
                      <a:pt x="68" y="38"/>
                    </a:lnTo>
                    <a:lnTo>
                      <a:pt x="70" y="36"/>
                    </a:lnTo>
                    <a:lnTo>
                      <a:pt x="70" y="36"/>
                    </a:lnTo>
                    <a:lnTo>
                      <a:pt x="70" y="36"/>
                    </a:lnTo>
                    <a:lnTo>
                      <a:pt x="70" y="36"/>
                    </a:lnTo>
                    <a:lnTo>
                      <a:pt x="70" y="34"/>
                    </a:lnTo>
                    <a:lnTo>
                      <a:pt x="68" y="34"/>
                    </a:lnTo>
                    <a:lnTo>
                      <a:pt x="68" y="32"/>
                    </a:lnTo>
                    <a:lnTo>
                      <a:pt x="66" y="30"/>
                    </a:lnTo>
                    <a:lnTo>
                      <a:pt x="66" y="30"/>
                    </a:lnTo>
                    <a:lnTo>
                      <a:pt x="66" y="30"/>
                    </a:lnTo>
                    <a:lnTo>
                      <a:pt x="68" y="28"/>
                    </a:lnTo>
                    <a:lnTo>
                      <a:pt x="68" y="28"/>
                    </a:lnTo>
                    <a:lnTo>
                      <a:pt x="68" y="28"/>
                    </a:lnTo>
                    <a:lnTo>
                      <a:pt x="68" y="26"/>
                    </a:lnTo>
                    <a:lnTo>
                      <a:pt x="66" y="26"/>
                    </a:lnTo>
                    <a:lnTo>
                      <a:pt x="66" y="24"/>
                    </a:lnTo>
                    <a:lnTo>
                      <a:pt x="66" y="24"/>
                    </a:lnTo>
                    <a:lnTo>
                      <a:pt x="66" y="24"/>
                    </a:lnTo>
                    <a:lnTo>
                      <a:pt x="66" y="22"/>
                    </a:lnTo>
                    <a:lnTo>
                      <a:pt x="66" y="20"/>
                    </a:lnTo>
                    <a:lnTo>
                      <a:pt x="66" y="20"/>
                    </a:lnTo>
                    <a:lnTo>
                      <a:pt x="66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6"/>
                    </a:lnTo>
                    <a:lnTo>
                      <a:pt x="62" y="14"/>
                    </a:lnTo>
                    <a:lnTo>
                      <a:pt x="62" y="14"/>
                    </a:lnTo>
                    <a:lnTo>
                      <a:pt x="60" y="14"/>
                    </a:lnTo>
                    <a:lnTo>
                      <a:pt x="60" y="14"/>
                    </a:lnTo>
                    <a:lnTo>
                      <a:pt x="58" y="14"/>
                    </a:lnTo>
                    <a:lnTo>
                      <a:pt x="56" y="14"/>
                    </a:lnTo>
                    <a:lnTo>
                      <a:pt x="54" y="12"/>
                    </a:lnTo>
                    <a:lnTo>
                      <a:pt x="54" y="12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2" y="8"/>
                    </a:lnTo>
                    <a:lnTo>
                      <a:pt x="52" y="6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0" y="2"/>
                    </a:lnTo>
                    <a:lnTo>
                      <a:pt x="48" y="2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40" y="0"/>
                    </a:lnTo>
                    <a:lnTo>
                      <a:pt x="38" y="0"/>
                    </a:lnTo>
                    <a:lnTo>
                      <a:pt x="36" y="2"/>
                    </a:lnTo>
                    <a:lnTo>
                      <a:pt x="36" y="2"/>
                    </a:lnTo>
                    <a:lnTo>
                      <a:pt x="36" y="2"/>
                    </a:lnTo>
                    <a:lnTo>
                      <a:pt x="36" y="2"/>
                    </a:lnTo>
                    <a:lnTo>
                      <a:pt x="36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99" name="Freeform 127"/>
              <p:cNvSpPr>
                <a:spLocks/>
              </p:cNvSpPr>
              <p:nvPr/>
            </p:nvSpPr>
            <p:spPr bwMode="auto">
              <a:xfrm>
                <a:off x="1467" y="1104"/>
                <a:ext cx="10" cy="6"/>
              </a:xfrm>
              <a:custGeom>
                <a:avLst/>
                <a:gdLst>
                  <a:gd name="T0" fmla="*/ 4 w 10"/>
                  <a:gd name="T1" fmla="*/ 0 h 6"/>
                  <a:gd name="T2" fmla="*/ 4 w 10"/>
                  <a:gd name="T3" fmla="*/ 0 h 6"/>
                  <a:gd name="T4" fmla="*/ 2 w 10"/>
                  <a:gd name="T5" fmla="*/ 0 h 6"/>
                  <a:gd name="T6" fmla="*/ 0 w 10"/>
                  <a:gd name="T7" fmla="*/ 2 h 6"/>
                  <a:gd name="T8" fmla="*/ 0 w 10"/>
                  <a:gd name="T9" fmla="*/ 2 h 6"/>
                  <a:gd name="T10" fmla="*/ 0 w 10"/>
                  <a:gd name="T11" fmla="*/ 2 h 6"/>
                  <a:gd name="T12" fmla="*/ 0 w 10"/>
                  <a:gd name="T13" fmla="*/ 2 h 6"/>
                  <a:gd name="T14" fmla="*/ 0 w 10"/>
                  <a:gd name="T15" fmla="*/ 4 h 6"/>
                  <a:gd name="T16" fmla="*/ 0 w 10"/>
                  <a:gd name="T17" fmla="*/ 4 h 6"/>
                  <a:gd name="T18" fmla="*/ 0 w 10"/>
                  <a:gd name="T19" fmla="*/ 4 h 6"/>
                  <a:gd name="T20" fmla="*/ 2 w 10"/>
                  <a:gd name="T21" fmla="*/ 6 h 6"/>
                  <a:gd name="T22" fmla="*/ 2 w 10"/>
                  <a:gd name="T23" fmla="*/ 6 h 6"/>
                  <a:gd name="T24" fmla="*/ 4 w 10"/>
                  <a:gd name="T25" fmla="*/ 6 h 6"/>
                  <a:gd name="T26" fmla="*/ 6 w 10"/>
                  <a:gd name="T27" fmla="*/ 6 h 6"/>
                  <a:gd name="T28" fmla="*/ 6 w 10"/>
                  <a:gd name="T29" fmla="*/ 6 h 6"/>
                  <a:gd name="T30" fmla="*/ 8 w 10"/>
                  <a:gd name="T31" fmla="*/ 6 h 6"/>
                  <a:gd name="T32" fmla="*/ 8 w 10"/>
                  <a:gd name="T33" fmla="*/ 6 h 6"/>
                  <a:gd name="T34" fmla="*/ 10 w 10"/>
                  <a:gd name="T35" fmla="*/ 6 h 6"/>
                  <a:gd name="T36" fmla="*/ 10 w 10"/>
                  <a:gd name="T37" fmla="*/ 4 h 6"/>
                  <a:gd name="T38" fmla="*/ 10 w 10"/>
                  <a:gd name="T39" fmla="*/ 4 h 6"/>
                  <a:gd name="T40" fmla="*/ 10 w 10"/>
                  <a:gd name="T41" fmla="*/ 2 h 6"/>
                  <a:gd name="T42" fmla="*/ 10 w 10"/>
                  <a:gd name="T43" fmla="*/ 2 h 6"/>
                  <a:gd name="T44" fmla="*/ 8 w 10"/>
                  <a:gd name="T45" fmla="*/ 0 h 6"/>
                  <a:gd name="T46" fmla="*/ 6 w 10"/>
                  <a:gd name="T47" fmla="*/ 0 h 6"/>
                  <a:gd name="T48" fmla="*/ 6 w 10"/>
                  <a:gd name="T49" fmla="*/ 0 h 6"/>
                  <a:gd name="T50" fmla="*/ 4 w 10"/>
                  <a:gd name="T51" fmla="*/ 0 h 6"/>
                  <a:gd name="T52" fmla="*/ 4 w 10"/>
                  <a:gd name="T53" fmla="*/ 0 h 6"/>
                  <a:gd name="T54" fmla="*/ 4 w 10"/>
                  <a:gd name="T55" fmla="*/ 0 h 6"/>
                  <a:gd name="T56" fmla="*/ 4 w 10"/>
                  <a:gd name="T57" fmla="*/ 0 h 6"/>
                  <a:gd name="T58" fmla="*/ 4 w 10"/>
                  <a:gd name="T5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0" h="6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600" name="Freeform 129"/>
              <p:cNvSpPr>
                <a:spLocks/>
              </p:cNvSpPr>
              <p:nvPr/>
            </p:nvSpPr>
            <p:spPr bwMode="auto">
              <a:xfrm>
                <a:off x="1481" y="1068"/>
                <a:ext cx="8" cy="10"/>
              </a:xfrm>
              <a:custGeom>
                <a:avLst/>
                <a:gdLst>
                  <a:gd name="T0" fmla="*/ 0 w 8"/>
                  <a:gd name="T1" fmla="*/ 2 h 10"/>
                  <a:gd name="T2" fmla="*/ 0 w 8"/>
                  <a:gd name="T3" fmla="*/ 2 h 10"/>
                  <a:gd name="T4" fmla="*/ 0 w 8"/>
                  <a:gd name="T5" fmla="*/ 4 h 10"/>
                  <a:gd name="T6" fmla="*/ 0 w 8"/>
                  <a:gd name="T7" fmla="*/ 6 h 10"/>
                  <a:gd name="T8" fmla="*/ 2 w 8"/>
                  <a:gd name="T9" fmla="*/ 10 h 10"/>
                  <a:gd name="T10" fmla="*/ 2 w 8"/>
                  <a:gd name="T11" fmla="*/ 10 h 10"/>
                  <a:gd name="T12" fmla="*/ 2 w 8"/>
                  <a:gd name="T13" fmla="*/ 10 h 10"/>
                  <a:gd name="T14" fmla="*/ 2 w 8"/>
                  <a:gd name="T15" fmla="*/ 10 h 10"/>
                  <a:gd name="T16" fmla="*/ 4 w 8"/>
                  <a:gd name="T17" fmla="*/ 10 h 10"/>
                  <a:gd name="T18" fmla="*/ 6 w 8"/>
                  <a:gd name="T19" fmla="*/ 10 h 10"/>
                  <a:gd name="T20" fmla="*/ 6 w 8"/>
                  <a:gd name="T21" fmla="*/ 8 h 10"/>
                  <a:gd name="T22" fmla="*/ 8 w 8"/>
                  <a:gd name="T23" fmla="*/ 8 h 10"/>
                  <a:gd name="T24" fmla="*/ 8 w 8"/>
                  <a:gd name="T25" fmla="*/ 6 h 10"/>
                  <a:gd name="T26" fmla="*/ 8 w 8"/>
                  <a:gd name="T27" fmla="*/ 4 h 10"/>
                  <a:gd name="T28" fmla="*/ 8 w 8"/>
                  <a:gd name="T29" fmla="*/ 4 h 10"/>
                  <a:gd name="T30" fmla="*/ 6 w 8"/>
                  <a:gd name="T31" fmla="*/ 2 h 10"/>
                  <a:gd name="T32" fmla="*/ 6 w 8"/>
                  <a:gd name="T33" fmla="*/ 0 h 10"/>
                  <a:gd name="T34" fmla="*/ 4 w 8"/>
                  <a:gd name="T35" fmla="*/ 0 h 10"/>
                  <a:gd name="T36" fmla="*/ 4 w 8"/>
                  <a:gd name="T37" fmla="*/ 0 h 10"/>
                  <a:gd name="T38" fmla="*/ 2 w 8"/>
                  <a:gd name="T39" fmla="*/ 0 h 10"/>
                  <a:gd name="T40" fmla="*/ 2 w 8"/>
                  <a:gd name="T41" fmla="*/ 0 h 10"/>
                  <a:gd name="T42" fmla="*/ 0 w 8"/>
                  <a:gd name="T43" fmla="*/ 2 h 10"/>
                  <a:gd name="T44" fmla="*/ 0 w 8"/>
                  <a:gd name="T45" fmla="*/ 2 h 10"/>
                  <a:gd name="T46" fmla="*/ 0 w 8"/>
                  <a:gd name="T47" fmla="*/ 2 h 10"/>
                  <a:gd name="T48" fmla="*/ 0 w 8"/>
                  <a:gd name="T49" fmla="*/ 2 h 10"/>
                  <a:gd name="T50" fmla="*/ 0 w 8"/>
                  <a:gd name="T51" fmla="*/ 2 h 10"/>
                  <a:gd name="T52" fmla="*/ 0 w 8"/>
                  <a:gd name="T53" fmla="*/ 2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8" h="10">
                    <a:moveTo>
                      <a:pt x="0" y="2"/>
                    </a:move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8"/>
                    </a:lnTo>
                    <a:lnTo>
                      <a:pt x="8" y="8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601" name="Freeform 131"/>
              <p:cNvSpPr>
                <a:spLocks/>
              </p:cNvSpPr>
              <p:nvPr/>
            </p:nvSpPr>
            <p:spPr bwMode="auto">
              <a:xfrm>
                <a:off x="1499" y="1060"/>
                <a:ext cx="46" cy="14"/>
              </a:xfrm>
              <a:custGeom>
                <a:avLst/>
                <a:gdLst>
                  <a:gd name="T0" fmla="*/ 26 w 46"/>
                  <a:gd name="T1" fmla="*/ 0 h 14"/>
                  <a:gd name="T2" fmla="*/ 20 w 46"/>
                  <a:gd name="T3" fmla="*/ 0 h 14"/>
                  <a:gd name="T4" fmla="*/ 20 w 46"/>
                  <a:gd name="T5" fmla="*/ 2 h 14"/>
                  <a:gd name="T6" fmla="*/ 16 w 46"/>
                  <a:gd name="T7" fmla="*/ 2 h 14"/>
                  <a:gd name="T8" fmla="*/ 8 w 46"/>
                  <a:gd name="T9" fmla="*/ 4 h 14"/>
                  <a:gd name="T10" fmla="*/ 4 w 46"/>
                  <a:gd name="T11" fmla="*/ 6 h 14"/>
                  <a:gd name="T12" fmla="*/ 2 w 46"/>
                  <a:gd name="T13" fmla="*/ 6 h 14"/>
                  <a:gd name="T14" fmla="*/ 2 w 46"/>
                  <a:gd name="T15" fmla="*/ 6 h 14"/>
                  <a:gd name="T16" fmla="*/ 0 w 46"/>
                  <a:gd name="T17" fmla="*/ 8 h 14"/>
                  <a:gd name="T18" fmla="*/ 2 w 46"/>
                  <a:gd name="T19" fmla="*/ 10 h 14"/>
                  <a:gd name="T20" fmla="*/ 6 w 46"/>
                  <a:gd name="T21" fmla="*/ 10 h 14"/>
                  <a:gd name="T22" fmla="*/ 10 w 46"/>
                  <a:gd name="T23" fmla="*/ 10 h 14"/>
                  <a:gd name="T24" fmla="*/ 14 w 46"/>
                  <a:gd name="T25" fmla="*/ 10 h 14"/>
                  <a:gd name="T26" fmla="*/ 18 w 46"/>
                  <a:gd name="T27" fmla="*/ 10 h 14"/>
                  <a:gd name="T28" fmla="*/ 20 w 46"/>
                  <a:gd name="T29" fmla="*/ 12 h 14"/>
                  <a:gd name="T30" fmla="*/ 24 w 46"/>
                  <a:gd name="T31" fmla="*/ 12 h 14"/>
                  <a:gd name="T32" fmla="*/ 26 w 46"/>
                  <a:gd name="T33" fmla="*/ 12 h 14"/>
                  <a:gd name="T34" fmla="*/ 26 w 46"/>
                  <a:gd name="T35" fmla="*/ 12 h 14"/>
                  <a:gd name="T36" fmla="*/ 30 w 46"/>
                  <a:gd name="T37" fmla="*/ 12 h 14"/>
                  <a:gd name="T38" fmla="*/ 32 w 46"/>
                  <a:gd name="T39" fmla="*/ 14 h 14"/>
                  <a:gd name="T40" fmla="*/ 34 w 46"/>
                  <a:gd name="T41" fmla="*/ 14 h 14"/>
                  <a:gd name="T42" fmla="*/ 40 w 46"/>
                  <a:gd name="T43" fmla="*/ 12 h 14"/>
                  <a:gd name="T44" fmla="*/ 42 w 46"/>
                  <a:gd name="T45" fmla="*/ 12 h 14"/>
                  <a:gd name="T46" fmla="*/ 44 w 46"/>
                  <a:gd name="T47" fmla="*/ 10 h 14"/>
                  <a:gd name="T48" fmla="*/ 46 w 46"/>
                  <a:gd name="T49" fmla="*/ 8 h 14"/>
                  <a:gd name="T50" fmla="*/ 46 w 46"/>
                  <a:gd name="T51" fmla="*/ 8 h 14"/>
                  <a:gd name="T52" fmla="*/ 42 w 46"/>
                  <a:gd name="T53" fmla="*/ 4 h 14"/>
                  <a:gd name="T54" fmla="*/ 40 w 46"/>
                  <a:gd name="T55" fmla="*/ 2 h 14"/>
                  <a:gd name="T56" fmla="*/ 38 w 46"/>
                  <a:gd name="T57" fmla="*/ 2 h 14"/>
                  <a:gd name="T58" fmla="*/ 32 w 46"/>
                  <a:gd name="T59" fmla="*/ 0 h 14"/>
                  <a:gd name="T60" fmla="*/ 30 w 46"/>
                  <a:gd name="T61" fmla="*/ 0 h 14"/>
                  <a:gd name="T62" fmla="*/ 26 w 46"/>
                  <a:gd name="T63" fmla="*/ 0 h 14"/>
                  <a:gd name="T64" fmla="*/ 26 w 46"/>
                  <a:gd name="T65" fmla="*/ 0 h 14"/>
                  <a:gd name="T66" fmla="*/ 26 w 46"/>
                  <a:gd name="T67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46" h="14">
                    <a:moveTo>
                      <a:pt x="26" y="0"/>
                    </a:moveTo>
                    <a:lnTo>
                      <a:pt x="26" y="0"/>
                    </a:lnTo>
                    <a:lnTo>
                      <a:pt x="24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2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2" y="8"/>
                    </a:lnTo>
                    <a:lnTo>
                      <a:pt x="2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10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6" y="10"/>
                    </a:lnTo>
                    <a:lnTo>
                      <a:pt x="18" y="10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2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8" y="12"/>
                    </a:lnTo>
                    <a:lnTo>
                      <a:pt x="30" y="12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4" y="14"/>
                    </a:lnTo>
                    <a:lnTo>
                      <a:pt x="36" y="14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2" y="12"/>
                    </a:lnTo>
                    <a:lnTo>
                      <a:pt x="44" y="12"/>
                    </a:lnTo>
                    <a:lnTo>
                      <a:pt x="44" y="10"/>
                    </a:lnTo>
                    <a:lnTo>
                      <a:pt x="46" y="10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4" y="6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0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4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0" y="0"/>
                    </a:lnTo>
                    <a:lnTo>
                      <a:pt x="28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602" name="Freeform 133"/>
              <p:cNvSpPr>
                <a:spLocks/>
              </p:cNvSpPr>
              <p:nvPr/>
            </p:nvSpPr>
            <p:spPr bwMode="auto">
              <a:xfrm>
                <a:off x="1495" y="1078"/>
                <a:ext cx="42" cy="20"/>
              </a:xfrm>
              <a:custGeom>
                <a:avLst/>
                <a:gdLst>
                  <a:gd name="T0" fmla="*/ 32 w 42"/>
                  <a:gd name="T1" fmla="*/ 0 h 20"/>
                  <a:gd name="T2" fmla="*/ 28 w 42"/>
                  <a:gd name="T3" fmla="*/ 2 h 20"/>
                  <a:gd name="T4" fmla="*/ 28 w 42"/>
                  <a:gd name="T5" fmla="*/ 2 h 20"/>
                  <a:gd name="T6" fmla="*/ 24 w 42"/>
                  <a:gd name="T7" fmla="*/ 2 h 20"/>
                  <a:gd name="T8" fmla="*/ 22 w 42"/>
                  <a:gd name="T9" fmla="*/ 2 h 20"/>
                  <a:gd name="T10" fmla="*/ 20 w 42"/>
                  <a:gd name="T11" fmla="*/ 2 h 20"/>
                  <a:gd name="T12" fmla="*/ 16 w 42"/>
                  <a:gd name="T13" fmla="*/ 2 h 20"/>
                  <a:gd name="T14" fmla="*/ 16 w 42"/>
                  <a:gd name="T15" fmla="*/ 2 h 20"/>
                  <a:gd name="T16" fmla="*/ 12 w 42"/>
                  <a:gd name="T17" fmla="*/ 2 h 20"/>
                  <a:gd name="T18" fmla="*/ 10 w 42"/>
                  <a:gd name="T19" fmla="*/ 4 h 20"/>
                  <a:gd name="T20" fmla="*/ 4 w 42"/>
                  <a:gd name="T21" fmla="*/ 6 h 20"/>
                  <a:gd name="T22" fmla="*/ 2 w 42"/>
                  <a:gd name="T23" fmla="*/ 6 h 20"/>
                  <a:gd name="T24" fmla="*/ 0 w 42"/>
                  <a:gd name="T25" fmla="*/ 8 h 20"/>
                  <a:gd name="T26" fmla="*/ 0 w 42"/>
                  <a:gd name="T27" fmla="*/ 12 h 20"/>
                  <a:gd name="T28" fmla="*/ 0 w 42"/>
                  <a:gd name="T29" fmla="*/ 14 h 20"/>
                  <a:gd name="T30" fmla="*/ 0 w 42"/>
                  <a:gd name="T31" fmla="*/ 16 h 20"/>
                  <a:gd name="T32" fmla="*/ 2 w 42"/>
                  <a:gd name="T33" fmla="*/ 16 h 20"/>
                  <a:gd name="T34" fmla="*/ 4 w 42"/>
                  <a:gd name="T35" fmla="*/ 18 h 20"/>
                  <a:gd name="T36" fmla="*/ 8 w 42"/>
                  <a:gd name="T37" fmla="*/ 18 h 20"/>
                  <a:gd name="T38" fmla="*/ 12 w 42"/>
                  <a:gd name="T39" fmla="*/ 18 h 20"/>
                  <a:gd name="T40" fmla="*/ 12 w 42"/>
                  <a:gd name="T41" fmla="*/ 20 h 20"/>
                  <a:gd name="T42" fmla="*/ 14 w 42"/>
                  <a:gd name="T43" fmla="*/ 20 h 20"/>
                  <a:gd name="T44" fmla="*/ 18 w 42"/>
                  <a:gd name="T45" fmla="*/ 20 h 20"/>
                  <a:gd name="T46" fmla="*/ 22 w 42"/>
                  <a:gd name="T47" fmla="*/ 20 h 20"/>
                  <a:gd name="T48" fmla="*/ 26 w 42"/>
                  <a:gd name="T49" fmla="*/ 20 h 20"/>
                  <a:gd name="T50" fmla="*/ 30 w 42"/>
                  <a:gd name="T51" fmla="*/ 20 h 20"/>
                  <a:gd name="T52" fmla="*/ 32 w 42"/>
                  <a:gd name="T53" fmla="*/ 18 h 20"/>
                  <a:gd name="T54" fmla="*/ 32 w 42"/>
                  <a:gd name="T55" fmla="*/ 16 h 20"/>
                  <a:gd name="T56" fmla="*/ 34 w 42"/>
                  <a:gd name="T57" fmla="*/ 14 h 20"/>
                  <a:gd name="T58" fmla="*/ 34 w 42"/>
                  <a:gd name="T59" fmla="*/ 12 h 20"/>
                  <a:gd name="T60" fmla="*/ 34 w 42"/>
                  <a:gd name="T61" fmla="*/ 12 h 20"/>
                  <a:gd name="T62" fmla="*/ 36 w 42"/>
                  <a:gd name="T63" fmla="*/ 12 h 20"/>
                  <a:gd name="T64" fmla="*/ 38 w 42"/>
                  <a:gd name="T65" fmla="*/ 12 h 20"/>
                  <a:gd name="T66" fmla="*/ 40 w 42"/>
                  <a:gd name="T67" fmla="*/ 12 h 20"/>
                  <a:gd name="T68" fmla="*/ 40 w 42"/>
                  <a:gd name="T69" fmla="*/ 10 h 20"/>
                  <a:gd name="T70" fmla="*/ 38 w 42"/>
                  <a:gd name="T71" fmla="*/ 8 h 20"/>
                  <a:gd name="T72" fmla="*/ 38 w 42"/>
                  <a:gd name="T73" fmla="*/ 6 h 20"/>
                  <a:gd name="T74" fmla="*/ 40 w 42"/>
                  <a:gd name="T75" fmla="*/ 6 h 20"/>
                  <a:gd name="T76" fmla="*/ 42 w 42"/>
                  <a:gd name="T77" fmla="*/ 4 h 20"/>
                  <a:gd name="T78" fmla="*/ 40 w 42"/>
                  <a:gd name="T79" fmla="*/ 2 h 20"/>
                  <a:gd name="T80" fmla="*/ 38 w 42"/>
                  <a:gd name="T81" fmla="*/ 0 h 20"/>
                  <a:gd name="T82" fmla="*/ 36 w 42"/>
                  <a:gd name="T83" fmla="*/ 0 h 20"/>
                  <a:gd name="T84" fmla="*/ 32 w 42"/>
                  <a:gd name="T85" fmla="*/ 0 h 20"/>
                  <a:gd name="T86" fmla="*/ 32 w 42"/>
                  <a:gd name="T87" fmla="*/ 0 h 20"/>
                  <a:gd name="T88" fmla="*/ 32 w 42"/>
                  <a:gd name="T89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42" h="20">
                    <a:moveTo>
                      <a:pt x="32" y="0"/>
                    </a:moveTo>
                    <a:lnTo>
                      <a:pt x="32" y="0"/>
                    </a:lnTo>
                    <a:lnTo>
                      <a:pt x="30" y="2"/>
                    </a:lnTo>
                    <a:lnTo>
                      <a:pt x="28" y="2"/>
                    </a:lnTo>
                    <a:lnTo>
                      <a:pt x="28" y="2"/>
                    </a:lnTo>
                    <a:lnTo>
                      <a:pt x="28" y="2"/>
                    </a:lnTo>
                    <a:lnTo>
                      <a:pt x="26" y="2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2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8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4" y="2"/>
                    </a:lnTo>
                    <a:lnTo>
                      <a:pt x="12" y="2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6" y="4"/>
                    </a:lnTo>
                    <a:lnTo>
                      <a:pt x="4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8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2" y="16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6" y="18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6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22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8" y="20"/>
                    </a:lnTo>
                    <a:lnTo>
                      <a:pt x="30" y="20"/>
                    </a:lnTo>
                    <a:lnTo>
                      <a:pt x="30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4" y="14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0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6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40" y="4"/>
                    </a:lnTo>
                    <a:lnTo>
                      <a:pt x="42" y="4"/>
                    </a:lnTo>
                    <a:lnTo>
                      <a:pt x="40" y="2"/>
                    </a:lnTo>
                    <a:lnTo>
                      <a:pt x="40" y="2"/>
                    </a:lnTo>
                    <a:lnTo>
                      <a:pt x="38" y="2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6" y="0"/>
                    </a:lnTo>
                    <a:lnTo>
                      <a:pt x="34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603" name="Freeform 135"/>
              <p:cNvSpPr>
                <a:spLocks/>
              </p:cNvSpPr>
              <p:nvPr/>
            </p:nvSpPr>
            <p:spPr bwMode="auto">
              <a:xfrm>
                <a:off x="1569" y="1108"/>
                <a:ext cx="14" cy="24"/>
              </a:xfrm>
              <a:custGeom>
                <a:avLst/>
                <a:gdLst>
                  <a:gd name="T0" fmla="*/ 2 w 14"/>
                  <a:gd name="T1" fmla="*/ 0 h 24"/>
                  <a:gd name="T2" fmla="*/ 0 w 14"/>
                  <a:gd name="T3" fmla="*/ 2 h 24"/>
                  <a:gd name="T4" fmla="*/ 0 w 14"/>
                  <a:gd name="T5" fmla="*/ 4 h 24"/>
                  <a:gd name="T6" fmla="*/ 2 w 14"/>
                  <a:gd name="T7" fmla="*/ 4 h 24"/>
                  <a:gd name="T8" fmla="*/ 2 w 14"/>
                  <a:gd name="T9" fmla="*/ 8 h 24"/>
                  <a:gd name="T10" fmla="*/ 2 w 14"/>
                  <a:gd name="T11" fmla="*/ 10 h 24"/>
                  <a:gd name="T12" fmla="*/ 2 w 14"/>
                  <a:gd name="T13" fmla="*/ 12 h 24"/>
                  <a:gd name="T14" fmla="*/ 4 w 14"/>
                  <a:gd name="T15" fmla="*/ 18 h 24"/>
                  <a:gd name="T16" fmla="*/ 4 w 14"/>
                  <a:gd name="T17" fmla="*/ 20 h 24"/>
                  <a:gd name="T18" fmla="*/ 6 w 14"/>
                  <a:gd name="T19" fmla="*/ 24 h 24"/>
                  <a:gd name="T20" fmla="*/ 8 w 14"/>
                  <a:gd name="T21" fmla="*/ 24 h 24"/>
                  <a:gd name="T22" fmla="*/ 10 w 14"/>
                  <a:gd name="T23" fmla="*/ 24 h 24"/>
                  <a:gd name="T24" fmla="*/ 10 w 14"/>
                  <a:gd name="T25" fmla="*/ 20 h 24"/>
                  <a:gd name="T26" fmla="*/ 12 w 14"/>
                  <a:gd name="T27" fmla="*/ 20 h 24"/>
                  <a:gd name="T28" fmla="*/ 14 w 14"/>
                  <a:gd name="T29" fmla="*/ 18 h 24"/>
                  <a:gd name="T30" fmla="*/ 14 w 14"/>
                  <a:gd name="T31" fmla="*/ 18 h 24"/>
                  <a:gd name="T32" fmla="*/ 14 w 14"/>
                  <a:gd name="T33" fmla="*/ 16 h 24"/>
                  <a:gd name="T34" fmla="*/ 12 w 14"/>
                  <a:gd name="T35" fmla="*/ 14 h 24"/>
                  <a:gd name="T36" fmla="*/ 12 w 14"/>
                  <a:gd name="T37" fmla="*/ 10 h 24"/>
                  <a:gd name="T38" fmla="*/ 12 w 14"/>
                  <a:gd name="T39" fmla="*/ 10 h 24"/>
                  <a:gd name="T40" fmla="*/ 10 w 14"/>
                  <a:gd name="T41" fmla="*/ 8 h 24"/>
                  <a:gd name="T42" fmla="*/ 10 w 14"/>
                  <a:gd name="T43" fmla="*/ 8 h 24"/>
                  <a:gd name="T44" fmla="*/ 10 w 14"/>
                  <a:gd name="T45" fmla="*/ 8 h 24"/>
                  <a:gd name="T46" fmla="*/ 10 w 14"/>
                  <a:gd name="T47" fmla="*/ 6 h 24"/>
                  <a:gd name="T48" fmla="*/ 10 w 14"/>
                  <a:gd name="T49" fmla="*/ 6 h 24"/>
                  <a:gd name="T50" fmla="*/ 10 w 14"/>
                  <a:gd name="T51" fmla="*/ 6 h 24"/>
                  <a:gd name="T52" fmla="*/ 10 w 14"/>
                  <a:gd name="T53" fmla="*/ 4 h 24"/>
                  <a:gd name="T54" fmla="*/ 8 w 14"/>
                  <a:gd name="T55" fmla="*/ 2 h 24"/>
                  <a:gd name="T56" fmla="*/ 4 w 14"/>
                  <a:gd name="T57" fmla="*/ 0 h 24"/>
                  <a:gd name="T58" fmla="*/ 2 w 14"/>
                  <a:gd name="T59" fmla="*/ 0 h 24"/>
                  <a:gd name="T60" fmla="*/ 2 w 14"/>
                  <a:gd name="T61" fmla="*/ 0 h 24"/>
                  <a:gd name="T62" fmla="*/ 2 w 14"/>
                  <a:gd name="T63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4" h="24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2" y="8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4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20"/>
                    </a:lnTo>
                    <a:lnTo>
                      <a:pt x="6" y="22"/>
                    </a:lnTo>
                    <a:lnTo>
                      <a:pt x="6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0" y="24"/>
                    </a:lnTo>
                    <a:lnTo>
                      <a:pt x="10" y="22"/>
                    </a:lnTo>
                    <a:lnTo>
                      <a:pt x="10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4" y="20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6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604" name="Freeform 138"/>
              <p:cNvSpPr>
                <a:spLocks/>
              </p:cNvSpPr>
              <p:nvPr/>
            </p:nvSpPr>
            <p:spPr bwMode="auto">
              <a:xfrm>
                <a:off x="1545" y="1182"/>
                <a:ext cx="16" cy="16"/>
              </a:xfrm>
              <a:custGeom>
                <a:avLst/>
                <a:gdLst>
                  <a:gd name="T0" fmla="*/ 8 w 16"/>
                  <a:gd name="T1" fmla="*/ 2 h 16"/>
                  <a:gd name="T2" fmla="*/ 8 w 16"/>
                  <a:gd name="T3" fmla="*/ 2 h 16"/>
                  <a:gd name="T4" fmla="*/ 6 w 16"/>
                  <a:gd name="T5" fmla="*/ 2 h 16"/>
                  <a:gd name="T6" fmla="*/ 4 w 16"/>
                  <a:gd name="T7" fmla="*/ 2 h 16"/>
                  <a:gd name="T8" fmla="*/ 4 w 16"/>
                  <a:gd name="T9" fmla="*/ 4 h 16"/>
                  <a:gd name="T10" fmla="*/ 4 w 16"/>
                  <a:gd name="T11" fmla="*/ 4 h 16"/>
                  <a:gd name="T12" fmla="*/ 2 w 16"/>
                  <a:gd name="T13" fmla="*/ 6 h 16"/>
                  <a:gd name="T14" fmla="*/ 2 w 16"/>
                  <a:gd name="T15" fmla="*/ 10 h 16"/>
                  <a:gd name="T16" fmla="*/ 2 w 16"/>
                  <a:gd name="T17" fmla="*/ 10 h 16"/>
                  <a:gd name="T18" fmla="*/ 0 w 16"/>
                  <a:gd name="T19" fmla="*/ 12 h 16"/>
                  <a:gd name="T20" fmla="*/ 0 w 16"/>
                  <a:gd name="T21" fmla="*/ 12 h 16"/>
                  <a:gd name="T22" fmla="*/ 0 w 16"/>
                  <a:gd name="T23" fmla="*/ 14 h 16"/>
                  <a:gd name="T24" fmla="*/ 2 w 16"/>
                  <a:gd name="T25" fmla="*/ 16 h 16"/>
                  <a:gd name="T26" fmla="*/ 2 w 16"/>
                  <a:gd name="T27" fmla="*/ 16 h 16"/>
                  <a:gd name="T28" fmla="*/ 2 w 16"/>
                  <a:gd name="T29" fmla="*/ 16 h 16"/>
                  <a:gd name="T30" fmla="*/ 4 w 16"/>
                  <a:gd name="T31" fmla="*/ 16 h 16"/>
                  <a:gd name="T32" fmla="*/ 4 w 16"/>
                  <a:gd name="T33" fmla="*/ 16 h 16"/>
                  <a:gd name="T34" fmla="*/ 6 w 16"/>
                  <a:gd name="T35" fmla="*/ 16 h 16"/>
                  <a:gd name="T36" fmla="*/ 8 w 16"/>
                  <a:gd name="T37" fmla="*/ 14 h 16"/>
                  <a:gd name="T38" fmla="*/ 8 w 16"/>
                  <a:gd name="T39" fmla="*/ 14 h 16"/>
                  <a:gd name="T40" fmla="*/ 12 w 16"/>
                  <a:gd name="T41" fmla="*/ 12 h 16"/>
                  <a:gd name="T42" fmla="*/ 14 w 16"/>
                  <a:gd name="T43" fmla="*/ 10 h 16"/>
                  <a:gd name="T44" fmla="*/ 16 w 16"/>
                  <a:gd name="T45" fmla="*/ 8 h 16"/>
                  <a:gd name="T46" fmla="*/ 16 w 16"/>
                  <a:gd name="T47" fmla="*/ 8 h 16"/>
                  <a:gd name="T48" fmla="*/ 16 w 16"/>
                  <a:gd name="T49" fmla="*/ 6 h 16"/>
                  <a:gd name="T50" fmla="*/ 16 w 16"/>
                  <a:gd name="T51" fmla="*/ 6 h 16"/>
                  <a:gd name="T52" fmla="*/ 16 w 16"/>
                  <a:gd name="T53" fmla="*/ 4 h 16"/>
                  <a:gd name="T54" fmla="*/ 16 w 16"/>
                  <a:gd name="T55" fmla="*/ 2 h 16"/>
                  <a:gd name="T56" fmla="*/ 16 w 16"/>
                  <a:gd name="T57" fmla="*/ 2 h 16"/>
                  <a:gd name="T58" fmla="*/ 16 w 16"/>
                  <a:gd name="T59" fmla="*/ 2 h 16"/>
                  <a:gd name="T60" fmla="*/ 14 w 16"/>
                  <a:gd name="T61" fmla="*/ 0 h 16"/>
                  <a:gd name="T62" fmla="*/ 14 w 16"/>
                  <a:gd name="T63" fmla="*/ 0 h 16"/>
                  <a:gd name="T64" fmla="*/ 12 w 16"/>
                  <a:gd name="T65" fmla="*/ 0 h 16"/>
                  <a:gd name="T66" fmla="*/ 12 w 16"/>
                  <a:gd name="T67" fmla="*/ 0 h 16"/>
                  <a:gd name="T68" fmla="*/ 10 w 16"/>
                  <a:gd name="T69" fmla="*/ 0 h 16"/>
                  <a:gd name="T70" fmla="*/ 10 w 16"/>
                  <a:gd name="T71" fmla="*/ 0 h 16"/>
                  <a:gd name="T72" fmla="*/ 8 w 16"/>
                  <a:gd name="T73" fmla="*/ 2 h 16"/>
                  <a:gd name="T74" fmla="*/ 8 w 16"/>
                  <a:gd name="T75" fmla="*/ 2 h 16"/>
                  <a:gd name="T76" fmla="*/ 8 w 16"/>
                  <a:gd name="T77" fmla="*/ 2 h 16"/>
                  <a:gd name="T78" fmla="*/ 8 w 16"/>
                  <a:gd name="T79" fmla="*/ 2 h 16"/>
                  <a:gd name="T80" fmla="*/ 8 w 16"/>
                  <a:gd name="T81" fmla="*/ 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6" h="16">
                    <a:moveTo>
                      <a:pt x="8" y="2"/>
                    </a:moveTo>
                    <a:lnTo>
                      <a:pt x="8" y="2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6" y="16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2"/>
                    </a:lnTo>
                    <a:lnTo>
                      <a:pt x="14" y="10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8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605" name="Freeform 139"/>
              <p:cNvSpPr>
                <a:spLocks/>
              </p:cNvSpPr>
              <p:nvPr/>
            </p:nvSpPr>
            <p:spPr bwMode="auto">
              <a:xfrm>
                <a:off x="1573" y="1148"/>
                <a:ext cx="10" cy="12"/>
              </a:xfrm>
              <a:custGeom>
                <a:avLst/>
                <a:gdLst>
                  <a:gd name="T0" fmla="*/ 2 w 10"/>
                  <a:gd name="T1" fmla="*/ 0 h 12"/>
                  <a:gd name="T2" fmla="*/ 2 w 10"/>
                  <a:gd name="T3" fmla="*/ 0 h 12"/>
                  <a:gd name="T4" fmla="*/ 0 w 10"/>
                  <a:gd name="T5" fmla="*/ 2 h 12"/>
                  <a:gd name="T6" fmla="*/ 0 w 10"/>
                  <a:gd name="T7" fmla="*/ 4 h 12"/>
                  <a:gd name="T8" fmla="*/ 2 w 10"/>
                  <a:gd name="T9" fmla="*/ 4 h 12"/>
                  <a:gd name="T10" fmla="*/ 2 w 10"/>
                  <a:gd name="T11" fmla="*/ 6 h 12"/>
                  <a:gd name="T12" fmla="*/ 2 w 10"/>
                  <a:gd name="T13" fmla="*/ 6 h 12"/>
                  <a:gd name="T14" fmla="*/ 2 w 10"/>
                  <a:gd name="T15" fmla="*/ 8 h 12"/>
                  <a:gd name="T16" fmla="*/ 2 w 10"/>
                  <a:gd name="T17" fmla="*/ 10 h 12"/>
                  <a:gd name="T18" fmla="*/ 2 w 10"/>
                  <a:gd name="T19" fmla="*/ 10 h 12"/>
                  <a:gd name="T20" fmla="*/ 2 w 10"/>
                  <a:gd name="T21" fmla="*/ 12 h 12"/>
                  <a:gd name="T22" fmla="*/ 4 w 10"/>
                  <a:gd name="T23" fmla="*/ 12 h 12"/>
                  <a:gd name="T24" fmla="*/ 4 w 10"/>
                  <a:gd name="T25" fmla="*/ 12 h 12"/>
                  <a:gd name="T26" fmla="*/ 4 w 10"/>
                  <a:gd name="T27" fmla="*/ 12 h 12"/>
                  <a:gd name="T28" fmla="*/ 6 w 10"/>
                  <a:gd name="T29" fmla="*/ 12 h 12"/>
                  <a:gd name="T30" fmla="*/ 6 w 10"/>
                  <a:gd name="T31" fmla="*/ 12 h 12"/>
                  <a:gd name="T32" fmla="*/ 8 w 10"/>
                  <a:gd name="T33" fmla="*/ 10 h 12"/>
                  <a:gd name="T34" fmla="*/ 8 w 10"/>
                  <a:gd name="T35" fmla="*/ 10 h 12"/>
                  <a:gd name="T36" fmla="*/ 8 w 10"/>
                  <a:gd name="T37" fmla="*/ 10 h 12"/>
                  <a:gd name="T38" fmla="*/ 10 w 10"/>
                  <a:gd name="T39" fmla="*/ 8 h 12"/>
                  <a:gd name="T40" fmla="*/ 10 w 10"/>
                  <a:gd name="T41" fmla="*/ 6 h 12"/>
                  <a:gd name="T42" fmla="*/ 10 w 10"/>
                  <a:gd name="T43" fmla="*/ 4 h 12"/>
                  <a:gd name="T44" fmla="*/ 10 w 10"/>
                  <a:gd name="T45" fmla="*/ 2 h 12"/>
                  <a:gd name="T46" fmla="*/ 10 w 10"/>
                  <a:gd name="T47" fmla="*/ 2 h 12"/>
                  <a:gd name="T48" fmla="*/ 10 w 10"/>
                  <a:gd name="T49" fmla="*/ 2 h 12"/>
                  <a:gd name="T50" fmla="*/ 8 w 10"/>
                  <a:gd name="T51" fmla="*/ 0 h 12"/>
                  <a:gd name="T52" fmla="*/ 8 w 10"/>
                  <a:gd name="T53" fmla="*/ 0 h 12"/>
                  <a:gd name="T54" fmla="*/ 6 w 10"/>
                  <a:gd name="T55" fmla="*/ 0 h 12"/>
                  <a:gd name="T56" fmla="*/ 6 w 10"/>
                  <a:gd name="T57" fmla="*/ 0 h 12"/>
                  <a:gd name="T58" fmla="*/ 4 w 10"/>
                  <a:gd name="T59" fmla="*/ 0 h 12"/>
                  <a:gd name="T60" fmla="*/ 2 w 10"/>
                  <a:gd name="T61" fmla="*/ 0 h 12"/>
                  <a:gd name="T62" fmla="*/ 2 w 10"/>
                  <a:gd name="T63" fmla="*/ 0 h 12"/>
                  <a:gd name="T64" fmla="*/ 2 w 10"/>
                  <a:gd name="T65" fmla="*/ 0 h 12"/>
                  <a:gd name="T66" fmla="*/ 2 w 10"/>
                  <a:gd name="T67" fmla="*/ 0 h 12"/>
                  <a:gd name="T68" fmla="*/ 2 w 10"/>
                  <a:gd name="T69" fmla="*/ 0 h 12"/>
                  <a:gd name="T70" fmla="*/ 2 w 10"/>
                  <a:gd name="T71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0" h="12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8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0" y="8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606" name="Freeform 141"/>
              <p:cNvSpPr>
                <a:spLocks/>
              </p:cNvSpPr>
              <p:nvPr/>
            </p:nvSpPr>
            <p:spPr bwMode="auto">
              <a:xfrm>
                <a:off x="1573" y="1164"/>
                <a:ext cx="14" cy="8"/>
              </a:xfrm>
              <a:custGeom>
                <a:avLst/>
                <a:gdLst>
                  <a:gd name="T0" fmla="*/ 4 w 14"/>
                  <a:gd name="T1" fmla="*/ 2 h 8"/>
                  <a:gd name="T2" fmla="*/ 4 w 14"/>
                  <a:gd name="T3" fmla="*/ 2 h 8"/>
                  <a:gd name="T4" fmla="*/ 2 w 14"/>
                  <a:gd name="T5" fmla="*/ 4 h 8"/>
                  <a:gd name="T6" fmla="*/ 0 w 14"/>
                  <a:gd name="T7" fmla="*/ 4 h 8"/>
                  <a:gd name="T8" fmla="*/ 0 w 14"/>
                  <a:gd name="T9" fmla="*/ 6 h 8"/>
                  <a:gd name="T10" fmla="*/ 0 w 14"/>
                  <a:gd name="T11" fmla="*/ 6 h 8"/>
                  <a:gd name="T12" fmla="*/ 0 w 14"/>
                  <a:gd name="T13" fmla="*/ 6 h 8"/>
                  <a:gd name="T14" fmla="*/ 0 w 14"/>
                  <a:gd name="T15" fmla="*/ 6 h 8"/>
                  <a:gd name="T16" fmla="*/ 0 w 14"/>
                  <a:gd name="T17" fmla="*/ 8 h 8"/>
                  <a:gd name="T18" fmla="*/ 2 w 14"/>
                  <a:gd name="T19" fmla="*/ 8 h 8"/>
                  <a:gd name="T20" fmla="*/ 6 w 14"/>
                  <a:gd name="T21" fmla="*/ 8 h 8"/>
                  <a:gd name="T22" fmla="*/ 6 w 14"/>
                  <a:gd name="T23" fmla="*/ 8 h 8"/>
                  <a:gd name="T24" fmla="*/ 6 w 14"/>
                  <a:gd name="T25" fmla="*/ 8 h 8"/>
                  <a:gd name="T26" fmla="*/ 8 w 14"/>
                  <a:gd name="T27" fmla="*/ 6 h 8"/>
                  <a:gd name="T28" fmla="*/ 10 w 14"/>
                  <a:gd name="T29" fmla="*/ 6 h 8"/>
                  <a:gd name="T30" fmla="*/ 10 w 14"/>
                  <a:gd name="T31" fmla="*/ 6 h 8"/>
                  <a:gd name="T32" fmla="*/ 12 w 14"/>
                  <a:gd name="T33" fmla="*/ 4 h 8"/>
                  <a:gd name="T34" fmla="*/ 14 w 14"/>
                  <a:gd name="T35" fmla="*/ 4 h 8"/>
                  <a:gd name="T36" fmla="*/ 14 w 14"/>
                  <a:gd name="T37" fmla="*/ 4 h 8"/>
                  <a:gd name="T38" fmla="*/ 14 w 14"/>
                  <a:gd name="T39" fmla="*/ 4 h 8"/>
                  <a:gd name="T40" fmla="*/ 14 w 14"/>
                  <a:gd name="T41" fmla="*/ 2 h 8"/>
                  <a:gd name="T42" fmla="*/ 12 w 14"/>
                  <a:gd name="T43" fmla="*/ 0 h 8"/>
                  <a:gd name="T44" fmla="*/ 12 w 14"/>
                  <a:gd name="T45" fmla="*/ 0 h 8"/>
                  <a:gd name="T46" fmla="*/ 10 w 14"/>
                  <a:gd name="T47" fmla="*/ 0 h 8"/>
                  <a:gd name="T48" fmla="*/ 6 w 14"/>
                  <a:gd name="T49" fmla="*/ 0 h 8"/>
                  <a:gd name="T50" fmla="*/ 4 w 14"/>
                  <a:gd name="T51" fmla="*/ 2 h 8"/>
                  <a:gd name="T52" fmla="*/ 4 w 14"/>
                  <a:gd name="T53" fmla="*/ 2 h 8"/>
                  <a:gd name="T54" fmla="*/ 4 w 14"/>
                  <a:gd name="T55" fmla="*/ 2 h 8"/>
                  <a:gd name="T56" fmla="*/ 4 w 14"/>
                  <a:gd name="T57" fmla="*/ 2 h 8"/>
                  <a:gd name="T58" fmla="*/ 4 w 14"/>
                  <a:gd name="T59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4" h="8">
                    <a:moveTo>
                      <a:pt x="4" y="2"/>
                    </a:moveTo>
                    <a:lnTo>
                      <a:pt x="4" y="2"/>
                    </a:lnTo>
                    <a:lnTo>
                      <a:pt x="2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2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2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607" name="Freeform 143"/>
              <p:cNvSpPr>
                <a:spLocks/>
              </p:cNvSpPr>
              <p:nvPr/>
            </p:nvSpPr>
            <p:spPr bwMode="auto">
              <a:xfrm>
                <a:off x="1575" y="1170"/>
                <a:ext cx="14" cy="12"/>
              </a:xfrm>
              <a:custGeom>
                <a:avLst/>
                <a:gdLst>
                  <a:gd name="T0" fmla="*/ 4 w 14"/>
                  <a:gd name="T1" fmla="*/ 4 h 12"/>
                  <a:gd name="T2" fmla="*/ 4 w 14"/>
                  <a:gd name="T3" fmla="*/ 4 h 12"/>
                  <a:gd name="T4" fmla="*/ 2 w 14"/>
                  <a:gd name="T5" fmla="*/ 6 h 12"/>
                  <a:gd name="T6" fmla="*/ 0 w 14"/>
                  <a:gd name="T7" fmla="*/ 6 h 12"/>
                  <a:gd name="T8" fmla="*/ 0 w 14"/>
                  <a:gd name="T9" fmla="*/ 6 h 12"/>
                  <a:gd name="T10" fmla="*/ 0 w 14"/>
                  <a:gd name="T11" fmla="*/ 8 h 12"/>
                  <a:gd name="T12" fmla="*/ 0 w 14"/>
                  <a:gd name="T13" fmla="*/ 8 h 12"/>
                  <a:gd name="T14" fmla="*/ 0 w 14"/>
                  <a:gd name="T15" fmla="*/ 8 h 12"/>
                  <a:gd name="T16" fmla="*/ 0 w 14"/>
                  <a:gd name="T17" fmla="*/ 10 h 12"/>
                  <a:gd name="T18" fmla="*/ 2 w 14"/>
                  <a:gd name="T19" fmla="*/ 10 h 12"/>
                  <a:gd name="T20" fmla="*/ 2 w 14"/>
                  <a:gd name="T21" fmla="*/ 12 h 12"/>
                  <a:gd name="T22" fmla="*/ 2 w 14"/>
                  <a:gd name="T23" fmla="*/ 12 h 12"/>
                  <a:gd name="T24" fmla="*/ 2 w 14"/>
                  <a:gd name="T25" fmla="*/ 12 h 12"/>
                  <a:gd name="T26" fmla="*/ 4 w 14"/>
                  <a:gd name="T27" fmla="*/ 10 h 12"/>
                  <a:gd name="T28" fmla="*/ 4 w 14"/>
                  <a:gd name="T29" fmla="*/ 10 h 12"/>
                  <a:gd name="T30" fmla="*/ 8 w 14"/>
                  <a:gd name="T31" fmla="*/ 8 h 12"/>
                  <a:gd name="T32" fmla="*/ 8 w 14"/>
                  <a:gd name="T33" fmla="*/ 8 h 12"/>
                  <a:gd name="T34" fmla="*/ 10 w 14"/>
                  <a:gd name="T35" fmla="*/ 8 h 12"/>
                  <a:gd name="T36" fmla="*/ 10 w 14"/>
                  <a:gd name="T37" fmla="*/ 8 h 12"/>
                  <a:gd name="T38" fmla="*/ 10 w 14"/>
                  <a:gd name="T39" fmla="*/ 8 h 12"/>
                  <a:gd name="T40" fmla="*/ 12 w 14"/>
                  <a:gd name="T41" fmla="*/ 6 h 12"/>
                  <a:gd name="T42" fmla="*/ 14 w 14"/>
                  <a:gd name="T43" fmla="*/ 4 h 12"/>
                  <a:gd name="T44" fmla="*/ 14 w 14"/>
                  <a:gd name="T45" fmla="*/ 4 h 12"/>
                  <a:gd name="T46" fmla="*/ 14 w 14"/>
                  <a:gd name="T47" fmla="*/ 4 h 12"/>
                  <a:gd name="T48" fmla="*/ 14 w 14"/>
                  <a:gd name="T49" fmla="*/ 2 h 12"/>
                  <a:gd name="T50" fmla="*/ 14 w 14"/>
                  <a:gd name="T51" fmla="*/ 2 h 12"/>
                  <a:gd name="T52" fmla="*/ 14 w 14"/>
                  <a:gd name="T53" fmla="*/ 2 h 12"/>
                  <a:gd name="T54" fmla="*/ 14 w 14"/>
                  <a:gd name="T55" fmla="*/ 2 h 12"/>
                  <a:gd name="T56" fmla="*/ 14 w 14"/>
                  <a:gd name="T57" fmla="*/ 2 h 12"/>
                  <a:gd name="T58" fmla="*/ 12 w 14"/>
                  <a:gd name="T59" fmla="*/ 0 h 12"/>
                  <a:gd name="T60" fmla="*/ 12 w 14"/>
                  <a:gd name="T61" fmla="*/ 2 h 12"/>
                  <a:gd name="T62" fmla="*/ 10 w 14"/>
                  <a:gd name="T63" fmla="*/ 2 h 12"/>
                  <a:gd name="T64" fmla="*/ 4 w 14"/>
                  <a:gd name="T65" fmla="*/ 4 h 12"/>
                  <a:gd name="T66" fmla="*/ 4 w 14"/>
                  <a:gd name="T67" fmla="*/ 4 h 12"/>
                  <a:gd name="T68" fmla="*/ 4 w 14"/>
                  <a:gd name="T69" fmla="*/ 4 h 12"/>
                  <a:gd name="T70" fmla="*/ 4 w 14"/>
                  <a:gd name="T71" fmla="*/ 4 h 12"/>
                  <a:gd name="T72" fmla="*/ 4 w 14"/>
                  <a:gd name="T73" fmla="*/ 4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" h="12">
                    <a:moveTo>
                      <a:pt x="4" y="4"/>
                    </a:moveTo>
                    <a:lnTo>
                      <a:pt x="4" y="4"/>
                    </a:lnTo>
                    <a:lnTo>
                      <a:pt x="2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2" y="6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608" name="Freeform 144"/>
              <p:cNvSpPr>
                <a:spLocks/>
              </p:cNvSpPr>
              <p:nvPr/>
            </p:nvSpPr>
            <p:spPr bwMode="auto">
              <a:xfrm>
                <a:off x="1575" y="1170"/>
                <a:ext cx="14" cy="12"/>
              </a:xfrm>
              <a:custGeom>
                <a:avLst/>
                <a:gdLst>
                  <a:gd name="T0" fmla="*/ 4 w 14"/>
                  <a:gd name="T1" fmla="*/ 4 h 12"/>
                  <a:gd name="T2" fmla="*/ 4 w 14"/>
                  <a:gd name="T3" fmla="*/ 4 h 12"/>
                  <a:gd name="T4" fmla="*/ 2 w 14"/>
                  <a:gd name="T5" fmla="*/ 6 h 12"/>
                  <a:gd name="T6" fmla="*/ 0 w 14"/>
                  <a:gd name="T7" fmla="*/ 6 h 12"/>
                  <a:gd name="T8" fmla="*/ 0 w 14"/>
                  <a:gd name="T9" fmla="*/ 6 h 12"/>
                  <a:gd name="T10" fmla="*/ 0 w 14"/>
                  <a:gd name="T11" fmla="*/ 8 h 12"/>
                  <a:gd name="T12" fmla="*/ 0 w 14"/>
                  <a:gd name="T13" fmla="*/ 8 h 12"/>
                  <a:gd name="T14" fmla="*/ 0 w 14"/>
                  <a:gd name="T15" fmla="*/ 8 h 12"/>
                  <a:gd name="T16" fmla="*/ 0 w 14"/>
                  <a:gd name="T17" fmla="*/ 10 h 12"/>
                  <a:gd name="T18" fmla="*/ 2 w 14"/>
                  <a:gd name="T19" fmla="*/ 10 h 12"/>
                  <a:gd name="T20" fmla="*/ 2 w 14"/>
                  <a:gd name="T21" fmla="*/ 12 h 12"/>
                  <a:gd name="T22" fmla="*/ 2 w 14"/>
                  <a:gd name="T23" fmla="*/ 12 h 12"/>
                  <a:gd name="T24" fmla="*/ 2 w 14"/>
                  <a:gd name="T25" fmla="*/ 12 h 12"/>
                  <a:gd name="T26" fmla="*/ 4 w 14"/>
                  <a:gd name="T27" fmla="*/ 10 h 12"/>
                  <a:gd name="T28" fmla="*/ 4 w 14"/>
                  <a:gd name="T29" fmla="*/ 10 h 12"/>
                  <a:gd name="T30" fmla="*/ 8 w 14"/>
                  <a:gd name="T31" fmla="*/ 8 h 12"/>
                  <a:gd name="T32" fmla="*/ 8 w 14"/>
                  <a:gd name="T33" fmla="*/ 8 h 12"/>
                  <a:gd name="T34" fmla="*/ 10 w 14"/>
                  <a:gd name="T35" fmla="*/ 8 h 12"/>
                  <a:gd name="T36" fmla="*/ 10 w 14"/>
                  <a:gd name="T37" fmla="*/ 8 h 12"/>
                  <a:gd name="T38" fmla="*/ 10 w 14"/>
                  <a:gd name="T39" fmla="*/ 8 h 12"/>
                  <a:gd name="T40" fmla="*/ 12 w 14"/>
                  <a:gd name="T41" fmla="*/ 6 h 12"/>
                  <a:gd name="T42" fmla="*/ 14 w 14"/>
                  <a:gd name="T43" fmla="*/ 4 h 12"/>
                  <a:gd name="T44" fmla="*/ 14 w 14"/>
                  <a:gd name="T45" fmla="*/ 4 h 12"/>
                  <a:gd name="T46" fmla="*/ 14 w 14"/>
                  <a:gd name="T47" fmla="*/ 4 h 12"/>
                  <a:gd name="T48" fmla="*/ 14 w 14"/>
                  <a:gd name="T49" fmla="*/ 2 h 12"/>
                  <a:gd name="T50" fmla="*/ 14 w 14"/>
                  <a:gd name="T51" fmla="*/ 2 h 12"/>
                  <a:gd name="T52" fmla="*/ 14 w 14"/>
                  <a:gd name="T53" fmla="*/ 2 h 12"/>
                  <a:gd name="T54" fmla="*/ 14 w 14"/>
                  <a:gd name="T55" fmla="*/ 2 h 12"/>
                  <a:gd name="T56" fmla="*/ 14 w 14"/>
                  <a:gd name="T57" fmla="*/ 2 h 12"/>
                  <a:gd name="T58" fmla="*/ 12 w 14"/>
                  <a:gd name="T59" fmla="*/ 0 h 12"/>
                  <a:gd name="T60" fmla="*/ 12 w 14"/>
                  <a:gd name="T61" fmla="*/ 2 h 12"/>
                  <a:gd name="T62" fmla="*/ 10 w 14"/>
                  <a:gd name="T63" fmla="*/ 2 h 12"/>
                  <a:gd name="T64" fmla="*/ 4 w 14"/>
                  <a:gd name="T65" fmla="*/ 4 h 12"/>
                  <a:gd name="T66" fmla="*/ 4 w 14"/>
                  <a:gd name="T67" fmla="*/ 4 h 12"/>
                  <a:gd name="T68" fmla="*/ 4 w 14"/>
                  <a:gd name="T69" fmla="*/ 4 h 12"/>
                  <a:gd name="T70" fmla="*/ 4 w 14"/>
                  <a:gd name="T71" fmla="*/ 4 h 12"/>
                  <a:gd name="T72" fmla="*/ 4 w 14"/>
                  <a:gd name="T73" fmla="*/ 4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" h="12">
                    <a:moveTo>
                      <a:pt x="4" y="4"/>
                    </a:moveTo>
                    <a:lnTo>
                      <a:pt x="4" y="4"/>
                    </a:lnTo>
                    <a:lnTo>
                      <a:pt x="2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2" y="6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609" name="Freeform 145"/>
              <p:cNvSpPr>
                <a:spLocks/>
              </p:cNvSpPr>
              <p:nvPr/>
            </p:nvSpPr>
            <p:spPr bwMode="auto">
              <a:xfrm>
                <a:off x="1577" y="1176"/>
                <a:ext cx="14" cy="12"/>
              </a:xfrm>
              <a:custGeom>
                <a:avLst/>
                <a:gdLst>
                  <a:gd name="T0" fmla="*/ 8 w 14"/>
                  <a:gd name="T1" fmla="*/ 4 h 12"/>
                  <a:gd name="T2" fmla="*/ 8 w 14"/>
                  <a:gd name="T3" fmla="*/ 4 h 12"/>
                  <a:gd name="T4" fmla="*/ 4 w 14"/>
                  <a:gd name="T5" fmla="*/ 6 h 12"/>
                  <a:gd name="T6" fmla="*/ 2 w 14"/>
                  <a:gd name="T7" fmla="*/ 8 h 12"/>
                  <a:gd name="T8" fmla="*/ 2 w 14"/>
                  <a:gd name="T9" fmla="*/ 8 h 12"/>
                  <a:gd name="T10" fmla="*/ 2 w 14"/>
                  <a:gd name="T11" fmla="*/ 8 h 12"/>
                  <a:gd name="T12" fmla="*/ 0 w 14"/>
                  <a:gd name="T13" fmla="*/ 8 h 12"/>
                  <a:gd name="T14" fmla="*/ 0 w 14"/>
                  <a:gd name="T15" fmla="*/ 8 h 12"/>
                  <a:gd name="T16" fmla="*/ 0 w 14"/>
                  <a:gd name="T17" fmla="*/ 10 h 12"/>
                  <a:gd name="T18" fmla="*/ 2 w 14"/>
                  <a:gd name="T19" fmla="*/ 10 h 12"/>
                  <a:gd name="T20" fmla="*/ 2 w 14"/>
                  <a:gd name="T21" fmla="*/ 12 h 12"/>
                  <a:gd name="T22" fmla="*/ 2 w 14"/>
                  <a:gd name="T23" fmla="*/ 12 h 12"/>
                  <a:gd name="T24" fmla="*/ 4 w 14"/>
                  <a:gd name="T25" fmla="*/ 12 h 12"/>
                  <a:gd name="T26" fmla="*/ 6 w 14"/>
                  <a:gd name="T27" fmla="*/ 10 h 12"/>
                  <a:gd name="T28" fmla="*/ 8 w 14"/>
                  <a:gd name="T29" fmla="*/ 10 h 12"/>
                  <a:gd name="T30" fmla="*/ 8 w 14"/>
                  <a:gd name="T31" fmla="*/ 10 h 12"/>
                  <a:gd name="T32" fmla="*/ 10 w 14"/>
                  <a:gd name="T33" fmla="*/ 8 h 12"/>
                  <a:gd name="T34" fmla="*/ 12 w 14"/>
                  <a:gd name="T35" fmla="*/ 8 h 12"/>
                  <a:gd name="T36" fmla="*/ 14 w 14"/>
                  <a:gd name="T37" fmla="*/ 6 h 12"/>
                  <a:gd name="T38" fmla="*/ 14 w 14"/>
                  <a:gd name="T39" fmla="*/ 6 h 12"/>
                  <a:gd name="T40" fmla="*/ 14 w 14"/>
                  <a:gd name="T41" fmla="*/ 6 h 12"/>
                  <a:gd name="T42" fmla="*/ 14 w 14"/>
                  <a:gd name="T43" fmla="*/ 4 h 12"/>
                  <a:gd name="T44" fmla="*/ 14 w 14"/>
                  <a:gd name="T45" fmla="*/ 2 h 12"/>
                  <a:gd name="T46" fmla="*/ 14 w 14"/>
                  <a:gd name="T47" fmla="*/ 2 h 12"/>
                  <a:gd name="T48" fmla="*/ 14 w 14"/>
                  <a:gd name="T49" fmla="*/ 2 h 12"/>
                  <a:gd name="T50" fmla="*/ 14 w 14"/>
                  <a:gd name="T51" fmla="*/ 0 h 12"/>
                  <a:gd name="T52" fmla="*/ 12 w 14"/>
                  <a:gd name="T53" fmla="*/ 0 h 12"/>
                  <a:gd name="T54" fmla="*/ 12 w 14"/>
                  <a:gd name="T55" fmla="*/ 2 h 12"/>
                  <a:gd name="T56" fmla="*/ 10 w 14"/>
                  <a:gd name="T57" fmla="*/ 2 h 12"/>
                  <a:gd name="T58" fmla="*/ 8 w 14"/>
                  <a:gd name="T59" fmla="*/ 4 h 12"/>
                  <a:gd name="T60" fmla="*/ 8 w 14"/>
                  <a:gd name="T61" fmla="*/ 4 h 12"/>
                  <a:gd name="T62" fmla="*/ 8 w 14"/>
                  <a:gd name="T63" fmla="*/ 4 h 12"/>
                  <a:gd name="T64" fmla="*/ 8 w 14"/>
                  <a:gd name="T65" fmla="*/ 4 h 12"/>
                  <a:gd name="T66" fmla="*/ 8 w 14"/>
                  <a:gd name="T67" fmla="*/ 4 h 12"/>
                  <a:gd name="T68" fmla="*/ 8 w 14"/>
                  <a:gd name="T69" fmla="*/ 4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4" h="12">
                    <a:moveTo>
                      <a:pt x="8" y="4"/>
                    </a:moveTo>
                    <a:lnTo>
                      <a:pt x="8" y="4"/>
                    </a:lnTo>
                    <a:lnTo>
                      <a:pt x="4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2"/>
                    </a:lnTo>
                    <a:lnTo>
                      <a:pt x="6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0" y="8"/>
                    </a:lnTo>
                    <a:lnTo>
                      <a:pt x="12" y="8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4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610" name="Freeform 147"/>
              <p:cNvSpPr>
                <a:spLocks/>
              </p:cNvSpPr>
              <p:nvPr/>
            </p:nvSpPr>
            <p:spPr bwMode="auto">
              <a:xfrm>
                <a:off x="1603" y="1160"/>
                <a:ext cx="16" cy="6"/>
              </a:xfrm>
              <a:custGeom>
                <a:avLst/>
                <a:gdLst>
                  <a:gd name="T0" fmla="*/ 10 w 16"/>
                  <a:gd name="T1" fmla="*/ 2 h 6"/>
                  <a:gd name="T2" fmla="*/ 10 w 16"/>
                  <a:gd name="T3" fmla="*/ 2 h 6"/>
                  <a:gd name="T4" fmla="*/ 8 w 16"/>
                  <a:gd name="T5" fmla="*/ 2 h 6"/>
                  <a:gd name="T6" fmla="*/ 8 w 16"/>
                  <a:gd name="T7" fmla="*/ 2 h 6"/>
                  <a:gd name="T8" fmla="*/ 6 w 16"/>
                  <a:gd name="T9" fmla="*/ 0 h 6"/>
                  <a:gd name="T10" fmla="*/ 6 w 16"/>
                  <a:gd name="T11" fmla="*/ 0 h 6"/>
                  <a:gd name="T12" fmla="*/ 4 w 16"/>
                  <a:gd name="T13" fmla="*/ 0 h 6"/>
                  <a:gd name="T14" fmla="*/ 2 w 16"/>
                  <a:gd name="T15" fmla="*/ 0 h 6"/>
                  <a:gd name="T16" fmla="*/ 0 w 16"/>
                  <a:gd name="T17" fmla="*/ 2 h 6"/>
                  <a:gd name="T18" fmla="*/ 0 w 16"/>
                  <a:gd name="T19" fmla="*/ 4 h 6"/>
                  <a:gd name="T20" fmla="*/ 0 w 16"/>
                  <a:gd name="T21" fmla="*/ 4 h 6"/>
                  <a:gd name="T22" fmla="*/ 0 w 16"/>
                  <a:gd name="T23" fmla="*/ 4 h 6"/>
                  <a:gd name="T24" fmla="*/ 0 w 16"/>
                  <a:gd name="T25" fmla="*/ 6 h 6"/>
                  <a:gd name="T26" fmla="*/ 0 w 16"/>
                  <a:gd name="T27" fmla="*/ 6 h 6"/>
                  <a:gd name="T28" fmla="*/ 0 w 16"/>
                  <a:gd name="T29" fmla="*/ 6 h 6"/>
                  <a:gd name="T30" fmla="*/ 2 w 16"/>
                  <a:gd name="T31" fmla="*/ 6 h 6"/>
                  <a:gd name="T32" fmla="*/ 2 w 16"/>
                  <a:gd name="T33" fmla="*/ 6 h 6"/>
                  <a:gd name="T34" fmla="*/ 2 w 16"/>
                  <a:gd name="T35" fmla="*/ 6 h 6"/>
                  <a:gd name="T36" fmla="*/ 4 w 16"/>
                  <a:gd name="T37" fmla="*/ 6 h 6"/>
                  <a:gd name="T38" fmla="*/ 4 w 16"/>
                  <a:gd name="T39" fmla="*/ 6 h 6"/>
                  <a:gd name="T40" fmla="*/ 4 w 16"/>
                  <a:gd name="T41" fmla="*/ 6 h 6"/>
                  <a:gd name="T42" fmla="*/ 8 w 16"/>
                  <a:gd name="T43" fmla="*/ 6 h 6"/>
                  <a:gd name="T44" fmla="*/ 10 w 16"/>
                  <a:gd name="T45" fmla="*/ 6 h 6"/>
                  <a:gd name="T46" fmla="*/ 12 w 16"/>
                  <a:gd name="T47" fmla="*/ 6 h 6"/>
                  <a:gd name="T48" fmla="*/ 12 w 16"/>
                  <a:gd name="T49" fmla="*/ 6 h 6"/>
                  <a:gd name="T50" fmla="*/ 14 w 16"/>
                  <a:gd name="T51" fmla="*/ 6 h 6"/>
                  <a:gd name="T52" fmla="*/ 14 w 16"/>
                  <a:gd name="T53" fmla="*/ 4 h 6"/>
                  <a:gd name="T54" fmla="*/ 16 w 16"/>
                  <a:gd name="T55" fmla="*/ 4 h 6"/>
                  <a:gd name="T56" fmla="*/ 16 w 16"/>
                  <a:gd name="T57" fmla="*/ 2 h 6"/>
                  <a:gd name="T58" fmla="*/ 16 w 16"/>
                  <a:gd name="T59" fmla="*/ 2 h 6"/>
                  <a:gd name="T60" fmla="*/ 16 w 16"/>
                  <a:gd name="T61" fmla="*/ 2 h 6"/>
                  <a:gd name="T62" fmla="*/ 14 w 16"/>
                  <a:gd name="T63" fmla="*/ 0 h 6"/>
                  <a:gd name="T64" fmla="*/ 14 w 16"/>
                  <a:gd name="T65" fmla="*/ 0 h 6"/>
                  <a:gd name="T66" fmla="*/ 14 w 16"/>
                  <a:gd name="T67" fmla="*/ 0 h 6"/>
                  <a:gd name="T68" fmla="*/ 14 w 16"/>
                  <a:gd name="T69" fmla="*/ 0 h 6"/>
                  <a:gd name="T70" fmla="*/ 12 w 16"/>
                  <a:gd name="T71" fmla="*/ 0 h 6"/>
                  <a:gd name="T72" fmla="*/ 12 w 16"/>
                  <a:gd name="T73" fmla="*/ 0 h 6"/>
                  <a:gd name="T74" fmla="*/ 10 w 16"/>
                  <a:gd name="T75" fmla="*/ 2 h 6"/>
                  <a:gd name="T76" fmla="*/ 10 w 16"/>
                  <a:gd name="T77" fmla="*/ 2 h 6"/>
                  <a:gd name="T78" fmla="*/ 10 w 16"/>
                  <a:gd name="T79" fmla="*/ 2 h 6"/>
                  <a:gd name="T80" fmla="*/ 10 w 16"/>
                  <a:gd name="T81" fmla="*/ 2 h 6"/>
                  <a:gd name="T82" fmla="*/ 10 w 16"/>
                  <a:gd name="T83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6" h="6">
                    <a:moveTo>
                      <a:pt x="10" y="2"/>
                    </a:moveTo>
                    <a:lnTo>
                      <a:pt x="10" y="2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8" y="6"/>
                    </a:lnTo>
                    <a:lnTo>
                      <a:pt x="10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4" y="6"/>
                    </a:lnTo>
                    <a:lnTo>
                      <a:pt x="14" y="4"/>
                    </a:lnTo>
                    <a:lnTo>
                      <a:pt x="16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0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611" name="Freeform 149"/>
              <p:cNvSpPr>
                <a:spLocks/>
              </p:cNvSpPr>
              <p:nvPr/>
            </p:nvSpPr>
            <p:spPr bwMode="auto">
              <a:xfrm>
                <a:off x="1597" y="1170"/>
                <a:ext cx="42" cy="54"/>
              </a:xfrm>
              <a:custGeom>
                <a:avLst/>
                <a:gdLst>
                  <a:gd name="T0" fmla="*/ 12 w 42"/>
                  <a:gd name="T1" fmla="*/ 4 h 54"/>
                  <a:gd name="T2" fmla="*/ 10 w 42"/>
                  <a:gd name="T3" fmla="*/ 6 h 54"/>
                  <a:gd name="T4" fmla="*/ 10 w 42"/>
                  <a:gd name="T5" fmla="*/ 4 h 54"/>
                  <a:gd name="T6" fmla="*/ 8 w 42"/>
                  <a:gd name="T7" fmla="*/ 4 h 54"/>
                  <a:gd name="T8" fmla="*/ 6 w 42"/>
                  <a:gd name="T9" fmla="*/ 2 h 54"/>
                  <a:gd name="T10" fmla="*/ 4 w 42"/>
                  <a:gd name="T11" fmla="*/ 0 h 54"/>
                  <a:gd name="T12" fmla="*/ 2 w 42"/>
                  <a:gd name="T13" fmla="*/ 0 h 54"/>
                  <a:gd name="T14" fmla="*/ 0 w 42"/>
                  <a:gd name="T15" fmla="*/ 2 h 54"/>
                  <a:gd name="T16" fmla="*/ 2 w 42"/>
                  <a:gd name="T17" fmla="*/ 6 h 54"/>
                  <a:gd name="T18" fmla="*/ 6 w 42"/>
                  <a:gd name="T19" fmla="*/ 8 h 54"/>
                  <a:gd name="T20" fmla="*/ 6 w 42"/>
                  <a:gd name="T21" fmla="*/ 12 h 54"/>
                  <a:gd name="T22" fmla="*/ 6 w 42"/>
                  <a:gd name="T23" fmla="*/ 16 h 54"/>
                  <a:gd name="T24" fmla="*/ 6 w 42"/>
                  <a:gd name="T25" fmla="*/ 18 h 54"/>
                  <a:gd name="T26" fmla="*/ 8 w 42"/>
                  <a:gd name="T27" fmla="*/ 20 h 54"/>
                  <a:gd name="T28" fmla="*/ 8 w 42"/>
                  <a:gd name="T29" fmla="*/ 22 h 54"/>
                  <a:gd name="T30" fmla="*/ 6 w 42"/>
                  <a:gd name="T31" fmla="*/ 24 h 54"/>
                  <a:gd name="T32" fmla="*/ 6 w 42"/>
                  <a:gd name="T33" fmla="*/ 26 h 54"/>
                  <a:gd name="T34" fmla="*/ 4 w 42"/>
                  <a:gd name="T35" fmla="*/ 30 h 54"/>
                  <a:gd name="T36" fmla="*/ 4 w 42"/>
                  <a:gd name="T37" fmla="*/ 32 h 54"/>
                  <a:gd name="T38" fmla="*/ 2 w 42"/>
                  <a:gd name="T39" fmla="*/ 34 h 54"/>
                  <a:gd name="T40" fmla="*/ 2 w 42"/>
                  <a:gd name="T41" fmla="*/ 36 h 54"/>
                  <a:gd name="T42" fmla="*/ 2 w 42"/>
                  <a:gd name="T43" fmla="*/ 38 h 54"/>
                  <a:gd name="T44" fmla="*/ 2 w 42"/>
                  <a:gd name="T45" fmla="*/ 40 h 54"/>
                  <a:gd name="T46" fmla="*/ 2 w 42"/>
                  <a:gd name="T47" fmla="*/ 42 h 54"/>
                  <a:gd name="T48" fmla="*/ 0 w 42"/>
                  <a:gd name="T49" fmla="*/ 46 h 54"/>
                  <a:gd name="T50" fmla="*/ 0 w 42"/>
                  <a:gd name="T51" fmla="*/ 48 h 54"/>
                  <a:gd name="T52" fmla="*/ 6 w 42"/>
                  <a:gd name="T53" fmla="*/ 52 h 54"/>
                  <a:gd name="T54" fmla="*/ 10 w 42"/>
                  <a:gd name="T55" fmla="*/ 54 h 54"/>
                  <a:gd name="T56" fmla="*/ 24 w 42"/>
                  <a:gd name="T57" fmla="*/ 54 h 54"/>
                  <a:gd name="T58" fmla="*/ 26 w 42"/>
                  <a:gd name="T59" fmla="*/ 52 h 54"/>
                  <a:gd name="T60" fmla="*/ 28 w 42"/>
                  <a:gd name="T61" fmla="*/ 50 h 54"/>
                  <a:gd name="T62" fmla="*/ 30 w 42"/>
                  <a:gd name="T63" fmla="*/ 42 h 54"/>
                  <a:gd name="T64" fmla="*/ 34 w 42"/>
                  <a:gd name="T65" fmla="*/ 40 h 54"/>
                  <a:gd name="T66" fmla="*/ 36 w 42"/>
                  <a:gd name="T67" fmla="*/ 38 h 54"/>
                  <a:gd name="T68" fmla="*/ 36 w 42"/>
                  <a:gd name="T69" fmla="*/ 34 h 54"/>
                  <a:gd name="T70" fmla="*/ 38 w 42"/>
                  <a:gd name="T71" fmla="*/ 30 h 54"/>
                  <a:gd name="T72" fmla="*/ 38 w 42"/>
                  <a:gd name="T73" fmla="*/ 24 h 54"/>
                  <a:gd name="T74" fmla="*/ 38 w 42"/>
                  <a:gd name="T75" fmla="*/ 20 h 54"/>
                  <a:gd name="T76" fmla="*/ 40 w 42"/>
                  <a:gd name="T77" fmla="*/ 16 h 54"/>
                  <a:gd name="T78" fmla="*/ 40 w 42"/>
                  <a:gd name="T79" fmla="*/ 10 h 54"/>
                  <a:gd name="T80" fmla="*/ 36 w 42"/>
                  <a:gd name="T81" fmla="*/ 6 h 54"/>
                  <a:gd name="T82" fmla="*/ 32 w 42"/>
                  <a:gd name="T83" fmla="*/ 0 h 54"/>
                  <a:gd name="T84" fmla="*/ 30 w 42"/>
                  <a:gd name="T85" fmla="*/ 0 h 54"/>
                  <a:gd name="T86" fmla="*/ 18 w 42"/>
                  <a:gd name="T87" fmla="*/ 0 h 54"/>
                  <a:gd name="T88" fmla="*/ 14 w 42"/>
                  <a:gd name="T89" fmla="*/ 2 h 54"/>
                  <a:gd name="T90" fmla="*/ 12 w 42"/>
                  <a:gd name="T91" fmla="*/ 4 h 54"/>
                  <a:gd name="T92" fmla="*/ 12 w 42"/>
                  <a:gd name="T93" fmla="*/ 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42" h="54">
                    <a:moveTo>
                      <a:pt x="12" y="4"/>
                    </a:moveTo>
                    <a:lnTo>
                      <a:pt x="12" y="4"/>
                    </a:lnTo>
                    <a:lnTo>
                      <a:pt x="12" y="4"/>
                    </a:lnTo>
                    <a:lnTo>
                      <a:pt x="12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10"/>
                    </a:lnTo>
                    <a:lnTo>
                      <a:pt x="6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8" y="18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2"/>
                    </a:lnTo>
                    <a:lnTo>
                      <a:pt x="6" y="22"/>
                    </a:lnTo>
                    <a:lnTo>
                      <a:pt x="6" y="24"/>
                    </a:lnTo>
                    <a:lnTo>
                      <a:pt x="6" y="24"/>
                    </a:lnTo>
                    <a:lnTo>
                      <a:pt x="6" y="24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4" y="30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40"/>
                    </a:lnTo>
                    <a:lnTo>
                      <a:pt x="2" y="40"/>
                    </a:lnTo>
                    <a:lnTo>
                      <a:pt x="2" y="42"/>
                    </a:lnTo>
                    <a:lnTo>
                      <a:pt x="2" y="42"/>
                    </a:lnTo>
                    <a:lnTo>
                      <a:pt x="2" y="42"/>
                    </a:lnTo>
                    <a:lnTo>
                      <a:pt x="2" y="42"/>
                    </a:lnTo>
                    <a:lnTo>
                      <a:pt x="0" y="44"/>
                    </a:lnTo>
                    <a:lnTo>
                      <a:pt x="0" y="46"/>
                    </a:lnTo>
                    <a:lnTo>
                      <a:pt x="0" y="46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2" y="50"/>
                    </a:lnTo>
                    <a:lnTo>
                      <a:pt x="2" y="50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8" y="54"/>
                    </a:lnTo>
                    <a:lnTo>
                      <a:pt x="10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24" y="54"/>
                    </a:lnTo>
                    <a:lnTo>
                      <a:pt x="24" y="54"/>
                    </a:lnTo>
                    <a:lnTo>
                      <a:pt x="26" y="54"/>
                    </a:lnTo>
                    <a:lnTo>
                      <a:pt x="26" y="52"/>
                    </a:lnTo>
                    <a:lnTo>
                      <a:pt x="28" y="52"/>
                    </a:lnTo>
                    <a:lnTo>
                      <a:pt x="28" y="50"/>
                    </a:lnTo>
                    <a:lnTo>
                      <a:pt x="28" y="50"/>
                    </a:lnTo>
                    <a:lnTo>
                      <a:pt x="28" y="44"/>
                    </a:lnTo>
                    <a:lnTo>
                      <a:pt x="30" y="44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2" y="42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6" y="38"/>
                    </a:lnTo>
                    <a:lnTo>
                      <a:pt x="36" y="38"/>
                    </a:lnTo>
                    <a:lnTo>
                      <a:pt x="36" y="36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8" y="32"/>
                    </a:lnTo>
                    <a:lnTo>
                      <a:pt x="38" y="32"/>
                    </a:lnTo>
                    <a:lnTo>
                      <a:pt x="38" y="30"/>
                    </a:lnTo>
                    <a:lnTo>
                      <a:pt x="38" y="28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2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40" y="18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2" y="14"/>
                    </a:lnTo>
                    <a:lnTo>
                      <a:pt x="42" y="12"/>
                    </a:lnTo>
                    <a:lnTo>
                      <a:pt x="40" y="10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36" y="6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2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4" y="2"/>
                    </a:lnTo>
                    <a:lnTo>
                      <a:pt x="12" y="2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612" name="Freeform 151"/>
              <p:cNvSpPr>
                <a:spLocks/>
              </p:cNvSpPr>
              <p:nvPr/>
            </p:nvSpPr>
            <p:spPr bwMode="auto">
              <a:xfrm>
                <a:off x="1635" y="1214"/>
                <a:ext cx="32" cy="28"/>
              </a:xfrm>
              <a:custGeom>
                <a:avLst/>
                <a:gdLst>
                  <a:gd name="T0" fmla="*/ 6 w 32"/>
                  <a:gd name="T1" fmla="*/ 6 h 28"/>
                  <a:gd name="T2" fmla="*/ 2 w 32"/>
                  <a:gd name="T3" fmla="*/ 8 h 28"/>
                  <a:gd name="T4" fmla="*/ 2 w 32"/>
                  <a:gd name="T5" fmla="*/ 10 h 28"/>
                  <a:gd name="T6" fmla="*/ 0 w 32"/>
                  <a:gd name="T7" fmla="*/ 14 h 28"/>
                  <a:gd name="T8" fmla="*/ 2 w 32"/>
                  <a:gd name="T9" fmla="*/ 16 h 28"/>
                  <a:gd name="T10" fmla="*/ 2 w 32"/>
                  <a:gd name="T11" fmla="*/ 16 h 28"/>
                  <a:gd name="T12" fmla="*/ 4 w 32"/>
                  <a:gd name="T13" fmla="*/ 18 h 28"/>
                  <a:gd name="T14" fmla="*/ 8 w 32"/>
                  <a:gd name="T15" fmla="*/ 18 h 28"/>
                  <a:gd name="T16" fmla="*/ 8 w 32"/>
                  <a:gd name="T17" fmla="*/ 18 h 28"/>
                  <a:gd name="T18" fmla="*/ 12 w 32"/>
                  <a:gd name="T19" fmla="*/ 22 h 28"/>
                  <a:gd name="T20" fmla="*/ 14 w 32"/>
                  <a:gd name="T21" fmla="*/ 22 h 28"/>
                  <a:gd name="T22" fmla="*/ 16 w 32"/>
                  <a:gd name="T23" fmla="*/ 24 h 28"/>
                  <a:gd name="T24" fmla="*/ 18 w 32"/>
                  <a:gd name="T25" fmla="*/ 26 h 28"/>
                  <a:gd name="T26" fmla="*/ 20 w 32"/>
                  <a:gd name="T27" fmla="*/ 26 h 28"/>
                  <a:gd name="T28" fmla="*/ 22 w 32"/>
                  <a:gd name="T29" fmla="*/ 26 h 28"/>
                  <a:gd name="T30" fmla="*/ 24 w 32"/>
                  <a:gd name="T31" fmla="*/ 26 h 28"/>
                  <a:gd name="T32" fmla="*/ 24 w 32"/>
                  <a:gd name="T33" fmla="*/ 28 h 28"/>
                  <a:gd name="T34" fmla="*/ 28 w 32"/>
                  <a:gd name="T35" fmla="*/ 28 h 28"/>
                  <a:gd name="T36" fmla="*/ 30 w 32"/>
                  <a:gd name="T37" fmla="*/ 28 h 28"/>
                  <a:gd name="T38" fmla="*/ 30 w 32"/>
                  <a:gd name="T39" fmla="*/ 26 h 28"/>
                  <a:gd name="T40" fmla="*/ 32 w 32"/>
                  <a:gd name="T41" fmla="*/ 24 h 28"/>
                  <a:gd name="T42" fmla="*/ 32 w 32"/>
                  <a:gd name="T43" fmla="*/ 22 h 28"/>
                  <a:gd name="T44" fmla="*/ 32 w 32"/>
                  <a:gd name="T45" fmla="*/ 14 h 28"/>
                  <a:gd name="T46" fmla="*/ 32 w 32"/>
                  <a:gd name="T47" fmla="*/ 10 h 28"/>
                  <a:gd name="T48" fmla="*/ 30 w 32"/>
                  <a:gd name="T49" fmla="*/ 8 h 28"/>
                  <a:gd name="T50" fmla="*/ 28 w 32"/>
                  <a:gd name="T51" fmla="*/ 6 h 28"/>
                  <a:gd name="T52" fmla="*/ 24 w 32"/>
                  <a:gd name="T53" fmla="*/ 4 h 28"/>
                  <a:gd name="T54" fmla="*/ 18 w 32"/>
                  <a:gd name="T55" fmla="*/ 0 h 28"/>
                  <a:gd name="T56" fmla="*/ 16 w 32"/>
                  <a:gd name="T57" fmla="*/ 0 h 28"/>
                  <a:gd name="T58" fmla="*/ 14 w 32"/>
                  <a:gd name="T59" fmla="*/ 0 h 28"/>
                  <a:gd name="T60" fmla="*/ 6 w 32"/>
                  <a:gd name="T61" fmla="*/ 6 h 28"/>
                  <a:gd name="T62" fmla="*/ 6 w 32"/>
                  <a:gd name="T63" fmla="*/ 6 h 28"/>
                  <a:gd name="T64" fmla="*/ 6 w 32"/>
                  <a:gd name="T65" fmla="*/ 6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2" h="28">
                    <a:moveTo>
                      <a:pt x="6" y="6"/>
                    </a:moveTo>
                    <a:lnTo>
                      <a:pt x="6" y="6"/>
                    </a:lnTo>
                    <a:lnTo>
                      <a:pt x="4" y="8"/>
                    </a:lnTo>
                    <a:lnTo>
                      <a:pt x="2" y="8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6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20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4" y="22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4" y="26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6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2" y="24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2" y="12"/>
                    </a:lnTo>
                    <a:lnTo>
                      <a:pt x="32" y="10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6"/>
                    </a:lnTo>
                    <a:lnTo>
                      <a:pt x="28" y="6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613" name="Freeform 153"/>
              <p:cNvSpPr>
                <a:spLocks/>
              </p:cNvSpPr>
              <p:nvPr/>
            </p:nvSpPr>
            <p:spPr bwMode="auto">
              <a:xfrm>
                <a:off x="1649" y="1242"/>
                <a:ext cx="10" cy="8"/>
              </a:xfrm>
              <a:custGeom>
                <a:avLst/>
                <a:gdLst>
                  <a:gd name="T0" fmla="*/ 0 w 10"/>
                  <a:gd name="T1" fmla="*/ 4 h 8"/>
                  <a:gd name="T2" fmla="*/ 0 w 10"/>
                  <a:gd name="T3" fmla="*/ 4 h 8"/>
                  <a:gd name="T4" fmla="*/ 0 w 10"/>
                  <a:gd name="T5" fmla="*/ 4 h 8"/>
                  <a:gd name="T6" fmla="*/ 0 w 10"/>
                  <a:gd name="T7" fmla="*/ 4 h 8"/>
                  <a:gd name="T8" fmla="*/ 0 w 10"/>
                  <a:gd name="T9" fmla="*/ 6 h 8"/>
                  <a:gd name="T10" fmla="*/ 2 w 10"/>
                  <a:gd name="T11" fmla="*/ 6 h 8"/>
                  <a:gd name="T12" fmla="*/ 4 w 10"/>
                  <a:gd name="T13" fmla="*/ 6 h 8"/>
                  <a:gd name="T14" fmla="*/ 4 w 10"/>
                  <a:gd name="T15" fmla="*/ 6 h 8"/>
                  <a:gd name="T16" fmla="*/ 4 w 10"/>
                  <a:gd name="T17" fmla="*/ 8 h 8"/>
                  <a:gd name="T18" fmla="*/ 4 w 10"/>
                  <a:gd name="T19" fmla="*/ 8 h 8"/>
                  <a:gd name="T20" fmla="*/ 6 w 10"/>
                  <a:gd name="T21" fmla="*/ 8 h 8"/>
                  <a:gd name="T22" fmla="*/ 6 w 10"/>
                  <a:gd name="T23" fmla="*/ 8 h 8"/>
                  <a:gd name="T24" fmla="*/ 8 w 10"/>
                  <a:gd name="T25" fmla="*/ 8 h 8"/>
                  <a:gd name="T26" fmla="*/ 8 w 10"/>
                  <a:gd name="T27" fmla="*/ 6 h 8"/>
                  <a:gd name="T28" fmla="*/ 8 w 10"/>
                  <a:gd name="T29" fmla="*/ 6 h 8"/>
                  <a:gd name="T30" fmla="*/ 8 w 10"/>
                  <a:gd name="T31" fmla="*/ 6 h 8"/>
                  <a:gd name="T32" fmla="*/ 10 w 10"/>
                  <a:gd name="T33" fmla="*/ 6 h 8"/>
                  <a:gd name="T34" fmla="*/ 8 w 10"/>
                  <a:gd name="T35" fmla="*/ 4 h 8"/>
                  <a:gd name="T36" fmla="*/ 8 w 10"/>
                  <a:gd name="T37" fmla="*/ 4 h 8"/>
                  <a:gd name="T38" fmla="*/ 8 w 10"/>
                  <a:gd name="T39" fmla="*/ 2 h 8"/>
                  <a:gd name="T40" fmla="*/ 6 w 10"/>
                  <a:gd name="T41" fmla="*/ 2 h 8"/>
                  <a:gd name="T42" fmla="*/ 6 w 10"/>
                  <a:gd name="T43" fmla="*/ 2 h 8"/>
                  <a:gd name="T44" fmla="*/ 4 w 10"/>
                  <a:gd name="T45" fmla="*/ 0 h 8"/>
                  <a:gd name="T46" fmla="*/ 4 w 10"/>
                  <a:gd name="T47" fmla="*/ 0 h 8"/>
                  <a:gd name="T48" fmla="*/ 2 w 10"/>
                  <a:gd name="T49" fmla="*/ 2 h 8"/>
                  <a:gd name="T50" fmla="*/ 0 w 10"/>
                  <a:gd name="T51" fmla="*/ 4 h 8"/>
                  <a:gd name="T52" fmla="*/ 0 w 10"/>
                  <a:gd name="T53" fmla="*/ 4 h 8"/>
                  <a:gd name="T54" fmla="*/ 0 w 10"/>
                  <a:gd name="T55" fmla="*/ 4 h 8"/>
                  <a:gd name="T56" fmla="*/ 0 w 10"/>
                  <a:gd name="T57" fmla="*/ 4 h 8"/>
                  <a:gd name="T58" fmla="*/ 0 w 10"/>
                  <a:gd name="T59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0" h="8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8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0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614" name="Freeform 156"/>
              <p:cNvSpPr>
                <a:spLocks/>
              </p:cNvSpPr>
              <p:nvPr/>
            </p:nvSpPr>
            <p:spPr bwMode="auto">
              <a:xfrm>
                <a:off x="1625" y="1238"/>
                <a:ext cx="10" cy="8"/>
              </a:xfrm>
              <a:custGeom>
                <a:avLst/>
                <a:gdLst>
                  <a:gd name="T0" fmla="*/ 4 w 10"/>
                  <a:gd name="T1" fmla="*/ 0 h 8"/>
                  <a:gd name="T2" fmla="*/ 4 w 10"/>
                  <a:gd name="T3" fmla="*/ 0 h 8"/>
                  <a:gd name="T4" fmla="*/ 4 w 10"/>
                  <a:gd name="T5" fmla="*/ 0 h 8"/>
                  <a:gd name="T6" fmla="*/ 2 w 10"/>
                  <a:gd name="T7" fmla="*/ 0 h 8"/>
                  <a:gd name="T8" fmla="*/ 2 w 10"/>
                  <a:gd name="T9" fmla="*/ 2 h 8"/>
                  <a:gd name="T10" fmla="*/ 0 w 10"/>
                  <a:gd name="T11" fmla="*/ 2 h 8"/>
                  <a:gd name="T12" fmla="*/ 0 w 10"/>
                  <a:gd name="T13" fmla="*/ 2 h 8"/>
                  <a:gd name="T14" fmla="*/ 0 w 10"/>
                  <a:gd name="T15" fmla="*/ 4 h 8"/>
                  <a:gd name="T16" fmla="*/ 0 w 10"/>
                  <a:gd name="T17" fmla="*/ 4 h 8"/>
                  <a:gd name="T18" fmla="*/ 0 w 10"/>
                  <a:gd name="T19" fmla="*/ 4 h 8"/>
                  <a:gd name="T20" fmla="*/ 0 w 10"/>
                  <a:gd name="T21" fmla="*/ 6 h 8"/>
                  <a:gd name="T22" fmla="*/ 2 w 10"/>
                  <a:gd name="T23" fmla="*/ 6 h 8"/>
                  <a:gd name="T24" fmla="*/ 4 w 10"/>
                  <a:gd name="T25" fmla="*/ 6 h 8"/>
                  <a:gd name="T26" fmla="*/ 4 w 10"/>
                  <a:gd name="T27" fmla="*/ 6 h 8"/>
                  <a:gd name="T28" fmla="*/ 6 w 10"/>
                  <a:gd name="T29" fmla="*/ 8 h 8"/>
                  <a:gd name="T30" fmla="*/ 6 w 10"/>
                  <a:gd name="T31" fmla="*/ 8 h 8"/>
                  <a:gd name="T32" fmla="*/ 6 w 10"/>
                  <a:gd name="T33" fmla="*/ 8 h 8"/>
                  <a:gd name="T34" fmla="*/ 6 w 10"/>
                  <a:gd name="T35" fmla="*/ 8 h 8"/>
                  <a:gd name="T36" fmla="*/ 8 w 10"/>
                  <a:gd name="T37" fmla="*/ 6 h 8"/>
                  <a:gd name="T38" fmla="*/ 10 w 10"/>
                  <a:gd name="T39" fmla="*/ 6 h 8"/>
                  <a:gd name="T40" fmla="*/ 10 w 10"/>
                  <a:gd name="T41" fmla="*/ 4 h 8"/>
                  <a:gd name="T42" fmla="*/ 8 w 10"/>
                  <a:gd name="T43" fmla="*/ 4 h 8"/>
                  <a:gd name="T44" fmla="*/ 8 w 10"/>
                  <a:gd name="T45" fmla="*/ 4 h 8"/>
                  <a:gd name="T46" fmla="*/ 8 w 10"/>
                  <a:gd name="T47" fmla="*/ 0 h 8"/>
                  <a:gd name="T48" fmla="*/ 6 w 10"/>
                  <a:gd name="T49" fmla="*/ 0 h 8"/>
                  <a:gd name="T50" fmla="*/ 4 w 10"/>
                  <a:gd name="T51" fmla="*/ 0 h 8"/>
                  <a:gd name="T52" fmla="*/ 4 w 10"/>
                  <a:gd name="T53" fmla="*/ 0 h 8"/>
                  <a:gd name="T54" fmla="*/ 4 w 10"/>
                  <a:gd name="T55" fmla="*/ 0 h 8"/>
                  <a:gd name="T56" fmla="*/ 4 w 10"/>
                  <a:gd name="T57" fmla="*/ 0 h 8"/>
                  <a:gd name="T58" fmla="*/ 4 w 10"/>
                  <a:gd name="T5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0" h="8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615" name="Freeform 157"/>
              <p:cNvSpPr>
                <a:spLocks/>
              </p:cNvSpPr>
              <p:nvPr/>
            </p:nvSpPr>
            <p:spPr bwMode="auto">
              <a:xfrm>
                <a:off x="1615" y="1258"/>
                <a:ext cx="86" cy="60"/>
              </a:xfrm>
              <a:custGeom>
                <a:avLst/>
                <a:gdLst>
                  <a:gd name="T0" fmla="*/ 36 w 86"/>
                  <a:gd name="T1" fmla="*/ 2 h 60"/>
                  <a:gd name="T2" fmla="*/ 32 w 86"/>
                  <a:gd name="T3" fmla="*/ 0 h 60"/>
                  <a:gd name="T4" fmla="*/ 24 w 86"/>
                  <a:gd name="T5" fmla="*/ 0 h 60"/>
                  <a:gd name="T6" fmla="*/ 18 w 86"/>
                  <a:gd name="T7" fmla="*/ 2 h 60"/>
                  <a:gd name="T8" fmla="*/ 18 w 86"/>
                  <a:gd name="T9" fmla="*/ 8 h 60"/>
                  <a:gd name="T10" fmla="*/ 16 w 86"/>
                  <a:gd name="T11" fmla="*/ 12 h 60"/>
                  <a:gd name="T12" fmla="*/ 12 w 86"/>
                  <a:gd name="T13" fmla="*/ 14 h 60"/>
                  <a:gd name="T14" fmla="*/ 4 w 86"/>
                  <a:gd name="T15" fmla="*/ 18 h 60"/>
                  <a:gd name="T16" fmla="*/ 0 w 86"/>
                  <a:gd name="T17" fmla="*/ 22 h 60"/>
                  <a:gd name="T18" fmla="*/ 0 w 86"/>
                  <a:gd name="T19" fmla="*/ 28 h 60"/>
                  <a:gd name="T20" fmla="*/ 2 w 86"/>
                  <a:gd name="T21" fmla="*/ 32 h 60"/>
                  <a:gd name="T22" fmla="*/ 0 w 86"/>
                  <a:gd name="T23" fmla="*/ 34 h 60"/>
                  <a:gd name="T24" fmla="*/ 4 w 86"/>
                  <a:gd name="T25" fmla="*/ 40 h 60"/>
                  <a:gd name="T26" fmla="*/ 4 w 86"/>
                  <a:gd name="T27" fmla="*/ 42 h 60"/>
                  <a:gd name="T28" fmla="*/ 6 w 86"/>
                  <a:gd name="T29" fmla="*/ 44 h 60"/>
                  <a:gd name="T30" fmla="*/ 8 w 86"/>
                  <a:gd name="T31" fmla="*/ 46 h 60"/>
                  <a:gd name="T32" fmla="*/ 4 w 86"/>
                  <a:gd name="T33" fmla="*/ 50 h 60"/>
                  <a:gd name="T34" fmla="*/ 4 w 86"/>
                  <a:gd name="T35" fmla="*/ 54 h 60"/>
                  <a:gd name="T36" fmla="*/ 8 w 86"/>
                  <a:gd name="T37" fmla="*/ 56 h 60"/>
                  <a:gd name="T38" fmla="*/ 12 w 86"/>
                  <a:gd name="T39" fmla="*/ 60 h 60"/>
                  <a:gd name="T40" fmla="*/ 18 w 86"/>
                  <a:gd name="T41" fmla="*/ 56 h 60"/>
                  <a:gd name="T42" fmla="*/ 20 w 86"/>
                  <a:gd name="T43" fmla="*/ 56 h 60"/>
                  <a:gd name="T44" fmla="*/ 28 w 86"/>
                  <a:gd name="T45" fmla="*/ 50 h 60"/>
                  <a:gd name="T46" fmla="*/ 26 w 86"/>
                  <a:gd name="T47" fmla="*/ 46 h 60"/>
                  <a:gd name="T48" fmla="*/ 22 w 86"/>
                  <a:gd name="T49" fmla="*/ 40 h 60"/>
                  <a:gd name="T50" fmla="*/ 20 w 86"/>
                  <a:gd name="T51" fmla="*/ 36 h 60"/>
                  <a:gd name="T52" fmla="*/ 26 w 86"/>
                  <a:gd name="T53" fmla="*/ 38 h 60"/>
                  <a:gd name="T54" fmla="*/ 36 w 86"/>
                  <a:gd name="T55" fmla="*/ 40 h 60"/>
                  <a:gd name="T56" fmla="*/ 40 w 86"/>
                  <a:gd name="T57" fmla="*/ 42 h 60"/>
                  <a:gd name="T58" fmla="*/ 52 w 86"/>
                  <a:gd name="T59" fmla="*/ 44 h 60"/>
                  <a:gd name="T60" fmla="*/ 58 w 86"/>
                  <a:gd name="T61" fmla="*/ 42 h 60"/>
                  <a:gd name="T62" fmla="*/ 58 w 86"/>
                  <a:gd name="T63" fmla="*/ 42 h 60"/>
                  <a:gd name="T64" fmla="*/ 56 w 86"/>
                  <a:gd name="T65" fmla="*/ 38 h 60"/>
                  <a:gd name="T66" fmla="*/ 54 w 86"/>
                  <a:gd name="T67" fmla="*/ 34 h 60"/>
                  <a:gd name="T68" fmla="*/ 58 w 86"/>
                  <a:gd name="T69" fmla="*/ 34 h 60"/>
                  <a:gd name="T70" fmla="*/ 66 w 86"/>
                  <a:gd name="T71" fmla="*/ 34 h 60"/>
                  <a:gd name="T72" fmla="*/ 74 w 86"/>
                  <a:gd name="T73" fmla="*/ 34 h 60"/>
                  <a:gd name="T74" fmla="*/ 76 w 86"/>
                  <a:gd name="T75" fmla="*/ 32 h 60"/>
                  <a:gd name="T76" fmla="*/ 82 w 86"/>
                  <a:gd name="T77" fmla="*/ 24 h 60"/>
                  <a:gd name="T78" fmla="*/ 86 w 86"/>
                  <a:gd name="T79" fmla="*/ 20 h 60"/>
                  <a:gd name="T80" fmla="*/ 84 w 86"/>
                  <a:gd name="T81" fmla="*/ 18 h 60"/>
                  <a:gd name="T82" fmla="*/ 78 w 86"/>
                  <a:gd name="T83" fmla="*/ 16 h 60"/>
                  <a:gd name="T84" fmla="*/ 72 w 86"/>
                  <a:gd name="T85" fmla="*/ 14 h 60"/>
                  <a:gd name="T86" fmla="*/ 68 w 86"/>
                  <a:gd name="T87" fmla="*/ 12 h 60"/>
                  <a:gd name="T88" fmla="*/ 64 w 86"/>
                  <a:gd name="T89" fmla="*/ 10 h 60"/>
                  <a:gd name="T90" fmla="*/ 60 w 86"/>
                  <a:gd name="T91" fmla="*/ 12 h 60"/>
                  <a:gd name="T92" fmla="*/ 56 w 86"/>
                  <a:gd name="T93" fmla="*/ 10 h 60"/>
                  <a:gd name="T94" fmla="*/ 48 w 86"/>
                  <a:gd name="T95" fmla="*/ 2 h 60"/>
                  <a:gd name="T96" fmla="*/ 40 w 86"/>
                  <a:gd name="T97" fmla="*/ 2 h 60"/>
                  <a:gd name="T98" fmla="*/ 38 w 86"/>
                  <a:gd name="T99" fmla="*/ 4 h 60"/>
                  <a:gd name="T100" fmla="*/ 38 w 86"/>
                  <a:gd name="T101" fmla="*/ 4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86" h="60">
                    <a:moveTo>
                      <a:pt x="38" y="4"/>
                    </a:moveTo>
                    <a:lnTo>
                      <a:pt x="38" y="4"/>
                    </a:lnTo>
                    <a:lnTo>
                      <a:pt x="36" y="4"/>
                    </a:lnTo>
                    <a:lnTo>
                      <a:pt x="36" y="2"/>
                    </a:lnTo>
                    <a:lnTo>
                      <a:pt x="36" y="2"/>
                    </a:lnTo>
                    <a:lnTo>
                      <a:pt x="36" y="2"/>
                    </a:lnTo>
                    <a:lnTo>
                      <a:pt x="34" y="0"/>
                    </a:lnTo>
                    <a:lnTo>
                      <a:pt x="32" y="0"/>
                    </a:lnTo>
                    <a:lnTo>
                      <a:pt x="28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4" y="0"/>
                    </a:lnTo>
                    <a:lnTo>
                      <a:pt x="22" y="0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4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2" y="14"/>
                    </a:lnTo>
                    <a:lnTo>
                      <a:pt x="10" y="14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4" y="18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4"/>
                    </a:lnTo>
                    <a:lnTo>
                      <a:pt x="0" y="26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30"/>
                    </a:lnTo>
                    <a:lnTo>
                      <a:pt x="2" y="30"/>
                    </a:lnTo>
                    <a:lnTo>
                      <a:pt x="2" y="32"/>
                    </a:lnTo>
                    <a:lnTo>
                      <a:pt x="2" y="32"/>
                    </a:lnTo>
                    <a:lnTo>
                      <a:pt x="0" y="32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2" y="36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6" y="48"/>
                    </a:lnTo>
                    <a:lnTo>
                      <a:pt x="6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4"/>
                    </a:lnTo>
                    <a:lnTo>
                      <a:pt x="6" y="54"/>
                    </a:lnTo>
                    <a:lnTo>
                      <a:pt x="6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10" y="58"/>
                    </a:lnTo>
                    <a:lnTo>
                      <a:pt x="10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4" y="60"/>
                    </a:lnTo>
                    <a:lnTo>
                      <a:pt x="14" y="60"/>
                    </a:lnTo>
                    <a:lnTo>
                      <a:pt x="18" y="56"/>
                    </a:lnTo>
                    <a:lnTo>
                      <a:pt x="18" y="56"/>
                    </a:lnTo>
                    <a:lnTo>
                      <a:pt x="18" y="56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8" y="52"/>
                    </a:lnTo>
                    <a:lnTo>
                      <a:pt x="28" y="50"/>
                    </a:lnTo>
                    <a:lnTo>
                      <a:pt x="28" y="50"/>
                    </a:lnTo>
                    <a:lnTo>
                      <a:pt x="28" y="50"/>
                    </a:lnTo>
                    <a:lnTo>
                      <a:pt x="28" y="46"/>
                    </a:lnTo>
                    <a:lnTo>
                      <a:pt x="26" y="46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2" y="42"/>
                    </a:lnTo>
                    <a:lnTo>
                      <a:pt x="22" y="40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4" y="36"/>
                    </a:lnTo>
                    <a:lnTo>
                      <a:pt x="26" y="38"/>
                    </a:lnTo>
                    <a:lnTo>
                      <a:pt x="28" y="38"/>
                    </a:lnTo>
                    <a:lnTo>
                      <a:pt x="28" y="38"/>
                    </a:lnTo>
                    <a:lnTo>
                      <a:pt x="34" y="38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8" y="42"/>
                    </a:lnTo>
                    <a:lnTo>
                      <a:pt x="40" y="42"/>
                    </a:lnTo>
                    <a:lnTo>
                      <a:pt x="42" y="44"/>
                    </a:lnTo>
                    <a:lnTo>
                      <a:pt x="42" y="44"/>
                    </a:lnTo>
                    <a:lnTo>
                      <a:pt x="48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4" y="44"/>
                    </a:lnTo>
                    <a:lnTo>
                      <a:pt x="56" y="44"/>
                    </a:lnTo>
                    <a:lnTo>
                      <a:pt x="58" y="42"/>
                    </a:lnTo>
                    <a:lnTo>
                      <a:pt x="58" y="42"/>
                    </a:lnTo>
                    <a:lnTo>
                      <a:pt x="58" y="42"/>
                    </a:lnTo>
                    <a:lnTo>
                      <a:pt x="58" y="42"/>
                    </a:lnTo>
                    <a:lnTo>
                      <a:pt x="58" y="42"/>
                    </a:lnTo>
                    <a:lnTo>
                      <a:pt x="58" y="40"/>
                    </a:lnTo>
                    <a:lnTo>
                      <a:pt x="58" y="40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4" y="36"/>
                    </a:lnTo>
                    <a:lnTo>
                      <a:pt x="54" y="34"/>
                    </a:lnTo>
                    <a:lnTo>
                      <a:pt x="54" y="34"/>
                    </a:lnTo>
                    <a:lnTo>
                      <a:pt x="54" y="34"/>
                    </a:lnTo>
                    <a:lnTo>
                      <a:pt x="56" y="34"/>
                    </a:lnTo>
                    <a:lnTo>
                      <a:pt x="56" y="34"/>
                    </a:lnTo>
                    <a:lnTo>
                      <a:pt x="56" y="32"/>
                    </a:lnTo>
                    <a:lnTo>
                      <a:pt x="58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4" y="34"/>
                    </a:lnTo>
                    <a:lnTo>
                      <a:pt x="66" y="34"/>
                    </a:lnTo>
                    <a:lnTo>
                      <a:pt x="68" y="34"/>
                    </a:lnTo>
                    <a:lnTo>
                      <a:pt x="68" y="34"/>
                    </a:lnTo>
                    <a:lnTo>
                      <a:pt x="70" y="34"/>
                    </a:lnTo>
                    <a:lnTo>
                      <a:pt x="74" y="34"/>
                    </a:lnTo>
                    <a:lnTo>
                      <a:pt x="74" y="34"/>
                    </a:lnTo>
                    <a:lnTo>
                      <a:pt x="76" y="34"/>
                    </a:lnTo>
                    <a:lnTo>
                      <a:pt x="76" y="32"/>
                    </a:lnTo>
                    <a:lnTo>
                      <a:pt x="76" y="32"/>
                    </a:lnTo>
                    <a:lnTo>
                      <a:pt x="76" y="30"/>
                    </a:lnTo>
                    <a:lnTo>
                      <a:pt x="78" y="28"/>
                    </a:lnTo>
                    <a:lnTo>
                      <a:pt x="80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4" y="22"/>
                    </a:lnTo>
                    <a:lnTo>
                      <a:pt x="84" y="20"/>
                    </a:lnTo>
                    <a:lnTo>
                      <a:pt x="86" y="20"/>
                    </a:lnTo>
                    <a:lnTo>
                      <a:pt x="86" y="18"/>
                    </a:lnTo>
                    <a:lnTo>
                      <a:pt x="86" y="18"/>
                    </a:lnTo>
                    <a:lnTo>
                      <a:pt x="84" y="18"/>
                    </a:lnTo>
                    <a:lnTo>
                      <a:pt x="84" y="18"/>
                    </a:lnTo>
                    <a:lnTo>
                      <a:pt x="82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78" y="16"/>
                    </a:lnTo>
                    <a:lnTo>
                      <a:pt x="76" y="14"/>
                    </a:lnTo>
                    <a:lnTo>
                      <a:pt x="76" y="14"/>
                    </a:lnTo>
                    <a:lnTo>
                      <a:pt x="74" y="14"/>
                    </a:lnTo>
                    <a:lnTo>
                      <a:pt x="72" y="14"/>
                    </a:lnTo>
                    <a:lnTo>
                      <a:pt x="72" y="14"/>
                    </a:lnTo>
                    <a:lnTo>
                      <a:pt x="70" y="12"/>
                    </a:lnTo>
                    <a:lnTo>
                      <a:pt x="70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6" y="10"/>
                    </a:lnTo>
                    <a:lnTo>
                      <a:pt x="64" y="10"/>
                    </a:lnTo>
                    <a:lnTo>
                      <a:pt x="64" y="10"/>
                    </a:lnTo>
                    <a:lnTo>
                      <a:pt x="62" y="10"/>
                    </a:lnTo>
                    <a:lnTo>
                      <a:pt x="62" y="12"/>
                    </a:lnTo>
                    <a:lnTo>
                      <a:pt x="62" y="12"/>
                    </a:lnTo>
                    <a:lnTo>
                      <a:pt x="60" y="12"/>
                    </a:lnTo>
                    <a:lnTo>
                      <a:pt x="58" y="12"/>
                    </a:lnTo>
                    <a:lnTo>
                      <a:pt x="58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0" y="4"/>
                    </a:lnTo>
                    <a:lnTo>
                      <a:pt x="48" y="2"/>
                    </a:lnTo>
                    <a:lnTo>
                      <a:pt x="46" y="2"/>
                    </a:lnTo>
                    <a:lnTo>
                      <a:pt x="44" y="2"/>
                    </a:lnTo>
                    <a:lnTo>
                      <a:pt x="44" y="2"/>
                    </a:lnTo>
                    <a:lnTo>
                      <a:pt x="40" y="2"/>
                    </a:lnTo>
                    <a:lnTo>
                      <a:pt x="40" y="2"/>
                    </a:lnTo>
                    <a:lnTo>
                      <a:pt x="40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616" name="Freeform 158"/>
              <p:cNvSpPr>
                <a:spLocks/>
              </p:cNvSpPr>
              <p:nvPr/>
            </p:nvSpPr>
            <p:spPr bwMode="auto">
              <a:xfrm>
                <a:off x="1615" y="1258"/>
                <a:ext cx="86" cy="60"/>
              </a:xfrm>
              <a:custGeom>
                <a:avLst/>
                <a:gdLst>
                  <a:gd name="T0" fmla="*/ 36 w 86"/>
                  <a:gd name="T1" fmla="*/ 2 h 60"/>
                  <a:gd name="T2" fmla="*/ 32 w 86"/>
                  <a:gd name="T3" fmla="*/ 0 h 60"/>
                  <a:gd name="T4" fmla="*/ 24 w 86"/>
                  <a:gd name="T5" fmla="*/ 0 h 60"/>
                  <a:gd name="T6" fmla="*/ 18 w 86"/>
                  <a:gd name="T7" fmla="*/ 2 h 60"/>
                  <a:gd name="T8" fmla="*/ 18 w 86"/>
                  <a:gd name="T9" fmla="*/ 8 h 60"/>
                  <a:gd name="T10" fmla="*/ 16 w 86"/>
                  <a:gd name="T11" fmla="*/ 12 h 60"/>
                  <a:gd name="T12" fmla="*/ 12 w 86"/>
                  <a:gd name="T13" fmla="*/ 14 h 60"/>
                  <a:gd name="T14" fmla="*/ 4 w 86"/>
                  <a:gd name="T15" fmla="*/ 18 h 60"/>
                  <a:gd name="T16" fmla="*/ 0 w 86"/>
                  <a:gd name="T17" fmla="*/ 22 h 60"/>
                  <a:gd name="T18" fmla="*/ 0 w 86"/>
                  <a:gd name="T19" fmla="*/ 28 h 60"/>
                  <a:gd name="T20" fmla="*/ 2 w 86"/>
                  <a:gd name="T21" fmla="*/ 32 h 60"/>
                  <a:gd name="T22" fmla="*/ 0 w 86"/>
                  <a:gd name="T23" fmla="*/ 34 h 60"/>
                  <a:gd name="T24" fmla="*/ 4 w 86"/>
                  <a:gd name="T25" fmla="*/ 40 h 60"/>
                  <a:gd name="T26" fmla="*/ 4 w 86"/>
                  <a:gd name="T27" fmla="*/ 42 h 60"/>
                  <a:gd name="T28" fmla="*/ 6 w 86"/>
                  <a:gd name="T29" fmla="*/ 44 h 60"/>
                  <a:gd name="T30" fmla="*/ 8 w 86"/>
                  <a:gd name="T31" fmla="*/ 46 h 60"/>
                  <a:gd name="T32" fmla="*/ 4 w 86"/>
                  <a:gd name="T33" fmla="*/ 50 h 60"/>
                  <a:gd name="T34" fmla="*/ 4 w 86"/>
                  <a:gd name="T35" fmla="*/ 54 h 60"/>
                  <a:gd name="T36" fmla="*/ 8 w 86"/>
                  <a:gd name="T37" fmla="*/ 56 h 60"/>
                  <a:gd name="T38" fmla="*/ 12 w 86"/>
                  <a:gd name="T39" fmla="*/ 60 h 60"/>
                  <a:gd name="T40" fmla="*/ 18 w 86"/>
                  <a:gd name="T41" fmla="*/ 56 h 60"/>
                  <a:gd name="T42" fmla="*/ 20 w 86"/>
                  <a:gd name="T43" fmla="*/ 56 h 60"/>
                  <a:gd name="T44" fmla="*/ 28 w 86"/>
                  <a:gd name="T45" fmla="*/ 50 h 60"/>
                  <a:gd name="T46" fmla="*/ 26 w 86"/>
                  <a:gd name="T47" fmla="*/ 46 h 60"/>
                  <a:gd name="T48" fmla="*/ 22 w 86"/>
                  <a:gd name="T49" fmla="*/ 40 h 60"/>
                  <a:gd name="T50" fmla="*/ 20 w 86"/>
                  <a:gd name="T51" fmla="*/ 36 h 60"/>
                  <a:gd name="T52" fmla="*/ 26 w 86"/>
                  <a:gd name="T53" fmla="*/ 38 h 60"/>
                  <a:gd name="T54" fmla="*/ 36 w 86"/>
                  <a:gd name="T55" fmla="*/ 40 h 60"/>
                  <a:gd name="T56" fmla="*/ 40 w 86"/>
                  <a:gd name="T57" fmla="*/ 42 h 60"/>
                  <a:gd name="T58" fmla="*/ 52 w 86"/>
                  <a:gd name="T59" fmla="*/ 44 h 60"/>
                  <a:gd name="T60" fmla="*/ 58 w 86"/>
                  <a:gd name="T61" fmla="*/ 42 h 60"/>
                  <a:gd name="T62" fmla="*/ 58 w 86"/>
                  <a:gd name="T63" fmla="*/ 42 h 60"/>
                  <a:gd name="T64" fmla="*/ 56 w 86"/>
                  <a:gd name="T65" fmla="*/ 38 h 60"/>
                  <a:gd name="T66" fmla="*/ 54 w 86"/>
                  <a:gd name="T67" fmla="*/ 34 h 60"/>
                  <a:gd name="T68" fmla="*/ 58 w 86"/>
                  <a:gd name="T69" fmla="*/ 34 h 60"/>
                  <a:gd name="T70" fmla="*/ 66 w 86"/>
                  <a:gd name="T71" fmla="*/ 34 h 60"/>
                  <a:gd name="T72" fmla="*/ 74 w 86"/>
                  <a:gd name="T73" fmla="*/ 34 h 60"/>
                  <a:gd name="T74" fmla="*/ 76 w 86"/>
                  <a:gd name="T75" fmla="*/ 32 h 60"/>
                  <a:gd name="T76" fmla="*/ 82 w 86"/>
                  <a:gd name="T77" fmla="*/ 24 h 60"/>
                  <a:gd name="T78" fmla="*/ 86 w 86"/>
                  <a:gd name="T79" fmla="*/ 20 h 60"/>
                  <a:gd name="T80" fmla="*/ 84 w 86"/>
                  <a:gd name="T81" fmla="*/ 18 h 60"/>
                  <a:gd name="T82" fmla="*/ 78 w 86"/>
                  <a:gd name="T83" fmla="*/ 16 h 60"/>
                  <a:gd name="T84" fmla="*/ 72 w 86"/>
                  <a:gd name="T85" fmla="*/ 14 h 60"/>
                  <a:gd name="T86" fmla="*/ 68 w 86"/>
                  <a:gd name="T87" fmla="*/ 12 h 60"/>
                  <a:gd name="T88" fmla="*/ 64 w 86"/>
                  <a:gd name="T89" fmla="*/ 10 h 60"/>
                  <a:gd name="T90" fmla="*/ 60 w 86"/>
                  <a:gd name="T91" fmla="*/ 12 h 60"/>
                  <a:gd name="T92" fmla="*/ 56 w 86"/>
                  <a:gd name="T93" fmla="*/ 10 h 60"/>
                  <a:gd name="T94" fmla="*/ 48 w 86"/>
                  <a:gd name="T95" fmla="*/ 2 h 60"/>
                  <a:gd name="T96" fmla="*/ 40 w 86"/>
                  <a:gd name="T97" fmla="*/ 2 h 60"/>
                  <a:gd name="T98" fmla="*/ 38 w 86"/>
                  <a:gd name="T99" fmla="*/ 4 h 60"/>
                  <a:gd name="T100" fmla="*/ 38 w 86"/>
                  <a:gd name="T101" fmla="*/ 4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86" h="60">
                    <a:moveTo>
                      <a:pt x="38" y="4"/>
                    </a:moveTo>
                    <a:lnTo>
                      <a:pt x="38" y="4"/>
                    </a:lnTo>
                    <a:lnTo>
                      <a:pt x="36" y="4"/>
                    </a:lnTo>
                    <a:lnTo>
                      <a:pt x="36" y="2"/>
                    </a:lnTo>
                    <a:lnTo>
                      <a:pt x="36" y="2"/>
                    </a:lnTo>
                    <a:lnTo>
                      <a:pt x="36" y="2"/>
                    </a:lnTo>
                    <a:lnTo>
                      <a:pt x="34" y="0"/>
                    </a:lnTo>
                    <a:lnTo>
                      <a:pt x="32" y="0"/>
                    </a:lnTo>
                    <a:lnTo>
                      <a:pt x="28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4" y="0"/>
                    </a:lnTo>
                    <a:lnTo>
                      <a:pt x="22" y="0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4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2" y="14"/>
                    </a:lnTo>
                    <a:lnTo>
                      <a:pt x="10" y="14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4" y="18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4"/>
                    </a:lnTo>
                    <a:lnTo>
                      <a:pt x="0" y="26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30"/>
                    </a:lnTo>
                    <a:lnTo>
                      <a:pt x="2" y="30"/>
                    </a:lnTo>
                    <a:lnTo>
                      <a:pt x="2" y="32"/>
                    </a:lnTo>
                    <a:lnTo>
                      <a:pt x="2" y="32"/>
                    </a:lnTo>
                    <a:lnTo>
                      <a:pt x="0" y="32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2" y="36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6" y="48"/>
                    </a:lnTo>
                    <a:lnTo>
                      <a:pt x="6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4"/>
                    </a:lnTo>
                    <a:lnTo>
                      <a:pt x="6" y="54"/>
                    </a:lnTo>
                    <a:lnTo>
                      <a:pt x="6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10" y="58"/>
                    </a:lnTo>
                    <a:lnTo>
                      <a:pt x="10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4" y="60"/>
                    </a:lnTo>
                    <a:lnTo>
                      <a:pt x="14" y="60"/>
                    </a:lnTo>
                    <a:lnTo>
                      <a:pt x="18" y="56"/>
                    </a:lnTo>
                    <a:lnTo>
                      <a:pt x="18" y="56"/>
                    </a:lnTo>
                    <a:lnTo>
                      <a:pt x="18" y="56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8" y="52"/>
                    </a:lnTo>
                    <a:lnTo>
                      <a:pt x="28" y="50"/>
                    </a:lnTo>
                    <a:lnTo>
                      <a:pt x="28" y="50"/>
                    </a:lnTo>
                    <a:lnTo>
                      <a:pt x="28" y="50"/>
                    </a:lnTo>
                    <a:lnTo>
                      <a:pt x="28" y="46"/>
                    </a:lnTo>
                    <a:lnTo>
                      <a:pt x="26" y="46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2" y="42"/>
                    </a:lnTo>
                    <a:lnTo>
                      <a:pt x="22" y="40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4" y="36"/>
                    </a:lnTo>
                    <a:lnTo>
                      <a:pt x="26" y="38"/>
                    </a:lnTo>
                    <a:lnTo>
                      <a:pt x="28" y="38"/>
                    </a:lnTo>
                    <a:lnTo>
                      <a:pt x="28" y="38"/>
                    </a:lnTo>
                    <a:lnTo>
                      <a:pt x="34" y="38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8" y="42"/>
                    </a:lnTo>
                    <a:lnTo>
                      <a:pt x="40" y="42"/>
                    </a:lnTo>
                    <a:lnTo>
                      <a:pt x="42" y="44"/>
                    </a:lnTo>
                    <a:lnTo>
                      <a:pt x="42" y="44"/>
                    </a:lnTo>
                    <a:lnTo>
                      <a:pt x="48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4" y="44"/>
                    </a:lnTo>
                    <a:lnTo>
                      <a:pt x="56" y="44"/>
                    </a:lnTo>
                    <a:lnTo>
                      <a:pt x="58" y="42"/>
                    </a:lnTo>
                    <a:lnTo>
                      <a:pt x="58" y="42"/>
                    </a:lnTo>
                    <a:lnTo>
                      <a:pt x="58" y="42"/>
                    </a:lnTo>
                    <a:lnTo>
                      <a:pt x="58" y="42"/>
                    </a:lnTo>
                    <a:lnTo>
                      <a:pt x="58" y="42"/>
                    </a:lnTo>
                    <a:lnTo>
                      <a:pt x="58" y="40"/>
                    </a:lnTo>
                    <a:lnTo>
                      <a:pt x="58" y="40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4" y="36"/>
                    </a:lnTo>
                    <a:lnTo>
                      <a:pt x="54" y="34"/>
                    </a:lnTo>
                    <a:lnTo>
                      <a:pt x="54" y="34"/>
                    </a:lnTo>
                    <a:lnTo>
                      <a:pt x="54" y="34"/>
                    </a:lnTo>
                    <a:lnTo>
                      <a:pt x="56" y="34"/>
                    </a:lnTo>
                    <a:lnTo>
                      <a:pt x="56" y="34"/>
                    </a:lnTo>
                    <a:lnTo>
                      <a:pt x="56" y="32"/>
                    </a:lnTo>
                    <a:lnTo>
                      <a:pt x="58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4" y="34"/>
                    </a:lnTo>
                    <a:lnTo>
                      <a:pt x="66" y="34"/>
                    </a:lnTo>
                    <a:lnTo>
                      <a:pt x="68" y="34"/>
                    </a:lnTo>
                    <a:lnTo>
                      <a:pt x="68" y="34"/>
                    </a:lnTo>
                    <a:lnTo>
                      <a:pt x="70" y="34"/>
                    </a:lnTo>
                    <a:lnTo>
                      <a:pt x="74" y="34"/>
                    </a:lnTo>
                    <a:lnTo>
                      <a:pt x="74" y="34"/>
                    </a:lnTo>
                    <a:lnTo>
                      <a:pt x="76" y="34"/>
                    </a:lnTo>
                    <a:lnTo>
                      <a:pt x="76" y="32"/>
                    </a:lnTo>
                    <a:lnTo>
                      <a:pt x="76" y="32"/>
                    </a:lnTo>
                    <a:lnTo>
                      <a:pt x="76" y="30"/>
                    </a:lnTo>
                    <a:lnTo>
                      <a:pt x="78" y="28"/>
                    </a:lnTo>
                    <a:lnTo>
                      <a:pt x="80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4" y="22"/>
                    </a:lnTo>
                    <a:lnTo>
                      <a:pt x="84" y="20"/>
                    </a:lnTo>
                    <a:lnTo>
                      <a:pt x="86" y="20"/>
                    </a:lnTo>
                    <a:lnTo>
                      <a:pt x="86" y="18"/>
                    </a:lnTo>
                    <a:lnTo>
                      <a:pt x="86" y="18"/>
                    </a:lnTo>
                    <a:lnTo>
                      <a:pt x="84" y="18"/>
                    </a:lnTo>
                    <a:lnTo>
                      <a:pt x="84" y="18"/>
                    </a:lnTo>
                    <a:lnTo>
                      <a:pt x="82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78" y="16"/>
                    </a:lnTo>
                    <a:lnTo>
                      <a:pt x="76" y="14"/>
                    </a:lnTo>
                    <a:lnTo>
                      <a:pt x="76" y="14"/>
                    </a:lnTo>
                    <a:lnTo>
                      <a:pt x="74" y="14"/>
                    </a:lnTo>
                    <a:lnTo>
                      <a:pt x="72" y="14"/>
                    </a:lnTo>
                    <a:lnTo>
                      <a:pt x="72" y="14"/>
                    </a:lnTo>
                    <a:lnTo>
                      <a:pt x="70" y="12"/>
                    </a:lnTo>
                    <a:lnTo>
                      <a:pt x="70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6" y="10"/>
                    </a:lnTo>
                    <a:lnTo>
                      <a:pt x="64" y="10"/>
                    </a:lnTo>
                    <a:lnTo>
                      <a:pt x="64" y="10"/>
                    </a:lnTo>
                    <a:lnTo>
                      <a:pt x="62" y="10"/>
                    </a:lnTo>
                    <a:lnTo>
                      <a:pt x="62" y="12"/>
                    </a:lnTo>
                    <a:lnTo>
                      <a:pt x="62" y="12"/>
                    </a:lnTo>
                    <a:lnTo>
                      <a:pt x="60" y="12"/>
                    </a:lnTo>
                    <a:lnTo>
                      <a:pt x="58" y="12"/>
                    </a:lnTo>
                    <a:lnTo>
                      <a:pt x="58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0" y="4"/>
                    </a:lnTo>
                    <a:lnTo>
                      <a:pt x="48" y="2"/>
                    </a:lnTo>
                    <a:lnTo>
                      <a:pt x="46" y="2"/>
                    </a:lnTo>
                    <a:lnTo>
                      <a:pt x="44" y="2"/>
                    </a:lnTo>
                    <a:lnTo>
                      <a:pt x="44" y="2"/>
                    </a:lnTo>
                    <a:lnTo>
                      <a:pt x="40" y="2"/>
                    </a:lnTo>
                    <a:lnTo>
                      <a:pt x="40" y="2"/>
                    </a:lnTo>
                    <a:lnTo>
                      <a:pt x="40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617" name="Freeform 159"/>
              <p:cNvSpPr>
                <a:spLocks/>
              </p:cNvSpPr>
              <p:nvPr/>
            </p:nvSpPr>
            <p:spPr bwMode="auto">
              <a:xfrm>
                <a:off x="1611" y="1118"/>
                <a:ext cx="18" cy="12"/>
              </a:xfrm>
              <a:custGeom>
                <a:avLst/>
                <a:gdLst>
                  <a:gd name="T0" fmla="*/ 8 w 18"/>
                  <a:gd name="T1" fmla="*/ 0 h 12"/>
                  <a:gd name="T2" fmla="*/ 8 w 18"/>
                  <a:gd name="T3" fmla="*/ 0 h 12"/>
                  <a:gd name="T4" fmla="*/ 6 w 18"/>
                  <a:gd name="T5" fmla="*/ 0 h 12"/>
                  <a:gd name="T6" fmla="*/ 6 w 18"/>
                  <a:gd name="T7" fmla="*/ 2 h 12"/>
                  <a:gd name="T8" fmla="*/ 4 w 18"/>
                  <a:gd name="T9" fmla="*/ 2 h 12"/>
                  <a:gd name="T10" fmla="*/ 4 w 18"/>
                  <a:gd name="T11" fmla="*/ 2 h 12"/>
                  <a:gd name="T12" fmla="*/ 4 w 18"/>
                  <a:gd name="T13" fmla="*/ 2 h 12"/>
                  <a:gd name="T14" fmla="*/ 2 w 18"/>
                  <a:gd name="T15" fmla="*/ 4 h 12"/>
                  <a:gd name="T16" fmla="*/ 2 w 18"/>
                  <a:gd name="T17" fmla="*/ 4 h 12"/>
                  <a:gd name="T18" fmla="*/ 2 w 18"/>
                  <a:gd name="T19" fmla="*/ 4 h 12"/>
                  <a:gd name="T20" fmla="*/ 2 w 18"/>
                  <a:gd name="T21" fmla="*/ 8 h 12"/>
                  <a:gd name="T22" fmla="*/ 2 w 18"/>
                  <a:gd name="T23" fmla="*/ 8 h 12"/>
                  <a:gd name="T24" fmla="*/ 0 w 18"/>
                  <a:gd name="T25" fmla="*/ 8 h 12"/>
                  <a:gd name="T26" fmla="*/ 0 w 18"/>
                  <a:gd name="T27" fmla="*/ 10 h 12"/>
                  <a:gd name="T28" fmla="*/ 2 w 18"/>
                  <a:gd name="T29" fmla="*/ 10 h 12"/>
                  <a:gd name="T30" fmla="*/ 2 w 18"/>
                  <a:gd name="T31" fmla="*/ 12 h 12"/>
                  <a:gd name="T32" fmla="*/ 2 w 18"/>
                  <a:gd name="T33" fmla="*/ 12 h 12"/>
                  <a:gd name="T34" fmla="*/ 4 w 18"/>
                  <a:gd name="T35" fmla="*/ 12 h 12"/>
                  <a:gd name="T36" fmla="*/ 4 w 18"/>
                  <a:gd name="T37" fmla="*/ 12 h 12"/>
                  <a:gd name="T38" fmla="*/ 4 w 18"/>
                  <a:gd name="T39" fmla="*/ 12 h 12"/>
                  <a:gd name="T40" fmla="*/ 6 w 18"/>
                  <a:gd name="T41" fmla="*/ 10 h 12"/>
                  <a:gd name="T42" fmla="*/ 8 w 18"/>
                  <a:gd name="T43" fmla="*/ 10 h 12"/>
                  <a:gd name="T44" fmla="*/ 10 w 18"/>
                  <a:gd name="T45" fmla="*/ 8 h 12"/>
                  <a:gd name="T46" fmla="*/ 10 w 18"/>
                  <a:gd name="T47" fmla="*/ 8 h 12"/>
                  <a:gd name="T48" fmla="*/ 12 w 18"/>
                  <a:gd name="T49" fmla="*/ 8 h 12"/>
                  <a:gd name="T50" fmla="*/ 14 w 18"/>
                  <a:gd name="T51" fmla="*/ 10 h 12"/>
                  <a:gd name="T52" fmla="*/ 14 w 18"/>
                  <a:gd name="T53" fmla="*/ 10 h 12"/>
                  <a:gd name="T54" fmla="*/ 16 w 18"/>
                  <a:gd name="T55" fmla="*/ 10 h 12"/>
                  <a:gd name="T56" fmla="*/ 16 w 18"/>
                  <a:gd name="T57" fmla="*/ 10 h 12"/>
                  <a:gd name="T58" fmla="*/ 16 w 18"/>
                  <a:gd name="T59" fmla="*/ 8 h 12"/>
                  <a:gd name="T60" fmla="*/ 16 w 18"/>
                  <a:gd name="T61" fmla="*/ 8 h 12"/>
                  <a:gd name="T62" fmla="*/ 18 w 18"/>
                  <a:gd name="T63" fmla="*/ 8 h 12"/>
                  <a:gd name="T64" fmla="*/ 18 w 18"/>
                  <a:gd name="T65" fmla="*/ 8 h 12"/>
                  <a:gd name="T66" fmla="*/ 18 w 18"/>
                  <a:gd name="T67" fmla="*/ 6 h 12"/>
                  <a:gd name="T68" fmla="*/ 18 w 18"/>
                  <a:gd name="T69" fmla="*/ 6 h 12"/>
                  <a:gd name="T70" fmla="*/ 16 w 18"/>
                  <a:gd name="T71" fmla="*/ 4 h 12"/>
                  <a:gd name="T72" fmla="*/ 16 w 18"/>
                  <a:gd name="T73" fmla="*/ 4 h 12"/>
                  <a:gd name="T74" fmla="*/ 16 w 18"/>
                  <a:gd name="T75" fmla="*/ 4 h 12"/>
                  <a:gd name="T76" fmla="*/ 14 w 18"/>
                  <a:gd name="T77" fmla="*/ 2 h 12"/>
                  <a:gd name="T78" fmla="*/ 12 w 18"/>
                  <a:gd name="T79" fmla="*/ 0 h 12"/>
                  <a:gd name="T80" fmla="*/ 10 w 18"/>
                  <a:gd name="T81" fmla="*/ 0 h 12"/>
                  <a:gd name="T82" fmla="*/ 10 w 18"/>
                  <a:gd name="T83" fmla="*/ 0 h 12"/>
                  <a:gd name="T84" fmla="*/ 8 w 18"/>
                  <a:gd name="T85" fmla="*/ 0 h 12"/>
                  <a:gd name="T86" fmla="*/ 8 w 18"/>
                  <a:gd name="T87" fmla="*/ 0 h 12"/>
                  <a:gd name="T88" fmla="*/ 8 w 18"/>
                  <a:gd name="T89" fmla="*/ 0 h 12"/>
                  <a:gd name="T90" fmla="*/ 8 w 18"/>
                  <a:gd name="T91" fmla="*/ 0 h 12"/>
                  <a:gd name="T92" fmla="*/ 8 w 18"/>
                  <a:gd name="T9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8" h="12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0"/>
                    </a:lnTo>
                    <a:lnTo>
                      <a:pt x="8" y="10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2" y="8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618" name="Freeform 161"/>
              <p:cNvSpPr>
                <a:spLocks/>
              </p:cNvSpPr>
              <p:nvPr/>
            </p:nvSpPr>
            <p:spPr bwMode="auto">
              <a:xfrm>
                <a:off x="1591" y="1072"/>
                <a:ext cx="64" cy="56"/>
              </a:xfrm>
              <a:custGeom>
                <a:avLst/>
                <a:gdLst>
                  <a:gd name="T0" fmla="*/ 2 w 64"/>
                  <a:gd name="T1" fmla="*/ 4 h 56"/>
                  <a:gd name="T2" fmla="*/ 0 w 64"/>
                  <a:gd name="T3" fmla="*/ 6 h 56"/>
                  <a:gd name="T4" fmla="*/ 2 w 64"/>
                  <a:gd name="T5" fmla="*/ 8 h 56"/>
                  <a:gd name="T6" fmla="*/ 6 w 64"/>
                  <a:gd name="T7" fmla="*/ 10 h 56"/>
                  <a:gd name="T8" fmla="*/ 10 w 64"/>
                  <a:gd name="T9" fmla="*/ 12 h 56"/>
                  <a:gd name="T10" fmla="*/ 10 w 64"/>
                  <a:gd name="T11" fmla="*/ 12 h 56"/>
                  <a:gd name="T12" fmla="*/ 12 w 64"/>
                  <a:gd name="T13" fmla="*/ 14 h 56"/>
                  <a:gd name="T14" fmla="*/ 14 w 64"/>
                  <a:gd name="T15" fmla="*/ 14 h 56"/>
                  <a:gd name="T16" fmla="*/ 16 w 64"/>
                  <a:gd name="T17" fmla="*/ 18 h 56"/>
                  <a:gd name="T18" fmla="*/ 18 w 64"/>
                  <a:gd name="T19" fmla="*/ 22 h 56"/>
                  <a:gd name="T20" fmla="*/ 18 w 64"/>
                  <a:gd name="T21" fmla="*/ 22 h 56"/>
                  <a:gd name="T22" fmla="*/ 16 w 64"/>
                  <a:gd name="T23" fmla="*/ 24 h 56"/>
                  <a:gd name="T24" fmla="*/ 12 w 64"/>
                  <a:gd name="T25" fmla="*/ 22 h 56"/>
                  <a:gd name="T26" fmla="*/ 8 w 64"/>
                  <a:gd name="T27" fmla="*/ 20 h 56"/>
                  <a:gd name="T28" fmla="*/ 4 w 64"/>
                  <a:gd name="T29" fmla="*/ 20 h 56"/>
                  <a:gd name="T30" fmla="*/ 2 w 64"/>
                  <a:gd name="T31" fmla="*/ 20 h 56"/>
                  <a:gd name="T32" fmla="*/ 0 w 64"/>
                  <a:gd name="T33" fmla="*/ 22 h 56"/>
                  <a:gd name="T34" fmla="*/ 2 w 64"/>
                  <a:gd name="T35" fmla="*/ 28 h 56"/>
                  <a:gd name="T36" fmla="*/ 4 w 64"/>
                  <a:gd name="T37" fmla="*/ 30 h 56"/>
                  <a:gd name="T38" fmla="*/ 10 w 64"/>
                  <a:gd name="T39" fmla="*/ 32 h 56"/>
                  <a:gd name="T40" fmla="*/ 24 w 64"/>
                  <a:gd name="T41" fmla="*/ 34 h 56"/>
                  <a:gd name="T42" fmla="*/ 28 w 64"/>
                  <a:gd name="T43" fmla="*/ 32 h 56"/>
                  <a:gd name="T44" fmla="*/ 30 w 64"/>
                  <a:gd name="T45" fmla="*/ 32 h 56"/>
                  <a:gd name="T46" fmla="*/ 34 w 64"/>
                  <a:gd name="T47" fmla="*/ 32 h 56"/>
                  <a:gd name="T48" fmla="*/ 36 w 64"/>
                  <a:gd name="T49" fmla="*/ 36 h 56"/>
                  <a:gd name="T50" fmla="*/ 38 w 64"/>
                  <a:gd name="T51" fmla="*/ 36 h 56"/>
                  <a:gd name="T52" fmla="*/ 40 w 64"/>
                  <a:gd name="T53" fmla="*/ 36 h 56"/>
                  <a:gd name="T54" fmla="*/ 40 w 64"/>
                  <a:gd name="T55" fmla="*/ 40 h 56"/>
                  <a:gd name="T56" fmla="*/ 42 w 64"/>
                  <a:gd name="T57" fmla="*/ 44 h 56"/>
                  <a:gd name="T58" fmla="*/ 46 w 64"/>
                  <a:gd name="T59" fmla="*/ 46 h 56"/>
                  <a:gd name="T60" fmla="*/ 46 w 64"/>
                  <a:gd name="T61" fmla="*/ 48 h 56"/>
                  <a:gd name="T62" fmla="*/ 48 w 64"/>
                  <a:gd name="T63" fmla="*/ 52 h 56"/>
                  <a:gd name="T64" fmla="*/ 52 w 64"/>
                  <a:gd name="T65" fmla="*/ 56 h 56"/>
                  <a:gd name="T66" fmla="*/ 56 w 64"/>
                  <a:gd name="T67" fmla="*/ 56 h 56"/>
                  <a:gd name="T68" fmla="*/ 58 w 64"/>
                  <a:gd name="T69" fmla="*/ 54 h 56"/>
                  <a:gd name="T70" fmla="*/ 62 w 64"/>
                  <a:gd name="T71" fmla="*/ 54 h 56"/>
                  <a:gd name="T72" fmla="*/ 64 w 64"/>
                  <a:gd name="T73" fmla="*/ 52 h 56"/>
                  <a:gd name="T74" fmla="*/ 64 w 64"/>
                  <a:gd name="T75" fmla="*/ 44 h 56"/>
                  <a:gd name="T76" fmla="*/ 62 w 64"/>
                  <a:gd name="T77" fmla="*/ 42 h 56"/>
                  <a:gd name="T78" fmla="*/ 60 w 64"/>
                  <a:gd name="T79" fmla="*/ 38 h 56"/>
                  <a:gd name="T80" fmla="*/ 62 w 64"/>
                  <a:gd name="T81" fmla="*/ 36 h 56"/>
                  <a:gd name="T82" fmla="*/ 64 w 64"/>
                  <a:gd name="T83" fmla="*/ 34 h 56"/>
                  <a:gd name="T84" fmla="*/ 64 w 64"/>
                  <a:gd name="T85" fmla="*/ 32 h 56"/>
                  <a:gd name="T86" fmla="*/ 62 w 64"/>
                  <a:gd name="T87" fmla="*/ 28 h 56"/>
                  <a:gd name="T88" fmla="*/ 60 w 64"/>
                  <a:gd name="T89" fmla="*/ 26 h 56"/>
                  <a:gd name="T90" fmla="*/ 56 w 64"/>
                  <a:gd name="T91" fmla="*/ 24 h 56"/>
                  <a:gd name="T92" fmla="*/ 52 w 64"/>
                  <a:gd name="T93" fmla="*/ 22 h 56"/>
                  <a:gd name="T94" fmla="*/ 46 w 64"/>
                  <a:gd name="T95" fmla="*/ 16 h 56"/>
                  <a:gd name="T96" fmla="*/ 44 w 64"/>
                  <a:gd name="T97" fmla="*/ 14 h 56"/>
                  <a:gd name="T98" fmla="*/ 42 w 64"/>
                  <a:gd name="T99" fmla="*/ 14 h 56"/>
                  <a:gd name="T100" fmla="*/ 36 w 64"/>
                  <a:gd name="T101" fmla="*/ 16 h 56"/>
                  <a:gd name="T102" fmla="*/ 36 w 64"/>
                  <a:gd name="T103" fmla="*/ 14 h 56"/>
                  <a:gd name="T104" fmla="*/ 36 w 64"/>
                  <a:gd name="T105" fmla="*/ 12 h 56"/>
                  <a:gd name="T106" fmla="*/ 34 w 64"/>
                  <a:gd name="T107" fmla="*/ 8 h 56"/>
                  <a:gd name="T108" fmla="*/ 30 w 64"/>
                  <a:gd name="T109" fmla="*/ 6 h 56"/>
                  <a:gd name="T110" fmla="*/ 24 w 64"/>
                  <a:gd name="T111" fmla="*/ 2 h 56"/>
                  <a:gd name="T112" fmla="*/ 14 w 64"/>
                  <a:gd name="T113" fmla="*/ 0 h 56"/>
                  <a:gd name="T114" fmla="*/ 8 w 64"/>
                  <a:gd name="T115" fmla="*/ 0 h 56"/>
                  <a:gd name="T116" fmla="*/ 6 w 64"/>
                  <a:gd name="T117" fmla="*/ 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4" h="56">
                    <a:moveTo>
                      <a:pt x="6" y="2"/>
                    </a:moveTo>
                    <a:lnTo>
                      <a:pt x="6" y="2"/>
                    </a:lnTo>
                    <a:lnTo>
                      <a:pt x="2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2" y="8"/>
                    </a:lnTo>
                    <a:lnTo>
                      <a:pt x="2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8" y="10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6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8" y="20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4" y="24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0"/>
                    </a:lnTo>
                    <a:lnTo>
                      <a:pt x="10" y="20"/>
                    </a:lnTo>
                    <a:lnTo>
                      <a:pt x="8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4" y="20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4"/>
                    </a:lnTo>
                    <a:lnTo>
                      <a:pt x="2" y="26"/>
                    </a:lnTo>
                    <a:lnTo>
                      <a:pt x="2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30"/>
                    </a:lnTo>
                    <a:lnTo>
                      <a:pt x="6" y="30"/>
                    </a:lnTo>
                    <a:lnTo>
                      <a:pt x="10" y="32"/>
                    </a:lnTo>
                    <a:lnTo>
                      <a:pt x="10" y="32"/>
                    </a:lnTo>
                    <a:lnTo>
                      <a:pt x="16" y="34"/>
                    </a:lnTo>
                    <a:lnTo>
                      <a:pt x="20" y="34"/>
                    </a:lnTo>
                    <a:lnTo>
                      <a:pt x="24" y="34"/>
                    </a:lnTo>
                    <a:lnTo>
                      <a:pt x="24" y="34"/>
                    </a:lnTo>
                    <a:lnTo>
                      <a:pt x="26" y="34"/>
                    </a:lnTo>
                    <a:lnTo>
                      <a:pt x="28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4" y="32"/>
                    </a:lnTo>
                    <a:lnTo>
                      <a:pt x="34" y="32"/>
                    </a:lnTo>
                    <a:lnTo>
                      <a:pt x="34" y="34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40"/>
                    </a:lnTo>
                    <a:lnTo>
                      <a:pt x="42" y="42"/>
                    </a:lnTo>
                    <a:lnTo>
                      <a:pt x="42" y="44"/>
                    </a:lnTo>
                    <a:lnTo>
                      <a:pt x="42" y="44"/>
                    </a:lnTo>
                    <a:lnTo>
                      <a:pt x="44" y="46"/>
                    </a:lnTo>
                    <a:lnTo>
                      <a:pt x="44" y="46"/>
                    </a:lnTo>
                    <a:lnTo>
                      <a:pt x="46" y="46"/>
                    </a:lnTo>
                    <a:lnTo>
                      <a:pt x="46" y="46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8" y="50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50" y="54"/>
                    </a:lnTo>
                    <a:lnTo>
                      <a:pt x="50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6" y="56"/>
                    </a:lnTo>
                    <a:lnTo>
                      <a:pt x="56" y="56"/>
                    </a:lnTo>
                    <a:lnTo>
                      <a:pt x="58" y="56"/>
                    </a:lnTo>
                    <a:lnTo>
                      <a:pt x="58" y="54"/>
                    </a:lnTo>
                    <a:lnTo>
                      <a:pt x="58" y="54"/>
                    </a:lnTo>
                    <a:lnTo>
                      <a:pt x="62" y="54"/>
                    </a:lnTo>
                    <a:lnTo>
                      <a:pt x="62" y="54"/>
                    </a:lnTo>
                    <a:lnTo>
                      <a:pt x="62" y="54"/>
                    </a:lnTo>
                    <a:lnTo>
                      <a:pt x="62" y="54"/>
                    </a:lnTo>
                    <a:lnTo>
                      <a:pt x="64" y="54"/>
                    </a:lnTo>
                    <a:lnTo>
                      <a:pt x="64" y="52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4" y="44"/>
                    </a:lnTo>
                    <a:lnTo>
                      <a:pt x="64" y="42"/>
                    </a:lnTo>
                    <a:lnTo>
                      <a:pt x="64" y="42"/>
                    </a:lnTo>
                    <a:lnTo>
                      <a:pt x="62" y="42"/>
                    </a:lnTo>
                    <a:lnTo>
                      <a:pt x="62" y="42"/>
                    </a:lnTo>
                    <a:lnTo>
                      <a:pt x="62" y="40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2" y="36"/>
                    </a:lnTo>
                    <a:lnTo>
                      <a:pt x="62" y="36"/>
                    </a:lnTo>
                    <a:lnTo>
                      <a:pt x="64" y="36"/>
                    </a:lnTo>
                    <a:lnTo>
                      <a:pt x="64" y="34"/>
                    </a:lnTo>
                    <a:lnTo>
                      <a:pt x="64" y="34"/>
                    </a:lnTo>
                    <a:lnTo>
                      <a:pt x="64" y="32"/>
                    </a:lnTo>
                    <a:lnTo>
                      <a:pt x="64" y="32"/>
                    </a:lnTo>
                    <a:lnTo>
                      <a:pt x="64" y="32"/>
                    </a:lnTo>
                    <a:lnTo>
                      <a:pt x="62" y="30"/>
                    </a:lnTo>
                    <a:lnTo>
                      <a:pt x="62" y="28"/>
                    </a:lnTo>
                    <a:lnTo>
                      <a:pt x="62" y="28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58" y="24"/>
                    </a:lnTo>
                    <a:lnTo>
                      <a:pt x="56" y="24"/>
                    </a:lnTo>
                    <a:lnTo>
                      <a:pt x="52" y="24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0" y="18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14"/>
                    </a:lnTo>
                    <a:lnTo>
                      <a:pt x="44" y="14"/>
                    </a:lnTo>
                    <a:lnTo>
                      <a:pt x="42" y="14"/>
                    </a:lnTo>
                    <a:lnTo>
                      <a:pt x="42" y="14"/>
                    </a:lnTo>
                    <a:lnTo>
                      <a:pt x="42" y="14"/>
                    </a:lnTo>
                    <a:lnTo>
                      <a:pt x="40" y="14"/>
                    </a:lnTo>
                    <a:lnTo>
                      <a:pt x="38" y="14"/>
                    </a:lnTo>
                    <a:lnTo>
                      <a:pt x="36" y="16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4" y="10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2" y="8"/>
                    </a:lnTo>
                    <a:lnTo>
                      <a:pt x="30" y="6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8" y="0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619" name="Freeform 163"/>
              <p:cNvSpPr>
                <a:spLocks/>
              </p:cNvSpPr>
              <p:nvPr/>
            </p:nvSpPr>
            <p:spPr bwMode="auto">
              <a:xfrm>
                <a:off x="1671" y="1062"/>
                <a:ext cx="12" cy="14"/>
              </a:xfrm>
              <a:custGeom>
                <a:avLst/>
                <a:gdLst>
                  <a:gd name="T0" fmla="*/ 0 w 12"/>
                  <a:gd name="T1" fmla="*/ 0 h 14"/>
                  <a:gd name="T2" fmla="*/ 0 w 12"/>
                  <a:gd name="T3" fmla="*/ 0 h 14"/>
                  <a:gd name="T4" fmla="*/ 0 w 12"/>
                  <a:gd name="T5" fmla="*/ 2 h 14"/>
                  <a:gd name="T6" fmla="*/ 0 w 12"/>
                  <a:gd name="T7" fmla="*/ 4 h 14"/>
                  <a:gd name="T8" fmla="*/ 0 w 12"/>
                  <a:gd name="T9" fmla="*/ 8 h 14"/>
                  <a:gd name="T10" fmla="*/ 0 w 12"/>
                  <a:gd name="T11" fmla="*/ 8 h 14"/>
                  <a:gd name="T12" fmla="*/ 0 w 12"/>
                  <a:gd name="T13" fmla="*/ 10 h 14"/>
                  <a:gd name="T14" fmla="*/ 0 w 12"/>
                  <a:gd name="T15" fmla="*/ 10 h 14"/>
                  <a:gd name="T16" fmla="*/ 0 w 12"/>
                  <a:gd name="T17" fmla="*/ 10 h 14"/>
                  <a:gd name="T18" fmla="*/ 0 w 12"/>
                  <a:gd name="T19" fmla="*/ 12 h 14"/>
                  <a:gd name="T20" fmla="*/ 2 w 12"/>
                  <a:gd name="T21" fmla="*/ 14 h 14"/>
                  <a:gd name="T22" fmla="*/ 2 w 12"/>
                  <a:gd name="T23" fmla="*/ 14 h 14"/>
                  <a:gd name="T24" fmla="*/ 2 w 12"/>
                  <a:gd name="T25" fmla="*/ 14 h 14"/>
                  <a:gd name="T26" fmla="*/ 2 w 12"/>
                  <a:gd name="T27" fmla="*/ 14 h 14"/>
                  <a:gd name="T28" fmla="*/ 4 w 12"/>
                  <a:gd name="T29" fmla="*/ 14 h 14"/>
                  <a:gd name="T30" fmla="*/ 4 w 12"/>
                  <a:gd name="T31" fmla="*/ 14 h 14"/>
                  <a:gd name="T32" fmla="*/ 6 w 12"/>
                  <a:gd name="T33" fmla="*/ 14 h 14"/>
                  <a:gd name="T34" fmla="*/ 6 w 12"/>
                  <a:gd name="T35" fmla="*/ 14 h 14"/>
                  <a:gd name="T36" fmla="*/ 6 w 12"/>
                  <a:gd name="T37" fmla="*/ 14 h 14"/>
                  <a:gd name="T38" fmla="*/ 6 w 12"/>
                  <a:gd name="T39" fmla="*/ 14 h 14"/>
                  <a:gd name="T40" fmla="*/ 8 w 12"/>
                  <a:gd name="T41" fmla="*/ 14 h 14"/>
                  <a:gd name="T42" fmla="*/ 8 w 12"/>
                  <a:gd name="T43" fmla="*/ 14 h 14"/>
                  <a:gd name="T44" fmla="*/ 10 w 12"/>
                  <a:gd name="T45" fmla="*/ 14 h 14"/>
                  <a:gd name="T46" fmla="*/ 10 w 12"/>
                  <a:gd name="T47" fmla="*/ 14 h 14"/>
                  <a:gd name="T48" fmla="*/ 10 w 12"/>
                  <a:gd name="T49" fmla="*/ 12 h 14"/>
                  <a:gd name="T50" fmla="*/ 12 w 12"/>
                  <a:gd name="T51" fmla="*/ 12 h 14"/>
                  <a:gd name="T52" fmla="*/ 12 w 12"/>
                  <a:gd name="T53" fmla="*/ 10 h 14"/>
                  <a:gd name="T54" fmla="*/ 12 w 12"/>
                  <a:gd name="T55" fmla="*/ 10 h 14"/>
                  <a:gd name="T56" fmla="*/ 12 w 12"/>
                  <a:gd name="T57" fmla="*/ 6 h 14"/>
                  <a:gd name="T58" fmla="*/ 10 w 12"/>
                  <a:gd name="T59" fmla="*/ 4 h 14"/>
                  <a:gd name="T60" fmla="*/ 10 w 12"/>
                  <a:gd name="T61" fmla="*/ 2 h 14"/>
                  <a:gd name="T62" fmla="*/ 8 w 12"/>
                  <a:gd name="T63" fmla="*/ 0 h 14"/>
                  <a:gd name="T64" fmla="*/ 8 w 12"/>
                  <a:gd name="T65" fmla="*/ 0 h 14"/>
                  <a:gd name="T66" fmla="*/ 8 w 12"/>
                  <a:gd name="T67" fmla="*/ 0 h 14"/>
                  <a:gd name="T68" fmla="*/ 6 w 12"/>
                  <a:gd name="T69" fmla="*/ 0 h 14"/>
                  <a:gd name="T70" fmla="*/ 6 w 12"/>
                  <a:gd name="T71" fmla="*/ 0 h 14"/>
                  <a:gd name="T72" fmla="*/ 2 w 12"/>
                  <a:gd name="T73" fmla="*/ 0 h 14"/>
                  <a:gd name="T74" fmla="*/ 2 w 12"/>
                  <a:gd name="T75" fmla="*/ 0 h 14"/>
                  <a:gd name="T76" fmla="*/ 0 w 12"/>
                  <a:gd name="T77" fmla="*/ 0 h 14"/>
                  <a:gd name="T78" fmla="*/ 0 w 12"/>
                  <a:gd name="T79" fmla="*/ 0 h 14"/>
                  <a:gd name="T80" fmla="*/ 0 w 12"/>
                  <a:gd name="T81" fmla="*/ 0 h 14"/>
                  <a:gd name="T82" fmla="*/ 0 w 12"/>
                  <a:gd name="T83" fmla="*/ 0 h 14"/>
                  <a:gd name="T84" fmla="*/ 0 w 12"/>
                  <a:gd name="T8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" h="14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2"/>
                    </a:lnTo>
                    <a:lnTo>
                      <a:pt x="12" y="12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6"/>
                    </a:lnTo>
                    <a:lnTo>
                      <a:pt x="10" y="4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620" name="Freeform 164"/>
              <p:cNvSpPr>
                <a:spLocks/>
              </p:cNvSpPr>
              <p:nvPr/>
            </p:nvSpPr>
            <p:spPr bwMode="auto">
              <a:xfrm>
                <a:off x="1671" y="1062"/>
                <a:ext cx="12" cy="14"/>
              </a:xfrm>
              <a:custGeom>
                <a:avLst/>
                <a:gdLst>
                  <a:gd name="T0" fmla="*/ 0 w 12"/>
                  <a:gd name="T1" fmla="*/ 0 h 14"/>
                  <a:gd name="T2" fmla="*/ 0 w 12"/>
                  <a:gd name="T3" fmla="*/ 0 h 14"/>
                  <a:gd name="T4" fmla="*/ 0 w 12"/>
                  <a:gd name="T5" fmla="*/ 2 h 14"/>
                  <a:gd name="T6" fmla="*/ 0 w 12"/>
                  <a:gd name="T7" fmla="*/ 4 h 14"/>
                  <a:gd name="T8" fmla="*/ 0 w 12"/>
                  <a:gd name="T9" fmla="*/ 8 h 14"/>
                  <a:gd name="T10" fmla="*/ 0 w 12"/>
                  <a:gd name="T11" fmla="*/ 8 h 14"/>
                  <a:gd name="T12" fmla="*/ 0 w 12"/>
                  <a:gd name="T13" fmla="*/ 10 h 14"/>
                  <a:gd name="T14" fmla="*/ 0 w 12"/>
                  <a:gd name="T15" fmla="*/ 10 h 14"/>
                  <a:gd name="T16" fmla="*/ 0 w 12"/>
                  <a:gd name="T17" fmla="*/ 10 h 14"/>
                  <a:gd name="T18" fmla="*/ 0 w 12"/>
                  <a:gd name="T19" fmla="*/ 12 h 14"/>
                  <a:gd name="T20" fmla="*/ 2 w 12"/>
                  <a:gd name="T21" fmla="*/ 14 h 14"/>
                  <a:gd name="T22" fmla="*/ 2 w 12"/>
                  <a:gd name="T23" fmla="*/ 14 h 14"/>
                  <a:gd name="T24" fmla="*/ 2 w 12"/>
                  <a:gd name="T25" fmla="*/ 14 h 14"/>
                  <a:gd name="T26" fmla="*/ 2 w 12"/>
                  <a:gd name="T27" fmla="*/ 14 h 14"/>
                  <a:gd name="T28" fmla="*/ 4 w 12"/>
                  <a:gd name="T29" fmla="*/ 14 h 14"/>
                  <a:gd name="T30" fmla="*/ 4 w 12"/>
                  <a:gd name="T31" fmla="*/ 14 h 14"/>
                  <a:gd name="T32" fmla="*/ 6 w 12"/>
                  <a:gd name="T33" fmla="*/ 14 h 14"/>
                  <a:gd name="T34" fmla="*/ 6 w 12"/>
                  <a:gd name="T35" fmla="*/ 14 h 14"/>
                  <a:gd name="T36" fmla="*/ 6 w 12"/>
                  <a:gd name="T37" fmla="*/ 14 h 14"/>
                  <a:gd name="T38" fmla="*/ 6 w 12"/>
                  <a:gd name="T39" fmla="*/ 14 h 14"/>
                  <a:gd name="T40" fmla="*/ 8 w 12"/>
                  <a:gd name="T41" fmla="*/ 14 h 14"/>
                  <a:gd name="T42" fmla="*/ 8 w 12"/>
                  <a:gd name="T43" fmla="*/ 14 h 14"/>
                  <a:gd name="T44" fmla="*/ 10 w 12"/>
                  <a:gd name="T45" fmla="*/ 14 h 14"/>
                  <a:gd name="T46" fmla="*/ 10 w 12"/>
                  <a:gd name="T47" fmla="*/ 14 h 14"/>
                  <a:gd name="T48" fmla="*/ 10 w 12"/>
                  <a:gd name="T49" fmla="*/ 12 h 14"/>
                  <a:gd name="T50" fmla="*/ 12 w 12"/>
                  <a:gd name="T51" fmla="*/ 12 h 14"/>
                  <a:gd name="T52" fmla="*/ 12 w 12"/>
                  <a:gd name="T53" fmla="*/ 10 h 14"/>
                  <a:gd name="T54" fmla="*/ 12 w 12"/>
                  <a:gd name="T55" fmla="*/ 10 h 14"/>
                  <a:gd name="T56" fmla="*/ 12 w 12"/>
                  <a:gd name="T57" fmla="*/ 6 h 14"/>
                  <a:gd name="T58" fmla="*/ 10 w 12"/>
                  <a:gd name="T59" fmla="*/ 4 h 14"/>
                  <a:gd name="T60" fmla="*/ 10 w 12"/>
                  <a:gd name="T61" fmla="*/ 2 h 14"/>
                  <a:gd name="T62" fmla="*/ 8 w 12"/>
                  <a:gd name="T63" fmla="*/ 0 h 14"/>
                  <a:gd name="T64" fmla="*/ 8 w 12"/>
                  <a:gd name="T65" fmla="*/ 0 h 14"/>
                  <a:gd name="T66" fmla="*/ 8 w 12"/>
                  <a:gd name="T67" fmla="*/ 0 h 14"/>
                  <a:gd name="T68" fmla="*/ 6 w 12"/>
                  <a:gd name="T69" fmla="*/ 0 h 14"/>
                  <a:gd name="T70" fmla="*/ 6 w 12"/>
                  <a:gd name="T71" fmla="*/ 0 h 14"/>
                  <a:gd name="T72" fmla="*/ 2 w 12"/>
                  <a:gd name="T73" fmla="*/ 0 h 14"/>
                  <a:gd name="T74" fmla="*/ 2 w 12"/>
                  <a:gd name="T75" fmla="*/ 0 h 14"/>
                  <a:gd name="T76" fmla="*/ 0 w 12"/>
                  <a:gd name="T77" fmla="*/ 0 h 14"/>
                  <a:gd name="T78" fmla="*/ 0 w 12"/>
                  <a:gd name="T79" fmla="*/ 0 h 14"/>
                  <a:gd name="T80" fmla="*/ 0 w 12"/>
                  <a:gd name="T81" fmla="*/ 0 h 14"/>
                  <a:gd name="T82" fmla="*/ 0 w 12"/>
                  <a:gd name="T83" fmla="*/ 0 h 14"/>
                  <a:gd name="T84" fmla="*/ 0 w 12"/>
                  <a:gd name="T8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" h="14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2"/>
                    </a:lnTo>
                    <a:lnTo>
                      <a:pt x="12" y="12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6"/>
                    </a:lnTo>
                    <a:lnTo>
                      <a:pt x="10" y="4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621" name="Freeform 165"/>
              <p:cNvSpPr>
                <a:spLocks/>
              </p:cNvSpPr>
              <p:nvPr/>
            </p:nvSpPr>
            <p:spPr bwMode="auto">
              <a:xfrm>
                <a:off x="1663" y="1100"/>
                <a:ext cx="40" cy="40"/>
              </a:xfrm>
              <a:custGeom>
                <a:avLst/>
                <a:gdLst>
                  <a:gd name="T0" fmla="*/ 10 w 40"/>
                  <a:gd name="T1" fmla="*/ 0 h 40"/>
                  <a:gd name="T2" fmla="*/ 10 w 40"/>
                  <a:gd name="T3" fmla="*/ 0 h 40"/>
                  <a:gd name="T4" fmla="*/ 8 w 40"/>
                  <a:gd name="T5" fmla="*/ 2 h 40"/>
                  <a:gd name="T6" fmla="*/ 8 w 40"/>
                  <a:gd name="T7" fmla="*/ 4 h 40"/>
                  <a:gd name="T8" fmla="*/ 6 w 40"/>
                  <a:gd name="T9" fmla="*/ 6 h 40"/>
                  <a:gd name="T10" fmla="*/ 4 w 40"/>
                  <a:gd name="T11" fmla="*/ 6 h 40"/>
                  <a:gd name="T12" fmla="*/ 4 w 40"/>
                  <a:gd name="T13" fmla="*/ 8 h 40"/>
                  <a:gd name="T14" fmla="*/ 4 w 40"/>
                  <a:gd name="T15" fmla="*/ 10 h 40"/>
                  <a:gd name="T16" fmla="*/ 8 w 40"/>
                  <a:gd name="T17" fmla="*/ 14 h 40"/>
                  <a:gd name="T18" fmla="*/ 10 w 40"/>
                  <a:gd name="T19" fmla="*/ 16 h 40"/>
                  <a:gd name="T20" fmla="*/ 10 w 40"/>
                  <a:gd name="T21" fmla="*/ 18 h 40"/>
                  <a:gd name="T22" fmla="*/ 12 w 40"/>
                  <a:gd name="T23" fmla="*/ 20 h 40"/>
                  <a:gd name="T24" fmla="*/ 12 w 40"/>
                  <a:gd name="T25" fmla="*/ 22 h 40"/>
                  <a:gd name="T26" fmla="*/ 10 w 40"/>
                  <a:gd name="T27" fmla="*/ 22 h 40"/>
                  <a:gd name="T28" fmla="*/ 8 w 40"/>
                  <a:gd name="T29" fmla="*/ 22 h 40"/>
                  <a:gd name="T30" fmla="*/ 8 w 40"/>
                  <a:gd name="T31" fmla="*/ 22 h 40"/>
                  <a:gd name="T32" fmla="*/ 6 w 40"/>
                  <a:gd name="T33" fmla="*/ 22 h 40"/>
                  <a:gd name="T34" fmla="*/ 4 w 40"/>
                  <a:gd name="T35" fmla="*/ 22 h 40"/>
                  <a:gd name="T36" fmla="*/ 2 w 40"/>
                  <a:gd name="T37" fmla="*/ 26 h 40"/>
                  <a:gd name="T38" fmla="*/ 0 w 40"/>
                  <a:gd name="T39" fmla="*/ 28 h 40"/>
                  <a:gd name="T40" fmla="*/ 0 w 40"/>
                  <a:gd name="T41" fmla="*/ 30 h 40"/>
                  <a:gd name="T42" fmla="*/ 2 w 40"/>
                  <a:gd name="T43" fmla="*/ 30 h 40"/>
                  <a:gd name="T44" fmla="*/ 4 w 40"/>
                  <a:gd name="T45" fmla="*/ 32 h 40"/>
                  <a:gd name="T46" fmla="*/ 6 w 40"/>
                  <a:gd name="T47" fmla="*/ 32 h 40"/>
                  <a:gd name="T48" fmla="*/ 12 w 40"/>
                  <a:gd name="T49" fmla="*/ 38 h 40"/>
                  <a:gd name="T50" fmla="*/ 14 w 40"/>
                  <a:gd name="T51" fmla="*/ 40 h 40"/>
                  <a:gd name="T52" fmla="*/ 18 w 40"/>
                  <a:gd name="T53" fmla="*/ 38 h 40"/>
                  <a:gd name="T54" fmla="*/ 20 w 40"/>
                  <a:gd name="T55" fmla="*/ 38 h 40"/>
                  <a:gd name="T56" fmla="*/ 22 w 40"/>
                  <a:gd name="T57" fmla="*/ 34 h 40"/>
                  <a:gd name="T58" fmla="*/ 22 w 40"/>
                  <a:gd name="T59" fmla="*/ 34 h 40"/>
                  <a:gd name="T60" fmla="*/ 24 w 40"/>
                  <a:gd name="T61" fmla="*/ 36 h 40"/>
                  <a:gd name="T62" fmla="*/ 26 w 40"/>
                  <a:gd name="T63" fmla="*/ 36 h 40"/>
                  <a:gd name="T64" fmla="*/ 30 w 40"/>
                  <a:gd name="T65" fmla="*/ 38 h 40"/>
                  <a:gd name="T66" fmla="*/ 32 w 40"/>
                  <a:gd name="T67" fmla="*/ 36 h 40"/>
                  <a:gd name="T68" fmla="*/ 34 w 40"/>
                  <a:gd name="T69" fmla="*/ 34 h 40"/>
                  <a:gd name="T70" fmla="*/ 36 w 40"/>
                  <a:gd name="T71" fmla="*/ 34 h 40"/>
                  <a:gd name="T72" fmla="*/ 38 w 40"/>
                  <a:gd name="T73" fmla="*/ 34 h 40"/>
                  <a:gd name="T74" fmla="*/ 40 w 40"/>
                  <a:gd name="T75" fmla="*/ 32 h 40"/>
                  <a:gd name="T76" fmla="*/ 40 w 40"/>
                  <a:gd name="T77" fmla="*/ 32 h 40"/>
                  <a:gd name="T78" fmla="*/ 40 w 40"/>
                  <a:gd name="T79" fmla="*/ 26 h 40"/>
                  <a:gd name="T80" fmla="*/ 40 w 40"/>
                  <a:gd name="T81" fmla="*/ 24 h 40"/>
                  <a:gd name="T82" fmla="*/ 36 w 40"/>
                  <a:gd name="T83" fmla="*/ 20 h 40"/>
                  <a:gd name="T84" fmla="*/ 34 w 40"/>
                  <a:gd name="T85" fmla="*/ 18 h 40"/>
                  <a:gd name="T86" fmla="*/ 32 w 40"/>
                  <a:gd name="T87" fmla="*/ 16 h 40"/>
                  <a:gd name="T88" fmla="*/ 32 w 40"/>
                  <a:gd name="T89" fmla="*/ 14 h 40"/>
                  <a:gd name="T90" fmla="*/ 30 w 40"/>
                  <a:gd name="T91" fmla="*/ 10 h 40"/>
                  <a:gd name="T92" fmla="*/ 28 w 40"/>
                  <a:gd name="T93" fmla="*/ 10 h 40"/>
                  <a:gd name="T94" fmla="*/ 24 w 40"/>
                  <a:gd name="T95" fmla="*/ 10 h 40"/>
                  <a:gd name="T96" fmla="*/ 22 w 40"/>
                  <a:gd name="T97" fmla="*/ 8 h 40"/>
                  <a:gd name="T98" fmla="*/ 16 w 40"/>
                  <a:gd name="T99" fmla="*/ 2 h 40"/>
                  <a:gd name="T100" fmla="*/ 14 w 40"/>
                  <a:gd name="T101" fmla="*/ 0 h 40"/>
                  <a:gd name="T102" fmla="*/ 10 w 40"/>
                  <a:gd name="T103" fmla="*/ 0 h 40"/>
                  <a:gd name="T104" fmla="*/ 10 w 40"/>
                  <a:gd name="T105" fmla="*/ 0 h 40"/>
                  <a:gd name="T106" fmla="*/ 10 w 40"/>
                  <a:gd name="T107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0" h="40">
                    <a:moveTo>
                      <a:pt x="10" y="0"/>
                    </a:move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2" y="20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6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4"/>
                    </a:lnTo>
                    <a:lnTo>
                      <a:pt x="2" y="26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8" y="36"/>
                    </a:lnTo>
                    <a:lnTo>
                      <a:pt x="12" y="38"/>
                    </a:lnTo>
                    <a:lnTo>
                      <a:pt x="14" y="38"/>
                    </a:lnTo>
                    <a:lnTo>
                      <a:pt x="14" y="40"/>
                    </a:lnTo>
                    <a:lnTo>
                      <a:pt x="16" y="40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20" y="38"/>
                    </a:lnTo>
                    <a:lnTo>
                      <a:pt x="20" y="36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4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8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4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2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28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4"/>
                    </a:lnTo>
                    <a:lnTo>
                      <a:pt x="38" y="22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4" y="18"/>
                    </a:lnTo>
                    <a:lnTo>
                      <a:pt x="32" y="18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4"/>
                    </a:lnTo>
                    <a:lnTo>
                      <a:pt x="30" y="12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28" y="10"/>
                    </a:lnTo>
                    <a:lnTo>
                      <a:pt x="26" y="10"/>
                    </a:lnTo>
                    <a:lnTo>
                      <a:pt x="24" y="10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0" y="6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622" name="Freeform 166"/>
              <p:cNvSpPr>
                <a:spLocks/>
              </p:cNvSpPr>
              <p:nvPr/>
            </p:nvSpPr>
            <p:spPr bwMode="auto">
              <a:xfrm>
                <a:off x="1663" y="1100"/>
                <a:ext cx="40" cy="40"/>
              </a:xfrm>
              <a:custGeom>
                <a:avLst/>
                <a:gdLst>
                  <a:gd name="T0" fmla="*/ 10 w 40"/>
                  <a:gd name="T1" fmla="*/ 0 h 40"/>
                  <a:gd name="T2" fmla="*/ 10 w 40"/>
                  <a:gd name="T3" fmla="*/ 0 h 40"/>
                  <a:gd name="T4" fmla="*/ 8 w 40"/>
                  <a:gd name="T5" fmla="*/ 2 h 40"/>
                  <a:gd name="T6" fmla="*/ 8 w 40"/>
                  <a:gd name="T7" fmla="*/ 4 h 40"/>
                  <a:gd name="T8" fmla="*/ 6 w 40"/>
                  <a:gd name="T9" fmla="*/ 6 h 40"/>
                  <a:gd name="T10" fmla="*/ 4 w 40"/>
                  <a:gd name="T11" fmla="*/ 6 h 40"/>
                  <a:gd name="T12" fmla="*/ 4 w 40"/>
                  <a:gd name="T13" fmla="*/ 8 h 40"/>
                  <a:gd name="T14" fmla="*/ 4 w 40"/>
                  <a:gd name="T15" fmla="*/ 10 h 40"/>
                  <a:gd name="T16" fmla="*/ 8 w 40"/>
                  <a:gd name="T17" fmla="*/ 14 h 40"/>
                  <a:gd name="T18" fmla="*/ 10 w 40"/>
                  <a:gd name="T19" fmla="*/ 16 h 40"/>
                  <a:gd name="T20" fmla="*/ 10 w 40"/>
                  <a:gd name="T21" fmla="*/ 18 h 40"/>
                  <a:gd name="T22" fmla="*/ 12 w 40"/>
                  <a:gd name="T23" fmla="*/ 20 h 40"/>
                  <a:gd name="T24" fmla="*/ 12 w 40"/>
                  <a:gd name="T25" fmla="*/ 22 h 40"/>
                  <a:gd name="T26" fmla="*/ 10 w 40"/>
                  <a:gd name="T27" fmla="*/ 22 h 40"/>
                  <a:gd name="T28" fmla="*/ 8 w 40"/>
                  <a:gd name="T29" fmla="*/ 22 h 40"/>
                  <a:gd name="T30" fmla="*/ 8 w 40"/>
                  <a:gd name="T31" fmla="*/ 22 h 40"/>
                  <a:gd name="T32" fmla="*/ 6 w 40"/>
                  <a:gd name="T33" fmla="*/ 22 h 40"/>
                  <a:gd name="T34" fmla="*/ 4 w 40"/>
                  <a:gd name="T35" fmla="*/ 22 h 40"/>
                  <a:gd name="T36" fmla="*/ 2 w 40"/>
                  <a:gd name="T37" fmla="*/ 26 h 40"/>
                  <a:gd name="T38" fmla="*/ 0 w 40"/>
                  <a:gd name="T39" fmla="*/ 28 h 40"/>
                  <a:gd name="T40" fmla="*/ 0 w 40"/>
                  <a:gd name="T41" fmla="*/ 30 h 40"/>
                  <a:gd name="T42" fmla="*/ 2 w 40"/>
                  <a:gd name="T43" fmla="*/ 30 h 40"/>
                  <a:gd name="T44" fmla="*/ 4 w 40"/>
                  <a:gd name="T45" fmla="*/ 32 h 40"/>
                  <a:gd name="T46" fmla="*/ 6 w 40"/>
                  <a:gd name="T47" fmla="*/ 32 h 40"/>
                  <a:gd name="T48" fmla="*/ 12 w 40"/>
                  <a:gd name="T49" fmla="*/ 38 h 40"/>
                  <a:gd name="T50" fmla="*/ 14 w 40"/>
                  <a:gd name="T51" fmla="*/ 40 h 40"/>
                  <a:gd name="T52" fmla="*/ 18 w 40"/>
                  <a:gd name="T53" fmla="*/ 38 h 40"/>
                  <a:gd name="T54" fmla="*/ 20 w 40"/>
                  <a:gd name="T55" fmla="*/ 38 h 40"/>
                  <a:gd name="T56" fmla="*/ 22 w 40"/>
                  <a:gd name="T57" fmla="*/ 34 h 40"/>
                  <a:gd name="T58" fmla="*/ 22 w 40"/>
                  <a:gd name="T59" fmla="*/ 34 h 40"/>
                  <a:gd name="T60" fmla="*/ 24 w 40"/>
                  <a:gd name="T61" fmla="*/ 36 h 40"/>
                  <a:gd name="T62" fmla="*/ 26 w 40"/>
                  <a:gd name="T63" fmla="*/ 36 h 40"/>
                  <a:gd name="T64" fmla="*/ 30 w 40"/>
                  <a:gd name="T65" fmla="*/ 38 h 40"/>
                  <a:gd name="T66" fmla="*/ 32 w 40"/>
                  <a:gd name="T67" fmla="*/ 36 h 40"/>
                  <a:gd name="T68" fmla="*/ 34 w 40"/>
                  <a:gd name="T69" fmla="*/ 34 h 40"/>
                  <a:gd name="T70" fmla="*/ 36 w 40"/>
                  <a:gd name="T71" fmla="*/ 34 h 40"/>
                  <a:gd name="T72" fmla="*/ 38 w 40"/>
                  <a:gd name="T73" fmla="*/ 34 h 40"/>
                  <a:gd name="T74" fmla="*/ 40 w 40"/>
                  <a:gd name="T75" fmla="*/ 32 h 40"/>
                  <a:gd name="T76" fmla="*/ 40 w 40"/>
                  <a:gd name="T77" fmla="*/ 32 h 40"/>
                  <a:gd name="T78" fmla="*/ 40 w 40"/>
                  <a:gd name="T79" fmla="*/ 26 h 40"/>
                  <a:gd name="T80" fmla="*/ 40 w 40"/>
                  <a:gd name="T81" fmla="*/ 24 h 40"/>
                  <a:gd name="T82" fmla="*/ 36 w 40"/>
                  <a:gd name="T83" fmla="*/ 20 h 40"/>
                  <a:gd name="T84" fmla="*/ 34 w 40"/>
                  <a:gd name="T85" fmla="*/ 18 h 40"/>
                  <a:gd name="T86" fmla="*/ 32 w 40"/>
                  <a:gd name="T87" fmla="*/ 16 h 40"/>
                  <a:gd name="T88" fmla="*/ 32 w 40"/>
                  <a:gd name="T89" fmla="*/ 14 h 40"/>
                  <a:gd name="T90" fmla="*/ 30 w 40"/>
                  <a:gd name="T91" fmla="*/ 10 h 40"/>
                  <a:gd name="T92" fmla="*/ 28 w 40"/>
                  <a:gd name="T93" fmla="*/ 10 h 40"/>
                  <a:gd name="T94" fmla="*/ 24 w 40"/>
                  <a:gd name="T95" fmla="*/ 10 h 40"/>
                  <a:gd name="T96" fmla="*/ 22 w 40"/>
                  <a:gd name="T97" fmla="*/ 8 h 40"/>
                  <a:gd name="T98" fmla="*/ 16 w 40"/>
                  <a:gd name="T99" fmla="*/ 2 h 40"/>
                  <a:gd name="T100" fmla="*/ 14 w 40"/>
                  <a:gd name="T101" fmla="*/ 0 h 40"/>
                  <a:gd name="T102" fmla="*/ 10 w 40"/>
                  <a:gd name="T103" fmla="*/ 0 h 40"/>
                  <a:gd name="T104" fmla="*/ 10 w 40"/>
                  <a:gd name="T105" fmla="*/ 0 h 40"/>
                  <a:gd name="T106" fmla="*/ 10 w 40"/>
                  <a:gd name="T107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0" h="40">
                    <a:moveTo>
                      <a:pt x="10" y="0"/>
                    </a:move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2" y="20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6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4"/>
                    </a:lnTo>
                    <a:lnTo>
                      <a:pt x="2" y="26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8" y="36"/>
                    </a:lnTo>
                    <a:lnTo>
                      <a:pt x="12" y="38"/>
                    </a:lnTo>
                    <a:lnTo>
                      <a:pt x="14" y="38"/>
                    </a:lnTo>
                    <a:lnTo>
                      <a:pt x="14" y="40"/>
                    </a:lnTo>
                    <a:lnTo>
                      <a:pt x="16" y="40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20" y="38"/>
                    </a:lnTo>
                    <a:lnTo>
                      <a:pt x="20" y="36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4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8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4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2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28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4"/>
                    </a:lnTo>
                    <a:lnTo>
                      <a:pt x="38" y="22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4" y="18"/>
                    </a:lnTo>
                    <a:lnTo>
                      <a:pt x="32" y="18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4"/>
                    </a:lnTo>
                    <a:lnTo>
                      <a:pt x="30" y="12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28" y="10"/>
                    </a:lnTo>
                    <a:lnTo>
                      <a:pt x="26" y="10"/>
                    </a:lnTo>
                    <a:lnTo>
                      <a:pt x="24" y="10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0" y="6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623" name="Freeform 167"/>
              <p:cNvSpPr>
                <a:spLocks/>
              </p:cNvSpPr>
              <p:nvPr/>
            </p:nvSpPr>
            <p:spPr bwMode="auto">
              <a:xfrm>
                <a:off x="1701" y="1046"/>
                <a:ext cx="106" cy="106"/>
              </a:xfrm>
              <a:custGeom>
                <a:avLst/>
                <a:gdLst>
                  <a:gd name="T0" fmla="*/ 36 w 106"/>
                  <a:gd name="T1" fmla="*/ 8 h 106"/>
                  <a:gd name="T2" fmla="*/ 30 w 106"/>
                  <a:gd name="T3" fmla="*/ 8 h 106"/>
                  <a:gd name="T4" fmla="*/ 24 w 106"/>
                  <a:gd name="T5" fmla="*/ 12 h 106"/>
                  <a:gd name="T6" fmla="*/ 28 w 106"/>
                  <a:gd name="T7" fmla="*/ 20 h 106"/>
                  <a:gd name="T8" fmla="*/ 28 w 106"/>
                  <a:gd name="T9" fmla="*/ 26 h 106"/>
                  <a:gd name="T10" fmla="*/ 14 w 106"/>
                  <a:gd name="T11" fmla="*/ 26 h 106"/>
                  <a:gd name="T12" fmla="*/ 10 w 106"/>
                  <a:gd name="T13" fmla="*/ 28 h 106"/>
                  <a:gd name="T14" fmla="*/ 8 w 106"/>
                  <a:gd name="T15" fmla="*/ 32 h 106"/>
                  <a:gd name="T16" fmla="*/ 4 w 106"/>
                  <a:gd name="T17" fmla="*/ 30 h 106"/>
                  <a:gd name="T18" fmla="*/ 2 w 106"/>
                  <a:gd name="T19" fmla="*/ 40 h 106"/>
                  <a:gd name="T20" fmla="*/ 10 w 106"/>
                  <a:gd name="T21" fmla="*/ 40 h 106"/>
                  <a:gd name="T22" fmla="*/ 12 w 106"/>
                  <a:gd name="T23" fmla="*/ 44 h 106"/>
                  <a:gd name="T24" fmla="*/ 2 w 106"/>
                  <a:gd name="T25" fmla="*/ 44 h 106"/>
                  <a:gd name="T26" fmla="*/ 6 w 106"/>
                  <a:gd name="T27" fmla="*/ 52 h 106"/>
                  <a:gd name="T28" fmla="*/ 18 w 106"/>
                  <a:gd name="T29" fmla="*/ 54 h 106"/>
                  <a:gd name="T30" fmla="*/ 24 w 106"/>
                  <a:gd name="T31" fmla="*/ 60 h 106"/>
                  <a:gd name="T32" fmla="*/ 36 w 106"/>
                  <a:gd name="T33" fmla="*/ 54 h 106"/>
                  <a:gd name="T34" fmla="*/ 44 w 106"/>
                  <a:gd name="T35" fmla="*/ 56 h 106"/>
                  <a:gd name="T36" fmla="*/ 38 w 106"/>
                  <a:gd name="T37" fmla="*/ 56 h 106"/>
                  <a:gd name="T38" fmla="*/ 36 w 106"/>
                  <a:gd name="T39" fmla="*/ 60 h 106"/>
                  <a:gd name="T40" fmla="*/ 46 w 106"/>
                  <a:gd name="T41" fmla="*/ 64 h 106"/>
                  <a:gd name="T42" fmla="*/ 38 w 106"/>
                  <a:gd name="T43" fmla="*/ 64 h 106"/>
                  <a:gd name="T44" fmla="*/ 24 w 106"/>
                  <a:gd name="T45" fmla="*/ 62 h 106"/>
                  <a:gd name="T46" fmla="*/ 14 w 106"/>
                  <a:gd name="T47" fmla="*/ 64 h 106"/>
                  <a:gd name="T48" fmla="*/ 16 w 106"/>
                  <a:gd name="T49" fmla="*/ 72 h 106"/>
                  <a:gd name="T50" fmla="*/ 24 w 106"/>
                  <a:gd name="T51" fmla="*/ 76 h 106"/>
                  <a:gd name="T52" fmla="*/ 24 w 106"/>
                  <a:gd name="T53" fmla="*/ 84 h 106"/>
                  <a:gd name="T54" fmla="*/ 36 w 106"/>
                  <a:gd name="T55" fmla="*/ 92 h 106"/>
                  <a:gd name="T56" fmla="*/ 42 w 106"/>
                  <a:gd name="T57" fmla="*/ 100 h 106"/>
                  <a:gd name="T58" fmla="*/ 48 w 106"/>
                  <a:gd name="T59" fmla="*/ 98 h 106"/>
                  <a:gd name="T60" fmla="*/ 56 w 106"/>
                  <a:gd name="T61" fmla="*/ 102 h 106"/>
                  <a:gd name="T62" fmla="*/ 58 w 106"/>
                  <a:gd name="T63" fmla="*/ 100 h 106"/>
                  <a:gd name="T64" fmla="*/ 60 w 106"/>
                  <a:gd name="T65" fmla="*/ 102 h 106"/>
                  <a:gd name="T66" fmla="*/ 66 w 106"/>
                  <a:gd name="T67" fmla="*/ 102 h 106"/>
                  <a:gd name="T68" fmla="*/ 68 w 106"/>
                  <a:gd name="T69" fmla="*/ 88 h 106"/>
                  <a:gd name="T70" fmla="*/ 72 w 106"/>
                  <a:gd name="T71" fmla="*/ 88 h 106"/>
                  <a:gd name="T72" fmla="*/ 76 w 106"/>
                  <a:gd name="T73" fmla="*/ 90 h 106"/>
                  <a:gd name="T74" fmla="*/ 80 w 106"/>
                  <a:gd name="T75" fmla="*/ 88 h 106"/>
                  <a:gd name="T76" fmla="*/ 80 w 106"/>
                  <a:gd name="T77" fmla="*/ 94 h 106"/>
                  <a:gd name="T78" fmla="*/ 92 w 106"/>
                  <a:gd name="T79" fmla="*/ 86 h 106"/>
                  <a:gd name="T80" fmla="*/ 98 w 106"/>
                  <a:gd name="T81" fmla="*/ 86 h 106"/>
                  <a:gd name="T82" fmla="*/ 106 w 106"/>
                  <a:gd name="T83" fmla="*/ 78 h 106"/>
                  <a:gd name="T84" fmla="*/ 100 w 106"/>
                  <a:gd name="T85" fmla="*/ 76 h 106"/>
                  <a:gd name="T86" fmla="*/ 92 w 106"/>
                  <a:gd name="T87" fmla="*/ 76 h 106"/>
                  <a:gd name="T88" fmla="*/ 92 w 106"/>
                  <a:gd name="T89" fmla="*/ 68 h 106"/>
                  <a:gd name="T90" fmla="*/ 98 w 106"/>
                  <a:gd name="T91" fmla="*/ 62 h 106"/>
                  <a:gd name="T92" fmla="*/ 90 w 106"/>
                  <a:gd name="T93" fmla="*/ 50 h 106"/>
                  <a:gd name="T94" fmla="*/ 86 w 106"/>
                  <a:gd name="T95" fmla="*/ 46 h 106"/>
                  <a:gd name="T96" fmla="*/ 84 w 106"/>
                  <a:gd name="T97" fmla="*/ 52 h 106"/>
                  <a:gd name="T98" fmla="*/ 80 w 106"/>
                  <a:gd name="T99" fmla="*/ 48 h 106"/>
                  <a:gd name="T100" fmla="*/ 72 w 106"/>
                  <a:gd name="T101" fmla="*/ 40 h 106"/>
                  <a:gd name="T102" fmla="*/ 70 w 106"/>
                  <a:gd name="T103" fmla="*/ 36 h 106"/>
                  <a:gd name="T104" fmla="*/ 66 w 106"/>
                  <a:gd name="T105" fmla="*/ 30 h 106"/>
                  <a:gd name="T106" fmla="*/ 64 w 106"/>
                  <a:gd name="T107" fmla="*/ 22 h 106"/>
                  <a:gd name="T108" fmla="*/ 54 w 106"/>
                  <a:gd name="T109" fmla="*/ 10 h 106"/>
                  <a:gd name="T110" fmla="*/ 44 w 106"/>
                  <a:gd name="T111" fmla="*/ 0 h 106"/>
                  <a:gd name="T112" fmla="*/ 40 w 106"/>
                  <a:gd name="T113" fmla="*/ 2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06" h="106">
                    <a:moveTo>
                      <a:pt x="40" y="2"/>
                    </a:moveTo>
                    <a:lnTo>
                      <a:pt x="40" y="2"/>
                    </a:lnTo>
                    <a:lnTo>
                      <a:pt x="38" y="4"/>
                    </a:lnTo>
                    <a:lnTo>
                      <a:pt x="38" y="6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2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28" y="8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6" y="18"/>
                    </a:lnTo>
                    <a:lnTo>
                      <a:pt x="28" y="20"/>
                    </a:lnTo>
                    <a:lnTo>
                      <a:pt x="28" y="22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6" y="26"/>
                    </a:lnTo>
                    <a:lnTo>
                      <a:pt x="24" y="28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4" y="26"/>
                    </a:lnTo>
                    <a:lnTo>
                      <a:pt x="12" y="24"/>
                    </a:lnTo>
                    <a:lnTo>
                      <a:pt x="12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2"/>
                    </a:lnTo>
                    <a:lnTo>
                      <a:pt x="10" y="32"/>
                    </a:lnTo>
                    <a:lnTo>
                      <a:pt x="10" y="32"/>
                    </a:lnTo>
                    <a:lnTo>
                      <a:pt x="10" y="32"/>
                    </a:lnTo>
                    <a:lnTo>
                      <a:pt x="8" y="32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2" y="32"/>
                    </a:lnTo>
                    <a:lnTo>
                      <a:pt x="2" y="34"/>
                    </a:lnTo>
                    <a:lnTo>
                      <a:pt x="0" y="36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2" y="40"/>
                    </a:lnTo>
                    <a:lnTo>
                      <a:pt x="2" y="40"/>
                    </a:lnTo>
                    <a:lnTo>
                      <a:pt x="4" y="40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8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2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2" y="44"/>
                    </a:lnTo>
                    <a:lnTo>
                      <a:pt x="10" y="44"/>
                    </a:lnTo>
                    <a:lnTo>
                      <a:pt x="8" y="44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2" y="44"/>
                    </a:lnTo>
                    <a:lnTo>
                      <a:pt x="2" y="46"/>
                    </a:lnTo>
                    <a:lnTo>
                      <a:pt x="2" y="46"/>
                    </a:lnTo>
                    <a:lnTo>
                      <a:pt x="2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6" y="50"/>
                    </a:lnTo>
                    <a:lnTo>
                      <a:pt x="6" y="52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10" y="54"/>
                    </a:lnTo>
                    <a:lnTo>
                      <a:pt x="10" y="54"/>
                    </a:lnTo>
                    <a:lnTo>
                      <a:pt x="14" y="54"/>
                    </a:lnTo>
                    <a:lnTo>
                      <a:pt x="16" y="54"/>
                    </a:lnTo>
                    <a:lnTo>
                      <a:pt x="18" y="54"/>
                    </a:lnTo>
                    <a:lnTo>
                      <a:pt x="18" y="54"/>
                    </a:lnTo>
                    <a:lnTo>
                      <a:pt x="20" y="56"/>
                    </a:lnTo>
                    <a:lnTo>
                      <a:pt x="22" y="56"/>
                    </a:lnTo>
                    <a:lnTo>
                      <a:pt x="22" y="58"/>
                    </a:lnTo>
                    <a:lnTo>
                      <a:pt x="24" y="60"/>
                    </a:lnTo>
                    <a:lnTo>
                      <a:pt x="24" y="60"/>
                    </a:lnTo>
                    <a:lnTo>
                      <a:pt x="24" y="60"/>
                    </a:lnTo>
                    <a:lnTo>
                      <a:pt x="26" y="58"/>
                    </a:lnTo>
                    <a:lnTo>
                      <a:pt x="28" y="58"/>
                    </a:lnTo>
                    <a:lnTo>
                      <a:pt x="28" y="58"/>
                    </a:lnTo>
                    <a:lnTo>
                      <a:pt x="32" y="54"/>
                    </a:lnTo>
                    <a:lnTo>
                      <a:pt x="32" y="54"/>
                    </a:lnTo>
                    <a:lnTo>
                      <a:pt x="34" y="54"/>
                    </a:lnTo>
                    <a:lnTo>
                      <a:pt x="36" y="54"/>
                    </a:lnTo>
                    <a:lnTo>
                      <a:pt x="40" y="54"/>
                    </a:lnTo>
                    <a:lnTo>
                      <a:pt x="40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4" y="56"/>
                    </a:lnTo>
                    <a:lnTo>
                      <a:pt x="44" y="56"/>
                    </a:lnTo>
                    <a:lnTo>
                      <a:pt x="44" y="56"/>
                    </a:lnTo>
                    <a:lnTo>
                      <a:pt x="44" y="58"/>
                    </a:lnTo>
                    <a:lnTo>
                      <a:pt x="44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0" y="56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6" y="56"/>
                    </a:lnTo>
                    <a:lnTo>
                      <a:pt x="36" y="56"/>
                    </a:lnTo>
                    <a:lnTo>
                      <a:pt x="36" y="56"/>
                    </a:lnTo>
                    <a:lnTo>
                      <a:pt x="34" y="56"/>
                    </a:lnTo>
                    <a:lnTo>
                      <a:pt x="36" y="58"/>
                    </a:lnTo>
                    <a:lnTo>
                      <a:pt x="36" y="58"/>
                    </a:lnTo>
                    <a:lnTo>
                      <a:pt x="36" y="60"/>
                    </a:lnTo>
                    <a:lnTo>
                      <a:pt x="38" y="62"/>
                    </a:lnTo>
                    <a:lnTo>
                      <a:pt x="38" y="62"/>
                    </a:lnTo>
                    <a:lnTo>
                      <a:pt x="42" y="62"/>
                    </a:lnTo>
                    <a:lnTo>
                      <a:pt x="44" y="62"/>
                    </a:lnTo>
                    <a:lnTo>
                      <a:pt x="46" y="62"/>
                    </a:lnTo>
                    <a:lnTo>
                      <a:pt x="46" y="64"/>
                    </a:lnTo>
                    <a:lnTo>
                      <a:pt x="46" y="64"/>
                    </a:lnTo>
                    <a:lnTo>
                      <a:pt x="46" y="64"/>
                    </a:lnTo>
                    <a:lnTo>
                      <a:pt x="46" y="64"/>
                    </a:lnTo>
                    <a:lnTo>
                      <a:pt x="44" y="66"/>
                    </a:lnTo>
                    <a:lnTo>
                      <a:pt x="42" y="66"/>
                    </a:lnTo>
                    <a:lnTo>
                      <a:pt x="40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4" y="64"/>
                    </a:lnTo>
                    <a:lnTo>
                      <a:pt x="34" y="64"/>
                    </a:lnTo>
                    <a:lnTo>
                      <a:pt x="32" y="62"/>
                    </a:lnTo>
                    <a:lnTo>
                      <a:pt x="30" y="62"/>
                    </a:lnTo>
                    <a:lnTo>
                      <a:pt x="30" y="62"/>
                    </a:lnTo>
                    <a:lnTo>
                      <a:pt x="28" y="62"/>
                    </a:lnTo>
                    <a:lnTo>
                      <a:pt x="24" y="62"/>
                    </a:lnTo>
                    <a:lnTo>
                      <a:pt x="24" y="62"/>
                    </a:lnTo>
                    <a:lnTo>
                      <a:pt x="22" y="62"/>
                    </a:lnTo>
                    <a:lnTo>
                      <a:pt x="20" y="62"/>
                    </a:lnTo>
                    <a:lnTo>
                      <a:pt x="20" y="62"/>
                    </a:lnTo>
                    <a:lnTo>
                      <a:pt x="18" y="62"/>
                    </a:lnTo>
                    <a:lnTo>
                      <a:pt x="16" y="62"/>
                    </a:lnTo>
                    <a:lnTo>
                      <a:pt x="14" y="64"/>
                    </a:lnTo>
                    <a:lnTo>
                      <a:pt x="14" y="64"/>
                    </a:lnTo>
                    <a:lnTo>
                      <a:pt x="14" y="64"/>
                    </a:lnTo>
                    <a:lnTo>
                      <a:pt x="14" y="66"/>
                    </a:lnTo>
                    <a:lnTo>
                      <a:pt x="14" y="68"/>
                    </a:lnTo>
                    <a:lnTo>
                      <a:pt x="14" y="68"/>
                    </a:lnTo>
                    <a:lnTo>
                      <a:pt x="14" y="70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8" y="72"/>
                    </a:lnTo>
                    <a:lnTo>
                      <a:pt x="20" y="72"/>
                    </a:lnTo>
                    <a:lnTo>
                      <a:pt x="20" y="74"/>
                    </a:lnTo>
                    <a:lnTo>
                      <a:pt x="20" y="74"/>
                    </a:lnTo>
                    <a:lnTo>
                      <a:pt x="24" y="76"/>
                    </a:lnTo>
                    <a:lnTo>
                      <a:pt x="24" y="76"/>
                    </a:lnTo>
                    <a:lnTo>
                      <a:pt x="24" y="78"/>
                    </a:lnTo>
                    <a:lnTo>
                      <a:pt x="24" y="78"/>
                    </a:lnTo>
                    <a:lnTo>
                      <a:pt x="24" y="80"/>
                    </a:lnTo>
                    <a:lnTo>
                      <a:pt x="24" y="82"/>
                    </a:lnTo>
                    <a:lnTo>
                      <a:pt x="24" y="84"/>
                    </a:lnTo>
                    <a:lnTo>
                      <a:pt x="24" y="84"/>
                    </a:lnTo>
                    <a:lnTo>
                      <a:pt x="24" y="84"/>
                    </a:lnTo>
                    <a:lnTo>
                      <a:pt x="26" y="86"/>
                    </a:lnTo>
                    <a:lnTo>
                      <a:pt x="28" y="86"/>
                    </a:lnTo>
                    <a:lnTo>
                      <a:pt x="30" y="88"/>
                    </a:lnTo>
                    <a:lnTo>
                      <a:pt x="32" y="90"/>
                    </a:lnTo>
                    <a:lnTo>
                      <a:pt x="32" y="90"/>
                    </a:lnTo>
                    <a:lnTo>
                      <a:pt x="34" y="90"/>
                    </a:lnTo>
                    <a:lnTo>
                      <a:pt x="36" y="92"/>
                    </a:lnTo>
                    <a:lnTo>
                      <a:pt x="36" y="92"/>
                    </a:lnTo>
                    <a:lnTo>
                      <a:pt x="38" y="94"/>
                    </a:lnTo>
                    <a:lnTo>
                      <a:pt x="40" y="96"/>
                    </a:lnTo>
                    <a:lnTo>
                      <a:pt x="40" y="96"/>
                    </a:lnTo>
                    <a:lnTo>
                      <a:pt x="40" y="96"/>
                    </a:lnTo>
                    <a:lnTo>
                      <a:pt x="40" y="98"/>
                    </a:lnTo>
                    <a:lnTo>
                      <a:pt x="42" y="100"/>
                    </a:lnTo>
                    <a:lnTo>
                      <a:pt x="44" y="100"/>
                    </a:lnTo>
                    <a:lnTo>
                      <a:pt x="44" y="100"/>
                    </a:lnTo>
                    <a:lnTo>
                      <a:pt x="44" y="102"/>
                    </a:lnTo>
                    <a:lnTo>
                      <a:pt x="44" y="100"/>
                    </a:lnTo>
                    <a:lnTo>
                      <a:pt x="46" y="100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50" y="98"/>
                    </a:lnTo>
                    <a:lnTo>
                      <a:pt x="52" y="98"/>
                    </a:lnTo>
                    <a:lnTo>
                      <a:pt x="52" y="100"/>
                    </a:lnTo>
                    <a:lnTo>
                      <a:pt x="54" y="100"/>
                    </a:lnTo>
                    <a:lnTo>
                      <a:pt x="54" y="100"/>
                    </a:lnTo>
                    <a:lnTo>
                      <a:pt x="56" y="102"/>
                    </a:lnTo>
                    <a:lnTo>
                      <a:pt x="56" y="102"/>
                    </a:lnTo>
                    <a:lnTo>
                      <a:pt x="58" y="102"/>
                    </a:lnTo>
                    <a:lnTo>
                      <a:pt x="58" y="102"/>
                    </a:lnTo>
                    <a:lnTo>
                      <a:pt x="58" y="102"/>
                    </a:lnTo>
                    <a:lnTo>
                      <a:pt x="58" y="102"/>
                    </a:lnTo>
                    <a:lnTo>
                      <a:pt x="58" y="102"/>
                    </a:lnTo>
                    <a:lnTo>
                      <a:pt x="58" y="100"/>
                    </a:lnTo>
                    <a:lnTo>
                      <a:pt x="58" y="100"/>
                    </a:lnTo>
                    <a:lnTo>
                      <a:pt x="60" y="98"/>
                    </a:lnTo>
                    <a:lnTo>
                      <a:pt x="60" y="98"/>
                    </a:lnTo>
                    <a:lnTo>
                      <a:pt x="60" y="98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60" y="102"/>
                    </a:lnTo>
                    <a:lnTo>
                      <a:pt x="62" y="104"/>
                    </a:lnTo>
                    <a:lnTo>
                      <a:pt x="62" y="104"/>
                    </a:lnTo>
                    <a:lnTo>
                      <a:pt x="64" y="106"/>
                    </a:lnTo>
                    <a:lnTo>
                      <a:pt x="64" y="106"/>
                    </a:lnTo>
                    <a:lnTo>
                      <a:pt x="64" y="106"/>
                    </a:lnTo>
                    <a:lnTo>
                      <a:pt x="66" y="104"/>
                    </a:lnTo>
                    <a:lnTo>
                      <a:pt x="66" y="102"/>
                    </a:lnTo>
                    <a:lnTo>
                      <a:pt x="66" y="100"/>
                    </a:lnTo>
                    <a:lnTo>
                      <a:pt x="66" y="100"/>
                    </a:lnTo>
                    <a:lnTo>
                      <a:pt x="66" y="96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68" y="90"/>
                    </a:lnTo>
                    <a:lnTo>
                      <a:pt x="68" y="88"/>
                    </a:lnTo>
                    <a:lnTo>
                      <a:pt x="70" y="88"/>
                    </a:lnTo>
                    <a:lnTo>
                      <a:pt x="70" y="88"/>
                    </a:lnTo>
                    <a:lnTo>
                      <a:pt x="72" y="88"/>
                    </a:lnTo>
                    <a:lnTo>
                      <a:pt x="72" y="88"/>
                    </a:lnTo>
                    <a:lnTo>
                      <a:pt x="72" y="88"/>
                    </a:lnTo>
                    <a:lnTo>
                      <a:pt x="72" y="88"/>
                    </a:lnTo>
                    <a:lnTo>
                      <a:pt x="72" y="88"/>
                    </a:lnTo>
                    <a:lnTo>
                      <a:pt x="72" y="90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4" y="92"/>
                    </a:lnTo>
                    <a:lnTo>
                      <a:pt x="74" y="90"/>
                    </a:lnTo>
                    <a:lnTo>
                      <a:pt x="74" y="90"/>
                    </a:lnTo>
                    <a:lnTo>
                      <a:pt x="76" y="90"/>
                    </a:lnTo>
                    <a:lnTo>
                      <a:pt x="76" y="88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80" y="86"/>
                    </a:lnTo>
                    <a:lnTo>
                      <a:pt x="80" y="86"/>
                    </a:lnTo>
                    <a:lnTo>
                      <a:pt x="80" y="88"/>
                    </a:lnTo>
                    <a:lnTo>
                      <a:pt x="80" y="88"/>
                    </a:lnTo>
                    <a:lnTo>
                      <a:pt x="78" y="90"/>
                    </a:lnTo>
                    <a:lnTo>
                      <a:pt x="78" y="92"/>
                    </a:lnTo>
                    <a:lnTo>
                      <a:pt x="76" y="92"/>
                    </a:lnTo>
                    <a:lnTo>
                      <a:pt x="76" y="94"/>
                    </a:lnTo>
                    <a:lnTo>
                      <a:pt x="76" y="94"/>
                    </a:lnTo>
                    <a:lnTo>
                      <a:pt x="78" y="94"/>
                    </a:lnTo>
                    <a:lnTo>
                      <a:pt x="80" y="94"/>
                    </a:lnTo>
                    <a:lnTo>
                      <a:pt x="82" y="92"/>
                    </a:lnTo>
                    <a:lnTo>
                      <a:pt x="84" y="90"/>
                    </a:lnTo>
                    <a:lnTo>
                      <a:pt x="86" y="88"/>
                    </a:lnTo>
                    <a:lnTo>
                      <a:pt x="88" y="86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2" y="86"/>
                    </a:lnTo>
                    <a:lnTo>
                      <a:pt x="92" y="86"/>
                    </a:lnTo>
                    <a:lnTo>
                      <a:pt x="94" y="86"/>
                    </a:lnTo>
                    <a:lnTo>
                      <a:pt x="94" y="86"/>
                    </a:lnTo>
                    <a:lnTo>
                      <a:pt x="94" y="86"/>
                    </a:lnTo>
                    <a:lnTo>
                      <a:pt x="96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102" y="84"/>
                    </a:lnTo>
                    <a:lnTo>
                      <a:pt x="104" y="84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6" y="82"/>
                    </a:lnTo>
                    <a:lnTo>
                      <a:pt x="106" y="80"/>
                    </a:lnTo>
                    <a:lnTo>
                      <a:pt x="106" y="78"/>
                    </a:lnTo>
                    <a:lnTo>
                      <a:pt x="104" y="76"/>
                    </a:lnTo>
                    <a:lnTo>
                      <a:pt x="104" y="76"/>
                    </a:lnTo>
                    <a:lnTo>
                      <a:pt x="104" y="76"/>
                    </a:lnTo>
                    <a:lnTo>
                      <a:pt x="102" y="74"/>
                    </a:lnTo>
                    <a:lnTo>
                      <a:pt x="100" y="74"/>
                    </a:lnTo>
                    <a:lnTo>
                      <a:pt x="100" y="76"/>
                    </a:lnTo>
                    <a:lnTo>
                      <a:pt x="100" y="76"/>
                    </a:lnTo>
                    <a:lnTo>
                      <a:pt x="98" y="76"/>
                    </a:lnTo>
                    <a:lnTo>
                      <a:pt x="96" y="76"/>
                    </a:lnTo>
                    <a:lnTo>
                      <a:pt x="96" y="76"/>
                    </a:lnTo>
                    <a:lnTo>
                      <a:pt x="96" y="76"/>
                    </a:lnTo>
                    <a:lnTo>
                      <a:pt x="94" y="76"/>
                    </a:lnTo>
                    <a:lnTo>
                      <a:pt x="92" y="76"/>
                    </a:lnTo>
                    <a:lnTo>
                      <a:pt x="92" y="76"/>
                    </a:lnTo>
                    <a:lnTo>
                      <a:pt x="92" y="76"/>
                    </a:lnTo>
                    <a:lnTo>
                      <a:pt x="92" y="74"/>
                    </a:lnTo>
                    <a:lnTo>
                      <a:pt x="92" y="74"/>
                    </a:lnTo>
                    <a:lnTo>
                      <a:pt x="92" y="72"/>
                    </a:lnTo>
                    <a:lnTo>
                      <a:pt x="92" y="70"/>
                    </a:lnTo>
                    <a:lnTo>
                      <a:pt x="92" y="68"/>
                    </a:lnTo>
                    <a:lnTo>
                      <a:pt x="92" y="68"/>
                    </a:lnTo>
                    <a:lnTo>
                      <a:pt x="94" y="66"/>
                    </a:lnTo>
                    <a:lnTo>
                      <a:pt x="96" y="66"/>
                    </a:lnTo>
                    <a:lnTo>
                      <a:pt x="98" y="64"/>
                    </a:lnTo>
                    <a:lnTo>
                      <a:pt x="98" y="62"/>
                    </a:lnTo>
                    <a:lnTo>
                      <a:pt x="98" y="62"/>
                    </a:lnTo>
                    <a:lnTo>
                      <a:pt x="98" y="62"/>
                    </a:lnTo>
                    <a:lnTo>
                      <a:pt x="98" y="62"/>
                    </a:lnTo>
                    <a:lnTo>
                      <a:pt x="96" y="60"/>
                    </a:lnTo>
                    <a:lnTo>
                      <a:pt x="94" y="58"/>
                    </a:lnTo>
                    <a:lnTo>
                      <a:pt x="94" y="58"/>
                    </a:lnTo>
                    <a:lnTo>
                      <a:pt x="94" y="56"/>
                    </a:lnTo>
                    <a:lnTo>
                      <a:pt x="92" y="54"/>
                    </a:lnTo>
                    <a:lnTo>
                      <a:pt x="90" y="50"/>
                    </a:lnTo>
                    <a:lnTo>
                      <a:pt x="90" y="50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88" y="46"/>
                    </a:lnTo>
                    <a:lnTo>
                      <a:pt x="88" y="46"/>
                    </a:lnTo>
                    <a:lnTo>
                      <a:pt x="86" y="46"/>
                    </a:lnTo>
                    <a:lnTo>
                      <a:pt x="86" y="46"/>
                    </a:lnTo>
                    <a:lnTo>
                      <a:pt x="86" y="46"/>
                    </a:lnTo>
                    <a:lnTo>
                      <a:pt x="84" y="46"/>
                    </a:lnTo>
                    <a:lnTo>
                      <a:pt x="84" y="46"/>
                    </a:lnTo>
                    <a:lnTo>
                      <a:pt x="84" y="48"/>
                    </a:lnTo>
                    <a:lnTo>
                      <a:pt x="84" y="50"/>
                    </a:lnTo>
                    <a:lnTo>
                      <a:pt x="84" y="50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0"/>
                    </a:lnTo>
                    <a:lnTo>
                      <a:pt x="82" y="48"/>
                    </a:lnTo>
                    <a:lnTo>
                      <a:pt x="82" y="48"/>
                    </a:lnTo>
                    <a:lnTo>
                      <a:pt x="80" y="48"/>
                    </a:lnTo>
                    <a:lnTo>
                      <a:pt x="80" y="46"/>
                    </a:lnTo>
                    <a:lnTo>
                      <a:pt x="78" y="44"/>
                    </a:lnTo>
                    <a:lnTo>
                      <a:pt x="76" y="44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2" y="42"/>
                    </a:lnTo>
                    <a:lnTo>
                      <a:pt x="72" y="40"/>
                    </a:lnTo>
                    <a:lnTo>
                      <a:pt x="72" y="40"/>
                    </a:lnTo>
                    <a:lnTo>
                      <a:pt x="72" y="40"/>
                    </a:lnTo>
                    <a:lnTo>
                      <a:pt x="72" y="38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0" y="36"/>
                    </a:lnTo>
                    <a:lnTo>
                      <a:pt x="70" y="36"/>
                    </a:lnTo>
                    <a:lnTo>
                      <a:pt x="68" y="36"/>
                    </a:lnTo>
                    <a:lnTo>
                      <a:pt x="68" y="34"/>
                    </a:lnTo>
                    <a:lnTo>
                      <a:pt x="68" y="34"/>
                    </a:lnTo>
                    <a:lnTo>
                      <a:pt x="68" y="34"/>
                    </a:lnTo>
                    <a:lnTo>
                      <a:pt x="68" y="34"/>
                    </a:lnTo>
                    <a:lnTo>
                      <a:pt x="66" y="32"/>
                    </a:lnTo>
                    <a:lnTo>
                      <a:pt x="66" y="30"/>
                    </a:lnTo>
                    <a:lnTo>
                      <a:pt x="66" y="30"/>
                    </a:lnTo>
                    <a:lnTo>
                      <a:pt x="66" y="28"/>
                    </a:lnTo>
                    <a:lnTo>
                      <a:pt x="64" y="26"/>
                    </a:lnTo>
                    <a:lnTo>
                      <a:pt x="64" y="26"/>
                    </a:lnTo>
                    <a:lnTo>
                      <a:pt x="64" y="24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2" y="20"/>
                    </a:lnTo>
                    <a:lnTo>
                      <a:pt x="62" y="20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58" y="14"/>
                    </a:lnTo>
                    <a:lnTo>
                      <a:pt x="58" y="12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2" y="8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48" y="2"/>
                    </a:lnTo>
                    <a:lnTo>
                      <a:pt x="46" y="2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0" y="2"/>
                    </a:lnTo>
                    <a:lnTo>
                      <a:pt x="40" y="2"/>
                    </a:lnTo>
                    <a:lnTo>
                      <a:pt x="40" y="2"/>
                    </a:lnTo>
                    <a:lnTo>
                      <a:pt x="40" y="2"/>
                    </a:lnTo>
                    <a:lnTo>
                      <a:pt x="40" y="2"/>
                    </a:lnTo>
                    <a:lnTo>
                      <a:pt x="40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624" name="Freeform 169"/>
              <p:cNvSpPr>
                <a:spLocks/>
              </p:cNvSpPr>
              <p:nvPr/>
            </p:nvSpPr>
            <p:spPr bwMode="auto">
              <a:xfrm>
                <a:off x="1653" y="1158"/>
                <a:ext cx="180" cy="128"/>
              </a:xfrm>
              <a:custGeom>
                <a:avLst/>
                <a:gdLst>
                  <a:gd name="T0" fmla="*/ 20 w 180"/>
                  <a:gd name="T1" fmla="*/ 6 h 128"/>
                  <a:gd name="T2" fmla="*/ 8 w 180"/>
                  <a:gd name="T3" fmla="*/ 8 h 128"/>
                  <a:gd name="T4" fmla="*/ 0 w 180"/>
                  <a:gd name="T5" fmla="*/ 16 h 128"/>
                  <a:gd name="T6" fmla="*/ 8 w 180"/>
                  <a:gd name="T7" fmla="*/ 26 h 128"/>
                  <a:gd name="T8" fmla="*/ 6 w 180"/>
                  <a:gd name="T9" fmla="*/ 32 h 128"/>
                  <a:gd name="T10" fmla="*/ 18 w 180"/>
                  <a:gd name="T11" fmla="*/ 42 h 128"/>
                  <a:gd name="T12" fmla="*/ 30 w 180"/>
                  <a:gd name="T13" fmla="*/ 46 h 128"/>
                  <a:gd name="T14" fmla="*/ 32 w 180"/>
                  <a:gd name="T15" fmla="*/ 52 h 128"/>
                  <a:gd name="T16" fmla="*/ 30 w 180"/>
                  <a:gd name="T17" fmla="*/ 64 h 128"/>
                  <a:gd name="T18" fmla="*/ 28 w 180"/>
                  <a:gd name="T19" fmla="*/ 74 h 128"/>
                  <a:gd name="T20" fmla="*/ 30 w 180"/>
                  <a:gd name="T21" fmla="*/ 90 h 128"/>
                  <a:gd name="T22" fmla="*/ 38 w 180"/>
                  <a:gd name="T23" fmla="*/ 94 h 128"/>
                  <a:gd name="T24" fmla="*/ 44 w 180"/>
                  <a:gd name="T25" fmla="*/ 92 h 128"/>
                  <a:gd name="T26" fmla="*/ 48 w 180"/>
                  <a:gd name="T27" fmla="*/ 102 h 128"/>
                  <a:gd name="T28" fmla="*/ 56 w 180"/>
                  <a:gd name="T29" fmla="*/ 106 h 128"/>
                  <a:gd name="T30" fmla="*/ 66 w 180"/>
                  <a:gd name="T31" fmla="*/ 98 h 128"/>
                  <a:gd name="T32" fmla="*/ 72 w 180"/>
                  <a:gd name="T33" fmla="*/ 96 h 128"/>
                  <a:gd name="T34" fmla="*/ 72 w 180"/>
                  <a:gd name="T35" fmla="*/ 102 h 128"/>
                  <a:gd name="T36" fmla="*/ 74 w 180"/>
                  <a:gd name="T37" fmla="*/ 108 h 128"/>
                  <a:gd name="T38" fmla="*/ 82 w 180"/>
                  <a:gd name="T39" fmla="*/ 108 h 128"/>
                  <a:gd name="T40" fmla="*/ 90 w 180"/>
                  <a:gd name="T41" fmla="*/ 114 h 128"/>
                  <a:gd name="T42" fmla="*/ 102 w 180"/>
                  <a:gd name="T43" fmla="*/ 112 h 128"/>
                  <a:gd name="T44" fmla="*/ 110 w 180"/>
                  <a:gd name="T45" fmla="*/ 116 h 128"/>
                  <a:gd name="T46" fmla="*/ 122 w 180"/>
                  <a:gd name="T47" fmla="*/ 118 h 128"/>
                  <a:gd name="T48" fmla="*/ 130 w 180"/>
                  <a:gd name="T49" fmla="*/ 122 h 128"/>
                  <a:gd name="T50" fmla="*/ 152 w 180"/>
                  <a:gd name="T51" fmla="*/ 128 h 128"/>
                  <a:gd name="T52" fmla="*/ 158 w 180"/>
                  <a:gd name="T53" fmla="*/ 124 h 128"/>
                  <a:gd name="T54" fmla="*/ 170 w 180"/>
                  <a:gd name="T55" fmla="*/ 124 h 128"/>
                  <a:gd name="T56" fmla="*/ 176 w 180"/>
                  <a:gd name="T57" fmla="*/ 114 h 128"/>
                  <a:gd name="T58" fmla="*/ 180 w 180"/>
                  <a:gd name="T59" fmla="*/ 110 h 128"/>
                  <a:gd name="T60" fmla="*/ 172 w 180"/>
                  <a:gd name="T61" fmla="*/ 100 h 128"/>
                  <a:gd name="T62" fmla="*/ 166 w 180"/>
                  <a:gd name="T63" fmla="*/ 94 h 128"/>
                  <a:gd name="T64" fmla="*/ 160 w 180"/>
                  <a:gd name="T65" fmla="*/ 88 h 128"/>
                  <a:gd name="T66" fmla="*/ 152 w 180"/>
                  <a:gd name="T67" fmla="*/ 86 h 128"/>
                  <a:gd name="T68" fmla="*/ 140 w 180"/>
                  <a:gd name="T69" fmla="*/ 78 h 128"/>
                  <a:gd name="T70" fmla="*/ 126 w 180"/>
                  <a:gd name="T71" fmla="*/ 84 h 128"/>
                  <a:gd name="T72" fmla="*/ 118 w 180"/>
                  <a:gd name="T73" fmla="*/ 82 h 128"/>
                  <a:gd name="T74" fmla="*/ 108 w 180"/>
                  <a:gd name="T75" fmla="*/ 82 h 128"/>
                  <a:gd name="T76" fmla="*/ 92 w 180"/>
                  <a:gd name="T77" fmla="*/ 76 h 128"/>
                  <a:gd name="T78" fmla="*/ 88 w 180"/>
                  <a:gd name="T79" fmla="*/ 80 h 128"/>
                  <a:gd name="T80" fmla="*/ 82 w 180"/>
                  <a:gd name="T81" fmla="*/ 78 h 128"/>
                  <a:gd name="T82" fmla="*/ 76 w 180"/>
                  <a:gd name="T83" fmla="*/ 74 h 128"/>
                  <a:gd name="T84" fmla="*/ 70 w 180"/>
                  <a:gd name="T85" fmla="*/ 80 h 128"/>
                  <a:gd name="T86" fmla="*/ 66 w 180"/>
                  <a:gd name="T87" fmla="*/ 72 h 128"/>
                  <a:gd name="T88" fmla="*/ 70 w 180"/>
                  <a:gd name="T89" fmla="*/ 66 h 128"/>
                  <a:gd name="T90" fmla="*/ 60 w 180"/>
                  <a:gd name="T91" fmla="*/ 60 h 128"/>
                  <a:gd name="T92" fmla="*/ 56 w 180"/>
                  <a:gd name="T93" fmla="*/ 64 h 128"/>
                  <a:gd name="T94" fmla="*/ 52 w 180"/>
                  <a:gd name="T95" fmla="*/ 64 h 128"/>
                  <a:gd name="T96" fmla="*/ 60 w 180"/>
                  <a:gd name="T97" fmla="*/ 56 h 128"/>
                  <a:gd name="T98" fmla="*/ 54 w 180"/>
                  <a:gd name="T99" fmla="*/ 52 h 128"/>
                  <a:gd name="T100" fmla="*/ 58 w 180"/>
                  <a:gd name="T101" fmla="*/ 46 h 128"/>
                  <a:gd name="T102" fmla="*/ 68 w 180"/>
                  <a:gd name="T103" fmla="*/ 46 h 128"/>
                  <a:gd name="T104" fmla="*/ 64 w 180"/>
                  <a:gd name="T105" fmla="*/ 36 h 128"/>
                  <a:gd name="T106" fmla="*/ 62 w 180"/>
                  <a:gd name="T107" fmla="*/ 32 h 128"/>
                  <a:gd name="T108" fmla="*/ 46 w 180"/>
                  <a:gd name="T109" fmla="*/ 28 h 128"/>
                  <a:gd name="T110" fmla="*/ 40 w 180"/>
                  <a:gd name="T111" fmla="*/ 24 h 128"/>
                  <a:gd name="T112" fmla="*/ 36 w 180"/>
                  <a:gd name="T113" fmla="*/ 16 h 128"/>
                  <a:gd name="T114" fmla="*/ 28 w 180"/>
                  <a:gd name="T115" fmla="*/ 12 h 128"/>
                  <a:gd name="T116" fmla="*/ 28 w 180"/>
                  <a:gd name="T117" fmla="*/ 0 h 128"/>
                  <a:gd name="T118" fmla="*/ 26 w 180"/>
                  <a:gd name="T119" fmla="*/ 4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80" h="128">
                    <a:moveTo>
                      <a:pt x="26" y="6"/>
                    </a:moveTo>
                    <a:lnTo>
                      <a:pt x="26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2" y="6"/>
                    </a:lnTo>
                    <a:lnTo>
                      <a:pt x="20" y="6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6" y="4"/>
                    </a:lnTo>
                    <a:lnTo>
                      <a:pt x="14" y="4"/>
                    </a:lnTo>
                    <a:lnTo>
                      <a:pt x="12" y="4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4" y="10"/>
                    </a:lnTo>
                    <a:lnTo>
                      <a:pt x="2" y="12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4" y="20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4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8"/>
                    </a:lnTo>
                    <a:lnTo>
                      <a:pt x="8" y="30"/>
                    </a:lnTo>
                    <a:lnTo>
                      <a:pt x="6" y="30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8" y="32"/>
                    </a:lnTo>
                    <a:lnTo>
                      <a:pt x="8" y="34"/>
                    </a:lnTo>
                    <a:lnTo>
                      <a:pt x="10" y="36"/>
                    </a:lnTo>
                    <a:lnTo>
                      <a:pt x="12" y="36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8" y="42"/>
                    </a:lnTo>
                    <a:lnTo>
                      <a:pt x="20" y="42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4" y="44"/>
                    </a:lnTo>
                    <a:lnTo>
                      <a:pt x="26" y="44"/>
                    </a:lnTo>
                    <a:lnTo>
                      <a:pt x="30" y="44"/>
                    </a:lnTo>
                    <a:lnTo>
                      <a:pt x="30" y="46"/>
                    </a:lnTo>
                    <a:lnTo>
                      <a:pt x="32" y="46"/>
                    </a:lnTo>
                    <a:lnTo>
                      <a:pt x="32" y="46"/>
                    </a:lnTo>
                    <a:lnTo>
                      <a:pt x="32" y="46"/>
                    </a:lnTo>
                    <a:lnTo>
                      <a:pt x="32" y="48"/>
                    </a:lnTo>
                    <a:lnTo>
                      <a:pt x="34" y="48"/>
                    </a:lnTo>
                    <a:lnTo>
                      <a:pt x="32" y="50"/>
                    </a:lnTo>
                    <a:lnTo>
                      <a:pt x="32" y="52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60"/>
                    </a:lnTo>
                    <a:lnTo>
                      <a:pt x="30" y="62"/>
                    </a:lnTo>
                    <a:lnTo>
                      <a:pt x="30" y="64"/>
                    </a:lnTo>
                    <a:lnTo>
                      <a:pt x="30" y="64"/>
                    </a:lnTo>
                    <a:lnTo>
                      <a:pt x="30" y="64"/>
                    </a:lnTo>
                    <a:lnTo>
                      <a:pt x="30" y="66"/>
                    </a:lnTo>
                    <a:lnTo>
                      <a:pt x="28" y="70"/>
                    </a:lnTo>
                    <a:lnTo>
                      <a:pt x="28" y="70"/>
                    </a:lnTo>
                    <a:lnTo>
                      <a:pt x="28" y="74"/>
                    </a:lnTo>
                    <a:lnTo>
                      <a:pt x="28" y="74"/>
                    </a:lnTo>
                    <a:lnTo>
                      <a:pt x="26" y="78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84"/>
                    </a:lnTo>
                    <a:lnTo>
                      <a:pt x="28" y="86"/>
                    </a:lnTo>
                    <a:lnTo>
                      <a:pt x="30" y="88"/>
                    </a:lnTo>
                    <a:lnTo>
                      <a:pt x="30" y="90"/>
                    </a:lnTo>
                    <a:lnTo>
                      <a:pt x="30" y="90"/>
                    </a:lnTo>
                    <a:lnTo>
                      <a:pt x="32" y="92"/>
                    </a:lnTo>
                    <a:lnTo>
                      <a:pt x="34" y="94"/>
                    </a:lnTo>
                    <a:lnTo>
                      <a:pt x="36" y="94"/>
                    </a:lnTo>
                    <a:lnTo>
                      <a:pt x="38" y="94"/>
                    </a:lnTo>
                    <a:lnTo>
                      <a:pt x="38" y="94"/>
                    </a:lnTo>
                    <a:lnTo>
                      <a:pt x="38" y="94"/>
                    </a:lnTo>
                    <a:lnTo>
                      <a:pt x="40" y="94"/>
                    </a:lnTo>
                    <a:lnTo>
                      <a:pt x="40" y="94"/>
                    </a:lnTo>
                    <a:lnTo>
                      <a:pt x="42" y="92"/>
                    </a:lnTo>
                    <a:lnTo>
                      <a:pt x="42" y="92"/>
                    </a:lnTo>
                    <a:lnTo>
                      <a:pt x="42" y="92"/>
                    </a:lnTo>
                    <a:lnTo>
                      <a:pt x="42" y="92"/>
                    </a:lnTo>
                    <a:lnTo>
                      <a:pt x="44" y="92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6" y="98"/>
                    </a:lnTo>
                    <a:lnTo>
                      <a:pt x="48" y="100"/>
                    </a:lnTo>
                    <a:lnTo>
                      <a:pt x="48" y="100"/>
                    </a:lnTo>
                    <a:lnTo>
                      <a:pt x="48" y="102"/>
                    </a:lnTo>
                    <a:lnTo>
                      <a:pt x="48" y="104"/>
                    </a:lnTo>
                    <a:lnTo>
                      <a:pt x="52" y="106"/>
                    </a:lnTo>
                    <a:lnTo>
                      <a:pt x="52" y="106"/>
                    </a:lnTo>
                    <a:lnTo>
                      <a:pt x="54" y="106"/>
                    </a:lnTo>
                    <a:lnTo>
                      <a:pt x="54" y="106"/>
                    </a:lnTo>
                    <a:lnTo>
                      <a:pt x="54" y="106"/>
                    </a:lnTo>
                    <a:lnTo>
                      <a:pt x="56" y="106"/>
                    </a:lnTo>
                    <a:lnTo>
                      <a:pt x="56" y="106"/>
                    </a:lnTo>
                    <a:lnTo>
                      <a:pt x="58" y="104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62" y="100"/>
                    </a:lnTo>
                    <a:lnTo>
                      <a:pt x="62" y="98"/>
                    </a:lnTo>
                    <a:lnTo>
                      <a:pt x="66" y="98"/>
                    </a:lnTo>
                    <a:lnTo>
                      <a:pt x="68" y="98"/>
                    </a:lnTo>
                    <a:lnTo>
                      <a:pt x="70" y="98"/>
                    </a:lnTo>
                    <a:lnTo>
                      <a:pt x="70" y="98"/>
                    </a:lnTo>
                    <a:lnTo>
                      <a:pt x="72" y="96"/>
                    </a:lnTo>
                    <a:lnTo>
                      <a:pt x="72" y="96"/>
                    </a:lnTo>
                    <a:lnTo>
                      <a:pt x="72" y="96"/>
                    </a:lnTo>
                    <a:lnTo>
                      <a:pt x="72" y="96"/>
                    </a:lnTo>
                    <a:lnTo>
                      <a:pt x="74" y="98"/>
                    </a:lnTo>
                    <a:lnTo>
                      <a:pt x="74" y="98"/>
                    </a:lnTo>
                    <a:lnTo>
                      <a:pt x="72" y="100"/>
                    </a:lnTo>
                    <a:lnTo>
                      <a:pt x="72" y="100"/>
                    </a:lnTo>
                    <a:lnTo>
                      <a:pt x="72" y="100"/>
                    </a:lnTo>
                    <a:lnTo>
                      <a:pt x="72" y="102"/>
                    </a:lnTo>
                    <a:lnTo>
                      <a:pt x="72" y="102"/>
                    </a:lnTo>
                    <a:lnTo>
                      <a:pt x="72" y="104"/>
                    </a:lnTo>
                    <a:lnTo>
                      <a:pt x="72" y="104"/>
                    </a:lnTo>
                    <a:lnTo>
                      <a:pt x="72" y="104"/>
                    </a:lnTo>
                    <a:lnTo>
                      <a:pt x="72" y="106"/>
                    </a:lnTo>
                    <a:lnTo>
                      <a:pt x="74" y="108"/>
                    </a:lnTo>
                    <a:lnTo>
                      <a:pt x="74" y="108"/>
                    </a:lnTo>
                    <a:lnTo>
                      <a:pt x="74" y="108"/>
                    </a:lnTo>
                    <a:lnTo>
                      <a:pt x="76" y="108"/>
                    </a:lnTo>
                    <a:lnTo>
                      <a:pt x="76" y="108"/>
                    </a:lnTo>
                    <a:lnTo>
                      <a:pt x="78" y="108"/>
                    </a:lnTo>
                    <a:lnTo>
                      <a:pt x="80" y="108"/>
                    </a:lnTo>
                    <a:lnTo>
                      <a:pt x="80" y="108"/>
                    </a:lnTo>
                    <a:lnTo>
                      <a:pt x="80" y="108"/>
                    </a:lnTo>
                    <a:lnTo>
                      <a:pt x="82" y="108"/>
                    </a:lnTo>
                    <a:lnTo>
                      <a:pt x="84" y="110"/>
                    </a:lnTo>
                    <a:lnTo>
                      <a:pt x="84" y="110"/>
                    </a:lnTo>
                    <a:lnTo>
                      <a:pt x="86" y="112"/>
                    </a:lnTo>
                    <a:lnTo>
                      <a:pt x="88" y="114"/>
                    </a:lnTo>
                    <a:lnTo>
                      <a:pt x="88" y="114"/>
                    </a:lnTo>
                    <a:lnTo>
                      <a:pt x="88" y="114"/>
                    </a:lnTo>
                    <a:lnTo>
                      <a:pt x="90" y="114"/>
                    </a:lnTo>
                    <a:lnTo>
                      <a:pt x="92" y="114"/>
                    </a:lnTo>
                    <a:lnTo>
                      <a:pt x="92" y="114"/>
                    </a:lnTo>
                    <a:lnTo>
                      <a:pt x="96" y="114"/>
                    </a:lnTo>
                    <a:lnTo>
                      <a:pt x="96" y="114"/>
                    </a:lnTo>
                    <a:lnTo>
                      <a:pt x="96" y="114"/>
                    </a:lnTo>
                    <a:lnTo>
                      <a:pt x="98" y="114"/>
                    </a:lnTo>
                    <a:lnTo>
                      <a:pt x="102" y="112"/>
                    </a:lnTo>
                    <a:lnTo>
                      <a:pt x="102" y="112"/>
                    </a:lnTo>
                    <a:lnTo>
                      <a:pt x="102" y="112"/>
                    </a:lnTo>
                    <a:lnTo>
                      <a:pt x="104" y="112"/>
                    </a:lnTo>
                    <a:lnTo>
                      <a:pt x="106" y="114"/>
                    </a:lnTo>
                    <a:lnTo>
                      <a:pt x="108" y="114"/>
                    </a:lnTo>
                    <a:lnTo>
                      <a:pt x="110" y="116"/>
                    </a:lnTo>
                    <a:lnTo>
                      <a:pt x="110" y="116"/>
                    </a:lnTo>
                    <a:lnTo>
                      <a:pt x="114" y="118"/>
                    </a:lnTo>
                    <a:lnTo>
                      <a:pt x="116" y="118"/>
                    </a:lnTo>
                    <a:lnTo>
                      <a:pt x="118" y="118"/>
                    </a:lnTo>
                    <a:lnTo>
                      <a:pt x="118" y="118"/>
                    </a:lnTo>
                    <a:lnTo>
                      <a:pt x="120" y="118"/>
                    </a:lnTo>
                    <a:lnTo>
                      <a:pt x="120" y="118"/>
                    </a:lnTo>
                    <a:lnTo>
                      <a:pt x="122" y="118"/>
                    </a:lnTo>
                    <a:lnTo>
                      <a:pt x="122" y="118"/>
                    </a:lnTo>
                    <a:lnTo>
                      <a:pt x="124" y="118"/>
                    </a:lnTo>
                    <a:lnTo>
                      <a:pt x="126" y="118"/>
                    </a:lnTo>
                    <a:lnTo>
                      <a:pt x="126" y="118"/>
                    </a:lnTo>
                    <a:lnTo>
                      <a:pt x="126" y="118"/>
                    </a:lnTo>
                    <a:lnTo>
                      <a:pt x="128" y="120"/>
                    </a:lnTo>
                    <a:lnTo>
                      <a:pt x="130" y="122"/>
                    </a:lnTo>
                    <a:lnTo>
                      <a:pt x="136" y="124"/>
                    </a:lnTo>
                    <a:lnTo>
                      <a:pt x="140" y="126"/>
                    </a:lnTo>
                    <a:lnTo>
                      <a:pt x="144" y="128"/>
                    </a:lnTo>
                    <a:lnTo>
                      <a:pt x="144" y="128"/>
                    </a:lnTo>
                    <a:lnTo>
                      <a:pt x="150" y="128"/>
                    </a:lnTo>
                    <a:lnTo>
                      <a:pt x="152" y="128"/>
                    </a:lnTo>
                    <a:lnTo>
                      <a:pt x="152" y="128"/>
                    </a:lnTo>
                    <a:lnTo>
                      <a:pt x="154" y="126"/>
                    </a:lnTo>
                    <a:lnTo>
                      <a:pt x="154" y="126"/>
                    </a:lnTo>
                    <a:lnTo>
                      <a:pt x="156" y="126"/>
                    </a:lnTo>
                    <a:lnTo>
                      <a:pt x="156" y="124"/>
                    </a:lnTo>
                    <a:lnTo>
                      <a:pt x="158" y="124"/>
                    </a:lnTo>
                    <a:lnTo>
                      <a:pt x="158" y="124"/>
                    </a:lnTo>
                    <a:lnTo>
                      <a:pt x="158" y="124"/>
                    </a:lnTo>
                    <a:lnTo>
                      <a:pt x="160" y="124"/>
                    </a:lnTo>
                    <a:lnTo>
                      <a:pt x="162" y="126"/>
                    </a:lnTo>
                    <a:lnTo>
                      <a:pt x="162" y="126"/>
                    </a:lnTo>
                    <a:lnTo>
                      <a:pt x="166" y="126"/>
                    </a:lnTo>
                    <a:lnTo>
                      <a:pt x="168" y="126"/>
                    </a:lnTo>
                    <a:lnTo>
                      <a:pt x="170" y="124"/>
                    </a:lnTo>
                    <a:lnTo>
                      <a:pt x="170" y="124"/>
                    </a:lnTo>
                    <a:lnTo>
                      <a:pt x="170" y="122"/>
                    </a:lnTo>
                    <a:lnTo>
                      <a:pt x="170" y="122"/>
                    </a:lnTo>
                    <a:lnTo>
                      <a:pt x="172" y="118"/>
                    </a:lnTo>
                    <a:lnTo>
                      <a:pt x="172" y="118"/>
                    </a:lnTo>
                    <a:lnTo>
                      <a:pt x="172" y="116"/>
                    </a:lnTo>
                    <a:lnTo>
                      <a:pt x="174" y="116"/>
                    </a:lnTo>
                    <a:lnTo>
                      <a:pt x="176" y="114"/>
                    </a:lnTo>
                    <a:lnTo>
                      <a:pt x="176" y="114"/>
                    </a:lnTo>
                    <a:lnTo>
                      <a:pt x="178" y="114"/>
                    </a:lnTo>
                    <a:lnTo>
                      <a:pt x="178" y="112"/>
                    </a:lnTo>
                    <a:lnTo>
                      <a:pt x="180" y="112"/>
                    </a:lnTo>
                    <a:lnTo>
                      <a:pt x="180" y="112"/>
                    </a:lnTo>
                    <a:lnTo>
                      <a:pt x="180" y="112"/>
                    </a:lnTo>
                    <a:lnTo>
                      <a:pt x="180" y="110"/>
                    </a:lnTo>
                    <a:lnTo>
                      <a:pt x="178" y="110"/>
                    </a:lnTo>
                    <a:lnTo>
                      <a:pt x="176" y="106"/>
                    </a:lnTo>
                    <a:lnTo>
                      <a:pt x="176" y="106"/>
                    </a:lnTo>
                    <a:lnTo>
                      <a:pt x="174" y="104"/>
                    </a:lnTo>
                    <a:lnTo>
                      <a:pt x="172" y="102"/>
                    </a:lnTo>
                    <a:lnTo>
                      <a:pt x="172" y="100"/>
                    </a:lnTo>
                    <a:lnTo>
                      <a:pt x="172" y="100"/>
                    </a:lnTo>
                    <a:lnTo>
                      <a:pt x="170" y="98"/>
                    </a:lnTo>
                    <a:lnTo>
                      <a:pt x="170" y="98"/>
                    </a:lnTo>
                    <a:lnTo>
                      <a:pt x="170" y="96"/>
                    </a:lnTo>
                    <a:lnTo>
                      <a:pt x="170" y="96"/>
                    </a:lnTo>
                    <a:lnTo>
                      <a:pt x="170" y="96"/>
                    </a:lnTo>
                    <a:lnTo>
                      <a:pt x="168" y="94"/>
                    </a:lnTo>
                    <a:lnTo>
                      <a:pt x="166" y="94"/>
                    </a:lnTo>
                    <a:lnTo>
                      <a:pt x="166" y="94"/>
                    </a:lnTo>
                    <a:lnTo>
                      <a:pt x="164" y="94"/>
                    </a:lnTo>
                    <a:lnTo>
                      <a:pt x="162" y="92"/>
                    </a:lnTo>
                    <a:lnTo>
                      <a:pt x="162" y="92"/>
                    </a:lnTo>
                    <a:lnTo>
                      <a:pt x="162" y="90"/>
                    </a:lnTo>
                    <a:lnTo>
                      <a:pt x="160" y="88"/>
                    </a:lnTo>
                    <a:lnTo>
                      <a:pt x="160" y="88"/>
                    </a:lnTo>
                    <a:lnTo>
                      <a:pt x="160" y="88"/>
                    </a:lnTo>
                    <a:lnTo>
                      <a:pt x="158" y="86"/>
                    </a:lnTo>
                    <a:lnTo>
                      <a:pt x="158" y="86"/>
                    </a:lnTo>
                    <a:lnTo>
                      <a:pt x="156" y="86"/>
                    </a:lnTo>
                    <a:lnTo>
                      <a:pt x="156" y="86"/>
                    </a:lnTo>
                    <a:lnTo>
                      <a:pt x="154" y="86"/>
                    </a:lnTo>
                    <a:lnTo>
                      <a:pt x="152" y="86"/>
                    </a:lnTo>
                    <a:lnTo>
                      <a:pt x="152" y="86"/>
                    </a:lnTo>
                    <a:lnTo>
                      <a:pt x="150" y="84"/>
                    </a:lnTo>
                    <a:lnTo>
                      <a:pt x="150" y="84"/>
                    </a:lnTo>
                    <a:lnTo>
                      <a:pt x="148" y="82"/>
                    </a:lnTo>
                    <a:lnTo>
                      <a:pt x="146" y="80"/>
                    </a:lnTo>
                    <a:lnTo>
                      <a:pt x="142" y="80"/>
                    </a:lnTo>
                    <a:lnTo>
                      <a:pt x="140" y="78"/>
                    </a:lnTo>
                    <a:lnTo>
                      <a:pt x="140" y="78"/>
                    </a:lnTo>
                    <a:lnTo>
                      <a:pt x="138" y="80"/>
                    </a:lnTo>
                    <a:lnTo>
                      <a:pt x="134" y="80"/>
                    </a:lnTo>
                    <a:lnTo>
                      <a:pt x="130" y="84"/>
                    </a:lnTo>
                    <a:lnTo>
                      <a:pt x="130" y="84"/>
                    </a:lnTo>
                    <a:lnTo>
                      <a:pt x="126" y="84"/>
                    </a:lnTo>
                    <a:lnTo>
                      <a:pt x="126" y="84"/>
                    </a:lnTo>
                    <a:lnTo>
                      <a:pt x="122" y="84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18" y="82"/>
                    </a:lnTo>
                    <a:lnTo>
                      <a:pt x="118" y="82"/>
                    </a:lnTo>
                    <a:lnTo>
                      <a:pt x="116" y="84"/>
                    </a:lnTo>
                    <a:lnTo>
                      <a:pt x="114" y="84"/>
                    </a:lnTo>
                    <a:lnTo>
                      <a:pt x="112" y="84"/>
                    </a:lnTo>
                    <a:lnTo>
                      <a:pt x="112" y="84"/>
                    </a:lnTo>
                    <a:lnTo>
                      <a:pt x="112" y="84"/>
                    </a:lnTo>
                    <a:lnTo>
                      <a:pt x="110" y="84"/>
                    </a:lnTo>
                    <a:lnTo>
                      <a:pt x="108" y="82"/>
                    </a:lnTo>
                    <a:lnTo>
                      <a:pt x="102" y="80"/>
                    </a:lnTo>
                    <a:lnTo>
                      <a:pt x="102" y="80"/>
                    </a:lnTo>
                    <a:lnTo>
                      <a:pt x="100" y="78"/>
                    </a:lnTo>
                    <a:lnTo>
                      <a:pt x="98" y="78"/>
                    </a:lnTo>
                    <a:lnTo>
                      <a:pt x="96" y="76"/>
                    </a:lnTo>
                    <a:lnTo>
                      <a:pt x="92" y="76"/>
                    </a:lnTo>
                    <a:lnTo>
                      <a:pt x="92" y="76"/>
                    </a:lnTo>
                    <a:lnTo>
                      <a:pt x="92" y="78"/>
                    </a:lnTo>
                    <a:lnTo>
                      <a:pt x="90" y="78"/>
                    </a:lnTo>
                    <a:lnTo>
                      <a:pt x="90" y="78"/>
                    </a:lnTo>
                    <a:lnTo>
                      <a:pt x="90" y="80"/>
                    </a:lnTo>
                    <a:lnTo>
                      <a:pt x="90" y="80"/>
                    </a:lnTo>
                    <a:lnTo>
                      <a:pt x="88" y="80"/>
                    </a:lnTo>
                    <a:lnTo>
                      <a:pt x="88" y="80"/>
                    </a:lnTo>
                    <a:lnTo>
                      <a:pt x="86" y="80"/>
                    </a:lnTo>
                    <a:lnTo>
                      <a:pt x="86" y="80"/>
                    </a:lnTo>
                    <a:lnTo>
                      <a:pt x="84" y="78"/>
                    </a:lnTo>
                    <a:lnTo>
                      <a:pt x="84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0" y="78"/>
                    </a:lnTo>
                    <a:lnTo>
                      <a:pt x="80" y="76"/>
                    </a:lnTo>
                    <a:lnTo>
                      <a:pt x="80" y="74"/>
                    </a:lnTo>
                    <a:lnTo>
                      <a:pt x="78" y="74"/>
                    </a:lnTo>
                    <a:lnTo>
                      <a:pt x="78" y="74"/>
                    </a:lnTo>
                    <a:lnTo>
                      <a:pt x="78" y="74"/>
                    </a:lnTo>
                    <a:lnTo>
                      <a:pt x="76" y="74"/>
                    </a:lnTo>
                    <a:lnTo>
                      <a:pt x="76" y="74"/>
                    </a:lnTo>
                    <a:lnTo>
                      <a:pt x="74" y="74"/>
                    </a:lnTo>
                    <a:lnTo>
                      <a:pt x="74" y="78"/>
                    </a:lnTo>
                    <a:lnTo>
                      <a:pt x="72" y="80"/>
                    </a:lnTo>
                    <a:lnTo>
                      <a:pt x="72" y="80"/>
                    </a:lnTo>
                    <a:lnTo>
                      <a:pt x="72" y="80"/>
                    </a:lnTo>
                    <a:lnTo>
                      <a:pt x="70" y="80"/>
                    </a:lnTo>
                    <a:lnTo>
                      <a:pt x="70" y="80"/>
                    </a:lnTo>
                    <a:lnTo>
                      <a:pt x="68" y="80"/>
                    </a:lnTo>
                    <a:lnTo>
                      <a:pt x="68" y="78"/>
                    </a:lnTo>
                    <a:lnTo>
                      <a:pt x="66" y="74"/>
                    </a:lnTo>
                    <a:lnTo>
                      <a:pt x="66" y="74"/>
                    </a:lnTo>
                    <a:lnTo>
                      <a:pt x="66" y="74"/>
                    </a:lnTo>
                    <a:lnTo>
                      <a:pt x="66" y="72"/>
                    </a:lnTo>
                    <a:lnTo>
                      <a:pt x="66" y="72"/>
                    </a:lnTo>
                    <a:lnTo>
                      <a:pt x="66" y="70"/>
                    </a:lnTo>
                    <a:lnTo>
                      <a:pt x="68" y="70"/>
                    </a:lnTo>
                    <a:lnTo>
                      <a:pt x="70" y="68"/>
                    </a:lnTo>
                    <a:lnTo>
                      <a:pt x="70" y="68"/>
                    </a:lnTo>
                    <a:lnTo>
                      <a:pt x="70" y="68"/>
                    </a:lnTo>
                    <a:lnTo>
                      <a:pt x="70" y="66"/>
                    </a:lnTo>
                    <a:lnTo>
                      <a:pt x="70" y="66"/>
                    </a:lnTo>
                    <a:lnTo>
                      <a:pt x="70" y="64"/>
                    </a:lnTo>
                    <a:lnTo>
                      <a:pt x="68" y="62"/>
                    </a:lnTo>
                    <a:lnTo>
                      <a:pt x="66" y="62"/>
                    </a:lnTo>
                    <a:lnTo>
                      <a:pt x="66" y="62"/>
                    </a:lnTo>
                    <a:lnTo>
                      <a:pt x="62" y="60"/>
                    </a:lnTo>
                    <a:lnTo>
                      <a:pt x="60" y="60"/>
                    </a:lnTo>
                    <a:lnTo>
                      <a:pt x="60" y="62"/>
                    </a:lnTo>
                    <a:lnTo>
                      <a:pt x="60" y="62"/>
                    </a:lnTo>
                    <a:lnTo>
                      <a:pt x="58" y="62"/>
                    </a:lnTo>
                    <a:lnTo>
                      <a:pt x="58" y="62"/>
                    </a:lnTo>
                    <a:lnTo>
                      <a:pt x="58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4" y="66"/>
                    </a:lnTo>
                    <a:lnTo>
                      <a:pt x="54" y="66"/>
                    </a:lnTo>
                    <a:lnTo>
                      <a:pt x="52" y="66"/>
                    </a:lnTo>
                    <a:lnTo>
                      <a:pt x="52" y="66"/>
                    </a:lnTo>
                    <a:lnTo>
                      <a:pt x="52" y="66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4" y="62"/>
                    </a:lnTo>
                    <a:lnTo>
                      <a:pt x="54" y="62"/>
                    </a:lnTo>
                    <a:lnTo>
                      <a:pt x="56" y="62"/>
                    </a:lnTo>
                    <a:lnTo>
                      <a:pt x="58" y="60"/>
                    </a:lnTo>
                    <a:lnTo>
                      <a:pt x="60" y="58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60" y="54"/>
                    </a:lnTo>
                    <a:lnTo>
                      <a:pt x="60" y="54"/>
                    </a:lnTo>
                    <a:lnTo>
                      <a:pt x="58" y="54"/>
                    </a:lnTo>
                    <a:lnTo>
                      <a:pt x="56" y="54"/>
                    </a:lnTo>
                    <a:lnTo>
                      <a:pt x="54" y="54"/>
                    </a:lnTo>
                    <a:lnTo>
                      <a:pt x="54" y="54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50"/>
                    </a:lnTo>
                    <a:lnTo>
                      <a:pt x="54" y="50"/>
                    </a:lnTo>
                    <a:lnTo>
                      <a:pt x="56" y="48"/>
                    </a:lnTo>
                    <a:lnTo>
                      <a:pt x="58" y="46"/>
                    </a:lnTo>
                    <a:lnTo>
                      <a:pt x="58" y="46"/>
                    </a:lnTo>
                    <a:lnTo>
                      <a:pt x="58" y="46"/>
                    </a:lnTo>
                    <a:lnTo>
                      <a:pt x="60" y="46"/>
                    </a:lnTo>
                    <a:lnTo>
                      <a:pt x="62" y="46"/>
                    </a:lnTo>
                    <a:lnTo>
                      <a:pt x="64" y="46"/>
                    </a:lnTo>
                    <a:lnTo>
                      <a:pt x="64" y="46"/>
                    </a:lnTo>
                    <a:lnTo>
                      <a:pt x="64" y="46"/>
                    </a:lnTo>
                    <a:lnTo>
                      <a:pt x="66" y="46"/>
                    </a:lnTo>
                    <a:lnTo>
                      <a:pt x="68" y="46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6" y="42"/>
                    </a:lnTo>
                    <a:lnTo>
                      <a:pt x="66" y="38"/>
                    </a:lnTo>
                    <a:lnTo>
                      <a:pt x="66" y="38"/>
                    </a:lnTo>
                    <a:lnTo>
                      <a:pt x="64" y="38"/>
                    </a:lnTo>
                    <a:lnTo>
                      <a:pt x="64" y="36"/>
                    </a:lnTo>
                    <a:lnTo>
                      <a:pt x="64" y="36"/>
                    </a:lnTo>
                    <a:lnTo>
                      <a:pt x="64" y="34"/>
                    </a:lnTo>
                    <a:lnTo>
                      <a:pt x="64" y="34"/>
                    </a:lnTo>
                    <a:lnTo>
                      <a:pt x="64" y="34"/>
                    </a:lnTo>
                    <a:lnTo>
                      <a:pt x="64" y="34"/>
                    </a:lnTo>
                    <a:lnTo>
                      <a:pt x="62" y="32"/>
                    </a:lnTo>
                    <a:lnTo>
                      <a:pt x="62" y="32"/>
                    </a:lnTo>
                    <a:lnTo>
                      <a:pt x="58" y="30"/>
                    </a:lnTo>
                    <a:lnTo>
                      <a:pt x="56" y="30"/>
                    </a:lnTo>
                    <a:lnTo>
                      <a:pt x="52" y="28"/>
                    </a:lnTo>
                    <a:lnTo>
                      <a:pt x="52" y="28"/>
                    </a:lnTo>
                    <a:lnTo>
                      <a:pt x="48" y="28"/>
                    </a:lnTo>
                    <a:lnTo>
                      <a:pt x="46" y="28"/>
                    </a:lnTo>
                    <a:lnTo>
                      <a:pt x="46" y="28"/>
                    </a:lnTo>
                    <a:lnTo>
                      <a:pt x="44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4"/>
                    </a:lnTo>
                    <a:lnTo>
                      <a:pt x="40" y="22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6" y="16"/>
                    </a:lnTo>
                    <a:lnTo>
                      <a:pt x="32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28" y="14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0"/>
                    </a:lnTo>
                    <a:lnTo>
                      <a:pt x="28" y="8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4"/>
                    </a:lnTo>
                    <a:lnTo>
                      <a:pt x="30" y="2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2"/>
                    </a:lnTo>
                    <a:lnTo>
                      <a:pt x="26" y="4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625" name="Freeform 171"/>
              <p:cNvSpPr>
                <a:spLocks/>
              </p:cNvSpPr>
              <p:nvPr/>
            </p:nvSpPr>
            <p:spPr bwMode="auto">
              <a:xfrm>
                <a:off x="1685" y="1146"/>
                <a:ext cx="28" cy="10"/>
              </a:xfrm>
              <a:custGeom>
                <a:avLst/>
                <a:gdLst>
                  <a:gd name="T0" fmla="*/ 16 w 28"/>
                  <a:gd name="T1" fmla="*/ 4 h 10"/>
                  <a:gd name="T2" fmla="*/ 16 w 28"/>
                  <a:gd name="T3" fmla="*/ 4 h 10"/>
                  <a:gd name="T4" fmla="*/ 16 w 28"/>
                  <a:gd name="T5" fmla="*/ 4 h 10"/>
                  <a:gd name="T6" fmla="*/ 16 w 28"/>
                  <a:gd name="T7" fmla="*/ 4 h 10"/>
                  <a:gd name="T8" fmla="*/ 14 w 28"/>
                  <a:gd name="T9" fmla="*/ 2 h 10"/>
                  <a:gd name="T10" fmla="*/ 12 w 28"/>
                  <a:gd name="T11" fmla="*/ 2 h 10"/>
                  <a:gd name="T12" fmla="*/ 12 w 28"/>
                  <a:gd name="T13" fmla="*/ 0 h 10"/>
                  <a:gd name="T14" fmla="*/ 10 w 28"/>
                  <a:gd name="T15" fmla="*/ 0 h 10"/>
                  <a:gd name="T16" fmla="*/ 10 w 28"/>
                  <a:gd name="T17" fmla="*/ 0 h 10"/>
                  <a:gd name="T18" fmla="*/ 8 w 28"/>
                  <a:gd name="T19" fmla="*/ 0 h 10"/>
                  <a:gd name="T20" fmla="*/ 4 w 28"/>
                  <a:gd name="T21" fmla="*/ 2 h 10"/>
                  <a:gd name="T22" fmla="*/ 2 w 28"/>
                  <a:gd name="T23" fmla="*/ 2 h 10"/>
                  <a:gd name="T24" fmla="*/ 0 w 28"/>
                  <a:gd name="T25" fmla="*/ 4 h 10"/>
                  <a:gd name="T26" fmla="*/ 0 w 28"/>
                  <a:gd name="T27" fmla="*/ 4 h 10"/>
                  <a:gd name="T28" fmla="*/ 0 w 28"/>
                  <a:gd name="T29" fmla="*/ 4 h 10"/>
                  <a:gd name="T30" fmla="*/ 0 w 28"/>
                  <a:gd name="T31" fmla="*/ 6 h 10"/>
                  <a:gd name="T32" fmla="*/ 0 w 28"/>
                  <a:gd name="T33" fmla="*/ 6 h 10"/>
                  <a:gd name="T34" fmla="*/ 2 w 28"/>
                  <a:gd name="T35" fmla="*/ 8 h 10"/>
                  <a:gd name="T36" fmla="*/ 4 w 28"/>
                  <a:gd name="T37" fmla="*/ 8 h 10"/>
                  <a:gd name="T38" fmla="*/ 6 w 28"/>
                  <a:gd name="T39" fmla="*/ 10 h 10"/>
                  <a:gd name="T40" fmla="*/ 8 w 28"/>
                  <a:gd name="T41" fmla="*/ 10 h 10"/>
                  <a:gd name="T42" fmla="*/ 8 w 28"/>
                  <a:gd name="T43" fmla="*/ 10 h 10"/>
                  <a:gd name="T44" fmla="*/ 16 w 28"/>
                  <a:gd name="T45" fmla="*/ 10 h 10"/>
                  <a:gd name="T46" fmla="*/ 18 w 28"/>
                  <a:gd name="T47" fmla="*/ 10 h 10"/>
                  <a:gd name="T48" fmla="*/ 22 w 28"/>
                  <a:gd name="T49" fmla="*/ 10 h 10"/>
                  <a:gd name="T50" fmla="*/ 22 w 28"/>
                  <a:gd name="T51" fmla="*/ 10 h 10"/>
                  <a:gd name="T52" fmla="*/ 24 w 28"/>
                  <a:gd name="T53" fmla="*/ 10 h 10"/>
                  <a:gd name="T54" fmla="*/ 24 w 28"/>
                  <a:gd name="T55" fmla="*/ 10 h 10"/>
                  <a:gd name="T56" fmla="*/ 26 w 28"/>
                  <a:gd name="T57" fmla="*/ 8 h 10"/>
                  <a:gd name="T58" fmla="*/ 26 w 28"/>
                  <a:gd name="T59" fmla="*/ 6 h 10"/>
                  <a:gd name="T60" fmla="*/ 26 w 28"/>
                  <a:gd name="T61" fmla="*/ 6 h 10"/>
                  <a:gd name="T62" fmla="*/ 26 w 28"/>
                  <a:gd name="T63" fmla="*/ 6 h 10"/>
                  <a:gd name="T64" fmla="*/ 28 w 28"/>
                  <a:gd name="T65" fmla="*/ 4 h 10"/>
                  <a:gd name="T66" fmla="*/ 26 w 28"/>
                  <a:gd name="T67" fmla="*/ 2 h 10"/>
                  <a:gd name="T68" fmla="*/ 26 w 28"/>
                  <a:gd name="T69" fmla="*/ 2 h 10"/>
                  <a:gd name="T70" fmla="*/ 26 w 28"/>
                  <a:gd name="T71" fmla="*/ 2 h 10"/>
                  <a:gd name="T72" fmla="*/ 24 w 28"/>
                  <a:gd name="T73" fmla="*/ 2 h 10"/>
                  <a:gd name="T74" fmla="*/ 24 w 28"/>
                  <a:gd name="T75" fmla="*/ 2 h 10"/>
                  <a:gd name="T76" fmla="*/ 24 w 28"/>
                  <a:gd name="T77" fmla="*/ 2 h 10"/>
                  <a:gd name="T78" fmla="*/ 22 w 28"/>
                  <a:gd name="T79" fmla="*/ 2 h 10"/>
                  <a:gd name="T80" fmla="*/ 20 w 28"/>
                  <a:gd name="T81" fmla="*/ 4 h 10"/>
                  <a:gd name="T82" fmla="*/ 18 w 28"/>
                  <a:gd name="T83" fmla="*/ 4 h 10"/>
                  <a:gd name="T84" fmla="*/ 18 w 28"/>
                  <a:gd name="T85" fmla="*/ 4 h 10"/>
                  <a:gd name="T86" fmla="*/ 16 w 28"/>
                  <a:gd name="T87" fmla="*/ 4 h 10"/>
                  <a:gd name="T88" fmla="*/ 16 w 28"/>
                  <a:gd name="T89" fmla="*/ 4 h 10"/>
                  <a:gd name="T90" fmla="*/ 16 w 28"/>
                  <a:gd name="T91" fmla="*/ 4 h 10"/>
                  <a:gd name="T92" fmla="*/ 16 w 28"/>
                  <a:gd name="T93" fmla="*/ 4 h 10"/>
                  <a:gd name="T94" fmla="*/ 16 w 28"/>
                  <a:gd name="T95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8" h="10">
                    <a:moveTo>
                      <a:pt x="16" y="4"/>
                    </a:move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2" y="2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6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6" y="10"/>
                    </a:lnTo>
                    <a:lnTo>
                      <a:pt x="18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6" y="8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8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2" y="2"/>
                    </a:lnTo>
                    <a:lnTo>
                      <a:pt x="20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626" name="Freeform 173"/>
              <p:cNvSpPr>
                <a:spLocks/>
              </p:cNvSpPr>
              <p:nvPr/>
            </p:nvSpPr>
            <p:spPr bwMode="auto">
              <a:xfrm>
                <a:off x="1723" y="1190"/>
                <a:ext cx="6" cy="12"/>
              </a:xfrm>
              <a:custGeom>
                <a:avLst/>
                <a:gdLst>
                  <a:gd name="T0" fmla="*/ 0 w 6"/>
                  <a:gd name="T1" fmla="*/ 0 h 12"/>
                  <a:gd name="T2" fmla="*/ 0 w 6"/>
                  <a:gd name="T3" fmla="*/ 0 h 12"/>
                  <a:gd name="T4" fmla="*/ 0 w 6"/>
                  <a:gd name="T5" fmla="*/ 2 h 12"/>
                  <a:gd name="T6" fmla="*/ 0 w 6"/>
                  <a:gd name="T7" fmla="*/ 2 h 12"/>
                  <a:gd name="T8" fmla="*/ 0 w 6"/>
                  <a:gd name="T9" fmla="*/ 4 h 12"/>
                  <a:gd name="T10" fmla="*/ 0 w 6"/>
                  <a:gd name="T11" fmla="*/ 6 h 12"/>
                  <a:gd name="T12" fmla="*/ 0 w 6"/>
                  <a:gd name="T13" fmla="*/ 6 h 12"/>
                  <a:gd name="T14" fmla="*/ 0 w 6"/>
                  <a:gd name="T15" fmla="*/ 6 h 12"/>
                  <a:gd name="T16" fmla="*/ 0 w 6"/>
                  <a:gd name="T17" fmla="*/ 8 h 12"/>
                  <a:gd name="T18" fmla="*/ 2 w 6"/>
                  <a:gd name="T19" fmla="*/ 10 h 12"/>
                  <a:gd name="T20" fmla="*/ 2 w 6"/>
                  <a:gd name="T21" fmla="*/ 12 h 12"/>
                  <a:gd name="T22" fmla="*/ 2 w 6"/>
                  <a:gd name="T23" fmla="*/ 12 h 12"/>
                  <a:gd name="T24" fmla="*/ 4 w 6"/>
                  <a:gd name="T25" fmla="*/ 10 h 12"/>
                  <a:gd name="T26" fmla="*/ 4 w 6"/>
                  <a:gd name="T27" fmla="*/ 10 h 12"/>
                  <a:gd name="T28" fmla="*/ 4 w 6"/>
                  <a:gd name="T29" fmla="*/ 10 h 12"/>
                  <a:gd name="T30" fmla="*/ 4 w 6"/>
                  <a:gd name="T31" fmla="*/ 10 h 12"/>
                  <a:gd name="T32" fmla="*/ 4 w 6"/>
                  <a:gd name="T33" fmla="*/ 6 h 12"/>
                  <a:gd name="T34" fmla="*/ 4 w 6"/>
                  <a:gd name="T35" fmla="*/ 6 h 12"/>
                  <a:gd name="T36" fmla="*/ 6 w 6"/>
                  <a:gd name="T37" fmla="*/ 4 h 12"/>
                  <a:gd name="T38" fmla="*/ 6 w 6"/>
                  <a:gd name="T39" fmla="*/ 4 h 12"/>
                  <a:gd name="T40" fmla="*/ 6 w 6"/>
                  <a:gd name="T41" fmla="*/ 2 h 12"/>
                  <a:gd name="T42" fmla="*/ 6 w 6"/>
                  <a:gd name="T43" fmla="*/ 2 h 12"/>
                  <a:gd name="T44" fmla="*/ 6 w 6"/>
                  <a:gd name="T45" fmla="*/ 2 h 12"/>
                  <a:gd name="T46" fmla="*/ 4 w 6"/>
                  <a:gd name="T47" fmla="*/ 0 h 12"/>
                  <a:gd name="T48" fmla="*/ 4 w 6"/>
                  <a:gd name="T49" fmla="*/ 0 h 12"/>
                  <a:gd name="T50" fmla="*/ 2 w 6"/>
                  <a:gd name="T51" fmla="*/ 0 h 12"/>
                  <a:gd name="T52" fmla="*/ 0 w 6"/>
                  <a:gd name="T53" fmla="*/ 0 h 12"/>
                  <a:gd name="T54" fmla="*/ 0 w 6"/>
                  <a:gd name="T55" fmla="*/ 0 h 12"/>
                  <a:gd name="T56" fmla="*/ 0 w 6"/>
                  <a:gd name="T57" fmla="*/ 0 h 12"/>
                  <a:gd name="T58" fmla="*/ 0 w 6"/>
                  <a:gd name="T59" fmla="*/ 0 h 12"/>
                  <a:gd name="T60" fmla="*/ 0 w 6"/>
                  <a:gd name="T61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6" h="1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627" name="Freeform 175"/>
              <p:cNvSpPr>
                <a:spLocks/>
              </p:cNvSpPr>
              <p:nvPr/>
            </p:nvSpPr>
            <p:spPr bwMode="auto">
              <a:xfrm>
                <a:off x="1733" y="1044"/>
                <a:ext cx="348" cy="194"/>
              </a:xfrm>
              <a:custGeom>
                <a:avLst/>
                <a:gdLst>
                  <a:gd name="T0" fmla="*/ 40 w 348"/>
                  <a:gd name="T1" fmla="*/ 138 h 194"/>
                  <a:gd name="T2" fmla="*/ 10 w 348"/>
                  <a:gd name="T3" fmla="*/ 140 h 194"/>
                  <a:gd name="T4" fmla="*/ 8 w 348"/>
                  <a:gd name="T5" fmla="*/ 158 h 194"/>
                  <a:gd name="T6" fmla="*/ 24 w 348"/>
                  <a:gd name="T7" fmla="*/ 162 h 194"/>
                  <a:gd name="T8" fmla="*/ 40 w 348"/>
                  <a:gd name="T9" fmla="*/ 168 h 194"/>
                  <a:gd name="T10" fmla="*/ 62 w 348"/>
                  <a:gd name="T11" fmla="*/ 174 h 194"/>
                  <a:gd name="T12" fmla="*/ 76 w 348"/>
                  <a:gd name="T13" fmla="*/ 176 h 194"/>
                  <a:gd name="T14" fmla="*/ 86 w 348"/>
                  <a:gd name="T15" fmla="*/ 174 h 194"/>
                  <a:gd name="T16" fmla="*/ 106 w 348"/>
                  <a:gd name="T17" fmla="*/ 190 h 194"/>
                  <a:gd name="T18" fmla="*/ 130 w 348"/>
                  <a:gd name="T19" fmla="*/ 188 h 194"/>
                  <a:gd name="T20" fmla="*/ 120 w 348"/>
                  <a:gd name="T21" fmla="*/ 170 h 194"/>
                  <a:gd name="T22" fmla="*/ 106 w 348"/>
                  <a:gd name="T23" fmla="*/ 152 h 194"/>
                  <a:gd name="T24" fmla="*/ 134 w 348"/>
                  <a:gd name="T25" fmla="*/ 162 h 194"/>
                  <a:gd name="T26" fmla="*/ 154 w 348"/>
                  <a:gd name="T27" fmla="*/ 150 h 194"/>
                  <a:gd name="T28" fmla="*/ 176 w 348"/>
                  <a:gd name="T29" fmla="*/ 144 h 194"/>
                  <a:gd name="T30" fmla="*/ 184 w 348"/>
                  <a:gd name="T31" fmla="*/ 136 h 194"/>
                  <a:gd name="T32" fmla="*/ 166 w 348"/>
                  <a:gd name="T33" fmla="*/ 124 h 194"/>
                  <a:gd name="T34" fmla="*/ 180 w 348"/>
                  <a:gd name="T35" fmla="*/ 114 h 194"/>
                  <a:gd name="T36" fmla="*/ 202 w 348"/>
                  <a:gd name="T37" fmla="*/ 114 h 194"/>
                  <a:gd name="T38" fmla="*/ 234 w 348"/>
                  <a:gd name="T39" fmla="*/ 112 h 194"/>
                  <a:gd name="T40" fmla="*/ 250 w 348"/>
                  <a:gd name="T41" fmla="*/ 94 h 194"/>
                  <a:gd name="T42" fmla="*/ 278 w 348"/>
                  <a:gd name="T43" fmla="*/ 88 h 194"/>
                  <a:gd name="T44" fmla="*/ 270 w 348"/>
                  <a:gd name="T45" fmla="*/ 78 h 194"/>
                  <a:gd name="T46" fmla="*/ 272 w 348"/>
                  <a:gd name="T47" fmla="*/ 74 h 194"/>
                  <a:gd name="T48" fmla="*/ 306 w 348"/>
                  <a:gd name="T49" fmla="*/ 72 h 194"/>
                  <a:gd name="T50" fmla="*/ 340 w 348"/>
                  <a:gd name="T51" fmla="*/ 64 h 194"/>
                  <a:gd name="T52" fmla="*/ 328 w 348"/>
                  <a:gd name="T53" fmla="*/ 46 h 194"/>
                  <a:gd name="T54" fmla="*/ 300 w 348"/>
                  <a:gd name="T55" fmla="*/ 46 h 194"/>
                  <a:gd name="T56" fmla="*/ 286 w 348"/>
                  <a:gd name="T57" fmla="*/ 34 h 194"/>
                  <a:gd name="T58" fmla="*/ 254 w 348"/>
                  <a:gd name="T59" fmla="*/ 28 h 194"/>
                  <a:gd name="T60" fmla="*/ 242 w 348"/>
                  <a:gd name="T61" fmla="*/ 16 h 194"/>
                  <a:gd name="T62" fmla="*/ 214 w 348"/>
                  <a:gd name="T63" fmla="*/ 18 h 194"/>
                  <a:gd name="T64" fmla="*/ 200 w 348"/>
                  <a:gd name="T65" fmla="*/ 12 h 194"/>
                  <a:gd name="T66" fmla="*/ 174 w 348"/>
                  <a:gd name="T67" fmla="*/ 14 h 194"/>
                  <a:gd name="T68" fmla="*/ 154 w 348"/>
                  <a:gd name="T69" fmla="*/ 22 h 194"/>
                  <a:gd name="T70" fmla="*/ 112 w 348"/>
                  <a:gd name="T71" fmla="*/ 0 h 194"/>
                  <a:gd name="T72" fmla="*/ 110 w 348"/>
                  <a:gd name="T73" fmla="*/ 18 h 194"/>
                  <a:gd name="T74" fmla="*/ 70 w 348"/>
                  <a:gd name="T75" fmla="*/ 2 h 194"/>
                  <a:gd name="T76" fmla="*/ 54 w 348"/>
                  <a:gd name="T77" fmla="*/ 6 h 194"/>
                  <a:gd name="T78" fmla="*/ 64 w 348"/>
                  <a:gd name="T79" fmla="*/ 16 h 194"/>
                  <a:gd name="T80" fmla="*/ 60 w 348"/>
                  <a:gd name="T81" fmla="*/ 26 h 194"/>
                  <a:gd name="T82" fmla="*/ 78 w 348"/>
                  <a:gd name="T83" fmla="*/ 36 h 194"/>
                  <a:gd name="T84" fmla="*/ 64 w 348"/>
                  <a:gd name="T85" fmla="*/ 38 h 194"/>
                  <a:gd name="T86" fmla="*/ 82 w 348"/>
                  <a:gd name="T87" fmla="*/ 48 h 194"/>
                  <a:gd name="T88" fmla="*/ 94 w 348"/>
                  <a:gd name="T89" fmla="*/ 50 h 194"/>
                  <a:gd name="T90" fmla="*/ 106 w 348"/>
                  <a:gd name="T91" fmla="*/ 52 h 194"/>
                  <a:gd name="T92" fmla="*/ 126 w 348"/>
                  <a:gd name="T93" fmla="*/ 70 h 194"/>
                  <a:gd name="T94" fmla="*/ 166 w 348"/>
                  <a:gd name="T95" fmla="*/ 50 h 194"/>
                  <a:gd name="T96" fmla="*/ 170 w 348"/>
                  <a:gd name="T97" fmla="*/ 62 h 194"/>
                  <a:gd name="T98" fmla="*/ 162 w 348"/>
                  <a:gd name="T99" fmla="*/ 70 h 194"/>
                  <a:gd name="T100" fmla="*/ 144 w 348"/>
                  <a:gd name="T101" fmla="*/ 78 h 194"/>
                  <a:gd name="T102" fmla="*/ 130 w 348"/>
                  <a:gd name="T103" fmla="*/ 92 h 194"/>
                  <a:gd name="T104" fmla="*/ 100 w 348"/>
                  <a:gd name="T105" fmla="*/ 68 h 194"/>
                  <a:gd name="T106" fmla="*/ 86 w 348"/>
                  <a:gd name="T107" fmla="*/ 76 h 194"/>
                  <a:gd name="T108" fmla="*/ 96 w 348"/>
                  <a:gd name="T109" fmla="*/ 90 h 194"/>
                  <a:gd name="T110" fmla="*/ 100 w 348"/>
                  <a:gd name="T111" fmla="*/ 106 h 194"/>
                  <a:gd name="T112" fmla="*/ 86 w 348"/>
                  <a:gd name="T113" fmla="*/ 104 h 194"/>
                  <a:gd name="T114" fmla="*/ 48 w 348"/>
                  <a:gd name="T115" fmla="*/ 112 h 194"/>
                  <a:gd name="T116" fmla="*/ 72 w 348"/>
                  <a:gd name="T117" fmla="*/ 118 h 194"/>
                  <a:gd name="T118" fmla="*/ 76 w 348"/>
                  <a:gd name="T119" fmla="*/ 138 h 194"/>
                  <a:gd name="T120" fmla="*/ 94 w 348"/>
                  <a:gd name="T121" fmla="*/ 140 h 194"/>
                  <a:gd name="T122" fmla="*/ 72 w 348"/>
                  <a:gd name="T123" fmla="*/ 146 h 194"/>
                  <a:gd name="T124" fmla="*/ 54 w 348"/>
                  <a:gd name="T125" fmla="*/ 124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48" h="194">
                    <a:moveTo>
                      <a:pt x="36" y="122"/>
                    </a:moveTo>
                    <a:lnTo>
                      <a:pt x="36" y="122"/>
                    </a:lnTo>
                    <a:lnTo>
                      <a:pt x="34" y="122"/>
                    </a:lnTo>
                    <a:lnTo>
                      <a:pt x="32" y="124"/>
                    </a:lnTo>
                    <a:lnTo>
                      <a:pt x="30" y="124"/>
                    </a:lnTo>
                    <a:lnTo>
                      <a:pt x="30" y="124"/>
                    </a:lnTo>
                    <a:lnTo>
                      <a:pt x="28" y="126"/>
                    </a:lnTo>
                    <a:lnTo>
                      <a:pt x="28" y="126"/>
                    </a:lnTo>
                    <a:lnTo>
                      <a:pt x="28" y="126"/>
                    </a:lnTo>
                    <a:lnTo>
                      <a:pt x="28" y="128"/>
                    </a:lnTo>
                    <a:lnTo>
                      <a:pt x="30" y="132"/>
                    </a:lnTo>
                    <a:lnTo>
                      <a:pt x="32" y="134"/>
                    </a:lnTo>
                    <a:lnTo>
                      <a:pt x="32" y="134"/>
                    </a:lnTo>
                    <a:lnTo>
                      <a:pt x="34" y="136"/>
                    </a:lnTo>
                    <a:lnTo>
                      <a:pt x="34" y="136"/>
                    </a:lnTo>
                    <a:lnTo>
                      <a:pt x="36" y="136"/>
                    </a:lnTo>
                    <a:lnTo>
                      <a:pt x="38" y="136"/>
                    </a:lnTo>
                    <a:lnTo>
                      <a:pt x="40" y="136"/>
                    </a:lnTo>
                    <a:lnTo>
                      <a:pt x="40" y="136"/>
                    </a:lnTo>
                    <a:lnTo>
                      <a:pt x="40" y="136"/>
                    </a:lnTo>
                    <a:lnTo>
                      <a:pt x="40" y="138"/>
                    </a:lnTo>
                    <a:lnTo>
                      <a:pt x="40" y="138"/>
                    </a:lnTo>
                    <a:lnTo>
                      <a:pt x="40" y="140"/>
                    </a:lnTo>
                    <a:lnTo>
                      <a:pt x="38" y="140"/>
                    </a:lnTo>
                    <a:lnTo>
                      <a:pt x="36" y="142"/>
                    </a:lnTo>
                    <a:lnTo>
                      <a:pt x="36" y="142"/>
                    </a:lnTo>
                    <a:lnTo>
                      <a:pt x="36" y="142"/>
                    </a:lnTo>
                    <a:lnTo>
                      <a:pt x="34" y="142"/>
                    </a:lnTo>
                    <a:lnTo>
                      <a:pt x="32" y="140"/>
                    </a:lnTo>
                    <a:lnTo>
                      <a:pt x="32" y="140"/>
                    </a:lnTo>
                    <a:lnTo>
                      <a:pt x="28" y="138"/>
                    </a:lnTo>
                    <a:lnTo>
                      <a:pt x="26" y="138"/>
                    </a:lnTo>
                    <a:lnTo>
                      <a:pt x="22" y="138"/>
                    </a:lnTo>
                    <a:lnTo>
                      <a:pt x="22" y="138"/>
                    </a:lnTo>
                    <a:lnTo>
                      <a:pt x="22" y="138"/>
                    </a:lnTo>
                    <a:lnTo>
                      <a:pt x="20" y="138"/>
                    </a:lnTo>
                    <a:lnTo>
                      <a:pt x="18" y="140"/>
                    </a:lnTo>
                    <a:lnTo>
                      <a:pt x="18" y="140"/>
                    </a:lnTo>
                    <a:lnTo>
                      <a:pt x="18" y="140"/>
                    </a:lnTo>
                    <a:lnTo>
                      <a:pt x="16" y="140"/>
                    </a:lnTo>
                    <a:lnTo>
                      <a:pt x="16" y="140"/>
                    </a:lnTo>
                    <a:lnTo>
                      <a:pt x="16" y="140"/>
                    </a:lnTo>
                    <a:lnTo>
                      <a:pt x="12" y="140"/>
                    </a:lnTo>
                    <a:lnTo>
                      <a:pt x="10" y="140"/>
                    </a:lnTo>
                    <a:lnTo>
                      <a:pt x="8" y="140"/>
                    </a:lnTo>
                    <a:lnTo>
                      <a:pt x="6" y="140"/>
                    </a:lnTo>
                    <a:lnTo>
                      <a:pt x="6" y="140"/>
                    </a:lnTo>
                    <a:lnTo>
                      <a:pt x="6" y="142"/>
                    </a:lnTo>
                    <a:lnTo>
                      <a:pt x="4" y="144"/>
                    </a:lnTo>
                    <a:lnTo>
                      <a:pt x="2" y="146"/>
                    </a:lnTo>
                    <a:lnTo>
                      <a:pt x="2" y="150"/>
                    </a:lnTo>
                    <a:lnTo>
                      <a:pt x="0" y="152"/>
                    </a:lnTo>
                    <a:lnTo>
                      <a:pt x="0" y="154"/>
                    </a:lnTo>
                    <a:lnTo>
                      <a:pt x="0" y="156"/>
                    </a:lnTo>
                    <a:lnTo>
                      <a:pt x="2" y="156"/>
                    </a:lnTo>
                    <a:lnTo>
                      <a:pt x="2" y="156"/>
                    </a:lnTo>
                    <a:lnTo>
                      <a:pt x="2" y="156"/>
                    </a:lnTo>
                    <a:lnTo>
                      <a:pt x="2" y="156"/>
                    </a:lnTo>
                    <a:lnTo>
                      <a:pt x="4" y="156"/>
                    </a:lnTo>
                    <a:lnTo>
                      <a:pt x="4" y="156"/>
                    </a:lnTo>
                    <a:lnTo>
                      <a:pt x="6" y="156"/>
                    </a:lnTo>
                    <a:lnTo>
                      <a:pt x="8" y="156"/>
                    </a:lnTo>
                    <a:lnTo>
                      <a:pt x="8" y="156"/>
                    </a:lnTo>
                    <a:lnTo>
                      <a:pt x="8" y="156"/>
                    </a:lnTo>
                    <a:lnTo>
                      <a:pt x="8" y="156"/>
                    </a:lnTo>
                    <a:lnTo>
                      <a:pt x="8" y="158"/>
                    </a:lnTo>
                    <a:lnTo>
                      <a:pt x="10" y="158"/>
                    </a:lnTo>
                    <a:lnTo>
                      <a:pt x="10" y="158"/>
                    </a:lnTo>
                    <a:lnTo>
                      <a:pt x="10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14" y="158"/>
                    </a:lnTo>
                    <a:lnTo>
                      <a:pt x="14" y="158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2"/>
                    </a:lnTo>
                    <a:lnTo>
                      <a:pt x="16" y="162"/>
                    </a:lnTo>
                    <a:lnTo>
                      <a:pt x="16" y="162"/>
                    </a:lnTo>
                    <a:lnTo>
                      <a:pt x="16" y="164"/>
                    </a:lnTo>
                    <a:lnTo>
                      <a:pt x="18" y="164"/>
                    </a:lnTo>
                    <a:lnTo>
                      <a:pt x="20" y="164"/>
                    </a:lnTo>
                    <a:lnTo>
                      <a:pt x="20" y="164"/>
                    </a:lnTo>
                    <a:lnTo>
                      <a:pt x="20" y="164"/>
                    </a:lnTo>
                    <a:lnTo>
                      <a:pt x="22" y="162"/>
                    </a:lnTo>
                    <a:lnTo>
                      <a:pt x="22" y="162"/>
                    </a:lnTo>
                    <a:lnTo>
                      <a:pt x="24" y="162"/>
                    </a:lnTo>
                    <a:lnTo>
                      <a:pt x="24" y="162"/>
                    </a:lnTo>
                    <a:lnTo>
                      <a:pt x="24" y="162"/>
                    </a:lnTo>
                    <a:lnTo>
                      <a:pt x="24" y="164"/>
                    </a:lnTo>
                    <a:lnTo>
                      <a:pt x="24" y="166"/>
                    </a:lnTo>
                    <a:lnTo>
                      <a:pt x="24" y="166"/>
                    </a:lnTo>
                    <a:lnTo>
                      <a:pt x="24" y="166"/>
                    </a:lnTo>
                    <a:lnTo>
                      <a:pt x="26" y="166"/>
                    </a:lnTo>
                    <a:lnTo>
                      <a:pt x="28" y="166"/>
                    </a:lnTo>
                    <a:lnTo>
                      <a:pt x="28" y="166"/>
                    </a:lnTo>
                    <a:lnTo>
                      <a:pt x="30" y="166"/>
                    </a:lnTo>
                    <a:lnTo>
                      <a:pt x="30" y="166"/>
                    </a:lnTo>
                    <a:lnTo>
                      <a:pt x="30" y="164"/>
                    </a:lnTo>
                    <a:lnTo>
                      <a:pt x="32" y="164"/>
                    </a:lnTo>
                    <a:lnTo>
                      <a:pt x="32" y="164"/>
                    </a:lnTo>
                    <a:lnTo>
                      <a:pt x="34" y="164"/>
                    </a:lnTo>
                    <a:lnTo>
                      <a:pt x="34" y="164"/>
                    </a:lnTo>
                    <a:lnTo>
                      <a:pt x="36" y="166"/>
                    </a:lnTo>
                    <a:lnTo>
                      <a:pt x="36" y="166"/>
                    </a:lnTo>
                    <a:lnTo>
                      <a:pt x="38" y="168"/>
                    </a:lnTo>
                    <a:lnTo>
                      <a:pt x="38" y="168"/>
                    </a:lnTo>
                    <a:lnTo>
                      <a:pt x="40" y="168"/>
                    </a:lnTo>
                    <a:lnTo>
                      <a:pt x="40" y="168"/>
                    </a:lnTo>
                    <a:lnTo>
                      <a:pt x="40" y="168"/>
                    </a:lnTo>
                    <a:lnTo>
                      <a:pt x="40" y="168"/>
                    </a:lnTo>
                    <a:lnTo>
                      <a:pt x="42" y="168"/>
                    </a:lnTo>
                    <a:lnTo>
                      <a:pt x="44" y="168"/>
                    </a:lnTo>
                    <a:lnTo>
                      <a:pt x="46" y="170"/>
                    </a:lnTo>
                    <a:lnTo>
                      <a:pt x="46" y="170"/>
                    </a:lnTo>
                    <a:lnTo>
                      <a:pt x="50" y="174"/>
                    </a:lnTo>
                    <a:lnTo>
                      <a:pt x="52" y="176"/>
                    </a:lnTo>
                    <a:lnTo>
                      <a:pt x="56" y="176"/>
                    </a:lnTo>
                    <a:lnTo>
                      <a:pt x="56" y="176"/>
                    </a:lnTo>
                    <a:lnTo>
                      <a:pt x="58" y="176"/>
                    </a:lnTo>
                    <a:lnTo>
                      <a:pt x="58" y="176"/>
                    </a:lnTo>
                    <a:lnTo>
                      <a:pt x="58" y="176"/>
                    </a:lnTo>
                    <a:lnTo>
                      <a:pt x="60" y="176"/>
                    </a:lnTo>
                    <a:lnTo>
                      <a:pt x="58" y="174"/>
                    </a:lnTo>
                    <a:lnTo>
                      <a:pt x="58" y="174"/>
                    </a:lnTo>
                    <a:lnTo>
                      <a:pt x="58" y="172"/>
                    </a:lnTo>
                    <a:lnTo>
                      <a:pt x="60" y="172"/>
                    </a:lnTo>
                    <a:lnTo>
                      <a:pt x="60" y="172"/>
                    </a:lnTo>
                    <a:lnTo>
                      <a:pt x="60" y="172"/>
                    </a:lnTo>
                    <a:lnTo>
                      <a:pt x="62" y="174"/>
                    </a:lnTo>
                    <a:lnTo>
                      <a:pt x="62" y="174"/>
                    </a:lnTo>
                    <a:lnTo>
                      <a:pt x="62" y="174"/>
                    </a:lnTo>
                    <a:lnTo>
                      <a:pt x="64" y="172"/>
                    </a:lnTo>
                    <a:lnTo>
                      <a:pt x="64" y="172"/>
                    </a:lnTo>
                    <a:lnTo>
                      <a:pt x="64" y="174"/>
                    </a:lnTo>
                    <a:lnTo>
                      <a:pt x="66" y="174"/>
                    </a:lnTo>
                    <a:lnTo>
                      <a:pt x="66" y="174"/>
                    </a:lnTo>
                    <a:lnTo>
                      <a:pt x="66" y="174"/>
                    </a:lnTo>
                    <a:lnTo>
                      <a:pt x="68" y="176"/>
                    </a:lnTo>
                    <a:lnTo>
                      <a:pt x="68" y="176"/>
                    </a:lnTo>
                    <a:lnTo>
                      <a:pt x="68" y="176"/>
                    </a:lnTo>
                    <a:lnTo>
                      <a:pt x="70" y="176"/>
                    </a:lnTo>
                    <a:lnTo>
                      <a:pt x="70" y="176"/>
                    </a:lnTo>
                    <a:lnTo>
                      <a:pt x="70" y="178"/>
                    </a:lnTo>
                    <a:lnTo>
                      <a:pt x="70" y="178"/>
                    </a:lnTo>
                    <a:lnTo>
                      <a:pt x="72" y="178"/>
                    </a:lnTo>
                    <a:lnTo>
                      <a:pt x="74" y="178"/>
                    </a:lnTo>
                    <a:lnTo>
                      <a:pt x="74" y="178"/>
                    </a:lnTo>
                    <a:lnTo>
                      <a:pt x="74" y="178"/>
                    </a:lnTo>
                    <a:lnTo>
                      <a:pt x="74" y="178"/>
                    </a:lnTo>
                    <a:lnTo>
                      <a:pt x="74" y="178"/>
                    </a:lnTo>
                    <a:lnTo>
                      <a:pt x="74" y="176"/>
                    </a:lnTo>
                    <a:lnTo>
                      <a:pt x="74" y="176"/>
                    </a:lnTo>
                    <a:lnTo>
                      <a:pt x="76" y="176"/>
                    </a:lnTo>
                    <a:lnTo>
                      <a:pt x="76" y="176"/>
                    </a:lnTo>
                    <a:lnTo>
                      <a:pt x="76" y="176"/>
                    </a:lnTo>
                    <a:lnTo>
                      <a:pt x="76" y="178"/>
                    </a:lnTo>
                    <a:lnTo>
                      <a:pt x="78" y="178"/>
                    </a:lnTo>
                    <a:lnTo>
                      <a:pt x="78" y="178"/>
                    </a:lnTo>
                    <a:lnTo>
                      <a:pt x="78" y="178"/>
                    </a:lnTo>
                    <a:lnTo>
                      <a:pt x="80" y="178"/>
                    </a:lnTo>
                    <a:lnTo>
                      <a:pt x="82" y="178"/>
                    </a:lnTo>
                    <a:lnTo>
                      <a:pt x="82" y="178"/>
                    </a:lnTo>
                    <a:lnTo>
                      <a:pt x="82" y="178"/>
                    </a:lnTo>
                    <a:lnTo>
                      <a:pt x="82" y="178"/>
                    </a:lnTo>
                    <a:lnTo>
                      <a:pt x="82" y="176"/>
                    </a:lnTo>
                    <a:lnTo>
                      <a:pt x="82" y="176"/>
                    </a:lnTo>
                    <a:lnTo>
                      <a:pt x="82" y="174"/>
                    </a:lnTo>
                    <a:lnTo>
                      <a:pt x="82" y="174"/>
                    </a:lnTo>
                    <a:lnTo>
                      <a:pt x="82" y="174"/>
                    </a:lnTo>
                    <a:lnTo>
                      <a:pt x="82" y="174"/>
                    </a:lnTo>
                    <a:lnTo>
                      <a:pt x="84" y="174"/>
                    </a:lnTo>
                    <a:lnTo>
                      <a:pt x="86" y="174"/>
                    </a:lnTo>
                    <a:lnTo>
                      <a:pt x="86" y="174"/>
                    </a:lnTo>
                    <a:lnTo>
                      <a:pt x="86" y="174"/>
                    </a:lnTo>
                    <a:lnTo>
                      <a:pt x="86" y="174"/>
                    </a:lnTo>
                    <a:lnTo>
                      <a:pt x="86" y="176"/>
                    </a:lnTo>
                    <a:lnTo>
                      <a:pt x="86" y="178"/>
                    </a:lnTo>
                    <a:lnTo>
                      <a:pt x="86" y="178"/>
                    </a:lnTo>
                    <a:lnTo>
                      <a:pt x="86" y="180"/>
                    </a:lnTo>
                    <a:lnTo>
                      <a:pt x="86" y="180"/>
                    </a:lnTo>
                    <a:lnTo>
                      <a:pt x="88" y="182"/>
                    </a:lnTo>
                    <a:lnTo>
                      <a:pt x="88" y="182"/>
                    </a:lnTo>
                    <a:lnTo>
                      <a:pt x="92" y="182"/>
                    </a:lnTo>
                    <a:lnTo>
                      <a:pt x="94" y="182"/>
                    </a:lnTo>
                    <a:lnTo>
                      <a:pt x="94" y="182"/>
                    </a:lnTo>
                    <a:lnTo>
                      <a:pt x="96" y="182"/>
                    </a:lnTo>
                    <a:lnTo>
                      <a:pt x="96" y="182"/>
                    </a:lnTo>
                    <a:lnTo>
                      <a:pt x="96" y="184"/>
                    </a:lnTo>
                    <a:lnTo>
                      <a:pt x="98" y="184"/>
                    </a:lnTo>
                    <a:lnTo>
                      <a:pt x="98" y="186"/>
                    </a:lnTo>
                    <a:lnTo>
                      <a:pt x="98" y="186"/>
                    </a:lnTo>
                    <a:lnTo>
                      <a:pt x="100" y="188"/>
                    </a:lnTo>
                    <a:lnTo>
                      <a:pt x="100" y="188"/>
                    </a:lnTo>
                    <a:lnTo>
                      <a:pt x="102" y="188"/>
                    </a:lnTo>
                    <a:lnTo>
                      <a:pt x="102" y="188"/>
                    </a:lnTo>
                    <a:lnTo>
                      <a:pt x="106" y="190"/>
                    </a:lnTo>
                    <a:lnTo>
                      <a:pt x="106" y="190"/>
                    </a:lnTo>
                    <a:lnTo>
                      <a:pt x="106" y="192"/>
                    </a:lnTo>
                    <a:lnTo>
                      <a:pt x="106" y="192"/>
                    </a:lnTo>
                    <a:lnTo>
                      <a:pt x="106" y="192"/>
                    </a:lnTo>
                    <a:lnTo>
                      <a:pt x="106" y="192"/>
                    </a:lnTo>
                    <a:lnTo>
                      <a:pt x="106" y="192"/>
                    </a:lnTo>
                    <a:lnTo>
                      <a:pt x="108" y="194"/>
                    </a:lnTo>
                    <a:lnTo>
                      <a:pt x="108" y="194"/>
                    </a:lnTo>
                    <a:lnTo>
                      <a:pt x="108" y="194"/>
                    </a:lnTo>
                    <a:lnTo>
                      <a:pt x="110" y="194"/>
                    </a:lnTo>
                    <a:lnTo>
                      <a:pt x="110" y="194"/>
                    </a:lnTo>
                    <a:lnTo>
                      <a:pt x="110" y="192"/>
                    </a:lnTo>
                    <a:lnTo>
                      <a:pt x="112" y="192"/>
                    </a:lnTo>
                    <a:lnTo>
                      <a:pt x="112" y="192"/>
                    </a:lnTo>
                    <a:lnTo>
                      <a:pt x="116" y="192"/>
                    </a:lnTo>
                    <a:lnTo>
                      <a:pt x="116" y="192"/>
                    </a:lnTo>
                    <a:lnTo>
                      <a:pt x="122" y="192"/>
                    </a:lnTo>
                    <a:lnTo>
                      <a:pt x="124" y="192"/>
                    </a:lnTo>
                    <a:lnTo>
                      <a:pt x="124" y="192"/>
                    </a:lnTo>
                    <a:lnTo>
                      <a:pt x="126" y="192"/>
                    </a:lnTo>
                    <a:lnTo>
                      <a:pt x="126" y="192"/>
                    </a:lnTo>
                    <a:lnTo>
                      <a:pt x="128" y="188"/>
                    </a:lnTo>
                    <a:lnTo>
                      <a:pt x="130" y="188"/>
                    </a:lnTo>
                    <a:lnTo>
                      <a:pt x="130" y="186"/>
                    </a:lnTo>
                    <a:lnTo>
                      <a:pt x="130" y="186"/>
                    </a:lnTo>
                    <a:lnTo>
                      <a:pt x="132" y="184"/>
                    </a:lnTo>
                    <a:lnTo>
                      <a:pt x="132" y="184"/>
                    </a:lnTo>
                    <a:lnTo>
                      <a:pt x="132" y="180"/>
                    </a:lnTo>
                    <a:lnTo>
                      <a:pt x="132" y="180"/>
                    </a:lnTo>
                    <a:lnTo>
                      <a:pt x="130" y="180"/>
                    </a:lnTo>
                    <a:lnTo>
                      <a:pt x="130" y="180"/>
                    </a:lnTo>
                    <a:lnTo>
                      <a:pt x="130" y="180"/>
                    </a:lnTo>
                    <a:lnTo>
                      <a:pt x="128" y="180"/>
                    </a:lnTo>
                    <a:lnTo>
                      <a:pt x="128" y="178"/>
                    </a:lnTo>
                    <a:lnTo>
                      <a:pt x="128" y="178"/>
                    </a:lnTo>
                    <a:lnTo>
                      <a:pt x="128" y="178"/>
                    </a:lnTo>
                    <a:lnTo>
                      <a:pt x="128" y="176"/>
                    </a:lnTo>
                    <a:lnTo>
                      <a:pt x="126" y="176"/>
                    </a:lnTo>
                    <a:lnTo>
                      <a:pt x="124" y="174"/>
                    </a:lnTo>
                    <a:lnTo>
                      <a:pt x="124" y="174"/>
                    </a:lnTo>
                    <a:lnTo>
                      <a:pt x="122" y="174"/>
                    </a:lnTo>
                    <a:lnTo>
                      <a:pt x="122" y="172"/>
                    </a:lnTo>
                    <a:lnTo>
                      <a:pt x="122" y="172"/>
                    </a:lnTo>
                    <a:lnTo>
                      <a:pt x="120" y="170"/>
                    </a:lnTo>
                    <a:lnTo>
                      <a:pt x="120" y="170"/>
                    </a:lnTo>
                    <a:lnTo>
                      <a:pt x="120" y="168"/>
                    </a:lnTo>
                    <a:lnTo>
                      <a:pt x="118" y="166"/>
                    </a:lnTo>
                    <a:lnTo>
                      <a:pt x="118" y="166"/>
                    </a:lnTo>
                    <a:lnTo>
                      <a:pt x="118" y="164"/>
                    </a:lnTo>
                    <a:lnTo>
                      <a:pt x="114" y="162"/>
                    </a:lnTo>
                    <a:lnTo>
                      <a:pt x="110" y="160"/>
                    </a:lnTo>
                    <a:lnTo>
                      <a:pt x="110" y="160"/>
                    </a:lnTo>
                    <a:lnTo>
                      <a:pt x="110" y="160"/>
                    </a:lnTo>
                    <a:lnTo>
                      <a:pt x="106" y="158"/>
                    </a:lnTo>
                    <a:lnTo>
                      <a:pt x="106" y="158"/>
                    </a:lnTo>
                    <a:lnTo>
                      <a:pt x="104" y="158"/>
                    </a:lnTo>
                    <a:lnTo>
                      <a:pt x="104" y="158"/>
                    </a:lnTo>
                    <a:lnTo>
                      <a:pt x="102" y="158"/>
                    </a:lnTo>
                    <a:lnTo>
                      <a:pt x="102" y="156"/>
                    </a:lnTo>
                    <a:lnTo>
                      <a:pt x="102" y="156"/>
                    </a:lnTo>
                    <a:lnTo>
                      <a:pt x="102" y="156"/>
                    </a:lnTo>
                    <a:lnTo>
                      <a:pt x="104" y="156"/>
                    </a:lnTo>
                    <a:lnTo>
                      <a:pt x="104" y="154"/>
                    </a:lnTo>
                    <a:lnTo>
                      <a:pt x="106" y="154"/>
                    </a:lnTo>
                    <a:lnTo>
                      <a:pt x="106" y="154"/>
                    </a:lnTo>
                    <a:lnTo>
                      <a:pt x="106" y="152"/>
                    </a:lnTo>
                    <a:lnTo>
                      <a:pt x="106" y="152"/>
                    </a:lnTo>
                    <a:lnTo>
                      <a:pt x="104" y="150"/>
                    </a:lnTo>
                    <a:lnTo>
                      <a:pt x="104" y="148"/>
                    </a:lnTo>
                    <a:lnTo>
                      <a:pt x="104" y="148"/>
                    </a:lnTo>
                    <a:lnTo>
                      <a:pt x="106" y="148"/>
                    </a:lnTo>
                    <a:lnTo>
                      <a:pt x="106" y="148"/>
                    </a:lnTo>
                    <a:lnTo>
                      <a:pt x="108" y="150"/>
                    </a:lnTo>
                    <a:lnTo>
                      <a:pt x="108" y="152"/>
                    </a:lnTo>
                    <a:lnTo>
                      <a:pt x="110" y="154"/>
                    </a:lnTo>
                    <a:lnTo>
                      <a:pt x="110" y="156"/>
                    </a:lnTo>
                    <a:lnTo>
                      <a:pt x="110" y="156"/>
                    </a:lnTo>
                    <a:lnTo>
                      <a:pt x="112" y="158"/>
                    </a:lnTo>
                    <a:lnTo>
                      <a:pt x="114" y="160"/>
                    </a:lnTo>
                    <a:lnTo>
                      <a:pt x="118" y="162"/>
                    </a:lnTo>
                    <a:lnTo>
                      <a:pt x="118" y="162"/>
                    </a:lnTo>
                    <a:lnTo>
                      <a:pt x="120" y="162"/>
                    </a:lnTo>
                    <a:lnTo>
                      <a:pt x="122" y="164"/>
                    </a:lnTo>
                    <a:lnTo>
                      <a:pt x="128" y="164"/>
                    </a:lnTo>
                    <a:lnTo>
                      <a:pt x="128" y="164"/>
                    </a:lnTo>
                    <a:lnTo>
                      <a:pt x="130" y="164"/>
                    </a:lnTo>
                    <a:lnTo>
                      <a:pt x="132" y="164"/>
                    </a:lnTo>
                    <a:lnTo>
                      <a:pt x="134" y="162"/>
                    </a:lnTo>
                    <a:lnTo>
                      <a:pt x="134" y="162"/>
                    </a:lnTo>
                    <a:lnTo>
                      <a:pt x="134" y="162"/>
                    </a:lnTo>
                    <a:lnTo>
                      <a:pt x="134" y="160"/>
                    </a:lnTo>
                    <a:lnTo>
                      <a:pt x="134" y="160"/>
                    </a:lnTo>
                    <a:lnTo>
                      <a:pt x="136" y="158"/>
                    </a:lnTo>
                    <a:lnTo>
                      <a:pt x="136" y="158"/>
                    </a:lnTo>
                    <a:lnTo>
                      <a:pt x="136" y="156"/>
                    </a:lnTo>
                    <a:lnTo>
                      <a:pt x="136" y="156"/>
                    </a:lnTo>
                    <a:lnTo>
                      <a:pt x="136" y="156"/>
                    </a:lnTo>
                    <a:lnTo>
                      <a:pt x="138" y="156"/>
                    </a:lnTo>
                    <a:lnTo>
                      <a:pt x="140" y="156"/>
                    </a:lnTo>
                    <a:lnTo>
                      <a:pt x="140" y="156"/>
                    </a:lnTo>
                    <a:lnTo>
                      <a:pt x="142" y="154"/>
                    </a:lnTo>
                    <a:lnTo>
                      <a:pt x="146" y="152"/>
                    </a:lnTo>
                    <a:lnTo>
                      <a:pt x="146" y="152"/>
                    </a:lnTo>
                    <a:lnTo>
                      <a:pt x="146" y="152"/>
                    </a:lnTo>
                    <a:lnTo>
                      <a:pt x="146" y="150"/>
                    </a:lnTo>
                    <a:lnTo>
                      <a:pt x="148" y="150"/>
                    </a:lnTo>
                    <a:lnTo>
                      <a:pt x="148" y="148"/>
                    </a:lnTo>
                    <a:lnTo>
                      <a:pt x="148" y="148"/>
                    </a:lnTo>
                    <a:lnTo>
                      <a:pt x="148" y="148"/>
                    </a:lnTo>
                    <a:lnTo>
                      <a:pt x="150" y="148"/>
                    </a:lnTo>
                    <a:lnTo>
                      <a:pt x="154" y="150"/>
                    </a:lnTo>
                    <a:lnTo>
                      <a:pt x="156" y="150"/>
                    </a:lnTo>
                    <a:lnTo>
                      <a:pt x="160" y="152"/>
                    </a:lnTo>
                    <a:lnTo>
                      <a:pt x="160" y="152"/>
                    </a:lnTo>
                    <a:lnTo>
                      <a:pt x="162" y="152"/>
                    </a:lnTo>
                    <a:lnTo>
                      <a:pt x="164" y="154"/>
                    </a:lnTo>
                    <a:lnTo>
                      <a:pt x="166" y="154"/>
                    </a:lnTo>
                    <a:lnTo>
                      <a:pt x="168" y="154"/>
                    </a:lnTo>
                    <a:lnTo>
                      <a:pt x="170" y="152"/>
                    </a:lnTo>
                    <a:lnTo>
                      <a:pt x="170" y="152"/>
                    </a:lnTo>
                    <a:lnTo>
                      <a:pt x="170" y="152"/>
                    </a:lnTo>
                    <a:lnTo>
                      <a:pt x="168" y="150"/>
                    </a:lnTo>
                    <a:lnTo>
                      <a:pt x="168" y="148"/>
                    </a:lnTo>
                    <a:lnTo>
                      <a:pt x="168" y="148"/>
                    </a:lnTo>
                    <a:lnTo>
                      <a:pt x="168" y="146"/>
                    </a:lnTo>
                    <a:lnTo>
                      <a:pt x="168" y="146"/>
                    </a:lnTo>
                    <a:lnTo>
                      <a:pt x="168" y="144"/>
                    </a:lnTo>
                    <a:lnTo>
                      <a:pt x="170" y="144"/>
                    </a:lnTo>
                    <a:lnTo>
                      <a:pt x="170" y="144"/>
                    </a:lnTo>
                    <a:lnTo>
                      <a:pt x="172" y="144"/>
                    </a:lnTo>
                    <a:lnTo>
                      <a:pt x="174" y="144"/>
                    </a:lnTo>
                    <a:lnTo>
                      <a:pt x="176" y="144"/>
                    </a:lnTo>
                    <a:lnTo>
                      <a:pt x="176" y="144"/>
                    </a:lnTo>
                    <a:lnTo>
                      <a:pt x="180" y="142"/>
                    </a:lnTo>
                    <a:lnTo>
                      <a:pt x="184" y="142"/>
                    </a:lnTo>
                    <a:lnTo>
                      <a:pt x="184" y="142"/>
                    </a:lnTo>
                    <a:lnTo>
                      <a:pt x="186" y="142"/>
                    </a:lnTo>
                    <a:lnTo>
                      <a:pt x="186" y="140"/>
                    </a:lnTo>
                    <a:lnTo>
                      <a:pt x="186" y="140"/>
                    </a:lnTo>
                    <a:lnTo>
                      <a:pt x="186" y="140"/>
                    </a:lnTo>
                    <a:lnTo>
                      <a:pt x="186" y="140"/>
                    </a:lnTo>
                    <a:lnTo>
                      <a:pt x="186" y="138"/>
                    </a:lnTo>
                    <a:lnTo>
                      <a:pt x="184" y="138"/>
                    </a:lnTo>
                    <a:lnTo>
                      <a:pt x="182" y="138"/>
                    </a:lnTo>
                    <a:lnTo>
                      <a:pt x="182" y="138"/>
                    </a:lnTo>
                    <a:lnTo>
                      <a:pt x="182" y="138"/>
                    </a:lnTo>
                    <a:lnTo>
                      <a:pt x="180" y="136"/>
                    </a:lnTo>
                    <a:lnTo>
                      <a:pt x="180" y="136"/>
                    </a:lnTo>
                    <a:lnTo>
                      <a:pt x="180" y="136"/>
                    </a:lnTo>
                    <a:lnTo>
                      <a:pt x="180" y="136"/>
                    </a:lnTo>
                    <a:lnTo>
                      <a:pt x="180" y="136"/>
                    </a:lnTo>
                    <a:lnTo>
                      <a:pt x="180" y="136"/>
                    </a:lnTo>
                    <a:lnTo>
                      <a:pt x="182" y="136"/>
                    </a:lnTo>
                    <a:lnTo>
                      <a:pt x="182" y="136"/>
                    </a:lnTo>
                    <a:lnTo>
                      <a:pt x="184" y="136"/>
                    </a:lnTo>
                    <a:lnTo>
                      <a:pt x="184" y="136"/>
                    </a:lnTo>
                    <a:lnTo>
                      <a:pt x="186" y="136"/>
                    </a:lnTo>
                    <a:lnTo>
                      <a:pt x="186" y="134"/>
                    </a:lnTo>
                    <a:lnTo>
                      <a:pt x="186" y="134"/>
                    </a:lnTo>
                    <a:lnTo>
                      <a:pt x="186" y="134"/>
                    </a:lnTo>
                    <a:lnTo>
                      <a:pt x="186" y="134"/>
                    </a:lnTo>
                    <a:lnTo>
                      <a:pt x="186" y="132"/>
                    </a:lnTo>
                    <a:lnTo>
                      <a:pt x="184" y="130"/>
                    </a:lnTo>
                    <a:lnTo>
                      <a:pt x="184" y="128"/>
                    </a:lnTo>
                    <a:lnTo>
                      <a:pt x="184" y="128"/>
                    </a:lnTo>
                    <a:lnTo>
                      <a:pt x="182" y="128"/>
                    </a:lnTo>
                    <a:lnTo>
                      <a:pt x="180" y="128"/>
                    </a:lnTo>
                    <a:lnTo>
                      <a:pt x="176" y="128"/>
                    </a:lnTo>
                    <a:lnTo>
                      <a:pt x="174" y="128"/>
                    </a:lnTo>
                    <a:lnTo>
                      <a:pt x="174" y="128"/>
                    </a:lnTo>
                    <a:lnTo>
                      <a:pt x="170" y="128"/>
                    </a:lnTo>
                    <a:lnTo>
                      <a:pt x="168" y="126"/>
                    </a:lnTo>
                    <a:lnTo>
                      <a:pt x="166" y="126"/>
                    </a:lnTo>
                    <a:lnTo>
                      <a:pt x="166" y="126"/>
                    </a:lnTo>
                    <a:lnTo>
                      <a:pt x="166" y="124"/>
                    </a:lnTo>
                    <a:lnTo>
                      <a:pt x="166" y="124"/>
                    </a:lnTo>
                    <a:lnTo>
                      <a:pt x="166" y="124"/>
                    </a:lnTo>
                    <a:lnTo>
                      <a:pt x="166" y="122"/>
                    </a:lnTo>
                    <a:lnTo>
                      <a:pt x="168" y="122"/>
                    </a:lnTo>
                    <a:lnTo>
                      <a:pt x="170" y="122"/>
                    </a:lnTo>
                    <a:lnTo>
                      <a:pt x="170" y="122"/>
                    </a:lnTo>
                    <a:lnTo>
                      <a:pt x="170" y="122"/>
                    </a:lnTo>
                    <a:lnTo>
                      <a:pt x="170" y="120"/>
                    </a:lnTo>
                    <a:lnTo>
                      <a:pt x="168" y="118"/>
                    </a:lnTo>
                    <a:lnTo>
                      <a:pt x="166" y="118"/>
                    </a:lnTo>
                    <a:lnTo>
                      <a:pt x="166" y="116"/>
                    </a:lnTo>
                    <a:lnTo>
                      <a:pt x="166" y="116"/>
                    </a:lnTo>
                    <a:lnTo>
                      <a:pt x="166" y="114"/>
                    </a:lnTo>
                    <a:lnTo>
                      <a:pt x="166" y="114"/>
                    </a:lnTo>
                    <a:lnTo>
                      <a:pt x="166" y="114"/>
                    </a:lnTo>
                    <a:lnTo>
                      <a:pt x="168" y="112"/>
                    </a:lnTo>
                    <a:lnTo>
                      <a:pt x="168" y="112"/>
                    </a:lnTo>
                    <a:lnTo>
                      <a:pt x="170" y="114"/>
                    </a:lnTo>
                    <a:lnTo>
                      <a:pt x="172" y="114"/>
                    </a:lnTo>
                    <a:lnTo>
                      <a:pt x="174" y="114"/>
                    </a:lnTo>
                    <a:lnTo>
                      <a:pt x="174" y="114"/>
                    </a:lnTo>
                    <a:lnTo>
                      <a:pt x="176" y="114"/>
                    </a:lnTo>
                    <a:lnTo>
                      <a:pt x="178" y="114"/>
                    </a:lnTo>
                    <a:lnTo>
                      <a:pt x="180" y="114"/>
                    </a:lnTo>
                    <a:lnTo>
                      <a:pt x="180" y="114"/>
                    </a:lnTo>
                    <a:lnTo>
                      <a:pt x="182" y="114"/>
                    </a:lnTo>
                    <a:lnTo>
                      <a:pt x="182" y="114"/>
                    </a:lnTo>
                    <a:lnTo>
                      <a:pt x="184" y="116"/>
                    </a:lnTo>
                    <a:lnTo>
                      <a:pt x="184" y="116"/>
                    </a:lnTo>
                    <a:lnTo>
                      <a:pt x="186" y="118"/>
                    </a:lnTo>
                    <a:lnTo>
                      <a:pt x="186" y="118"/>
                    </a:lnTo>
                    <a:lnTo>
                      <a:pt x="188" y="118"/>
                    </a:lnTo>
                    <a:lnTo>
                      <a:pt x="188" y="118"/>
                    </a:lnTo>
                    <a:lnTo>
                      <a:pt x="188" y="118"/>
                    </a:lnTo>
                    <a:lnTo>
                      <a:pt x="188" y="116"/>
                    </a:lnTo>
                    <a:lnTo>
                      <a:pt x="188" y="114"/>
                    </a:lnTo>
                    <a:lnTo>
                      <a:pt x="190" y="114"/>
                    </a:lnTo>
                    <a:lnTo>
                      <a:pt x="190" y="114"/>
                    </a:lnTo>
                    <a:lnTo>
                      <a:pt x="192" y="114"/>
                    </a:lnTo>
                    <a:lnTo>
                      <a:pt x="192" y="116"/>
                    </a:lnTo>
                    <a:lnTo>
                      <a:pt x="194" y="116"/>
                    </a:lnTo>
                    <a:lnTo>
                      <a:pt x="196" y="116"/>
                    </a:lnTo>
                    <a:lnTo>
                      <a:pt x="196" y="116"/>
                    </a:lnTo>
                    <a:lnTo>
                      <a:pt x="198" y="116"/>
                    </a:lnTo>
                    <a:lnTo>
                      <a:pt x="200" y="116"/>
                    </a:lnTo>
                    <a:lnTo>
                      <a:pt x="202" y="114"/>
                    </a:lnTo>
                    <a:lnTo>
                      <a:pt x="204" y="116"/>
                    </a:lnTo>
                    <a:lnTo>
                      <a:pt x="206" y="116"/>
                    </a:lnTo>
                    <a:lnTo>
                      <a:pt x="206" y="116"/>
                    </a:lnTo>
                    <a:lnTo>
                      <a:pt x="208" y="116"/>
                    </a:lnTo>
                    <a:lnTo>
                      <a:pt x="210" y="118"/>
                    </a:lnTo>
                    <a:lnTo>
                      <a:pt x="214" y="118"/>
                    </a:lnTo>
                    <a:lnTo>
                      <a:pt x="216" y="118"/>
                    </a:lnTo>
                    <a:lnTo>
                      <a:pt x="216" y="116"/>
                    </a:lnTo>
                    <a:lnTo>
                      <a:pt x="216" y="116"/>
                    </a:lnTo>
                    <a:lnTo>
                      <a:pt x="218" y="116"/>
                    </a:lnTo>
                    <a:lnTo>
                      <a:pt x="218" y="116"/>
                    </a:lnTo>
                    <a:lnTo>
                      <a:pt x="218" y="114"/>
                    </a:lnTo>
                    <a:lnTo>
                      <a:pt x="218" y="114"/>
                    </a:lnTo>
                    <a:lnTo>
                      <a:pt x="218" y="114"/>
                    </a:lnTo>
                    <a:lnTo>
                      <a:pt x="224" y="112"/>
                    </a:lnTo>
                    <a:lnTo>
                      <a:pt x="224" y="112"/>
                    </a:lnTo>
                    <a:lnTo>
                      <a:pt x="226" y="112"/>
                    </a:lnTo>
                    <a:lnTo>
                      <a:pt x="230" y="112"/>
                    </a:lnTo>
                    <a:lnTo>
                      <a:pt x="230" y="112"/>
                    </a:lnTo>
                    <a:lnTo>
                      <a:pt x="232" y="112"/>
                    </a:lnTo>
                    <a:lnTo>
                      <a:pt x="232" y="112"/>
                    </a:lnTo>
                    <a:lnTo>
                      <a:pt x="234" y="112"/>
                    </a:lnTo>
                    <a:lnTo>
                      <a:pt x="234" y="112"/>
                    </a:lnTo>
                    <a:lnTo>
                      <a:pt x="234" y="112"/>
                    </a:lnTo>
                    <a:lnTo>
                      <a:pt x="234" y="110"/>
                    </a:lnTo>
                    <a:lnTo>
                      <a:pt x="234" y="108"/>
                    </a:lnTo>
                    <a:lnTo>
                      <a:pt x="236" y="106"/>
                    </a:lnTo>
                    <a:lnTo>
                      <a:pt x="236" y="104"/>
                    </a:lnTo>
                    <a:lnTo>
                      <a:pt x="236" y="104"/>
                    </a:lnTo>
                    <a:lnTo>
                      <a:pt x="236" y="104"/>
                    </a:lnTo>
                    <a:lnTo>
                      <a:pt x="238" y="102"/>
                    </a:lnTo>
                    <a:lnTo>
                      <a:pt x="238" y="102"/>
                    </a:lnTo>
                    <a:lnTo>
                      <a:pt x="240" y="102"/>
                    </a:lnTo>
                    <a:lnTo>
                      <a:pt x="242" y="102"/>
                    </a:lnTo>
                    <a:lnTo>
                      <a:pt x="244" y="102"/>
                    </a:lnTo>
                    <a:lnTo>
                      <a:pt x="244" y="102"/>
                    </a:lnTo>
                    <a:lnTo>
                      <a:pt x="246" y="102"/>
                    </a:lnTo>
                    <a:lnTo>
                      <a:pt x="246" y="102"/>
                    </a:lnTo>
                    <a:lnTo>
                      <a:pt x="246" y="100"/>
                    </a:lnTo>
                    <a:lnTo>
                      <a:pt x="246" y="100"/>
                    </a:lnTo>
                    <a:lnTo>
                      <a:pt x="248" y="96"/>
                    </a:lnTo>
                    <a:lnTo>
                      <a:pt x="248" y="96"/>
                    </a:lnTo>
                    <a:lnTo>
                      <a:pt x="250" y="94"/>
                    </a:lnTo>
                    <a:lnTo>
                      <a:pt x="250" y="94"/>
                    </a:lnTo>
                    <a:lnTo>
                      <a:pt x="252" y="94"/>
                    </a:lnTo>
                    <a:lnTo>
                      <a:pt x="252" y="94"/>
                    </a:lnTo>
                    <a:lnTo>
                      <a:pt x="254" y="96"/>
                    </a:lnTo>
                    <a:lnTo>
                      <a:pt x="254" y="96"/>
                    </a:lnTo>
                    <a:lnTo>
                      <a:pt x="256" y="98"/>
                    </a:lnTo>
                    <a:lnTo>
                      <a:pt x="256" y="100"/>
                    </a:lnTo>
                    <a:lnTo>
                      <a:pt x="256" y="100"/>
                    </a:lnTo>
                    <a:lnTo>
                      <a:pt x="258" y="100"/>
                    </a:lnTo>
                    <a:lnTo>
                      <a:pt x="258" y="100"/>
                    </a:lnTo>
                    <a:lnTo>
                      <a:pt x="258" y="100"/>
                    </a:lnTo>
                    <a:lnTo>
                      <a:pt x="260" y="98"/>
                    </a:lnTo>
                    <a:lnTo>
                      <a:pt x="262" y="98"/>
                    </a:lnTo>
                    <a:lnTo>
                      <a:pt x="262" y="98"/>
                    </a:lnTo>
                    <a:lnTo>
                      <a:pt x="262" y="98"/>
                    </a:lnTo>
                    <a:lnTo>
                      <a:pt x="262" y="94"/>
                    </a:lnTo>
                    <a:lnTo>
                      <a:pt x="264" y="92"/>
                    </a:lnTo>
                    <a:lnTo>
                      <a:pt x="266" y="92"/>
                    </a:lnTo>
                    <a:lnTo>
                      <a:pt x="266" y="92"/>
                    </a:lnTo>
                    <a:lnTo>
                      <a:pt x="270" y="90"/>
                    </a:lnTo>
                    <a:lnTo>
                      <a:pt x="274" y="88"/>
                    </a:lnTo>
                    <a:lnTo>
                      <a:pt x="274" y="88"/>
                    </a:lnTo>
                    <a:lnTo>
                      <a:pt x="278" y="88"/>
                    </a:lnTo>
                    <a:lnTo>
                      <a:pt x="280" y="88"/>
                    </a:lnTo>
                    <a:lnTo>
                      <a:pt x="282" y="88"/>
                    </a:lnTo>
                    <a:lnTo>
                      <a:pt x="286" y="88"/>
                    </a:lnTo>
                    <a:lnTo>
                      <a:pt x="286" y="88"/>
                    </a:lnTo>
                    <a:lnTo>
                      <a:pt x="288" y="86"/>
                    </a:lnTo>
                    <a:lnTo>
                      <a:pt x="292" y="86"/>
                    </a:lnTo>
                    <a:lnTo>
                      <a:pt x="294" y="84"/>
                    </a:lnTo>
                    <a:lnTo>
                      <a:pt x="296" y="84"/>
                    </a:lnTo>
                    <a:lnTo>
                      <a:pt x="296" y="82"/>
                    </a:lnTo>
                    <a:lnTo>
                      <a:pt x="296" y="82"/>
                    </a:lnTo>
                    <a:lnTo>
                      <a:pt x="296" y="80"/>
                    </a:lnTo>
                    <a:lnTo>
                      <a:pt x="296" y="80"/>
                    </a:lnTo>
                    <a:lnTo>
                      <a:pt x="296" y="78"/>
                    </a:lnTo>
                    <a:lnTo>
                      <a:pt x="294" y="78"/>
                    </a:lnTo>
                    <a:lnTo>
                      <a:pt x="292" y="78"/>
                    </a:lnTo>
                    <a:lnTo>
                      <a:pt x="288" y="78"/>
                    </a:lnTo>
                    <a:lnTo>
                      <a:pt x="288" y="78"/>
                    </a:lnTo>
                    <a:lnTo>
                      <a:pt x="278" y="78"/>
                    </a:lnTo>
                    <a:lnTo>
                      <a:pt x="278" y="78"/>
                    </a:lnTo>
                    <a:lnTo>
                      <a:pt x="274" y="78"/>
                    </a:lnTo>
                    <a:lnTo>
                      <a:pt x="272" y="78"/>
                    </a:lnTo>
                    <a:lnTo>
                      <a:pt x="270" y="78"/>
                    </a:lnTo>
                    <a:lnTo>
                      <a:pt x="270" y="78"/>
                    </a:lnTo>
                    <a:lnTo>
                      <a:pt x="268" y="80"/>
                    </a:lnTo>
                    <a:lnTo>
                      <a:pt x="266" y="82"/>
                    </a:lnTo>
                    <a:lnTo>
                      <a:pt x="266" y="82"/>
                    </a:lnTo>
                    <a:lnTo>
                      <a:pt x="264" y="84"/>
                    </a:lnTo>
                    <a:lnTo>
                      <a:pt x="262" y="84"/>
                    </a:lnTo>
                    <a:lnTo>
                      <a:pt x="260" y="84"/>
                    </a:lnTo>
                    <a:lnTo>
                      <a:pt x="260" y="84"/>
                    </a:lnTo>
                    <a:lnTo>
                      <a:pt x="260" y="84"/>
                    </a:lnTo>
                    <a:lnTo>
                      <a:pt x="258" y="84"/>
                    </a:lnTo>
                    <a:lnTo>
                      <a:pt x="256" y="84"/>
                    </a:lnTo>
                    <a:lnTo>
                      <a:pt x="256" y="82"/>
                    </a:lnTo>
                    <a:lnTo>
                      <a:pt x="256" y="82"/>
                    </a:lnTo>
                    <a:lnTo>
                      <a:pt x="256" y="82"/>
                    </a:lnTo>
                    <a:lnTo>
                      <a:pt x="256" y="82"/>
                    </a:lnTo>
                    <a:lnTo>
                      <a:pt x="256" y="80"/>
                    </a:lnTo>
                    <a:lnTo>
                      <a:pt x="258" y="80"/>
                    </a:lnTo>
                    <a:lnTo>
                      <a:pt x="260" y="78"/>
                    </a:lnTo>
                    <a:lnTo>
                      <a:pt x="266" y="76"/>
                    </a:lnTo>
                    <a:lnTo>
                      <a:pt x="266" y="76"/>
                    </a:lnTo>
                    <a:lnTo>
                      <a:pt x="268" y="76"/>
                    </a:lnTo>
                    <a:lnTo>
                      <a:pt x="272" y="74"/>
                    </a:lnTo>
                    <a:lnTo>
                      <a:pt x="272" y="74"/>
                    </a:lnTo>
                    <a:lnTo>
                      <a:pt x="274" y="74"/>
                    </a:lnTo>
                    <a:lnTo>
                      <a:pt x="274" y="74"/>
                    </a:lnTo>
                    <a:lnTo>
                      <a:pt x="276" y="70"/>
                    </a:lnTo>
                    <a:lnTo>
                      <a:pt x="276" y="70"/>
                    </a:lnTo>
                    <a:lnTo>
                      <a:pt x="278" y="70"/>
                    </a:lnTo>
                    <a:lnTo>
                      <a:pt x="278" y="70"/>
                    </a:lnTo>
                    <a:lnTo>
                      <a:pt x="280" y="68"/>
                    </a:lnTo>
                    <a:lnTo>
                      <a:pt x="282" y="68"/>
                    </a:lnTo>
                    <a:lnTo>
                      <a:pt x="284" y="70"/>
                    </a:lnTo>
                    <a:lnTo>
                      <a:pt x="288" y="70"/>
                    </a:lnTo>
                    <a:lnTo>
                      <a:pt x="288" y="70"/>
                    </a:lnTo>
                    <a:lnTo>
                      <a:pt x="290" y="72"/>
                    </a:lnTo>
                    <a:lnTo>
                      <a:pt x="292" y="72"/>
                    </a:lnTo>
                    <a:lnTo>
                      <a:pt x="296" y="72"/>
                    </a:lnTo>
                    <a:lnTo>
                      <a:pt x="296" y="72"/>
                    </a:lnTo>
                    <a:lnTo>
                      <a:pt x="298" y="72"/>
                    </a:lnTo>
                    <a:lnTo>
                      <a:pt x="302" y="72"/>
                    </a:lnTo>
                    <a:lnTo>
                      <a:pt x="302" y="72"/>
                    </a:lnTo>
                    <a:lnTo>
                      <a:pt x="302" y="72"/>
                    </a:lnTo>
                    <a:lnTo>
                      <a:pt x="304" y="72"/>
                    </a:lnTo>
                    <a:lnTo>
                      <a:pt x="306" y="72"/>
                    </a:lnTo>
                    <a:lnTo>
                      <a:pt x="308" y="72"/>
                    </a:lnTo>
                    <a:lnTo>
                      <a:pt x="312" y="70"/>
                    </a:lnTo>
                    <a:lnTo>
                      <a:pt x="312" y="70"/>
                    </a:lnTo>
                    <a:lnTo>
                      <a:pt x="314" y="70"/>
                    </a:lnTo>
                    <a:lnTo>
                      <a:pt x="316" y="70"/>
                    </a:lnTo>
                    <a:lnTo>
                      <a:pt x="316" y="70"/>
                    </a:lnTo>
                    <a:lnTo>
                      <a:pt x="316" y="70"/>
                    </a:lnTo>
                    <a:lnTo>
                      <a:pt x="318" y="70"/>
                    </a:lnTo>
                    <a:lnTo>
                      <a:pt x="320" y="70"/>
                    </a:lnTo>
                    <a:lnTo>
                      <a:pt x="320" y="70"/>
                    </a:lnTo>
                    <a:lnTo>
                      <a:pt x="322" y="72"/>
                    </a:lnTo>
                    <a:lnTo>
                      <a:pt x="324" y="72"/>
                    </a:lnTo>
                    <a:lnTo>
                      <a:pt x="328" y="72"/>
                    </a:lnTo>
                    <a:lnTo>
                      <a:pt x="328" y="72"/>
                    </a:lnTo>
                    <a:lnTo>
                      <a:pt x="328" y="72"/>
                    </a:lnTo>
                    <a:lnTo>
                      <a:pt x="330" y="70"/>
                    </a:lnTo>
                    <a:lnTo>
                      <a:pt x="334" y="68"/>
                    </a:lnTo>
                    <a:lnTo>
                      <a:pt x="338" y="66"/>
                    </a:lnTo>
                    <a:lnTo>
                      <a:pt x="338" y="66"/>
                    </a:lnTo>
                    <a:lnTo>
                      <a:pt x="338" y="64"/>
                    </a:lnTo>
                    <a:lnTo>
                      <a:pt x="340" y="64"/>
                    </a:lnTo>
                    <a:lnTo>
                      <a:pt x="340" y="64"/>
                    </a:lnTo>
                    <a:lnTo>
                      <a:pt x="344" y="64"/>
                    </a:lnTo>
                    <a:lnTo>
                      <a:pt x="344" y="64"/>
                    </a:lnTo>
                    <a:lnTo>
                      <a:pt x="346" y="62"/>
                    </a:lnTo>
                    <a:lnTo>
                      <a:pt x="346" y="62"/>
                    </a:lnTo>
                    <a:lnTo>
                      <a:pt x="346" y="60"/>
                    </a:lnTo>
                    <a:lnTo>
                      <a:pt x="348" y="58"/>
                    </a:lnTo>
                    <a:lnTo>
                      <a:pt x="346" y="56"/>
                    </a:lnTo>
                    <a:lnTo>
                      <a:pt x="346" y="56"/>
                    </a:lnTo>
                    <a:lnTo>
                      <a:pt x="346" y="56"/>
                    </a:lnTo>
                    <a:lnTo>
                      <a:pt x="344" y="54"/>
                    </a:lnTo>
                    <a:lnTo>
                      <a:pt x="344" y="54"/>
                    </a:lnTo>
                    <a:lnTo>
                      <a:pt x="342" y="56"/>
                    </a:lnTo>
                    <a:lnTo>
                      <a:pt x="342" y="56"/>
                    </a:lnTo>
                    <a:lnTo>
                      <a:pt x="340" y="56"/>
                    </a:lnTo>
                    <a:lnTo>
                      <a:pt x="338" y="54"/>
                    </a:lnTo>
                    <a:lnTo>
                      <a:pt x="336" y="54"/>
                    </a:lnTo>
                    <a:lnTo>
                      <a:pt x="336" y="52"/>
                    </a:lnTo>
                    <a:lnTo>
                      <a:pt x="336" y="52"/>
                    </a:lnTo>
                    <a:lnTo>
                      <a:pt x="334" y="50"/>
                    </a:lnTo>
                    <a:lnTo>
                      <a:pt x="332" y="48"/>
                    </a:lnTo>
                    <a:lnTo>
                      <a:pt x="330" y="46"/>
                    </a:lnTo>
                    <a:lnTo>
                      <a:pt x="328" y="46"/>
                    </a:lnTo>
                    <a:lnTo>
                      <a:pt x="328" y="46"/>
                    </a:lnTo>
                    <a:lnTo>
                      <a:pt x="324" y="44"/>
                    </a:lnTo>
                    <a:lnTo>
                      <a:pt x="322" y="44"/>
                    </a:lnTo>
                    <a:lnTo>
                      <a:pt x="318" y="44"/>
                    </a:lnTo>
                    <a:lnTo>
                      <a:pt x="316" y="44"/>
                    </a:lnTo>
                    <a:lnTo>
                      <a:pt x="316" y="46"/>
                    </a:lnTo>
                    <a:lnTo>
                      <a:pt x="316" y="46"/>
                    </a:lnTo>
                    <a:lnTo>
                      <a:pt x="314" y="46"/>
                    </a:lnTo>
                    <a:lnTo>
                      <a:pt x="314" y="48"/>
                    </a:lnTo>
                    <a:lnTo>
                      <a:pt x="314" y="48"/>
                    </a:lnTo>
                    <a:lnTo>
                      <a:pt x="312" y="48"/>
                    </a:lnTo>
                    <a:lnTo>
                      <a:pt x="310" y="48"/>
                    </a:lnTo>
                    <a:lnTo>
                      <a:pt x="310" y="48"/>
                    </a:lnTo>
                    <a:lnTo>
                      <a:pt x="306" y="50"/>
                    </a:lnTo>
                    <a:lnTo>
                      <a:pt x="304" y="50"/>
                    </a:lnTo>
                    <a:lnTo>
                      <a:pt x="304" y="50"/>
                    </a:lnTo>
                    <a:lnTo>
                      <a:pt x="304" y="50"/>
                    </a:lnTo>
                    <a:lnTo>
                      <a:pt x="302" y="50"/>
                    </a:lnTo>
                    <a:lnTo>
                      <a:pt x="300" y="48"/>
                    </a:lnTo>
                    <a:lnTo>
                      <a:pt x="300" y="48"/>
                    </a:lnTo>
                    <a:lnTo>
                      <a:pt x="300" y="48"/>
                    </a:lnTo>
                    <a:lnTo>
                      <a:pt x="300" y="46"/>
                    </a:lnTo>
                    <a:lnTo>
                      <a:pt x="302" y="46"/>
                    </a:lnTo>
                    <a:lnTo>
                      <a:pt x="302" y="46"/>
                    </a:lnTo>
                    <a:lnTo>
                      <a:pt x="304" y="46"/>
                    </a:lnTo>
                    <a:lnTo>
                      <a:pt x="304" y="46"/>
                    </a:lnTo>
                    <a:lnTo>
                      <a:pt x="310" y="46"/>
                    </a:lnTo>
                    <a:lnTo>
                      <a:pt x="310" y="46"/>
                    </a:lnTo>
                    <a:lnTo>
                      <a:pt x="308" y="44"/>
                    </a:lnTo>
                    <a:lnTo>
                      <a:pt x="308" y="44"/>
                    </a:lnTo>
                    <a:lnTo>
                      <a:pt x="306" y="42"/>
                    </a:lnTo>
                    <a:lnTo>
                      <a:pt x="304" y="42"/>
                    </a:lnTo>
                    <a:lnTo>
                      <a:pt x="302" y="42"/>
                    </a:lnTo>
                    <a:lnTo>
                      <a:pt x="298" y="42"/>
                    </a:lnTo>
                    <a:lnTo>
                      <a:pt x="298" y="42"/>
                    </a:lnTo>
                    <a:lnTo>
                      <a:pt x="298" y="40"/>
                    </a:lnTo>
                    <a:lnTo>
                      <a:pt x="296" y="40"/>
                    </a:lnTo>
                    <a:lnTo>
                      <a:pt x="294" y="38"/>
                    </a:lnTo>
                    <a:lnTo>
                      <a:pt x="294" y="38"/>
                    </a:lnTo>
                    <a:lnTo>
                      <a:pt x="294" y="36"/>
                    </a:lnTo>
                    <a:lnTo>
                      <a:pt x="292" y="36"/>
                    </a:lnTo>
                    <a:lnTo>
                      <a:pt x="288" y="34"/>
                    </a:lnTo>
                    <a:lnTo>
                      <a:pt x="288" y="34"/>
                    </a:lnTo>
                    <a:lnTo>
                      <a:pt x="286" y="34"/>
                    </a:lnTo>
                    <a:lnTo>
                      <a:pt x="282" y="32"/>
                    </a:lnTo>
                    <a:lnTo>
                      <a:pt x="282" y="32"/>
                    </a:lnTo>
                    <a:lnTo>
                      <a:pt x="280" y="30"/>
                    </a:lnTo>
                    <a:lnTo>
                      <a:pt x="278" y="30"/>
                    </a:lnTo>
                    <a:lnTo>
                      <a:pt x="276" y="30"/>
                    </a:lnTo>
                    <a:lnTo>
                      <a:pt x="276" y="30"/>
                    </a:lnTo>
                    <a:lnTo>
                      <a:pt x="274" y="28"/>
                    </a:lnTo>
                    <a:lnTo>
                      <a:pt x="272" y="28"/>
                    </a:lnTo>
                    <a:lnTo>
                      <a:pt x="270" y="28"/>
                    </a:lnTo>
                    <a:lnTo>
                      <a:pt x="270" y="28"/>
                    </a:lnTo>
                    <a:lnTo>
                      <a:pt x="268" y="28"/>
                    </a:lnTo>
                    <a:lnTo>
                      <a:pt x="266" y="28"/>
                    </a:lnTo>
                    <a:lnTo>
                      <a:pt x="264" y="26"/>
                    </a:lnTo>
                    <a:lnTo>
                      <a:pt x="264" y="26"/>
                    </a:lnTo>
                    <a:lnTo>
                      <a:pt x="262" y="24"/>
                    </a:lnTo>
                    <a:lnTo>
                      <a:pt x="262" y="24"/>
                    </a:lnTo>
                    <a:lnTo>
                      <a:pt x="260" y="22"/>
                    </a:lnTo>
                    <a:lnTo>
                      <a:pt x="258" y="22"/>
                    </a:lnTo>
                    <a:lnTo>
                      <a:pt x="258" y="24"/>
                    </a:lnTo>
                    <a:lnTo>
                      <a:pt x="256" y="24"/>
                    </a:lnTo>
                    <a:lnTo>
                      <a:pt x="256" y="26"/>
                    </a:lnTo>
                    <a:lnTo>
                      <a:pt x="254" y="28"/>
                    </a:lnTo>
                    <a:lnTo>
                      <a:pt x="254" y="28"/>
                    </a:lnTo>
                    <a:lnTo>
                      <a:pt x="254" y="28"/>
                    </a:lnTo>
                    <a:lnTo>
                      <a:pt x="254" y="30"/>
                    </a:lnTo>
                    <a:lnTo>
                      <a:pt x="254" y="34"/>
                    </a:lnTo>
                    <a:lnTo>
                      <a:pt x="254" y="34"/>
                    </a:lnTo>
                    <a:lnTo>
                      <a:pt x="254" y="38"/>
                    </a:lnTo>
                    <a:lnTo>
                      <a:pt x="254" y="40"/>
                    </a:lnTo>
                    <a:lnTo>
                      <a:pt x="254" y="40"/>
                    </a:lnTo>
                    <a:lnTo>
                      <a:pt x="254" y="40"/>
                    </a:lnTo>
                    <a:lnTo>
                      <a:pt x="252" y="40"/>
                    </a:lnTo>
                    <a:lnTo>
                      <a:pt x="252" y="38"/>
                    </a:lnTo>
                    <a:lnTo>
                      <a:pt x="252" y="34"/>
                    </a:lnTo>
                    <a:lnTo>
                      <a:pt x="252" y="34"/>
                    </a:lnTo>
                    <a:lnTo>
                      <a:pt x="250" y="30"/>
                    </a:lnTo>
                    <a:lnTo>
                      <a:pt x="248" y="24"/>
                    </a:lnTo>
                    <a:lnTo>
                      <a:pt x="248" y="24"/>
                    </a:lnTo>
                    <a:lnTo>
                      <a:pt x="248" y="22"/>
                    </a:lnTo>
                    <a:lnTo>
                      <a:pt x="246" y="20"/>
                    </a:lnTo>
                    <a:lnTo>
                      <a:pt x="244" y="18"/>
                    </a:lnTo>
                    <a:lnTo>
                      <a:pt x="242" y="18"/>
                    </a:lnTo>
                    <a:lnTo>
                      <a:pt x="242" y="16"/>
                    </a:lnTo>
                    <a:lnTo>
                      <a:pt x="242" y="16"/>
                    </a:lnTo>
                    <a:lnTo>
                      <a:pt x="238" y="16"/>
                    </a:lnTo>
                    <a:lnTo>
                      <a:pt x="236" y="16"/>
                    </a:lnTo>
                    <a:lnTo>
                      <a:pt x="232" y="16"/>
                    </a:lnTo>
                    <a:lnTo>
                      <a:pt x="232" y="14"/>
                    </a:lnTo>
                    <a:lnTo>
                      <a:pt x="230" y="14"/>
                    </a:lnTo>
                    <a:lnTo>
                      <a:pt x="230" y="14"/>
                    </a:lnTo>
                    <a:lnTo>
                      <a:pt x="228" y="12"/>
                    </a:lnTo>
                    <a:lnTo>
                      <a:pt x="226" y="10"/>
                    </a:lnTo>
                    <a:lnTo>
                      <a:pt x="224" y="10"/>
                    </a:lnTo>
                    <a:lnTo>
                      <a:pt x="222" y="10"/>
                    </a:lnTo>
                    <a:lnTo>
                      <a:pt x="222" y="8"/>
                    </a:lnTo>
                    <a:lnTo>
                      <a:pt x="220" y="10"/>
                    </a:lnTo>
                    <a:lnTo>
                      <a:pt x="220" y="10"/>
                    </a:lnTo>
                    <a:lnTo>
                      <a:pt x="216" y="10"/>
                    </a:lnTo>
                    <a:lnTo>
                      <a:pt x="214" y="10"/>
                    </a:lnTo>
                    <a:lnTo>
                      <a:pt x="214" y="12"/>
                    </a:lnTo>
                    <a:lnTo>
                      <a:pt x="212" y="14"/>
                    </a:lnTo>
                    <a:lnTo>
                      <a:pt x="210" y="14"/>
                    </a:lnTo>
                    <a:lnTo>
                      <a:pt x="210" y="16"/>
                    </a:lnTo>
                    <a:lnTo>
                      <a:pt x="212" y="18"/>
                    </a:lnTo>
                    <a:lnTo>
                      <a:pt x="212" y="18"/>
                    </a:lnTo>
                    <a:lnTo>
                      <a:pt x="214" y="18"/>
                    </a:lnTo>
                    <a:lnTo>
                      <a:pt x="214" y="18"/>
                    </a:lnTo>
                    <a:lnTo>
                      <a:pt x="216" y="20"/>
                    </a:lnTo>
                    <a:lnTo>
                      <a:pt x="216" y="20"/>
                    </a:lnTo>
                    <a:lnTo>
                      <a:pt x="216" y="20"/>
                    </a:lnTo>
                    <a:lnTo>
                      <a:pt x="216" y="22"/>
                    </a:lnTo>
                    <a:lnTo>
                      <a:pt x="216" y="24"/>
                    </a:lnTo>
                    <a:lnTo>
                      <a:pt x="216" y="24"/>
                    </a:lnTo>
                    <a:lnTo>
                      <a:pt x="216" y="24"/>
                    </a:lnTo>
                    <a:lnTo>
                      <a:pt x="214" y="26"/>
                    </a:lnTo>
                    <a:lnTo>
                      <a:pt x="214" y="26"/>
                    </a:lnTo>
                    <a:lnTo>
                      <a:pt x="212" y="24"/>
                    </a:lnTo>
                    <a:lnTo>
                      <a:pt x="212" y="24"/>
                    </a:lnTo>
                    <a:lnTo>
                      <a:pt x="212" y="24"/>
                    </a:lnTo>
                    <a:lnTo>
                      <a:pt x="210" y="20"/>
                    </a:lnTo>
                    <a:lnTo>
                      <a:pt x="210" y="20"/>
                    </a:lnTo>
                    <a:lnTo>
                      <a:pt x="210" y="20"/>
                    </a:lnTo>
                    <a:lnTo>
                      <a:pt x="210" y="20"/>
                    </a:lnTo>
                    <a:lnTo>
                      <a:pt x="206" y="18"/>
                    </a:lnTo>
                    <a:lnTo>
                      <a:pt x="206" y="18"/>
                    </a:lnTo>
                    <a:lnTo>
                      <a:pt x="202" y="14"/>
                    </a:lnTo>
                    <a:lnTo>
                      <a:pt x="202" y="14"/>
                    </a:lnTo>
                    <a:lnTo>
                      <a:pt x="200" y="12"/>
                    </a:lnTo>
                    <a:lnTo>
                      <a:pt x="200" y="12"/>
                    </a:lnTo>
                    <a:lnTo>
                      <a:pt x="196" y="12"/>
                    </a:lnTo>
                    <a:lnTo>
                      <a:pt x="196" y="12"/>
                    </a:lnTo>
                    <a:lnTo>
                      <a:pt x="194" y="10"/>
                    </a:lnTo>
                    <a:lnTo>
                      <a:pt x="192" y="10"/>
                    </a:lnTo>
                    <a:lnTo>
                      <a:pt x="188" y="10"/>
                    </a:lnTo>
                    <a:lnTo>
                      <a:pt x="188" y="10"/>
                    </a:lnTo>
                    <a:lnTo>
                      <a:pt x="186" y="12"/>
                    </a:lnTo>
                    <a:lnTo>
                      <a:pt x="186" y="12"/>
                    </a:lnTo>
                    <a:lnTo>
                      <a:pt x="186" y="12"/>
                    </a:lnTo>
                    <a:lnTo>
                      <a:pt x="186" y="14"/>
                    </a:lnTo>
                    <a:lnTo>
                      <a:pt x="186" y="16"/>
                    </a:lnTo>
                    <a:lnTo>
                      <a:pt x="186" y="16"/>
                    </a:lnTo>
                    <a:lnTo>
                      <a:pt x="184" y="18"/>
                    </a:lnTo>
                    <a:lnTo>
                      <a:pt x="184" y="18"/>
                    </a:lnTo>
                    <a:lnTo>
                      <a:pt x="184" y="18"/>
                    </a:lnTo>
                    <a:lnTo>
                      <a:pt x="184" y="18"/>
                    </a:lnTo>
                    <a:lnTo>
                      <a:pt x="182" y="18"/>
                    </a:lnTo>
                    <a:lnTo>
                      <a:pt x="180" y="18"/>
                    </a:lnTo>
                    <a:lnTo>
                      <a:pt x="178" y="16"/>
                    </a:lnTo>
                    <a:lnTo>
                      <a:pt x="176" y="16"/>
                    </a:lnTo>
                    <a:lnTo>
                      <a:pt x="174" y="14"/>
                    </a:lnTo>
                    <a:lnTo>
                      <a:pt x="174" y="14"/>
                    </a:lnTo>
                    <a:lnTo>
                      <a:pt x="172" y="16"/>
                    </a:lnTo>
                    <a:lnTo>
                      <a:pt x="172" y="16"/>
                    </a:lnTo>
                    <a:lnTo>
                      <a:pt x="166" y="16"/>
                    </a:lnTo>
                    <a:lnTo>
                      <a:pt x="164" y="18"/>
                    </a:lnTo>
                    <a:lnTo>
                      <a:pt x="164" y="18"/>
                    </a:lnTo>
                    <a:lnTo>
                      <a:pt x="164" y="20"/>
                    </a:lnTo>
                    <a:lnTo>
                      <a:pt x="164" y="20"/>
                    </a:lnTo>
                    <a:lnTo>
                      <a:pt x="164" y="20"/>
                    </a:lnTo>
                    <a:lnTo>
                      <a:pt x="164" y="22"/>
                    </a:lnTo>
                    <a:lnTo>
                      <a:pt x="164" y="24"/>
                    </a:lnTo>
                    <a:lnTo>
                      <a:pt x="166" y="24"/>
                    </a:lnTo>
                    <a:lnTo>
                      <a:pt x="166" y="24"/>
                    </a:lnTo>
                    <a:lnTo>
                      <a:pt x="166" y="26"/>
                    </a:lnTo>
                    <a:lnTo>
                      <a:pt x="166" y="26"/>
                    </a:lnTo>
                    <a:lnTo>
                      <a:pt x="166" y="26"/>
                    </a:lnTo>
                    <a:lnTo>
                      <a:pt x="166" y="26"/>
                    </a:lnTo>
                    <a:lnTo>
                      <a:pt x="164" y="26"/>
                    </a:lnTo>
                    <a:lnTo>
                      <a:pt x="162" y="26"/>
                    </a:lnTo>
                    <a:lnTo>
                      <a:pt x="160" y="26"/>
                    </a:lnTo>
                    <a:lnTo>
                      <a:pt x="158" y="24"/>
                    </a:lnTo>
                    <a:lnTo>
                      <a:pt x="154" y="22"/>
                    </a:lnTo>
                    <a:lnTo>
                      <a:pt x="154" y="22"/>
                    </a:lnTo>
                    <a:lnTo>
                      <a:pt x="150" y="20"/>
                    </a:lnTo>
                    <a:lnTo>
                      <a:pt x="148" y="18"/>
                    </a:lnTo>
                    <a:lnTo>
                      <a:pt x="148" y="16"/>
                    </a:lnTo>
                    <a:lnTo>
                      <a:pt x="146" y="14"/>
                    </a:lnTo>
                    <a:lnTo>
                      <a:pt x="146" y="14"/>
                    </a:lnTo>
                    <a:lnTo>
                      <a:pt x="142" y="14"/>
                    </a:lnTo>
                    <a:lnTo>
                      <a:pt x="140" y="12"/>
                    </a:lnTo>
                    <a:lnTo>
                      <a:pt x="138" y="10"/>
                    </a:lnTo>
                    <a:lnTo>
                      <a:pt x="136" y="10"/>
                    </a:lnTo>
                    <a:lnTo>
                      <a:pt x="136" y="8"/>
                    </a:lnTo>
                    <a:lnTo>
                      <a:pt x="136" y="8"/>
                    </a:lnTo>
                    <a:lnTo>
                      <a:pt x="134" y="6"/>
                    </a:lnTo>
                    <a:lnTo>
                      <a:pt x="134" y="6"/>
                    </a:lnTo>
                    <a:lnTo>
                      <a:pt x="132" y="4"/>
                    </a:lnTo>
                    <a:lnTo>
                      <a:pt x="128" y="2"/>
                    </a:lnTo>
                    <a:lnTo>
                      <a:pt x="128" y="2"/>
                    </a:lnTo>
                    <a:lnTo>
                      <a:pt x="122" y="2"/>
                    </a:lnTo>
                    <a:lnTo>
                      <a:pt x="116" y="0"/>
                    </a:lnTo>
                    <a:lnTo>
                      <a:pt x="116" y="0"/>
                    </a:lnTo>
                    <a:lnTo>
                      <a:pt x="114" y="0"/>
                    </a:lnTo>
                    <a:lnTo>
                      <a:pt x="112" y="0"/>
                    </a:lnTo>
                    <a:lnTo>
                      <a:pt x="110" y="0"/>
                    </a:lnTo>
                    <a:lnTo>
                      <a:pt x="110" y="2"/>
                    </a:lnTo>
                    <a:lnTo>
                      <a:pt x="110" y="2"/>
                    </a:lnTo>
                    <a:lnTo>
                      <a:pt x="108" y="4"/>
                    </a:lnTo>
                    <a:lnTo>
                      <a:pt x="108" y="4"/>
                    </a:lnTo>
                    <a:lnTo>
                      <a:pt x="108" y="6"/>
                    </a:lnTo>
                    <a:lnTo>
                      <a:pt x="108" y="8"/>
                    </a:lnTo>
                    <a:lnTo>
                      <a:pt x="108" y="8"/>
                    </a:lnTo>
                    <a:lnTo>
                      <a:pt x="106" y="10"/>
                    </a:lnTo>
                    <a:lnTo>
                      <a:pt x="106" y="10"/>
                    </a:lnTo>
                    <a:lnTo>
                      <a:pt x="106" y="12"/>
                    </a:lnTo>
                    <a:lnTo>
                      <a:pt x="106" y="12"/>
                    </a:lnTo>
                    <a:lnTo>
                      <a:pt x="108" y="12"/>
                    </a:lnTo>
                    <a:lnTo>
                      <a:pt x="108" y="14"/>
                    </a:lnTo>
                    <a:lnTo>
                      <a:pt x="110" y="14"/>
                    </a:lnTo>
                    <a:lnTo>
                      <a:pt x="112" y="14"/>
                    </a:lnTo>
                    <a:lnTo>
                      <a:pt x="112" y="16"/>
                    </a:lnTo>
                    <a:lnTo>
                      <a:pt x="112" y="16"/>
                    </a:lnTo>
                    <a:lnTo>
                      <a:pt x="112" y="18"/>
                    </a:lnTo>
                    <a:lnTo>
                      <a:pt x="112" y="18"/>
                    </a:lnTo>
                    <a:lnTo>
                      <a:pt x="112" y="18"/>
                    </a:lnTo>
                    <a:lnTo>
                      <a:pt x="110" y="18"/>
                    </a:lnTo>
                    <a:lnTo>
                      <a:pt x="110" y="18"/>
                    </a:lnTo>
                    <a:lnTo>
                      <a:pt x="108" y="18"/>
                    </a:lnTo>
                    <a:lnTo>
                      <a:pt x="106" y="18"/>
                    </a:lnTo>
                    <a:lnTo>
                      <a:pt x="104" y="16"/>
                    </a:lnTo>
                    <a:lnTo>
                      <a:pt x="104" y="16"/>
                    </a:lnTo>
                    <a:lnTo>
                      <a:pt x="100" y="12"/>
                    </a:lnTo>
                    <a:lnTo>
                      <a:pt x="98" y="10"/>
                    </a:lnTo>
                    <a:lnTo>
                      <a:pt x="96" y="10"/>
                    </a:lnTo>
                    <a:lnTo>
                      <a:pt x="96" y="10"/>
                    </a:lnTo>
                    <a:lnTo>
                      <a:pt x="92" y="8"/>
                    </a:lnTo>
                    <a:lnTo>
                      <a:pt x="90" y="6"/>
                    </a:lnTo>
                    <a:lnTo>
                      <a:pt x="86" y="6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0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4" y="2"/>
                    </a:lnTo>
                    <a:lnTo>
                      <a:pt x="72" y="2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68" y="2"/>
                    </a:lnTo>
                    <a:lnTo>
                      <a:pt x="66" y="2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64" y="4"/>
                    </a:lnTo>
                    <a:lnTo>
                      <a:pt x="66" y="4"/>
                    </a:lnTo>
                    <a:lnTo>
                      <a:pt x="68" y="6"/>
                    </a:lnTo>
                    <a:lnTo>
                      <a:pt x="68" y="6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10"/>
                    </a:lnTo>
                    <a:lnTo>
                      <a:pt x="66" y="10"/>
                    </a:lnTo>
                    <a:lnTo>
                      <a:pt x="66" y="10"/>
                    </a:lnTo>
                    <a:lnTo>
                      <a:pt x="64" y="10"/>
                    </a:lnTo>
                    <a:lnTo>
                      <a:pt x="64" y="8"/>
                    </a:lnTo>
                    <a:lnTo>
                      <a:pt x="62" y="6"/>
                    </a:lnTo>
                    <a:lnTo>
                      <a:pt x="62" y="6"/>
                    </a:lnTo>
                    <a:lnTo>
                      <a:pt x="60" y="6"/>
                    </a:lnTo>
                    <a:lnTo>
                      <a:pt x="58" y="4"/>
                    </a:lnTo>
                    <a:lnTo>
                      <a:pt x="54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8"/>
                    </a:lnTo>
                    <a:lnTo>
                      <a:pt x="50" y="8"/>
                    </a:lnTo>
                    <a:lnTo>
                      <a:pt x="50" y="10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50" y="12"/>
                    </a:lnTo>
                    <a:lnTo>
                      <a:pt x="50" y="14"/>
                    </a:lnTo>
                    <a:lnTo>
                      <a:pt x="50" y="14"/>
                    </a:lnTo>
                    <a:lnTo>
                      <a:pt x="50" y="14"/>
                    </a:lnTo>
                    <a:lnTo>
                      <a:pt x="52" y="14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8" y="14"/>
                    </a:lnTo>
                    <a:lnTo>
                      <a:pt x="62" y="14"/>
                    </a:lnTo>
                    <a:lnTo>
                      <a:pt x="62" y="14"/>
                    </a:lnTo>
                    <a:lnTo>
                      <a:pt x="64" y="14"/>
                    </a:lnTo>
                    <a:lnTo>
                      <a:pt x="66" y="16"/>
                    </a:lnTo>
                    <a:lnTo>
                      <a:pt x="66" y="16"/>
                    </a:lnTo>
                    <a:lnTo>
                      <a:pt x="66" y="16"/>
                    </a:lnTo>
                    <a:lnTo>
                      <a:pt x="64" y="16"/>
                    </a:lnTo>
                    <a:lnTo>
                      <a:pt x="64" y="18"/>
                    </a:lnTo>
                    <a:lnTo>
                      <a:pt x="62" y="18"/>
                    </a:lnTo>
                    <a:lnTo>
                      <a:pt x="62" y="18"/>
                    </a:lnTo>
                    <a:lnTo>
                      <a:pt x="62" y="18"/>
                    </a:lnTo>
                    <a:lnTo>
                      <a:pt x="62" y="18"/>
                    </a:lnTo>
                    <a:lnTo>
                      <a:pt x="62" y="18"/>
                    </a:lnTo>
                    <a:lnTo>
                      <a:pt x="62" y="20"/>
                    </a:lnTo>
                    <a:lnTo>
                      <a:pt x="62" y="20"/>
                    </a:lnTo>
                    <a:lnTo>
                      <a:pt x="64" y="20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4"/>
                    </a:lnTo>
                    <a:lnTo>
                      <a:pt x="62" y="24"/>
                    </a:lnTo>
                    <a:lnTo>
                      <a:pt x="62" y="24"/>
                    </a:lnTo>
                    <a:lnTo>
                      <a:pt x="62" y="24"/>
                    </a:lnTo>
                    <a:lnTo>
                      <a:pt x="62" y="24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58" y="26"/>
                    </a:lnTo>
                    <a:lnTo>
                      <a:pt x="58" y="26"/>
                    </a:lnTo>
                    <a:lnTo>
                      <a:pt x="58" y="28"/>
                    </a:lnTo>
                    <a:lnTo>
                      <a:pt x="56" y="28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60" y="32"/>
                    </a:lnTo>
                    <a:lnTo>
                      <a:pt x="62" y="32"/>
                    </a:lnTo>
                    <a:lnTo>
                      <a:pt x="62" y="32"/>
                    </a:lnTo>
                    <a:lnTo>
                      <a:pt x="64" y="34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70" y="34"/>
                    </a:lnTo>
                    <a:lnTo>
                      <a:pt x="70" y="34"/>
                    </a:lnTo>
                    <a:lnTo>
                      <a:pt x="72" y="34"/>
                    </a:lnTo>
                    <a:lnTo>
                      <a:pt x="72" y="34"/>
                    </a:lnTo>
                    <a:lnTo>
                      <a:pt x="72" y="34"/>
                    </a:lnTo>
                    <a:lnTo>
                      <a:pt x="74" y="34"/>
                    </a:lnTo>
                    <a:lnTo>
                      <a:pt x="74" y="36"/>
                    </a:lnTo>
                    <a:lnTo>
                      <a:pt x="76" y="36"/>
                    </a:lnTo>
                    <a:lnTo>
                      <a:pt x="76" y="36"/>
                    </a:lnTo>
                    <a:lnTo>
                      <a:pt x="78" y="36"/>
                    </a:lnTo>
                    <a:lnTo>
                      <a:pt x="82" y="36"/>
                    </a:lnTo>
                    <a:lnTo>
                      <a:pt x="82" y="36"/>
                    </a:lnTo>
                    <a:lnTo>
                      <a:pt x="86" y="36"/>
                    </a:lnTo>
                    <a:lnTo>
                      <a:pt x="88" y="36"/>
                    </a:lnTo>
                    <a:lnTo>
                      <a:pt x="88" y="36"/>
                    </a:lnTo>
                    <a:lnTo>
                      <a:pt x="90" y="38"/>
                    </a:lnTo>
                    <a:lnTo>
                      <a:pt x="90" y="38"/>
                    </a:lnTo>
                    <a:lnTo>
                      <a:pt x="90" y="38"/>
                    </a:lnTo>
                    <a:lnTo>
                      <a:pt x="90" y="38"/>
                    </a:lnTo>
                    <a:lnTo>
                      <a:pt x="88" y="40"/>
                    </a:lnTo>
                    <a:lnTo>
                      <a:pt x="86" y="42"/>
                    </a:lnTo>
                    <a:lnTo>
                      <a:pt x="84" y="42"/>
                    </a:lnTo>
                    <a:lnTo>
                      <a:pt x="84" y="42"/>
                    </a:lnTo>
                    <a:lnTo>
                      <a:pt x="82" y="42"/>
                    </a:lnTo>
                    <a:lnTo>
                      <a:pt x="80" y="42"/>
                    </a:lnTo>
                    <a:lnTo>
                      <a:pt x="78" y="42"/>
                    </a:lnTo>
                    <a:lnTo>
                      <a:pt x="76" y="40"/>
                    </a:lnTo>
                    <a:lnTo>
                      <a:pt x="72" y="40"/>
                    </a:lnTo>
                    <a:lnTo>
                      <a:pt x="72" y="40"/>
                    </a:lnTo>
                    <a:lnTo>
                      <a:pt x="70" y="38"/>
                    </a:lnTo>
                    <a:lnTo>
                      <a:pt x="68" y="38"/>
                    </a:lnTo>
                    <a:lnTo>
                      <a:pt x="64" y="38"/>
                    </a:lnTo>
                    <a:lnTo>
                      <a:pt x="62" y="40"/>
                    </a:lnTo>
                    <a:lnTo>
                      <a:pt x="62" y="40"/>
                    </a:lnTo>
                    <a:lnTo>
                      <a:pt x="62" y="42"/>
                    </a:lnTo>
                    <a:lnTo>
                      <a:pt x="62" y="42"/>
                    </a:lnTo>
                    <a:lnTo>
                      <a:pt x="62" y="44"/>
                    </a:lnTo>
                    <a:lnTo>
                      <a:pt x="62" y="44"/>
                    </a:lnTo>
                    <a:lnTo>
                      <a:pt x="64" y="46"/>
                    </a:lnTo>
                    <a:lnTo>
                      <a:pt x="64" y="46"/>
                    </a:lnTo>
                    <a:lnTo>
                      <a:pt x="66" y="46"/>
                    </a:lnTo>
                    <a:lnTo>
                      <a:pt x="68" y="46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4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8" y="48"/>
                    </a:lnTo>
                    <a:lnTo>
                      <a:pt x="82" y="48"/>
                    </a:lnTo>
                    <a:lnTo>
                      <a:pt x="82" y="48"/>
                    </a:lnTo>
                    <a:lnTo>
                      <a:pt x="84" y="48"/>
                    </a:lnTo>
                    <a:lnTo>
                      <a:pt x="86" y="48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90" y="42"/>
                    </a:lnTo>
                    <a:lnTo>
                      <a:pt x="92" y="42"/>
                    </a:lnTo>
                    <a:lnTo>
                      <a:pt x="96" y="40"/>
                    </a:lnTo>
                    <a:lnTo>
                      <a:pt x="98" y="40"/>
                    </a:lnTo>
                    <a:lnTo>
                      <a:pt x="98" y="40"/>
                    </a:lnTo>
                    <a:lnTo>
                      <a:pt x="100" y="40"/>
                    </a:lnTo>
                    <a:lnTo>
                      <a:pt x="100" y="40"/>
                    </a:lnTo>
                    <a:lnTo>
                      <a:pt x="100" y="40"/>
                    </a:lnTo>
                    <a:lnTo>
                      <a:pt x="98" y="42"/>
                    </a:lnTo>
                    <a:lnTo>
                      <a:pt x="98" y="42"/>
                    </a:lnTo>
                    <a:lnTo>
                      <a:pt x="96" y="44"/>
                    </a:lnTo>
                    <a:lnTo>
                      <a:pt x="94" y="46"/>
                    </a:lnTo>
                    <a:lnTo>
                      <a:pt x="92" y="46"/>
                    </a:lnTo>
                    <a:lnTo>
                      <a:pt x="92" y="48"/>
                    </a:lnTo>
                    <a:lnTo>
                      <a:pt x="92" y="50"/>
                    </a:lnTo>
                    <a:lnTo>
                      <a:pt x="92" y="50"/>
                    </a:lnTo>
                    <a:lnTo>
                      <a:pt x="94" y="50"/>
                    </a:lnTo>
                    <a:lnTo>
                      <a:pt x="94" y="50"/>
                    </a:lnTo>
                    <a:lnTo>
                      <a:pt x="98" y="48"/>
                    </a:lnTo>
                    <a:lnTo>
                      <a:pt x="104" y="46"/>
                    </a:lnTo>
                    <a:lnTo>
                      <a:pt x="104" y="46"/>
                    </a:lnTo>
                    <a:lnTo>
                      <a:pt x="108" y="44"/>
                    </a:lnTo>
                    <a:lnTo>
                      <a:pt x="112" y="42"/>
                    </a:lnTo>
                    <a:lnTo>
                      <a:pt x="112" y="42"/>
                    </a:lnTo>
                    <a:lnTo>
                      <a:pt x="116" y="42"/>
                    </a:lnTo>
                    <a:lnTo>
                      <a:pt x="118" y="42"/>
                    </a:lnTo>
                    <a:lnTo>
                      <a:pt x="120" y="42"/>
                    </a:lnTo>
                    <a:lnTo>
                      <a:pt x="120" y="42"/>
                    </a:lnTo>
                    <a:lnTo>
                      <a:pt x="122" y="42"/>
                    </a:lnTo>
                    <a:lnTo>
                      <a:pt x="120" y="42"/>
                    </a:lnTo>
                    <a:lnTo>
                      <a:pt x="120" y="42"/>
                    </a:lnTo>
                    <a:lnTo>
                      <a:pt x="120" y="44"/>
                    </a:lnTo>
                    <a:lnTo>
                      <a:pt x="118" y="44"/>
                    </a:lnTo>
                    <a:lnTo>
                      <a:pt x="116" y="46"/>
                    </a:lnTo>
                    <a:lnTo>
                      <a:pt x="112" y="48"/>
                    </a:lnTo>
                    <a:lnTo>
                      <a:pt x="110" y="48"/>
                    </a:lnTo>
                    <a:lnTo>
                      <a:pt x="110" y="48"/>
                    </a:lnTo>
                    <a:lnTo>
                      <a:pt x="108" y="50"/>
                    </a:lnTo>
                    <a:lnTo>
                      <a:pt x="108" y="50"/>
                    </a:lnTo>
                    <a:lnTo>
                      <a:pt x="106" y="52"/>
                    </a:lnTo>
                    <a:lnTo>
                      <a:pt x="106" y="52"/>
                    </a:lnTo>
                    <a:lnTo>
                      <a:pt x="106" y="52"/>
                    </a:lnTo>
                    <a:lnTo>
                      <a:pt x="108" y="54"/>
                    </a:lnTo>
                    <a:lnTo>
                      <a:pt x="110" y="54"/>
                    </a:lnTo>
                    <a:lnTo>
                      <a:pt x="110" y="54"/>
                    </a:lnTo>
                    <a:lnTo>
                      <a:pt x="110" y="54"/>
                    </a:lnTo>
                    <a:lnTo>
                      <a:pt x="112" y="54"/>
                    </a:lnTo>
                    <a:lnTo>
                      <a:pt x="116" y="56"/>
                    </a:lnTo>
                    <a:lnTo>
                      <a:pt x="118" y="58"/>
                    </a:lnTo>
                    <a:lnTo>
                      <a:pt x="120" y="60"/>
                    </a:lnTo>
                    <a:lnTo>
                      <a:pt x="120" y="60"/>
                    </a:lnTo>
                    <a:lnTo>
                      <a:pt x="122" y="60"/>
                    </a:lnTo>
                    <a:lnTo>
                      <a:pt x="122" y="62"/>
                    </a:lnTo>
                    <a:lnTo>
                      <a:pt x="122" y="62"/>
                    </a:lnTo>
                    <a:lnTo>
                      <a:pt x="122" y="64"/>
                    </a:lnTo>
                    <a:lnTo>
                      <a:pt x="122" y="66"/>
                    </a:lnTo>
                    <a:lnTo>
                      <a:pt x="122" y="66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4" y="68"/>
                    </a:lnTo>
                    <a:lnTo>
                      <a:pt x="124" y="70"/>
                    </a:lnTo>
                    <a:lnTo>
                      <a:pt x="126" y="70"/>
                    </a:lnTo>
                    <a:lnTo>
                      <a:pt x="128" y="70"/>
                    </a:lnTo>
                    <a:lnTo>
                      <a:pt x="130" y="68"/>
                    </a:lnTo>
                    <a:lnTo>
                      <a:pt x="132" y="68"/>
                    </a:lnTo>
                    <a:lnTo>
                      <a:pt x="132" y="68"/>
                    </a:lnTo>
                    <a:lnTo>
                      <a:pt x="136" y="68"/>
                    </a:lnTo>
                    <a:lnTo>
                      <a:pt x="138" y="66"/>
                    </a:lnTo>
                    <a:lnTo>
                      <a:pt x="138" y="66"/>
                    </a:lnTo>
                    <a:lnTo>
                      <a:pt x="142" y="66"/>
                    </a:lnTo>
                    <a:lnTo>
                      <a:pt x="144" y="64"/>
                    </a:lnTo>
                    <a:lnTo>
                      <a:pt x="144" y="64"/>
                    </a:lnTo>
                    <a:lnTo>
                      <a:pt x="146" y="64"/>
                    </a:lnTo>
                    <a:lnTo>
                      <a:pt x="148" y="64"/>
                    </a:lnTo>
                    <a:lnTo>
                      <a:pt x="156" y="62"/>
                    </a:lnTo>
                    <a:lnTo>
                      <a:pt x="156" y="62"/>
                    </a:lnTo>
                    <a:lnTo>
                      <a:pt x="160" y="60"/>
                    </a:lnTo>
                    <a:lnTo>
                      <a:pt x="162" y="58"/>
                    </a:lnTo>
                    <a:lnTo>
                      <a:pt x="164" y="56"/>
                    </a:lnTo>
                    <a:lnTo>
                      <a:pt x="164" y="56"/>
                    </a:lnTo>
                    <a:lnTo>
                      <a:pt x="164" y="56"/>
                    </a:lnTo>
                    <a:lnTo>
                      <a:pt x="164" y="54"/>
                    </a:lnTo>
                    <a:lnTo>
                      <a:pt x="164" y="52"/>
                    </a:lnTo>
                    <a:lnTo>
                      <a:pt x="166" y="50"/>
                    </a:lnTo>
                    <a:lnTo>
                      <a:pt x="166" y="48"/>
                    </a:lnTo>
                    <a:lnTo>
                      <a:pt x="166" y="48"/>
                    </a:lnTo>
                    <a:lnTo>
                      <a:pt x="166" y="48"/>
                    </a:lnTo>
                    <a:lnTo>
                      <a:pt x="168" y="50"/>
                    </a:lnTo>
                    <a:lnTo>
                      <a:pt x="170" y="50"/>
                    </a:lnTo>
                    <a:lnTo>
                      <a:pt x="170" y="50"/>
                    </a:lnTo>
                    <a:lnTo>
                      <a:pt x="170" y="50"/>
                    </a:lnTo>
                    <a:lnTo>
                      <a:pt x="172" y="50"/>
                    </a:lnTo>
                    <a:lnTo>
                      <a:pt x="174" y="50"/>
                    </a:lnTo>
                    <a:lnTo>
                      <a:pt x="174" y="50"/>
                    </a:lnTo>
                    <a:lnTo>
                      <a:pt x="176" y="50"/>
                    </a:lnTo>
                    <a:lnTo>
                      <a:pt x="176" y="50"/>
                    </a:lnTo>
                    <a:lnTo>
                      <a:pt x="178" y="50"/>
                    </a:lnTo>
                    <a:lnTo>
                      <a:pt x="178" y="50"/>
                    </a:lnTo>
                    <a:lnTo>
                      <a:pt x="178" y="52"/>
                    </a:lnTo>
                    <a:lnTo>
                      <a:pt x="176" y="52"/>
                    </a:lnTo>
                    <a:lnTo>
                      <a:pt x="176" y="54"/>
                    </a:lnTo>
                    <a:lnTo>
                      <a:pt x="172" y="56"/>
                    </a:lnTo>
                    <a:lnTo>
                      <a:pt x="172" y="58"/>
                    </a:lnTo>
                    <a:lnTo>
                      <a:pt x="172" y="58"/>
                    </a:lnTo>
                    <a:lnTo>
                      <a:pt x="170" y="60"/>
                    </a:lnTo>
                    <a:lnTo>
                      <a:pt x="170" y="62"/>
                    </a:lnTo>
                    <a:lnTo>
                      <a:pt x="170" y="62"/>
                    </a:lnTo>
                    <a:lnTo>
                      <a:pt x="172" y="64"/>
                    </a:lnTo>
                    <a:lnTo>
                      <a:pt x="174" y="64"/>
                    </a:lnTo>
                    <a:lnTo>
                      <a:pt x="176" y="66"/>
                    </a:lnTo>
                    <a:lnTo>
                      <a:pt x="176" y="66"/>
                    </a:lnTo>
                    <a:lnTo>
                      <a:pt x="178" y="66"/>
                    </a:lnTo>
                    <a:lnTo>
                      <a:pt x="178" y="66"/>
                    </a:lnTo>
                    <a:lnTo>
                      <a:pt x="178" y="68"/>
                    </a:lnTo>
                    <a:lnTo>
                      <a:pt x="178" y="68"/>
                    </a:lnTo>
                    <a:lnTo>
                      <a:pt x="178" y="70"/>
                    </a:lnTo>
                    <a:lnTo>
                      <a:pt x="178" y="70"/>
                    </a:lnTo>
                    <a:lnTo>
                      <a:pt x="178" y="70"/>
                    </a:lnTo>
                    <a:lnTo>
                      <a:pt x="178" y="70"/>
                    </a:lnTo>
                    <a:lnTo>
                      <a:pt x="174" y="72"/>
                    </a:lnTo>
                    <a:lnTo>
                      <a:pt x="174" y="72"/>
                    </a:lnTo>
                    <a:lnTo>
                      <a:pt x="172" y="72"/>
                    </a:lnTo>
                    <a:lnTo>
                      <a:pt x="170" y="70"/>
                    </a:lnTo>
                    <a:lnTo>
                      <a:pt x="168" y="70"/>
                    </a:lnTo>
                    <a:lnTo>
                      <a:pt x="166" y="70"/>
                    </a:lnTo>
                    <a:lnTo>
                      <a:pt x="166" y="70"/>
                    </a:lnTo>
                    <a:lnTo>
                      <a:pt x="164" y="70"/>
                    </a:lnTo>
                    <a:lnTo>
                      <a:pt x="162" y="70"/>
                    </a:lnTo>
                    <a:lnTo>
                      <a:pt x="162" y="70"/>
                    </a:lnTo>
                    <a:lnTo>
                      <a:pt x="162" y="70"/>
                    </a:lnTo>
                    <a:lnTo>
                      <a:pt x="160" y="70"/>
                    </a:lnTo>
                    <a:lnTo>
                      <a:pt x="160" y="68"/>
                    </a:lnTo>
                    <a:lnTo>
                      <a:pt x="160" y="68"/>
                    </a:lnTo>
                    <a:lnTo>
                      <a:pt x="158" y="70"/>
                    </a:lnTo>
                    <a:lnTo>
                      <a:pt x="156" y="70"/>
                    </a:lnTo>
                    <a:lnTo>
                      <a:pt x="156" y="70"/>
                    </a:lnTo>
                    <a:lnTo>
                      <a:pt x="154" y="72"/>
                    </a:lnTo>
                    <a:lnTo>
                      <a:pt x="154" y="72"/>
                    </a:lnTo>
                    <a:lnTo>
                      <a:pt x="154" y="72"/>
                    </a:lnTo>
                    <a:lnTo>
                      <a:pt x="154" y="74"/>
                    </a:lnTo>
                    <a:lnTo>
                      <a:pt x="154" y="74"/>
                    </a:lnTo>
                    <a:lnTo>
                      <a:pt x="154" y="74"/>
                    </a:lnTo>
                    <a:lnTo>
                      <a:pt x="156" y="76"/>
                    </a:lnTo>
                    <a:lnTo>
                      <a:pt x="156" y="78"/>
                    </a:lnTo>
                    <a:lnTo>
                      <a:pt x="156" y="78"/>
                    </a:lnTo>
                    <a:lnTo>
                      <a:pt x="156" y="78"/>
                    </a:lnTo>
                    <a:lnTo>
                      <a:pt x="154" y="78"/>
                    </a:lnTo>
                    <a:lnTo>
                      <a:pt x="150" y="78"/>
                    </a:lnTo>
                    <a:lnTo>
                      <a:pt x="146" y="78"/>
                    </a:lnTo>
                    <a:lnTo>
                      <a:pt x="144" y="78"/>
                    </a:lnTo>
                    <a:lnTo>
                      <a:pt x="144" y="78"/>
                    </a:lnTo>
                    <a:lnTo>
                      <a:pt x="140" y="78"/>
                    </a:lnTo>
                    <a:lnTo>
                      <a:pt x="140" y="78"/>
                    </a:lnTo>
                    <a:lnTo>
                      <a:pt x="138" y="78"/>
                    </a:lnTo>
                    <a:lnTo>
                      <a:pt x="138" y="78"/>
                    </a:lnTo>
                    <a:lnTo>
                      <a:pt x="136" y="80"/>
                    </a:lnTo>
                    <a:lnTo>
                      <a:pt x="134" y="80"/>
                    </a:lnTo>
                    <a:lnTo>
                      <a:pt x="134" y="80"/>
                    </a:lnTo>
                    <a:lnTo>
                      <a:pt x="132" y="82"/>
                    </a:lnTo>
                    <a:lnTo>
                      <a:pt x="130" y="82"/>
                    </a:lnTo>
                    <a:lnTo>
                      <a:pt x="128" y="84"/>
                    </a:lnTo>
                    <a:lnTo>
                      <a:pt x="128" y="84"/>
                    </a:lnTo>
                    <a:lnTo>
                      <a:pt x="128" y="84"/>
                    </a:lnTo>
                    <a:lnTo>
                      <a:pt x="128" y="86"/>
                    </a:lnTo>
                    <a:lnTo>
                      <a:pt x="128" y="86"/>
                    </a:lnTo>
                    <a:lnTo>
                      <a:pt x="130" y="88"/>
                    </a:lnTo>
                    <a:lnTo>
                      <a:pt x="132" y="88"/>
                    </a:lnTo>
                    <a:lnTo>
                      <a:pt x="132" y="90"/>
                    </a:lnTo>
                    <a:lnTo>
                      <a:pt x="132" y="90"/>
                    </a:lnTo>
                    <a:lnTo>
                      <a:pt x="132" y="92"/>
                    </a:lnTo>
                    <a:lnTo>
                      <a:pt x="130" y="92"/>
                    </a:lnTo>
                    <a:lnTo>
                      <a:pt x="130" y="92"/>
                    </a:lnTo>
                    <a:lnTo>
                      <a:pt x="130" y="92"/>
                    </a:lnTo>
                    <a:lnTo>
                      <a:pt x="128" y="92"/>
                    </a:lnTo>
                    <a:lnTo>
                      <a:pt x="126" y="92"/>
                    </a:lnTo>
                    <a:lnTo>
                      <a:pt x="122" y="90"/>
                    </a:lnTo>
                    <a:lnTo>
                      <a:pt x="122" y="90"/>
                    </a:lnTo>
                    <a:lnTo>
                      <a:pt x="118" y="88"/>
                    </a:lnTo>
                    <a:lnTo>
                      <a:pt x="118" y="88"/>
                    </a:lnTo>
                    <a:lnTo>
                      <a:pt x="116" y="84"/>
                    </a:lnTo>
                    <a:lnTo>
                      <a:pt x="114" y="82"/>
                    </a:lnTo>
                    <a:lnTo>
                      <a:pt x="114" y="82"/>
                    </a:lnTo>
                    <a:lnTo>
                      <a:pt x="112" y="78"/>
                    </a:lnTo>
                    <a:lnTo>
                      <a:pt x="110" y="72"/>
                    </a:lnTo>
                    <a:lnTo>
                      <a:pt x="110" y="72"/>
                    </a:lnTo>
                    <a:lnTo>
                      <a:pt x="110" y="70"/>
                    </a:lnTo>
                    <a:lnTo>
                      <a:pt x="108" y="70"/>
                    </a:lnTo>
                    <a:lnTo>
                      <a:pt x="106" y="70"/>
                    </a:lnTo>
                    <a:lnTo>
                      <a:pt x="106" y="70"/>
                    </a:lnTo>
                    <a:lnTo>
                      <a:pt x="104" y="70"/>
                    </a:lnTo>
                    <a:lnTo>
                      <a:pt x="102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68"/>
                    </a:lnTo>
                    <a:lnTo>
                      <a:pt x="98" y="66"/>
                    </a:lnTo>
                    <a:lnTo>
                      <a:pt x="98" y="66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4" y="64"/>
                    </a:lnTo>
                    <a:lnTo>
                      <a:pt x="90" y="62"/>
                    </a:lnTo>
                    <a:lnTo>
                      <a:pt x="90" y="62"/>
                    </a:lnTo>
                    <a:lnTo>
                      <a:pt x="88" y="62"/>
                    </a:lnTo>
                    <a:lnTo>
                      <a:pt x="88" y="62"/>
                    </a:lnTo>
                    <a:lnTo>
                      <a:pt x="86" y="62"/>
                    </a:lnTo>
                    <a:lnTo>
                      <a:pt x="86" y="64"/>
                    </a:lnTo>
                    <a:lnTo>
                      <a:pt x="86" y="64"/>
                    </a:lnTo>
                    <a:lnTo>
                      <a:pt x="84" y="68"/>
                    </a:lnTo>
                    <a:lnTo>
                      <a:pt x="84" y="68"/>
                    </a:lnTo>
                    <a:lnTo>
                      <a:pt x="84" y="70"/>
                    </a:lnTo>
                    <a:lnTo>
                      <a:pt x="82" y="72"/>
                    </a:lnTo>
                    <a:lnTo>
                      <a:pt x="82" y="72"/>
                    </a:lnTo>
                    <a:lnTo>
                      <a:pt x="82" y="74"/>
                    </a:lnTo>
                    <a:lnTo>
                      <a:pt x="84" y="74"/>
                    </a:lnTo>
                    <a:lnTo>
                      <a:pt x="84" y="76"/>
                    </a:lnTo>
                    <a:lnTo>
                      <a:pt x="86" y="76"/>
                    </a:lnTo>
                    <a:lnTo>
                      <a:pt x="86" y="76"/>
                    </a:lnTo>
                    <a:lnTo>
                      <a:pt x="88" y="78"/>
                    </a:lnTo>
                    <a:lnTo>
                      <a:pt x="88" y="78"/>
                    </a:lnTo>
                    <a:lnTo>
                      <a:pt x="90" y="80"/>
                    </a:lnTo>
                    <a:lnTo>
                      <a:pt x="90" y="80"/>
                    </a:lnTo>
                    <a:lnTo>
                      <a:pt x="90" y="82"/>
                    </a:lnTo>
                    <a:lnTo>
                      <a:pt x="90" y="84"/>
                    </a:lnTo>
                    <a:lnTo>
                      <a:pt x="90" y="84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2" y="86"/>
                    </a:lnTo>
                    <a:lnTo>
                      <a:pt x="92" y="88"/>
                    </a:lnTo>
                    <a:lnTo>
                      <a:pt x="92" y="88"/>
                    </a:lnTo>
                    <a:lnTo>
                      <a:pt x="92" y="88"/>
                    </a:lnTo>
                    <a:lnTo>
                      <a:pt x="92" y="88"/>
                    </a:lnTo>
                    <a:lnTo>
                      <a:pt x="92" y="88"/>
                    </a:lnTo>
                    <a:lnTo>
                      <a:pt x="92" y="90"/>
                    </a:lnTo>
                    <a:lnTo>
                      <a:pt x="92" y="90"/>
                    </a:lnTo>
                    <a:lnTo>
                      <a:pt x="94" y="90"/>
                    </a:lnTo>
                    <a:lnTo>
                      <a:pt x="94" y="90"/>
                    </a:lnTo>
                    <a:lnTo>
                      <a:pt x="96" y="90"/>
                    </a:lnTo>
                    <a:lnTo>
                      <a:pt x="96" y="90"/>
                    </a:lnTo>
                    <a:lnTo>
                      <a:pt x="96" y="90"/>
                    </a:lnTo>
                    <a:lnTo>
                      <a:pt x="96" y="92"/>
                    </a:lnTo>
                    <a:lnTo>
                      <a:pt x="96" y="94"/>
                    </a:lnTo>
                    <a:lnTo>
                      <a:pt x="96" y="94"/>
                    </a:lnTo>
                    <a:lnTo>
                      <a:pt x="96" y="94"/>
                    </a:lnTo>
                    <a:lnTo>
                      <a:pt x="94" y="96"/>
                    </a:lnTo>
                    <a:lnTo>
                      <a:pt x="92" y="96"/>
                    </a:lnTo>
                    <a:lnTo>
                      <a:pt x="90" y="96"/>
                    </a:lnTo>
                    <a:lnTo>
                      <a:pt x="90" y="96"/>
                    </a:lnTo>
                    <a:lnTo>
                      <a:pt x="90" y="96"/>
                    </a:lnTo>
                    <a:lnTo>
                      <a:pt x="88" y="98"/>
                    </a:lnTo>
                    <a:lnTo>
                      <a:pt x="88" y="98"/>
                    </a:lnTo>
                    <a:lnTo>
                      <a:pt x="90" y="98"/>
                    </a:lnTo>
                    <a:lnTo>
                      <a:pt x="90" y="100"/>
                    </a:lnTo>
                    <a:lnTo>
                      <a:pt x="92" y="102"/>
                    </a:lnTo>
                    <a:lnTo>
                      <a:pt x="94" y="102"/>
                    </a:lnTo>
                    <a:lnTo>
                      <a:pt x="94" y="104"/>
                    </a:lnTo>
                    <a:lnTo>
                      <a:pt x="94" y="104"/>
                    </a:lnTo>
                    <a:lnTo>
                      <a:pt x="98" y="106"/>
                    </a:lnTo>
                    <a:lnTo>
                      <a:pt x="100" y="106"/>
                    </a:lnTo>
                    <a:lnTo>
                      <a:pt x="100" y="106"/>
                    </a:lnTo>
                    <a:lnTo>
                      <a:pt x="104" y="108"/>
                    </a:lnTo>
                    <a:lnTo>
                      <a:pt x="106" y="108"/>
                    </a:lnTo>
                    <a:lnTo>
                      <a:pt x="108" y="108"/>
                    </a:lnTo>
                    <a:lnTo>
                      <a:pt x="108" y="108"/>
                    </a:lnTo>
                    <a:lnTo>
                      <a:pt x="106" y="110"/>
                    </a:lnTo>
                    <a:lnTo>
                      <a:pt x="106" y="110"/>
                    </a:lnTo>
                    <a:lnTo>
                      <a:pt x="106" y="110"/>
                    </a:lnTo>
                    <a:lnTo>
                      <a:pt x="104" y="110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2" y="112"/>
                    </a:lnTo>
                    <a:lnTo>
                      <a:pt x="100" y="112"/>
                    </a:lnTo>
                    <a:lnTo>
                      <a:pt x="100" y="112"/>
                    </a:lnTo>
                    <a:lnTo>
                      <a:pt x="98" y="110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4" y="106"/>
                    </a:lnTo>
                    <a:lnTo>
                      <a:pt x="94" y="106"/>
                    </a:lnTo>
                    <a:lnTo>
                      <a:pt x="92" y="106"/>
                    </a:lnTo>
                    <a:lnTo>
                      <a:pt x="90" y="104"/>
                    </a:lnTo>
                    <a:lnTo>
                      <a:pt x="86" y="104"/>
                    </a:lnTo>
                    <a:lnTo>
                      <a:pt x="84" y="102"/>
                    </a:lnTo>
                    <a:lnTo>
                      <a:pt x="84" y="102"/>
                    </a:lnTo>
                    <a:lnTo>
                      <a:pt x="82" y="100"/>
                    </a:lnTo>
                    <a:lnTo>
                      <a:pt x="80" y="98"/>
                    </a:lnTo>
                    <a:lnTo>
                      <a:pt x="76" y="96"/>
                    </a:lnTo>
                    <a:lnTo>
                      <a:pt x="74" y="96"/>
                    </a:lnTo>
                    <a:lnTo>
                      <a:pt x="74" y="96"/>
                    </a:lnTo>
                    <a:lnTo>
                      <a:pt x="72" y="96"/>
                    </a:lnTo>
                    <a:lnTo>
                      <a:pt x="70" y="94"/>
                    </a:lnTo>
                    <a:lnTo>
                      <a:pt x="68" y="96"/>
                    </a:lnTo>
                    <a:lnTo>
                      <a:pt x="66" y="96"/>
                    </a:lnTo>
                    <a:lnTo>
                      <a:pt x="62" y="96"/>
                    </a:lnTo>
                    <a:lnTo>
                      <a:pt x="62" y="96"/>
                    </a:lnTo>
                    <a:lnTo>
                      <a:pt x="56" y="98"/>
                    </a:lnTo>
                    <a:lnTo>
                      <a:pt x="54" y="100"/>
                    </a:lnTo>
                    <a:lnTo>
                      <a:pt x="52" y="102"/>
                    </a:lnTo>
                    <a:lnTo>
                      <a:pt x="52" y="102"/>
                    </a:lnTo>
                    <a:lnTo>
                      <a:pt x="50" y="102"/>
                    </a:lnTo>
                    <a:lnTo>
                      <a:pt x="50" y="104"/>
                    </a:lnTo>
                    <a:lnTo>
                      <a:pt x="48" y="108"/>
                    </a:lnTo>
                    <a:lnTo>
                      <a:pt x="48" y="110"/>
                    </a:lnTo>
                    <a:lnTo>
                      <a:pt x="48" y="112"/>
                    </a:lnTo>
                    <a:lnTo>
                      <a:pt x="50" y="112"/>
                    </a:lnTo>
                    <a:lnTo>
                      <a:pt x="50" y="112"/>
                    </a:lnTo>
                    <a:lnTo>
                      <a:pt x="50" y="114"/>
                    </a:lnTo>
                    <a:lnTo>
                      <a:pt x="52" y="116"/>
                    </a:lnTo>
                    <a:lnTo>
                      <a:pt x="52" y="116"/>
                    </a:lnTo>
                    <a:lnTo>
                      <a:pt x="54" y="116"/>
                    </a:lnTo>
                    <a:lnTo>
                      <a:pt x="56" y="116"/>
                    </a:lnTo>
                    <a:lnTo>
                      <a:pt x="56" y="116"/>
                    </a:lnTo>
                    <a:lnTo>
                      <a:pt x="58" y="116"/>
                    </a:lnTo>
                    <a:lnTo>
                      <a:pt x="60" y="114"/>
                    </a:lnTo>
                    <a:lnTo>
                      <a:pt x="60" y="114"/>
                    </a:lnTo>
                    <a:lnTo>
                      <a:pt x="60" y="114"/>
                    </a:lnTo>
                    <a:lnTo>
                      <a:pt x="62" y="114"/>
                    </a:lnTo>
                    <a:lnTo>
                      <a:pt x="62" y="114"/>
                    </a:lnTo>
                    <a:lnTo>
                      <a:pt x="62" y="114"/>
                    </a:lnTo>
                    <a:lnTo>
                      <a:pt x="62" y="114"/>
                    </a:lnTo>
                    <a:lnTo>
                      <a:pt x="64" y="116"/>
                    </a:lnTo>
                    <a:lnTo>
                      <a:pt x="66" y="118"/>
                    </a:lnTo>
                    <a:lnTo>
                      <a:pt x="66" y="118"/>
                    </a:lnTo>
                    <a:lnTo>
                      <a:pt x="66" y="118"/>
                    </a:lnTo>
                    <a:lnTo>
                      <a:pt x="68" y="118"/>
                    </a:lnTo>
                    <a:lnTo>
                      <a:pt x="72" y="118"/>
                    </a:lnTo>
                    <a:lnTo>
                      <a:pt x="74" y="118"/>
                    </a:lnTo>
                    <a:lnTo>
                      <a:pt x="74" y="116"/>
                    </a:lnTo>
                    <a:lnTo>
                      <a:pt x="78" y="112"/>
                    </a:lnTo>
                    <a:lnTo>
                      <a:pt x="80" y="112"/>
                    </a:lnTo>
                    <a:lnTo>
                      <a:pt x="82" y="110"/>
                    </a:lnTo>
                    <a:lnTo>
                      <a:pt x="82" y="110"/>
                    </a:lnTo>
                    <a:lnTo>
                      <a:pt x="82" y="112"/>
                    </a:lnTo>
                    <a:lnTo>
                      <a:pt x="80" y="116"/>
                    </a:lnTo>
                    <a:lnTo>
                      <a:pt x="80" y="118"/>
                    </a:lnTo>
                    <a:lnTo>
                      <a:pt x="78" y="120"/>
                    </a:lnTo>
                    <a:lnTo>
                      <a:pt x="78" y="120"/>
                    </a:lnTo>
                    <a:lnTo>
                      <a:pt x="76" y="122"/>
                    </a:lnTo>
                    <a:lnTo>
                      <a:pt x="74" y="124"/>
                    </a:lnTo>
                    <a:lnTo>
                      <a:pt x="72" y="126"/>
                    </a:lnTo>
                    <a:lnTo>
                      <a:pt x="70" y="128"/>
                    </a:lnTo>
                    <a:lnTo>
                      <a:pt x="70" y="130"/>
                    </a:lnTo>
                    <a:lnTo>
                      <a:pt x="70" y="130"/>
                    </a:lnTo>
                    <a:lnTo>
                      <a:pt x="70" y="130"/>
                    </a:lnTo>
                    <a:lnTo>
                      <a:pt x="70" y="132"/>
                    </a:lnTo>
                    <a:lnTo>
                      <a:pt x="72" y="134"/>
                    </a:lnTo>
                    <a:lnTo>
                      <a:pt x="74" y="136"/>
                    </a:lnTo>
                    <a:lnTo>
                      <a:pt x="76" y="138"/>
                    </a:lnTo>
                    <a:lnTo>
                      <a:pt x="80" y="140"/>
                    </a:lnTo>
                    <a:lnTo>
                      <a:pt x="80" y="140"/>
                    </a:lnTo>
                    <a:lnTo>
                      <a:pt x="82" y="140"/>
                    </a:lnTo>
                    <a:lnTo>
                      <a:pt x="84" y="140"/>
                    </a:lnTo>
                    <a:lnTo>
                      <a:pt x="84" y="138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6" y="136"/>
                    </a:lnTo>
                    <a:lnTo>
                      <a:pt x="88" y="136"/>
                    </a:lnTo>
                    <a:lnTo>
                      <a:pt x="88" y="134"/>
                    </a:lnTo>
                    <a:lnTo>
                      <a:pt x="88" y="134"/>
                    </a:lnTo>
                    <a:lnTo>
                      <a:pt x="92" y="134"/>
                    </a:lnTo>
                    <a:lnTo>
                      <a:pt x="94" y="134"/>
                    </a:lnTo>
                    <a:lnTo>
                      <a:pt x="94" y="134"/>
                    </a:lnTo>
                    <a:lnTo>
                      <a:pt x="94" y="134"/>
                    </a:lnTo>
                    <a:lnTo>
                      <a:pt x="96" y="136"/>
                    </a:lnTo>
                    <a:lnTo>
                      <a:pt x="96" y="136"/>
                    </a:lnTo>
                    <a:lnTo>
                      <a:pt x="96" y="136"/>
                    </a:lnTo>
                    <a:lnTo>
                      <a:pt x="96" y="136"/>
                    </a:lnTo>
                    <a:lnTo>
                      <a:pt x="96" y="138"/>
                    </a:lnTo>
                    <a:lnTo>
                      <a:pt x="94" y="140"/>
                    </a:lnTo>
                    <a:lnTo>
                      <a:pt x="94" y="140"/>
                    </a:lnTo>
                    <a:lnTo>
                      <a:pt x="94" y="142"/>
                    </a:lnTo>
                    <a:lnTo>
                      <a:pt x="94" y="144"/>
                    </a:lnTo>
                    <a:lnTo>
                      <a:pt x="94" y="144"/>
                    </a:lnTo>
                    <a:lnTo>
                      <a:pt x="94" y="146"/>
                    </a:lnTo>
                    <a:lnTo>
                      <a:pt x="94" y="148"/>
                    </a:lnTo>
                    <a:lnTo>
                      <a:pt x="94" y="150"/>
                    </a:lnTo>
                    <a:lnTo>
                      <a:pt x="94" y="150"/>
                    </a:lnTo>
                    <a:lnTo>
                      <a:pt x="92" y="150"/>
                    </a:lnTo>
                    <a:lnTo>
                      <a:pt x="92" y="150"/>
                    </a:lnTo>
                    <a:lnTo>
                      <a:pt x="92" y="150"/>
                    </a:lnTo>
                    <a:lnTo>
                      <a:pt x="86" y="148"/>
                    </a:lnTo>
                    <a:lnTo>
                      <a:pt x="84" y="148"/>
                    </a:lnTo>
                    <a:lnTo>
                      <a:pt x="80" y="148"/>
                    </a:lnTo>
                    <a:lnTo>
                      <a:pt x="80" y="148"/>
                    </a:lnTo>
                    <a:lnTo>
                      <a:pt x="78" y="148"/>
                    </a:lnTo>
                    <a:lnTo>
                      <a:pt x="78" y="150"/>
                    </a:lnTo>
                    <a:lnTo>
                      <a:pt x="76" y="148"/>
                    </a:lnTo>
                    <a:lnTo>
                      <a:pt x="76" y="148"/>
                    </a:lnTo>
                    <a:lnTo>
                      <a:pt x="74" y="148"/>
                    </a:lnTo>
                    <a:lnTo>
                      <a:pt x="72" y="146"/>
                    </a:lnTo>
                    <a:lnTo>
                      <a:pt x="72" y="146"/>
                    </a:lnTo>
                    <a:lnTo>
                      <a:pt x="70" y="146"/>
                    </a:lnTo>
                    <a:lnTo>
                      <a:pt x="70" y="144"/>
                    </a:lnTo>
                    <a:lnTo>
                      <a:pt x="70" y="142"/>
                    </a:lnTo>
                    <a:lnTo>
                      <a:pt x="70" y="142"/>
                    </a:lnTo>
                    <a:lnTo>
                      <a:pt x="68" y="140"/>
                    </a:lnTo>
                    <a:lnTo>
                      <a:pt x="66" y="138"/>
                    </a:lnTo>
                    <a:lnTo>
                      <a:pt x="66" y="138"/>
                    </a:lnTo>
                    <a:lnTo>
                      <a:pt x="64" y="136"/>
                    </a:lnTo>
                    <a:lnTo>
                      <a:pt x="62" y="136"/>
                    </a:lnTo>
                    <a:lnTo>
                      <a:pt x="62" y="136"/>
                    </a:lnTo>
                    <a:lnTo>
                      <a:pt x="60" y="134"/>
                    </a:lnTo>
                    <a:lnTo>
                      <a:pt x="60" y="134"/>
                    </a:lnTo>
                    <a:lnTo>
                      <a:pt x="58" y="132"/>
                    </a:lnTo>
                    <a:lnTo>
                      <a:pt x="58" y="132"/>
                    </a:lnTo>
                    <a:lnTo>
                      <a:pt x="58" y="132"/>
                    </a:lnTo>
                    <a:lnTo>
                      <a:pt x="58" y="130"/>
                    </a:lnTo>
                    <a:lnTo>
                      <a:pt x="58" y="130"/>
                    </a:lnTo>
                    <a:lnTo>
                      <a:pt x="58" y="128"/>
                    </a:lnTo>
                    <a:lnTo>
                      <a:pt x="58" y="128"/>
                    </a:lnTo>
                    <a:lnTo>
                      <a:pt x="56" y="126"/>
                    </a:lnTo>
                    <a:lnTo>
                      <a:pt x="54" y="124"/>
                    </a:lnTo>
                    <a:lnTo>
                      <a:pt x="54" y="124"/>
                    </a:lnTo>
                    <a:lnTo>
                      <a:pt x="52" y="122"/>
                    </a:lnTo>
                    <a:lnTo>
                      <a:pt x="50" y="120"/>
                    </a:lnTo>
                    <a:lnTo>
                      <a:pt x="46" y="120"/>
                    </a:lnTo>
                    <a:lnTo>
                      <a:pt x="44" y="118"/>
                    </a:lnTo>
                    <a:lnTo>
                      <a:pt x="44" y="118"/>
                    </a:lnTo>
                    <a:lnTo>
                      <a:pt x="44" y="118"/>
                    </a:lnTo>
                    <a:lnTo>
                      <a:pt x="42" y="118"/>
                    </a:lnTo>
                    <a:lnTo>
                      <a:pt x="40" y="120"/>
                    </a:lnTo>
                    <a:lnTo>
                      <a:pt x="38" y="122"/>
                    </a:lnTo>
                    <a:lnTo>
                      <a:pt x="36" y="122"/>
                    </a:lnTo>
                    <a:lnTo>
                      <a:pt x="36" y="122"/>
                    </a:lnTo>
                    <a:lnTo>
                      <a:pt x="36" y="122"/>
                    </a:lnTo>
                    <a:lnTo>
                      <a:pt x="36" y="122"/>
                    </a:lnTo>
                    <a:lnTo>
                      <a:pt x="36" y="12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628" name="Freeform 178"/>
              <p:cNvSpPr>
                <a:spLocks/>
              </p:cNvSpPr>
              <p:nvPr/>
            </p:nvSpPr>
            <p:spPr bwMode="auto">
              <a:xfrm>
                <a:off x="935" y="1650"/>
                <a:ext cx="8" cy="20"/>
              </a:xfrm>
              <a:custGeom>
                <a:avLst/>
                <a:gdLst>
                  <a:gd name="T0" fmla="*/ 2 w 8"/>
                  <a:gd name="T1" fmla="*/ 4 h 20"/>
                  <a:gd name="T2" fmla="*/ 2 w 8"/>
                  <a:gd name="T3" fmla="*/ 4 h 20"/>
                  <a:gd name="T4" fmla="*/ 2 w 8"/>
                  <a:gd name="T5" fmla="*/ 6 h 20"/>
                  <a:gd name="T6" fmla="*/ 0 w 8"/>
                  <a:gd name="T7" fmla="*/ 10 h 20"/>
                  <a:gd name="T8" fmla="*/ 0 w 8"/>
                  <a:gd name="T9" fmla="*/ 10 h 20"/>
                  <a:gd name="T10" fmla="*/ 0 w 8"/>
                  <a:gd name="T11" fmla="*/ 12 h 20"/>
                  <a:gd name="T12" fmla="*/ 0 w 8"/>
                  <a:gd name="T13" fmla="*/ 16 h 20"/>
                  <a:gd name="T14" fmla="*/ 0 w 8"/>
                  <a:gd name="T15" fmla="*/ 20 h 20"/>
                  <a:gd name="T16" fmla="*/ 0 w 8"/>
                  <a:gd name="T17" fmla="*/ 20 h 20"/>
                  <a:gd name="T18" fmla="*/ 2 w 8"/>
                  <a:gd name="T19" fmla="*/ 20 h 20"/>
                  <a:gd name="T20" fmla="*/ 2 w 8"/>
                  <a:gd name="T21" fmla="*/ 20 h 20"/>
                  <a:gd name="T22" fmla="*/ 4 w 8"/>
                  <a:gd name="T23" fmla="*/ 18 h 20"/>
                  <a:gd name="T24" fmla="*/ 6 w 8"/>
                  <a:gd name="T25" fmla="*/ 16 h 20"/>
                  <a:gd name="T26" fmla="*/ 6 w 8"/>
                  <a:gd name="T27" fmla="*/ 12 h 20"/>
                  <a:gd name="T28" fmla="*/ 8 w 8"/>
                  <a:gd name="T29" fmla="*/ 10 h 20"/>
                  <a:gd name="T30" fmla="*/ 8 w 8"/>
                  <a:gd name="T31" fmla="*/ 10 h 20"/>
                  <a:gd name="T32" fmla="*/ 8 w 8"/>
                  <a:gd name="T33" fmla="*/ 8 h 20"/>
                  <a:gd name="T34" fmla="*/ 8 w 8"/>
                  <a:gd name="T35" fmla="*/ 6 h 20"/>
                  <a:gd name="T36" fmla="*/ 6 w 8"/>
                  <a:gd name="T37" fmla="*/ 4 h 20"/>
                  <a:gd name="T38" fmla="*/ 6 w 8"/>
                  <a:gd name="T39" fmla="*/ 2 h 20"/>
                  <a:gd name="T40" fmla="*/ 6 w 8"/>
                  <a:gd name="T41" fmla="*/ 2 h 20"/>
                  <a:gd name="T42" fmla="*/ 4 w 8"/>
                  <a:gd name="T43" fmla="*/ 0 h 20"/>
                  <a:gd name="T44" fmla="*/ 4 w 8"/>
                  <a:gd name="T45" fmla="*/ 0 h 20"/>
                  <a:gd name="T46" fmla="*/ 4 w 8"/>
                  <a:gd name="T47" fmla="*/ 0 h 20"/>
                  <a:gd name="T48" fmla="*/ 4 w 8"/>
                  <a:gd name="T49" fmla="*/ 0 h 20"/>
                  <a:gd name="T50" fmla="*/ 2 w 8"/>
                  <a:gd name="T51" fmla="*/ 0 h 20"/>
                  <a:gd name="T52" fmla="*/ 2 w 8"/>
                  <a:gd name="T53" fmla="*/ 0 h 20"/>
                  <a:gd name="T54" fmla="*/ 2 w 8"/>
                  <a:gd name="T55" fmla="*/ 2 h 20"/>
                  <a:gd name="T56" fmla="*/ 2 w 8"/>
                  <a:gd name="T57" fmla="*/ 4 h 20"/>
                  <a:gd name="T58" fmla="*/ 2 w 8"/>
                  <a:gd name="T59" fmla="*/ 4 h 20"/>
                  <a:gd name="T60" fmla="*/ 2 w 8"/>
                  <a:gd name="T61" fmla="*/ 4 h 20"/>
                  <a:gd name="T62" fmla="*/ 2 w 8"/>
                  <a:gd name="T63" fmla="*/ 4 h 20"/>
                  <a:gd name="T64" fmla="*/ 2 w 8"/>
                  <a:gd name="T65" fmla="*/ 4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8" h="20">
                    <a:moveTo>
                      <a:pt x="2" y="4"/>
                    </a:moveTo>
                    <a:lnTo>
                      <a:pt x="2" y="4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4" y="18"/>
                    </a:lnTo>
                    <a:lnTo>
                      <a:pt x="6" y="16"/>
                    </a:lnTo>
                    <a:lnTo>
                      <a:pt x="6" y="12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8"/>
                    </a:lnTo>
                    <a:lnTo>
                      <a:pt x="8" y="6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629" name="Freeform 179"/>
              <p:cNvSpPr>
                <a:spLocks/>
              </p:cNvSpPr>
              <p:nvPr/>
            </p:nvSpPr>
            <p:spPr bwMode="auto">
              <a:xfrm>
                <a:off x="901" y="1666"/>
                <a:ext cx="20" cy="54"/>
              </a:xfrm>
              <a:custGeom>
                <a:avLst/>
                <a:gdLst>
                  <a:gd name="T0" fmla="*/ 2 w 20"/>
                  <a:gd name="T1" fmla="*/ 18 h 54"/>
                  <a:gd name="T2" fmla="*/ 0 w 20"/>
                  <a:gd name="T3" fmla="*/ 22 h 54"/>
                  <a:gd name="T4" fmla="*/ 2 w 20"/>
                  <a:gd name="T5" fmla="*/ 28 h 54"/>
                  <a:gd name="T6" fmla="*/ 2 w 20"/>
                  <a:gd name="T7" fmla="*/ 28 h 54"/>
                  <a:gd name="T8" fmla="*/ 4 w 20"/>
                  <a:gd name="T9" fmla="*/ 30 h 54"/>
                  <a:gd name="T10" fmla="*/ 4 w 20"/>
                  <a:gd name="T11" fmla="*/ 32 h 54"/>
                  <a:gd name="T12" fmla="*/ 2 w 20"/>
                  <a:gd name="T13" fmla="*/ 34 h 54"/>
                  <a:gd name="T14" fmla="*/ 2 w 20"/>
                  <a:gd name="T15" fmla="*/ 36 h 54"/>
                  <a:gd name="T16" fmla="*/ 2 w 20"/>
                  <a:gd name="T17" fmla="*/ 40 h 54"/>
                  <a:gd name="T18" fmla="*/ 4 w 20"/>
                  <a:gd name="T19" fmla="*/ 42 h 54"/>
                  <a:gd name="T20" fmla="*/ 4 w 20"/>
                  <a:gd name="T21" fmla="*/ 46 h 54"/>
                  <a:gd name="T22" fmla="*/ 4 w 20"/>
                  <a:gd name="T23" fmla="*/ 50 h 54"/>
                  <a:gd name="T24" fmla="*/ 6 w 20"/>
                  <a:gd name="T25" fmla="*/ 52 h 54"/>
                  <a:gd name="T26" fmla="*/ 6 w 20"/>
                  <a:gd name="T27" fmla="*/ 54 h 54"/>
                  <a:gd name="T28" fmla="*/ 8 w 20"/>
                  <a:gd name="T29" fmla="*/ 54 h 54"/>
                  <a:gd name="T30" fmla="*/ 8 w 20"/>
                  <a:gd name="T31" fmla="*/ 54 h 54"/>
                  <a:gd name="T32" fmla="*/ 8 w 20"/>
                  <a:gd name="T33" fmla="*/ 52 h 54"/>
                  <a:gd name="T34" fmla="*/ 8 w 20"/>
                  <a:gd name="T35" fmla="*/ 48 h 54"/>
                  <a:gd name="T36" fmla="*/ 8 w 20"/>
                  <a:gd name="T37" fmla="*/ 42 h 54"/>
                  <a:gd name="T38" fmla="*/ 10 w 20"/>
                  <a:gd name="T39" fmla="*/ 40 h 54"/>
                  <a:gd name="T40" fmla="*/ 10 w 20"/>
                  <a:gd name="T41" fmla="*/ 38 h 54"/>
                  <a:gd name="T42" fmla="*/ 12 w 20"/>
                  <a:gd name="T43" fmla="*/ 36 h 54"/>
                  <a:gd name="T44" fmla="*/ 10 w 20"/>
                  <a:gd name="T45" fmla="*/ 34 h 54"/>
                  <a:gd name="T46" fmla="*/ 10 w 20"/>
                  <a:gd name="T47" fmla="*/ 34 h 54"/>
                  <a:gd name="T48" fmla="*/ 8 w 20"/>
                  <a:gd name="T49" fmla="*/ 32 h 54"/>
                  <a:gd name="T50" fmla="*/ 8 w 20"/>
                  <a:gd name="T51" fmla="*/ 30 h 54"/>
                  <a:gd name="T52" fmla="*/ 8 w 20"/>
                  <a:gd name="T53" fmla="*/ 28 h 54"/>
                  <a:gd name="T54" fmla="*/ 8 w 20"/>
                  <a:gd name="T55" fmla="*/ 26 h 54"/>
                  <a:gd name="T56" fmla="*/ 8 w 20"/>
                  <a:gd name="T57" fmla="*/ 24 h 54"/>
                  <a:gd name="T58" fmla="*/ 10 w 20"/>
                  <a:gd name="T59" fmla="*/ 20 h 54"/>
                  <a:gd name="T60" fmla="*/ 12 w 20"/>
                  <a:gd name="T61" fmla="*/ 16 h 54"/>
                  <a:gd name="T62" fmla="*/ 16 w 20"/>
                  <a:gd name="T63" fmla="*/ 14 h 54"/>
                  <a:gd name="T64" fmla="*/ 18 w 20"/>
                  <a:gd name="T65" fmla="*/ 12 h 54"/>
                  <a:gd name="T66" fmla="*/ 20 w 20"/>
                  <a:gd name="T67" fmla="*/ 10 h 54"/>
                  <a:gd name="T68" fmla="*/ 16 w 20"/>
                  <a:gd name="T69" fmla="*/ 12 h 54"/>
                  <a:gd name="T70" fmla="*/ 14 w 20"/>
                  <a:gd name="T71" fmla="*/ 12 h 54"/>
                  <a:gd name="T72" fmla="*/ 12 w 20"/>
                  <a:gd name="T73" fmla="*/ 12 h 54"/>
                  <a:gd name="T74" fmla="*/ 12 w 20"/>
                  <a:gd name="T75" fmla="*/ 10 h 54"/>
                  <a:gd name="T76" fmla="*/ 12 w 20"/>
                  <a:gd name="T77" fmla="*/ 8 h 54"/>
                  <a:gd name="T78" fmla="*/ 10 w 20"/>
                  <a:gd name="T79" fmla="*/ 6 h 54"/>
                  <a:gd name="T80" fmla="*/ 10 w 20"/>
                  <a:gd name="T81" fmla="*/ 4 h 54"/>
                  <a:gd name="T82" fmla="*/ 8 w 20"/>
                  <a:gd name="T83" fmla="*/ 4 h 54"/>
                  <a:gd name="T84" fmla="*/ 8 w 20"/>
                  <a:gd name="T85" fmla="*/ 2 h 54"/>
                  <a:gd name="T86" fmla="*/ 8 w 20"/>
                  <a:gd name="T87" fmla="*/ 0 h 54"/>
                  <a:gd name="T88" fmla="*/ 6 w 20"/>
                  <a:gd name="T89" fmla="*/ 0 h 54"/>
                  <a:gd name="T90" fmla="*/ 4 w 20"/>
                  <a:gd name="T91" fmla="*/ 4 h 54"/>
                  <a:gd name="T92" fmla="*/ 2 w 20"/>
                  <a:gd name="T93" fmla="*/ 8 h 54"/>
                  <a:gd name="T94" fmla="*/ 2 w 20"/>
                  <a:gd name="T95" fmla="*/ 18 h 54"/>
                  <a:gd name="T96" fmla="*/ 2 w 20"/>
                  <a:gd name="T97" fmla="*/ 18 h 54"/>
                  <a:gd name="T98" fmla="*/ 2 w 20"/>
                  <a:gd name="T99" fmla="*/ 18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0" h="54">
                    <a:moveTo>
                      <a:pt x="2" y="18"/>
                    </a:moveTo>
                    <a:lnTo>
                      <a:pt x="2" y="18"/>
                    </a:lnTo>
                    <a:lnTo>
                      <a:pt x="0" y="20"/>
                    </a:lnTo>
                    <a:lnTo>
                      <a:pt x="0" y="22"/>
                    </a:lnTo>
                    <a:lnTo>
                      <a:pt x="0" y="24"/>
                    </a:lnTo>
                    <a:lnTo>
                      <a:pt x="2" y="28"/>
                    </a:lnTo>
                    <a:lnTo>
                      <a:pt x="2" y="28"/>
                    </a:lnTo>
                    <a:lnTo>
                      <a:pt x="2" y="28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2"/>
                    </a:lnTo>
                    <a:lnTo>
                      <a:pt x="4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6"/>
                    </a:lnTo>
                    <a:lnTo>
                      <a:pt x="2" y="38"/>
                    </a:lnTo>
                    <a:lnTo>
                      <a:pt x="2" y="40"/>
                    </a:lnTo>
                    <a:lnTo>
                      <a:pt x="2" y="40"/>
                    </a:lnTo>
                    <a:lnTo>
                      <a:pt x="4" y="42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8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6" y="52"/>
                    </a:lnTo>
                    <a:lnTo>
                      <a:pt x="6" y="54"/>
                    </a:lnTo>
                    <a:lnTo>
                      <a:pt x="6" y="54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6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0" y="40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12" y="36"/>
                    </a:lnTo>
                    <a:lnTo>
                      <a:pt x="12" y="36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6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2"/>
                    </a:lnTo>
                    <a:lnTo>
                      <a:pt x="10" y="20"/>
                    </a:lnTo>
                    <a:lnTo>
                      <a:pt x="10" y="18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6" y="14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18" y="10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2" y="12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2" y="12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2" y="18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630" name="Freeform 182"/>
              <p:cNvSpPr>
                <a:spLocks/>
              </p:cNvSpPr>
              <p:nvPr/>
            </p:nvSpPr>
            <p:spPr bwMode="auto">
              <a:xfrm>
                <a:off x="931" y="1670"/>
                <a:ext cx="4" cy="10"/>
              </a:xfrm>
              <a:custGeom>
                <a:avLst/>
                <a:gdLst>
                  <a:gd name="T0" fmla="*/ 4 w 4"/>
                  <a:gd name="T1" fmla="*/ 6 h 10"/>
                  <a:gd name="T2" fmla="*/ 4 w 4"/>
                  <a:gd name="T3" fmla="*/ 6 h 10"/>
                  <a:gd name="T4" fmla="*/ 2 w 4"/>
                  <a:gd name="T5" fmla="*/ 2 h 10"/>
                  <a:gd name="T6" fmla="*/ 2 w 4"/>
                  <a:gd name="T7" fmla="*/ 2 h 10"/>
                  <a:gd name="T8" fmla="*/ 2 w 4"/>
                  <a:gd name="T9" fmla="*/ 0 h 10"/>
                  <a:gd name="T10" fmla="*/ 2 w 4"/>
                  <a:gd name="T11" fmla="*/ 0 h 10"/>
                  <a:gd name="T12" fmla="*/ 0 w 4"/>
                  <a:gd name="T13" fmla="*/ 0 h 10"/>
                  <a:gd name="T14" fmla="*/ 0 w 4"/>
                  <a:gd name="T15" fmla="*/ 0 h 10"/>
                  <a:gd name="T16" fmla="*/ 0 w 4"/>
                  <a:gd name="T17" fmla="*/ 2 h 10"/>
                  <a:gd name="T18" fmla="*/ 0 w 4"/>
                  <a:gd name="T19" fmla="*/ 4 h 10"/>
                  <a:gd name="T20" fmla="*/ 0 w 4"/>
                  <a:gd name="T21" fmla="*/ 6 h 10"/>
                  <a:gd name="T22" fmla="*/ 0 w 4"/>
                  <a:gd name="T23" fmla="*/ 6 h 10"/>
                  <a:gd name="T24" fmla="*/ 0 w 4"/>
                  <a:gd name="T25" fmla="*/ 8 h 10"/>
                  <a:gd name="T26" fmla="*/ 0 w 4"/>
                  <a:gd name="T27" fmla="*/ 8 h 10"/>
                  <a:gd name="T28" fmla="*/ 0 w 4"/>
                  <a:gd name="T29" fmla="*/ 10 h 10"/>
                  <a:gd name="T30" fmla="*/ 2 w 4"/>
                  <a:gd name="T31" fmla="*/ 10 h 10"/>
                  <a:gd name="T32" fmla="*/ 2 w 4"/>
                  <a:gd name="T33" fmla="*/ 10 h 10"/>
                  <a:gd name="T34" fmla="*/ 2 w 4"/>
                  <a:gd name="T35" fmla="*/ 10 h 10"/>
                  <a:gd name="T36" fmla="*/ 4 w 4"/>
                  <a:gd name="T37" fmla="*/ 10 h 10"/>
                  <a:gd name="T38" fmla="*/ 4 w 4"/>
                  <a:gd name="T39" fmla="*/ 8 h 10"/>
                  <a:gd name="T40" fmla="*/ 4 w 4"/>
                  <a:gd name="T41" fmla="*/ 8 h 10"/>
                  <a:gd name="T42" fmla="*/ 4 w 4"/>
                  <a:gd name="T43" fmla="*/ 6 h 10"/>
                  <a:gd name="T44" fmla="*/ 4 w 4"/>
                  <a:gd name="T45" fmla="*/ 6 h 10"/>
                  <a:gd name="T46" fmla="*/ 4 w 4"/>
                  <a:gd name="T47" fmla="*/ 6 h 10"/>
                  <a:gd name="T48" fmla="*/ 4 w 4"/>
                  <a:gd name="T49" fmla="*/ 6 h 10"/>
                  <a:gd name="T50" fmla="*/ 4 w 4"/>
                  <a:gd name="T51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" h="10">
                    <a:moveTo>
                      <a:pt x="4" y="6"/>
                    </a:moveTo>
                    <a:lnTo>
                      <a:pt x="4" y="6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4" y="10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631" name="Freeform 183"/>
              <p:cNvSpPr>
                <a:spLocks/>
              </p:cNvSpPr>
              <p:nvPr/>
            </p:nvSpPr>
            <p:spPr bwMode="auto">
              <a:xfrm>
                <a:off x="935" y="1684"/>
                <a:ext cx="6" cy="16"/>
              </a:xfrm>
              <a:custGeom>
                <a:avLst/>
                <a:gdLst>
                  <a:gd name="T0" fmla="*/ 0 w 6"/>
                  <a:gd name="T1" fmla="*/ 6 h 16"/>
                  <a:gd name="T2" fmla="*/ 0 w 6"/>
                  <a:gd name="T3" fmla="*/ 6 h 16"/>
                  <a:gd name="T4" fmla="*/ 0 w 6"/>
                  <a:gd name="T5" fmla="*/ 8 h 16"/>
                  <a:gd name="T6" fmla="*/ 2 w 6"/>
                  <a:gd name="T7" fmla="*/ 12 h 16"/>
                  <a:gd name="T8" fmla="*/ 2 w 6"/>
                  <a:gd name="T9" fmla="*/ 12 h 16"/>
                  <a:gd name="T10" fmla="*/ 2 w 6"/>
                  <a:gd name="T11" fmla="*/ 14 h 16"/>
                  <a:gd name="T12" fmla="*/ 4 w 6"/>
                  <a:gd name="T13" fmla="*/ 14 h 16"/>
                  <a:gd name="T14" fmla="*/ 4 w 6"/>
                  <a:gd name="T15" fmla="*/ 16 h 16"/>
                  <a:gd name="T16" fmla="*/ 4 w 6"/>
                  <a:gd name="T17" fmla="*/ 16 h 16"/>
                  <a:gd name="T18" fmla="*/ 6 w 6"/>
                  <a:gd name="T19" fmla="*/ 14 h 16"/>
                  <a:gd name="T20" fmla="*/ 6 w 6"/>
                  <a:gd name="T21" fmla="*/ 14 h 16"/>
                  <a:gd name="T22" fmla="*/ 6 w 6"/>
                  <a:gd name="T23" fmla="*/ 14 h 16"/>
                  <a:gd name="T24" fmla="*/ 6 w 6"/>
                  <a:gd name="T25" fmla="*/ 12 h 16"/>
                  <a:gd name="T26" fmla="*/ 6 w 6"/>
                  <a:gd name="T27" fmla="*/ 10 h 16"/>
                  <a:gd name="T28" fmla="*/ 4 w 6"/>
                  <a:gd name="T29" fmla="*/ 8 h 16"/>
                  <a:gd name="T30" fmla="*/ 4 w 6"/>
                  <a:gd name="T31" fmla="*/ 8 h 16"/>
                  <a:gd name="T32" fmla="*/ 4 w 6"/>
                  <a:gd name="T33" fmla="*/ 4 h 16"/>
                  <a:gd name="T34" fmla="*/ 4 w 6"/>
                  <a:gd name="T35" fmla="*/ 0 h 16"/>
                  <a:gd name="T36" fmla="*/ 2 w 6"/>
                  <a:gd name="T37" fmla="*/ 0 h 16"/>
                  <a:gd name="T38" fmla="*/ 2 w 6"/>
                  <a:gd name="T39" fmla="*/ 0 h 16"/>
                  <a:gd name="T40" fmla="*/ 2 w 6"/>
                  <a:gd name="T41" fmla="*/ 0 h 16"/>
                  <a:gd name="T42" fmla="*/ 2 w 6"/>
                  <a:gd name="T43" fmla="*/ 2 h 16"/>
                  <a:gd name="T44" fmla="*/ 0 w 6"/>
                  <a:gd name="T45" fmla="*/ 2 h 16"/>
                  <a:gd name="T46" fmla="*/ 0 w 6"/>
                  <a:gd name="T47" fmla="*/ 6 h 16"/>
                  <a:gd name="T48" fmla="*/ 0 w 6"/>
                  <a:gd name="T49" fmla="*/ 6 h 16"/>
                  <a:gd name="T50" fmla="*/ 0 w 6"/>
                  <a:gd name="T51" fmla="*/ 6 h 16"/>
                  <a:gd name="T52" fmla="*/ 0 w 6"/>
                  <a:gd name="T53" fmla="*/ 6 h 16"/>
                  <a:gd name="T54" fmla="*/ 0 w 6"/>
                  <a:gd name="T55" fmla="*/ 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6" h="16">
                    <a:moveTo>
                      <a:pt x="0" y="6"/>
                    </a:moveTo>
                    <a:lnTo>
                      <a:pt x="0" y="6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4"/>
                    </a:lnTo>
                    <a:lnTo>
                      <a:pt x="4" y="14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2"/>
                    </a:lnTo>
                    <a:lnTo>
                      <a:pt x="6" y="10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632" name="Freeform 185"/>
              <p:cNvSpPr>
                <a:spLocks/>
              </p:cNvSpPr>
              <p:nvPr/>
            </p:nvSpPr>
            <p:spPr bwMode="auto">
              <a:xfrm>
                <a:off x="947" y="1730"/>
                <a:ext cx="6" cy="10"/>
              </a:xfrm>
              <a:custGeom>
                <a:avLst/>
                <a:gdLst>
                  <a:gd name="T0" fmla="*/ 0 w 6"/>
                  <a:gd name="T1" fmla="*/ 2 h 10"/>
                  <a:gd name="T2" fmla="*/ 0 w 6"/>
                  <a:gd name="T3" fmla="*/ 2 h 10"/>
                  <a:gd name="T4" fmla="*/ 0 w 6"/>
                  <a:gd name="T5" fmla="*/ 2 h 10"/>
                  <a:gd name="T6" fmla="*/ 0 w 6"/>
                  <a:gd name="T7" fmla="*/ 4 h 10"/>
                  <a:gd name="T8" fmla="*/ 2 w 6"/>
                  <a:gd name="T9" fmla="*/ 6 h 10"/>
                  <a:gd name="T10" fmla="*/ 2 w 6"/>
                  <a:gd name="T11" fmla="*/ 6 h 10"/>
                  <a:gd name="T12" fmla="*/ 2 w 6"/>
                  <a:gd name="T13" fmla="*/ 8 h 10"/>
                  <a:gd name="T14" fmla="*/ 2 w 6"/>
                  <a:gd name="T15" fmla="*/ 8 h 10"/>
                  <a:gd name="T16" fmla="*/ 2 w 6"/>
                  <a:gd name="T17" fmla="*/ 10 h 10"/>
                  <a:gd name="T18" fmla="*/ 2 w 6"/>
                  <a:gd name="T19" fmla="*/ 10 h 10"/>
                  <a:gd name="T20" fmla="*/ 2 w 6"/>
                  <a:gd name="T21" fmla="*/ 10 h 10"/>
                  <a:gd name="T22" fmla="*/ 2 w 6"/>
                  <a:gd name="T23" fmla="*/ 10 h 10"/>
                  <a:gd name="T24" fmla="*/ 4 w 6"/>
                  <a:gd name="T25" fmla="*/ 8 h 10"/>
                  <a:gd name="T26" fmla="*/ 6 w 6"/>
                  <a:gd name="T27" fmla="*/ 4 h 10"/>
                  <a:gd name="T28" fmla="*/ 6 w 6"/>
                  <a:gd name="T29" fmla="*/ 4 h 10"/>
                  <a:gd name="T30" fmla="*/ 6 w 6"/>
                  <a:gd name="T31" fmla="*/ 2 h 10"/>
                  <a:gd name="T32" fmla="*/ 6 w 6"/>
                  <a:gd name="T33" fmla="*/ 2 h 10"/>
                  <a:gd name="T34" fmla="*/ 6 w 6"/>
                  <a:gd name="T35" fmla="*/ 0 h 10"/>
                  <a:gd name="T36" fmla="*/ 6 w 6"/>
                  <a:gd name="T37" fmla="*/ 0 h 10"/>
                  <a:gd name="T38" fmla="*/ 6 w 6"/>
                  <a:gd name="T39" fmla="*/ 0 h 10"/>
                  <a:gd name="T40" fmla="*/ 6 w 6"/>
                  <a:gd name="T41" fmla="*/ 0 h 10"/>
                  <a:gd name="T42" fmla="*/ 4 w 6"/>
                  <a:gd name="T43" fmla="*/ 0 h 10"/>
                  <a:gd name="T44" fmla="*/ 2 w 6"/>
                  <a:gd name="T45" fmla="*/ 0 h 10"/>
                  <a:gd name="T46" fmla="*/ 2 w 6"/>
                  <a:gd name="T47" fmla="*/ 2 h 10"/>
                  <a:gd name="T48" fmla="*/ 0 w 6"/>
                  <a:gd name="T49" fmla="*/ 2 h 10"/>
                  <a:gd name="T50" fmla="*/ 0 w 6"/>
                  <a:gd name="T51" fmla="*/ 2 h 10"/>
                  <a:gd name="T52" fmla="*/ 0 w 6"/>
                  <a:gd name="T53" fmla="*/ 2 h 10"/>
                  <a:gd name="T54" fmla="*/ 0 w 6"/>
                  <a:gd name="T55" fmla="*/ 2 h 10"/>
                  <a:gd name="T56" fmla="*/ 0 w 6"/>
                  <a:gd name="T57" fmla="*/ 2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" h="10">
                    <a:moveTo>
                      <a:pt x="0" y="2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4" y="8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633" name="Freeform 187"/>
              <p:cNvSpPr>
                <a:spLocks/>
              </p:cNvSpPr>
              <p:nvPr/>
            </p:nvSpPr>
            <p:spPr bwMode="auto">
              <a:xfrm>
                <a:off x="931" y="1772"/>
                <a:ext cx="50" cy="62"/>
              </a:xfrm>
              <a:custGeom>
                <a:avLst/>
                <a:gdLst>
                  <a:gd name="T0" fmla="*/ 10 w 50"/>
                  <a:gd name="T1" fmla="*/ 4 h 62"/>
                  <a:gd name="T2" fmla="*/ 8 w 50"/>
                  <a:gd name="T3" fmla="*/ 0 h 62"/>
                  <a:gd name="T4" fmla="*/ 6 w 50"/>
                  <a:gd name="T5" fmla="*/ 0 h 62"/>
                  <a:gd name="T6" fmla="*/ 4 w 50"/>
                  <a:gd name="T7" fmla="*/ 0 h 62"/>
                  <a:gd name="T8" fmla="*/ 2 w 50"/>
                  <a:gd name="T9" fmla="*/ 0 h 62"/>
                  <a:gd name="T10" fmla="*/ 0 w 50"/>
                  <a:gd name="T11" fmla="*/ 2 h 62"/>
                  <a:gd name="T12" fmla="*/ 0 w 50"/>
                  <a:gd name="T13" fmla="*/ 4 h 62"/>
                  <a:gd name="T14" fmla="*/ 2 w 50"/>
                  <a:gd name="T15" fmla="*/ 8 h 62"/>
                  <a:gd name="T16" fmla="*/ 4 w 50"/>
                  <a:gd name="T17" fmla="*/ 12 h 62"/>
                  <a:gd name="T18" fmla="*/ 8 w 50"/>
                  <a:gd name="T19" fmla="*/ 14 h 62"/>
                  <a:gd name="T20" fmla="*/ 10 w 50"/>
                  <a:gd name="T21" fmla="*/ 16 h 62"/>
                  <a:gd name="T22" fmla="*/ 12 w 50"/>
                  <a:gd name="T23" fmla="*/ 20 h 62"/>
                  <a:gd name="T24" fmla="*/ 14 w 50"/>
                  <a:gd name="T25" fmla="*/ 22 h 62"/>
                  <a:gd name="T26" fmla="*/ 16 w 50"/>
                  <a:gd name="T27" fmla="*/ 24 h 62"/>
                  <a:gd name="T28" fmla="*/ 18 w 50"/>
                  <a:gd name="T29" fmla="*/ 26 h 62"/>
                  <a:gd name="T30" fmla="*/ 16 w 50"/>
                  <a:gd name="T31" fmla="*/ 28 h 62"/>
                  <a:gd name="T32" fmla="*/ 16 w 50"/>
                  <a:gd name="T33" fmla="*/ 28 h 62"/>
                  <a:gd name="T34" fmla="*/ 18 w 50"/>
                  <a:gd name="T35" fmla="*/ 30 h 62"/>
                  <a:gd name="T36" fmla="*/ 18 w 50"/>
                  <a:gd name="T37" fmla="*/ 30 h 62"/>
                  <a:gd name="T38" fmla="*/ 20 w 50"/>
                  <a:gd name="T39" fmla="*/ 34 h 62"/>
                  <a:gd name="T40" fmla="*/ 22 w 50"/>
                  <a:gd name="T41" fmla="*/ 38 h 62"/>
                  <a:gd name="T42" fmla="*/ 22 w 50"/>
                  <a:gd name="T43" fmla="*/ 40 h 62"/>
                  <a:gd name="T44" fmla="*/ 22 w 50"/>
                  <a:gd name="T45" fmla="*/ 42 h 62"/>
                  <a:gd name="T46" fmla="*/ 22 w 50"/>
                  <a:gd name="T47" fmla="*/ 44 h 62"/>
                  <a:gd name="T48" fmla="*/ 24 w 50"/>
                  <a:gd name="T49" fmla="*/ 46 h 62"/>
                  <a:gd name="T50" fmla="*/ 28 w 50"/>
                  <a:gd name="T51" fmla="*/ 48 h 62"/>
                  <a:gd name="T52" fmla="*/ 32 w 50"/>
                  <a:gd name="T53" fmla="*/ 52 h 62"/>
                  <a:gd name="T54" fmla="*/ 32 w 50"/>
                  <a:gd name="T55" fmla="*/ 52 h 62"/>
                  <a:gd name="T56" fmla="*/ 32 w 50"/>
                  <a:gd name="T57" fmla="*/ 54 h 62"/>
                  <a:gd name="T58" fmla="*/ 32 w 50"/>
                  <a:gd name="T59" fmla="*/ 56 h 62"/>
                  <a:gd name="T60" fmla="*/ 34 w 50"/>
                  <a:gd name="T61" fmla="*/ 56 h 62"/>
                  <a:gd name="T62" fmla="*/ 36 w 50"/>
                  <a:gd name="T63" fmla="*/ 58 h 62"/>
                  <a:gd name="T64" fmla="*/ 38 w 50"/>
                  <a:gd name="T65" fmla="*/ 60 h 62"/>
                  <a:gd name="T66" fmla="*/ 44 w 50"/>
                  <a:gd name="T67" fmla="*/ 62 h 62"/>
                  <a:gd name="T68" fmla="*/ 48 w 50"/>
                  <a:gd name="T69" fmla="*/ 62 h 62"/>
                  <a:gd name="T70" fmla="*/ 50 w 50"/>
                  <a:gd name="T71" fmla="*/ 62 h 62"/>
                  <a:gd name="T72" fmla="*/ 50 w 50"/>
                  <a:gd name="T73" fmla="*/ 60 h 62"/>
                  <a:gd name="T74" fmla="*/ 48 w 50"/>
                  <a:gd name="T75" fmla="*/ 56 h 62"/>
                  <a:gd name="T76" fmla="*/ 48 w 50"/>
                  <a:gd name="T77" fmla="*/ 54 h 62"/>
                  <a:gd name="T78" fmla="*/ 48 w 50"/>
                  <a:gd name="T79" fmla="*/ 52 h 62"/>
                  <a:gd name="T80" fmla="*/ 48 w 50"/>
                  <a:gd name="T81" fmla="*/ 50 h 62"/>
                  <a:gd name="T82" fmla="*/ 48 w 50"/>
                  <a:gd name="T83" fmla="*/ 46 h 62"/>
                  <a:gd name="T84" fmla="*/ 48 w 50"/>
                  <a:gd name="T85" fmla="*/ 42 h 62"/>
                  <a:gd name="T86" fmla="*/ 46 w 50"/>
                  <a:gd name="T87" fmla="*/ 38 h 62"/>
                  <a:gd name="T88" fmla="*/ 46 w 50"/>
                  <a:gd name="T89" fmla="*/ 36 h 62"/>
                  <a:gd name="T90" fmla="*/ 42 w 50"/>
                  <a:gd name="T91" fmla="*/ 34 h 62"/>
                  <a:gd name="T92" fmla="*/ 40 w 50"/>
                  <a:gd name="T93" fmla="*/ 32 h 62"/>
                  <a:gd name="T94" fmla="*/ 40 w 50"/>
                  <a:gd name="T95" fmla="*/ 28 h 62"/>
                  <a:gd name="T96" fmla="*/ 40 w 50"/>
                  <a:gd name="T97" fmla="*/ 28 h 62"/>
                  <a:gd name="T98" fmla="*/ 38 w 50"/>
                  <a:gd name="T99" fmla="*/ 24 h 62"/>
                  <a:gd name="T100" fmla="*/ 34 w 50"/>
                  <a:gd name="T101" fmla="*/ 20 h 62"/>
                  <a:gd name="T102" fmla="*/ 28 w 50"/>
                  <a:gd name="T103" fmla="*/ 12 h 62"/>
                  <a:gd name="T104" fmla="*/ 22 w 50"/>
                  <a:gd name="T105" fmla="*/ 10 h 62"/>
                  <a:gd name="T106" fmla="*/ 18 w 50"/>
                  <a:gd name="T107" fmla="*/ 6 h 62"/>
                  <a:gd name="T108" fmla="*/ 16 w 50"/>
                  <a:gd name="T109" fmla="*/ 6 h 62"/>
                  <a:gd name="T110" fmla="*/ 12 w 50"/>
                  <a:gd name="T111" fmla="*/ 6 h 62"/>
                  <a:gd name="T112" fmla="*/ 10 w 50"/>
                  <a:gd name="T113" fmla="*/ 4 h 62"/>
                  <a:gd name="T114" fmla="*/ 10 w 50"/>
                  <a:gd name="T115" fmla="*/ 4 h 62"/>
                  <a:gd name="T116" fmla="*/ 10 w 50"/>
                  <a:gd name="T117" fmla="*/ 4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50" h="62">
                    <a:moveTo>
                      <a:pt x="10" y="4"/>
                    </a:moveTo>
                    <a:lnTo>
                      <a:pt x="10" y="4"/>
                    </a:lnTo>
                    <a:lnTo>
                      <a:pt x="8" y="2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10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4" y="22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8" y="26"/>
                    </a:lnTo>
                    <a:lnTo>
                      <a:pt x="16" y="26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0" y="32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2" y="38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42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8" y="48"/>
                    </a:lnTo>
                    <a:lnTo>
                      <a:pt x="28" y="48"/>
                    </a:lnTo>
                    <a:lnTo>
                      <a:pt x="30" y="50"/>
                    </a:lnTo>
                    <a:lnTo>
                      <a:pt x="32" y="52"/>
                    </a:lnTo>
                    <a:lnTo>
                      <a:pt x="32" y="52"/>
                    </a:lnTo>
                    <a:lnTo>
                      <a:pt x="32" y="52"/>
                    </a:lnTo>
                    <a:lnTo>
                      <a:pt x="32" y="52"/>
                    </a:lnTo>
                    <a:lnTo>
                      <a:pt x="32" y="54"/>
                    </a:lnTo>
                    <a:lnTo>
                      <a:pt x="32" y="54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6" y="58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42" y="62"/>
                    </a:lnTo>
                    <a:lnTo>
                      <a:pt x="44" y="62"/>
                    </a:lnTo>
                    <a:lnTo>
                      <a:pt x="46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50" y="62"/>
                    </a:lnTo>
                    <a:lnTo>
                      <a:pt x="50" y="62"/>
                    </a:lnTo>
                    <a:lnTo>
                      <a:pt x="50" y="60"/>
                    </a:lnTo>
                    <a:lnTo>
                      <a:pt x="50" y="58"/>
                    </a:lnTo>
                    <a:lnTo>
                      <a:pt x="48" y="56"/>
                    </a:lnTo>
                    <a:lnTo>
                      <a:pt x="48" y="54"/>
                    </a:lnTo>
                    <a:lnTo>
                      <a:pt x="48" y="54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0"/>
                    </a:lnTo>
                    <a:lnTo>
                      <a:pt x="48" y="50"/>
                    </a:lnTo>
                    <a:lnTo>
                      <a:pt x="48" y="48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2"/>
                    </a:lnTo>
                    <a:lnTo>
                      <a:pt x="48" y="40"/>
                    </a:lnTo>
                    <a:lnTo>
                      <a:pt x="46" y="38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4" y="34"/>
                    </a:lnTo>
                    <a:lnTo>
                      <a:pt x="42" y="34"/>
                    </a:lnTo>
                    <a:lnTo>
                      <a:pt x="42" y="34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28"/>
                    </a:lnTo>
                    <a:lnTo>
                      <a:pt x="40" y="28"/>
                    </a:lnTo>
                    <a:lnTo>
                      <a:pt x="40" y="28"/>
                    </a:lnTo>
                    <a:lnTo>
                      <a:pt x="40" y="26"/>
                    </a:lnTo>
                    <a:lnTo>
                      <a:pt x="38" y="24"/>
                    </a:lnTo>
                    <a:lnTo>
                      <a:pt x="36" y="22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2" y="10"/>
                    </a:lnTo>
                    <a:lnTo>
                      <a:pt x="22" y="8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6" y="6"/>
                    </a:lnTo>
                    <a:lnTo>
                      <a:pt x="14" y="6"/>
                    </a:lnTo>
                    <a:lnTo>
                      <a:pt x="12" y="6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634" name="Freeform 189"/>
              <p:cNvSpPr>
                <a:spLocks/>
              </p:cNvSpPr>
              <p:nvPr/>
            </p:nvSpPr>
            <p:spPr bwMode="auto">
              <a:xfrm>
                <a:off x="957" y="1780"/>
                <a:ext cx="8" cy="6"/>
              </a:xfrm>
              <a:custGeom>
                <a:avLst/>
                <a:gdLst>
                  <a:gd name="T0" fmla="*/ 2 w 8"/>
                  <a:gd name="T1" fmla="*/ 0 h 6"/>
                  <a:gd name="T2" fmla="*/ 2 w 8"/>
                  <a:gd name="T3" fmla="*/ 0 h 6"/>
                  <a:gd name="T4" fmla="*/ 0 w 8"/>
                  <a:gd name="T5" fmla="*/ 0 h 6"/>
                  <a:gd name="T6" fmla="*/ 0 w 8"/>
                  <a:gd name="T7" fmla="*/ 0 h 6"/>
                  <a:gd name="T8" fmla="*/ 0 w 8"/>
                  <a:gd name="T9" fmla="*/ 0 h 6"/>
                  <a:gd name="T10" fmla="*/ 0 w 8"/>
                  <a:gd name="T11" fmla="*/ 2 h 6"/>
                  <a:gd name="T12" fmla="*/ 2 w 8"/>
                  <a:gd name="T13" fmla="*/ 2 h 6"/>
                  <a:gd name="T14" fmla="*/ 2 w 8"/>
                  <a:gd name="T15" fmla="*/ 2 h 6"/>
                  <a:gd name="T16" fmla="*/ 4 w 8"/>
                  <a:gd name="T17" fmla="*/ 4 h 6"/>
                  <a:gd name="T18" fmla="*/ 6 w 8"/>
                  <a:gd name="T19" fmla="*/ 6 h 6"/>
                  <a:gd name="T20" fmla="*/ 6 w 8"/>
                  <a:gd name="T21" fmla="*/ 6 h 6"/>
                  <a:gd name="T22" fmla="*/ 6 w 8"/>
                  <a:gd name="T23" fmla="*/ 6 h 6"/>
                  <a:gd name="T24" fmla="*/ 6 w 8"/>
                  <a:gd name="T25" fmla="*/ 6 h 6"/>
                  <a:gd name="T26" fmla="*/ 8 w 8"/>
                  <a:gd name="T27" fmla="*/ 4 h 6"/>
                  <a:gd name="T28" fmla="*/ 8 w 8"/>
                  <a:gd name="T29" fmla="*/ 4 h 6"/>
                  <a:gd name="T30" fmla="*/ 8 w 8"/>
                  <a:gd name="T31" fmla="*/ 4 h 6"/>
                  <a:gd name="T32" fmla="*/ 8 w 8"/>
                  <a:gd name="T33" fmla="*/ 2 h 6"/>
                  <a:gd name="T34" fmla="*/ 6 w 8"/>
                  <a:gd name="T35" fmla="*/ 2 h 6"/>
                  <a:gd name="T36" fmla="*/ 6 w 8"/>
                  <a:gd name="T37" fmla="*/ 0 h 6"/>
                  <a:gd name="T38" fmla="*/ 4 w 8"/>
                  <a:gd name="T39" fmla="*/ 0 h 6"/>
                  <a:gd name="T40" fmla="*/ 2 w 8"/>
                  <a:gd name="T41" fmla="*/ 0 h 6"/>
                  <a:gd name="T42" fmla="*/ 2 w 8"/>
                  <a:gd name="T43" fmla="*/ 0 h 6"/>
                  <a:gd name="T44" fmla="*/ 2 w 8"/>
                  <a:gd name="T45" fmla="*/ 0 h 6"/>
                  <a:gd name="T46" fmla="*/ 2 w 8"/>
                  <a:gd name="T47" fmla="*/ 0 h 6"/>
                  <a:gd name="T48" fmla="*/ 2 w 8"/>
                  <a:gd name="T49" fmla="*/ 0 h 6"/>
                  <a:gd name="T50" fmla="*/ 2 w 8"/>
                  <a:gd name="T5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8" h="6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4" y="4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635" name="Freeform 190"/>
              <p:cNvSpPr>
                <a:spLocks/>
              </p:cNvSpPr>
              <p:nvPr/>
            </p:nvSpPr>
            <p:spPr bwMode="auto">
              <a:xfrm>
                <a:off x="957" y="1780"/>
                <a:ext cx="8" cy="6"/>
              </a:xfrm>
              <a:custGeom>
                <a:avLst/>
                <a:gdLst>
                  <a:gd name="T0" fmla="*/ 2 w 8"/>
                  <a:gd name="T1" fmla="*/ 0 h 6"/>
                  <a:gd name="T2" fmla="*/ 2 w 8"/>
                  <a:gd name="T3" fmla="*/ 0 h 6"/>
                  <a:gd name="T4" fmla="*/ 0 w 8"/>
                  <a:gd name="T5" fmla="*/ 0 h 6"/>
                  <a:gd name="T6" fmla="*/ 0 w 8"/>
                  <a:gd name="T7" fmla="*/ 0 h 6"/>
                  <a:gd name="T8" fmla="*/ 0 w 8"/>
                  <a:gd name="T9" fmla="*/ 0 h 6"/>
                  <a:gd name="T10" fmla="*/ 0 w 8"/>
                  <a:gd name="T11" fmla="*/ 2 h 6"/>
                  <a:gd name="T12" fmla="*/ 2 w 8"/>
                  <a:gd name="T13" fmla="*/ 2 h 6"/>
                  <a:gd name="T14" fmla="*/ 2 w 8"/>
                  <a:gd name="T15" fmla="*/ 2 h 6"/>
                  <a:gd name="T16" fmla="*/ 4 w 8"/>
                  <a:gd name="T17" fmla="*/ 4 h 6"/>
                  <a:gd name="T18" fmla="*/ 6 w 8"/>
                  <a:gd name="T19" fmla="*/ 6 h 6"/>
                  <a:gd name="T20" fmla="*/ 6 w 8"/>
                  <a:gd name="T21" fmla="*/ 6 h 6"/>
                  <a:gd name="T22" fmla="*/ 6 w 8"/>
                  <a:gd name="T23" fmla="*/ 6 h 6"/>
                  <a:gd name="T24" fmla="*/ 6 w 8"/>
                  <a:gd name="T25" fmla="*/ 6 h 6"/>
                  <a:gd name="T26" fmla="*/ 8 w 8"/>
                  <a:gd name="T27" fmla="*/ 4 h 6"/>
                  <a:gd name="T28" fmla="*/ 8 w 8"/>
                  <a:gd name="T29" fmla="*/ 4 h 6"/>
                  <a:gd name="T30" fmla="*/ 8 w 8"/>
                  <a:gd name="T31" fmla="*/ 4 h 6"/>
                  <a:gd name="T32" fmla="*/ 8 w 8"/>
                  <a:gd name="T33" fmla="*/ 2 h 6"/>
                  <a:gd name="T34" fmla="*/ 6 w 8"/>
                  <a:gd name="T35" fmla="*/ 2 h 6"/>
                  <a:gd name="T36" fmla="*/ 6 w 8"/>
                  <a:gd name="T37" fmla="*/ 0 h 6"/>
                  <a:gd name="T38" fmla="*/ 4 w 8"/>
                  <a:gd name="T39" fmla="*/ 0 h 6"/>
                  <a:gd name="T40" fmla="*/ 2 w 8"/>
                  <a:gd name="T41" fmla="*/ 0 h 6"/>
                  <a:gd name="T42" fmla="*/ 2 w 8"/>
                  <a:gd name="T43" fmla="*/ 0 h 6"/>
                  <a:gd name="T44" fmla="*/ 2 w 8"/>
                  <a:gd name="T45" fmla="*/ 0 h 6"/>
                  <a:gd name="T46" fmla="*/ 2 w 8"/>
                  <a:gd name="T47" fmla="*/ 0 h 6"/>
                  <a:gd name="T48" fmla="*/ 2 w 8"/>
                  <a:gd name="T49" fmla="*/ 0 h 6"/>
                  <a:gd name="T50" fmla="*/ 2 w 8"/>
                  <a:gd name="T5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8" h="6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4" y="4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636" name="Freeform 191"/>
              <p:cNvSpPr>
                <a:spLocks/>
              </p:cNvSpPr>
              <p:nvPr/>
            </p:nvSpPr>
            <p:spPr bwMode="auto">
              <a:xfrm>
                <a:off x="933" y="2198"/>
                <a:ext cx="422" cy="370"/>
              </a:xfrm>
              <a:custGeom>
                <a:avLst/>
                <a:gdLst>
                  <a:gd name="T0" fmla="*/ 350 w 422"/>
                  <a:gd name="T1" fmla="*/ 340 h 370"/>
                  <a:gd name="T2" fmla="*/ 350 w 422"/>
                  <a:gd name="T3" fmla="*/ 320 h 370"/>
                  <a:gd name="T4" fmla="*/ 378 w 422"/>
                  <a:gd name="T5" fmla="*/ 320 h 370"/>
                  <a:gd name="T6" fmla="*/ 396 w 422"/>
                  <a:gd name="T7" fmla="*/ 316 h 370"/>
                  <a:gd name="T8" fmla="*/ 406 w 422"/>
                  <a:gd name="T9" fmla="*/ 290 h 370"/>
                  <a:gd name="T10" fmla="*/ 418 w 422"/>
                  <a:gd name="T11" fmla="*/ 268 h 370"/>
                  <a:gd name="T12" fmla="*/ 420 w 422"/>
                  <a:gd name="T13" fmla="*/ 252 h 370"/>
                  <a:gd name="T14" fmla="*/ 400 w 422"/>
                  <a:gd name="T15" fmla="*/ 246 h 370"/>
                  <a:gd name="T16" fmla="*/ 382 w 422"/>
                  <a:gd name="T17" fmla="*/ 250 h 370"/>
                  <a:gd name="T18" fmla="*/ 366 w 422"/>
                  <a:gd name="T19" fmla="*/ 256 h 370"/>
                  <a:gd name="T20" fmla="*/ 358 w 422"/>
                  <a:gd name="T21" fmla="*/ 288 h 370"/>
                  <a:gd name="T22" fmla="*/ 338 w 422"/>
                  <a:gd name="T23" fmla="*/ 298 h 370"/>
                  <a:gd name="T24" fmla="*/ 302 w 422"/>
                  <a:gd name="T25" fmla="*/ 304 h 370"/>
                  <a:gd name="T26" fmla="*/ 280 w 422"/>
                  <a:gd name="T27" fmla="*/ 292 h 370"/>
                  <a:gd name="T28" fmla="*/ 270 w 422"/>
                  <a:gd name="T29" fmla="*/ 266 h 370"/>
                  <a:gd name="T30" fmla="*/ 258 w 422"/>
                  <a:gd name="T31" fmla="*/ 242 h 370"/>
                  <a:gd name="T32" fmla="*/ 258 w 422"/>
                  <a:gd name="T33" fmla="*/ 218 h 370"/>
                  <a:gd name="T34" fmla="*/ 262 w 422"/>
                  <a:gd name="T35" fmla="*/ 196 h 370"/>
                  <a:gd name="T36" fmla="*/ 270 w 422"/>
                  <a:gd name="T37" fmla="*/ 168 h 370"/>
                  <a:gd name="T38" fmla="*/ 260 w 422"/>
                  <a:gd name="T39" fmla="*/ 152 h 370"/>
                  <a:gd name="T40" fmla="*/ 246 w 422"/>
                  <a:gd name="T41" fmla="*/ 118 h 370"/>
                  <a:gd name="T42" fmla="*/ 238 w 422"/>
                  <a:gd name="T43" fmla="*/ 94 h 370"/>
                  <a:gd name="T44" fmla="*/ 214 w 422"/>
                  <a:gd name="T45" fmla="*/ 76 h 370"/>
                  <a:gd name="T46" fmla="*/ 202 w 422"/>
                  <a:gd name="T47" fmla="*/ 92 h 370"/>
                  <a:gd name="T48" fmla="*/ 180 w 422"/>
                  <a:gd name="T49" fmla="*/ 68 h 370"/>
                  <a:gd name="T50" fmla="*/ 162 w 422"/>
                  <a:gd name="T51" fmla="*/ 36 h 370"/>
                  <a:gd name="T52" fmla="*/ 126 w 422"/>
                  <a:gd name="T53" fmla="*/ 36 h 370"/>
                  <a:gd name="T54" fmla="*/ 80 w 422"/>
                  <a:gd name="T55" fmla="*/ 28 h 370"/>
                  <a:gd name="T56" fmla="*/ 44 w 422"/>
                  <a:gd name="T57" fmla="*/ 2 h 370"/>
                  <a:gd name="T58" fmla="*/ 2 w 422"/>
                  <a:gd name="T59" fmla="*/ 6 h 370"/>
                  <a:gd name="T60" fmla="*/ 4 w 422"/>
                  <a:gd name="T61" fmla="*/ 38 h 370"/>
                  <a:gd name="T62" fmla="*/ 18 w 422"/>
                  <a:gd name="T63" fmla="*/ 70 h 370"/>
                  <a:gd name="T64" fmla="*/ 26 w 422"/>
                  <a:gd name="T65" fmla="*/ 92 h 370"/>
                  <a:gd name="T66" fmla="*/ 14 w 422"/>
                  <a:gd name="T67" fmla="*/ 100 h 370"/>
                  <a:gd name="T68" fmla="*/ 32 w 422"/>
                  <a:gd name="T69" fmla="*/ 122 h 370"/>
                  <a:gd name="T70" fmla="*/ 42 w 422"/>
                  <a:gd name="T71" fmla="*/ 142 h 370"/>
                  <a:gd name="T72" fmla="*/ 40 w 422"/>
                  <a:gd name="T73" fmla="*/ 162 h 370"/>
                  <a:gd name="T74" fmla="*/ 64 w 422"/>
                  <a:gd name="T75" fmla="*/ 192 h 370"/>
                  <a:gd name="T76" fmla="*/ 76 w 422"/>
                  <a:gd name="T77" fmla="*/ 196 h 370"/>
                  <a:gd name="T78" fmla="*/ 60 w 422"/>
                  <a:gd name="T79" fmla="*/ 168 h 370"/>
                  <a:gd name="T80" fmla="*/ 54 w 422"/>
                  <a:gd name="T81" fmla="*/ 122 h 370"/>
                  <a:gd name="T82" fmla="*/ 48 w 422"/>
                  <a:gd name="T83" fmla="*/ 104 h 370"/>
                  <a:gd name="T84" fmla="*/ 42 w 422"/>
                  <a:gd name="T85" fmla="*/ 72 h 370"/>
                  <a:gd name="T86" fmla="*/ 36 w 422"/>
                  <a:gd name="T87" fmla="*/ 56 h 370"/>
                  <a:gd name="T88" fmla="*/ 30 w 422"/>
                  <a:gd name="T89" fmla="*/ 38 h 370"/>
                  <a:gd name="T90" fmla="*/ 36 w 422"/>
                  <a:gd name="T91" fmla="*/ 18 h 370"/>
                  <a:gd name="T92" fmla="*/ 56 w 422"/>
                  <a:gd name="T93" fmla="*/ 30 h 370"/>
                  <a:gd name="T94" fmla="*/ 56 w 422"/>
                  <a:gd name="T95" fmla="*/ 68 h 370"/>
                  <a:gd name="T96" fmla="*/ 70 w 422"/>
                  <a:gd name="T97" fmla="*/ 102 h 370"/>
                  <a:gd name="T98" fmla="*/ 80 w 422"/>
                  <a:gd name="T99" fmla="*/ 118 h 370"/>
                  <a:gd name="T100" fmla="*/ 90 w 422"/>
                  <a:gd name="T101" fmla="*/ 150 h 370"/>
                  <a:gd name="T102" fmla="*/ 106 w 422"/>
                  <a:gd name="T103" fmla="*/ 176 h 370"/>
                  <a:gd name="T104" fmla="*/ 128 w 422"/>
                  <a:gd name="T105" fmla="*/ 224 h 370"/>
                  <a:gd name="T106" fmla="*/ 126 w 422"/>
                  <a:gd name="T107" fmla="*/ 260 h 370"/>
                  <a:gd name="T108" fmla="*/ 154 w 422"/>
                  <a:gd name="T109" fmla="*/ 294 h 370"/>
                  <a:gd name="T110" fmla="*/ 182 w 422"/>
                  <a:gd name="T111" fmla="*/ 304 h 370"/>
                  <a:gd name="T112" fmla="*/ 202 w 422"/>
                  <a:gd name="T113" fmla="*/ 328 h 370"/>
                  <a:gd name="T114" fmla="*/ 238 w 422"/>
                  <a:gd name="T115" fmla="*/ 344 h 370"/>
                  <a:gd name="T116" fmla="*/ 268 w 422"/>
                  <a:gd name="T117" fmla="*/ 350 h 370"/>
                  <a:gd name="T118" fmla="*/ 304 w 422"/>
                  <a:gd name="T119" fmla="*/ 350 h 370"/>
                  <a:gd name="T120" fmla="*/ 316 w 422"/>
                  <a:gd name="T121" fmla="*/ 370 h 3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22" h="370">
                    <a:moveTo>
                      <a:pt x="330" y="354"/>
                    </a:moveTo>
                    <a:lnTo>
                      <a:pt x="330" y="354"/>
                    </a:lnTo>
                    <a:lnTo>
                      <a:pt x="332" y="352"/>
                    </a:lnTo>
                    <a:lnTo>
                      <a:pt x="334" y="350"/>
                    </a:lnTo>
                    <a:lnTo>
                      <a:pt x="334" y="348"/>
                    </a:lnTo>
                    <a:lnTo>
                      <a:pt x="336" y="348"/>
                    </a:lnTo>
                    <a:lnTo>
                      <a:pt x="340" y="348"/>
                    </a:lnTo>
                    <a:lnTo>
                      <a:pt x="340" y="348"/>
                    </a:lnTo>
                    <a:lnTo>
                      <a:pt x="344" y="346"/>
                    </a:lnTo>
                    <a:lnTo>
                      <a:pt x="346" y="346"/>
                    </a:lnTo>
                    <a:lnTo>
                      <a:pt x="348" y="346"/>
                    </a:lnTo>
                    <a:lnTo>
                      <a:pt x="350" y="344"/>
                    </a:lnTo>
                    <a:lnTo>
                      <a:pt x="350" y="342"/>
                    </a:lnTo>
                    <a:lnTo>
                      <a:pt x="350" y="340"/>
                    </a:lnTo>
                    <a:lnTo>
                      <a:pt x="350" y="340"/>
                    </a:lnTo>
                    <a:lnTo>
                      <a:pt x="350" y="340"/>
                    </a:lnTo>
                    <a:lnTo>
                      <a:pt x="350" y="338"/>
                    </a:lnTo>
                    <a:lnTo>
                      <a:pt x="350" y="336"/>
                    </a:lnTo>
                    <a:lnTo>
                      <a:pt x="350" y="336"/>
                    </a:lnTo>
                    <a:lnTo>
                      <a:pt x="348" y="334"/>
                    </a:lnTo>
                    <a:lnTo>
                      <a:pt x="346" y="330"/>
                    </a:lnTo>
                    <a:lnTo>
                      <a:pt x="346" y="330"/>
                    </a:lnTo>
                    <a:lnTo>
                      <a:pt x="344" y="330"/>
                    </a:lnTo>
                    <a:lnTo>
                      <a:pt x="344" y="328"/>
                    </a:lnTo>
                    <a:lnTo>
                      <a:pt x="344" y="328"/>
                    </a:lnTo>
                    <a:lnTo>
                      <a:pt x="346" y="326"/>
                    </a:lnTo>
                    <a:lnTo>
                      <a:pt x="348" y="324"/>
                    </a:lnTo>
                    <a:lnTo>
                      <a:pt x="350" y="320"/>
                    </a:lnTo>
                    <a:lnTo>
                      <a:pt x="350" y="320"/>
                    </a:lnTo>
                    <a:lnTo>
                      <a:pt x="350" y="318"/>
                    </a:lnTo>
                    <a:lnTo>
                      <a:pt x="352" y="318"/>
                    </a:lnTo>
                    <a:lnTo>
                      <a:pt x="354" y="318"/>
                    </a:lnTo>
                    <a:lnTo>
                      <a:pt x="356" y="316"/>
                    </a:lnTo>
                    <a:lnTo>
                      <a:pt x="360" y="316"/>
                    </a:lnTo>
                    <a:lnTo>
                      <a:pt x="364" y="316"/>
                    </a:lnTo>
                    <a:lnTo>
                      <a:pt x="364" y="316"/>
                    </a:lnTo>
                    <a:lnTo>
                      <a:pt x="366" y="318"/>
                    </a:lnTo>
                    <a:lnTo>
                      <a:pt x="370" y="318"/>
                    </a:lnTo>
                    <a:lnTo>
                      <a:pt x="374" y="320"/>
                    </a:lnTo>
                    <a:lnTo>
                      <a:pt x="376" y="320"/>
                    </a:lnTo>
                    <a:lnTo>
                      <a:pt x="378" y="320"/>
                    </a:lnTo>
                    <a:lnTo>
                      <a:pt x="378" y="320"/>
                    </a:lnTo>
                    <a:lnTo>
                      <a:pt x="378" y="320"/>
                    </a:lnTo>
                    <a:lnTo>
                      <a:pt x="380" y="318"/>
                    </a:lnTo>
                    <a:lnTo>
                      <a:pt x="382" y="316"/>
                    </a:lnTo>
                    <a:lnTo>
                      <a:pt x="384" y="314"/>
                    </a:lnTo>
                    <a:lnTo>
                      <a:pt x="386" y="312"/>
                    </a:lnTo>
                    <a:lnTo>
                      <a:pt x="386" y="312"/>
                    </a:lnTo>
                    <a:lnTo>
                      <a:pt x="386" y="312"/>
                    </a:lnTo>
                    <a:lnTo>
                      <a:pt x="388" y="312"/>
                    </a:lnTo>
                    <a:lnTo>
                      <a:pt x="390" y="312"/>
                    </a:lnTo>
                    <a:lnTo>
                      <a:pt x="392" y="312"/>
                    </a:lnTo>
                    <a:lnTo>
                      <a:pt x="392" y="314"/>
                    </a:lnTo>
                    <a:lnTo>
                      <a:pt x="392" y="314"/>
                    </a:lnTo>
                    <a:lnTo>
                      <a:pt x="394" y="316"/>
                    </a:lnTo>
                    <a:lnTo>
                      <a:pt x="396" y="316"/>
                    </a:lnTo>
                    <a:lnTo>
                      <a:pt x="396" y="316"/>
                    </a:lnTo>
                    <a:lnTo>
                      <a:pt x="398" y="314"/>
                    </a:lnTo>
                    <a:lnTo>
                      <a:pt x="398" y="312"/>
                    </a:lnTo>
                    <a:lnTo>
                      <a:pt x="400" y="308"/>
                    </a:lnTo>
                    <a:lnTo>
                      <a:pt x="400" y="308"/>
                    </a:lnTo>
                    <a:lnTo>
                      <a:pt x="402" y="306"/>
                    </a:lnTo>
                    <a:lnTo>
                      <a:pt x="404" y="304"/>
                    </a:lnTo>
                    <a:lnTo>
                      <a:pt x="404" y="302"/>
                    </a:lnTo>
                    <a:lnTo>
                      <a:pt x="404" y="302"/>
                    </a:lnTo>
                    <a:lnTo>
                      <a:pt x="406" y="300"/>
                    </a:lnTo>
                    <a:lnTo>
                      <a:pt x="406" y="300"/>
                    </a:lnTo>
                    <a:lnTo>
                      <a:pt x="406" y="294"/>
                    </a:lnTo>
                    <a:lnTo>
                      <a:pt x="406" y="292"/>
                    </a:lnTo>
                    <a:lnTo>
                      <a:pt x="406" y="290"/>
                    </a:lnTo>
                    <a:lnTo>
                      <a:pt x="406" y="290"/>
                    </a:lnTo>
                    <a:lnTo>
                      <a:pt x="404" y="286"/>
                    </a:lnTo>
                    <a:lnTo>
                      <a:pt x="404" y="284"/>
                    </a:lnTo>
                    <a:lnTo>
                      <a:pt x="406" y="282"/>
                    </a:lnTo>
                    <a:lnTo>
                      <a:pt x="406" y="280"/>
                    </a:lnTo>
                    <a:lnTo>
                      <a:pt x="406" y="280"/>
                    </a:lnTo>
                    <a:lnTo>
                      <a:pt x="408" y="278"/>
                    </a:lnTo>
                    <a:lnTo>
                      <a:pt x="410" y="274"/>
                    </a:lnTo>
                    <a:lnTo>
                      <a:pt x="412" y="272"/>
                    </a:lnTo>
                    <a:lnTo>
                      <a:pt x="414" y="270"/>
                    </a:lnTo>
                    <a:lnTo>
                      <a:pt x="414" y="270"/>
                    </a:lnTo>
                    <a:lnTo>
                      <a:pt x="416" y="268"/>
                    </a:lnTo>
                    <a:lnTo>
                      <a:pt x="418" y="268"/>
                    </a:lnTo>
                    <a:lnTo>
                      <a:pt x="418" y="268"/>
                    </a:lnTo>
                    <a:lnTo>
                      <a:pt x="418" y="268"/>
                    </a:lnTo>
                    <a:lnTo>
                      <a:pt x="420" y="268"/>
                    </a:lnTo>
                    <a:lnTo>
                      <a:pt x="420" y="266"/>
                    </a:lnTo>
                    <a:lnTo>
                      <a:pt x="420" y="264"/>
                    </a:lnTo>
                    <a:lnTo>
                      <a:pt x="420" y="264"/>
                    </a:lnTo>
                    <a:lnTo>
                      <a:pt x="422" y="262"/>
                    </a:lnTo>
                    <a:lnTo>
                      <a:pt x="422" y="262"/>
                    </a:lnTo>
                    <a:lnTo>
                      <a:pt x="422" y="260"/>
                    </a:lnTo>
                    <a:lnTo>
                      <a:pt x="422" y="260"/>
                    </a:lnTo>
                    <a:lnTo>
                      <a:pt x="422" y="258"/>
                    </a:lnTo>
                    <a:lnTo>
                      <a:pt x="422" y="256"/>
                    </a:lnTo>
                    <a:lnTo>
                      <a:pt x="422" y="256"/>
                    </a:lnTo>
                    <a:lnTo>
                      <a:pt x="420" y="254"/>
                    </a:lnTo>
                    <a:lnTo>
                      <a:pt x="420" y="252"/>
                    </a:lnTo>
                    <a:lnTo>
                      <a:pt x="420" y="250"/>
                    </a:lnTo>
                    <a:lnTo>
                      <a:pt x="418" y="250"/>
                    </a:lnTo>
                    <a:lnTo>
                      <a:pt x="418" y="248"/>
                    </a:lnTo>
                    <a:lnTo>
                      <a:pt x="416" y="248"/>
                    </a:lnTo>
                    <a:lnTo>
                      <a:pt x="416" y="248"/>
                    </a:lnTo>
                    <a:lnTo>
                      <a:pt x="414" y="248"/>
                    </a:lnTo>
                    <a:lnTo>
                      <a:pt x="412" y="246"/>
                    </a:lnTo>
                    <a:lnTo>
                      <a:pt x="412" y="246"/>
                    </a:lnTo>
                    <a:lnTo>
                      <a:pt x="410" y="246"/>
                    </a:lnTo>
                    <a:lnTo>
                      <a:pt x="408" y="246"/>
                    </a:lnTo>
                    <a:lnTo>
                      <a:pt x="406" y="246"/>
                    </a:lnTo>
                    <a:lnTo>
                      <a:pt x="406" y="246"/>
                    </a:lnTo>
                    <a:lnTo>
                      <a:pt x="404" y="246"/>
                    </a:lnTo>
                    <a:lnTo>
                      <a:pt x="400" y="246"/>
                    </a:lnTo>
                    <a:lnTo>
                      <a:pt x="398" y="246"/>
                    </a:lnTo>
                    <a:lnTo>
                      <a:pt x="396" y="246"/>
                    </a:lnTo>
                    <a:lnTo>
                      <a:pt x="396" y="248"/>
                    </a:lnTo>
                    <a:lnTo>
                      <a:pt x="394" y="250"/>
                    </a:lnTo>
                    <a:lnTo>
                      <a:pt x="394" y="250"/>
                    </a:lnTo>
                    <a:lnTo>
                      <a:pt x="394" y="252"/>
                    </a:lnTo>
                    <a:lnTo>
                      <a:pt x="392" y="252"/>
                    </a:lnTo>
                    <a:lnTo>
                      <a:pt x="392" y="252"/>
                    </a:lnTo>
                    <a:lnTo>
                      <a:pt x="392" y="252"/>
                    </a:lnTo>
                    <a:lnTo>
                      <a:pt x="390" y="252"/>
                    </a:lnTo>
                    <a:lnTo>
                      <a:pt x="388" y="252"/>
                    </a:lnTo>
                    <a:lnTo>
                      <a:pt x="384" y="250"/>
                    </a:lnTo>
                    <a:lnTo>
                      <a:pt x="384" y="250"/>
                    </a:lnTo>
                    <a:lnTo>
                      <a:pt x="382" y="250"/>
                    </a:lnTo>
                    <a:lnTo>
                      <a:pt x="382" y="250"/>
                    </a:lnTo>
                    <a:lnTo>
                      <a:pt x="380" y="250"/>
                    </a:lnTo>
                    <a:lnTo>
                      <a:pt x="380" y="250"/>
                    </a:lnTo>
                    <a:lnTo>
                      <a:pt x="380" y="252"/>
                    </a:lnTo>
                    <a:lnTo>
                      <a:pt x="378" y="254"/>
                    </a:lnTo>
                    <a:lnTo>
                      <a:pt x="378" y="254"/>
                    </a:lnTo>
                    <a:lnTo>
                      <a:pt x="376" y="256"/>
                    </a:lnTo>
                    <a:lnTo>
                      <a:pt x="376" y="256"/>
                    </a:lnTo>
                    <a:lnTo>
                      <a:pt x="376" y="256"/>
                    </a:lnTo>
                    <a:lnTo>
                      <a:pt x="374" y="256"/>
                    </a:lnTo>
                    <a:lnTo>
                      <a:pt x="372" y="256"/>
                    </a:lnTo>
                    <a:lnTo>
                      <a:pt x="368" y="256"/>
                    </a:lnTo>
                    <a:lnTo>
                      <a:pt x="368" y="256"/>
                    </a:lnTo>
                    <a:lnTo>
                      <a:pt x="366" y="256"/>
                    </a:lnTo>
                    <a:lnTo>
                      <a:pt x="366" y="256"/>
                    </a:lnTo>
                    <a:lnTo>
                      <a:pt x="366" y="256"/>
                    </a:lnTo>
                    <a:lnTo>
                      <a:pt x="364" y="258"/>
                    </a:lnTo>
                    <a:lnTo>
                      <a:pt x="364" y="260"/>
                    </a:lnTo>
                    <a:lnTo>
                      <a:pt x="364" y="260"/>
                    </a:lnTo>
                    <a:lnTo>
                      <a:pt x="360" y="268"/>
                    </a:lnTo>
                    <a:lnTo>
                      <a:pt x="360" y="268"/>
                    </a:lnTo>
                    <a:lnTo>
                      <a:pt x="358" y="272"/>
                    </a:lnTo>
                    <a:lnTo>
                      <a:pt x="358" y="274"/>
                    </a:lnTo>
                    <a:lnTo>
                      <a:pt x="358" y="282"/>
                    </a:lnTo>
                    <a:lnTo>
                      <a:pt x="358" y="282"/>
                    </a:lnTo>
                    <a:lnTo>
                      <a:pt x="358" y="286"/>
                    </a:lnTo>
                    <a:lnTo>
                      <a:pt x="358" y="286"/>
                    </a:lnTo>
                    <a:lnTo>
                      <a:pt x="358" y="288"/>
                    </a:lnTo>
                    <a:lnTo>
                      <a:pt x="358" y="288"/>
                    </a:lnTo>
                    <a:lnTo>
                      <a:pt x="356" y="288"/>
                    </a:lnTo>
                    <a:lnTo>
                      <a:pt x="356" y="290"/>
                    </a:lnTo>
                    <a:lnTo>
                      <a:pt x="352" y="292"/>
                    </a:lnTo>
                    <a:lnTo>
                      <a:pt x="352" y="292"/>
                    </a:lnTo>
                    <a:lnTo>
                      <a:pt x="350" y="294"/>
                    </a:lnTo>
                    <a:lnTo>
                      <a:pt x="348" y="296"/>
                    </a:lnTo>
                    <a:lnTo>
                      <a:pt x="348" y="296"/>
                    </a:lnTo>
                    <a:lnTo>
                      <a:pt x="346" y="298"/>
                    </a:lnTo>
                    <a:lnTo>
                      <a:pt x="344" y="298"/>
                    </a:lnTo>
                    <a:lnTo>
                      <a:pt x="344" y="298"/>
                    </a:lnTo>
                    <a:lnTo>
                      <a:pt x="344" y="298"/>
                    </a:lnTo>
                    <a:lnTo>
                      <a:pt x="340" y="298"/>
                    </a:lnTo>
                    <a:lnTo>
                      <a:pt x="338" y="298"/>
                    </a:lnTo>
                    <a:lnTo>
                      <a:pt x="334" y="296"/>
                    </a:lnTo>
                    <a:lnTo>
                      <a:pt x="334" y="296"/>
                    </a:lnTo>
                    <a:lnTo>
                      <a:pt x="332" y="298"/>
                    </a:lnTo>
                    <a:lnTo>
                      <a:pt x="332" y="298"/>
                    </a:lnTo>
                    <a:lnTo>
                      <a:pt x="328" y="300"/>
                    </a:lnTo>
                    <a:lnTo>
                      <a:pt x="322" y="302"/>
                    </a:lnTo>
                    <a:lnTo>
                      <a:pt x="318" y="304"/>
                    </a:lnTo>
                    <a:lnTo>
                      <a:pt x="316" y="304"/>
                    </a:lnTo>
                    <a:lnTo>
                      <a:pt x="312" y="306"/>
                    </a:lnTo>
                    <a:lnTo>
                      <a:pt x="312" y="306"/>
                    </a:lnTo>
                    <a:lnTo>
                      <a:pt x="310" y="306"/>
                    </a:lnTo>
                    <a:lnTo>
                      <a:pt x="308" y="306"/>
                    </a:lnTo>
                    <a:lnTo>
                      <a:pt x="306" y="304"/>
                    </a:lnTo>
                    <a:lnTo>
                      <a:pt x="302" y="304"/>
                    </a:lnTo>
                    <a:lnTo>
                      <a:pt x="302" y="304"/>
                    </a:lnTo>
                    <a:lnTo>
                      <a:pt x="298" y="302"/>
                    </a:lnTo>
                    <a:lnTo>
                      <a:pt x="296" y="298"/>
                    </a:lnTo>
                    <a:lnTo>
                      <a:pt x="296" y="298"/>
                    </a:lnTo>
                    <a:lnTo>
                      <a:pt x="292" y="296"/>
                    </a:lnTo>
                    <a:lnTo>
                      <a:pt x="290" y="294"/>
                    </a:lnTo>
                    <a:lnTo>
                      <a:pt x="288" y="294"/>
                    </a:lnTo>
                    <a:lnTo>
                      <a:pt x="288" y="294"/>
                    </a:lnTo>
                    <a:lnTo>
                      <a:pt x="286" y="294"/>
                    </a:lnTo>
                    <a:lnTo>
                      <a:pt x="286" y="294"/>
                    </a:lnTo>
                    <a:lnTo>
                      <a:pt x="284" y="294"/>
                    </a:lnTo>
                    <a:lnTo>
                      <a:pt x="282" y="294"/>
                    </a:lnTo>
                    <a:lnTo>
                      <a:pt x="282" y="294"/>
                    </a:lnTo>
                    <a:lnTo>
                      <a:pt x="280" y="292"/>
                    </a:lnTo>
                    <a:lnTo>
                      <a:pt x="280" y="292"/>
                    </a:lnTo>
                    <a:lnTo>
                      <a:pt x="276" y="290"/>
                    </a:lnTo>
                    <a:lnTo>
                      <a:pt x="276" y="290"/>
                    </a:lnTo>
                    <a:lnTo>
                      <a:pt x="276" y="290"/>
                    </a:lnTo>
                    <a:lnTo>
                      <a:pt x="274" y="288"/>
                    </a:lnTo>
                    <a:lnTo>
                      <a:pt x="274" y="286"/>
                    </a:lnTo>
                    <a:lnTo>
                      <a:pt x="274" y="286"/>
                    </a:lnTo>
                    <a:lnTo>
                      <a:pt x="274" y="282"/>
                    </a:lnTo>
                    <a:lnTo>
                      <a:pt x="274" y="278"/>
                    </a:lnTo>
                    <a:lnTo>
                      <a:pt x="274" y="278"/>
                    </a:lnTo>
                    <a:lnTo>
                      <a:pt x="272" y="272"/>
                    </a:lnTo>
                    <a:lnTo>
                      <a:pt x="272" y="268"/>
                    </a:lnTo>
                    <a:lnTo>
                      <a:pt x="270" y="268"/>
                    </a:lnTo>
                    <a:lnTo>
                      <a:pt x="270" y="266"/>
                    </a:lnTo>
                    <a:lnTo>
                      <a:pt x="270" y="266"/>
                    </a:lnTo>
                    <a:lnTo>
                      <a:pt x="266" y="262"/>
                    </a:lnTo>
                    <a:lnTo>
                      <a:pt x="266" y="262"/>
                    </a:lnTo>
                    <a:lnTo>
                      <a:pt x="264" y="260"/>
                    </a:lnTo>
                    <a:lnTo>
                      <a:pt x="262" y="258"/>
                    </a:lnTo>
                    <a:lnTo>
                      <a:pt x="262" y="258"/>
                    </a:lnTo>
                    <a:lnTo>
                      <a:pt x="262" y="256"/>
                    </a:lnTo>
                    <a:lnTo>
                      <a:pt x="262" y="254"/>
                    </a:lnTo>
                    <a:lnTo>
                      <a:pt x="262" y="252"/>
                    </a:lnTo>
                    <a:lnTo>
                      <a:pt x="262" y="250"/>
                    </a:lnTo>
                    <a:lnTo>
                      <a:pt x="260" y="246"/>
                    </a:lnTo>
                    <a:lnTo>
                      <a:pt x="260" y="246"/>
                    </a:lnTo>
                    <a:lnTo>
                      <a:pt x="258" y="244"/>
                    </a:lnTo>
                    <a:lnTo>
                      <a:pt x="258" y="242"/>
                    </a:lnTo>
                    <a:lnTo>
                      <a:pt x="256" y="240"/>
                    </a:lnTo>
                    <a:lnTo>
                      <a:pt x="254" y="238"/>
                    </a:lnTo>
                    <a:lnTo>
                      <a:pt x="254" y="238"/>
                    </a:lnTo>
                    <a:lnTo>
                      <a:pt x="254" y="236"/>
                    </a:lnTo>
                    <a:lnTo>
                      <a:pt x="254" y="236"/>
                    </a:lnTo>
                    <a:lnTo>
                      <a:pt x="254" y="232"/>
                    </a:lnTo>
                    <a:lnTo>
                      <a:pt x="254" y="232"/>
                    </a:lnTo>
                    <a:lnTo>
                      <a:pt x="254" y="230"/>
                    </a:lnTo>
                    <a:lnTo>
                      <a:pt x="254" y="226"/>
                    </a:lnTo>
                    <a:lnTo>
                      <a:pt x="254" y="226"/>
                    </a:lnTo>
                    <a:lnTo>
                      <a:pt x="254" y="220"/>
                    </a:lnTo>
                    <a:lnTo>
                      <a:pt x="256" y="220"/>
                    </a:lnTo>
                    <a:lnTo>
                      <a:pt x="258" y="218"/>
                    </a:lnTo>
                    <a:lnTo>
                      <a:pt x="258" y="218"/>
                    </a:lnTo>
                    <a:lnTo>
                      <a:pt x="260" y="214"/>
                    </a:lnTo>
                    <a:lnTo>
                      <a:pt x="262" y="212"/>
                    </a:lnTo>
                    <a:lnTo>
                      <a:pt x="262" y="210"/>
                    </a:lnTo>
                    <a:lnTo>
                      <a:pt x="264" y="208"/>
                    </a:lnTo>
                    <a:lnTo>
                      <a:pt x="264" y="208"/>
                    </a:lnTo>
                    <a:lnTo>
                      <a:pt x="264" y="208"/>
                    </a:lnTo>
                    <a:lnTo>
                      <a:pt x="264" y="206"/>
                    </a:lnTo>
                    <a:lnTo>
                      <a:pt x="264" y="206"/>
                    </a:lnTo>
                    <a:lnTo>
                      <a:pt x="264" y="202"/>
                    </a:lnTo>
                    <a:lnTo>
                      <a:pt x="264" y="200"/>
                    </a:lnTo>
                    <a:lnTo>
                      <a:pt x="262" y="198"/>
                    </a:lnTo>
                    <a:lnTo>
                      <a:pt x="262" y="198"/>
                    </a:lnTo>
                    <a:lnTo>
                      <a:pt x="262" y="198"/>
                    </a:lnTo>
                    <a:lnTo>
                      <a:pt x="262" y="196"/>
                    </a:lnTo>
                    <a:lnTo>
                      <a:pt x="264" y="196"/>
                    </a:lnTo>
                    <a:lnTo>
                      <a:pt x="264" y="194"/>
                    </a:lnTo>
                    <a:lnTo>
                      <a:pt x="266" y="192"/>
                    </a:lnTo>
                    <a:lnTo>
                      <a:pt x="266" y="190"/>
                    </a:lnTo>
                    <a:lnTo>
                      <a:pt x="266" y="188"/>
                    </a:lnTo>
                    <a:lnTo>
                      <a:pt x="266" y="188"/>
                    </a:lnTo>
                    <a:lnTo>
                      <a:pt x="266" y="184"/>
                    </a:lnTo>
                    <a:lnTo>
                      <a:pt x="266" y="182"/>
                    </a:lnTo>
                    <a:lnTo>
                      <a:pt x="266" y="174"/>
                    </a:lnTo>
                    <a:lnTo>
                      <a:pt x="266" y="174"/>
                    </a:lnTo>
                    <a:lnTo>
                      <a:pt x="266" y="172"/>
                    </a:lnTo>
                    <a:lnTo>
                      <a:pt x="268" y="170"/>
                    </a:lnTo>
                    <a:lnTo>
                      <a:pt x="270" y="168"/>
                    </a:lnTo>
                    <a:lnTo>
                      <a:pt x="270" y="168"/>
                    </a:lnTo>
                    <a:lnTo>
                      <a:pt x="270" y="168"/>
                    </a:lnTo>
                    <a:lnTo>
                      <a:pt x="272" y="166"/>
                    </a:lnTo>
                    <a:lnTo>
                      <a:pt x="274" y="166"/>
                    </a:lnTo>
                    <a:lnTo>
                      <a:pt x="276" y="164"/>
                    </a:lnTo>
                    <a:lnTo>
                      <a:pt x="276" y="162"/>
                    </a:lnTo>
                    <a:lnTo>
                      <a:pt x="276" y="162"/>
                    </a:lnTo>
                    <a:lnTo>
                      <a:pt x="276" y="162"/>
                    </a:lnTo>
                    <a:lnTo>
                      <a:pt x="276" y="162"/>
                    </a:lnTo>
                    <a:lnTo>
                      <a:pt x="272" y="160"/>
                    </a:lnTo>
                    <a:lnTo>
                      <a:pt x="272" y="160"/>
                    </a:lnTo>
                    <a:lnTo>
                      <a:pt x="266" y="156"/>
                    </a:lnTo>
                    <a:lnTo>
                      <a:pt x="262" y="152"/>
                    </a:lnTo>
                    <a:lnTo>
                      <a:pt x="262" y="152"/>
                    </a:lnTo>
                    <a:lnTo>
                      <a:pt x="260" y="152"/>
                    </a:lnTo>
                    <a:lnTo>
                      <a:pt x="256" y="152"/>
                    </a:lnTo>
                    <a:lnTo>
                      <a:pt x="252" y="150"/>
                    </a:lnTo>
                    <a:lnTo>
                      <a:pt x="250" y="150"/>
                    </a:lnTo>
                    <a:lnTo>
                      <a:pt x="250" y="150"/>
                    </a:lnTo>
                    <a:lnTo>
                      <a:pt x="248" y="148"/>
                    </a:lnTo>
                    <a:lnTo>
                      <a:pt x="246" y="148"/>
                    </a:lnTo>
                    <a:lnTo>
                      <a:pt x="246" y="148"/>
                    </a:lnTo>
                    <a:lnTo>
                      <a:pt x="246" y="146"/>
                    </a:lnTo>
                    <a:lnTo>
                      <a:pt x="244" y="144"/>
                    </a:lnTo>
                    <a:lnTo>
                      <a:pt x="244" y="140"/>
                    </a:lnTo>
                    <a:lnTo>
                      <a:pt x="244" y="140"/>
                    </a:lnTo>
                    <a:lnTo>
                      <a:pt x="244" y="134"/>
                    </a:lnTo>
                    <a:lnTo>
                      <a:pt x="246" y="128"/>
                    </a:lnTo>
                    <a:lnTo>
                      <a:pt x="246" y="118"/>
                    </a:lnTo>
                    <a:lnTo>
                      <a:pt x="246" y="118"/>
                    </a:lnTo>
                    <a:lnTo>
                      <a:pt x="248" y="116"/>
                    </a:lnTo>
                    <a:lnTo>
                      <a:pt x="248" y="114"/>
                    </a:lnTo>
                    <a:lnTo>
                      <a:pt x="246" y="112"/>
                    </a:lnTo>
                    <a:lnTo>
                      <a:pt x="246" y="112"/>
                    </a:lnTo>
                    <a:lnTo>
                      <a:pt x="246" y="112"/>
                    </a:lnTo>
                    <a:lnTo>
                      <a:pt x="242" y="108"/>
                    </a:lnTo>
                    <a:lnTo>
                      <a:pt x="240" y="106"/>
                    </a:lnTo>
                    <a:lnTo>
                      <a:pt x="240" y="104"/>
                    </a:lnTo>
                    <a:lnTo>
                      <a:pt x="240" y="104"/>
                    </a:lnTo>
                    <a:lnTo>
                      <a:pt x="238" y="102"/>
                    </a:lnTo>
                    <a:lnTo>
                      <a:pt x="238" y="102"/>
                    </a:lnTo>
                    <a:lnTo>
                      <a:pt x="238" y="98"/>
                    </a:lnTo>
                    <a:lnTo>
                      <a:pt x="238" y="94"/>
                    </a:lnTo>
                    <a:lnTo>
                      <a:pt x="238" y="90"/>
                    </a:lnTo>
                    <a:lnTo>
                      <a:pt x="238" y="90"/>
                    </a:lnTo>
                    <a:lnTo>
                      <a:pt x="238" y="86"/>
                    </a:lnTo>
                    <a:lnTo>
                      <a:pt x="238" y="86"/>
                    </a:lnTo>
                    <a:lnTo>
                      <a:pt x="236" y="84"/>
                    </a:lnTo>
                    <a:lnTo>
                      <a:pt x="234" y="82"/>
                    </a:lnTo>
                    <a:lnTo>
                      <a:pt x="230" y="80"/>
                    </a:lnTo>
                    <a:lnTo>
                      <a:pt x="230" y="80"/>
                    </a:lnTo>
                    <a:lnTo>
                      <a:pt x="228" y="78"/>
                    </a:lnTo>
                    <a:lnTo>
                      <a:pt x="224" y="76"/>
                    </a:lnTo>
                    <a:lnTo>
                      <a:pt x="222" y="76"/>
                    </a:lnTo>
                    <a:lnTo>
                      <a:pt x="218" y="76"/>
                    </a:lnTo>
                    <a:lnTo>
                      <a:pt x="218" y="76"/>
                    </a:lnTo>
                    <a:lnTo>
                      <a:pt x="214" y="76"/>
                    </a:lnTo>
                    <a:lnTo>
                      <a:pt x="212" y="76"/>
                    </a:lnTo>
                    <a:lnTo>
                      <a:pt x="210" y="78"/>
                    </a:lnTo>
                    <a:lnTo>
                      <a:pt x="208" y="78"/>
                    </a:lnTo>
                    <a:lnTo>
                      <a:pt x="208" y="78"/>
                    </a:lnTo>
                    <a:lnTo>
                      <a:pt x="206" y="80"/>
                    </a:lnTo>
                    <a:lnTo>
                      <a:pt x="206" y="80"/>
                    </a:lnTo>
                    <a:lnTo>
                      <a:pt x="206" y="82"/>
                    </a:lnTo>
                    <a:lnTo>
                      <a:pt x="204" y="84"/>
                    </a:lnTo>
                    <a:lnTo>
                      <a:pt x="204" y="86"/>
                    </a:lnTo>
                    <a:lnTo>
                      <a:pt x="204" y="88"/>
                    </a:lnTo>
                    <a:lnTo>
                      <a:pt x="204" y="90"/>
                    </a:lnTo>
                    <a:lnTo>
                      <a:pt x="204" y="90"/>
                    </a:lnTo>
                    <a:lnTo>
                      <a:pt x="202" y="92"/>
                    </a:lnTo>
                    <a:lnTo>
                      <a:pt x="202" y="92"/>
                    </a:lnTo>
                    <a:lnTo>
                      <a:pt x="200" y="92"/>
                    </a:lnTo>
                    <a:lnTo>
                      <a:pt x="198" y="92"/>
                    </a:lnTo>
                    <a:lnTo>
                      <a:pt x="198" y="92"/>
                    </a:lnTo>
                    <a:lnTo>
                      <a:pt x="196" y="92"/>
                    </a:lnTo>
                    <a:lnTo>
                      <a:pt x="192" y="92"/>
                    </a:lnTo>
                    <a:lnTo>
                      <a:pt x="190" y="90"/>
                    </a:lnTo>
                    <a:lnTo>
                      <a:pt x="188" y="88"/>
                    </a:lnTo>
                    <a:lnTo>
                      <a:pt x="186" y="86"/>
                    </a:lnTo>
                    <a:lnTo>
                      <a:pt x="182" y="80"/>
                    </a:lnTo>
                    <a:lnTo>
                      <a:pt x="182" y="80"/>
                    </a:lnTo>
                    <a:lnTo>
                      <a:pt x="180" y="78"/>
                    </a:lnTo>
                    <a:lnTo>
                      <a:pt x="180" y="74"/>
                    </a:lnTo>
                    <a:lnTo>
                      <a:pt x="180" y="72"/>
                    </a:lnTo>
                    <a:lnTo>
                      <a:pt x="180" y="68"/>
                    </a:lnTo>
                    <a:lnTo>
                      <a:pt x="180" y="60"/>
                    </a:lnTo>
                    <a:lnTo>
                      <a:pt x="178" y="56"/>
                    </a:lnTo>
                    <a:lnTo>
                      <a:pt x="178" y="54"/>
                    </a:lnTo>
                    <a:lnTo>
                      <a:pt x="178" y="54"/>
                    </a:lnTo>
                    <a:lnTo>
                      <a:pt x="176" y="52"/>
                    </a:lnTo>
                    <a:lnTo>
                      <a:pt x="176" y="50"/>
                    </a:lnTo>
                    <a:lnTo>
                      <a:pt x="174" y="48"/>
                    </a:lnTo>
                    <a:lnTo>
                      <a:pt x="172" y="46"/>
                    </a:lnTo>
                    <a:lnTo>
                      <a:pt x="172" y="46"/>
                    </a:lnTo>
                    <a:lnTo>
                      <a:pt x="166" y="42"/>
                    </a:lnTo>
                    <a:lnTo>
                      <a:pt x="164" y="40"/>
                    </a:lnTo>
                    <a:lnTo>
                      <a:pt x="164" y="38"/>
                    </a:lnTo>
                    <a:lnTo>
                      <a:pt x="164" y="38"/>
                    </a:lnTo>
                    <a:lnTo>
                      <a:pt x="162" y="36"/>
                    </a:lnTo>
                    <a:lnTo>
                      <a:pt x="160" y="36"/>
                    </a:lnTo>
                    <a:lnTo>
                      <a:pt x="160" y="34"/>
                    </a:lnTo>
                    <a:lnTo>
                      <a:pt x="158" y="34"/>
                    </a:lnTo>
                    <a:lnTo>
                      <a:pt x="154" y="34"/>
                    </a:lnTo>
                    <a:lnTo>
                      <a:pt x="152" y="34"/>
                    </a:lnTo>
                    <a:lnTo>
                      <a:pt x="152" y="34"/>
                    </a:lnTo>
                    <a:lnTo>
                      <a:pt x="148" y="32"/>
                    </a:lnTo>
                    <a:lnTo>
                      <a:pt x="144" y="32"/>
                    </a:lnTo>
                    <a:lnTo>
                      <a:pt x="138" y="34"/>
                    </a:lnTo>
                    <a:lnTo>
                      <a:pt x="138" y="34"/>
                    </a:lnTo>
                    <a:lnTo>
                      <a:pt x="134" y="34"/>
                    </a:lnTo>
                    <a:lnTo>
                      <a:pt x="132" y="36"/>
                    </a:lnTo>
                    <a:lnTo>
                      <a:pt x="128" y="36"/>
                    </a:lnTo>
                    <a:lnTo>
                      <a:pt x="126" y="36"/>
                    </a:lnTo>
                    <a:lnTo>
                      <a:pt x="126" y="36"/>
                    </a:lnTo>
                    <a:lnTo>
                      <a:pt x="126" y="36"/>
                    </a:lnTo>
                    <a:lnTo>
                      <a:pt x="118" y="36"/>
                    </a:lnTo>
                    <a:lnTo>
                      <a:pt x="112" y="36"/>
                    </a:lnTo>
                    <a:lnTo>
                      <a:pt x="112" y="36"/>
                    </a:lnTo>
                    <a:lnTo>
                      <a:pt x="106" y="34"/>
                    </a:lnTo>
                    <a:lnTo>
                      <a:pt x="96" y="34"/>
                    </a:lnTo>
                    <a:lnTo>
                      <a:pt x="92" y="34"/>
                    </a:lnTo>
                    <a:lnTo>
                      <a:pt x="90" y="32"/>
                    </a:lnTo>
                    <a:lnTo>
                      <a:pt x="86" y="32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80" y="28"/>
                    </a:lnTo>
                    <a:lnTo>
                      <a:pt x="78" y="26"/>
                    </a:lnTo>
                    <a:lnTo>
                      <a:pt x="78" y="26"/>
                    </a:lnTo>
                    <a:lnTo>
                      <a:pt x="76" y="24"/>
                    </a:lnTo>
                    <a:lnTo>
                      <a:pt x="74" y="22"/>
                    </a:lnTo>
                    <a:lnTo>
                      <a:pt x="70" y="20"/>
                    </a:lnTo>
                    <a:lnTo>
                      <a:pt x="70" y="20"/>
                    </a:lnTo>
                    <a:lnTo>
                      <a:pt x="62" y="16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2" y="6"/>
                    </a:lnTo>
                    <a:lnTo>
                      <a:pt x="48" y="6"/>
                    </a:lnTo>
                    <a:lnTo>
                      <a:pt x="48" y="6"/>
                    </a:lnTo>
                    <a:lnTo>
                      <a:pt x="46" y="2"/>
                    </a:lnTo>
                    <a:lnTo>
                      <a:pt x="44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38" y="0"/>
                    </a:lnTo>
                    <a:lnTo>
                      <a:pt x="34" y="0"/>
                    </a:lnTo>
                    <a:lnTo>
                      <a:pt x="30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20"/>
                    </a:lnTo>
                    <a:lnTo>
                      <a:pt x="0" y="22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2" y="34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6" y="44"/>
                    </a:lnTo>
                    <a:lnTo>
                      <a:pt x="8" y="50"/>
                    </a:lnTo>
                    <a:lnTo>
                      <a:pt x="8" y="50"/>
                    </a:lnTo>
                    <a:lnTo>
                      <a:pt x="8" y="52"/>
                    </a:lnTo>
                    <a:lnTo>
                      <a:pt x="10" y="54"/>
                    </a:lnTo>
                    <a:lnTo>
                      <a:pt x="10" y="54"/>
                    </a:lnTo>
                    <a:lnTo>
                      <a:pt x="10" y="56"/>
                    </a:lnTo>
                    <a:lnTo>
                      <a:pt x="12" y="58"/>
                    </a:lnTo>
                    <a:lnTo>
                      <a:pt x="14" y="60"/>
                    </a:lnTo>
                    <a:lnTo>
                      <a:pt x="14" y="60"/>
                    </a:lnTo>
                    <a:lnTo>
                      <a:pt x="16" y="62"/>
                    </a:lnTo>
                    <a:lnTo>
                      <a:pt x="16" y="66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72"/>
                    </a:lnTo>
                    <a:lnTo>
                      <a:pt x="20" y="74"/>
                    </a:lnTo>
                    <a:lnTo>
                      <a:pt x="20" y="74"/>
                    </a:lnTo>
                    <a:lnTo>
                      <a:pt x="20" y="76"/>
                    </a:lnTo>
                    <a:lnTo>
                      <a:pt x="20" y="76"/>
                    </a:lnTo>
                    <a:lnTo>
                      <a:pt x="22" y="78"/>
                    </a:lnTo>
                    <a:lnTo>
                      <a:pt x="22" y="78"/>
                    </a:lnTo>
                    <a:lnTo>
                      <a:pt x="24" y="80"/>
                    </a:lnTo>
                    <a:lnTo>
                      <a:pt x="24" y="82"/>
                    </a:lnTo>
                    <a:lnTo>
                      <a:pt x="24" y="82"/>
                    </a:lnTo>
                    <a:lnTo>
                      <a:pt x="26" y="86"/>
                    </a:lnTo>
                    <a:lnTo>
                      <a:pt x="26" y="90"/>
                    </a:lnTo>
                    <a:lnTo>
                      <a:pt x="26" y="92"/>
                    </a:lnTo>
                    <a:lnTo>
                      <a:pt x="26" y="96"/>
                    </a:lnTo>
                    <a:lnTo>
                      <a:pt x="26" y="96"/>
                    </a:lnTo>
                    <a:lnTo>
                      <a:pt x="24" y="98"/>
                    </a:lnTo>
                    <a:lnTo>
                      <a:pt x="22" y="98"/>
                    </a:lnTo>
                    <a:lnTo>
                      <a:pt x="22" y="100"/>
                    </a:lnTo>
                    <a:lnTo>
                      <a:pt x="22" y="100"/>
                    </a:lnTo>
                    <a:lnTo>
                      <a:pt x="20" y="100"/>
                    </a:lnTo>
                    <a:lnTo>
                      <a:pt x="20" y="100"/>
                    </a:lnTo>
                    <a:lnTo>
                      <a:pt x="18" y="98"/>
                    </a:lnTo>
                    <a:lnTo>
                      <a:pt x="18" y="98"/>
                    </a:lnTo>
                    <a:lnTo>
                      <a:pt x="16" y="98"/>
                    </a:lnTo>
                    <a:lnTo>
                      <a:pt x="16" y="98"/>
                    </a:lnTo>
                    <a:lnTo>
                      <a:pt x="14" y="98"/>
                    </a:lnTo>
                    <a:lnTo>
                      <a:pt x="14" y="100"/>
                    </a:lnTo>
                    <a:lnTo>
                      <a:pt x="14" y="102"/>
                    </a:lnTo>
                    <a:lnTo>
                      <a:pt x="14" y="102"/>
                    </a:lnTo>
                    <a:lnTo>
                      <a:pt x="16" y="104"/>
                    </a:lnTo>
                    <a:lnTo>
                      <a:pt x="16" y="104"/>
                    </a:lnTo>
                    <a:lnTo>
                      <a:pt x="16" y="108"/>
                    </a:lnTo>
                    <a:lnTo>
                      <a:pt x="18" y="110"/>
                    </a:lnTo>
                    <a:lnTo>
                      <a:pt x="20" y="114"/>
                    </a:lnTo>
                    <a:lnTo>
                      <a:pt x="22" y="116"/>
                    </a:lnTo>
                    <a:lnTo>
                      <a:pt x="22" y="116"/>
                    </a:lnTo>
                    <a:lnTo>
                      <a:pt x="24" y="118"/>
                    </a:lnTo>
                    <a:lnTo>
                      <a:pt x="28" y="118"/>
                    </a:lnTo>
                    <a:lnTo>
                      <a:pt x="30" y="120"/>
                    </a:lnTo>
                    <a:lnTo>
                      <a:pt x="32" y="122"/>
                    </a:lnTo>
                    <a:lnTo>
                      <a:pt x="32" y="122"/>
                    </a:lnTo>
                    <a:lnTo>
                      <a:pt x="34" y="124"/>
                    </a:lnTo>
                    <a:lnTo>
                      <a:pt x="34" y="124"/>
                    </a:lnTo>
                    <a:lnTo>
                      <a:pt x="36" y="126"/>
                    </a:lnTo>
                    <a:lnTo>
                      <a:pt x="36" y="126"/>
                    </a:lnTo>
                    <a:lnTo>
                      <a:pt x="36" y="128"/>
                    </a:lnTo>
                    <a:lnTo>
                      <a:pt x="36" y="132"/>
                    </a:lnTo>
                    <a:lnTo>
                      <a:pt x="36" y="132"/>
                    </a:lnTo>
                    <a:lnTo>
                      <a:pt x="36" y="134"/>
                    </a:lnTo>
                    <a:lnTo>
                      <a:pt x="38" y="134"/>
                    </a:lnTo>
                    <a:lnTo>
                      <a:pt x="38" y="136"/>
                    </a:lnTo>
                    <a:lnTo>
                      <a:pt x="40" y="138"/>
                    </a:lnTo>
                    <a:lnTo>
                      <a:pt x="40" y="138"/>
                    </a:lnTo>
                    <a:lnTo>
                      <a:pt x="42" y="140"/>
                    </a:lnTo>
                    <a:lnTo>
                      <a:pt x="42" y="142"/>
                    </a:lnTo>
                    <a:lnTo>
                      <a:pt x="44" y="142"/>
                    </a:lnTo>
                    <a:lnTo>
                      <a:pt x="44" y="142"/>
                    </a:lnTo>
                    <a:lnTo>
                      <a:pt x="44" y="144"/>
                    </a:lnTo>
                    <a:lnTo>
                      <a:pt x="44" y="146"/>
                    </a:lnTo>
                    <a:lnTo>
                      <a:pt x="44" y="146"/>
                    </a:lnTo>
                    <a:lnTo>
                      <a:pt x="44" y="148"/>
                    </a:lnTo>
                    <a:lnTo>
                      <a:pt x="42" y="150"/>
                    </a:lnTo>
                    <a:lnTo>
                      <a:pt x="42" y="152"/>
                    </a:lnTo>
                    <a:lnTo>
                      <a:pt x="42" y="152"/>
                    </a:lnTo>
                    <a:lnTo>
                      <a:pt x="40" y="156"/>
                    </a:lnTo>
                    <a:lnTo>
                      <a:pt x="40" y="158"/>
                    </a:lnTo>
                    <a:lnTo>
                      <a:pt x="40" y="160"/>
                    </a:lnTo>
                    <a:lnTo>
                      <a:pt x="40" y="160"/>
                    </a:lnTo>
                    <a:lnTo>
                      <a:pt x="40" y="162"/>
                    </a:lnTo>
                    <a:lnTo>
                      <a:pt x="40" y="164"/>
                    </a:lnTo>
                    <a:lnTo>
                      <a:pt x="42" y="166"/>
                    </a:lnTo>
                    <a:lnTo>
                      <a:pt x="42" y="166"/>
                    </a:lnTo>
                    <a:lnTo>
                      <a:pt x="44" y="168"/>
                    </a:lnTo>
                    <a:lnTo>
                      <a:pt x="46" y="172"/>
                    </a:lnTo>
                    <a:lnTo>
                      <a:pt x="50" y="176"/>
                    </a:lnTo>
                    <a:lnTo>
                      <a:pt x="50" y="176"/>
                    </a:lnTo>
                    <a:lnTo>
                      <a:pt x="54" y="182"/>
                    </a:lnTo>
                    <a:lnTo>
                      <a:pt x="58" y="186"/>
                    </a:lnTo>
                    <a:lnTo>
                      <a:pt x="58" y="186"/>
                    </a:lnTo>
                    <a:lnTo>
                      <a:pt x="60" y="188"/>
                    </a:lnTo>
                    <a:lnTo>
                      <a:pt x="62" y="188"/>
                    </a:lnTo>
                    <a:lnTo>
                      <a:pt x="62" y="190"/>
                    </a:lnTo>
                    <a:lnTo>
                      <a:pt x="64" y="192"/>
                    </a:lnTo>
                    <a:lnTo>
                      <a:pt x="64" y="192"/>
                    </a:lnTo>
                    <a:lnTo>
                      <a:pt x="64" y="196"/>
                    </a:lnTo>
                    <a:lnTo>
                      <a:pt x="66" y="198"/>
                    </a:lnTo>
                    <a:lnTo>
                      <a:pt x="68" y="200"/>
                    </a:lnTo>
                    <a:lnTo>
                      <a:pt x="68" y="202"/>
                    </a:lnTo>
                    <a:lnTo>
                      <a:pt x="70" y="202"/>
                    </a:lnTo>
                    <a:lnTo>
                      <a:pt x="70" y="202"/>
                    </a:lnTo>
                    <a:lnTo>
                      <a:pt x="70" y="202"/>
                    </a:lnTo>
                    <a:lnTo>
                      <a:pt x="70" y="202"/>
                    </a:lnTo>
                    <a:lnTo>
                      <a:pt x="72" y="202"/>
                    </a:lnTo>
                    <a:lnTo>
                      <a:pt x="74" y="200"/>
                    </a:lnTo>
                    <a:lnTo>
                      <a:pt x="74" y="200"/>
                    </a:lnTo>
                    <a:lnTo>
                      <a:pt x="76" y="198"/>
                    </a:lnTo>
                    <a:lnTo>
                      <a:pt x="76" y="196"/>
                    </a:lnTo>
                    <a:lnTo>
                      <a:pt x="76" y="194"/>
                    </a:lnTo>
                    <a:lnTo>
                      <a:pt x="76" y="194"/>
                    </a:lnTo>
                    <a:lnTo>
                      <a:pt x="76" y="188"/>
                    </a:lnTo>
                    <a:lnTo>
                      <a:pt x="76" y="186"/>
                    </a:lnTo>
                    <a:lnTo>
                      <a:pt x="74" y="182"/>
                    </a:lnTo>
                    <a:lnTo>
                      <a:pt x="74" y="182"/>
                    </a:lnTo>
                    <a:lnTo>
                      <a:pt x="74" y="180"/>
                    </a:lnTo>
                    <a:lnTo>
                      <a:pt x="72" y="180"/>
                    </a:lnTo>
                    <a:lnTo>
                      <a:pt x="70" y="178"/>
                    </a:lnTo>
                    <a:lnTo>
                      <a:pt x="68" y="176"/>
                    </a:lnTo>
                    <a:lnTo>
                      <a:pt x="66" y="174"/>
                    </a:lnTo>
                    <a:lnTo>
                      <a:pt x="66" y="174"/>
                    </a:lnTo>
                    <a:lnTo>
                      <a:pt x="62" y="170"/>
                    </a:lnTo>
                    <a:lnTo>
                      <a:pt x="60" y="168"/>
                    </a:lnTo>
                    <a:lnTo>
                      <a:pt x="60" y="166"/>
                    </a:lnTo>
                    <a:lnTo>
                      <a:pt x="60" y="166"/>
                    </a:lnTo>
                    <a:lnTo>
                      <a:pt x="58" y="164"/>
                    </a:lnTo>
                    <a:lnTo>
                      <a:pt x="58" y="160"/>
                    </a:lnTo>
                    <a:lnTo>
                      <a:pt x="56" y="154"/>
                    </a:lnTo>
                    <a:lnTo>
                      <a:pt x="56" y="154"/>
                    </a:lnTo>
                    <a:lnTo>
                      <a:pt x="56" y="148"/>
                    </a:lnTo>
                    <a:lnTo>
                      <a:pt x="58" y="142"/>
                    </a:lnTo>
                    <a:lnTo>
                      <a:pt x="58" y="142"/>
                    </a:lnTo>
                    <a:lnTo>
                      <a:pt x="58" y="140"/>
                    </a:lnTo>
                    <a:lnTo>
                      <a:pt x="58" y="136"/>
                    </a:lnTo>
                    <a:lnTo>
                      <a:pt x="56" y="132"/>
                    </a:lnTo>
                    <a:lnTo>
                      <a:pt x="54" y="126"/>
                    </a:lnTo>
                    <a:lnTo>
                      <a:pt x="54" y="122"/>
                    </a:lnTo>
                    <a:lnTo>
                      <a:pt x="54" y="122"/>
                    </a:lnTo>
                    <a:lnTo>
                      <a:pt x="54" y="120"/>
                    </a:lnTo>
                    <a:lnTo>
                      <a:pt x="52" y="118"/>
                    </a:lnTo>
                    <a:lnTo>
                      <a:pt x="52" y="116"/>
                    </a:lnTo>
                    <a:lnTo>
                      <a:pt x="52" y="116"/>
                    </a:lnTo>
                    <a:lnTo>
                      <a:pt x="50" y="114"/>
                    </a:lnTo>
                    <a:lnTo>
                      <a:pt x="48" y="112"/>
                    </a:lnTo>
                    <a:lnTo>
                      <a:pt x="48" y="112"/>
                    </a:lnTo>
                    <a:lnTo>
                      <a:pt x="46" y="112"/>
                    </a:lnTo>
                    <a:lnTo>
                      <a:pt x="46" y="110"/>
                    </a:lnTo>
                    <a:lnTo>
                      <a:pt x="46" y="110"/>
                    </a:lnTo>
                    <a:lnTo>
                      <a:pt x="46" y="108"/>
                    </a:lnTo>
                    <a:lnTo>
                      <a:pt x="46" y="106"/>
                    </a:lnTo>
                    <a:lnTo>
                      <a:pt x="48" y="104"/>
                    </a:lnTo>
                    <a:lnTo>
                      <a:pt x="48" y="104"/>
                    </a:lnTo>
                    <a:lnTo>
                      <a:pt x="48" y="102"/>
                    </a:lnTo>
                    <a:lnTo>
                      <a:pt x="48" y="102"/>
                    </a:lnTo>
                    <a:lnTo>
                      <a:pt x="48" y="100"/>
                    </a:lnTo>
                    <a:lnTo>
                      <a:pt x="46" y="96"/>
                    </a:lnTo>
                    <a:lnTo>
                      <a:pt x="46" y="94"/>
                    </a:lnTo>
                    <a:lnTo>
                      <a:pt x="46" y="94"/>
                    </a:lnTo>
                    <a:lnTo>
                      <a:pt x="44" y="92"/>
                    </a:lnTo>
                    <a:lnTo>
                      <a:pt x="44" y="88"/>
                    </a:lnTo>
                    <a:lnTo>
                      <a:pt x="44" y="82"/>
                    </a:lnTo>
                    <a:lnTo>
                      <a:pt x="44" y="82"/>
                    </a:lnTo>
                    <a:lnTo>
                      <a:pt x="44" y="76"/>
                    </a:lnTo>
                    <a:lnTo>
                      <a:pt x="42" y="74"/>
                    </a:lnTo>
                    <a:lnTo>
                      <a:pt x="42" y="72"/>
                    </a:lnTo>
                    <a:lnTo>
                      <a:pt x="42" y="70"/>
                    </a:lnTo>
                    <a:lnTo>
                      <a:pt x="42" y="70"/>
                    </a:lnTo>
                    <a:lnTo>
                      <a:pt x="40" y="70"/>
                    </a:lnTo>
                    <a:lnTo>
                      <a:pt x="40" y="70"/>
                    </a:lnTo>
                    <a:lnTo>
                      <a:pt x="38" y="68"/>
                    </a:lnTo>
                    <a:lnTo>
                      <a:pt x="36" y="68"/>
                    </a:lnTo>
                    <a:lnTo>
                      <a:pt x="36" y="66"/>
                    </a:lnTo>
                    <a:lnTo>
                      <a:pt x="36" y="66"/>
                    </a:lnTo>
                    <a:lnTo>
                      <a:pt x="36" y="64"/>
                    </a:lnTo>
                    <a:lnTo>
                      <a:pt x="36" y="64"/>
                    </a:lnTo>
                    <a:lnTo>
                      <a:pt x="36" y="60"/>
                    </a:lnTo>
                    <a:lnTo>
                      <a:pt x="36" y="58"/>
                    </a:lnTo>
                    <a:lnTo>
                      <a:pt x="36" y="56"/>
                    </a:lnTo>
                    <a:lnTo>
                      <a:pt x="36" y="56"/>
                    </a:lnTo>
                    <a:lnTo>
                      <a:pt x="34" y="56"/>
                    </a:lnTo>
                    <a:lnTo>
                      <a:pt x="34" y="54"/>
                    </a:lnTo>
                    <a:lnTo>
                      <a:pt x="32" y="54"/>
                    </a:lnTo>
                    <a:lnTo>
                      <a:pt x="32" y="54"/>
                    </a:lnTo>
                    <a:lnTo>
                      <a:pt x="32" y="52"/>
                    </a:lnTo>
                    <a:lnTo>
                      <a:pt x="30" y="50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2" y="42"/>
                    </a:lnTo>
                    <a:lnTo>
                      <a:pt x="32" y="40"/>
                    </a:lnTo>
                    <a:lnTo>
                      <a:pt x="32" y="40"/>
                    </a:lnTo>
                    <a:lnTo>
                      <a:pt x="32" y="40"/>
                    </a:lnTo>
                    <a:lnTo>
                      <a:pt x="30" y="38"/>
                    </a:lnTo>
                    <a:lnTo>
                      <a:pt x="30" y="36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2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36" y="22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18"/>
                    </a:lnTo>
                    <a:lnTo>
                      <a:pt x="36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40" y="18"/>
                    </a:lnTo>
                    <a:lnTo>
                      <a:pt x="42" y="20"/>
                    </a:lnTo>
                    <a:lnTo>
                      <a:pt x="42" y="22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8" y="26"/>
                    </a:lnTo>
                    <a:lnTo>
                      <a:pt x="52" y="28"/>
                    </a:lnTo>
                    <a:lnTo>
                      <a:pt x="52" y="28"/>
                    </a:lnTo>
                    <a:lnTo>
                      <a:pt x="54" y="28"/>
                    </a:lnTo>
                    <a:lnTo>
                      <a:pt x="56" y="30"/>
                    </a:lnTo>
                    <a:lnTo>
                      <a:pt x="58" y="32"/>
                    </a:lnTo>
                    <a:lnTo>
                      <a:pt x="58" y="34"/>
                    </a:lnTo>
                    <a:lnTo>
                      <a:pt x="60" y="36"/>
                    </a:lnTo>
                    <a:lnTo>
                      <a:pt x="60" y="38"/>
                    </a:lnTo>
                    <a:lnTo>
                      <a:pt x="60" y="40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8"/>
                    </a:lnTo>
                    <a:lnTo>
                      <a:pt x="58" y="52"/>
                    </a:lnTo>
                    <a:lnTo>
                      <a:pt x="56" y="56"/>
                    </a:lnTo>
                    <a:lnTo>
                      <a:pt x="56" y="60"/>
                    </a:lnTo>
                    <a:lnTo>
                      <a:pt x="56" y="62"/>
                    </a:lnTo>
                    <a:lnTo>
                      <a:pt x="56" y="62"/>
                    </a:lnTo>
                    <a:lnTo>
                      <a:pt x="56" y="68"/>
                    </a:lnTo>
                    <a:lnTo>
                      <a:pt x="56" y="70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8" y="78"/>
                    </a:lnTo>
                    <a:lnTo>
                      <a:pt x="60" y="78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2" y="86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6"/>
                    </a:lnTo>
                    <a:lnTo>
                      <a:pt x="66" y="98"/>
                    </a:lnTo>
                    <a:lnTo>
                      <a:pt x="68" y="100"/>
                    </a:lnTo>
                    <a:lnTo>
                      <a:pt x="70" y="102"/>
                    </a:lnTo>
                    <a:lnTo>
                      <a:pt x="70" y="102"/>
                    </a:lnTo>
                    <a:lnTo>
                      <a:pt x="72" y="102"/>
                    </a:lnTo>
                    <a:lnTo>
                      <a:pt x="72" y="102"/>
                    </a:lnTo>
                    <a:lnTo>
                      <a:pt x="74" y="104"/>
                    </a:lnTo>
                    <a:lnTo>
                      <a:pt x="74" y="104"/>
                    </a:lnTo>
                    <a:lnTo>
                      <a:pt x="74" y="104"/>
                    </a:lnTo>
                    <a:lnTo>
                      <a:pt x="74" y="106"/>
                    </a:lnTo>
                    <a:lnTo>
                      <a:pt x="74" y="108"/>
                    </a:lnTo>
                    <a:lnTo>
                      <a:pt x="74" y="108"/>
                    </a:lnTo>
                    <a:lnTo>
                      <a:pt x="76" y="112"/>
                    </a:lnTo>
                    <a:lnTo>
                      <a:pt x="76" y="114"/>
                    </a:lnTo>
                    <a:lnTo>
                      <a:pt x="78" y="116"/>
                    </a:lnTo>
                    <a:lnTo>
                      <a:pt x="78" y="116"/>
                    </a:lnTo>
                    <a:lnTo>
                      <a:pt x="80" y="118"/>
                    </a:lnTo>
                    <a:lnTo>
                      <a:pt x="82" y="120"/>
                    </a:lnTo>
                    <a:lnTo>
                      <a:pt x="82" y="120"/>
                    </a:lnTo>
                    <a:lnTo>
                      <a:pt x="86" y="124"/>
                    </a:lnTo>
                    <a:lnTo>
                      <a:pt x="90" y="128"/>
                    </a:lnTo>
                    <a:lnTo>
                      <a:pt x="90" y="128"/>
                    </a:lnTo>
                    <a:lnTo>
                      <a:pt x="90" y="132"/>
                    </a:lnTo>
                    <a:lnTo>
                      <a:pt x="92" y="134"/>
                    </a:lnTo>
                    <a:lnTo>
                      <a:pt x="92" y="136"/>
                    </a:lnTo>
                    <a:lnTo>
                      <a:pt x="90" y="140"/>
                    </a:lnTo>
                    <a:lnTo>
                      <a:pt x="90" y="140"/>
                    </a:lnTo>
                    <a:lnTo>
                      <a:pt x="90" y="144"/>
                    </a:lnTo>
                    <a:lnTo>
                      <a:pt x="90" y="146"/>
                    </a:lnTo>
                    <a:lnTo>
                      <a:pt x="90" y="148"/>
                    </a:lnTo>
                    <a:lnTo>
                      <a:pt x="90" y="150"/>
                    </a:lnTo>
                    <a:lnTo>
                      <a:pt x="90" y="150"/>
                    </a:lnTo>
                    <a:lnTo>
                      <a:pt x="90" y="154"/>
                    </a:lnTo>
                    <a:lnTo>
                      <a:pt x="92" y="156"/>
                    </a:lnTo>
                    <a:lnTo>
                      <a:pt x="94" y="160"/>
                    </a:lnTo>
                    <a:lnTo>
                      <a:pt x="94" y="160"/>
                    </a:lnTo>
                    <a:lnTo>
                      <a:pt x="98" y="162"/>
                    </a:lnTo>
                    <a:lnTo>
                      <a:pt x="100" y="164"/>
                    </a:lnTo>
                    <a:lnTo>
                      <a:pt x="100" y="164"/>
                    </a:lnTo>
                    <a:lnTo>
                      <a:pt x="102" y="168"/>
                    </a:lnTo>
                    <a:lnTo>
                      <a:pt x="104" y="170"/>
                    </a:lnTo>
                    <a:lnTo>
                      <a:pt x="104" y="172"/>
                    </a:lnTo>
                    <a:lnTo>
                      <a:pt x="106" y="174"/>
                    </a:lnTo>
                    <a:lnTo>
                      <a:pt x="106" y="174"/>
                    </a:lnTo>
                    <a:lnTo>
                      <a:pt x="106" y="176"/>
                    </a:lnTo>
                    <a:lnTo>
                      <a:pt x="108" y="176"/>
                    </a:lnTo>
                    <a:lnTo>
                      <a:pt x="112" y="178"/>
                    </a:lnTo>
                    <a:lnTo>
                      <a:pt x="112" y="178"/>
                    </a:lnTo>
                    <a:lnTo>
                      <a:pt x="114" y="180"/>
                    </a:lnTo>
                    <a:lnTo>
                      <a:pt x="116" y="180"/>
                    </a:lnTo>
                    <a:lnTo>
                      <a:pt x="116" y="184"/>
                    </a:lnTo>
                    <a:lnTo>
                      <a:pt x="116" y="186"/>
                    </a:lnTo>
                    <a:lnTo>
                      <a:pt x="118" y="190"/>
                    </a:lnTo>
                    <a:lnTo>
                      <a:pt x="118" y="190"/>
                    </a:lnTo>
                    <a:lnTo>
                      <a:pt x="122" y="202"/>
                    </a:lnTo>
                    <a:lnTo>
                      <a:pt x="126" y="214"/>
                    </a:lnTo>
                    <a:lnTo>
                      <a:pt x="126" y="214"/>
                    </a:lnTo>
                    <a:lnTo>
                      <a:pt x="128" y="220"/>
                    </a:lnTo>
                    <a:lnTo>
                      <a:pt x="128" y="224"/>
                    </a:lnTo>
                    <a:lnTo>
                      <a:pt x="130" y="226"/>
                    </a:lnTo>
                    <a:lnTo>
                      <a:pt x="130" y="226"/>
                    </a:lnTo>
                    <a:lnTo>
                      <a:pt x="132" y="228"/>
                    </a:lnTo>
                    <a:lnTo>
                      <a:pt x="132" y="232"/>
                    </a:lnTo>
                    <a:lnTo>
                      <a:pt x="132" y="234"/>
                    </a:lnTo>
                    <a:lnTo>
                      <a:pt x="130" y="238"/>
                    </a:lnTo>
                    <a:lnTo>
                      <a:pt x="130" y="238"/>
                    </a:lnTo>
                    <a:lnTo>
                      <a:pt x="128" y="242"/>
                    </a:lnTo>
                    <a:lnTo>
                      <a:pt x="126" y="246"/>
                    </a:lnTo>
                    <a:lnTo>
                      <a:pt x="126" y="248"/>
                    </a:lnTo>
                    <a:lnTo>
                      <a:pt x="124" y="252"/>
                    </a:lnTo>
                    <a:lnTo>
                      <a:pt x="124" y="254"/>
                    </a:lnTo>
                    <a:lnTo>
                      <a:pt x="124" y="258"/>
                    </a:lnTo>
                    <a:lnTo>
                      <a:pt x="126" y="260"/>
                    </a:lnTo>
                    <a:lnTo>
                      <a:pt x="126" y="260"/>
                    </a:lnTo>
                    <a:lnTo>
                      <a:pt x="128" y="266"/>
                    </a:lnTo>
                    <a:lnTo>
                      <a:pt x="128" y="268"/>
                    </a:lnTo>
                    <a:lnTo>
                      <a:pt x="130" y="270"/>
                    </a:lnTo>
                    <a:lnTo>
                      <a:pt x="130" y="270"/>
                    </a:lnTo>
                    <a:lnTo>
                      <a:pt x="134" y="274"/>
                    </a:lnTo>
                    <a:lnTo>
                      <a:pt x="138" y="278"/>
                    </a:lnTo>
                    <a:lnTo>
                      <a:pt x="138" y="278"/>
                    </a:lnTo>
                    <a:lnTo>
                      <a:pt x="144" y="286"/>
                    </a:lnTo>
                    <a:lnTo>
                      <a:pt x="146" y="288"/>
                    </a:lnTo>
                    <a:lnTo>
                      <a:pt x="150" y="292"/>
                    </a:lnTo>
                    <a:lnTo>
                      <a:pt x="150" y="292"/>
                    </a:lnTo>
                    <a:lnTo>
                      <a:pt x="152" y="292"/>
                    </a:lnTo>
                    <a:lnTo>
                      <a:pt x="154" y="294"/>
                    </a:lnTo>
                    <a:lnTo>
                      <a:pt x="154" y="294"/>
                    </a:lnTo>
                    <a:lnTo>
                      <a:pt x="156" y="296"/>
                    </a:lnTo>
                    <a:lnTo>
                      <a:pt x="158" y="298"/>
                    </a:lnTo>
                    <a:lnTo>
                      <a:pt x="160" y="298"/>
                    </a:lnTo>
                    <a:lnTo>
                      <a:pt x="160" y="298"/>
                    </a:lnTo>
                    <a:lnTo>
                      <a:pt x="162" y="300"/>
                    </a:lnTo>
                    <a:lnTo>
                      <a:pt x="164" y="300"/>
                    </a:lnTo>
                    <a:lnTo>
                      <a:pt x="170" y="300"/>
                    </a:lnTo>
                    <a:lnTo>
                      <a:pt x="170" y="300"/>
                    </a:lnTo>
                    <a:lnTo>
                      <a:pt x="176" y="300"/>
                    </a:lnTo>
                    <a:lnTo>
                      <a:pt x="178" y="302"/>
                    </a:lnTo>
                    <a:lnTo>
                      <a:pt x="180" y="302"/>
                    </a:lnTo>
                    <a:lnTo>
                      <a:pt x="180" y="302"/>
                    </a:lnTo>
                    <a:lnTo>
                      <a:pt x="182" y="304"/>
                    </a:lnTo>
                    <a:lnTo>
                      <a:pt x="182" y="304"/>
                    </a:lnTo>
                    <a:lnTo>
                      <a:pt x="184" y="306"/>
                    </a:lnTo>
                    <a:lnTo>
                      <a:pt x="184" y="306"/>
                    </a:lnTo>
                    <a:lnTo>
                      <a:pt x="186" y="312"/>
                    </a:lnTo>
                    <a:lnTo>
                      <a:pt x="186" y="312"/>
                    </a:lnTo>
                    <a:lnTo>
                      <a:pt x="188" y="316"/>
                    </a:lnTo>
                    <a:lnTo>
                      <a:pt x="190" y="320"/>
                    </a:lnTo>
                    <a:lnTo>
                      <a:pt x="192" y="322"/>
                    </a:lnTo>
                    <a:lnTo>
                      <a:pt x="192" y="322"/>
                    </a:lnTo>
                    <a:lnTo>
                      <a:pt x="194" y="324"/>
                    </a:lnTo>
                    <a:lnTo>
                      <a:pt x="198" y="324"/>
                    </a:lnTo>
                    <a:lnTo>
                      <a:pt x="200" y="326"/>
                    </a:lnTo>
                    <a:lnTo>
                      <a:pt x="202" y="328"/>
                    </a:lnTo>
                    <a:lnTo>
                      <a:pt x="202" y="328"/>
                    </a:lnTo>
                    <a:lnTo>
                      <a:pt x="206" y="328"/>
                    </a:lnTo>
                    <a:lnTo>
                      <a:pt x="208" y="328"/>
                    </a:lnTo>
                    <a:lnTo>
                      <a:pt x="214" y="330"/>
                    </a:lnTo>
                    <a:lnTo>
                      <a:pt x="214" y="330"/>
                    </a:lnTo>
                    <a:lnTo>
                      <a:pt x="216" y="330"/>
                    </a:lnTo>
                    <a:lnTo>
                      <a:pt x="218" y="330"/>
                    </a:lnTo>
                    <a:lnTo>
                      <a:pt x="220" y="332"/>
                    </a:lnTo>
                    <a:lnTo>
                      <a:pt x="222" y="334"/>
                    </a:lnTo>
                    <a:lnTo>
                      <a:pt x="224" y="336"/>
                    </a:lnTo>
                    <a:lnTo>
                      <a:pt x="224" y="336"/>
                    </a:lnTo>
                    <a:lnTo>
                      <a:pt x="230" y="340"/>
                    </a:lnTo>
                    <a:lnTo>
                      <a:pt x="234" y="342"/>
                    </a:lnTo>
                    <a:lnTo>
                      <a:pt x="238" y="344"/>
                    </a:lnTo>
                    <a:lnTo>
                      <a:pt x="238" y="344"/>
                    </a:lnTo>
                    <a:lnTo>
                      <a:pt x="242" y="348"/>
                    </a:lnTo>
                    <a:lnTo>
                      <a:pt x="244" y="350"/>
                    </a:lnTo>
                    <a:lnTo>
                      <a:pt x="246" y="350"/>
                    </a:lnTo>
                    <a:lnTo>
                      <a:pt x="246" y="350"/>
                    </a:lnTo>
                    <a:lnTo>
                      <a:pt x="250" y="352"/>
                    </a:lnTo>
                    <a:lnTo>
                      <a:pt x="252" y="352"/>
                    </a:lnTo>
                    <a:lnTo>
                      <a:pt x="260" y="352"/>
                    </a:lnTo>
                    <a:lnTo>
                      <a:pt x="260" y="352"/>
                    </a:lnTo>
                    <a:lnTo>
                      <a:pt x="262" y="352"/>
                    </a:lnTo>
                    <a:lnTo>
                      <a:pt x="264" y="352"/>
                    </a:lnTo>
                    <a:lnTo>
                      <a:pt x="264" y="352"/>
                    </a:lnTo>
                    <a:lnTo>
                      <a:pt x="266" y="350"/>
                    </a:lnTo>
                    <a:lnTo>
                      <a:pt x="268" y="350"/>
                    </a:lnTo>
                    <a:lnTo>
                      <a:pt x="268" y="350"/>
                    </a:lnTo>
                    <a:lnTo>
                      <a:pt x="278" y="344"/>
                    </a:lnTo>
                    <a:lnTo>
                      <a:pt x="282" y="342"/>
                    </a:lnTo>
                    <a:lnTo>
                      <a:pt x="286" y="342"/>
                    </a:lnTo>
                    <a:lnTo>
                      <a:pt x="286" y="342"/>
                    </a:lnTo>
                    <a:lnTo>
                      <a:pt x="286" y="342"/>
                    </a:lnTo>
                    <a:lnTo>
                      <a:pt x="290" y="342"/>
                    </a:lnTo>
                    <a:lnTo>
                      <a:pt x="292" y="342"/>
                    </a:lnTo>
                    <a:lnTo>
                      <a:pt x="294" y="344"/>
                    </a:lnTo>
                    <a:lnTo>
                      <a:pt x="298" y="346"/>
                    </a:lnTo>
                    <a:lnTo>
                      <a:pt x="298" y="346"/>
                    </a:lnTo>
                    <a:lnTo>
                      <a:pt x="300" y="348"/>
                    </a:lnTo>
                    <a:lnTo>
                      <a:pt x="302" y="350"/>
                    </a:lnTo>
                    <a:lnTo>
                      <a:pt x="302" y="350"/>
                    </a:lnTo>
                    <a:lnTo>
                      <a:pt x="304" y="350"/>
                    </a:lnTo>
                    <a:lnTo>
                      <a:pt x="304" y="352"/>
                    </a:lnTo>
                    <a:lnTo>
                      <a:pt x="306" y="354"/>
                    </a:lnTo>
                    <a:lnTo>
                      <a:pt x="306" y="354"/>
                    </a:lnTo>
                    <a:lnTo>
                      <a:pt x="308" y="356"/>
                    </a:lnTo>
                    <a:lnTo>
                      <a:pt x="308" y="360"/>
                    </a:lnTo>
                    <a:lnTo>
                      <a:pt x="308" y="362"/>
                    </a:lnTo>
                    <a:lnTo>
                      <a:pt x="310" y="364"/>
                    </a:lnTo>
                    <a:lnTo>
                      <a:pt x="310" y="364"/>
                    </a:lnTo>
                    <a:lnTo>
                      <a:pt x="310" y="366"/>
                    </a:lnTo>
                    <a:lnTo>
                      <a:pt x="312" y="368"/>
                    </a:lnTo>
                    <a:lnTo>
                      <a:pt x="314" y="370"/>
                    </a:lnTo>
                    <a:lnTo>
                      <a:pt x="314" y="370"/>
                    </a:lnTo>
                    <a:lnTo>
                      <a:pt x="316" y="370"/>
                    </a:lnTo>
                    <a:lnTo>
                      <a:pt x="316" y="370"/>
                    </a:lnTo>
                    <a:lnTo>
                      <a:pt x="320" y="368"/>
                    </a:lnTo>
                    <a:lnTo>
                      <a:pt x="322" y="364"/>
                    </a:lnTo>
                    <a:lnTo>
                      <a:pt x="322" y="364"/>
                    </a:lnTo>
                    <a:lnTo>
                      <a:pt x="324" y="364"/>
                    </a:lnTo>
                    <a:lnTo>
                      <a:pt x="326" y="360"/>
                    </a:lnTo>
                    <a:lnTo>
                      <a:pt x="328" y="358"/>
                    </a:lnTo>
                    <a:lnTo>
                      <a:pt x="330" y="354"/>
                    </a:lnTo>
                    <a:lnTo>
                      <a:pt x="330" y="354"/>
                    </a:lnTo>
                    <a:lnTo>
                      <a:pt x="330" y="354"/>
                    </a:lnTo>
                    <a:lnTo>
                      <a:pt x="330" y="354"/>
                    </a:lnTo>
                    <a:lnTo>
                      <a:pt x="330" y="35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637" name="Freeform 193"/>
              <p:cNvSpPr>
                <a:spLocks/>
              </p:cNvSpPr>
              <p:nvPr/>
            </p:nvSpPr>
            <p:spPr bwMode="auto">
              <a:xfrm>
                <a:off x="1585" y="2486"/>
                <a:ext cx="56" cy="40"/>
              </a:xfrm>
              <a:custGeom>
                <a:avLst/>
                <a:gdLst>
                  <a:gd name="T0" fmla="*/ 54 w 56"/>
                  <a:gd name="T1" fmla="*/ 24 h 40"/>
                  <a:gd name="T2" fmla="*/ 52 w 56"/>
                  <a:gd name="T3" fmla="*/ 24 h 40"/>
                  <a:gd name="T4" fmla="*/ 50 w 56"/>
                  <a:gd name="T5" fmla="*/ 22 h 40"/>
                  <a:gd name="T6" fmla="*/ 48 w 56"/>
                  <a:gd name="T7" fmla="*/ 20 h 40"/>
                  <a:gd name="T8" fmla="*/ 44 w 56"/>
                  <a:gd name="T9" fmla="*/ 18 h 40"/>
                  <a:gd name="T10" fmla="*/ 42 w 56"/>
                  <a:gd name="T11" fmla="*/ 14 h 40"/>
                  <a:gd name="T12" fmla="*/ 40 w 56"/>
                  <a:gd name="T13" fmla="*/ 12 h 40"/>
                  <a:gd name="T14" fmla="*/ 36 w 56"/>
                  <a:gd name="T15" fmla="*/ 12 h 40"/>
                  <a:gd name="T16" fmla="*/ 34 w 56"/>
                  <a:gd name="T17" fmla="*/ 12 h 40"/>
                  <a:gd name="T18" fmla="*/ 32 w 56"/>
                  <a:gd name="T19" fmla="*/ 10 h 40"/>
                  <a:gd name="T20" fmla="*/ 30 w 56"/>
                  <a:gd name="T21" fmla="*/ 8 h 40"/>
                  <a:gd name="T22" fmla="*/ 26 w 56"/>
                  <a:gd name="T23" fmla="*/ 4 h 40"/>
                  <a:gd name="T24" fmla="*/ 24 w 56"/>
                  <a:gd name="T25" fmla="*/ 4 h 40"/>
                  <a:gd name="T26" fmla="*/ 20 w 56"/>
                  <a:gd name="T27" fmla="*/ 4 h 40"/>
                  <a:gd name="T28" fmla="*/ 18 w 56"/>
                  <a:gd name="T29" fmla="*/ 2 h 40"/>
                  <a:gd name="T30" fmla="*/ 14 w 56"/>
                  <a:gd name="T31" fmla="*/ 0 h 40"/>
                  <a:gd name="T32" fmla="*/ 10 w 56"/>
                  <a:gd name="T33" fmla="*/ 0 h 40"/>
                  <a:gd name="T34" fmla="*/ 6 w 56"/>
                  <a:gd name="T35" fmla="*/ 0 h 40"/>
                  <a:gd name="T36" fmla="*/ 4 w 56"/>
                  <a:gd name="T37" fmla="*/ 2 h 40"/>
                  <a:gd name="T38" fmla="*/ 6 w 56"/>
                  <a:gd name="T39" fmla="*/ 6 h 40"/>
                  <a:gd name="T40" fmla="*/ 8 w 56"/>
                  <a:gd name="T41" fmla="*/ 10 h 40"/>
                  <a:gd name="T42" fmla="*/ 6 w 56"/>
                  <a:gd name="T43" fmla="*/ 16 h 40"/>
                  <a:gd name="T44" fmla="*/ 4 w 56"/>
                  <a:gd name="T45" fmla="*/ 18 h 40"/>
                  <a:gd name="T46" fmla="*/ 4 w 56"/>
                  <a:gd name="T47" fmla="*/ 26 h 40"/>
                  <a:gd name="T48" fmla="*/ 4 w 56"/>
                  <a:gd name="T49" fmla="*/ 28 h 40"/>
                  <a:gd name="T50" fmla="*/ 0 w 56"/>
                  <a:gd name="T51" fmla="*/ 32 h 40"/>
                  <a:gd name="T52" fmla="*/ 2 w 56"/>
                  <a:gd name="T53" fmla="*/ 34 h 40"/>
                  <a:gd name="T54" fmla="*/ 2 w 56"/>
                  <a:gd name="T55" fmla="*/ 36 h 40"/>
                  <a:gd name="T56" fmla="*/ 4 w 56"/>
                  <a:gd name="T57" fmla="*/ 38 h 40"/>
                  <a:gd name="T58" fmla="*/ 4 w 56"/>
                  <a:gd name="T59" fmla="*/ 40 h 40"/>
                  <a:gd name="T60" fmla="*/ 6 w 56"/>
                  <a:gd name="T61" fmla="*/ 40 h 40"/>
                  <a:gd name="T62" fmla="*/ 6 w 56"/>
                  <a:gd name="T63" fmla="*/ 40 h 40"/>
                  <a:gd name="T64" fmla="*/ 8 w 56"/>
                  <a:gd name="T65" fmla="*/ 38 h 40"/>
                  <a:gd name="T66" fmla="*/ 10 w 56"/>
                  <a:gd name="T67" fmla="*/ 36 h 40"/>
                  <a:gd name="T68" fmla="*/ 14 w 56"/>
                  <a:gd name="T69" fmla="*/ 34 h 40"/>
                  <a:gd name="T70" fmla="*/ 18 w 56"/>
                  <a:gd name="T71" fmla="*/ 30 h 40"/>
                  <a:gd name="T72" fmla="*/ 18 w 56"/>
                  <a:gd name="T73" fmla="*/ 30 h 40"/>
                  <a:gd name="T74" fmla="*/ 20 w 56"/>
                  <a:gd name="T75" fmla="*/ 30 h 40"/>
                  <a:gd name="T76" fmla="*/ 22 w 56"/>
                  <a:gd name="T77" fmla="*/ 32 h 40"/>
                  <a:gd name="T78" fmla="*/ 24 w 56"/>
                  <a:gd name="T79" fmla="*/ 32 h 40"/>
                  <a:gd name="T80" fmla="*/ 28 w 56"/>
                  <a:gd name="T81" fmla="*/ 32 h 40"/>
                  <a:gd name="T82" fmla="*/ 32 w 56"/>
                  <a:gd name="T83" fmla="*/ 30 h 40"/>
                  <a:gd name="T84" fmla="*/ 42 w 56"/>
                  <a:gd name="T85" fmla="*/ 32 h 40"/>
                  <a:gd name="T86" fmla="*/ 42 w 56"/>
                  <a:gd name="T87" fmla="*/ 32 h 40"/>
                  <a:gd name="T88" fmla="*/ 44 w 56"/>
                  <a:gd name="T89" fmla="*/ 32 h 40"/>
                  <a:gd name="T90" fmla="*/ 48 w 56"/>
                  <a:gd name="T91" fmla="*/ 32 h 40"/>
                  <a:gd name="T92" fmla="*/ 54 w 56"/>
                  <a:gd name="T93" fmla="*/ 30 h 40"/>
                  <a:gd name="T94" fmla="*/ 56 w 56"/>
                  <a:gd name="T95" fmla="*/ 30 h 40"/>
                  <a:gd name="T96" fmla="*/ 56 w 56"/>
                  <a:gd name="T97" fmla="*/ 28 h 40"/>
                  <a:gd name="T98" fmla="*/ 56 w 56"/>
                  <a:gd name="T99" fmla="*/ 26 h 40"/>
                  <a:gd name="T100" fmla="*/ 54 w 56"/>
                  <a:gd name="T101" fmla="*/ 24 h 40"/>
                  <a:gd name="T102" fmla="*/ 54 w 56"/>
                  <a:gd name="T103" fmla="*/ 24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56" h="40">
                    <a:moveTo>
                      <a:pt x="54" y="24"/>
                    </a:moveTo>
                    <a:lnTo>
                      <a:pt x="54" y="24"/>
                    </a:lnTo>
                    <a:lnTo>
                      <a:pt x="54" y="24"/>
                    </a:lnTo>
                    <a:lnTo>
                      <a:pt x="52" y="24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6" y="20"/>
                    </a:lnTo>
                    <a:lnTo>
                      <a:pt x="44" y="18"/>
                    </a:lnTo>
                    <a:lnTo>
                      <a:pt x="42" y="14"/>
                    </a:lnTo>
                    <a:lnTo>
                      <a:pt x="42" y="14"/>
                    </a:lnTo>
                    <a:lnTo>
                      <a:pt x="42" y="14"/>
                    </a:lnTo>
                    <a:lnTo>
                      <a:pt x="40" y="12"/>
                    </a:lnTo>
                    <a:lnTo>
                      <a:pt x="38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4" y="12"/>
                    </a:lnTo>
                    <a:lnTo>
                      <a:pt x="32" y="12"/>
                    </a:lnTo>
                    <a:lnTo>
                      <a:pt x="32" y="10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28" y="6"/>
                    </a:lnTo>
                    <a:lnTo>
                      <a:pt x="26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2" y="4"/>
                    </a:lnTo>
                    <a:lnTo>
                      <a:pt x="20" y="4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8" y="8"/>
                    </a:lnTo>
                    <a:lnTo>
                      <a:pt x="8" y="10"/>
                    </a:lnTo>
                    <a:lnTo>
                      <a:pt x="6" y="12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4" y="2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8"/>
                    </a:lnTo>
                    <a:lnTo>
                      <a:pt x="2" y="28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6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10" y="36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6" y="32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0" y="30"/>
                    </a:lnTo>
                    <a:lnTo>
                      <a:pt x="22" y="30"/>
                    </a:lnTo>
                    <a:lnTo>
                      <a:pt x="22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8" y="32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8" y="30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52" y="32"/>
                    </a:lnTo>
                    <a:lnTo>
                      <a:pt x="54" y="30"/>
                    </a:lnTo>
                    <a:lnTo>
                      <a:pt x="54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28"/>
                    </a:lnTo>
                    <a:lnTo>
                      <a:pt x="56" y="28"/>
                    </a:lnTo>
                    <a:lnTo>
                      <a:pt x="56" y="26"/>
                    </a:lnTo>
                    <a:lnTo>
                      <a:pt x="54" y="24"/>
                    </a:lnTo>
                    <a:lnTo>
                      <a:pt x="54" y="24"/>
                    </a:lnTo>
                    <a:lnTo>
                      <a:pt x="54" y="24"/>
                    </a:lnTo>
                    <a:lnTo>
                      <a:pt x="54" y="24"/>
                    </a:lnTo>
                    <a:lnTo>
                      <a:pt x="54" y="2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638" name="Freeform 195"/>
              <p:cNvSpPr>
                <a:spLocks/>
              </p:cNvSpPr>
              <p:nvPr/>
            </p:nvSpPr>
            <p:spPr bwMode="auto">
              <a:xfrm>
                <a:off x="1551" y="2484"/>
                <a:ext cx="42" cy="38"/>
              </a:xfrm>
              <a:custGeom>
                <a:avLst/>
                <a:gdLst>
                  <a:gd name="T0" fmla="*/ 40 w 42"/>
                  <a:gd name="T1" fmla="*/ 18 h 38"/>
                  <a:gd name="T2" fmla="*/ 42 w 42"/>
                  <a:gd name="T3" fmla="*/ 12 h 38"/>
                  <a:gd name="T4" fmla="*/ 40 w 42"/>
                  <a:gd name="T5" fmla="*/ 8 h 38"/>
                  <a:gd name="T6" fmla="*/ 38 w 42"/>
                  <a:gd name="T7" fmla="*/ 4 h 38"/>
                  <a:gd name="T8" fmla="*/ 36 w 42"/>
                  <a:gd name="T9" fmla="*/ 6 h 38"/>
                  <a:gd name="T10" fmla="*/ 36 w 42"/>
                  <a:gd name="T11" fmla="*/ 6 h 38"/>
                  <a:gd name="T12" fmla="*/ 32 w 42"/>
                  <a:gd name="T13" fmla="*/ 6 h 38"/>
                  <a:gd name="T14" fmla="*/ 30 w 42"/>
                  <a:gd name="T15" fmla="*/ 4 h 38"/>
                  <a:gd name="T16" fmla="*/ 26 w 42"/>
                  <a:gd name="T17" fmla="*/ 2 h 38"/>
                  <a:gd name="T18" fmla="*/ 24 w 42"/>
                  <a:gd name="T19" fmla="*/ 2 h 38"/>
                  <a:gd name="T20" fmla="*/ 22 w 42"/>
                  <a:gd name="T21" fmla="*/ 2 h 38"/>
                  <a:gd name="T22" fmla="*/ 18 w 42"/>
                  <a:gd name="T23" fmla="*/ 0 h 38"/>
                  <a:gd name="T24" fmla="*/ 18 w 42"/>
                  <a:gd name="T25" fmla="*/ 0 h 38"/>
                  <a:gd name="T26" fmla="*/ 14 w 42"/>
                  <a:gd name="T27" fmla="*/ 4 h 38"/>
                  <a:gd name="T28" fmla="*/ 12 w 42"/>
                  <a:gd name="T29" fmla="*/ 6 h 38"/>
                  <a:gd name="T30" fmla="*/ 12 w 42"/>
                  <a:gd name="T31" fmla="*/ 6 h 38"/>
                  <a:gd name="T32" fmla="*/ 16 w 42"/>
                  <a:gd name="T33" fmla="*/ 8 h 38"/>
                  <a:gd name="T34" fmla="*/ 16 w 42"/>
                  <a:gd name="T35" fmla="*/ 10 h 38"/>
                  <a:gd name="T36" fmla="*/ 20 w 42"/>
                  <a:gd name="T37" fmla="*/ 8 h 38"/>
                  <a:gd name="T38" fmla="*/ 24 w 42"/>
                  <a:gd name="T39" fmla="*/ 8 h 38"/>
                  <a:gd name="T40" fmla="*/ 24 w 42"/>
                  <a:gd name="T41" fmla="*/ 10 h 38"/>
                  <a:gd name="T42" fmla="*/ 24 w 42"/>
                  <a:gd name="T43" fmla="*/ 12 h 38"/>
                  <a:gd name="T44" fmla="*/ 24 w 42"/>
                  <a:gd name="T45" fmla="*/ 12 h 38"/>
                  <a:gd name="T46" fmla="*/ 22 w 42"/>
                  <a:gd name="T47" fmla="*/ 16 h 38"/>
                  <a:gd name="T48" fmla="*/ 22 w 42"/>
                  <a:gd name="T49" fmla="*/ 20 h 38"/>
                  <a:gd name="T50" fmla="*/ 22 w 42"/>
                  <a:gd name="T51" fmla="*/ 20 h 38"/>
                  <a:gd name="T52" fmla="*/ 22 w 42"/>
                  <a:gd name="T53" fmla="*/ 24 h 38"/>
                  <a:gd name="T54" fmla="*/ 22 w 42"/>
                  <a:gd name="T55" fmla="*/ 26 h 38"/>
                  <a:gd name="T56" fmla="*/ 22 w 42"/>
                  <a:gd name="T57" fmla="*/ 28 h 38"/>
                  <a:gd name="T58" fmla="*/ 20 w 42"/>
                  <a:gd name="T59" fmla="*/ 28 h 38"/>
                  <a:gd name="T60" fmla="*/ 18 w 42"/>
                  <a:gd name="T61" fmla="*/ 28 h 38"/>
                  <a:gd name="T62" fmla="*/ 16 w 42"/>
                  <a:gd name="T63" fmla="*/ 28 h 38"/>
                  <a:gd name="T64" fmla="*/ 14 w 42"/>
                  <a:gd name="T65" fmla="*/ 26 h 38"/>
                  <a:gd name="T66" fmla="*/ 10 w 42"/>
                  <a:gd name="T67" fmla="*/ 26 h 38"/>
                  <a:gd name="T68" fmla="*/ 6 w 42"/>
                  <a:gd name="T69" fmla="*/ 26 h 38"/>
                  <a:gd name="T70" fmla="*/ 2 w 42"/>
                  <a:gd name="T71" fmla="*/ 26 h 38"/>
                  <a:gd name="T72" fmla="*/ 0 w 42"/>
                  <a:gd name="T73" fmla="*/ 28 h 38"/>
                  <a:gd name="T74" fmla="*/ 0 w 42"/>
                  <a:gd name="T75" fmla="*/ 30 h 38"/>
                  <a:gd name="T76" fmla="*/ 2 w 42"/>
                  <a:gd name="T77" fmla="*/ 32 h 38"/>
                  <a:gd name="T78" fmla="*/ 4 w 42"/>
                  <a:gd name="T79" fmla="*/ 34 h 38"/>
                  <a:gd name="T80" fmla="*/ 6 w 42"/>
                  <a:gd name="T81" fmla="*/ 38 h 38"/>
                  <a:gd name="T82" fmla="*/ 8 w 42"/>
                  <a:gd name="T83" fmla="*/ 38 h 38"/>
                  <a:gd name="T84" fmla="*/ 10 w 42"/>
                  <a:gd name="T85" fmla="*/ 36 h 38"/>
                  <a:gd name="T86" fmla="*/ 12 w 42"/>
                  <a:gd name="T87" fmla="*/ 34 h 38"/>
                  <a:gd name="T88" fmla="*/ 12 w 42"/>
                  <a:gd name="T89" fmla="*/ 34 h 38"/>
                  <a:gd name="T90" fmla="*/ 14 w 42"/>
                  <a:gd name="T91" fmla="*/ 32 h 38"/>
                  <a:gd name="T92" fmla="*/ 18 w 42"/>
                  <a:gd name="T93" fmla="*/ 32 h 38"/>
                  <a:gd name="T94" fmla="*/ 22 w 42"/>
                  <a:gd name="T95" fmla="*/ 34 h 38"/>
                  <a:gd name="T96" fmla="*/ 28 w 42"/>
                  <a:gd name="T97" fmla="*/ 34 h 38"/>
                  <a:gd name="T98" fmla="*/ 30 w 42"/>
                  <a:gd name="T99" fmla="*/ 34 h 38"/>
                  <a:gd name="T100" fmla="*/ 32 w 42"/>
                  <a:gd name="T101" fmla="*/ 34 h 38"/>
                  <a:gd name="T102" fmla="*/ 34 w 42"/>
                  <a:gd name="T103" fmla="*/ 32 h 38"/>
                  <a:gd name="T104" fmla="*/ 34 w 42"/>
                  <a:gd name="T105" fmla="*/ 34 h 38"/>
                  <a:gd name="T106" fmla="*/ 34 w 42"/>
                  <a:gd name="T107" fmla="*/ 34 h 38"/>
                  <a:gd name="T108" fmla="*/ 38 w 42"/>
                  <a:gd name="T109" fmla="*/ 30 h 38"/>
                  <a:gd name="T110" fmla="*/ 38 w 42"/>
                  <a:gd name="T111" fmla="*/ 28 h 38"/>
                  <a:gd name="T112" fmla="*/ 38 w 42"/>
                  <a:gd name="T113" fmla="*/ 20 h 38"/>
                  <a:gd name="T114" fmla="*/ 40 w 42"/>
                  <a:gd name="T115" fmla="*/ 18 h 38"/>
                  <a:gd name="T116" fmla="*/ 40 w 42"/>
                  <a:gd name="T117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2" h="38">
                    <a:moveTo>
                      <a:pt x="40" y="18"/>
                    </a:moveTo>
                    <a:lnTo>
                      <a:pt x="40" y="18"/>
                    </a:lnTo>
                    <a:lnTo>
                      <a:pt x="40" y="14"/>
                    </a:lnTo>
                    <a:lnTo>
                      <a:pt x="42" y="12"/>
                    </a:lnTo>
                    <a:lnTo>
                      <a:pt x="42" y="10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34" y="6"/>
                    </a:lnTo>
                    <a:lnTo>
                      <a:pt x="32" y="6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8" y="4"/>
                    </a:lnTo>
                    <a:lnTo>
                      <a:pt x="26" y="2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2"/>
                    </a:lnTo>
                    <a:lnTo>
                      <a:pt x="14" y="4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4" y="8"/>
                    </a:lnTo>
                    <a:lnTo>
                      <a:pt x="16" y="8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8" y="10"/>
                    </a:lnTo>
                    <a:lnTo>
                      <a:pt x="20" y="8"/>
                    </a:lnTo>
                    <a:lnTo>
                      <a:pt x="22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2" y="14"/>
                    </a:lnTo>
                    <a:lnTo>
                      <a:pt x="22" y="16"/>
                    </a:lnTo>
                    <a:lnTo>
                      <a:pt x="22" y="18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2" y="22"/>
                    </a:lnTo>
                    <a:lnTo>
                      <a:pt x="22" y="24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8"/>
                    </a:lnTo>
                    <a:lnTo>
                      <a:pt x="22" y="28"/>
                    </a:lnTo>
                    <a:lnTo>
                      <a:pt x="20" y="28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16" y="28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2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6" y="2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2" y="32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6"/>
                    </a:lnTo>
                    <a:lnTo>
                      <a:pt x="6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6" y="32"/>
                    </a:lnTo>
                    <a:lnTo>
                      <a:pt x="18" y="32"/>
                    </a:lnTo>
                    <a:lnTo>
                      <a:pt x="20" y="32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8" y="34"/>
                    </a:lnTo>
                    <a:lnTo>
                      <a:pt x="28" y="34"/>
                    </a:lnTo>
                    <a:lnTo>
                      <a:pt x="30" y="34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32" y="32"/>
                    </a:lnTo>
                    <a:lnTo>
                      <a:pt x="34" y="32"/>
                    </a:lnTo>
                    <a:lnTo>
                      <a:pt x="34" y="34"/>
                    </a:lnTo>
                    <a:lnTo>
                      <a:pt x="34" y="34"/>
                    </a:lnTo>
                    <a:lnTo>
                      <a:pt x="34" y="34"/>
                    </a:lnTo>
                    <a:lnTo>
                      <a:pt x="34" y="34"/>
                    </a:lnTo>
                    <a:lnTo>
                      <a:pt x="36" y="30"/>
                    </a:lnTo>
                    <a:lnTo>
                      <a:pt x="38" y="30"/>
                    </a:lnTo>
                    <a:lnTo>
                      <a:pt x="38" y="28"/>
                    </a:lnTo>
                    <a:lnTo>
                      <a:pt x="38" y="28"/>
                    </a:lnTo>
                    <a:lnTo>
                      <a:pt x="38" y="22"/>
                    </a:lnTo>
                    <a:lnTo>
                      <a:pt x="38" y="20"/>
                    </a:lnTo>
                    <a:lnTo>
                      <a:pt x="40" y="18"/>
                    </a:lnTo>
                    <a:lnTo>
                      <a:pt x="40" y="18"/>
                    </a:lnTo>
                    <a:lnTo>
                      <a:pt x="40" y="18"/>
                    </a:lnTo>
                    <a:lnTo>
                      <a:pt x="40" y="18"/>
                    </a:lnTo>
                    <a:lnTo>
                      <a:pt x="40" y="18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639" name="Freeform 197"/>
              <p:cNvSpPr>
                <a:spLocks/>
              </p:cNvSpPr>
              <p:nvPr/>
            </p:nvSpPr>
            <p:spPr bwMode="auto">
              <a:xfrm>
                <a:off x="1303" y="2510"/>
                <a:ext cx="26" cy="40"/>
              </a:xfrm>
              <a:custGeom>
                <a:avLst/>
                <a:gdLst>
                  <a:gd name="T0" fmla="*/ 2 w 26"/>
                  <a:gd name="T1" fmla="*/ 28 h 40"/>
                  <a:gd name="T2" fmla="*/ 2 w 26"/>
                  <a:gd name="T3" fmla="*/ 28 h 40"/>
                  <a:gd name="T4" fmla="*/ 0 w 26"/>
                  <a:gd name="T5" fmla="*/ 32 h 40"/>
                  <a:gd name="T6" fmla="*/ 0 w 26"/>
                  <a:gd name="T7" fmla="*/ 36 h 40"/>
                  <a:gd name="T8" fmla="*/ 0 w 26"/>
                  <a:gd name="T9" fmla="*/ 36 h 40"/>
                  <a:gd name="T10" fmla="*/ 2 w 26"/>
                  <a:gd name="T11" fmla="*/ 38 h 40"/>
                  <a:gd name="T12" fmla="*/ 2 w 26"/>
                  <a:gd name="T13" fmla="*/ 40 h 40"/>
                  <a:gd name="T14" fmla="*/ 4 w 26"/>
                  <a:gd name="T15" fmla="*/ 40 h 40"/>
                  <a:gd name="T16" fmla="*/ 4 w 26"/>
                  <a:gd name="T17" fmla="*/ 40 h 40"/>
                  <a:gd name="T18" fmla="*/ 6 w 26"/>
                  <a:gd name="T19" fmla="*/ 40 h 40"/>
                  <a:gd name="T20" fmla="*/ 6 w 26"/>
                  <a:gd name="T21" fmla="*/ 40 h 40"/>
                  <a:gd name="T22" fmla="*/ 10 w 26"/>
                  <a:gd name="T23" fmla="*/ 38 h 40"/>
                  <a:gd name="T24" fmla="*/ 10 w 26"/>
                  <a:gd name="T25" fmla="*/ 38 h 40"/>
                  <a:gd name="T26" fmla="*/ 10 w 26"/>
                  <a:gd name="T27" fmla="*/ 36 h 40"/>
                  <a:gd name="T28" fmla="*/ 10 w 26"/>
                  <a:gd name="T29" fmla="*/ 36 h 40"/>
                  <a:gd name="T30" fmla="*/ 10 w 26"/>
                  <a:gd name="T31" fmla="*/ 36 h 40"/>
                  <a:gd name="T32" fmla="*/ 10 w 26"/>
                  <a:gd name="T33" fmla="*/ 34 h 40"/>
                  <a:gd name="T34" fmla="*/ 12 w 26"/>
                  <a:gd name="T35" fmla="*/ 34 h 40"/>
                  <a:gd name="T36" fmla="*/ 12 w 26"/>
                  <a:gd name="T37" fmla="*/ 32 h 40"/>
                  <a:gd name="T38" fmla="*/ 12 w 26"/>
                  <a:gd name="T39" fmla="*/ 32 h 40"/>
                  <a:gd name="T40" fmla="*/ 14 w 26"/>
                  <a:gd name="T41" fmla="*/ 28 h 40"/>
                  <a:gd name="T42" fmla="*/ 16 w 26"/>
                  <a:gd name="T43" fmla="*/ 26 h 40"/>
                  <a:gd name="T44" fmla="*/ 16 w 26"/>
                  <a:gd name="T45" fmla="*/ 26 h 40"/>
                  <a:gd name="T46" fmla="*/ 18 w 26"/>
                  <a:gd name="T47" fmla="*/ 22 h 40"/>
                  <a:gd name="T48" fmla="*/ 20 w 26"/>
                  <a:gd name="T49" fmla="*/ 20 h 40"/>
                  <a:gd name="T50" fmla="*/ 20 w 26"/>
                  <a:gd name="T51" fmla="*/ 20 h 40"/>
                  <a:gd name="T52" fmla="*/ 22 w 26"/>
                  <a:gd name="T53" fmla="*/ 18 h 40"/>
                  <a:gd name="T54" fmla="*/ 24 w 26"/>
                  <a:gd name="T55" fmla="*/ 16 h 40"/>
                  <a:gd name="T56" fmla="*/ 24 w 26"/>
                  <a:gd name="T57" fmla="*/ 16 h 40"/>
                  <a:gd name="T58" fmla="*/ 24 w 26"/>
                  <a:gd name="T59" fmla="*/ 16 h 40"/>
                  <a:gd name="T60" fmla="*/ 26 w 26"/>
                  <a:gd name="T61" fmla="*/ 14 h 40"/>
                  <a:gd name="T62" fmla="*/ 26 w 26"/>
                  <a:gd name="T63" fmla="*/ 12 h 40"/>
                  <a:gd name="T64" fmla="*/ 26 w 26"/>
                  <a:gd name="T65" fmla="*/ 4 h 40"/>
                  <a:gd name="T66" fmla="*/ 26 w 26"/>
                  <a:gd name="T67" fmla="*/ 4 h 40"/>
                  <a:gd name="T68" fmla="*/ 26 w 26"/>
                  <a:gd name="T69" fmla="*/ 4 h 40"/>
                  <a:gd name="T70" fmla="*/ 26 w 26"/>
                  <a:gd name="T71" fmla="*/ 4 h 40"/>
                  <a:gd name="T72" fmla="*/ 24 w 26"/>
                  <a:gd name="T73" fmla="*/ 4 h 40"/>
                  <a:gd name="T74" fmla="*/ 22 w 26"/>
                  <a:gd name="T75" fmla="*/ 2 h 40"/>
                  <a:gd name="T76" fmla="*/ 22 w 26"/>
                  <a:gd name="T77" fmla="*/ 2 h 40"/>
                  <a:gd name="T78" fmla="*/ 22 w 26"/>
                  <a:gd name="T79" fmla="*/ 0 h 40"/>
                  <a:gd name="T80" fmla="*/ 20 w 26"/>
                  <a:gd name="T81" fmla="*/ 0 h 40"/>
                  <a:gd name="T82" fmla="*/ 18 w 26"/>
                  <a:gd name="T83" fmla="*/ 0 h 40"/>
                  <a:gd name="T84" fmla="*/ 16 w 26"/>
                  <a:gd name="T85" fmla="*/ 0 h 40"/>
                  <a:gd name="T86" fmla="*/ 16 w 26"/>
                  <a:gd name="T87" fmla="*/ 0 h 40"/>
                  <a:gd name="T88" fmla="*/ 16 w 26"/>
                  <a:gd name="T89" fmla="*/ 0 h 40"/>
                  <a:gd name="T90" fmla="*/ 14 w 26"/>
                  <a:gd name="T91" fmla="*/ 2 h 40"/>
                  <a:gd name="T92" fmla="*/ 12 w 26"/>
                  <a:gd name="T93" fmla="*/ 4 h 40"/>
                  <a:gd name="T94" fmla="*/ 10 w 26"/>
                  <a:gd name="T95" fmla="*/ 6 h 40"/>
                  <a:gd name="T96" fmla="*/ 8 w 26"/>
                  <a:gd name="T97" fmla="*/ 8 h 40"/>
                  <a:gd name="T98" fmla="*/ 8 w 26"/>
                  <a:gd name="T99" fmla="*/ 8 h 40"/>
                  <a:gd name="T100" fmla="*/ 8 w 26"/>
                  <a:gd name="T101" fmla="*/ 8 h 40"/>
                  <a:gd name="T102" fmla="*/ 6 w 26"/>
                  <a:gd name="T103" fmla="*/ 8 h 40"/>
                  <a:gd name="T104" fmla="*/ 4 w 26"/>
                  <a:gd name="T105" fmla="*/ 8 h 40"/>
                  <a:gd name="T106" fmla="*/ 4 w 26"/>
                  <a:gd name="T107" fmla="*/ 8 h 40"/>
                  <a:gd name="T108" fmla="*/ 4 w 26"/>
                  <a:gd name="T109" fmla="*/ 12 h 40"/>
                  <a:gd name="T110" fmla="*/ 4 w 26"/>
                  <a:gd name="T111" fmla="*/ 18 h 40"/>
                  <a:gd name="T112" fmla="*/ 4 w 26"/>
                  <a:gd name="T113" fmla="*/ 18 h 40"/>
                  <a:gd name="T114" fmla="*/ 2 w 26"/>
                  <a:gd name="T115" fmla="*/ 24 h 40"/>
                  <a:gd name="T116" fmla="*/ 2 w 26"/>
                  <a:gd name="T117" fmla="*/ 28 h 40"/>
                  <a:gd name="T118" fmla="*/ 2 w 26"/>
                  <a:gd name="T119" fmla="*/ 28 h 40"/>
                  <a:gd name="T120" fmla="*/ 2 w 26"/>
                  <a:gd name="T121" fmla="*/ 28 h 40"/>
                  <a:gd name="T122" fmla="*/ 2 w 26"/>
                  <a:gd name="T123" fmla="*/ 28 h 40"/>
                  <a:gd name="T124" fmla="*/ 2 w 26"/>
                  <a:gd name="T125" fmla="*/ 28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6" h="40">
                    <a:moveTo>
                      <a:pt x="2" y="28"/>
                    </a:moveTo>
                    <a:lnTo>
                      <a:pt x="2" y="28"/>
                    </a:lnTo>
                    <a:lnTo>
                      <a:pt x="0" y="32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2" y="38"/>
                    </a:lnTo>
                    <a:lnTo>
                      <a:pt x="2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4"/>
                    </a:lnTo>
                    <a:lnTo>
                      <a:pt x="12" y="34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4" y="28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8" y="22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2" y="18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6" y="14"/>
                    </a:lnTo>
                    <a:lnTo>
                      <a:pt x="26" y="12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4" y="4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0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4" y="2"/>
                    </a:lnTo>
                    <a:lnTo>
                      <a:pt x="12" y="4"/>
                    </a:lnTo>
                    <a:lnTo>
                      <a:pt x="10" y="6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6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1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2" y="24"/>
                    </a:lnTo>
                    <a:lnTo>
                      <a:pt x="2" y="28"/>
                    </a:lnTo>
                    <a:lnTo>
                      <a:pt x="2" y="28"/>
                    </a:lnTo>
                    <a:lnTo>
                      <a:pt x="2" y="28"/>
                    </a:lnTo>
                    <a:lnTo>
                      <a:pt x="2" y="28"/>
                    </a:lnTo>
                    <a:lnTo>
                      <a:pt x="2" y="28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640" name="Freeform 199"/>
              <p:cNvSpPr>
                <a:spLocks/>
              </p:cNvSpPr>
              <p:nvPr/>
            </p:nvSpPr>
            <p:spPr bwMode="auto">
              <a:xfrm>
                <a:off x="1249" y="2514"/>
                <a:ext cx="74" cy="76"/>
              </a:xfrm>
              <a:custGeom>
                <a:avLst/>
                <a:gdLst>
                  <a:gd name="T0" fmla="*/ 44 w 74"/>
                  <a:gd name="T1" fmla="*/ 70 h 76"/>
                  <a:gd name="T2" fmla="*/ 48 w 74"/>
                  <a:gd name="T3" fmla="*/ 66 h 76"/>
                  <a:gd name="T4" fmla="*/ 50 w 74"/>
                  <a:gd name="T5" fmla="*/ 56 h 76"/>
                  <a:gd name="T6" fmla="*/ 54 w 74"/>
                  <a:gd name="T7" fmla="*/ 52 h 76"/>
                  <a:gd name="T8" fmla="*/ 58 w 74"/>
                  <a:gd name="T9" fmla="*/ 50 h 76"/>
                  <a:gd name="T10" fmla="*/ 68 w 74"/>
                  <a:gd name="T11" fmla="*/ 48 h 76"/>
                  <a:gd name="T12" fmla="*/ 72 w 74"/>
                  <a:gd name="T13" fmla="*/ 44 h 76"/>
                  <a:gd name="T14" fmla="*/ 74 w 74"/>
                  <a:gd name="T15" fmla="*/ 40 h 76"/>
                  <a:gd name="T16" fmla="*/ 68 w 74"/>
                  <a:gd name="T17" fmla="*/ 38 h 76"/>
                  <a:gd name="T18" fmla="*/ 66 w 74"/>
                  <a:gd name="T19" fmla="*/ 36 h 76"/>
                  <a:gd name="T20" fmla="*/ 64 w 74"/>
                  <a:gd name="T21" fmla="*/ 34 h 76"/>
                  <a:gd name="T22" fmla="*/ 60 w 74"/>
                  <a:gd name="T23" fmla="*/ 36 h 76"/>
                  <a:gd name="T24" fmla="*/ 58 w 74"/>
                  <a:gd name="T25" fmla="*/ 36 h 76"/>
                  <a:gd name="T26" fmla="*/ 56 w 74"/>
                  <a:gd name="T27" fmla="*/ 36 h 76"/>
                  <a:gd name="T28" fmla="*/ 54 w 74"/>
                  <a:gd name="T29" fmla="*/ 32 h 76"/>
                  <a:gd name="T30" fmla="*/ 54 w 74"/>
                  <a:gd name="T31" fmla="*/ 28 h 76"/>
                  <a:gd name="T32" fmla="*/ 56 w 74"/>
                  <a:gd name="T33" fmla="*/ 24 h 76"/>
                  <a:gd name="T34" fmla="*/ 58 w 74"/>
                  <a:gd name="T35" fmla="*/ 14 h 76"/>
                  <a:gd name="T36" fmla="*/ 58 w 74"/>
                  <a:gd name="T37" fmla="*/ 8 h 76"/>
                  <a:gd name="T38" fmla="*/ 58 w 74"/>
                  <a:gd name="T39" fmla="*/ 4 h 76"/>
                  <a:gd name="T40" fmla="*/ 54 w 74"/>
                  <a:gd name="T41" fmla="*/ 2 h 76"/>
                  <a:gd name="T42" fmla="*/ 48 w 74"/>
                  <a:gd name="T43" fmla="*/ 0 h 76"/>
                  <a:gd name="T44" fmla="*/ 44 w 74"/>
                  <a:gd name="T45" fmla="*/ 0 h 76"/>
                  <a:gd name="T46" fmla="*/ 38 w 74"/>
                  <a:gd name="T47" fmla="*/ 2 h 76"/>
                  <a:gd name="T48" fmla="*/ 34 w 74"/>
                  <a:gd name="T49" fmla="*/ 2 h 76"/>
                  <a:gd name="T50" fmla="*/ 34 w 74"/>
                  <a:gd name="T51" fmla="*/ 4 h 76"/>
                  <a:gd name="T52" fmla="*/ 30 w 74"/>
                  <a:gd name="T53" fmla="*/ 10 h 76"/>
                  <a:gd name="T54" fmla="*/ 28 w 74"/>
                  <a:gd name="T55" fmla="*/ 12 h 76"/>
                  <a:gd name="T56" fmla="*/ 30 w 74"/>
                  <a:gd name="T57" fmla="*/ 14 h 76"/>
                  <a:gd name="T58" fmla="*/ 32 w 74"/>
                  <a:gd name="T59" fmla="*/ 18 h 76"/>
                  <a:gd name="T60" fmla="*/ 34 w 74"/>
                  <a:gd name="T61" fmla="*/ 20 h 76"/>
                  <a:gd name="T62" fmla="*/ 34 w 74"/>
                  <a:gd name="T63" fmla="*/ 24 h 76"/>
                  <a:gd name="T64" fmla="*/ 34 w 74"/>
                  <a:gd name="T65" fmla="*/ 24 h 76"/>
                  <a:gd name="T66" fmla="*/ 34 w 74"/>
                  <a:gd name="T67" fmla="*/ 28 h 76"/>
                  <a:gd name="T68" fmla="*/ 30 w 74"/>
                  <a:gd name="T69" fmla="*/ 30 h 76"/>
                  <a:gd name="T70" fmla="*/ 24 w 74"/>
                  <a:gd name="T71" fmla="*/ 32 h 76"/>
                  <a:gd name="T72" fmla="*/ 20 w 74"/>
                  <a:gd name="T73" fmla="*/ 32 h 76"/>
                  <a:gd name="T74" fmla="*/ 18 w 74"/>
                  <a:gd name="T75" fmla="*/ 34 h 76"/>
                  <a:gd name="T76" fmla="*/ 14 w 74"/>
                  <a:gd name="T77" fmla="*/ 38 h 76"/>
                  <a:gd name="T78" fmla="*/ 12 w 74"/>
                  <a:gd name="T79" fmla="*/ 42 h 76"/>
                  <a:gd name="T80" fmla="*/ 8 w 74"/>
                  <a:gd name="T81" fmla="*/ 48 h 76"/>
                  <a:gd name="T82" fmla="*/ 6 w 74"/>
                  <a:gd name="T83" fmla="*/ 48 h 76"/>
                  <a:gd name="T84" fmla="*/ 0 w 74"/>
                  <a:gd name="T85" fmla="*/ 54 h 76"/>
                  <a:gd name="T86" fmla="*/ 2 w 74"/>
                  <a:gd name="T87" fmla="*/ 56 h 76"/>
                  <a:gd name="T88" fmla="*/ 2 w 74"/>
                  <a:gd name="T89" fmla="*/ 58 h 76"/>
                  <a:gd name="T90" fmla="*/ 6 w 74"/>
                  <a:gd name="T91" fmla="*/ 62 h 76"/>
                  <a:gd name="T92" fmla="*/ 8 w 74"/>
                  <a:gd name="T93" fmla="*/ 66 h 76"/>
                  <a:gd name="T94" fmla="*/ 10 w 74"/>
                  <a:gd name="T95" fmla="*/ 68 h 76"/>
                  <a:gd name="T96" fmla="*/ 14 w 74"/>
                  <a:gd name="T97" fmla="*/ 70 h 76"/>
                  <a:gd name="T98" fmla="*/ 18 w 74"/>
                  <a:gd name="T99" fmla="*/ 72 h 76"/>
                  <a:gd name="T100" fmla="*/ 24 w 74"/>
                  <a:gd name="T101" fmla="*/ 74 h 76"/>
                  <a:gd name="T102" fmla="*/ 28 w 74"/>
                  <a:gd name="T103" fmla="*/ 74 h 76"/>
                  <a:gd name="T104" fmla="*/ 34 w 74"/>
                  <a:gd name="T105" fmla="*/ 74 h 76"/>
                  <a:gd name="T106" fmla="*/ 38 w 74"/>
                  <a:gd name="T107" fmla="*/ 76 h 76"/>
                  <a:gd name="T108" fmla="*/ 40 w 74"/>
                  <a:gd name="T109" fmla="*/ 76 h 76"/>
                  <a:gd name="T110" fmla="*/ 42 w 74"/>
                  <a:gd name="T111" fmla="*/ 74 h 76"/>
                  <a:gd name="T112" fmla="*/ 44 w 74"/>
                  <a:gd name="T113" fmla="*/ 70 h 76"/>
                  <a:gd name="T114" fmla="*/ 44 w 74"/>
                  <a:gd name="T115" fmla="*/ 7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74" h="76">
                    <a:moveTo>
                      <a:pt x="44" y="70"/>
                    </a:moveTo>
                    <a:lnTo>
                      <a:pt x="44" y="70"/>
                    </a:lnTo>
                    <a:lnTo>
                      <a:pt x="46" y="68"/>
                    </a:lnTo>
                    <a:lnTo>
                      <a:pt x="48" y="66"/>
                    </a:lnTo>
                    <a:lnTo>
                      <a:pt x="50" y="60"/>
                    </a:lnTo>
                    <a:lnTo>
                      <a:pt x="50" y="56"/>
                    </a:lnTo>
                    <a:lnTo>
                      <a:pt x="52" y="54"/>
                    </a:lnTo>
                    <a:lnTo>
                      <a:pt x="54" y="52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64" y="48"/>
                    </a:lnTo>
                    <a:lnTo>
                      <a:pt x="68" y="48"/>
                    </a:lnTo>
                    <a:lnTo>
                      <a:pt x="70" y="46"/>
                    </a:lnTo>
                    <a:lnTo>
                      <a:pt x="72" y="44"/>
                    </a:lnTo>
                    <a:lnTo>
                      <a:pt x="74" y="42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68" y="38"/>
                    </a:lnTo>
                    <a:lnTo>
                      <a:pt x="68" y="38"/>
                    </a:lnTo>
                    <a:lnTo>
                      <a:pt x="66" y="36"/>
                    </a:lnTo>
                    <a:lnTo>
                      <a:pt x="66" y="36"/>
                    </a:lnTo>
                    <a:lnTo>
                      <a:pt x="64" y="34"/>
                    </a:lnTo>
                    <a:lnTo>
                      <a:pt x="64" y="34"/>
                    </a:lnTo>
                    <a:lnTo>
                      <a:pt x="60" y="36"/>
                    </a:lnTo>
                    <a:lnTo>
                      <a:pt x="60" y="36"/>
                    </a:lnTo>
                    <a:lnTo>
                      <a:pt x="58" y="36"/>
                    </a:lnTo>
                    <a:lnTo>
                      <a:pt x="58" y="36"/>
                    </a:lnTo>
                    <a:lnTo>
                      <a:pt x="56" y="36"/>
                    </a:lnTo>
                    <a:lnTo>
                      <a:pt x="56" y="34"/>
                    </a:lnTo>
                    <a:lnTo>
                      <a:pt x="54" y="32"/>
                    </a:lnTo>
                    <a:lnTo>
                      <a:pt x="54" y="32"/>
                    </a:lnTo>
                    <a:lnTo>
                      <a:pt x="54" y="28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6" y="20"/>
                    </a:lnTo>
                    <a:lnTo>
                      <a:pt x="58" y="14"/>
                    </a:lnTo>
                    <a:lnTo>
                      <a:pt x="58" y="14"/>
                    </a:lnTo>
                    <a:lnTo>
                      <a:pt x="58" y="8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6" y="4"/>
                    </a:lnTo>
                    <a:lnTo>
                      <a:pt x="54" y="2"/>
                    </a:lnTo>
                    <a:lnTo>
                      <a:pt x="50" y="2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4" y="0"/>
                    </a:lnTo>
                    <a:lnTo>
                      <a:pt x="40" y="0"/>
                    </a:lnTo>
                    <a:lnTo>
                      <a:pt x="38" y="2"/>
                    </a:lnTo>
                    <a:lnTo>
                      <a:pt x="36" y="2"/>
                    </a:lnTo>
                    <a:lnTo>
                      <a:pt x="34" y="2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2" y="8"/>
                    </a:lnTo>
                    <a:lnTo>
                      <a:pt x="30" y="10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2" y="18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2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6"/>
                    </a:lnTo>
                    <a:lnTo>
                      <a:pt x="34" y="28"/>
                    </a:lnTo>
                    <a:lnTo>
                      <a:pt x="32" y="30"/>
                    </a:lnTo>
                    <a:lnTo>
                      <a:pt x="30" y="30"/>
                    </a:lnTo>
                    <a:lnTo>
                      <a:pt x="28" y="30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0" y="32"/>
                    </a:lnTo>
                    <a:lnTo>
                      <a:pt x="18" y="32"/>
                    </a:lnTo>
                    <a:lnTo>
                      <a:pt x="18" y="34"/>
                    </a:lnTo>
                    <a:lnTo>
                      <a:pt x="16" y="36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2" y="42"/>
                    </a:lnTo>
                    <a:lnTo>
                      <a:pt x="10" y="44"/>
                    </a:lnTo>
                    <a:lnTo>
                      <a:pt x="8" y="48"/>
                    </a:lnTo>
                    <a:lnTo>
                      <a:pt x="6" y="48"/>
                    </a:lnTo>
                    <a:lnTo>
                      <a:pt x="6" y="48"/>
                    </a:lnTo>
                    <a:lnTo>
                      <a:pt x="4" y="52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2" y="56"/>
                    </a:lnTo>
                    <a:lnTo>
                      <a:pt x="2" y="58"/>
                    </a:lnTo>
                    <a:lnTo>
                      <a:pt x="2" y="58"/>
                    </a:lnTo>
                    <a:lnTo>
                      <a:pt x="4" y="60"/>
                    </a:lnTo>
                    <a:lnTo>
                      <a:pt x="6" y="62"/>
                    </a:lnTo>
                    <a:lnTo>
                      <a:pt x="6" y="64"/>
                    </a:lnTo>
                    <a:lnTo>
                      <a:pt x="8" y="66"/>
                    </a:lnTo>
                    <a:lnTo>
                      <a:pt x="8" y="66"/>
                    </a:lnTo>
                    <a:lnTo>
                      <a:pt x="10" y="68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8" y="72"/>
                    </a:lnTo>
                    <a:lnTo>
                      <a:pt x="18" y="72"/>
                    </a:lnTo>
                    <a:lnTo>
                      <a:pt x="20" y="72"/>
                    </a:lnTo>
                    <a:lnTo>
                      <a:pt x="24" y="74"/>
                    </a:lnTo>
                    <a:lnTo>
                      <a:pt x="28" y="74"/>
                    </a:lnTo>
                    <a:lnTo>
                      <a:pt x="28" y="74"/>
                    </a:lnTo>
                    <a:lnTo>
                      <a:pt x="32" y="74"/>
                    </a:lnTo>
                    <a:lnTo>
                      <a:pt x="34" y="74"/>
                    </a:lnTo>
                    <a:lnTo>
                      <a:pt x="36" y="76"/>
                    </a:lnTo>
                    <a:lnTo>
                      <a:pt x="38" y="76"/>
                    </a:lnTo>
                    <a:lnTo>
                      <a:pt x="38" y="76"/>
                    </a:lnTo>
                    <a:lnTo>
                      <a:pt x="40" y="76"/>
                    </a:lnTo>
                    <a:lnTo>
                      <a:pt x="40" y="76"/>
                    </a:lnTo>
                    <a:lnTo>
                      <a:pt x="42" y="74"/>
                    </a:lnTo>
                    <a:lnTo>
                      <a:pt x="44" y="70"/>
                    </a:lnTo>
                    <a:lnTo>
                      <a:pt x="44" y="70"/>
                    </a:lnTo>
                    <a:lnTo>
                      <a:pt x="44" y="70"/>
                    </a:lnTo>
                    <a:lnTo>
                      <a:pt x="44" y="70"/>
                    </a:lnTo>
                    <a:lnTo>
                      <a:pt x="44" y="7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641" name="Freeform 201"/>
              <p:cNvSpPr>
                <a:spLocks/>
              </p:cNvSpPr>
              <p:nvPr/>
            </p:nvSpPr>
            <p:spPr bwMode="auto">
              <a:xfrm>
                <a:off x="1289" y="2580"/>
                <a:ext cx="32" cy="20"/>
              </a:xfrm>
              <a:custGeom>
                <a:avLst/>
                <a:gdLst>
                  <a:gd name="T0" fmla="*/ 26 w 32"/>
                  <a:gd name="T1" fmla="*/ 4 h 20"/>
                  <a:gd name="T2" fmla="*/ 26 w 32"/>
                  <a:gd name="T3" fmla="*/ 4 h 20"/>
                  <a:gd name="T4" fmla="*/ 22 w 32"/>
                  <a:gd name="T5" fmla="*/ 2 h 20"/>
                  <a:gd name="T6" fmla="*/ 18 w 32"/>
                  <a:gd name="T7" fmla="*/ 0 h 20"/>
                  <a:gd name="T8" fmla="*/ 12 w 32"/>
                  <a:gd name="T9" fmla="*/ 0 h 20"/>
                  <a:gd name="T10" fmla="*/ 6 w 32"/>
                  <a:gd name="T11" fmla="*/ 0 h 20"/>
                  <a:gd name="T12" fmla="*/ 6 w 32"/>
                  <a:gd name="T13" fmla="*/ 0 h 20"/>
                  <a:gd name="T14" fmla="*/ 6 w 32"/>
                  <a:gd name="T15" fmla="*/ 2 h 20"/>
                  <a:gd name="T16" fmla="*/ 4 w 32"/>
                  <a:gd name="T17" fmla="*/ 4 h 20"/>
                  <a:gd name="T18" fmla="*/ 4 w 32"/>
                  <a:gd name="T19" fmla="*/ 4 h 20"/>
                  <a:gd name="T20" fmla="*/ 2 w 32"/>
                  <a:gd name="T21" fmla="*/ 8 h 20"/>
                  <a:gd name="T22" fmla="*/ 0 w 32"/>
                  <a:gd name="T23" fmla="*/ 10 h 20"/>
                  <a:gd name="T24" fmla="*/ 0 w 32"/>
                  <a:gd name="T25" fmla="*/ 10 h 20"/>
                  <a:gd name="T26" fmla="*/ 2 w 32"/>
                  <a:gd name="T27" fmla="*/ 12 h 20"/>
                  <a:gd name="T28" fmla="*/ 4 w 32"/>
                  <a:gd name="T29" fmla="*/ 12 h 20"/>
                  <a:gd name="T30" fmla="*/ 6 w 32"/>
                  <a:gd name="T31" fmla="*/ 12 h 20"/>
                  <a:gd name="T32" fmla="*/ 10 w 32"/>
                  <a:gd name="T33" fmla="*/ 14 h 20"/>
                  <a:gd name="T34" fmla="*/ 10 w 32"/>
                  <a:gd name="T35" fmla="*/ 14 h 20"/>
                  <a:gd name="T36" fmla="*/ 14 w 32"/>
                  <a:gd name="T37" fmla="*/ 14 h 20"/>
                  <a:gd name="T38" fmla="*/ 16 w 32"/>
                  <a:gd name="T39" fmla="*/ 16 h 20"/>
                  <a:gd name="T40" fmla="*/ 18 w 32"/>
                  <a:gd name="T41" fmla="*/ 16 h 20"/>
                  <a:gd name="T42" fmla="*/ 18 w 32"/>
                  <a:gd name="T43" fmla="*/ 16 h 20"/>
                  <a:gd name="T44" fmla="*/ 20 w 32"/>
                  <a:gd name="T45" fmla="*/ 18 h 20"/>
                  <a:gd name="T46" fmla="*/ 24 w 32"/>
                  <a:gd name="T47" fmla="*/ 20 h 20"/>
                  <a:gd name="T48" fmla="*/ 26 w 32"/>
                  <a:gd name="T49" fmla="*/ 20 h 20"/>
                  <a:gd name="T50" fmla="*/ 26 w 32"/>
                  <a:gd name="T51" fmla="*/ 18 h 20"/>
                  <a:gd name="T52" fmla="*/ 26 w 32"/>
                  <a:gd name="T53" fmla="*/ 18 h 20"/>
                  <a:gd name="T54" fmla="*/ 28 w 32"/>
                  <a:gd name="T55" fmla="*/ 18 h 20"/>
                  <a:gd name="T56" fmla="*/ 28 w 32"/>
                  <a:gd name="T57" fmla="*/ 18 h 20"/>
                  <a:gd name="T58" fmla="*/ 30 w 32"/>
                  <a:gd name="T59" fmla="*/ 16 h 20"/>
                  <a:gd name="T60" fmla="*/ 30 w 32"/>
                  <a:gd name="T61" fmla="*/ 16 h 20"/>
                  <a:gd name="T62" fmla="*/ 32 w 32"/>
                  <a:gd name="T63" fmla="*/ 16 h 20"/>
                  <a:gd name="T64" fmla="*/ 32 w 32"/>
                  <a:gd name="T65" fmla="*/ 16 h 20"/>
                  <a:gd name="T66" fmla="*/ 32 w 32"/>
                  <a:gd name="T67" fmla="*/ 12 h 20"/>
                  <a:gd name="T68" fmla="*/ 32 w 32"/>
                  <a:gd name="T69" fmla="*/ 10 h 20"/>
                  <a:gd name="T70" fmla="*/ 32 w 32"/>
                  <a:gd name="T71" fmla="*/ 10 h 20"/>
                  <a:gd name="T72" fmla="*/ 32 w 32"/>
                  <a:gd name="T73" fmla="*/ 8 h 20"/>
                  <a:gd name="T74" fmla="*/ 32 w 32"/>
                  <a:gd name="T75" fmla="*/ 6 h 20"/>
                  <a:gd name="T76" fmla="*/ 32 w 32"/>
                  <a:gd name="T77" fmla="*/ 4 h 20"/>
                  <a:gd name="T78" fmla="*/ 30 w 32"/>
                  <a:gd name="T79" fmla="*/ 4 h 20"/>
                  <a:gd name="T80" fmla="*/ 30 w 32"/>
                  <a:gd name="T81" fmla="*/ 4 h 20"/>
                  <a:gd name="T82" fmla="*/ 26 w 32"/>
                  <a:gd name="T83" fmla="*/ 4 h 20"/>
                  <a:gd name="T84" fmla="*/ 26 w 32"/>
                  <a:gd name="T85" fmla="*/ 4 h 20"/>
                  <a:gd name="T86" fmla="*/ 26 w 32"/>
                  <a:gd name="T87" fmla="*/ 4 h 20"/>
                  <a:gd name="T88" fmla="*/ 26 w 32"/>
                  <a:gd name="T89" fmla="*/ 4 h 20"/>
                  <a:gd name="T90" fmla="*/ 26 w 32"/>
                  <a:gd name="T91" fmla="*/ 4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2" h="20">
                    <a:moveTo>
                      <a:pt x="26" y="4"/>
                    </a:moveTo>
                    <a:lnTo>
                      <a:pt x="26" y="4"/>
                    </a:lnTo>
                    <a:lnTo>
                      <a:pt x="22" y="2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4" y="14"/>
                    </a:lnTo>
                    <a:lnTo>
                      <a:pt x="16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20" y="18"/>
                    </a:lnTo>
                    <a:lnTo>
                      <a:pt x="24" y="20"/>
                    </a:lnTo>
                    <a:lnTo>
                      <a:pt x="26" y="20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2"/>
                    </a:lnTo>
                    <a:lnTo>
                      <a:pt x="32" y="10"/>
                    </a:lnTo>
                    <a:lnTo>
                      <a:pt x="32" y="10"/>
                    </a:lnTo>
                    <a:lnTo>
                      <a:pt x="32" y="8"/>
                    </a:lnTo>
                    <a:lnTo>
                      <a:pt x="32" y="6"/>
                    </a:lnTo>
                    <a:lnTo>
                      <a:pt x="32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642" name="Freeform 203"/>
              <p:cNvSpPr>
                <a:spLocks/>
              </p:cNvSpPr>
              <p:nvPr/>
            </p:nvSpPr>
            <p:spPr bwMode="auto">
              <a:xfrm>
                <a:off x="1295" y="2552"/>
                <a:ext cx="92" cy="50"/>
              </a:xfrm>
              <a:custGeom>
                <a:avLst/>
                <a:gdLst>
                  <a:gd name="T0" fmla="*/ 44 w 92"/>
                  <a:gd name="T1" fmla="*/ 36 h 50"/>
                  <a:gd name="T2" fmla="*/ 44 w 92"/>
                  <a:gd name="T3" fmla="*/ 34 h 50"/>
                  <a:gd name="T4" fmla="*/ 48 w 92"/>
                  <a:gd name="T5" fmla="*/ 32 h 50"/>
                  <a:gd name="T6" fmla="*/ 54 w 92"/>
                  <a:gd name="T7" fmla="*/ 32 h 50"/>
                  <a:gd name="T8" fmla="*/ 60 w 92"/>
                  <a:gd name="T9" fmla="*/ 32 h 50"/>
                  <a:gd name="T10" fmla="*/ 64 w 92"/>
                  <a:gd name="T11" fmla="*/ 32 h 50"/>
                  <a:gd name="T12" fmla="*/ 64 w 92"/>
                  <a:gd name="T13" fmla="*/ 28 h 50"/>
                  <a:gd name="T14" fmla="*/ 66 w 92"/>
                  <a:gd name="T15" fmla="*/ 24 h 50"/>
                  <a:gd name="T16" fmla="*/ 68 w 92"/>
                  <a:gd name="T17" fmla="*/ 20 h 50"/>
                  <a:gd name="T18" fmla="*/ 68 w 92"/>
                  <a:gd name="T19" fmla="*/ 20 h 50"/>
                  <a:gd name="T20" fmla="*/ 74 w 92"/>
                  <a:gd name="T21" fmla="*/ 20 h 50"/>
                  <a:gd name="T22" fmla="*/ 80 w 92"/>
                  <a:gd name="T23" fmla="*/ 20 h 50"/>
                  <a:gd name="T24" fmla="*/ 86 w 92"/>
                  <a:gd name="T25" fmla="*/ 18 h 50"/>
                  <a:gd name="T26" fmla="*/ 90 w 92"/>
                  <a:gd name="T27" fmla="*/ 16 h 50"/>
                  <a:gd name="T28" fmla="*/ 92 w 92"/>
                  <a:gd name="T29" fmla="*/ 10 h 50"/>
                  <a:gd name="T30" fmla="*/ 90 w 92"/>
                  <a:gd name="T31" fmla="*/ 10 h 50"/>
                  <a:gd name="T32" fmla="*/ 88 w 92"/>
                  <a:gd name="T33" fmla="*/ 8 h 50"/>
                  <a:gd name="T34" fmla="*/ 86 w 92"/>
                  <a:gd name="T35" fmla="*/ 6 h 50"/>
                  <a:gd name="T36" fmla="*/ 86 w 92"/>
                  <a:gd name="T37" fmla="*/ 4 h 50"/>
                  <a:gd name="T38" fmla="*/ 84 w 92"/>
                  <a:gd name="T39" fmla="*/ 2 h 50"/>
                  <a:gd name="T40" fmla="*/ 82 w 92"/>
                  <a:gd name="T41" fmla="*/ 2 h 50"/>
                  <a:gd name="T42" fmla="*/ 72 w 92"/>
                  <a:gd name="T43" fmla="*/ 0 h 50"/>
                  <a:gd name="T44" fmla="*/ 68 w 92"/>
                  <a:gd name="T45" fmla="*/ 0 h 50"/>
                  <a:gd name="T46" fmla="*/ 64 w 92"/>
                  <a:gd name="T47" fmla="*/ 2 h 50"/>
                  <a:gd name="T48" fmla="*/ 60 w 92"/>
                  <a:gd name="T49" fmla="*/ 0 h 50"/>
                  <a:gd name="T50" fmla="*/ 58 w 92"/>
                  <a:gd name="T51" fmla="*/ 0 h 50"/>
                  <a:gd name="T52" fmla="*/ 54 w 92"/>
                  <a:gd name="T53" fmla="*/ 0 h 50"/>
                  <a:gd name="T54" fmla="*/ 52 w 92"/>
                  <a:gd name="T55" fmla="*/ 2 h 50"/>
                  <a:gd name="T56" fmla="*/ 48 w 92"/>
                  <a:gd name="T57" fmla="*/ 2 h 50"/>
                  <a:gd name="T58" fmla="*/ 42 w 92"/>
                  <a:gd name="T59" fmla="*/ 0 h 50"/>
                  <a:gd name="T60" fmla="*/ 40 w 92"/>
                  <a:gd name="T61" fmla="*/ 0 h 50"/>
                  <a:gd name="T62" fmla="*/ 38 w 92"/>
                  <a:gd name="T63" fmla="*/ 2 h 50"/>
                  <a:gd name="T64" fmla="*/ 36 w 92"/>
                  <a:gd name="T65" fmla="*/ 2 h 50"/>
                  <a:gd name="T66" fmla="*/ 32 w 92"/>
                  <a:gd name="T67" fmla="*/ 2 h 50"/>
                  <a:gd name="T68" fmla="*/ 28 w 92"/>
                  <a:gd name="T69" fmla="*/ 2 h 50"/>
                  <a:gd name="T70" fmla="*/ 26 w 92"/>
                  <a:gd name="T71" fmla="*/ 6 h 50"/>
                  <a:gd name="T72" fmla="*/ 22 w 92"/>
                  <a:gd name="T73" fmla="*/ 10 h 50"/>
                  <a:gd name="T74" fmla="*/ 12 w 92"/>
                  <a:gd name="T75" fmla="*/ 12 h 50"/>
                  <a:gd name="T76" fmla="*/ 10 w 92"/>
                  <a:gd name="T77" fmla="*/ 14 h 50"/>
                  <a:gd name="T78" fmla="*/ 6 w 92"/>
                  <a:gd name="T79" fmla="*/ 18 h 50"/>
                  <a:gd name="T80" fmla="*/ 2 w 92"/>
                  <a:gd name="T81" fmla="*/ 24 h 50"/>
                  <a:gd name="T82" fmla="*/ 0 w 92"/>
                  <a:gd name="T83" fmla="*/ 28 h 50"/>
                  <a:gd name="T84" fmla="*/ 12 w 92"/>
                  <a:gd name="T85" fmla="*/ 28 h 50"/>
                  <a:gd name="T86" fmla="*/ 20 w 92"/>
                  <a:gd name="T87" fmla="*/ 32 h 50"/>
                  <a:gd name="T88" fmla="*/ 24 w 92"/>
                  <a:gd name="T89" fmla="*/ 32 h 50"/>
                  <a:gd name="T90" fmla="*/ 26 w 92"/>
                  <a:gd name="T91" fmla="*/ 32 h 50"/>
                  <a:gd name="T92" fmla="*/ 26 w 92"/>
                  <a:gd name="T93" fmla="*/ 36 h 50"/>
                  <a:gd name="T94" fmla="*/ 26 w 92"/>
                  <a:gd name="T95" fmla="*/ 38 h 50"/>
                  <a:gd name="T96" fmla="*/ 26 w 92"/>
                  <a:gd name="T97" fmla="*/ 44 h 50"/>
                  <a:gd name="T98" fmla="*/ 26 w 92"/>
                  <a:gd name="T99" fmla="*/ 44 h 50"/>
                  <a:gd name="T100" fmla="*/ 26 w 92"/>
                  <a:gd name="T101" fmla="*/ 48 h 50"/>
                  <a:gd name="T102" fmla="*/ 26 w 92"/>
                  <a:gd name="T103" fmla="*/ 50 h 50"/>
                  <a:gd name="T104" fmla="*/ 36 w 92"/>
                  <a:gd name="T105" fmla="*/ 48 h 50"/>
                  <a:gd name="T106" fmla="*/ 40 w 92"/>
                  <a:gd name="T107" fmla="*/ 48 h 50"/>
                  <a:gd name="T108" fmla="*/ 42 w 92"/>
                  <a:gd name="T109" fmla="*/ 44 h 50"/>
                  <a:gd name="T110" fmla="*/ 44 w 92"/>
                  <a:gd name="T111" fmla="*/ 42 h 50"/>
                  <a:gd name="T112" fmla="*/ 44 w 92"/>
                  <a:gd name="T113" fmla="*/ 38 h 50"/>
                  <a:gd name="T114" fmla="*/ 44 w 92"/>
                  <a:gd name="T115" fmla="*/ 36 h 50"/>
                  <a:gd name="T116" fmla="*/ 44 w 92"/>
                  <a:gd name="T117" fmla="*/ 36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92" h="50">
                    <a:moveTo>
                      <a:pt x="44" y="36"/>
                    </a:moveTo>
                    <a:lnTo>
                      <a:pt x="44" y="36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6" y="32"/>
                    </a:lnTo>
                    <a:lnTo>
                      <a:pt x="48" y="32"/>
                    </a:lnTo>
                    <a:lnTo>
                      <a:pt x="50" y="32"/>
                    </a:lnTo>
                    <a:lnTo>
                      <a:pt x="54" y="32"/>
                    </a:lnTo>
                    <a:lnTo>
                      <a:pt x="56" y="32"/>
                    </a:lnTo>
                    <a:lnTo>
                      <a:pt x="60" y="32"/>
                    </a:lnTo>
                    <a:lnTo>
                      <a:pt x="62" y="32"/>
                    </a:lnTo>
                    <a:lnTo>
                      <a:pt x="64" y="32"/>
                    </a:lnTo>
                    <a:lnTo>
                      <a:pt x="64" y="30"/>
                    </a:lnTo>
                    <a:lnTo>
                      <a:pt x="64" y="28"/>
                    </a:lnTo>
                    <a:lnTo>
                      <a:pt x="64" y="28"/>
                    </a:lnTo>
                    <a:lnTo>
                      <a:pt x="66" y="24"/>
                    </a:lnTo>
                    <a:lnTo>
                      <a:pt x="66" y="22"/>
                    </a:lnTo>
                    <a:lnTo>
                      <a:pt x="68" y="20"/>
                    </a:lnTo>
                    <a:lnTo>
                      <a:pt x="68" y="20"/>
                    </a:lnTo>
                    <a:lnTo>
                      <a:pt x="68" y="20"/>
                    </a:lnTo>
                    <a:lnTo>
                      <a:pt x="72" y="20"/>
                    </a:lnTo>
                    <a:lnTo>
                      <a:pt x="74" y="20"/>
                    </a:lnTo>
                    <a:lnTo>
                      <a:pt x="80" y="20"/>
                    </a:lnTo>
                    <a:lnTo>
                      <a:pt x="80" y="20"/>
                    </a:lnTo>
                    <a:lnTo>
                      <a:pt x="84" y="20"/>
                    </a:lnTo>
                    <a:lnTo>
                      <a:pt x="86" y="18"/>
                    </a:lnTo>
                    <a:lnTo>
                      <a:pt x="88" y="18"/>
                    </a:lnTo>
                    <a:lnTo>
                      <a:pt x="90" y="16"/>
                    </a:lnTo>
                    <a:lnTo>
                      <a:pt x="90" y="16"/>
                    </a:lnTo>
                    <a:lnTo>
                      <a:pt x="92" y="10"/>
                    </a:lnTo>
                    <a:lnTo>
                      <a:pt x="92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6" y="6"/>
                    </a:lnTo>
                    <a:lnTo>
                      <a:pt x="86" y="6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4" y="2"/>
                    </a:lnTo>
                    <a:lnTo>
                      <a:pt x="84" y="2"/>
                    </a:lnTo>
                    <a:lnTo>
                      <a:pt x="82" y="2"/>
                    </a:lnTo>
                    <a:lnTo>
                      <a:pt x="78" y="2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68" y="0"/>
                    </a:lnTo>
                    <a:lnTo>
                      <a:pt x="66" y="0"/>
                    </a:lnTo>
                    <a:lnTo>
                      <a:pt x="64" y="2"/>
                    </a:lnTo>
                    <a:lnTo>
                      <a:pt x="62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58" y="0"/>
                    </a:lnTo>
                    <a:lnTo>
                      <a:pt x="58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2" y="2"/>
                    </a:lnTo>
                    <a:lnTo>
                      <a:pt x="50" y="2"/>
                    </a:lnTo>
                    <a:lnTo>
                      <a:pt x="48" y="2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8" y="2"/>
                    </a:lnTo>
                    <a:lnTo>
                      <a:pt x="36" y="2"/>
                    </a:lnTo>
                    <a:lnTo>
                      <a:pt x="36" y="2"/>
                    </a:lnTo>
                    <a:lnTo>
                      <a:pt x="34" y="2"/>
                    </a:lnTo>
                    <a:lnTo>
                      <a:pt x="32" y="2"/>
                    </a:lnTo>
                    <a:lnTo>
                      <a:pt x="28" y="2"/>
                    </a:lnTo>
                    <a:lnTo>
                      <a:pt x="28" y="2"/>
                    </a:lnTo>
                    <a:lnTo>
                      <a:pt x="28" y="4"/>
                    </a:lnTo>
                    <a:lnTo>
                      <a:pt x="26" y="6"/>
                    </a:lnTo>
                    <a:lnTo>
                      <a:pt x="24" y="8"/>
                    </a:lnTo>
                    <a:lnTo>
                      <a:pt x="22" y="10"/>
                    </a:lnTo>
                    <a:lnTo>
                      <a:pt x="18" y="10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0" y="14"/>
                    </a:lnTo>
                    <a:lnTo>
                      <a:pt x="8" y="16"/>
                    </a:lnTo>
                    <a:lnTo>
                      <a:pt x="6" y="18"/>
                    </a:lnTo>
                    <a:lnTo>
                      <a:pt x="4" y="20"/>
                    </a:lnTo>
                    <a:lnTo>
                      <a:pt x="2" y="24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6" y="28"/>
                    </a:lnTo>
                    <a:lnTo>
                      <a:pt x="12" y="28"/>
                    </a:lnTo>
                    <a:lnTo>
                      <a:pt x="16" y="30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6" y="32"/>
                    </a:lnTo>
                    <a:lnTo>
                      <a:pt x="26" y="34"/>
                    </a:lnTo>
                    <a:lnTo>
                      <a:pt x="26" y="36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40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8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32" y="48"/>
                    </a:lnTo>
                    <a:lnTo>
                      <a:pt x="36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2" y="46"/>
                    </a:lnTo>
                    <a:lnTo>
                      <a:pt x="42" y="44"/>
                    </a:lnTo>
                    <a:lnTo>
                      <a:pt x="44" y="44"/>
                    </a:lnTo>
                    <a:lnTo>
                      <a:pt x="44" y="42"/>
                    </a:lnTo>
                    <a:lnTo>
                      <a:pt x="44" y="40"/>
                    </a:lnTo>
                    <a:lnTo>
                      <a:pt x="44" y="38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</p:grpSp>
        <p:grpSp>
          <p:nvGrpSpPr>
            <p:cNvPr id="41" name="Group 406"/>
            <p:cNvGrpSpPr>
              <a:grpSpLocks/>
            </p:cNvGrpSpPr>
            <p:nvPr/>
          </p:nvGrpSpPr>
          <p:grpSpPr bwMode="auto">
            <a:xfrm>
              <a:off x="1991272" y="1571297"/>
              <a:ext cx="6584676" cy="4604078"/>
              <a:chOff x="1321" y="1108"/>
              <a:chExt cx="4056" cy="2836"/>
            </a:xfrm>
            <a:grpFill/>
          </p:grpSpPr>
          <p:sp>
            <p:nvSpPr>
              <p:cNvPr id="415" name="Freeform 206"/>
              <p:cNvSpPr>
                <a:spLocks/>
              </p:cNvSpPr>
              <p:nvPr/>
            </p:nvSpPr>
            <p:spPr bwMode="auto">
              <a:xfrm>
                <a:off x="1321" y="2562"/>
                <a:ext cx="74" cy="80"/>
              </a:xfrm>
              <a:custGeom>
                <a:avLst/>
                <a:gdLst>
                  <a:gd name="T0" fmla="*/ 36 w 74"/>
                  <a:gd name="T1" fmla="*/ 78 h 80"/>
                  <a:gd name="T2" fmla="*/ 40 w 74"/>
                  <a:gd name="T3" fmla="*/ 78 h 80"/>
                  <a:gd name="T4" fmla="*/ 54 w 74"/>
                  <a:gd name="T5" fmla="*/ 80 h 80"/>
                  <a:gd name="T6" fmla="*/ 58 w 74"/>
                  <a:gd name="T7" fmla="*/ 76 h 80"/>
                  <a:gd name="T8" fmla="*/ 60 w 74"/>
                  <a:gd name="T9" fmla="*/ 70 h 80"/>
                  <a:gd name="T10" fmla="*/ 60 w 74"/>
                  <a:gd name="T11" fmla="*/ 62 h 80"/>
                  <a:gd name="T12" fmla="*/ 62 w 74"/>
                  <a:gd name="T13" fmla="*/ 54 h 80"/>
                  <a:gd name="T14" fmla="*/ 64 w 74"/>
                  <a:gd name="T15" fmla="*/ 46 h 80"/>
                  <a:gd name="T16" fmla="*/ 64 w 74"/>
                  <a:gd name="T17" fmla="*/ 40 h 80"/>
                  <a:gd name="T18" fmla="*/ 66 w 74"/>
                  <a:gd name="T19" fmla="*/ 36 h 80"/>
                  <a:gd name="T20" fmla="*/ 64 w 74"/>
                  <a:gd name="T21" fmla="*/ 28 h 80"/>
                  <a:gd name="T22" fmla="*/ 66 w 74"/>
                  <a:gd name="T23" fmla="*/ 24 h 80"/>
                  <a:gd name="T24" fmla="*/ 72 w 74"/>
                  <a:gd name="T25" fmla="*/ 20 h 80"/>
                  <a:gd name="T26" fmla="*/ 72 w 74"/>
                  <a:gd name="T27" fmla="*/ 18 h 80"/>
                  <a:gd name="T28" fmla="*/ 74 w 74"/>
                  <a:gd name="T29" fmla="*/ 12 h 80"/>
                  <a:gd name="T30" fmla="*/ 72 w 74"/>
                  <a:gd name="T31" fmla="*/ 6 h 80"/>
                  <a:gd name="T32" fmla="*/ 70 w 74"/>
                  <a:gd name="T33" fmla="*/ 2 h 80"/>
                  <a:gd name="T34" fmla="*/ 66 w 74"/>
                  <a:gd name="T35" fmla="*/ 0 h 80"/>
                  <a:gd name="T36" fmla="*/ 62 w 74"/>
                  <a:gd name="T37" fmla="*/ 8 h 80"/>
                  <a:gd name="T38" fmla="*/ 54 w 74"/>
                  <a:gd name="T39" fmla="*/ 10 h 80"/>
                  <a:gd name="T40" fmla="*/ 46 w 74"/>
                  <a:gd name="T41" fmla="*/ 10 h 80"/>
                  <a:gd name="T42" fmla="*/ 42 w 74"/>
                  <a:gd name="T43" fmla="*/ 10 h 80"/>
                  <a:gd name="T44" fmla="*/ 38 w 74"/>
                  <a:gd name="T45" fmla="*/ 18 h 80"/>
                  <a:gd name="T46" fmla="*/ 38 w 74"/>
                  <a:gd name="T47" fmla="*/ 22 h 80"/>
                  <a:gd name="T48" fmla="*/ 30 w 74"/>
                  <a:gd name="T49" fmla="*/ 22 h 80"/>
                  <a:gd name="T50" fmla="*/ 22 w 74"/>
                  <a:gd name="T51" fmla="*/ 22 h 80"/>
                  <a:gd name="T52" fmla="*/ 18 w 74"/>
                  <a:gd name="T53" fmla="*/ 24 h 80"/>
                  <a:gd name="T54" fmla="*/ 18 w 74"/>
                  <a:gd name="T55" fmla="*/ 28 h 80"/>
                  <a:gd name="T56" fmla="*/ 18 w 74"/>
                  <a:gd name="T57" fmla="*/ 34 h 80"/>
                  <a:gd name="T58" fmla="*/ 14 w 74"/>
                  <a:gd name="T59" fmla="*/ 38 h 80"/>
                  <a:gd name="T60" fmla="*/ 6 w 74"/>
                  <a:gd name="T61" fmla="*/ 38 h 80"/>
                  <a:gd name="T62" fmla="*/ 0 w 74"/>
                  <a:gd name="T63" fmla="*/ 42 h 80"/>
                  <a:gd name="T64" fmla="*/ 0 w 74"/>
                  <a:gd name="T65" fmla="*/ 46 h 80"/>
                  <a:gd name="T66" fmla="*/ 8 w 74"/>
                  <a:gd name="T67" fmla="*/ 48 h 80"/>
                  <a:gd name="T68" fmla="*/ 12 w 74"/>
                  <a:gd name="T69" fmla="*/ 52 h 80"/>
                  <a:gd name="T70" fmla="*/ 12 w 74"/>
                  <a:gd name="T71" fmla="*/ 56 h 80"/>
                  <a:gd name="T72" fmla="*/ 14 w 74"/>
                  <a:gd name="T73" fmla="*/ 60 h 80"/>
                  <a:gd name="T74" fmla="*/ 16 w 74"/>
                  <a:gd name="T75" fmla="*/ 64 h 80"/>
                  <a:gd name="T76" fmla="*/ 22 w 74"/>
                  <a:gd name="T77" fmla="*/ 70 h 80"/>
                  <a:gd name="T78" fmla="*/ 24 w 74"/>
                  <a:gd name="T79" fmla="*/ 74 h 80"/>
                  <a:gd name="T80" fmla="*/ 24 w 74"/>
                  <a:gd name="T81" fmla="*/ 78 h 80"/>
                  <a:gd name="T82" fmla="*/ 30 w 74"/>
                  <a:gd name="T83" fmla="*/ 80 h 80"/>
                  <a:gd name="T84" fmla="*/ 30 w 74"/>
                  <a:gd name="T85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74" h="80">
                    <a:moveTo>
                      <a:pt x="30" y="80"/>
                    </a:moveTo>
                    <a:lnTo>
                      <a:pt x="30" y="80"/>
                    </a:lnTo>
                    <a:lnTo>
                      <a:pt x="36" y="78"/>
                    </a:lnTo>
                    <a:lnTo>
                      <a:pt x="38" y="78"/>
                    </a:lnTo>
                    <a:lnTo>
                      <a:pt x="40" y="78"/>
                    </a:lnTo>
                    <a:lnTo>
                      <a:pt x="40" y="78"/>
                    </a:lnTo>
                    <a:lnTo>
                      <a:pt x="44" y="80"/>
                    </a:lnTo>
                    <a:lnTo>
                      <a:pt x="48" y="80"/>
                    </a:lnTo>
                    <a:lnTo>
                      <a:pt x="54" y="80"/>
                    </a:lnTo>
                    <a:lnTo>
                      <a:pt x="58" y="78"/>
                    </a:lnTo>
                    <a:lnTo>
                      <a:pt x="58" y="78"/>
                    </a:lnTo>
                    <a:lnTo>
                      <a:pt x="58" y="76"/>
                    </a:lnTo>
                    <a:lnTo>
                      <a:pt x="58" y="74"/>
                    </a:lnTo>
                    <a:lnTo>
                      <a:pt x="60" y="70"/>
                    </a:lnTo>
                    <a:lnTo>
                      <a:pt x="60" y="70"/>
                    </a:lnTo>
                    <a:lnTo>
                      <a:pt x="60" y="68"/>
                    </a:lnTo>
                    <a:lnTo>
                      <a:pt x="60" y="66"/>
                    </a:lnTo>
                    <a:lnTo>
                      <a:pt x="60" y="62"/>
                    </a:lnTo>
                    <a:lnTo>
                      <a:pt x="62" y="60"/>
                    </a:lnTo>
                    <a:lnTo>
                      <a:pt x="62" y="60"/>
                    </a:lnTo>
                    <a:lnTo>
                      <a:pt x="62" y="54"/>
                    </a:lnTo>
                    <a:lnTo>
                      <a:pt x="62" y="50"/>
                    </a:lnTo>
                    <a:lnTo>
                      <a:pt x="62" y="46"/>
                    </a:lnTo>
                    <a:lnTo>
                      <a:pt x="64" y="46"/>
                    </a:lnTo>
                    <a:lnTo>
                      <a:pt x="64" y="44"/>
                    </a:lnTo>
                    <a:lnTo>
                      <a:pt x="64" y="44"/>
                    </a:lnTo>
                    <a:lnTo>
                      <a:pt x="64" y="40"/>
                    </a:lnTo>
                    <a:lnTo>
                      <a:pt x="66" y="38"/>
                    </a:lnTo>
                    <a:lnTo>
                      <a:pt x="66" y="36"/>
                    </a:lnTo>
                    <a:lnTo>
                      <a:pt x="66" y="36"/>
                    </a:lnTo>
                    <a:lnTo>
                      <a:pt x="64" y="34"/>
                    </a:lnTo>
                    <a:lnTo>
                      <a:pt x="64" y="30"/>
                    </a:lnTo>
                    <a:lnTo>
                      <a:pt x="64" y="28"/>
                    </a:lnTo>
                    <a:lnTo>
                      <a:pt x="64" y="26"/>
                    </a:lnTo>
                    <a:lnTo>
                      <a:pt x="66" y="24"/>
                    </a:lnTo>
                    <a:lnTo>
                      <a:pt x="66" y="24"/>
                    </a:lnTo>
                    <a:lnTo>
                      <a:pt x="68" y="22"/>
                    </a:lnTo>
                    <a:lnTo>
                      <a:pt x="70" y="22"/>
                    </a:lnTo>
                    <a:lnTo>
                      <a:pt x="72" y="20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4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0"/>
                    </a:lnTo>
                    <a:lnTo>
                      <a:pt x="74" y="8"/>
                    </a:lnTo>
                    <a:lnTo>
                      <a:pt x="72" y="6"/>
                    </a:lnTo>
                    <a:lnTo>
                      <a:pt x="72" y="6"/>
                    </a:lnTo>
                    <a:lnTo>
                      <a:pt x="72" y="4"/>
                    </a:lnTo>
                    <a:lnTo>
                      <a:pt x="70" y="2"/>
                    </a:lnTo>
                    <a:lnTo>
                      <a:pt x="68" y="0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64" y="6"/>
                    </a:lnTo>
                    <a:lnTo>
                      <a:pt x="64" y="6"/>
                    </a:lnTo>
                    <a:lnTo>
                      <a:pt x="62" y="8"/>
                    </a:lnTo>
                    <a:lnTo>
                      <a:pt x="60" y="8"/>
                    </a:lnTo>
                    <a:lnTo>
                      <a:pt x="58" y="10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48" y="10"/>
                    </a:lnTo>
                    <a:lnTo>
                      <a:pt x="46" y="10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0" y="12"/>
                    </a:lnTo>
                    <a:lnTo>
                      <a:pt x="40" y="14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20"/>
                    </a:lnTo>
                    <a:lnTo>
                      <a:pt x="38" y="22"/>
                    </a:lnTo>
                    <a:lnTo>
                      <a:pt x="36" y="22"/>
                    </a:lnTo>
                    <a:lnTo>
                      <a:pt x="34" y="22"/>
                    </a:lnTo>
                    <a:lnTo>
                      <a:pt x="30" y="22"/>
                    </a:lnTo>
                    <a:lnTo>
                      <a:pt x="28" y="22"/>
                    </a:lnTo>
                    <a:lnTo>
                      <a:pt x="24" y="22"/>
                    </a:lnTo>
                    <a:lnTo>
                      <a:pt x="22" y="22"/>
                    </a:lnTo>
                    <a:lnTo>
                      <a:pt x="20" y="22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8"/>
                    </a:lnTo>
                    <a:lnTo>
                      <a:pt x="18" y="30"/>
                    </a:lnTo>
                    <a:lnTo>
                      <a:pt x="18" y="32"/>
                    </a:lnTo>
                    <a:lnTo>
                      <a:pt x="18" y="34"/>
                    </a:lnTo>
                    <a:lnTo>
                      <a:pt x="16" y="34"/>
                    </a:lnTo>
                    <a:lnTo>
                      <a:pt x="16" y="36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0" y="38"/>
                    </a:lnTo>
                    <a:lnTo>
                      <a:pt x="6" y="38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2"/>
                    </a:lnTo>
                    <a:lnTo>
                      <a:pt x="0" y="44"/>
                    </a:lnTo>
                    <a:lnTo>
                      <a:pt x="0" y="46"/>
                    </a:lnTo>
                    <a:lnTo>
                      <a:pt x="0" y="46"/>
                    </a:lnTo>
                    <a:lnTo>
                      <a:pt x="2" y="46"/>
                    </a:lnTo>
                    <a:lnTo>
                      <a:pt x="4" y="46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10" y="52"/>
                    </a:lnTo>
                    <a:lnTo>
                      <a:pt x="12" y="52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12" y="56"/>
                    </a:lnTo>
                    <a:lnTo>
                      <a:pt x="14" y="56"/>
                    </a:lnTo>
                    <a:lnTo>
                      <a:pt x="14" y="60"/>
                    </a:lnTo>
                    <a:lnTo>
                      <a:pt x="14" y="60"/>
                    </a:lnTo>
                    <a:lnTo>
                      <a:pt x="14" y="62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8" y="66"/>
                    </a:lnTo>
                    <a:lnTo>
                      <a:pt x="20" y="68"/>
                    </a:lnTo>
                    <a:lnTo>
                      <a:pt x="22" y="70"/>
                    </a:lnTo>
                    <a:lnTo>
                      <a:pt x="24" y="72"/>
                    </a:lnTo>
                    <a:lnTo>
                      <a:pt x="24" y="72"/>
                    </a:lnTo>
                    <a:lnTo>
                      <a:pt x="24" y="74"/>
                    </a:lnTo>
                    <a:lnTo>
                      <a:pt x="24" y="76"/>
                    </a:lnTo>
                    <a:lnTo>
                      <a:pt x="24" y="78"/>
                    </a:lnTo>
                    <a:lnTo>
                      <a:pt x="24" y="78"/>
                    </a:lnTo>
                    <a:lnTo>
                      <a:pt x="24" y="78"/>
                    </a:lnTo>
                    <a:lnTo>
                      <a:pt x="28" y="80"/>
                    </a:lnTo>
                    <a:lnTo>
                      <a:pt x="30" y="80"/>
                    </a:lnTo>
                    <a:lnTo>
                      <a:pt x="30" y="80"/>
                    </a:lnTo>
                    <a:lnTo>
                      <a:pt x="30" y="80"/>
                    </a:lnTo>
                    <a:lnTo>
                      <a:pt x="30" y="80"/>
                    </a:lnTo>
                    <a:lnTo>
                      <a:pt x="30" y="8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16" name="Freeform 208"/>
              <p:cNvSpPr>
                <a:spLocks/>
              </p:cNvSpPr>
              <p:nvPr/>
            </p:nvSpPr>
            <p:spPr bwMode="auto">
              <a:xfrm>
                <a:off x="1343" y="2640"/>
                <a:ext cx="56" cy="56"/>
              </a:xfrm>
              <a:custGeom>
                <a:avLst/>
                <a:gdLst>
                  <a:gd name="T0" fmla="*/ 46 w 56"/>
                  <a:gd name="T1" fmla="*/ 40 h 56"/>
                  <a:gd name="T2" fmla="*/ 48 w 56"/>
                  <a:gd name="T3" fmla="*/ 38 h 56"/>
                  <a:gd name="T4" fmla="*/ 52 w 56"/>
                  <a:gd name="T5" fmla="*/ 36 h 56"/>
                  <a:gd name="T6" fmla="*/ 56 w 56"/>
                  <a:gd name="T7" fmla="*/ 32 h 56"/>
                  <a:gd name="T8" fmla="*/ 54 w 56"/>
                  <a:gd name="T9" fmla="*/ 30 h 56"/>
                  <a:gd name="T10" fmla="*/ 52 w 56"/>
                  <a:gd name="T11" fmla="*/ 24 h 56"/>
                  <a:gd name="T12" fmla="*/ 52 w 56"/>
                  <a:gd name="T13" fmla="*/ 22 h 56"/>
                  <a:gd name="T14" fmla="*/ 46 w 56"/>
                  <a:gd name="T15" fmla="*/ 12 h 56"/>
                  <a:gd name="T16" fmla="*/ 42 w 56"/>
                  <a:gd name="T17" fmla="*/ 10 h 56"/>
                  <a:gd name="T18" fmla="*/ 38 w 56"/>
                  <a:gd name="T19" fmla="*/ 4 h 56"/>
                  <a:gd name="T20" fmla="*/ 36 w 56"/>
                  <a:gd name="T21" fmla="*/ 2 h 56"/>
                  <a:gd name="T22" fmla="*/ 36 w 56"/>
                  <a:gd name="T23" fmla="*/ 0 h 56"/>
                  <a:gd name="T24" fmla="*/ 26 w 56"/>
                  <a:gd name="T25" fmla="*/ 2 h 56"/>
                  <a:gd name="T26" fmla="*/ 18 w 56"/>
                  <a:gd name="T27" fmla="*/ 0 h 56"/>
                  <a:gd name="T28" fmla="*/ 16 w 56"/>
                  <a:gd name="T29" fmla="*/ 0 h 56"/>
                  <a:gd name="T30" fmla="*/ 8 w 56"/>
                  <a:gd name="T31" fmla="*/ 2 h 56"/>
                  <a:gd name="T32" fmla="*/ 6 w 56"/>
                  <a:gd name="T33" fmla="*/ 2 h 56"/>
                  <a:gd name="T34" fmla="*/ 2 w 56"/>
                  <a:gd name="T35" fmla="*/ 0 h 56"/>
                  <a:gd name="T36" fmla="*/ 0 w 56"/>
                  <a:gd name="T37" fmla="*/ 6 h 56"/>
                  <a:gd name="T38" fmla="*/ 0 w 56"/>
                  <a:gd name="T39" fmla="*/ 14 h 56"/>
                  <a:gd name="T40" fmla="*/ 2 w 56"/>
                  <a:gd name="T41" fmla="*/ 16 h 56"/>
                  <a:gd name="T42" fmla="*/ 4 w 56"/>
                  <a:gd name="T43" fmla="*/ 18 h 56"/>
                  <a:gd name="T44" fmla="*/ 4 w 56"/>
                  <a:gd name="T45" fmla="*/ 20 h 56"/>
                  <a:gd name="T46" fmla="*/ 6 w 56"/>
                  <a:gd name="T47" fmla="*/ 20 h 56"/>
                  <a:gd name="T48" fmla="*/ 8 w 56"/>
                  <a:gd name="T49" fmla="*/ 20 h 56"/>
                  <a:gd name="T50" fmla="*/ 8 w 56"/>
                  <a:gd name="T51" fmla="*/ 20 h 56"/>
                  <a:gd name="T52" fmla="*/ 10 w 56"/>
                  <a:gd name="T53" fmla="*/ 18 h 56"/>
                  <a:gd name="T54" fmla="*/ 10 w 56"/>
                  <a:gd name="T55" fmla="*/ 16 h 56"/>
                  <a:gd name="T56" fmla="*/ 12 w 56"/>
                  <a:gd name="T57" fmla="*/ 16 h 56"/>
                  <a:gd name="T58" fmla="*/ 14 w 56"/>
                  <a:gd name="T59" fmla="*/ 18 h 56"/>
                  <a:gd name="T60" fmla="*/ 16 w 56"/>
                  <a:gd name="T61" fmla="*/ 22 h 56"/>
                  <a:gd name="T62" fmla="*/ 18 w 56"/>
                  <a:gd name="T63" fmla="*/ 28 h 56"/>
                  <a:gd name="T64" fmla="*/ 20 w 56"/>
                  <a:gd name="T65" fmla="*/ 28 h 56"/>
                  <a:gd name="T66" fmla="*/ 26 w 56"/>
                  <a:gd name="T67" fmla="*/ 32 h 56"/>
                  <a:gd name="T68" fmla="*/ 32 w 56"/>
                  <a:gd name="T69" fmla="*/ 34 h 56"/>
                  <a:gd name="T70" fmla="*/ 34 w 56"/>
                  <a:gd name="T71" fmla="*/ 34 h 56"/>
                  <a:gd name="T72" fmla="*/ 34 w 56"/>
                  <a:gd name="T73" fmla="*/ 38 h 56"/>
                  <a:gd name="T74" fmla="*/ 34 w 56"/>
                  <a:gd name="T75" fmla="*/ 42 h 56"/>
                  <a:gd name="T76" fmla="*/ 36 w 56"/>
                  <a:gd name="T77" fmla="*/ 44 h 56"/>
                  <a:gd name="T78" fmla="*/ 36 w 56"/>
                  <a:gd name="T79" fmla="*/ 46 h 56"/>
                  <a:gd name="T80" fmla="*/ 40 w 56"/>
                  <a:gd name="T81" fmla="*/ 46 h 56"/>
                  <a:gd name="T82" fmla="*/ 40 w 56"/>
                  <a:gd name="T83" fmla="*/ 46 h 56"/>
                  <a:gd name="T84" fmla="*/ 42 w 56"/>
                  <a:gd name="T85" fmla="*/ 50 h 56"/>
                  <a:gd name="T86" fmla="*/ 42 w 56"/>
                  <a:gd name="T87" fmla="*/ 52 h 56"/>
                  <a:gd name="T88" fmla="*/ 44 w 56"/>
                  <a:gd name="T89" fmla="*/ 54 h 56"/>
                  <a:gd name="T90" fmla="*/ 44 w 56"/>
                  <a:gd name="T91" fmla="*/ 56 h 56"/>
                  <a:gd name="T92" fmla="*/ 46 w 56"/>
                  <a:gd name="T93" fmla="*/ 56 h 56"/>
                  <a:gd name="T94" fmla="*/ 48 w 56"/>
                  <a:gd name="T95" fmla="*/ 52 h 56"/>
                  <a:gd name="T96" fmla="*/ 48 w 56"/>
                  <a:gd name="T97" fmla="*/ 52 h 56"/>
                  <a:gd name="T98" fmla="*/ 48 w 56"/>
                  <a:gd name="T99" fmla="*/ 50 h 56"/>
                  <a:gd name="T100" fmla="*/ 46 w 56"/>
                  <a:gd name="T101" fmla="*/ 48 h 56"/>
                  <a:gd name="T102" fmla="*/ 46 w 56"/>
                  <a:gd name="T103" fmla="*/ 40 h 56"/>
                  <a:gd name="T104" fmla="*/ 46 w 56"/>
                  <a:gd name="T105" fmla="*/ 40 h 56"/>
                  <a:gd name="T106" fmla="*/ 46 w 56"/>
                  <a:gd name="T107" fmla="*/ 4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56" h="56">
                    <a:moveTo>
                      <a:pt x="46" y="40"/>
                    </a:moveTo>
                    <a:lnTo>
                      <a:pt x="46" y="40"/>
                    </a:lnTo>
                    <a:lnTo>
                      <a:pt x="48" y="40"/>
                    </a:lnTo>
                    <a:lnTo>
                      <a:pt x="48" y="38"/>
                    </a:lnTo>
                    <a:lnTo>
                      <a:pt x="50" y="36"/>
                    </a:lnTo>
                    <a:lnTo>
                      <a:pt x="52" y="36"/>
                    </a:lnTo>
                    <a:lnTo>
                      <a:pt x="52" y="36"/>
                    </a:lnTo>
                    <a:lnTo>
                      <a:pt x="56" y="32"/>
                    </a:lnTo>
                    <a:lnTo>
                      <a:pt x="56" y="32"/>
                    </a:lnTo>
                    <a:lnTo>
                      <a:pt x="54" y="30"/>
                    </a:lnTo>
                    <a:lnTo>
                      <a:pt x="54" y="26"/>
                    </a:lnTo>
                    <a:lnTo>
                      <a:pt x="52" y="24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48" y="16"/>
                    </a:lnTo>
                    <a:lnTo>
                      <a:pt x="46" y="12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0" y="6"/>
                    </a:lnTo>
                    <a:lnTo>
                      <a:pt x="38" y="4"/>
                    </a:lnTo>
                    <a:lnTo>
                      <a:pt x="36" y="2"/>
                    </a:lnTo>
                    <a:lnTo>
                      <a:pt x="36" y="2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2" y="2"/>
                    </a:lnTo>
                    <a:lnTo>
                      <a:pt x="26" y="2"/>
                    </a:lnTo>
                    <a:lnTo>
                      <a:pt x="22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2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2" y="16"/>
                    </a:lnTo>
                    <a:lnTo>
                      <a:pt x="12" y="18"/>
                    </a:lnTo>
                    <a:lnTo>
                      <a:pt x="14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8" y="26"/>
                    </a:lnTo>
                    <a:lnTo>
                      <a:pt x="18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4" y="30"/>
                    </a:lnTo>
                    <a:lnTo>
                      <a:pt x="26" y="32"/>
                    </a:lnTo>
                    <a:lnTo>
                      <a:pt x="30" y="34"/>
                    </a:lnTo>
                    <a:lnTo>
                      <a:pt x="32" y="34"/>
                    </a:lnTo>
                    <a:lnTo>
                      <a:pt x="34" y="34"/>
                    </a:lnTo>
                    <a:lnTo>
                      <a:pt x="34" y="34"/>
                    </a:lnTo>
                    <a:lnTo>
                      <a:pt x="34" y="36"/>
                    </a:lnTo>
                    <a:lnTo>
                      <a:pt x="34" y="38"/>
                    </a:lnTo>
                    <a:lnTo>
                      <a:pt x="34" y="40"/>
                    </a:lnTo>
                    <a:lnTo>
                      <a:pt x="34" y="42"/>
                    </a:lnTo>
                    <a:lnTo>
                      <a:pt x="34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6"/>
                    </a:lnTo>
                    <a:lnTo>
                      <a:pt x="38" y="46"/>
                    </a:lnTo>
                    <a:lnTo>
                      <a:pt x="40" y="46"/>
                    </a:lnTo>
                    <a:lnTo>
                      <a:pt x="40" y="46"/>
                    </a:lnTo>
                    <a:lnTo>
                      <a:pt x="40" y="46"/>
                    </a:lnTo>
                    <a:lnTo>
                      <a:pt x="42" y="48"/>
                    </a:lnTo>
                    <a:lnTo>
                      <a:pt x="42" y="50"/>
                    </a:lnTo>
                    <a:lnTo>
                      <a:pt x="42" y="50"/>
                    </a:lnTo>
                    <a:lnTo>
                      <a:pt x="42" y="52"/>
                    </a:lnTo>
                    <a:lnTo>
                      <a:pt x="42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6"/>
                    </a:lnTo>
                    <a:lnTo>
                      <a:pt x="44" y="56"/>
                    </a:lnTo>
                    <a:lnTo>
                      <a:pt x="46" y="56"/>
                    </a:lnTo>
                    <a:lnTo>
                      <a:pt x="46" y="54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0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44"/>
                    </a:lnTo>
                    <a:lnTo>
                      <a:pt x="46" y="40"/>
                    </a:lnTo>
                    <a:lnTo>
                      <a:pt x="46" y="40"/>
                    </a:lnTo>
                    <a:lnTo>
                      <a:pt x="46" y="40"/>
                    </a:lnTo>
                    <a:lnTo>
                      <a:pt x="46" y="40"/>
                    </a:lnTo>
                    <a:lnTo>
                      <a:pt x="46" y="4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17" name="Freeform 210"/>
              <p:cNvSpPr>
                <a:spLocks/>
              </p:cNvSpPr>
              <p:nvPr/>
            </p:nvSpPr>
            <p:spPr bwMode="auto">
              <a:xfrm>
                <a:off x="1389" y="2660"/>
                <a:ext cx="104" cy="48"/>
              </a:xfrm>
              <a:custGeom>
                <a:avLst/>
                <a:gdLst>
                  <a:gd name="T0" fmla="*/ 104 w 104"/>
                  <a:gd name="T1" fmla="*/ 32 h 48"/>
                  <a:gd name="T2" fmla="*/ 104 w 104"/>
                  <a:gd name="T3" fmla="*/ 30 h 48"/>
                  <a:gd name="T4" fmla="*/ 102 w 104"/>
                  <a:gd name="T5" fmla="*/ 28 h 48"/>
                  <a:gd name="T6" fmla="*/ 98 w 104"/>
                  <a:gd name="T7" fmla="*/ 22 h 48"/>
                  <a:gd name="T8" fmla="*/ 96 w 104"/>
                  <a:gd name="T9" fmla="*/ 20 h 48"/>
                  <a:gd name="T10" fmla="*/ 88 w 104"/>
                  <a:gd name="T11" fmla="*/ 18 h 48"/>
                  <a:gd name="T12" fmla="*/ 86 w 104"/>
                  <a:gd name="T13" fmla="*/ 14 h 48"/>
                  <a:gd name="T14" fmla="*/ 78 w 104"/>
                  <a:gd name="T15" fmla="*/ 10 h 48"/>
                  <a:gd name="T16" fmla="*/ 74 w 104"/>
                  <a:gd name="T17" fmla="*/ 8 h 48"/>
                  <a:gd name="T18" fmla="*/ 70 w 104"/>
                  <a:gd name="T19" fmla="*/ 6 h 48"/>
                  <a:gd name="T20" fmla="*/ 68 w 104"/>
                  <a:gd name="T21" fmla="*/ 2 h 48"/>
                  <a:gd name="T22" fmla="*/ 64 w 104"/>
                  <a:gd name="T23" fmla="*/ 0 h 48"/>
                  <a:gd name="T24" fmla="*/ 62 w 104"/>
                  <a:gd name="T25" fmla="*/ 2 h 48"/>
                  <a:gd name="T26" fmla="*/ 56 w 104"/>
                  <a:gd name="T27" fmla="*/ 2 h 48"/>
                  <a:gd name="T28" fmla="*/ 54 w 104"/>
                  <a:gd name="T29" fmla="*/ 4 h 48"/>
                  <a:gd name="T30" fmla="*/ 50 w 104"/>
                  <a:gd name="T31" fmla="*/ 12 h 48"/>
                  <a:gd name="T32" fmla="*/ 48 w 104"/>
                  <a:gd name="T33" fmla="*/ 14 h 48"/>
                  <a:gd name="T34" fmla="*/ 40 w 104"/>
                  <a:gd name="T35" fmla="*/ 18 h 48"/>
                  <a:gd name="T36" fmla="*/ 34 w 104"/>
                  <a:gd name="T37" fmla="*/ 20 h 48"/>
                  <a:gd name="T38" fmla="*/ 28 w 104"/>
                  <a:gd name="T39" fmla="*/ 22 h 48"/>
                  <a:gd name="T40" fmla="*/ 26 w 104"/>
                  <a:gd name="T41" fmla="*/ 18 h 48"/>
                  <a:gd name="T42" fmla="*/ 24 w 104"/>
                  <a:gd name="T43" fmla="*/ 18 h 48"/>
                  <a:gd name="T44" fmla="*/ 20 w 104"/>
                  <a:gd name="T45" fmla="*/ 16 h 48"/>
                  <a:gd name="T46" fmla="*/ 10 w 104"/>
                  <a:gd name="T47" fmla="*/ 12 h 48"/>
                  <a:gd name="T48" fmla="*/ 10 w 104"/>
                  <a:gd name="T49" fmla="*/ 12 h 48"/>
                  <a:gd name="T50" fmla="*/ 4 w 104"/>
                  <a:gd name="T51" fmla="*/ 16 h 48"/>
                  <a:gd name="T52" fmla="*/ 0 w 104"/>
                  <a:gd name="T53" fmla="*/ 20 h 48"/>
                  <a:gd name="T54" fmla="*/ 0 w 104"/>
                  <a:gd name="T55" fmla="*/ 28 h 48"/>
                  <a:gd name="T56" fmla="*/ 2 w 104"/>
                  <a:gd name="T57" fmla="*/ 32 h 48"/>
                  <a:gd name="T58" fmla="*/ 4 w 104"/>
                  <a:gd name="T59" fmla="*/ 32 h 48"/>
                  <a:gd name="T60" fmla="*/ 12 w 104"/>
                  <a:gd name="T61" fmla="*/ 34 h 48"/>
                  <a:gd name="T62" fmla="*/ 14 w 104"/>
                  <a:gd name="T63" fmla="*/ 36 h 48"/>
                  <a:gd name="T64" fmla="*/ 20 w 104"/>
                  <a:gd name="T65" fmla="*/ 36 h 48"/>
                  <a:gd name="T66" fmla="*/ 22 w 104"/>
                  <a:gd name="T67" fmla="*/ 38 h 48"/>
                  <a:gd name="T68" fmla="*/ 22 w 104"/>
                  <a:gd name="T69" fmla="*/ 40 h 48"/>
                  <a:gd name="T70" fmla="*/ 26 w 104"/>
                  <a:gd name="T71" fmla="*/ 44 h 48"/>
                  <a:gd name="T72" fmla="*/ 30 w 104"/>
                  <a:gd name="T73" fmla="*/ 44 h 48"/>
                  <a:gd name="T74" fmla="*/ 30 w 104"/>
                  <a:gd name="T75" fmla="*/ 44 h 48"/>
                  <a:gd name="T76" fmla="*/ 34 w 104"/>
                  <a:gd name="T77" fmla="*/ 48 h 48"/>
                  <a:gd name="T78" fmla="*/ 38 w 104"/>
                  <a:gd name="T79" fmla="*/ 48 h 48"/>
                  <a:gd name="T80" fmla="*/ 44 w 104"/>
                  <a:gd name="T81" fmla="*/ 46 h 48"/>
                  <a:gd name="T82" fmla="*/ 46 w 104"/>
                  <a:gd name="T83" fmla="*/ 44 h 48"/>
                  <a:gd name="T84" fmla="*/ 46 w 104"/>
                  <a:gd name="T85" fmla="*/ 42 h 48"/>
                  <a:gd name="T86" fmla="*/ 46 w 104"/>
                  <a:gd name="T87" fmla="*/ 36 h 48"/>
                  <a:gd name="T88" fmla="*/ 46 w 104"/>
                  <a:gd name="T89" fmla="*/ 34 h 48"/>
                  <a:gd name="T90" fmla="*/ 48 w 104"/>
                  <a:gd name="T91" fmla="*/ 28 h 48"/>
                  <a:gd name="T92" fmla="*/ 54 w 104"/>
                  <a:gd name="T93" fmla="*/ 24 h 48"/>
                  <a:gd name="T94" fmla="*/ 62 w 104"/>
                  <a:gd name="T95" fmla="*/ 18 h 48"/>
                  <a:gd name="T96" fmla="*/ 70 w 104"/>
                  <a:gd name="T97" fmla="*/ 16 h 48"/>
                  <a:gd name="T98" fmla="*/ 72 w 104"/>
                  <a:gd name="T99" fmla="*/ 18 h 48"/>
                  <a:gd name="T100" fmla="*/ 74 w 104"/>
                  <a:gd name="T101" fmla="*/ 20 h 48"/>
                  <a:gd name="T102" fmla="*/ 76 w 104"/>
                  <a:gd name="T103" fmla="*/ 24 h 48"/>
                  <a:gd name="T104" fmla="*/ 78 w 104"/>
                  <a:gd name="T105" fmla="*/ 24 h 48"/>
                  <a:gd name="T106" fmla="*/ 80 w 104"/>
                  <a:gd name="T107" fmla="*/ 24 h 48"/>
                  <a:gd name="T108" fmla="*/ 80 w 104"/>
                  <a:gd name="T109" fmla="*/ 28 h 48"/>
                  <a:gd name="T110" fmla="*/ 80 w 104"/>
                  <a:gd name="T111" fmla="*/ 32 h 48"/>
                  <a:gd name="T112" fmla="*/ 80 w 104"/>
                  <a:gd name="T113" fmla="*/ 38 h 48"/>
                  <a:gd name="T114" fmla="*/ 82 w 104"/>
                  <a:gd name="T115" fmla="*/ 40 h 48"/>
                  <a:gd name="T116" fmla="*/ 86 w 104"/>
                  <a:gd name="T117" fmla="*/ 44 h 48"/>
                  <a:gd name="T118" fmla="*/ 90 w 104"/>
                  <a:gd name="T119" fmla="*/ 44 h 48"/>
                  <a:gd name="T120" fmla="*/ 96 w 104"/>
                  <a:gd name="T121" fmla="*/ 40 h 48"/>
                  <a:gd name="T122" fmla="*/ 102 w 104"/>
                  <a:gd name="T123" fmla="*/ 34 h 48"/>
                  <a:gd name="T124" fmla="*/ 102 w 104"/>
                  <a:gd name="T125" fmla="*/ 3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04" h="48">
                    <a:moveTo>
                      <a:pt x="102" y="34"/>
                    </a:moveTo>
                    <a:lnTo>
                      <a:pt x="102" y="34"/>
                    </a:lnTo>
                    <a:lnTo>
                      <a:pt x="104" y="32"/>
                    </a:lnTo>
                    <a:lnTo>
                      <a:pt x="104" y="32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2" y="30"/>
                    </a:lnTo>
                    <a:lnTo>
                      <a:pt x="102" y="28"/>
                    </a:lnTo>
                    <a:lnTo>
                      <a:pt x="100" y="28"/>
                    </a:lnTo>
                    <a:lnTo>
                      <a:pt x="100" y="24"/>
                    </a:lnTo>
                    <a:lnTo>
                      <a:pt x="98" y="22"/>
                    </a:lnTo>
                    <a:lnTo>
                      <a:pt x="98" y="22"/>
                    </a:lnTo>
                    <a:lnTo>
                      <a:pt x="98" y="20"/>
                    </a:lnTo>
                    <a:lnTo>
                      <a:pt x="96" y="20"/>
                    </a:lnTo>
                    <a:lnTo>
                      <a:pt x="94" y="20"/>
                    </a:lnTo>
                    <a:lnTo>
                      <a:pt x="90" y="18"/>
                    </a:lnTo>
                    <a:lnTo>
                      <a:pt x="88" y="18"/>
                    </a:lnTo>
                    <a:lnTo>
                      <a:pt x="88" y="16"/>
                    </a:lnTo>
                    <a:lnTo>
                      <a:pt x="88" y="16"/>
                    </a:lnTo>
                    <a:lnTo>
                      <a:pt x="86" y="14"/>
                    </a:lnTo>
                    <a:lnTo>
                      <a:pt x="84" y="12"/>
                    </a:lnTo>
                    <a:lnTo>
                      <a:pt x="82" y="10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76" y="8"/>
                    </a:lnTo>
                    <a:lnTo>
                      <a:pt x="74" y="8"/>
                    </a:lnTo>
                    <a:lnTo>
                      <a:pt x="72" y="8"/>
                    </a:lnTo>
                    <a:lnTo>
                      <a:pt x="70" y="6"/>
                    </a:lnTo>
                    <a:lnTo>
                      <a:pt x="70" y="6"/>
                    </a:lnTo>
                    <a:lnTo>
                      <a:pt x="70" y="6"/>
                    </a:lnTo>
                    <a:lnTo>
                      <a:pt x="70" y="4"/>
                    </a:lnTo>
                    <a:lnTo>
                      <a:pt x="68" y="2"/>
                    </a:lnTo>
                    <a:lnTo>
                      <a:pt x="66" y="2"/>
                    </a:lnTo>
                    <a:lnTo>
                      <a:pt x="66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2" y="2"/>
                    </a:lnTo>
                    <a:lnTo>
                      <a:pt x="58" y="2"/>
                    </a:lnTo>
                    <a:lnTo>
                      <a:pt x="58" y="2"/>
                    </a:lnTo>
                    <a:lnTo>
                      <a:pt x="56" y="2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2" y="10"/>
                    </a:lnTo>
                    <a:lnTo>
                      <a:pt x="52" y="12"/>
                    </a:lnTo>
                    <a:lnTo>
                      <a:pt x="50" y="12"/>
                    </a:lnTo>
                    <a:lnTo>
                      <a:pt x="50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4" y="16"/>
                    </a:lnTo>
                    <a:lnTo>
                      <a:pt x="42" y="16"/>
                    </a:lnTo>
                    <a:lnTo>
                      <a:pt x="40" y="18"/>
                    </a:lnTo>
                    <a:lnTo>
                      <a:pt x="40" y="18"/>
                    </a:lnTo>
                    <a:lnTo>
                      <a:pt x="38" y="20"/>
                    </a:lnTo>
                    <a:lnTo>
                      <a:pt x="34" y="20"/>
                    </a:lnTo>
                    <a:lnTo>
                      <a:pt x="32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0"/>
                    </a:lnTo>
                    <a:lnTo>
                      <a:pt x="26" y="20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0" y="16"/>
                    </a:lnTo>
                    <a:lnTo>
                      <a:pt x="14" y="16"/>
                    </a:lnTo>
                    <a:lnTo>
                      <a:pt x="12" y="14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4" y="16"/>
                    </a:lnTo>
                    <a:lnTo>
                      <a:pt x="2" y="18"/>
                    </a:lnTo>
                    <a:lnTo>
                      <a:pt x="2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4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2" y="30"/>
                    </a:lnTo>
                    <a:lnTo>
                      <a:pt x="2" y="32"/>
                    </a:lnTo>
                    <a:lnTo>
                      <a:pt x="2" y="32"/>
                    </a:lnTo>
                    <a:lnTo>
                      <a:pt x="2" y="32"/>
                    </a:lnTo>
                    <a:lnTo>
                      <a:pt x="4" y="32"/>
                    </a:lnTo>
                    <a:lnTo>
                      <a:pt x="8" y="32"/>
                    </a:lnTo>
                    <a:lnTo>
                      <a:pt x="10" y="32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8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2" y="38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6" y="44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2" y="46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6" y="48"/>
                    </a:lnTo>
                    <a:lnTo>
                      <a:pt x="38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4" y="46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8" y="42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6" y="38"/>
                    </a:lnTo>
                    <a:lnTo>
                      <a:pt x="46" y="38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6" y="34"/>
                    </a:lnTo>
                    <a:lnTo>
                      <a:pt x="46" y="32"/>
                    </a:lnTo>
                    <a:lnTo>
                      <a:pt x="46" y="32"/>
                    </a:lnTo>
                    <a:lnTo>
                      <a:pt x="48" y="28"/>
                    </a:lnTo>
                    <a:lnTo>
                      <a:pt x="50" y="26"/>
                    </a:lnTo>
                    <a:lnTo>
                      <a:pt x="54" y="24"/>
                    </a:lnTo>
                    <a:lnTo>
                      <a:pt x="54" y="24"/>
                    </a:lnTo>
                    <a:lnTo>
                      <a:pt x="58" y="20"/>
                    </a:lnTo>
                    <a:lnTo>
                      <a:pt x="62" y="18"/>
                    </a:lnTo>
                    <a:lnTo>
                      <a:pt x="62" y="18"/>
                    </a:lnTo>
                    <a:lnTo>
                      <a:pt x="64" y="18"/>
                    </a:lnTo>
                    <a:lnTo>
                      <a:pt x="66" y="16"/>
                    </a:lnTo>
                    <a:lnTo>
                      <a:pt x="70" y="16"/>
                    </a:lnTo>
                    <a:lnTo>
                      <a:pt x="70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20"/>
                    </a:lnTo>
                    <a:lnTo>
                      <a:pt x="74" y="20"/>
                    </a:lnTo>
                    <a:lnTo>
                      <a:pt x="74" y="22"/>
                    </a:lnTo>
                    <a:lnTo>
                      <a:pt x="74" y="22"/>
                    </a:lnTo>
                    <a:lnTo>
                      <a:pt x="76" y="24"/>
                    </a:lnTo>
                    <a:lnTo>
                      <a:pt x="76" y="24"/>
                    </a:lnTo>
                    <a:lnTo>
                      <a:pt x="76" y="24"/>
                    </a:lnTo>
                    <a:lnTo>
                      <a:pt x="78" y="24"/>
                    </a:lnTo>
                    <a:lnTo>
                      <a:pt x="80" y="24"/>
                    </a:lnTo>
                    <a:lnTo>
                      <a:pt x="80" y="24"/>
                    </a:lnTo>
                    <a:lnTo>
                      <a:pt x="80" y="24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0" y="28"/>
                    </a:lnTo>
                    <a:lnTo>
                      <a:pt x="80" y="28"/>
                    </a:lnTo>
                    <a:lnTo>
                      <a:pt x="80" y="28"/>
                    </a:lnTo>
                    <a:lnTo>
                      <a:pt x="80" y="32"/>
                    </a:lnTo>
                    <a:lnTo>
                      <a:pt x="78" y="34"/>
                    </a:lnTo>
                    <a:lnTo>
                      <a:pt x="78" y="36"/>
                    </a:lnTo>
                    <a:lnTo>
                      <a:pt x="80" y="38"/>
                    </a:lnTo>
                    <a:lnTo>
                      <a:pt x="80" y="38"/>
                    </a:lnTo>
                    <a:lnTo>
                      <a:pt x="80" y="40"/>
                    </a:lnTo>
                    <a:lnTo>
                      <a:pt x="82" y="40"/>
                    </a:lnTo>
                    <a:lnTo>
                      <a:pt x="84" y="42"/>
                    </a:lnTo>
                    <a:lnTo>
                      <a:pt x="84" y="42"/>
                    </a:lnTo>
                    <a:lnTo>
                      <a:pt x="86" y="44"/>
                    </a:lnTo>
                    <a:lnTo>
                      <a:pt x="88" y="44"/>
                    </a:lnTo>
                    <a:lnTo>
                      <a:pt x="88" y="44"/>
                    </a:lnTo>
                    <a:lnTo>
                      <a:pt x="90" y="44"/>
                    </a:lnTo>
                    <a:lnTo>
                      <a:pt x="92" y="44"/>
                    </a:lnTo>
                    <a:lnTo>
                      <a:pt x="94" y="42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102" y="34"/>
                    </a:lnTo>
                    <a:lnTo>
                      <a:pt x="102" y="34"/>
                    </a:lnTo>
                    <a:lnTo>
                      <a:pt x="102" y="34"/>
                    </a:lnTo>
                    <a:lnTo>
                      <a:pt x="102" y="34"/>
                    </a:lnTo>
                    <a:lnTo>
                      <a:pt x="102" y="3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18" name="Freeform 212"/>
              <p:cNvSpPr>
                <a:spLocks/>
              </p:cNvSpPr>
              <p:nvPr/>
            </p:nvSpPr>
            <p:spPr bwMode="auto">
              <a:xfrm>
                <a:off x="1453" y="2616"/>
                <a:ext cx="180" cy="294"/>
              </a:xfrm>
              <a:custGeom>
                <a:avLst/>
                <a:gdLst>
                  <a:gd name="T0" fmla="*/ 32 w 180"/>
                  <a:gd name="T1" fmla="*/ 220 h 294"/>
                  <a:gd name="T2" fmla="*/ 40 w 180"/>
                  <a:gd name="T3" fmla="*/ 216 h 294"/>
                  <a:gd name="T4" fmla="*/ 48 w 180"/>
                  <a:gd name="T5" fmla="*/ 222 h 294"/>
                  <a:gd name="T6" fmla="*/ 56 w 180"/>
                  <a:gd name="T7" fmla="*/ 224 h 294"/>
                  <a:gd name="T8" fmla="*/ 66 w 180"/>
                  <a:gd name="T9" fmla="*/ 220 h 294"/>
                  <a:gd name="T10" fmla="*/ 76 w 180"/>
                  <a:gd name="T11" fmla="*/ 238 h 294"/>
                  <a:gd name="T12" fmla="*/ 86 w 180"/>
                  <a:gd name="T13" fmla="*/ 248 h 294"/>
                  <a:gd name="T14" fmla="*/ 96 w 180"/>
                  <a:gd name="T15" fmla="*/ 260 h 294"/>
                  <a:gd name="T16" fmla="*/ 116 w 180"/>
                  <a:gd name="T17" fmla="*/ 260 h 294"/>
                  <a:gd name="T18" fmla="*/ 134 w 180"/>
                  <a:gd name="T19" fmla="*/ 264 h 294"/>
                  <a:gd name="T20" fmla="*/ 138 w 180"/>
                  <a:gd name="T21" fmla="*/ 284 h 294"/>
                  <a:gd name="T22" fmla="*/ 142 w 180"/>
                  <a:gd name="T23" fmla="*/ 294 h 294"/>
                  <a:gd name="T24" fmla="*/ 150 w 180"/>
                  <a:gd name="T25" fmla="*/ 288 h 294"/>
                  <a:gd name="T26" fmla="*/ 148 w 180"/>
                  <a:gd name="T27" fmla="*/ 264 h 294"/>
                  <a:gd name="T28" fmla="*/ 152 w 180"/>
                  <a:gd name="T29" fmla="*/ 242 h 294"/>
                  <a:gd name="T30" fmla="*/ 148 w 180"/>
                  <a:gd name="T31" fmla="*/ 226 h 294"/>
                  <a:gd name="T32" fmla="*/ 148 w 180"/>
                  <a:gd name="T33" fmla="*/ 212 h 294"/>
                  <a:gd name="T34" fmla="*/ 150 w 180"/>
                  <a:gd name="T35" fmla="*/ 204 h 294"/>
                  <a:gd name="T36" fmla="*/ 150 w 180"/>
                  <a:gd name="T37" fmla="*/ 192 h 294"/>
                  <a:gd name="T38" fmla="*/ 170 w 180"/>
                  <a:gd name="T39" fmla="*/ 186 h 294"/>
                  <a:gd name="T40" fmla="*/ 178 w 180"/>
                  <a:gd name="T41" fmla="*/ 174 h 294"/>
                  <a:gd name="T42" fmla="*/ 176 w 180"/>
                  <a:gd name="T43" fmla="*/ 152 h 294"/>
                  <a:gd name="T44" fmla="*/ 174 w 180"/>
                  <a:gd name="T45" fmla="*/ 132 h 294"/>
                  <a:gd name="T46" fmla="*/ 176 w 180"/>
                  <a:gd name="T47" fmla="*/ 114 h 294"/>
                  <a:gd name="T48" fmla="*/ 154 w 180"/>
                  <a:gd name="T49" fmla="*/ 112 h 294"/>
                  <a:gd name="T50" fmla="*/ 138 w 180"/>
                  <a:gd name="T51" fmla="*/ 102 h 294"/>
                  <a:gd name="T52" fmla="*/ 118 w 180"/>
                  <a:gd name="T53" fmla="*/ 94 h 294"/>
                  <a:gd name="T54" fmla="*/ 108 w 180"/>
                  <a:gd name="T55" fmla="*/ 84 h 294"/>
                  <a:gd name="T56" fmla="*/ 102 w 180"/>
                  <a:gd name="T57" fmla="*/ 62 h 294"/>
                  <a:gd name="T58" fmla="*/ 100 w 180"/>
                  <a:gd name="T59" fmla="*/ 40 h 294"/>
                  <a:gd name="T60" fmla="*/ 116 w 180"/>
                  <a:gd name="T61" fmla="*/ 20 h 294"/>
                  <a:gd name="T62" fmla="*/ 124 w 180"/>
                  <a:gd name="T63" fmla="*/ 14 h 294"/>
                  <a:gd name="T64" fmla="*/ 130 w 180"/>
                  <a:gd name="T65" fmla="*/ 12 h 294"/>
                  <a:gd name="T66" fmla="*/ 132 w 180"/>
                  <a:gd name="T67" fmla="*/ 4 h 294"/>
                  <a:gd name="T68" fmla="*/ 126 w 180"/>
                  <a:gd name="T69" fmla="*/ 2 h 294"/>
                  <a:gd name="T70" fmla="*/ 116 w 180"/>
                  <a:gd name="T71" fmla="*/ 4 h 294"/>
                  <a:gd name="T72" fmla="*/ 104 w 180"/>
                  <a:gd name="T73" fmla="*/ 14 h 294"/>
                  <a:gd name="T74" fmla="*/ 92 w 180"/>
                  <a:gd name="T75" fmla="*/ 18 h 294"/>
                  <a:gd name="T76" fmla="*/ 80 w 180"/>
                  <a:gd name="T77" fmla="*/ 22 h 294"/>
                  <a:gd name="T78" fmla="*/ 70 w 180"/>
                  <a:gd name="T79" fmla="*/ 30 h 294"/>
                  <a:gd name="T80" fmla="*/ 58 w 180"/>
                  <a:gd name="T81" fmla="*/ 42 h 294"/>
                  <a:gd name="T82" fmla="*/ 54 w 180"/>
                  <a:gd name="T83" fmla="*/ 54 h 294"/>
                  <a:gd name="T84" fmla="*/ 42 w 180"/>
                  <a:gd name="T85" fmla="*/ 64 h 294"/>
                  <a:gd name="T86" fmla="*/ 40 w 180"/>
                  <a:gd name="T87" fmla="*/ 72 h 294"/>
                  <a:gd name="T88" fmla="*/ 38 w 180"/>
                  <a:gd name="T89" fmla="*/ 78 h 294"/>
                  <a:gd name="T90" fmla="*/ 24 w 180"/>
                  <a:gd name="T91" fmla="*/ 88 h 294"/>
                  <a:gd name="T92" fmla="*/ 30 w 180"/>
                  <a:gd name="T93" fmla="*/ 98 h 294"/>
                  <a:gd name="T94" fmla="*/ 26 w 180"/>
                  <a:gd name="T95" fmla="*/ 106 h 294"/>
                  <a:gd name="T96" fmla="*/ 28 w 180"/>
                  <a:gd name="T97" fmla="*/ 120 h 294"/>
                  <a:gd name="T98" fmla="*/ 26 w 180"/>
                  <a:gd name="T99" fmla="*/ 128 h 294"/>
                  <a:gd name="T100" fmla="*/ 26 w 180"/>
                  <a:gd name="T101" fmla="*/ 138 h 294"/>
                  <a:gd name="T102" fmla="*/ 22 w 180"/>
                  <a:gd name="T103" fmla="*/ 150 h 294"/>
                  <a:gd name="T104" fmla="*/ 24 w 180"/>
                  <a:gd name="T105" fmla="*/ 162 h 294"/>
                  <a:gd name="T106" fmla="*/ 14 w 180"/>
                  <a:gd name="T107" fmla="*/ 174 h 294"/>
                  <a:gd name="T108" fmla="*/ 4 w 180"/>
                  <a:gd name="T109" fmla="*/ 184 h 294"/>
                  <a:gd name="T110" fmla="*/ 0 w 180"/>
                  <a:gd name="T111" fmla="*/ 198 h 294"/>
                  <a:gd name="T112" fmla="*/ 24 w 180"/>
                  <a:gd name="T113" fmla="*/ 214 h 2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80" h="294">
                    <a:moveTo>
                      <a:pt x="24" y="214"/>
                    </a:moveTo>
                    <a:lnTo>
                      <a:pt x="24" y="214"/>
                    </a:lnTo>
                    <a:lnTo>
                      <a:pt x="26" y="216"/>
                    </a:lnTo>
                    <a:lnTo>
                      <a:pt x="28" y="218"/>
                    </a:lnTo>
                    <a:lnTo>
                      <a:pt x="30" y="218"/>
                    </a:lnTo>
                    <a:lnTo>
                      <a:pt x="30" y="218"/>
                    </a:lnTo>
                    <a:lnTo>
                      <a:pt x="32" y="220"/>
                    </a:lnTo>
                    <a:lnTo>
                      <a:pt x="32" y="218"/>
                    </a:lnTo>
                    <a:lnTo>
                      <a:pt x="32" y="218"/>
                    </a:lnTo>
                    <a:lnTo>
                      <a:pt x="34" y="218"/>
                    </a:lnTo>
                    <a:lnTo>
                      <a:pt x="36" y="218"/>
                    </a:lnTo>
                    <a:lnTo>
                      <a:pt x="38" y="216"/>
                    </a:lnTo>
                    <a:lnTo>
                      <a:pt x="38" y="216"/>
                    </a:lnTo>
                    <a:lnTo>
                      <a:pt x="40" y="216"/>
                    </a:lnTo>
                    <a:lnTo>
                      <a:pt x="42" y="216"/>
                    </a:lnTo>
                    <a:lnTo>
                      <a:pt x="44" y="216"/>
                    </a:lnTo>
                    <a:lnTo>
                      <a:pt x="44" y="216"/>
                    </a:lnTo>
                    <a:lnTo>
                      <a:pt x="44" y="218"/>
                    </a:lnTo>
                    <a:lnTo>
                      <a:pt x="46" y="218"/>
                    </a:lnTo>
                    <a:lnTo>
                      <a:pt x="46" y="220"/>
                    </a:lnTo>
                    <a:lnTo>
                      <a:pt x="48" y="222"/>
                    </a:lnTo>
                    <a:lnTo>
                      <a:pt x="48" y="224"/>
                    </a:lnTo>
                    <a:lnTo>
                      <a:pt x="50" y="224"/>
                    </a:lnTo>
                    <a:lnTo>
                      <a:pt x="52" y="224"/>
                    </a:lnTo>
                    <a:lnTo>
                      <a:pt x="52" y="224"/>
                    </a:lnTo>
                    <a:lnTo>
                      <a:pt x="54" y="224"/>
                    </a:lnTo>
                    <a:lnTo>
                      <a:pt x="54" y="224"/>
                    </a:lnTo>
                    <a:lnTo>
                      <a:pt x="56" y="224"/>
                    </a:lnTo>
                    <a:lnTo>
                      <a:pt x="58" y="224"/>
                    </a:lnTo>
                    <a:lnTo>
                      <a:pt x="60" y="222"/>
                    </a:lnTo>
                    <a:lnTo>
                      <a:pt x="60" y="220"/>
                    </a:lnTo>
                    <a:lnTo>
                      <a:pt x="62" y="220"/>
                    </a:lnTo>
                    <a:lnTo>
                      <a:pt x="62" y="220"/>
                    </a:lnTo>
                    <a:lnTo>
                      <a:pt x="64" y="220"/>
                    </a:lnTo>
                    <a:lnTo>
                      <a:pt x="66" y="220"/>
                    </a:lnTo>
                    <a:lnTo>
                      <a:pt x="68" y="222"/>
                    </a:lnTo>
                    <a:lnTo>
                      <a:pt x="68" y="222"/>
                    </a:lnTo>
                    <a:lnTo>
                      <a:pt x="70" y="224"/>
                    </a:lnTo>
                    <a:lnTo>
                      <a:pt x="72" y="228"/>
                    </a:lnTo>
                    <a:lnTo>
                      <a:pt x="74" y="234"/>
                    </a:lnTo>
                    <a:lnTo>
                      <a:pt x="76" y="236"/>
                    </a:lnTo>
                    <a:lnTo>
                      <a:pt x="76" y="238"/>
                    </a:lnTo>
                    <a:lnTo>
                      <a:pt x="76" y="238"/>
                    </a:lnTo>
                    <a:lnTo>
                      <a:pt x="78" y="240"/>
                    </a:lnTo>
                    <a:lnTo>
                      <a:pt x="80" y="242"/>
                    </a:lnTo>
                    <a:lnTo>
                      <a:pt x="82" y="244"/>
                    </a:lnTo>
                    <a:lnTo>
                      <a:pt x="84" y="246"/>
                    </a:lnTo>
                    <a:lnTo>
                      <a:pt x="84" y="246"/>
                    </a:lnTo>
                    <a:lnTo>
                      <a:pt x="86" y="248"/>
                    </a:lnTo>
                    <a:lnTo>
                      <a:pt x="86" y="250"/>
                    </a:lnTo>
                    <a:lnTo>
                      <a:pt x="88" y="254"/>
                    </a:lnTo>
                    <a:lnTo>
                      <a:pt x="90" y="254"/>
                    </a:lnTo>
                    <a:lnTo>
                      <a:pt x="90" y="254"/>
                    </a:lnTo>
                    <a:lnTo>
                      <a:pt x="92" y="258"/>
                    </a:lnTo>
                    <a:lnTo>
                      <a:pt x="94" y="260"/>
                    </a:lnTo>
                    <a:lnTo>
                      <a:pt x="96" y="260"/>
                    </a:lnTo>
                    <a:lnTo>
                      <a:pt x="100" y="262"/>
                    </a:lnTo>
                    <a:lnTo>
                      <a:pt x="102" y="262"/>
                    </a:lnTo>
                    <a:lnTo>
                      <a:pt x="106" y="262"/>
                    </a:lnTo>
                    <a:lnTo>
                      <a:pt x="110" y="262"/>
                    </a:lnTo>
                    <a:lnTo>
                      <a:pt x="112" y="260"/>
                    </a:lnTo>
                    <a:lnTo>
                      <a:pt x="112" y="260"/>
                    </a:lnTo>
                    <a:lnTo>
                      <a:pt x="116" y="260"/>
                    </a:lnTo>
                    <a:lnTo>
                      <a:pt x="118" y="258"/>
                    </a:lnTo>
                    <a:lnTo>
                      <a:pt x="122" y="258"/>
                    </a:lnTo>
                    <a:lnTo>
                      <a:pt x="124" y="258"/>
                    </a:lnTo>
                    <a:lnTo>
                      <a:pt x="126" y="258"/>
                    </a:lnTo>
                    <a:lnTo>
                      <a:pt x="128" y="260"/>
                    </a:lnTo>
                    <a:lnTo>
                      <a:pt x="132" y="262"/>
                    </a:lnTo>
                    <a:lnTo>
                      <a:pt x="134" y="264"/>
                    </a:lnTo>
                    <a:lnTo>
                      <a:pt x="134" y="264"/>
                    </a:lnTo>
                    <a:lnTo>
                      <a:pt x="136" y="266"/>
                    </a:lnTo>
                    <a:lnTo>
                      <a:pt x="136" y="268"/>
                    </a:lnTo>
                    <a:lnTo>
                      <a:pt x="138" y="272"/>
                    </a:lnTo>
                    <a:lnTo>
                      <a:pt x="138" y="276"/>
                    </a:lnTo>
                    <a:lnTo>
                      <a:pt x="138" y="282"/>
                    </a:lnTo>
                    <a:lnTo>
                      <a:pt x="138" y="284"/>
                    </a:lnTo>
                    <a:lnTo>
                      <a:pt x="138" y="288"/>
                    </a:lnTo>
                    <a:lnTo>
                      <a:pt x="138" y="288"/>
                    </a:lnTo>
                    <a:lnTo>
                      <a:pt x="138" y="290"/>
                    </a:lnTo>
                    <a:lnTo>
                      <a:pt x="140" y="292"/>
                    </a:lnTo>
                    <a:lnTo>
                      <a:pt x="140" y="292"/>
                    </a:lnTo>
                    <a:lnTo>
                      <a:pt x="142" y="294"/>
                    </a:lnTo>
                    <a:lnTo>
                      <a:pt x="142" y="294"/>
                    </a:lnTo>
                    <a:lnTo>
                      <a:pt x="144" y="294"/>
                    </a:lnTo>
                    <a:lnTo>
                      <a:pt x="146" y="292"/>
                    </a:lnTo>
                    <a:lnTo>
                      <a:pt x="146" y="292"/>
                    </a:lnTo>
                    <a:lnTo>
                      <a:pt x="148" y="292"/>
                    </a:lnTo>
                    <a:lnTo>
                      <a:pt x="148" y="290"/>
                    </a:lnTo>
                    <a:lnTo>
                      <a:pt x="150" y="288"/>
                    </a:lnTo>
                    <a:lnTo>
                      <a:pt x="150" y="288"/>
                    </a:lnTo>
                    <a:lnTo>
                      <a:pt x="150" y="284"/>
                    </a:lnTo>
                    <a:lnTo>
                      <a:pt x="150" y="280"/>
                    </a:lnTo>
                    <a:lnTo>
                      <a:pt x="150" y="280"/>
                    </a:lnTo>
                    <a:lnTo>
                      <a:pt x="150" y="278"/>
                    </a:lnTo>
                    <a:lnTo>
                      <a:pt x="150" y="274"/>
                    </a:lnTo>
                    <a:lnTo>
                      <a:pt x="148" y="268"/>
                    </a:lnTo>
                    <a:lnTo>
                      <a:pt x="148" y="264"/>
                    </a:lnTo>
                    <a:lnTo>
                      <a:pt x="148" y="260"/>
                    </a:lnTo>
                    <a:lnTo>
                      <a:pt x="148" y="256"/>
                    </a:lnTo>
                    <a:lnTo>
                      <a:pt x="150" y="254"/>
                    </a:lnTo>
                    <a:lnTo>
                      <a:pt x="150" y="254"/>
                    </a:lnTo>
                    <a:lnTo>
                      <a:pt x="150" y="248"/>
                    </a:lnTo>
                    <a:lnTo>
                      <a:pt x="152" y="246"/>
                    </a:lnTo>
                    <a:lnTo>
                      <a:pt x="152" y="242"/>
                    </a:lnTo>
                    <a:lnTo>
                      <a:pt x="152" y="238"/>
                    </a:lnTo>
                    <a:lnTo>
                      <a:pt x="152" y="236"/>
                    </a:lnTo>
                    <a:lnTo>
                      <a:pt x="152" y="232"/>
                    </a:lnTo>
                    <a:lnTo>
                      <a:pt x="150" y="230"/>
                    </a:lnTo>
                    <a:lnTo>
                      <a:pt x="150" y="230"/>
                    </a:lnTo>
                    <a:lnTo>
                      <a:pt x="150" y="228"/>
                    </a:lnTo>
                    <a:lnTo>
                      <a:pt x="148" y="226"/>
                    </a:lnTo>
                    <a:lnTo>
                      <a:pt x="146" y="224"/>
                    </a:lnTo>
                    <a:lnTo>
                      <a:pt x="146" y="222"/>
                    </a:lnTo>
                    <a:lnTo>
                      <a:pt x="144" y="220"/>
                    </a:lnTo>
                    <a:lnTo>
                      <a:pt x="144" y="218"/>
                    </a:lnTo>
                    <a:lnTo>
                      <a:pt x="146" y="216"/>
                    </a:lnTo>
                    <a:lnTo>
                      <a:pt x="148" y="212"/>
                    </a:lnTo>
                    <a:lnTo>
                      <a:pt x="148" y="212"/>
                    </a:lnTo>
                    <a:lnTo>
                      <a:pt x="150" y="210"/>
                    </a:lnTo>
                    <a:lnTo>
                      <a:pt x="150" y="210"/>
                    </a:lnTo>
                    <a:lnTo>
                      <a:pt x="150" y="208"/>
                    </a:lnTo>
                    <a:lnTo>
                      <a:pt x="150" y="208"/>
                    </a:lnTo>
                    <a:lnTo>
                      <a:pt x="150" y="206"/>
                    </a:lnTo>
                    <a:lnTo>
                      <a:pt x="150" y="204"/>
                    </a:lnTo>
                    <a:lnTo>
                      <a:pt x="150" y="204"/>
                    </a:lnTo>
                    <a:lnTo>
                      <a:pt x="148" y="200"/>
                    </a:lnTo>
                    <a:lnTo>
                      <a:pt x="148" y="198"/>
                    </a:lnTo>
                    <a:lnTo>
                      <a:pt x="148" y="196"/>
                    </a:lnTo>
                    <a:lnTo>
                      <a:pt x="148" y="194"/>
                    </a:lnTo>
                    <a:lnTo>
                      <a:pt x="150" y="192"/>
                    </a:lnTo>
                    <a:lnTo>
                      <a:pt x="150" y="192"/>
                    </a:lnTo>
                    <a:lnTo>
                      <a:pt x="150" y="192"/>
                    </a:lnTo>
                    <a:lnTo>
                      <a:pt x="150" y="190"/>
                    </a:lnTo>
                    <a:lnTo>
                      <a:pt x="152" y="190"/>
                    </a:lnTo>
                    <a:lnTo>
                      <a:pt x="154" y="188"/>
                    </a:lnTo>
                    <a:lnTo>
                      <a:pt x="156" y="188"/>
                    </a:lnTo>
                    <a:lnTo>
                      <a:pt x="160" y="188"/>
                    </a:lnTo>
                    <a:lnTo>
                      <a:pt x="168" y="188"/>
                    </a:lnTo>
                    <a:lnTo>
                      <a:pt x="170" y="186"/>
                    </a:lnTo>
                    <a:lnTo>
                      <a:pt x="172" y="186"/>
                    </a:lnTo>
                    <a:lnTo>
                      <a:pt x="172" y="186"/>
                    </a:lnTo>
                    <a:lnTo>
                      <a:pt x="174" y="184"/>
                    </a:lnTo>
                    <a:lnTo>
                      <a:pt x="176" y="182"/>
                    </a:lnTo>
                    <a:lnTo>
                      <a:pt x="178" y="180"/>
                    </a:lnTo>
                    <a:lnTo>
                      <a:pt x="178" y="176"/>
                    </a:lnTo>
                    <a:lnTo>
                      <a:pt x="178" y="174"/>
                    </a:lnTo>
                    <a:lnTo>
                      <a:pt x="180" y="170"/>
                    </a:lnTo>
                    <a:lnTo>
                      <a:pt x="180" y="164"/>
                    </a:lnTo>
                    <a:lnTo>
                      <a:pt x="180" y="164"/>
                    </a:lnTo>
                    <a:lnTo>
                      <a:pt x="180" y="160"/>
                    </a:lnTo>
                    <a:lnTo>
                      <a:pt x="178" y="158"/>
                    </a:lnTo>
                    <a:lnTo>
                      <a:pt x="178" y="156"/>
                    </a:lnTo>
                    <a:lnTo>
                      <a:pt x="176" y="152"/>
                    </a:lnTo>
                    <a:lnTo>
                      <a:pt x="174" y="146"/>
                    </a:lnTo>
                    <a:lnTo>
                      <a:pt x="174" y="144"/>
                    </a:lnTo>
                    <a:lnTo>
                      <a:pt x="172" y="140"/>
                    </a:lnTo>
                    <a:lnTo>
                      <a:pt x="172" y="140"/>
                    </a:lnTo>
                    <a:lnTo>
                      <a:pt x="172" y="138"/>
                    </a:lnTo>
                    <a:lnTo>
                      <a:pt x="172" y="134"/>
                    </a:lnTo>
                    <a:lnTo>
                      <a:pt x="174" y="132"/>
                    </a:lnTo>
                    <a:lnTo>
                      <a:pt x="174" y="128"/>
                    </a:lnTo>
                    <a:lnTo>
                      <a:pt x="176" y="122"/>
                    </a:lnTo>
                    <a:lnTo>
                      <a:pt x="176" y="120"/>
                    </a:lnTo>
                    <a:lnTo>
                      <a:pt x="176" y="116"/>
                    </a:lnTo>
                    <a:lnTo>
                      <a:pt x="176" y="116"/>
                    </a:lnTo>
                    <a:lnTo>
                      <a:pt x="176" y="116"/>
                    </a:lnTo>
                    <a:lnTo>
                      <a:pt x="176" y="114"/>
                    </a:lnTo>
                    <a:lnTo>
                      <a:pt x="174" y="114"/>
                    </a:lnTo>
                    <a:lnTo>
                      <a:pt x="174" y="112"/>
                    </a:lnTo>
                    <a:lnTo>
                      <a:pt x="172" y="112"/>
                    </a:lnTo>
                    <a:lnTo>
                      <a:pt x="168" y="112"/>
                    </a:lnTo>
                    <a:lnTo>
                      <a:pt x="162" y="112"/>
                    </a:lnTo>
                    <a:lnTo>
                      <a:pt x="158" y="112"/>
                    </a:lnTo>
                    <a:lnTo>
                      <a:pt x="154" y="112"/>
                    </a:lnTo>
                    <a:lnTo>
                      <a:pt x="154" y="112"/>
                    </a:lnTo>
                    <a:lnTo>
                      <a:pt x="152" y="110"/>
                    </a:lnTo>
                    <a:lnTo>
                      <a:pt x="150" y="110"/>
                    </a:lnTo>
                    <a:lnTo>
                      <a:pt x="148" y="108"/>
                    </a:lnTo>
                    <a:lnTo>
                      <a:pt x="146" y="106"/>
                    </a:lnTo>
                    <a:lnTo>
                      <a:pt x="142" y="104"/>
                    </a:lnTo>
                    <a:lnTo>
                      <a:pt x="138" y="102"/>
                    </a:lnTo>
                    <a:lnTo>
                      <a:pt x="136" y="102"/>
                    </a:lnTo>
                    <a:lnTo>
                      <a:pt x="136" y="102"/>
                    </a:lnTo>
                    <a:lnTo>
                      <a:pt x="130" y="100"/>
                    </a:lnTo>
                    <a:lnTo>
                      <a:pt x="126" y="98"/>
                    </a:lnTo>
                    <a:lnTo>
                      <a:pt x="122" y="98"/>
                    </a:lnTo>
                    <a:lnTo>
                      <a:pt x="120" y="96"/>
                    </a:lnTo>
                    <a:lnTo>
                      <a:pt x="118" y="94"/>
                    </a:lnTo>
                    <a:lnTo>
                      <a:pt x="116" y="94"/>
                    </a:lnTo>
                    <a:lnTo>
                      <a:pt x="116" y="94"/>
                    </a:lnTo>
                    <a:lnTo>
                      <a:pt x="112" y="90"/>
                    </a:lnTo>
                    <a:lnTo>
                      <a:pt x="110" y="88"/>
                    </a:lnTo>
                    <a:lnTo>
                      <a:pt x="110" y="88"/>
                    </a:lnTo>
                    <a:lnTo>
                      <a:pt x="108" y="84"/>
                    </a:lnTo>
                    <a:lnTo>
                      <a:pt x="108" y="84"/>
                    </a:lnTo>
                    <a:lnTo>
                      <a:pt x="108" y="80"/>
                    </a:lnTo>
                    <a:lnTo>
                      <a:pt x="108" y="78"/>
                    </a:lnTo>
                    <a:lnTo>
                      <a:pt x="108" y="74"/>
                    </a:lnTo>
                    <a:lnTo>
                      <a:pt x="106" y="72"/>
                    </a:lnTo>
                    <a:lnTo>
                      <a:pt x="106" y="72"/>
                    </a:lnTo>
                    <a:lnTo>
                      <a:pt x="104" y="66"/>
                    </a:lnTo>
                    <a:lnTo>
                      <a:pt x="102" y="62"/>
                    </a:lnTo>
                    <a:lnTo>
                      <a:pt x="100" y="60"/>
                    </a:lnTo>
                    <a:lnTo>
                      <a:pt x="100" y="58"/>
                    </a:lnTo>
                    <a:lnTo>
                      <a:pt x="98" y="54"/>
                    </a:lnTo>
                    <a:lnTo>
                      <a:pt x="98" y="52"/>
                    </a:lnTo>
                    <a:lnTo>
                      <a:pt x="98" y="52"/>
                    </a:lnTo>
                    <a:lnTo>
                      <a:pt x="100" y="46"/>
                    </a:lnTo>
                    <a:lnTo>
                      <a:pt x="100" y="40"/>
                    </a:lnTo>
                    <a:lnTo>
                      <a:pt x="102" y="36"/>
                    </a:lnTo>
                    <a:lnTo>
                      <a:pt x="106" y="32"/>
                    </a:lnTo>
                    <a:lnTo>
                      <a:pt x="108" y="26"/>
                    </a:lnTo>
                    <a:lnTo>
                      <a:pt x="110" y="24"/>
                    </a:lnTo>
                    <a:lnTo>
                      <a:pt x="112" y="22"/>
                    </a:lnTo>
                    <a:lnTo>
                      <a:pt x="114" y="22"/>
                    </a:lnTo>
                    <a:lnTo>
                      <a:pt x="116" y="20"/>
                    </a:lnTo>
                    <a:lnTo>
                      <a:pt x="120" y="20"/>
                    </a:lnTo>
                    <a:lnTo>
                      <a:pt x="122" y="18"/>
                    </a:lnTo>
                    <a:lnTo>
                      <a:pt x="122" y="18"/>
                    </a:lnTo>
                    <a:lnTo>
                      <a:pt x="122" y="16"/>
                    </a:lnTo>
                    <a:lnTo>
                      <a:pt x="122" y="16"/>
                    </a:lnTo>
                    <a:lnTo>
                      <a:pt x="122" y="14"/>
                    </a:lnTo>
                    <a:lnTo>
                      <a:pt x="124" y="14"/>
                    </a:lnTo>
                    <a:lnTo>
                      <a:pt x="124" y="12"/>
                    </a:lnTo>
                    <a:lnTo>
                      <a:pt x="124" y="12"/>
                    </a:lnTo>
                    <a:lnTo>
                      <a:pt x="126" y="12"/>
                    </a:lnTo>
                    <a:lnTo>
                      <a:pt x="126" y="12"/>
                    </a:lnTo>
                    <a:lnTo>
                      <a:pt x="128" y="12"/>
                    </a:lnTo>
                    <a:lnTo>
                      <a:pt x="130" y="12"/>
                    </a:lnTo>
                    <a:lnTo>
                      <a:pt x="130" y="12"/>
                    </a:lnTo>
                    <a:lnTo>
                      <a:pt x="130" y="12"/>
                    </a:lnTo>
                    <a:lnTo>
                      <a:pt x="132" y="10"/>
                    </a:lnTo>
                    <a:lnTo>
                      <a:pt x="132" y="8"/>
                    </a:lnTo>
                    <a:lnTo>
                      <a:pt x="132" y="8"/>
                    </a:lnTo>
                    <a:lnTo>
                      <a:pt x="132" y="6"/>
                    </a:lnTo>
                    <a:lnTo>
                      <a:pt x="132" y="4"/>
                    </a:lnTo>
                    <a:lnTo>
                      <a:pt x="132" y="4"/>
                    </a:lnTo>
                    <a:lnTo>
                      <a:pt x="130" y="2"/>
                    </a:lnTo>
                    <a:lnTo>
                      <a:pt x="130" y="2"/>
                    </a:lnTo>
                    <a:lnTo>
                      <a:pt x="128" y="2"/>
                    </a:lnTo>
                    <a:lnTo>
                      <a:pt x="128" y="0"/>
                    </a:lnTo>
                    <a:lnTo>
                      <a:pt x="126" y="0"/>
                    </a:lnTo>
                    <a:lnTo>
                      <a:pt x="126" y="0"/>
                    </a:lnTo>
                    <a:lnTo>
                      <a:pt x="126" y="2"/>
                    </a:lnTo>
                    <a:lnTo>
                      <a:pt x="124" y="2"/>
                    </a:lnTo>
                    <a:lnTo>
                      <a:pt x="124" y="2"/>
                    </a:lnTo>
                    <a:lnTo>
                      <a:pt x="120" y="2"/>
                    </a:lnTo>
                    <a:lnTo>
                      <a:pt x="118" y="4"/>
                    </a:lnTo>
                    <a:lnTo>
                      <a:pt x="118" y="4"/>
                    </a:lnTo>
                    <a:lnTo>
                      <a:pt x="118" y="4"/>
                    </a:lnTo>
                    <a:lnTo>
                      <a:pt x="116" y="4"/>
                    </a:lnTo>
                    <a:lnTo>
                      <a:pt x="114" y="8"/>
                    </a:lnTo>
                    <a:lnTo>
                      <a:pt x="114" y="10"/>
                    </a:lnTo>
                    <a:lnTo>
                      <a:pt x="112" y="10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08" y="14"/>
                    </a:lnTo>
                    <a:lnTo>
                      <a:pt x="104" y="14"/>
                    </a:lnTo>
                    <a:lnTo>
                      <a:pt x="102" y="16"/>
                    </a:lnTo>
                    <a:lnTo>
                      <a:pt x="102" y="16"/>
                    </a:lnTo>
                    <a:lnTo>
                      <a:pt x="102" y="16"/>
                    </a:lnTo>
                    <a:lnTo>
                      <a:pt x="100" y="18"/>
                    </a:lnTo>
                    <a:lnTo>
                      <a:pt x="98" y="18"/>
                    </a:lnTo>
                    <a:lnTo>
                      <a:pt x="96" y="18"/>
                    </a:lnTo>
                    <a:lnTo>
                      <a:pt x="92" y="18"/>
                    </a:lnTo>
                    <a:lnTo>
                      <a:pt x="88" y="18"/>
                    </a:lnTo>
                    <a:lnTo>
                      <a:pt x="88" y="18"/>
                    </a:lnTo>
                    <a:lnTo>
                      <a:pt x="88" y="18"/>
                    </a:lnTo>
                    <a:lnTo>
                      <a:pt x="86" y="18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0" y="22"/>
                    </a:lnTo>
                    <a:lnTo>
                      <a:pt x="78" y="24"/>
                    </a:lnTo>
                    <a:lnTo>
                      <a:pt x="78" y="24"/>
                    </a:lnTo>
                    <a:lnTo>
                      <a:pt x="78" y="26"/>
                    </a:lnTo>
                    <a:lnTo>
                      <a:pt x="76" y="26"/>
                    </a:lnTo>
                    <a:lnTo>
                      <a:pt x="72" y="28"/>
                    </a:lnTo>
                    <a:lnTo>
                      <a:pt x="72" y="28"/>
                    </a:lnTo>
                    <a:lnTo>
                      <a:pt x="70" y="30"/>
                    </a:lnTo>
                    <a:lnTo>
                      <a:pt x="68" y="32"/>
                    </a:lnTo>
                    <a:lnTo>
                      <a:pt x="66" y="34"/>
                    </a:lnTo>
                    <a:lnTo>
                      <a:pt x="64" y="36"/>
                    </a:lnTo>
                    <a:lnTo>
                      <a:pt x="64" y="36"/>
                    </a:lnTo>
                    <a:lnTo>
                      <a:pt x="60" y="38"/>
                    </a:lnTo>
                    <a:lnTo>
                      <a:pt x="58" y="40"/>
                    </a:lnTo>
                    <a:lnTo>
                      <a:pt x="58" y="42"/>
                    </a:lnTo>
                    <a:lnTo>
                      <a:pt x="56" y="46"/>
                    </a:lnTo>
                    <a:lnTo>
                      <a:pt x="56" y="46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4"/>
                    </a:lnTo>
                    <a:lnTo>
                      <a:pt x="54" y="54"/>
                    </a:lnTo>
                    <a:lnTo>
                      <a:pt x="54" y="54"/>
                    </a:lnTo>
                    <a:lnTo>
                      <a:pt x="54" y="54"/>
                    </a:lnTo>
                    <a:lnTo>
                      <a:pt x="52" y="56"/>
                    </a:lnTo>
                    <a:lnTo>
                      <a:pt x="50" y="58"/>
                    </a:lnTo>
                    <a:lnTo>
                      <a:pt x="46" y="62"/>
                    </a:lnTo>
                    <a:lnTo>
                      <a:pt x="46" y="62"/>
                    </a:lnTo>
                    <a:lnTo>
                      <a:pt x="42" y="64"/>
                    </a:lnTo>
                    <a:lnTo>
                      <a:pt x="40" y="64"/>
                    </a:lnTo>
                    <a:lnTo>
                      <a:pt x="40" y="66"/>
                    </a:lnTo>
                    <a:lnTo>
                      <a:pt x="40" y="66"/>
                    </a:lnTo>
                    <a:lnTo>
                      <a:pt x="40" y="66"/>
                    </a:lnTo>
                    <a:lnTo>
                      <a:pt x="40" y="68"/>
                    </a:lnTo>
                    <a:lnTo>
                      <a:pt x="40" y="70"/>
                    </a:lnTo>
                    <a:lnTo>
                      <a:pt x="40" y="72"/>
                    </a:lnTo>
                    <a:lnTo>
                      <a:pt x="40" y="74"/>
                    </a:lnTo>
                    <a:lnTo>
                      <a:pt x="40" y="74"/>
                    </a:lnTo>
                    <a:lnTo>
                      <a:pt x="40" y="74"/>
                    </a:lnTo>
                    <a:lnTo>
                      <a:pt x="40" y="76"/>
                    </a:lnTo>
                    <a:lnTo>
                      <a:pt x="40" y="76"/>
                    </a:lnTo>
                    <a:lnTo>
                      <a:pt x="38" y="78"/>
                    </a:lnTo>
                    <a:lnTo>
                      <a:pt x="38" y="78"/>
                    </a:lnTo>
                    <a:lnTo>
                      <a:pt x="32" y="84"/>
                    </a:lnTo>
                    <a:lnTo>
                      <a:pt x="32" y="84"/>
                    </a:lnTo>
                    <a:lnTo>
                      <a:pt x="30" y="86"/>
                    </a:lnTo>
                    <a:lnTo>
                      <a:pt x="28" y="88"/>
                    </a:lnTo>
                    <a:lnTo>
                      <a:pt x="26" y="88"/>
                    </a:lnTo>
                    <a:lnTo>
                      <a:pt x="24" y="88"/>
                    </a:lnTo>
                    <a:lnTo>
                      <a:pt x="24" y="88"/>
                    </a:lnTo>
                    <a:lnTo>
                      <a:pt x="24" y="92"/>
                    </a:lnTo>
                    <a:lnTo>
                      <a:pt x="24" y="92"/>
                    </a:lnTo>
                    <a:lnTo>
                      <a:pt x="26" y="94"/>
                    </a:lnTo>
                    <a:lnTo>
                      <a:pt x="26" y="94"/>
                    </a:lnTo>
                    <a:lnTo>
                      <a:pt x="28" y="96"/>
                    </a:lnTo>
                    <a:lnTo>
                      <a:pt x="30" y="98"/>
                    </a:lnTo>
                    <a:lnTo>
                      <a:pt x="30" y="98"/>
                    </a:lnTo>
                    <a:lnTo>
                      <a:pt x="30" y="98"/>
                    </a:lnTo>
                    <a:lnTo>
                      <a:pt x="30" y="100"/>
                    </a:lnTo>
                    <a:lnTo>
                      <a:pt x="28" y="102"/>
                    </a:lnTo>
                    <a:lnTo>
                      <a:pt x="28" y="104"/>
                    </a:lnTo>
                    <a:lnTo>
                      <a:pt x="26" y="104"/>
                    </a:lnTo>
                    <a:lnTo>
                      <a:pt x="26" y="106"/>
                    </a:lnTo>
                    <a:lnTo>
                      <a:pt x="26" y="106"/>
                    </a:lnTo>
                    <a:lnTo>
                      <a:pt x="26" y="108"/>
                    </a:lnTo>
                    <a:lnTo>
                      <a:pt x="26" y="112"/>
                    </a:lnTo>
                    <a:lnTo>
                      <a:pt x="26" y="114"/>
                    </a:lnTo>
                    <a:lnTo>
                      <a:pt x="28" y="116"/>
                    </a:lnTo>
                    <a:lnTo>
                      <a:pt x="28" y="116"/>
                    </a:lnTo>
                    <a:lnTo>
                      <a:pt x="28" y="120"/>
                    </a:lnTo>
                    <a:lnTo>
                      <a:pt x="28" y="120"/>
                    </a:lnTo>
                    <a:lnTo>
                      <a:pt x="28" y="122"/>
                    </a:lnTo>
                    <a:lnTo>
                      <a:pt x="28" y="122"/>
                    </a:lnTo>
                    <a:lnTo>
                      <a:pt x="26" y="124"/>
                    </a:lnTo>
                    <a:lnTo>
                      <a:pt x="26" y="124"/>
                    </a:lnTo>
                    <a:lnTo>
                      <a:pt x="26" y="126"/>
                    </a:lnTo>
                    <a:lnTo>
                      <a:pt x="26" y="126"/>
                    </a:lnTo>
                    <a:lnTo>
                      <a:pt x="26" y="128"/>
                    </a:lnTo>
                    <a:lnTo>
                      <a:pt x="26" y="130"/>
                    </a:lnTo>
                    <a:lnTo>
                      <a:pt x="26" y="132"/>
                    </a:lnTo>
                    <a:lnTo>
                      <a:pt x="28" y="134"/>
                    </a:lnTo>
                    <a:lnTo>
                      <a:pt x="28" y="136"/>
                    </a:lnTo>
                    <a:lnTo>
                      <a:pt x="28" y="136"/>
                    </a:lnTo>
                    <a:lnTo>
                      <a:pt x="26" y="138"/>
                    </a:lnTo>
                    <a:lnTo>
                      <a:pt x="26" y="138"/>
                    </a:lnTo>
                    <a:lnTo>
                      <a:pt x="24" y="140"/>
                    </a:lnTo>
                    <a:lnTo>
                      <a:pt x="24" y="142"/>
                    </a:lnTo>
                    <a:lnTo>
                      <a:pt x="22" y="144"/>
                    </a:lnTo>
                    <a:lnTo>
                      <a:pt x="22" y="144"/>
                    </a:lnTo>
                    <a:lnTo>
                      <a:pt x="22" y="146"/>
                    </a:lnTo>
                    <a:lnTo>
                      <a:pt x="22" y="148"/>
                    </a:lnTo>
                    <a:lnTo>
                      <a:pt x="22" y="150"/>
                    </a:lnTo>
                    <a:lnTo>
                      <a:pt x="24" y="150"/>
                    </a:lnTo>
                    <a:lnTo>
                      <a:pt x="24" y="150"/>
                    </a:lnTo>
                    <a:lnTo>
                      <a:pt x="24" y="154"/>
                    </a:lnTo>
                    <a:lnTo>
                      <a:pt x="26" y="158"/>
                    </a:lnTo>
                    <a:lnTo>
                      <a:pt x="24" y="160"/>
                    </a:lnTo>
                    <a:lnTo>
                      <a:pt x="24" y="162"/>
                    </a:lnTo>
                    <a:lnTo>
                      <a:pt x="24" y="162"/>
                    </a:lnTo>
                    <a:lnTo>
                      <a:pt x="22" y="166"/>
                    </a:lnTo>
                    <a:lnTo>
                      <a:pt x="20" y="166"/>
                    </a:lnTo>
                    <a:lnTo>
                      <a:pt x="20" y="166"/>
                    </a:lnTo>
                    <a:lnTo>
                      <a:pt x="18" y="170"/>
                    </a:lnTo>
                    <a:lnTo>
                      <a:pt x="16" y="172"/>
                    </a:lnTo>
                    <a:lnTo>
                      <a:pt x="16" y="172"/>
                    </a:lnTo>
                    <a:lnTo>
                      <a:pt x="14" y="174"/>
                    </a:lnTo>
                    <a:lnTo>
                      <a:pt x="12" y="176"/>
                    </a:lnTo>
                    <a:lnTo>
                      <a:pt x="10" y="178"/>
                    </a:lnTo>
                    <a:lnTo>
                      <a:pt x="6" y="178"/>
                    </a:lnTo>
                    <a:lnTo>
                      <a:pt x="6" y="178"/>
                    </a:lnTo>
                    <a:lnTo>
                      <a:pt x="6" y="180"/>
                    </a:lnTo>
                    <a:lnTo>
                      <a:pt x="6" y="182"/>
                    </a:lnTo>
                    <a:lnTo>
                      <a:pt x="4" y="184"/>
                    </a:lnTo>
                    <a:lnTo>
                      <a:pt x="4" y="188"/>
                    </a:lnTo>
                    <a:lnTo>
                      <a:pt x="2" y="192"/>
                    </a:lnTo>
                    <a:lnTo>
                      <a:pt x="2" y="192"/>
                    </a:lnTo>
                    <a:lnTo>
                      <a:pt x="2" y="194"/>
                    </a:lnTo>
                    <a:lnTo>
                      <a:pt x="2" y="196"/>
                    </a:lnTo>
                    <a:lnTo>
                      <a:pt x="2" y="198"/>
                    </a:lnTo>
                    <a:lnTo>
                      <a:pt x="0" y="198"/>
                    </a:lnTo>
                    <a:lnTo>
                      <a:pt x="0" y="198"/>
                    </a:lnTo>
                    <a:lnTo>
                      <a:pt x="4" y="200"/>
                    </a:lnTo>
                    <a:lnTo>
                      <a:pt x="4" y="200"/>
                    </a:lnTo>
                    <a:lnTo>
                      <a:pt x="8" y="204"/>
                    </a:lnTo>
                    <a:lnTo>
                      <a:pt x="14" y="206"/>
                    </a:lnTo>
                    <a:lnTo>
                      <a:pt x="18" y="210"/>
                    </a:lnTo>
                    <a:lnTo>
                      <a:pt x="24" y="214"/>
                    </a:lnTo>
                    <a:lnTo>
                      <a:pt x="24" y="214"/>
                    </a:lnTo>
                    <a:lnTo>
                      <a:pt x="24" y="214"/>
                    </a:lnTo>
                    <a:lnTo>
                      <a:pt x="24" y="214"/>
                    </a:lnTo>
                    <a:lnTo>
                      <a:pt x="24" y="21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19" name="Freeform 214"/>
              <p:cNvSpPr>
                <a:spLocks/>
              </p:cNvSpPr>
              <p:nvPr/>
            </p:nvSpPr>
            <p:spPr bwMode="auto">
              <a:xfrm>
                <a:off x="1419" y="2814"/>
                <a:ext cx="92" cy="106"/>
              </a:xfrm>
              <a:custGeom>
                <a:avLst/>
                <a:gdLst>
                  <a:gd name="T0" fmla="*/ 14 w 92"/>
                  <a:gd name="T1" fmla="*/ 96 h 106"/>
                  <a:gd name="T2" fmla="*/ 24 w 92"/>
                  <a:gd name="T3" fmla="*/ 102 h 106"/>
                  <a:gd name="T4" fmla="*/ 32 w 92"/>
                  <a:gd name="T5" fmla="*/ 104 h 106"/>
                  <a:gd name="T6" fmla="*/ 40 w 92"/>
                  <a:gd name="T7" fmla="*/ 104 h 106"/>
                  <a:gd name="T8" fmla="*/ 42 w 92"/>
                  <a:gd name="T9" fmla="*/ 98 h 106"/>
                  <a:gd name="T10" fmla="*/ 46 w 92"/>
                  <a:gd name="T11" fmla="*/ 92 h 106"/>
                  <a:gd name="T12" fmla="*/ 46 w 92"/>
                  <a:gd name="T13" fmla="*/ 82 h 106"/>
                  <a:gd name="T14" fmla="*/ 50 w 92"/>
                  <a:gd name="T15" fmla="*/ 72 h 106"/>
                  <a:gd name="T16" fmla="*/ 60 w 92"/>
                  <a:gd name="T17" fmla="*/ 68 h 106"/>
                  <a:gd name="T18" fmla="*/ 72 w 92"/>
                  <a:gd name="T19" fmla="*/ 60 h 106"/>
                  <a:gd name="T20" fmla="*/ 78 w 92"/>
                  <a:gd name="T21" fmla="*/ 56 h 106"/>
                  <a:gd name="T22" fmla="*/ 84 w 92"/>
                  <a:gd name="T23" fmla="*/ 56 h 106"/>
                  <a:gd name="T24" fmla="*/ 88 w 92"/>
                  <a:gd name="T25" fmla="*/ 48 h 106"/>
                  <a:gd name="T26" fmla="*/ 88 w 92"/>
                  <a:gd name="T27" fmla="*/ 42 h 106"/>
                  <a:gd name="T28" fmla="*/ 92 w 92"/>
                  <a:gd name="T29" fmla="*/ 36 h 106"/>
                  <a:gd name="T30" fmla="*/ 92 w 92"/>
                  <a:gd name="T31" fmla="*/ 24 h 106"/>
                  <a:gd name="T32" fmla="*/ 88 w 92"/>
                  <a:gd name="T33" fmla="*/ 26 h 106"/>
                  <a:gd name="T34" fmla="*/ 82 w 92"/>
                  <a:gd name="T35" fmla="*/ 26 h 106"/>
                  <a:gd name="T36" fmla="*/ 78 w 92"/>
                  <a:gd name="T37" fmla="*/ 20 h 106"/>
                  <a:gd name="T38" fmla="*/ 74 w 92"/>
                  <a:gd name="T39" fmla="*/ 18 h 106"/>
                  <a:gd name="T40" fmla="*/ 68 w 92"/>
                  <a:gd name="T41" fmla="*/ 20 h 106"/>
                  <a:gd name="T42" fmla="*/ 64 w 92"/>
                  <a:gd name="T43" fmla="*/ 20 h 106"/>
                  <a:gd name="T44" fmla="*/ 58 w 92"/>
                  <a:gd name="T45" fmla="*/ 16 h 106"/>
                  <a:gd name="T46" fmla="*/ 42 w 92"/>
                  <a:gd name="T47" fmla="*/ 6 h 106"/>
                  <a:gd name="T48" fmla="*/ 34 w 92"/>
                  <a:gd name="T49" fmla="*/ 0 h 106"/>
                  <a:gd name="T50" fmla="*/ 28 w 92"/>
                  <a:gd name="T51" fmla="*/ 4 h 106"/>
                  <a:gd name="T52" fmla="*/ 22 w 92"/>
                  <a:gd name="T53" fmla="*/ 6 h 106"/>
                  <a:gd name="T54" fmla="*/ 16 w 92"/>
                  <a:gd name="T55" fmla="*/ 8 h 106"/>
                  <a:gd name="T56" fmla="*/ 14 w 92"/>
                  <a:gd name="T57" fmla="*/ 14 h 106"/>
                  <a:gd name="T58" fmla="*/ 10 w 92"/>
                  <a:gd name="T59" fmla="*/ 24 h 106"/>
                  <a:gd name="T60" fmla="*/ 6 w 92"/>
                  <a:gd name="T61" fmla="*/ 30 h 106"/>
                  <a:gd name="T62" fmla="*/ 4 w 92"/>
                  <a:gd name="T63" fmla="*/ 38 h 106"/>
                  <a:gd name="T64" fmla="*/ 2 w 92"/>
                  <a:gd name="T65" fmla="*/ 46 h 106"/>
                  <a:gd name="T66" fmla="*/ 4 w 92"/>
                  <a:gd name="T67" fmla="*/ 50 h 106"/>
                  <a:gd name="T68" fmla="*/ 2 w 92"/>
                  <a:gd name="T69" fmla="*/ 54 h 106"/>
                  <a:gd name="T70" fmla="*/ 0 w 92"/>
                  <a:gd name="T71" fmla="*/ 58 h 106"/>
                  <a:gd name="T72" fmla="*/ 4 w 92"/>
                  <a:gd name="T73" fmla="*/ 62 h 106"/>
                  <a:gd name="T74" fmla="*/ 10 w 92"/>
                  <a:gd name="T75" fmla="*/ 62 h 106"/>
                  <a:gd name="T76" fmla="*/ 12 w 92"/>
                  <a:gd name="T77" fmla="*/ 56 h 106"/>
                  <a:gd name="T78" fmla="*/ 16 w 92"/>
                  <a:gd name="T79" fmla="*/ 56 h 106"/>
                  <a:gd name="T80" fmla="*/ 16 w 92"/>
                  <a:gd name="T81" fmla="*/ 56 h 106"/>
                  <a:gd name="T82" fmla="*/ 14 w 92"/>
                  <a:gd name="T83" fmla="*/ 62 h 106"/>
                  <a:gd name="T84" fmla="*/ 16 w 92"/>
                  <a:gd name="T85" fmla="*/ 66 h 106"/>
                  <a:gd name="T86" fmla="*/ 16 w 92"/>
                  <a:gd name="T87" fmla="*/ 70 h 106"/>
                  <a:gd name="T88" fmla="*/ 12 w 92"/>
                  <a:gd name="T89" fmla="*/ 74 h 106"/>
                  <a:gd name="T90" fmla="*/ 14 w 92"/>
                  <a:gd name="T91" fmla="*/ 80 h 106"/>
                  <a:gd name="T92" fmla="*/ 12 w 92"/>
                  <a:gd name="T93" fmla="*/ 90 h 106"/>
                  <a:gd name="T94" fmla="*/ 12 w 92"/>
                  <a:gd name="T95" fmla="*/ 92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92" h="106">
                    <a:moveTo>
                      <a:pt x="12" y="92"/>
                    </a:moveTo>
                    <a:lnTo>
                      <a:pt x="12" y="92"/>
                    </a:lnTo>
                    <a:lnTo>
                      <a:pt x="12" y="94"/>
                    </a:lnTo>
                    <a:lnTo>
                      <a:pt x="14" y="96"/>
                    </a:lnTo>
                    <a:lnTo>
                      <a:pt x="16" y="96"/>
                    </a:lnTo>
                    <a:lnTo>
                      <a:pt x="16" y="98"/>
                    </a:lnTo>
                    <a:lnTo>
                      <a:pt x="20" y="100"/>
                    </a:lnTo>
                    <a:lnTo>
                      <a:pt x="24" y="102"/>
                    </a:lnTo>
                    <a:lnTo>
                      <a:pt x="24" y="102"/>
                    </a:lnTo>
                    <a:lnTo>
                      <a:pt x="28" y="104"/>
                    </a:lnTo>
                    <a:lnTo>
                      <a:pt x="30" y="104"/>
                    </a:lnTo>
                    <a:lnTo>
                      <a:pt x="32" y="104"/>
                    </a:lnTo>
                    <a:lnTo>
                      <a:pt x="34" y="106"/>
                    </a:lnTo>
                    <a:lnTo>
                      <a:pt x="36" y="106"/>
                    </a:lnTo>
                    <a:lnTo>
                      <a:pt x="38" y="104"/>
                    </a:lnTo>
                    <a:lnTo>
                      <a:pt x="40" y="104"/>
                    </a:lnTo>
                    <a:lnTo>
                      <a:pt x="40" y="104"/>
                    </a:lnTo>
                    <a:lnTo>
                      <a:pt x="40" y="102"/>
                    </a:lnTo>
                    <a:lnTo>
                      <a:pt x="40" y="100"/>
                    </a:lnTo>
                    <a:lnTo>
                      <a:pt x="42" y="98"/>
                    </a:lnTo>
                    <a:lnTo>
                      <a:pt x="42" y="96"/>
                    </a:lnTo>
                    <a:lnTo>
                      <a:pt x="42" y="96"/>
                    </a:lnTo>
                    <a:lnTo>
                      <a:pt x="44" y="94"/>
                    </a:lnTo>
                    <a:lnTo>
                      <a:pt x="46" y="92"/>
                    </a:lnTo>
                    <a:lnTo>
                      <a:pt x="46" y="90"/>
                    </a:lnTo>
                    <a:lnTo>
                      <a:pt x="46" y="88"/>
                    </a:lnTo>
                    <a:lnTo>
                      <a:pt x="46" y="88"/>
                    </a:lnTo>
                    <a:lnTo>
                      <a:pt x="46" y="82"/>
                    </a:lnTo>
                    <a:lnTo>
                      <a:pt x="46" y="78"/>
                    </a:lnTo>
                    <a:lnTo>
                      <a:pt x="46" y="76"/>
                    </a:lnTo>
                    <a:lnTo>
                      <a:pt x="48" y="74"/>
                    </a:lnTo>
                    <a:lnTo>
                      <a:pt x="50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6" y="70"/>
                    </a:lnTo>
                    <a:lnTo>
                      <a:pt x="60" y="68"/>
                    </a:lnTo>
                    <a:lnTo>
                      <a:pt x="64" y="66"/>
                    </a:lnTo>
                    <a:lnTo>
                      <a:pt x="68" y="64"/>
                    </a:lnTo>
                    <a:lnTo>
                      <a:pt x="68" y="64"/>
                    </a:lnTo>
                    <a:lnTo>
                      <a:pt x="72" y="60"/>
                    </a:lnTo>
                    <a:lnTo>
                      <a:pt x="74" y="58"/>
                    </a:lnTo>
                    <a:lnTo>
                      <a:pt x="74" y="58"/>
                    </a:lnTo>
                    <a:lnTo>
                      <a:pt x="74" y="58"/>
                    </a:lnTo>
                    <a:lnTo>
                      <a:pt x="78" y="56"/>
                    </a:lnTo>
                    <a:lnTo>
                      <a:pt x="80" y="56"/>
                    </a:lnTo>
                    <a:lnTo>
                      <a:pt x="82" y="56"/>
                    </a:lnTo>
                    <a:lnTo>
                      <a:pt x="84" y="56"/>
                    </a:lnTo>
                    <a:lnTo>
                      <a:pt x="84" y="56"/>
                    </a:lnTo>
                    <a:lnTo>
                      <a:pt x="86" y="54"/>
                    </a:lnTo>
                    <a:lnTo>
                      <a:pt x="88" y="52"/>
                    </a:lnTo>
                    <a:lnTo>
                      <a:pt x="88" y="50"/>
                    </a:lnTo>
                    <a:lnTo>
                      <a:pt x="88" y="48"/>
                    </a:lnTo>
                    <a:lnTo>
                      <a:pt x="88" y="48"/>
                    </a:lnTo>
                    <a:lnTo>
                      <a:pt x="88" y="44"/>
                    </a:lnTo>
                    <a:lnTo>
                      <a:pt x="88" y="42"/>
                    </a:lnTo>
                    <a:lnTo>
                      <a:pt x="88" y="42"/>
                    </a:lnTo>
                    <a:lnTo>
                      <a:pt x="90" y="40"/>
                    </a:lnTo>
                    <a:lnTo>
                      <a:pt x="90" y="40"/>
                    </a:lnTo>
                    <a:lnTo>
                      <a:pt x="90" y="38"/>
                    </a:lnTo>
                    <a:lnTo>
                      <a:pt x="92" y="36"/>
                    </a:lnTo>
                    <a:lnTo>
                      <a:pt x="92" y="34"/>
                    </a:lnTo>
                    <a:lnTo>
                      <a:pt x="92" y="32"/>
                    </a:lnTo>
                    <a:lnTo>
                      <a:pt x="92" y="28"/>
                    </a:lnTo>
                    <a:lnTo>
                      <a:pt x="92" y="24"/>
                    </a:lnTo>
                    <a:lnTo>
                      <a:pt x="92" y="24"/>
                    </a:lnTo>
                    <a:lnTo>
                      <a:pt x="90" y="26"/>
                    </a:lnTo>
                    <a:lnTo>
                      <a:pt x="88" y="26"/>
                    </a:lnTo>
                    <a:lnTo>
                      <a:pt x="88" y="26"/>
                    </a:lnTo>
                    <a:lnTo>
                      <a:pt x="86" y="26"/>
                    </a:lnTo>
                    <a:lnTo>
                      <a:pt x="86" y="26"/>
                    </a:lnTo>
                    <a:lnTo>
                      <a:pt x="84" y="26"/>
                    </a:lnTo>
                    <a:lnTo>
                      <a:pt x="82" y="26"/>
                    </a:lnTo>
                    <a:lnTo>
                      <a:pt x="82" y="24"/>
                    </a:lnTo>
                    <a:lnTo>
                      <a:pt x="80" y="22"/>
                    </a:lnTo>
                    <a:lnTo>
                      <a:pt x="80" y="20"/>
                    </a:lnTo>
                    <a:lnTo>
                      <a:pt x="78" y="20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6" y="18"/>
                    </a:lnTo>
                    <a:lnTo>
                      <a:pt x="74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0" y="20"/>
                    </a:lnTo>
                    <a:lnTo>
                      <a:pt x="68" y="20"/>
                    </a:lnTo>
                    <a:lnTo>
                      <a:pt x="66" y="20"/>
                    </a:lnTo>
                    <a:lnTo>
                      <a:pt x="66" y="20"/>
                    </a:lnTo>
                    <a:lnTo>
                      <a:pt x="66" y="22"/>
                    </a:lnTo>
                    <a:lnTo>
                      <a:pt x="64" y="20"/>
                    </a:lnTo>
                    <a:lnTo>
                      <a:pt x="64" y="20"/>
                    </a:lnTo>
                    <a:lnTo>
                      <a:pt x="62" y="20"/>
                    </a:lnTo>
                    <a:lnTo>
                      <a:pt x="60" y="18"/>
                    </a:lnTo>
                    <a:lnTo>
                      <a:pt x="58" y="16"/>
                    </a:lnTo>
                    <a:lnTo>
                      <a:pt x="58" y="16"/>
                    </a:lnTo>
                    <a:lnTo>
                      <a:pt x="52" y="12"/>
                    </a:lnTo>
                    <a:lnTo>
                      <a:pt x="48" y="8"/>
                    </a:lnTo>
                    <a:lnTo>
                      <a:pt x="42" y="6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2" y="2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6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0" y="6"/>
                    </a:lnTo>
                    <a:lnTo>
                      <a:pt x="18" y="6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10"/>
                    </a:lnTo>
                    <a:lnTo>
                      <a:pt x="14" y="12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2" y="18"/>
                    </a:lnTo>
                    <a:lnTo>
                      <a:pt x="12" y="22"/>
                    </a:lnTo>
                    <a:lnTo>
                      <a:pt x="10" y="24"/>
                    </a:lnTo>
                    <a:lnTo>
                      <a:pt x="10" y="24"/>
                    </a:lnTo>
                    <a:lnTo>
                      <a:pt x="6" y="28"/>
                    </a:lnTo>
                    <a:lnTo>
                      <a:pt x="6" y="28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2"/>
                    </a:lnTo>
                    <a:lnTo>
                      <a:pt x="6" y="36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40"/>
                    </a:lnTo>
                    <a:lnTo>
                      <a:pt x="2" y="44"/>
                    </a:lnTo>
                    <a:lnTo>
                      <a:pt x="2" y="44"/>
                    </a:lnTo>
                    <a:lnTo>
                      <a:pt x="2" y="46"/>
                    </a:lnTo>
                    <a:lnTo>
                      <a:pt x="2" y="48"/>
                    </a:lnTo>
                    <a:lnTo>
                      <a:pt x="4" y="48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2"/>
                    </a:lnTo>
                    <a:lnTo>
                      <a:pt x="2" y="52"/>
                    </a:lnTo>
                    <a:lnTo>
                      <a:pt x="2" y="54"/>
                    </a:lnTo>
                    <a:lnTo>
                      <a:pt x="2" y="54"/>
                    </a:lnTo>
                    <a:lnTo>
                      <a:pt x="0" y="56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60"/>
                    </a:lnTo>
                    <a:lnTo>
                      <a:pt x="2" y="62"/>
                    </a:lnTo>
                    <a:lnTo>
                      <a:pt x="2" y="62"/>
                    </a:lnTo>
                    <a:lnTo>
                      <a:pt x="4" y="62"/>
                    </a:lnTo>
                    <a:lnTo>
                      <a:pt x="6" y="64"/>
                    </a:lnTo>
                    <a:lnTo>
                      <a:pt x="8" y="62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0" y="60"/>
                    </a:lnTo>
                    <a:lnTo>
                      <a:pt x="12" y="58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6" y="58"/>
                    </a:lnTo>
                    <a:lnTo>
                      <a:pt x="16" y="58"/>
                    </a:lnTo>
                    <a:lnTo>
                      <a:pt x="14" y="60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6" y="64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70"/>
                    </a:lnTo>
                    <a:lnTo>
                      <a:pt x="16" y="70"/>
                    </a:lnTo>
                    <a:lnTo>
                      <a:pt x="14" y="72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6"/>
                    </a:lnTo>
                    <a:lnTo>
                      <a:pt x="14" y="80"/>
                    </a:lnTo>
                    <a:lnTo>
                      <a:pt x="14" y="80"/>
                    </a:lnTo>
                    <a:lnTo>
                      <a:pt x="14" y="80"/>
                    </a:lnTo>
                    <a:lnTo>
                      <a:pt x="14" y="82"/>
                    </a:lnTo>
                    <a:lnTo>
                      <a:pt x="14" y="84"/>
                    </a:lnTo>
                    <a:lnTo>
                      <a:pt x="12" y="88"/>
                    </a:lnTo>
                    <a:lnTo>
                      <a:pt x="12" y="90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12" y="9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20" name="Freeform 216"/>
              <p:cNvSpPr>
                <a:spLocks/>
              </p:cNvSpPr>
              <p:nvPr/>
            </p:nvSpPr>
            <p:spPr bwMode="auto">
              <a:xfrm>
                <a:off x="1415" y="2836"/>
                <a:ext cx="212" cy="318"/>
              </a:xfrm>
              <a:custGeom>
                <a:avLst/>
                <a:gdLst>
                  <a:gd name="T0" fmla="*/ 208 w 212"/>
                  <a:gd name="T1" fmla="*/ 264 h 318"/>
                  <a:gd name="T2" fmla="*/ 208 w 212"/>
                  <a:gd name="T3" fmla="*/ 244 h 318"/>
                  <a:gd name="T4" fmla="*/ 204 w 212"/>
                  <a:gd name="T5" fmla="*/ 230 h 318"/>
                  <a:gd name="T6" fmla="*/ 208 w 212"/>
                  <a:gd name="T7" fmla="*/ 210 h 318"/>
                  <a:gd name="T8" fmla="*/ 192 w 212"/>
                  <a:gd name="T9" fmla="*/ 190 h 318"/>
                  <a:gd name="T10" fmla="*/ 178 w 212"/>
                  <a:gd name="T11" fmla="*/ 182 h 318"/>
                  <a:gd name="T12" fmla="*/ 180 w 212"/>
                  <a:gd name="T13" fmla="*/ 170 h 318"/>
                  <a:gd name="T14" fmla="*/ 170 w 212"/>
                  <a:gd name="T15" fmla="*/ 164 h 318"/>
                  <a:gd name="T16" fmla="*/ 152 w 212"/>
                  <a:gd name="T17" fmla="*/ 170 h 318"/>
                  <a:gd name="T18" fmla="*/ 142 w 212"/>
                  <a:gd name="T19" fmla="*/ 158 h 318"/>
                  <a:gd name="T20" fmla="*/ 130 w 212"/>
                  <a:gd name="T21" fmla="*/ 142 h 318"/>
                  <a:gd name="T22" fmla="*/ 124 w 212"/>
                  <a:gd name="T23" fmla="*/ 124 h 318"/>
                  <a:gd name="T24" fmla="*/ 132 w 212"/>
                  <a:gd name="T25" fmla="*/ 110 h 318"/>
                  <a:gd name="T26" fmla="*/ 130 w 212"/>
                  <a:gd name="T27" fmla="*/ 94 h 318"/>
                  <a:gd name="T28" fmla="*/ 140 w 212"/>
                  <a:gd name="T29" fmla="*/ 84 h 318"/>
                  <a:gd name="T30" fmla="*/ 156 w 212"/>
                  <a:gd name="T31" fmla="*/ 76 h 318"/>
                  <a:gd name="T32" fmla="*/ 174 w 212"/>
                  <a:gd name="T33" fmla="*/ 64 h 318"/>
                  <a:gd name="T34" fmla="*/ 172 w 212"/>
                  <a:gd name="T35" fmla="*/ 44 h 318"/>
                  <a:gd name="T36" fmla="*/ 154 w 212"/>
                  <a:gd name="T37" fmla="*/ 40 h 318"/>
                  <a:gd name="T38" fmla="*/ 132 w 212"/>
                  <a:gd name="T39" fmla="*/ 40 h 318"/>
                  <a:gd name="T40" fmla="*/ 122 w 212"/>
                  <a:gd name="T41" fmla="*/ 26 h 318"/>
                  <a:gd name="T42" fmla="*/ 110 w 212"/>
                  <a:gd name="T43" fmla="*/ 8 h 318"/>
                  <a:gd name="T44" fmla="*/ 100 w 212"/>
                  <a:gd name="T45" fmla="*/ 0 h 318"/>
                  <a:gd name="T46" fmla="*/ 94 w 212"/>
                  <a:gd name="T47" fmla="*/ 16 h 318"/>
                  <a:gd name="T48" fmla="*/ 92 w 212"/>
                  <a:gd name="T49" fmla="*/ 28 h 318"/>
                  <a:gd name="T50" fmla="*/ 78 w 212"/>
                  <a:gd name="T51" fmla="*/ 36 h 318"/>
                  <a:gd name="T52" fmla="*/ 60 w 212"/>
                  <a:gd name="T53" fmla="*/ 48 h 318"/>
                  <a:gd name="T54" fmla="*/ 50 w 212"/>
                  <a:gd name="T55" fmla="*/ 66 h 318"/>
                  <a:gd name="T56" fmla="*/ 44 w 212"/>
                  <a:gd name="T57" fmla="*/ 78 h 318"/>
                  <a:gd name="T58" fmla="*/ 34 w 212"/>
                  <a:gd name="T59" fmla="*/ 82 h 318"/>
                  <a:gd name="T60" fmla="*/ 16 w 212"/>
                  <a:gd name="T61" fmla="*/ 72 h 318"/>
                  <a:gd name="T62" fmla="*/ 18 w 212"/>
                  <a:gd name="T63" fmla="*/ 58 h 318"/>
                  <a:gd name="T64" fmla="*/ 10 w 212"/>
                  <a:gd name="T65" fmla="*/ 56 h 318"/>
                  <a:gd name="T66" fmla="*/ 2 w 212"/>
                  <a:gd name="T67" fmla="*/ 66 h 318"/>
                  <a:gd name="T68" fmla="*/ 0 w 212"/>
                  <a:gd name="T69" fmla="*/ 84 h 318"/>
                  <a:gd name="T70" fmla="*/ 6 w 212"/>
                  <a:gd name="T71" fmla="*/ 98 h 318"/>
                  <a:gd name="T72" fmla="*/ 8 w 212"/>
                  <a:gd name="T73" fmla="*/ 108 h 318"/>
                  <a:gd name="T74" fmla="*/ 20 w 212"/>
                  <a:gd name="T75" fmla="*/ 112 h 318"/>
                  <a:gd name="T76" fmla="*/ 28 w 212"/>
                  <a:gd name="T77" fmla="*/ 124 h 318"/>
                  <a:gd name="T78" fmla="*/ 40 w 212"/>
                  <a:gd name="T79" fmla="*/ 146 h 318"/>
                  <a:gd name="T80" fmla="*/ 50 w 212"/>
                  <a:gd name="T81" fmla="*/ 168 h 318"/>
                  <a:gd name="T82" fmla="*/ 54 w 212"/>
                  <a:gd name="T83" fmla="*/ 182 h 318"/>
                  <a:gd name="T84" fmla="*/ 62 w 212"/>
                  <a:gd name="T85" fmla="*/ 190 h 318"/>
                  <a:gd name="T86" fmla="*/ 72 w 212"/>
                  <a:gd name="T87" fmla="*/ 204 h 318"/>
                  <a:gd name="T88" fmla="*/ 80 w 212"/>
                  <a:gd name="T89" fmla="*/ 216 h 318"/>
                  <a:gd name="T90" fmla="*/ 88 w 212"/>
                  <a:gd name="T91" fmla="*/ 234 h 318"/>
                  <a:gd name="T92" fmla="*/ 92 w 212"/>
                  <a:gd name="T93" fmla="*/ 246 h 318"/>
                  <a:gd name="T94" fmla="*/ 104 w 212"/>
                  <a:gd name="T95" fmla="*/ 258 h 318"/>
                  <a:gd name="T96" fmla="*/ 112 w 212"/>
                  <a:gd name="T97" fmla="*/ 272 h 318"/>
                  <a:gd name="T98" fmla="*/ 134 w 212"/>
                  <a:gd name="T99" fmla="*/ 280 h 318"/>
                  <a:gd name="T100" fmla="*/ 144 w 212"/>
                  <a:gd name="T101" fmla="*/ 286 h 318"/>
                  <a:gd name="T102" fmla="*/ 160 w 212"/>
                  <a:gd name="T103" fmla="*/ 298 h 318"/>
                  <a:gd name="T104" fmla="*/ 166 w 212"/>
                  <a:gd name="T105" fmla="*/ 298 h 318"/>
                  <a:gd name="T106" fmla="*/ 178 w 212"/>
                  <a:gd name="T107" fmla="*/ 308 h 318"/>
                  <a:gd name="T108" fmla="*/ 188 w 212"/>
                  <a:gd name="T109" fmla="*/ 316 h 318"/>
                  <a:gd name="T110" fmla="*/ 198 w 212"/>
                  <a:gd name="T111" fmla="*/ 312 h 318"/>
                  <a:gd name="T112" fmla="*/ 210 w 212"/>
                  <a:gd name="T113" fmla="*/ 288 h 3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12" h="318">
                    <a:moveTo>
                      <a:pt x="210" y="288"/>
                    </a:moveTo>
                    <a:lnTo>
                      <a:pt x="210" y="288"/>
                    </a:lnTo>
                    <a:lnTo>
                      <a:pt x="212" y="282"/>
                    </a:lnTo>
                    <a:lnTo>
                      <a:pt x="210" y="276"/>
                    </a:lnTo>
                    <a:lnTo>
                      <a:pt x="210" y="272"/>
                    </a:lnTo>
                    <a:lnTo>
                      <a:pt x="208" y="268"/>
                    </a:lnTo>
                    <a:lnTo>
                      <a:pt x="208" y="268"/>
                    </a:lnTo>
                    <a:lnTo>
                      <a:pt x="208" y="264"/>
                    </a:lnTo>
                    <a:lnTo>
                      <a:pt x="206" y="260"/>
                    </a:lnTo>
                    <a:lnTo>
                      <a:pt x="204" y="258"/>
                    </a:lnTo>
                    <a:lnTo>
                      <a:pt x="204" y="256"/>
                    </a:lnTo>
                    <a:lnTo>
                      <a:pt x="204" y="254"/>
                    </a:lnTo>
                    <a:lnTo>
                      <a:pt x="206" y="250"/>
                    </a:lnTo>
                    <a:lnTo>
                      <a:pt x="206" y="250"/>
                    </a:lnTo>
                    <a:lnTo>
                      <a:pt x="206" y="246"/>
                    </a:lnTo>
                    <a:lnTo>
                      <a:pt x="208" y="244"/>
                    </a:lnTo>
                    <a:lnTo>
                      <a:pt x="208" y="242"/>
                    </a:lnTo>
                    <a:lnTo>
                      <a:pt x="208" y="242"/>
                    </a:lnTo>
                    <a:lnTo>
                      <a:pt x="206" y="238"/>
                    </a:lnTo>
                    <a:lnTo>
                      <a:pt x="206" y="236"/>
                    </a:lnTo>
                    <a:lnTo>
                      <a:pt x="204" y="234"/>
                    </a:lnTo>
                    <a:lnTo>
                      <a:pt x="204" y="232"/>
                    </a:lnTo>
                    <a:lnTo>
                      <a:pt x="204" y="232"/>
                    </a:lnTo>
                    <a:lnTo>
                      <a:pt x="204" y="230"/>
                    </a:lnTo>
                    <a:lnTo>
                      <a:pt x="204" y="226"/>
                    </a:lnTo>
                    <a:lnTo>
                      <a:pt x="206" y="222"/>
                    </a:lnTo>
                    <a:lnTo>
                      <a:pt x="208" y="220"/>
                    </a:lnTo>
                    <a:lnTo>
                      <a:pt x="208" y="218"/>
                    </a:lnTo>
                    <a:lnTo>
                      <a:pt x="208" y="216"/>
                    </a:lnTo>
                    <a:lnTo>
                      <a:pt x="208" y="214"/>
                    </a:lnTo>
                    <a:lnTo>
                      <a:pt x="208" y="214"/>
                    </a:lnTo>
                    <a:lnTo>
                      <a:pt x="208" y="210"/>
                    </a:lnTo>
                    <a:lnTo>
                      <a:pt x="206" y="208"/>
                    </a:lnTo>
                    <a:lnTo>
                      <a:pt x="204" y="206"/>
                    </a:lnTo>
                    <a:lnTo>
                      <a:pt x="202" y="202"/>
                    </a:lnTo>
                    <a:lnTo>
                      <a:pt x="200" y="198"/>
                    </a:lnTo>
                    <a:lnTo>
                      <a:pt x="200" y="198"/>
                    </a:lnTo>
                    <a:lnTo>
                      <a:pt x="198" y="196"/>
                    </a:lnTo>
                    <a:lnTo>
                      <a:pt x="194" y="194"/>
                    </a:lnTo>
                    <a:lnTo>
                      <a:pt x="192" y="190"/>
                    </a:lnTo>
                    <a:lnTo>
                      <a:pt x="190" y="188"/>
                    </a:lnTo>
                    <a:lnTo>
                      <a:pt x="190" y="188"/>
                    </a:lnTo>
                    <a:lnTo>
                      <a:pt x="188" y="188"/>
                    </a:lnTo>
                    <a:lnTo>
                      <a:pt x="184" y="186"/>
                    </a:lnTo>
                    <a:lnTo>
                      <a:pt x="182" y="186"/>
                    </a:lnTo>
                    <a:lnTo>
                      <a:pt x="180" y="184"/>
                    </a:lnTo>
                    <a:lnTo>
                      <a:pt x="178" y="182"/>
                    </a:lnTo>
                    <a:lnTo>
                      <a:pt x="178" y="182"/>
                    </a:lnTo>
                    <a:lnTo>
                      <a:pt x="178" y="180"/>
                    </a:lnTo>
                    <a:lnTo>
                      <a:pt x="178" y="180"/>
                    </a:lnTo>
                    <a:lnTo>
                      <a:pt x="178" y="178"/>
                    </a:lnTo>
                    <a:lnTo>
                      <a:pt x="178" y="176"/>
                    </a:lnTo>
                    <a:lnTo>
                      <a:pt x="178" y="176"/>
                    </a:lnTo>
                    <a:lnTo>
                      <a:pt x="180" y="174"/>
                    </a:lnTo>
                    <a:lnTo>
                      <a:pt x="180" y="172"/>
                    </a:lnTo>
                    <a:lnTo>
                      <a:pt x="180" y="170"/>
                    </a:lnTo>
                    <a:lnTo>
                      <a:pt x="180" y="170"/>
                    </a:lnTo>
                    <a:lnTo>
                      <a:pt x="178" y="168"/>
                    </a:lnTo>
                    <a:lnTo>
                      <a:pt x="178" y="168"/>
                    </a:lnTo>
                    <a:lnTo>
                      <a:pt x="178" y="168"/>
                    </a:lnTo>
                    <a:lnTo>
                      <a:pt x="176" y="166"/>
                    </a:lnTo>
                    <a:lnTo>
                      <a:pt x="174" y="164"/>
                    </a:lnTo>
                    <a:lnTo>
                      <a:pt x="172" y="164"/>
                    </a:lnTo>
                    <a:lnTo>
                      <a:pt x="170" y="164"/>
                    </a:lnTo>
                    <a:lnTo>
                      <a:pt x="166" y="166"/>
                    </a:lnTo>
                    <a:lnTo>
                      <a:pt x="162" y="168"/>
                    </a:lnTo>
                    <a:lnTo>
                      <a:pt x="162" y="168"/>
                    </a:lnTo>
                    <a:lnTo>
                      <a:pt x="160" y="170"/>
                    </a:lnTo>
                    <a:lnTo>
                      <a:pt x="158" y="170"/>
                    </a:lnTo>
                    <a:lnTo>
                      <a:pt x="156" y="170"/>
                    </a:lnTo>
                    <a:lnTo>
                      <a:pt x="154" y="170"/>
                    </a:lnTo>
                    <a:lnTo>
                      <a:pt x="152" y="170"/>
                    </a:lnTo>
                    <a:lnTo>
                      <a:pt x="150" y="168"/>
                    </a:lnTo>
                    <a:lnTo>
                      <a:pt x="148" y="168"/>
                    </a:lnTo>
                    <a:lnTo>
                      <a:pt x="146" y="166"/>
                    </a:lnTo>
                    <a:lnTo>
                      <a:pt x="146" y="166"/>
                    </a:lnTo>
                    <a:lnTo>
                      <a:pt x="144" y="164"/>
                    </a:lnTo>
                    <a:lnTo>
                      <a:pt x="142" y="162"/>
                    </a:lnTo>
                    <a:lnTo>
                      <a:pt x="142" y="160"/>
                    </a:lnTo>
                    <a:lnTo>
                      <a:pt x="142" y="158"/>
                    </a:lnTo>
                    <a:lnTo>
                      <a:pt x="140" y="154"/>
                    </a:lnTo>
                    <a:lnTo>
                      <a:pt x="140" y="152"/>
                    </a:lnTo>
                    <a:lnTo>
                      <a:pt x="140" y="150"/>
                    </a:lnTo>
                    <a:lnTo>
                      <a:pt x="140" y="150"/>
                    </a:lnTo>
                    <a:lnTo>
                      <a:pt x="138" y="148"/>
                    </a:lnTo>
                    <a:lnTo>
                      <a:pt x="136" y="148"/>
                    </a:lnTo>
                    <a:lnTo>
                      <a:pt x="134" y="144"/>
                    </a:lnTo>
                    <a:lnTo>
                      <a:pt x="130" y="142"/>
                    </a:lnTo>
                    <a:lnTo>
                      <a:pt x="128" y="140"/>
                    </a:lnTo>
                    <a:lnTo>
                      <a:pt x="126" y="138"/>
                    </a:lnTo>
                    <a:lnTo>
                      <a:pt x="126" y="138"/>
                    </a:lnTo>
                    <a:lnTo>
                      <a:pt x="126" y="136"/>
                    </a:lnTo>
                    <a:lnTo>
                      <a:pt x="124" y="134"/>
                    </a:lnTo>
                    <a:lnTo>
                      <a:pt x="124" y="132"/>
                    </a:lnTo>
                    <a:lnTo>
                      <a:pt x="124" y="130"/>
                    </a:lnTo>
                    <a:lnTo>
                      <a:pt x="124" y="124"/>
                    </a:lnTo>
                    <a:lnTo>
                      <a:pt x="124" y="120"/>
                    </a:lnTo>
                    <a:lnTo>
                      <a:pt x="124" y="120"/>
                    </a:lnTo>
                    <a:lnTo>
                      <a:pt x="126" y="118"/>
                    </a:lnTo>
                    <a:lnTo>
                      <a:pt x="126" y="116"/>
                    </a:lnTo>
                    <a:lnTo>
                      <a:pt x="128" y="114"/>
                    </a:lnTo>
                    <a:lnTo>
                      <a:pt x="128" y="112"/>
                    </a:lnTo>
                    <a:lnTo>
                      <a:pt x="128" y="112"/>
                    </a:lnTo>
                    <a:lnTo>
                      <a:pt x="132" y="110"/>
                    </a:lnTo>
                    <a:lnTo>
                      <a:pt x="132" y="108"/>
                    </a:lnTo>
                    <a:lnTo>
                      <a:pt x="132" y="108"/>
                    </a:lnTo>
                    <a:lnTo>
                      <a:pt x="134" y="108"/>
                    </a:lnTo>
                    <a:lnTo>
                      <a:pt x="132" y="106"/>
                    </a:lnTo>
                    <a:lnTo>
                      <a:pt x="132" y="106"/>
                    </a:lnTo>
                    <a:lnTo>
                      <a:pt x="132" y="102"/>
                    </a:lnTo>
                    <a:lnTo>
                      <a:pt x="130" y="96"/>
                    </a:lnTo>
                    <a:lnTo>
                      <a:pt x="130" y="94"/>
                    </a:lnTo>
                    <a:lnTo>
                      <a:pt x="130" y="92"/>
                    </a:lnTo>
                    <a:lnTo>
                      <a:pt x="132" y="90"/>
                    </a:lnTo>
                    <a:lnTo>
                      <a:pt x="132" y="88"/>
                    </a:lnTo>
                    <a:lnTo>
                      <a:pt x="132" y="88"/>
                    </a:lnTo>
                    <a:lnTo>
                      <a:pt x="134" y="86"/>
                    </a:lnTo>
                    <a:lnTo>
                      <a:pt x="136" y="84"/>
                    </a:lnTo>
                    <a:lnTo>
                      <a:pt x="140" y="84"/>
                    </a:lnTo>
                    <a:lnTo>
                      <a:pt x="140" y="84"/>
                    </a:lnTo>
                    <a:lnTo>
                      <a:pt x="142" y="82"/>
                    </a:lnTo>
                    <a:lnTo>
                      <a:pt x="144" y="82"/>
                    </a:lnTo>
                    <a:lnTo>
                      <a:pt x="148" y="78"/>
                    </a:lnTo>
                    <a:lnTo>
                      <a:pt x="148" y="78"/>
                    </a:lnTo>
                    <a:lnTo>
                      <a:pt x="150" y="76"/>
                    </a:lnTo>
                    <a:lnTo>
                      <a:pt x="152" y="76"/>
                    </a:lnTo>
                    <a:lnTo>
                      <a:pt x="154" y="76"/>
                    </a:lnTo>
                    <a:lnTo>
                      <a:pt x="156" y="76"/>
                    </a:lnTo>
                    <a:lnTo>
                      <a:pt x="158" y="76"/>
                    </a:lnTo>
                    <a:lnTo>
                      <a:pt x="160" y="76"/>
                    </a:lnTo>
                    <a:lnTo>
                      <a:pt x="162" y="76"/>
                    </a:lnTo>
                    <a:lnTo>
                      <a:pt x="164" y="74"/>
                    </a:lnTo>
                    <a:lnTo>
                      <a:pt x="164" y="74"/>
                    </a:lnTo>
                    <a:lnTo>
                      <a:pt x="168" y="68"/>
                    </a:lnTo>
                    <a:lnTo>
                      <a:pt x="172" y="66"/>
                    </a:lnTo>
                    <a:lnTo>
                      <a:pt x="174" y="64"/>
                    </a:lnTo>
                    <a:lnTo>
                      <a:pt x="176" y="64"/>
                    </a:lnTo>
                    <a:lnTo>
                      <a:pt x="176" y="64"/>
                    </a:lnTo>
                    <a:lnTo>
                      <a:pt x="176" y="58"/>
                    </a:lnTo>
                    <a:lnTo>
                      <a:pt x="176" y="54"/>
                    </a:lnTo>
                    <a:lnTo>
                      <a:pt x="176" y="50"/>
                    </a:lnTo>
                    <a:lnTo>
                      <a:pt x="174" y="48"/>
                    </a:lnTo>
                    <a:lnTo>
                      <a:pt x="174" y="46"/>
                    </a:lnTo>
                    <a:lnTo>
                      <a:pt x="172" y="44"/>
                    </a:lnTo>
                    <a:lnTo>
                      <a:pt x="172" y="44"/>
                    </a:lnTo>
                    <a:lnTo>
                      <a:pt x="170" y="42"/>
                    </a:lnTo>
                    <a:lnTo>
                      <a:pt x="166" y="40"/>
                    </a:lnTo>
                    <a:lnTo>
                      <a:pt x="164" y="38"/>
                    </a:lnTo>
                    <a:lnTo>
                      <a:pt x="162" y="38"/>
                    </a:lnTo>
                    <a:lnTo>
                      <a:pt x="160" y="38"/>
                    </a:lnTo>
                    <a:lnTo>
                      <a:pt x="156" y="38"/>
                    </a:lnTo>
                    <a:lnTo>
                      <a:pt x="154" y="40"/>
                    </a:lnTo>
                    <a:lnTo>
                      <a:pt x="150" y="40"/>
                    </a:lnTo>
                    <a:lnTo>
                      <a:pt x="150" y="40"/>
                    </a:lnTo>
                    <a:lnTo>
                      <a:pt x="148" y="42"/>
                    </a:lnTo>
                    <a:lnTo>
                      <a:pt x="144" y="42"/>
                    </a:lnTo>
                    <a:lnTo>
                      <a:pt x="140" y="42"/>
                    </a:lnTo>
                    <a:lnTo>
                      <a:pt x="138" y="42"/>
                    </a:lnTo>
                    <a:lnTo>
                      <a:pt x="134" y="40"/>
                    </a:lnTo>
                    <a:lnTo>
                      <a:pt x="132" y="40"/>
                    </a:lnTo>
                    <a:lnTo>
                      <a:pt x="130" y="38"/>
                    </a:lnTo>
                    <a:lnTo>
                      <a:pt x="128" y="34"/>
                    </a:lnTo>
                    <a:lnTo>
                      <a:pt x="128" y="34"/>
                    </a:lnTo>
                    <a:lnTo>
                      <a:pt x="126" y="34"/>
                    </a:lnTo>
                    <a:lnTo>
                      <a:pt x="124" y="30"/>
                    </a:lnTo>
                    <a:lnTo>
                      <a:pt x="124" y="28"/>
                    </a:lnTo>
                    <a:lnTo>
                      <a:pt x="122" y="26"/>
                    </a:lnTo>
                    <a:lnTo>
                      <a:pt x="122" y="26"/>
                    </a:lnTo>
                    <a:lnTo>
                      <a:pt x="120" y="24"/>
                    </a:lnTo>
                    <a:lnTo>
                      <a:pt x="118" y="22"/>
                    </a:lnTo>
                    <a:lnTo>
                      <a:pt x="116" y="20"/>
                    </a:lnTo>
                    <a:lnTo>
                      <a:pt x="114" y="18"/>
                    </a:lnTo>
                    <a:lnTo>
                      <a:pt x="114" y="18"/>
                    </a:lnTo>
                    <a:lnTo>
                      <a:pt x="114" y="16"/>
                    </a:lnTo>
                    <a:lnTo>
                      <a:pt x="112" y="14"/>
                    </a:lnTo>
                    <a:lnTo>
                      <a:pt x="110" y="8"/>
                    </a:lnTo>
                    <a:lnTo>
                      <a:pt x="108" y="4"/>
                    </a:lnTo>
                    <a:lnTo>
                      <a:pt x="106" y="2"/>
                    </a:lnTo>
                    <a:lnTo>
                      <a:pt x="106" y="2"/>
                    </a:lnTo>
                    <a:lnTo>
                      <a:pt x="104" y="0"/>
                    </a:lnTo>
                    <a:lnTo>
                      <a:pt x="102" y="0"/>
                    </a:lnTo>
                    <a:lnTo>
                      <a:pt x="100" y="0"/>
                    </a:lnTo>
                    <a:lnTo>
                      <a:pt x="100" y="0"/>
                    </a:lnTo>
                    <a:lnTo>
                      <a:pt x="100" y="0"/>
                    </a:lnTo>
                    <a:lnTo>
                      <a:pt x="98" y="2"/>
                    </a:lnTo>
                    <a:lnTo>
                      <a:pt x="96" y="2"/>
                    </a:lnTo>
                    <a:lnTo>
                      <a:pt x="96" y="2"/>
                    </a:lnTo>
                    <a:lnTo>
                      <a:pt x="96" y="6"/>
                    </a:lnTo>
                    <a:lnTo>
                      <a:pt x="96" y="10"/>
                    </a:lnTo>
                    <a:lnTo>
                      <a:pt x="96" y="12"/>
                    </a:lnTo>
                    <a:lnTo>
                      <a:pt x="96" y="14"/>
                    </a:lnTo>
                    <a:lnTo>
                      <a:pt x="94" y="16"/>
                    </a:lnTo>
                    <a:lnTo>
                      <a:pt x="94" y="18"/>
                    </a:lnTo>
                    <a:lnTo>
                      <a:pt x="94" y="18"/>
                    </a:lnTo>
                    <a:lnTo>
                      <a:pt x="92" y="20"/>
                    </a:lnTo>
                    <a:lnTo>
                      <a:pt x="92" y="20"/>
                    </a:lnTo>
                    <a:lnTo>
                      <a:pt x="92" y="22"/>
                    </a:lnTo>
                    <a:lnTo>
                      <a:pt x="92" y="26"/>
                    </a:lnTo>
                    <a:lnTo>
                      <a:pt x="92" y="26"/>
                    </a:lnTo>
                    <a:lnTo>
                      <a:pt x="92" y="28"/>
                    </a:lnTo>
                    <a:lnTo>
                      <a:pt x="92" y="30"/>
                    </a:lnTo>
                    <a:lnTo>
                      <a:pt x="90" y="32"/>
                    </a:lnTo>
                    <a:lnTo>
                      <a:pt x="88" y="34"/>
                    </a:lnTo>
                    <a:lnTo>
                      <a:pt x="88" y="34"/>
                    </a:lnTo>
                    <a:lnTo>
                      <a:pt x="86" y="34"/>
                    </a:lnTo>
                    <a:lnTo>
                      <a:pt x="84" y="34"/>
                    </a:lnTo>
                    <a:lnTo>
                      <a:pt x="82" y="34"/>
                    </a:lnTo>
                    <a:lnTo>
                      <a:pt x="78" y="36"/>
                    </a:lnTo>
                    <a:lnTo>
                      <a:pt x="78" y="36"/>
                    </a:lnTo>
                    <a:lnTo>
                      <a:pt x="78" y="36"/>
                    </a:lnTo>
                    <a:lnTo>
                      <a:pt x="76" y="38"/>
                    </a:lnTo>
                    <a:lnTo>
                      <a:pt x="72" y="42"/>
                    </a:lnTo>
                    <a:lnTo>
                      <a:pt x="72" y="42"/>
                    </a:lnTo>
                    <a:lnTo>
                      <a:pt x="68" y="44"/>
                    </a:lnTo>
                    <a:lnTo>
                      <a:pt x="64" y="46"/>
                    </a:lnTo>
                    <a:lnTo>
                      <a:pt x="60" y="48"/>
                    </a:lnTo>
                    <a:lnTo>
                      <a:pt x="56" y="50"/>
                    </a:lnTo>
                    <a:lnTo>
                      <a:pt x="56" y="50"/>
                    </a:lnTo>
                    <a:lnTo>
                      <a:pt x="54" y="50"/>
                    </a:lnTo>
                    <a:lnTo>
                      <a:pt x="52" y="52"/>
                    </a:lnTo>
                    <a:lnTo>
                      <a:pt x="50" y="54"/>
                    </a:lnTo>
                    <a:lnTo>
                      <a:pt x="50" y="56"/>
                    </a:lnTo>
                    <a:lnTo>
                      <a:pt x="50" y="60"/>
                    </a:lnTo>
                    <a:lnTo>
                      <a:pt x="50" y="66"/>
                    </a:lnTo>
                    <a:lnTo>
                      <a:pt x="50" y="66"/>
                    </a:lnTo>
                    <a:lnTo>
                      <a:pt x="50" y="68"/>
                    </a:lnTo>
                    <a:lnTo>
                      <a:pt x="50" y="70"/>
                    </a:lnTo>
                    <a:lnTo>
                      <a:pt x="48" y="72"/>
                    </a:lnTo>
                    <a:lnTo>
                      <a:pt x="46" y="74"/>
                    </a:lnTo>
                    <a:lnTo>
                      <a:pt x="46" y="74"/>
                    </a:lnTo>
                    <a:lnTo>
                      <a:pt x="46" y="76"/>
                    </a:lnTo>
                    <a:lnTo>
                      <a:pt x="44" y="78"/>
                    </a:lnTo>
                    <a:lnTo>
                      <a:pt x="44" y="80"/>
                    </a:lnTo>
                    <a:lnTo>
                      <a:pt x="44" y="82"/>
                    </a:lnTo>
                    <a:lnTo>
                      <a:pt x="44" y="82"/>
                    </a:lnTo>
                    <a:lnTo>
                      <a:pt x="42" y="82"/>
                    </a:lnTo>
                    <a:lnTo>
                      <a:pt x="40" y="84"/>
                    </a:lnTo>
                    <a:lnTo>
                      <a:pt x="38" y="84"/>
                    </a:lnTo>
                    <a:lnTo>
                      <a:pt x="36" y="82"/>
                    </a:lnTo>
                    <a:lnTo>
                      <a:pt x="34" y="82"/>
                    </a:lnTo>
                    <a:lnTo>
                      <a:pt x="32" y="82"/>
                    </a:lnTo>
                    <a:lnTo>
                      <a:pt x="28" y="80"/>
                    </a:lnTo>
                    <a:lnTo>
                      <a:pt x="28" y="80"/>
                    </a:lnTo>
                    <a:lnTo>
                      <a:pt x="24" y="78"/>
                    </a:lnTo>
                    <a:lnTo>
                      <a:pt x="20" y="76"/>
                    </a:lnTo>
                    <a:lnTo>
                      <a:pt x="20" y="74"/>
                    </a:lnTo>
                    <a:lnTo>
                      <a:pt x="18" y="74"/>
                    </a:lnTo>
                    <a:lnTo>
                      <a:pt x="16" y="72"/>
                    </a:lnTo>
                    <a:lnTo>
                      <a:pt x="16" y="70"/>
                    </a:lnTo>
                    <a:lnTo>
                      <a:pt x="16" y="70"/>
                    </a:lnTo>
                    <a:lnTo>
                      <a:pt x="16" y="68"/>
                    </a:lnTo>
                    <a:lnTo>
                      <a:pt x="16" y="66"/>
                    </a:lnTo>
                    <a:lnTo>
                      <a:pt x="18" y="62"/>
                    </a:lnTo>
                    <a:lnTo>
                      <a:pt x="18" y="60"/>
                    </a:lnTo>
                    <a:lnTo>
                      <a:pt x="18" y="58"/>
                    </a:lnTo>
                    <a:lnTo>
                      <a:pt x="18" y="58"/>
                    </a:lnTo>
                    <a:lnTo>
                      <a:pt x="18" y="58"/>
                    </a:lnTo>
                    <a:lnTo>
                      <a:pt x="16" y="54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2" y="54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8" y="56"/>
                    </a:lnTo>
                    <a:lnTo>
                      <a:pt x="8" y="58"/>
                    </a:lnTo>
                    <a:lnTo>
                      <a:pt x="6" y="58"/>
                    </a:lnTo>
                    <a:lnTo>
                      <a:pt x="6" y="58"/>
                    </a:lnTo>
                    <a:lnTo>
                      <a:pt x="4" y="60"/>
                    </a:lnTo>
                    <a:lnTo>
                      <a:pt x="4" y="64"/>
                    </a:lnTo>
                    <a:lnTo>
                      <a:pt x="2" y="66"/>
                    </a:lnTo>
                    <a:lnTo>
                      <a:pt x="0" y="70"/>
                    </a:lnTo>
                    <a:lnTo>
                      <a:pt x="0" y="70"/>
                    </a:lnTo>
                    <a:lnTo>
                      <a:pt x="0" y="76"/>
                    </a:lnTo>
                    <a:lnTo>
                      <a:pt x="0" y="78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84"/>
                    </a:lnTo>
                    <a:lnTo>
                      <a:pt x="2" y="86"/>
                    </a:lnTo>
                    <a:lnTo>
                      <a:pt x="4" y="90"/>
                    </a:lnTo>
                    <a:lnTo>
                      <a:pt x="6" y="90"/>
                    </a:lnTo>
                    <a:lnTo>
                      <a:pt x="6" y="92"/>
                    </a:lnTo>
                    <a:lnTo>
                      <a:pt x="6" y="92"/>
                    </a:lnTo>
                    <a:lnTo>
                      <a:pt x="6" y="94"/>
                    </a:lnTo>
                    <a:lnTo>
                      <a:pt x="6" y="96"/>
                    </a:lnTo>
                    <a:lnTo>
                      <a:pt x="6" y="98"/>
                    </a:lnTo>
                    <a:lnTo>
                      <a:pt x="6" y="98"/>
                    </a:lnTo>
                    <a:lnTo>
                      <a:pt x="4" y="102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4" y="106"/>
                    </a:lnTo>
                    <a:lnTo>
                      <a:pt x="6" y="106"/>
                    </a:lnTo>
                    <a:lnTo>
                      <a:pt x="8" y="108"/>
                    </a:lnTo>
                    <a:lnTo>
                      <a:pt x="8" y="108"/>
                    </a:lnTo>
                    <a:lnTo>
                      <a:pt x="10" y="110"/>
                    </a:lnTo>
                    <a:lnTo>
                      <a:pt x="12" y="110"/>
                    </a:lnTo>
                    <a:lnTo>
                      <a:pt x="12" y="110"/>
                    </a:lnTo>
                    <a:lnTo>
                      <a:pt x="14" y="112"/>
                    </a:lnTo>
                    <a:lnTo>
                      <a:pt x="18" y="112"/>
                    </a:lnTo>
                    <a:lnTo>
                      <a:pt x="18" y="112"/>
                    </a:lnTo>
                    <a:lnTo>
                      <a:pt x="20" y="112"/>
                    </a:lnTo>
                    <a:lnTo>
                      <a:pt x="20" y="112"/>
                    </a:lnTo>
                    <a:lnTo>
                      <a:pt x="22" y="114"/>
                    </a:lnTo>
                    <a:lnTo>
                      <a:pt x="22" y="114"/>
                    </a:lnTo>
                    <a:lnTo>
                      <a:pt x="24" y="116"/>
                    </a:lnTo>
                    <a:lnTo>
                      <a:pt x="24" y="118"/>
                    </a:lnTo>
                    <a:lnTo>
                      <a:pt x="26" y="122"/>
                    </a:lnTo>
                    <a:lnTo>
                      <a:pt x="28" y="124"/>
                    </a:lnTo>
                    <a:lnTo>
                      <a:pt x="28" y="124"/>
                    </a:lnTo>
                    <a:lnTo>
                      <a:pt x="30" y="130"/>
                    </a:lnTo>
                    <a:lnTo>
                      <a:pt x="32" y="132"/>
                    </a:lnTo>
                    <a:lnTo>
                      <a:pt x="34" y="134"/>
                    </a:lnTo>
                    <a:lnTo>
                      <a:pt x="34" y="134"/>
                    </a:lnTo>
                    <a:lnTo>
                      <a:pt x="34" y="138"/>
                    </a:lnTo>
                    <a:lnTo>
                      <a:pt x="36" y="140"/>
                    </a:lnTo>
                    <a:lnTo>
                      <a:pt x="40" y="146"/>
                    </a:lnTo>
                    <a:lnTo>
                      <a:pt x="40" y="146"/>
                    </a:lnTo>
                    <a:lnTo>
                      <a:pt x="42" y="148"/>
                    </a:lnTo>
                    <a:lnTo>
                      <a:pt x="44" y="152"/>
                    </a:lnTo>
                    <a:lnTo>
                      <a:pt x="46" y="156"/>
                    </a:lnTo>
                    <a:lnTo>
                      <a:pt x="46" y="156"/>
                    </a:lnTo>
                    <a:lnTo>
                      <a:pt x="48" y="160"/>
                    </a:lnTo>
                    <a:lnTo>
                      <a:pt x="48" y="162"/>
                    </a:lnTo>
                    <a:lnTo>
                      <a:pt x="48" y="164"/>
                    </a:lnTo>
                    <a:lnTo>
                      <a:pt x="50" y="168"/>
                    </a:lnTo>
                    <a:lnTo>
                      <a:pt x="50" y="168"/>
                    </a:lnTo>
                    <a:lnTo>
                      <a:pt x="52" y="170"/>
                    </a:lnTo>
                    <a:lnTo>
                      <a:pt x="52" y="172"/>
                    </a:lnTo>
                    <a:lnTo>
                      <a:pt x="54" y="174"/>
                    </a:lnTo>
                    <a:lnTo>
                      <a:pt x="54" y="178"/>
                    </a:lnTo>
                    <a:lnTo>
                      <a:pt x="54" y="178"/>
                    </a:lnTo>
                    <a:lnTo>
                      <a:pt x="54" y="180"/>
                    </a:lnTo>
                    <a:lnTo>
                      <a:pt x="54" y="182"/>
                    </a:lnTo>
                    <a:lnTo>
                      <a:pt x="54" y="184"/>
                    </a:lnTo>
                    <a:lnTo>
                      <a:pt x="56" y="184"/>
                    </a:lnTo>
                    <a:lnTo>
                      <a:pt x="56" y="186"/>
                    </a:lnTo>
                    <a:lnTo>
                      <a:pt x="58" y="186"/>
                    </a:lnTo>
                    <a:lnTo>
                      <a:pt x="58" y="186"/>
                    </a:lnTo>
                    <a:lnTo>
                      <a:pt x="60" y="188"/>
                    </a:lnTo>
                    <a:lnTo>
                      <a:pt x="62" y="190"/>
                    </a:lnTo>
                    <a:lnTo>
                      <a:pt x="62" y="190"/>
                    </a:lnTo>
                    <a:lnTo>
                      <a:pt x="64" y="192"/>
                    </a:lnTo>
                    <a:lnTo>
                      <a:pt x="64" y="192"/>
                    </a:lnTo>
                    <a:lnTo>
                      <a:pt x="64" y="196"/>
                    </a:lnTo>
                    <a:lnTo>
                      <a:pt x="64" y="196"/>
                    </a:lnTo>
                    <a:lnTo>
                      <a:pt x="66" y="198"/>
                    </a:lnTo>
                    <a:lnTo>
                      <a:pt x="68" y="200"/>
                    </a:lnTo>
                    <a:lnTo>
                      <a:pt x="72" y="204"/>
                    </a:lnTo>
                    <a:lnTo>
                      <a:pt x="72" y="204"/>
                    </a:lnTo>
                    <a:lnTo>
                      <a:pt x="72" y="206"/>
                    </a:lnTo>
                    <a:lnTo>
                      <a:pt x="74" y="208"/>
                    </a:lnTo>
                    <a:lnTo>
                      <a:pt x="74" y="210"/>
                    </a:lnTo>
                    <a:lnTo>
                      <a:pt x="76" y="212"/>
                    </a:lnTo>
                    <a:lnTo>
                      <a:pt x="76" y="212"/>
                    </a:lnTo>
                    <a:lnTo>
                      <a:pt x="78" y="214"/>
                    </a:lnTo>
                    <a:lnTo>
                      <a:pt x="78" y="216"/>
                    </a:lnTo>
                    <a:lnTo>
                      <a:pt x="80" y="216"/>
                    </a:lnTo>
                    <a:lnTo>
                      <a:pt x="80" y="216"/>
                    </a:lnTo>
                    <a:lnTo>
                      <a:pt x="82" y="218"/>
                    </a:lnTo>
                    <a:lnTo>
                      <a:pt x="82" y="222"/>
                    </a:lnTo>
                    <a:lnTo>
                      <a:pt x="84" y="224"/>
                    </a:lnTo>
                    <a:lnTo>
                      <a:pt x="84" y="226"/>
                    </a:lnTo>
                    <a:lnTo>
                      <a:pt x="84" y="226"/>
                    </a:lnTo>
                    <a:lnTo>
                      <a:pt x="86" y="230"/>
                    </a:lnTo>
                    <a:lnTo>
                      <a:pt x="88" y="234"/>
                    </a:lnTo>
                    <a:lnTo>
                      <a:pt x="88" y="234"/>
                    </a:lnTo>
                    <a:lnTo>
                      <a:pt x="88" y="236"/>
                    </a:lnTo>
                    <a:lnTo>
                      <a:pt x="88" y="238"/>
                    </a:lnTo>
                    <a:lnTo>
                      <a:pt x="88" y="242"/>
                    </a:lnTo>
                    <a:lnTo>
                      <a:pt x="88" y="242"/>
                    </a:lnTo>
                    <a:lnTo>
                      <a:pt x="90" y="242"/>
                    </a:lnTo>
                    <a:lnTo>
                      <a:pt x="90" y="244"/>
                    </a:lnTo>
                    <a:lnTo>
                      <a:pt x="92" y="246"/>
                    </a:lnTo>
                    <a:lnTo>
                      <a:pt x="92" y="246"/>
                    </a:lnTo>
                    <a:lnTo>
                      <a:pt x="98" y="252"/>
                    </a:lnTo>
                    <a:lnTo>
                      <a:pt x="98" y="252"/>
                    </a:lnTo>
                    <a:lnTo>
                      <a:pt x="100" y="256"/>
                    </a:lnTo>
                    <a:lnTo>
                      <a:pt x="100" y="256"/>
                    </a:lnTo>
                    <a:lnTo>
                      <a:pt x="102" y="256"/>
                    </a:lnTo>
                    <a:lnTo>
                      <a:pt x="104" y="258"/>
                    </a:lnTo>
                    <a:lnTo>
                      <a:pt x="104" y="258"/>
                    </a:lnTo>
                    <a:lnTo>
                      <a:pt x="106" y="260"/>
                    </a:lnTo>
                    <a:lnTo>
                      <a:pt x="106" y="264"/>
                    </a:lnTo>
                    <a:lnTo>
                      <a:pt x="106" y="264"/>
                    </a:lnTo>
                    <a:lnTo>
                      <a:pt x="108" y="268"/>
                    </a:lnTo>
                    <a:lnTo>
                      <a:pt x="110" y="270"/>
                    </a:lnTo>
                    <a:lnTo>
                      <a:pt x="110" y="272"/>
                    </a:lnTo>
                    <a:lnTo>
                      <a:pt x="110" y="272"/>
                    </a:lnTo>
                    <a:lnTo>
                      <a:pt x="112" y="272"/>
                    </a:lnTo>
                    <a:lnTo>
                      <a:pt x="114" y="274"/>
                    </a:lnTo>
                    <a:lnTo>
                      <a:pt x="116" y="274"/>
                    </a:lnTo>
                    <a:lnTo>
                      <a:pt x="120" y="276"/>
                    </a:lnTo>
                    <a:lnTo>
                      <a:pt x="120" y="276"/>
                    </a:lnTo>
                    <a:lnTo>
                      <a:pt x="128" y="278"/>
                    </a:lnTo>
                    <a:lnTo>
                      <a:pt x="132" y="278"/>
                    </a:lnTo>
                    <a:lnTo>
                      <a:pt x="134" y="280"/>
                    </a:lnTo>
                    <a:lnTo>
                      <a:pt x="134" y="280"/>
                    </a:lnTo>
                    <a:lnTo>
                      <a:pt x="136" y="282"/>
                    </a:lnTo>
                    <a:lnTo>
                      <a:pt x="136" y="282"/>
                    </a:lnTo>
                    <a:lnTo>
                      <a:pt x="140" y="284"/>
                    </a:lnTo>
                    <a:lnTo>
                      <a:pt x="140" y="284"/>
                    </a:lnTo>
                    <a:lnTo>
                      <a:pt x="140" y="286"/>
                    </a:lnTo>
                    <a:lnTo>
                      <a:pt x="142" y="286"/>
                    </a:lnTo>
                    <a:lnTo>
                      <a:pt x="144" y="286"/>
                    </a:lnTo>
                    <a:lnTo>
                      <a:pt x="144" y="286"/>
                    </a:lnTo>
                    <a:lnTo>
                      <a:pt x="148" y="288"/>
                    </a:lnTo>
                    <a:lnTo>
                      <a:pt x="150" y="288"/>
                    </a:lnTo>
                    <a:lnTo>
                      <a:pt x="152" y="290"/>
                    </a:lnTo>
                    <a:lnTo>
                      <a:pt x="154" y="292"/>
                    </a:lnTo>
                    <a:lnTo>
                      <a:pt x="154" y="292"/>
                    </a:lnTo>
                    <a:lnTo>
                      <a:pt x="156" y="296"/>
                    </a:lnTo>
                    <a:lnTo>
                      <a:pt x="158" y="296"/>
                    </a:lnTo>
                    <a:lnTo>
                      <a:pt x="160" y="298"/>
                    </a:lnTo>
                    <a:lnTo>
                      <a:pt x="162" y="298"/>
                    </a:lnTo>
                    <a:lnTo>
                      <a:pt x="164" y="298"/>
                    </a:lnTo>
                    <a:lnTo>
                      <a:pt x="164" y="298"/>
                    </a:lnTo>
                    <a:lnTo>
                      <a:pt x="164" y="298"/>
                    </a:lnTo>
                    <a:lnTo>
                      <a:pt x="164" y="298"/>
                    </a:lnTo>
                    <a:lnTo>
                      <a:pt x="164" y="298"/>
                    </a:lnTo>
                    <a:lnTo>
                      <a:pt x="166" y="298"/>
                    </a:lnTo>
                    <a:lnTo>
                      <a:pt x="166" y="298"/>
                    </a:lnTo>
                    <a:lnTo>
                      <a:pt x="168" y="300"/>
                    </a:lnTo>
                    <a:lnTo>
                      <a:pt x="168" y="300"/>
                    </a:lnTo>
                    <a:lnTo>
                      <a:pt x="172" y="302"/>
                    </a:lnTo>
                    <a:lnTo>
                      <a:pt x="174" y="304"/>
                    </a:lnTo>
                    <a:lnTo>
                      <a:pt x="174" y="304"/>
                    </a:lnTo>
                    <a:lnTo>
                      <a:pt x="176" y="304"/>
                    </a:lnTo>
                    <a:lnTo>
                      <a:pt x="176" y="306"/>
                    </a:lnTo>
                    <a:lnTo>
                      <a:pt x="178" y="308"/>
                    </a:lnTo>
                    <a:lnTo>
                      <a:pt x="178" y="308"/>
                    </a:lnTo>
                    <a:lnTo>
                      <a:pt x="180" y="310"/>
                    </a:lnTo>
                    <a:lnTo>
                      <a:pt x="182" y="312"/>
                    </a:lnTo>
                    <a:lnTo>
                      <a:pt x="182" y="312"/>
                    </a:lnTo>
                    <a:lnTo>
                      <a:pt x="184" y="312"/>
                    </a:lnTo>
                    <a:lnTo>
                      <a:pt x="186" y="314"/>
                    </a:lnTo>
                    <a:lnTo>
                      <a:pt x="186" y="314"/>
                    </a:lnTo>
                    <a:lnTo>
                      <a:pt x="188" y="316"/>
                    </a:lnTo>
                    <a:lnTo>
                      <a:pt x="188" y="316"/>
                    </a:lnTo>
                    <a:lnTo>
                      <a:pt x="188" y="318"/>
                    </a:lnTo>
                    <a:lnTo>
                      <a:pt x="188" y="318"/>
                    </a:lnTo>
                    <a:lnTo>
                      <a:pt x="192" y="316"/>
                    </a:lnTo>
                    <a:lnTo>
                      <a:pt x="192" y="316"/>
                    </a:lnTo>
                    <a:lnTo>
                      <a:pt x="194" y="316"/>
                    </a:lnTo>
                    <a:lnTo>
                      <a:pt x="196" y="314"/>
                    </a:lnTo>
                    <a:lnTo>
                      <a:pt x="198" y="312"/>
                    </a:lnTo>
                    <a:lnTo>
                      <a:pt x="202" y="308"/>
                    </a:lnTo>
                    <a:lnTo>
                      <a:pt x="204" y="304"/>
                    </a:lnTo>
                    <a:lnTo>
                      <a:pt x="206" y="300"/>
                    </a:lnTo>
                    <a:lnTo>
                      <a:pt x="208" y="296"/>
                    </a:lnTo>
                    <a:lnTo>
                      <a:pt x="210" y="292"/>
                    </a:lnTo>
                    <a:lnTo>
                      <a:pt x="210" y="288"/>
                    </a:lnTo>
                    <a:lnTo>
                      <a:pt x="210" y="288"/>
                    </a:lnTo>
                    <a:lnTo>
                      <a:pt x="210" y="288"/>
                    </a:lnTo>
                    <a:lnTo>
                      <a:pt x="210" y="288"/>
                    </a:lnTo>
                    <a:lnTo>
                      <a:pt x="210" y="288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21" name="Freeform 218"/>
              <p:cNvSpPr>
                <a:spLocks/>
              </p:cNvSpPr>
              <p:nvPr/>
            </p:nvSpPr>
            <p:spPr bwMode="auto">
              <a:xfrm>
                <a:off x="1603" y="3140"/>
                <a:ext cx="154" cy="706"/>
              </a:xfrm>
              <a:custGeom>
                <a:avLst/>
                <a:gdLst>
                  <a:gd name="T0" fmla="*/ 104 w 154"/>
                  <a:gd name="T1" fmla="*/ 638 h 706"/>
                  <a:gd name="T2" fmla="*/ 96 w 154"/>
                  <a:gd name="T3" fmla="*/ 614 h 706"/>
                  <a:gd name="T4" fmla="*/ 94 w 154"/>
                  <a:gd name="T5" fmla="*/ 584 h 706"/>
                  <a:gd name="T6" fmla="*/ 90 w 154"/>
                  <a:gd name="T7" fmla="*/ 536 h 706"/>
                  <a:gd name="T8" fmla="*/ 90 w 154"/>
                  <a:gd name="T9" fmla="*/ 512 h 706"/>
                  <a:gd name="T10" fmla="*/ 76 w 154"/>
                  <a:gd name="T11" fmla="*/ 484 h 706"/>
                  <a:gd name="T12" fmla="*/ 58 w 154"/>
                  <a:gd name="T13" fmla="*/ 434 h 706"/>
                  <a:gd name="T14" fmla="*/ 56 w 154"/>
                  <a:gd name="T15" fmla="*/ 392 h 706"/>
                  <a:gd name="T16" fmla="*/ 54 w 154"/>
                  <a:gd name="T17" fmla="*/ 360 h 706"/>
                  <a:gd name="T18" fmla="*/ 58 w 154"/>
                  <a:gd name="T19" fmla="*/ 320 h 706"/>
                  <a:gd name="T20" fmla="*/ 60 w 154"/>
                  <a:gd name="T21" fmla="*/ 284 h 706"/>
                  <a:gd name="T22" fmla="*/ 40 w 154"/>
                  <a:gd name="T23" fmla="*/ 242 h 706"/>
                  <a:gd name="T24" fmla="*/ 56 w 154"/>
                  <a:gd name="T25" fmla="*/ 150 h 706"/>
                  <a:gd name="T26" fmla="*/ 70 w 154"/>
                  <a:gd name="T27" fmla="*/ 110 h 706"/>
                  <a:gd name="T28" fmla="*/ 50 w 154"/>
                  <a:gd name="T29" fmla="*/ 84 h 706"/>
                  <a:gd name="T30" fmla="*/ 30 w 154"/>
                  <a:gd name="T31" fmla="*/ 36 h 706"/>
                  <a:gd name="T32" fmla="*/ 20 w 154"/>
                  <a:gd name="T33" fmla="*/ 4 h 706"/>
                  <a:gd name="T34" fmla="*/ 6 w 154"/>
                  <a:gd name="T35" fmla="*/ 38 h 706"/>
                  <a:gd name="T36" fmla="*/ 14 w 154"/>
                  <a:gd name="T37" fmla="*/ 82 h 706"/>
                  <a:gd name="T38" fmla="*/ 16 w 154"/>
                  <a:gd name="T39" fmla="*/ 126 h 706"/>
                  <a:gd name="T40" fmla="*/ 18 w 154"/>
                  <a:gd name="T41" fmla="*/ 162 h 706"/>
                  <a:gd name="T42" fmla="*/ 16 w 154"/>
                  <a:gd name="T43" fmla="*/ 198 h 706"/>
                  <a:gd name="T44" fmla="*/ 20 w 154"/>
                  <a:gd name="T45" fmla="*/ 226 h 706"/>
                  <a:gd name="T46" fmla="*/ 26 w 154"/>
                  <a:gd name="T47" fmla="*/ 276 h 706"/>
                  <a:gd name="T48" fmla="*/ 26 w 154"/>
                  <a:gd name="T49" fmla="*/ 294 h 706"/>
                  <a:gd name="T50" fmla="*/ 24 w 154"/>
                  <a:gd name="T51" fmla="*/ 322 h 706"/>
                  <a:gd name="T52" fmla="*/ 20 w 154"/>
                  <a:gd name="T53" fmla="*/ 350 h 706"/>
                  <a:gd name="T54" fmla="*/ 14 w 154"/>
                  <a:gd name="T55" fmla="*/ 364 h 706"/>
                  <a:gd name="T56" fmla="*/ 22 w 154"/>
                  <a:gd name="T57" fmla="*/ 398 h 706"/>
                  <a:gd name="T58" fmla="*/ 24 w 154"/>
                  <a:gd name="T59" fmla="*/ 424 h 706"/>
                  <a:gd name="T60" fmla="*/ 40 w 154"/>
                  <a:gd name="T61" fmla="*/ 450 h 706"/>
                  <a:gd name="T62" fmla="*/ 50 w 154"/>
                  <a:gd name="T63" fmla="*/ 450 h 706"/>
                  <a:gd name="T64" fmla="*/ 48 w 154"/>
                  <a:gd name="T65" fmla="*/ 472 h 706"/>
                  <a:gd name="T66" fmla="*/ 56 w 154"/>
                  <a:gd name="T67" fmla="*/ 492 h 706"/>
                  <a:gd name="T68" fmla="*/ 66 w 154"/>
                  <a:gd name="T69" fmla="*/ 510 h 706"/>
                  <a:gd name="T70" fmla="*/ 56 w 154"/>
                  <a:gd name="T71" fmla="*/ 538 h 706"/>
                  <a:gd name="T72" fmla="*/ 50 w 154"/>
                  <a:gd name="T73" fmla="*/ 538 h 706"/>
                  <a:gd name="T74" fmla="*/ 46 w 154"/>
                  <a:gd name="T75" fmla="*/ 532 h 706"/>
                  <a:gd name="T76" fmla="*/ 32 w 154"/>
                  <a:gd name="T77" fmla="*/ 540 h 706"/>
                  <a:gd name="T78" fmla="*/ 28 w 154"/>
                  <a:gd name="T79" fmla="*/ 554 h 706"/>
                  <a:gd name="T80" fmla="*/ 44 w 154"/>
                  <a:gd name="T81" fmla="*/ 554 h 706"/>
                  <a:gd name="T82" fmla="*/ 58 w 154"/>
                  <a:gd name="T83" fmla="*/ 564 h 706"/>
                  <a:gd name="T84" fmla="*/ 52 w 154"/>
                  <a:gd name="T85" fmla="*/ 574 h 706"/>
                  <a:gd name="T86" fmla="*/ 64 w 154"/>
                  <a:gd name="T87" fmla="*/ 582 h 706"/>
                  <a:gd name="T88" fmla="*/ 52 w 154"/>
                  <a:gd name="T89" fmla="*/ 588 h 706"/>
                  <a:gd name="T90" fmla="*/ 64 w 154"/>
                  <a:gd name="T91" fmla="*/ 606 h 706"/>
                  <a:gd name="T92" fmla="*/ 76 w 154"/>
                  <a:gd name="T93" fmla="*/ 620 h 706"/>
                  <a:gd name="T94" fmla="*/ 74 w 154"/>
                  <a:gd name="T95" fmla="*/ 638 h 706"/>
                  <a:gd name="T96" fmla="*/ 60 w 154"/>
                  <a:gd name="T97" fmla="*/ 610 h 706"/>
                  <a:gd name="T98" fmla="*/ 58 w 154"/>
                  <a:gd name="T99" fmla="*/ 630 h 706"/>
                  <a:gd name="T100" fmla="*/ 68 w 154"/>
                  <a:gd name="T101" fmla="*/ 646 h 706"/>
                  <a:gd name="T102" fmla="*/ 80 w 154"/>
                  <a:gd name="T103" fmla="*/ 656 h 706"/>
                  <a:gd name="T104" fmla="*/ 92 w 154"/>
                  <a:gd name="T105" fmla="*/ 658 h 706"/>
                  <a:gd name="T106" fmla="*/ 98 w 154"/>
                  <a:gd name="T107" fmla="*/ 666 h 706"/>
                  <a:gd name="T108" fmla="*/ 106 w 154"/>
                  <a:gd name="T109" fmla="*/ 674 h 706"/>
                  <a:gd name="T110" fmla="*/ 108 w 154"/>
                  <a:gd name="T111" fmla="*/ 680 h 706"/>
                  <a:gd name="T112" fmla="*/ 118 w 154"/>
                  <a:gd name="T113" fmla="*/ 690 h 706"/>
                  <a:gd name="T114" fmla="*/ 122 w 154"/>
                  <a:gd name="T115" fmla="*/ 680 h 706"/>
                  <a:gd name="T116" fmla="*/ 130 w 154"/>
                  <a:gd name="T117" fmla="*/ 696 h 706"/>
                  <a:gd name="T118" fmla="*/ 138 w 154"/>
                  <a:gd name="T119" fmla="*/ 706 h 706"/>
                  <a:gd name="T120" fmla="*/ 142 w 154"/>
                  <a:gd name="T121" fmla="*/ 678 h 706"/>
                  <a:gd name="T122" fmla="*/ 148 w 154"/>
                  <a:gd name="T123" fmla="*/ 664 h 7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54" h="706">
                    <a:moveTo>
                      <a:pt x="136" y="660"/>
                    </a:moveTo>
                    <a:lnTo>
                      <a:pt x="136" y="660"/>
                    </a:lnTo>
                    <a:lnTo>
                      <a:pt x="132" y="660"/>
                    </a:lnTo>
                    <a:lnTo>
                      <a:pt x="126" y="660"/>
                    </a:lnTo>
                    <a:lnTo>
                      <a:pt x="122" y="658"/>
                    </a:lnTo>
                    <a:lnTo>
                      <a:pt x="118" y="658"/>
                    </a:lnTo>
                    <a:lnTo>
                      <a:pt x="118" y="658"/>
                    </a:lnTo>
                    <a:lnTo>
                      <a:pt x="114" y="656"/>
                    </a:lnTo>
                    <a:lnTo>
                      <a:pt x="114" y="654"/>
                    </a:lnTo>
                    <a:lnTo>
                      <a:pt x="112" y="652"/>
                    </a:lnTo>
                    <a:lnTo>
                      <a:pt x="112" y="650"/>
                    </a:lnTo>
                    <a:lnTo>
                      <a:pt x="110" y="646"/>
                    </a:lnTo>
                    <a:lnTo>
                      <a:pt x="108" y="642"/>
                    </a:lnTo>
                    <a:lnTo>
                      <a:pt x="108" y="640"/>
                    </a:lnTo>
                    <a:lnTo>
                      <a:pt x="108" y="640"/>
                    </a:lnTo>
                    <a:lnTo>
                      <a:pt x="106" y="640"/>
                    </a:lnTo>
                    <a:lnTo>
                      <a:pt x="106" y="638"/>
                    </a:lnTo>
                    <a:lnTo>
                      <a:pt x="104" y="638"/>
                    </a:lnTo>
                    <a:lnTo>
                      <a:pt x="102" y="638"/>
                    </a:lnTo>
                    <a:lnTo>
                      <a:pt x="100" y="636"/>
                    </a:lnTo>
                    <a:lnTo>
                      <a:pt x="100" y="636"/>
                    </a:lnTo>
                    <a:lnTo>
                      <a:pt x="98" y="636"/>
                    </a:lnTo>
                    <a:lnTo>
                      <a:pt x="98" y="634"/>
                    </a:lnTo>
                    <a:lnTo>
                      <a:pt x="98" y="634"/>
                    </a:lnTo>
                    <a:lnTo>
                      <a:pt x="98" y="632"/>
                    </a:lnTo>
                    <a:lnTo>
                      <a:pt x="98" y="630"/>
                    </a:lnTo>
                    <a:lnTo>
                      <a:pt x="98" y="628"/>
                    </a:lnTo>
                    <a:lnTo>
                      <a:pt x="98" y="628"/>
                    </a:lnTo>
                    <a:lnTo>
                      <a:pt x="100" y="624"/>
                    </a:lnTo>
                    <a:lnTo>
                      <a:pt x="98" y="622"/>
                    </a:lnTo>
                    <a:lnTo>
                      <a:pt x="98" y="620"/>
                    </a:lnTo>
                    <a:lnTo>
                      <a:pt x="98" y="618"/>
                    </a:lnTo>
                    <a:lnTo>
                      <a:pt x="98" y="618"/>
                    </a:lnTo>
                    <a:lnTo>
                      <a:pt x="98" y="616"/>
                    </a:lnTo>
                    <a:lnTo>
                      <a:pt x="98" y="614"/>
                    </a:lnTo>
                    <a:lnTo>
                      <a:pt x="96" y="614"/>
                    </a:lnTo>
                    <a:lnTo>
                      <a:pt x="94" y="612"/>
                    </a:lnTo>
                    <a:lnTo>
                      <a:pt x="92" y="612"/>
                    </a:lnTo>
                    <a:lnTo>
                      <a:pt x="92" y="612"/>
                    </a:lnTo>
                    <a:lnTo>
                      <a:pt x="92" y="610"/>
                    </a:lnTo>
                    <a:lnTo>
                      <a:pt x="92" y="608"/>
                    </a:lnTo>
                    <a:lnTo>
                      <a:pt x="92" y="606"/>
                    </a:lnTo>
                    <a:lnTo>
                      <a:pt x="92" y="604"/>
                    </a:lnTo>
                    <a:lnTo>
                      <a:pt x="92" y="602"/>
                    </a:lnTo>
                    <a:lnTo>
                      <a:pt x="92" y="602"/>
                    </a:lnTo>
                    <a:lnTo>
                      <a:pt x="92" y="598"/>
                    </a:lnTo>
                    <a:lnTo>
                      <a:pt x="92" y="596"/>
                    </a:lnTo>
                    <a:lnTo>
                      <a:pt x="90" y="594"/>
                    </a:lnTo>
                    <a:lnTo>
                      <a:pt x="90" y="592"/>
                    </a:lnTo>
                    <a:lnTo>
                      <a:pt x="90" y="592"/>
                    </a:lnTo>
                    <a:lnTo>
                      <a:pt x="92" y="590"/>
                    </a:lnTo>
                    <a:lnTo>
                      <a:pt x="92" y="588"/>
                    </a:lnTo>
                    <a:lnTo>
                      <a:pt x="92" y="586"/>
                    </a:lnTo>
                    <a:lnTo>
                      <a:pt x="94" y="584"/>
                    </a:lnTo>
                    <a:lnTo>
                      <a:pt x="94" y="584"/>
                    </a:lnTo>
                    <a:lnTo>
                      <a:pt x="92" y="578"/>
                    </a:lnTo>
                    <a:lnTo>
                      <a:pt x="92" y="572"/>
                    </a:lnTo>
                    <a:lnTo>
                      <a:pt x="92" y="572"/>
                    </a:lnTo>
                    <a:lnTo>
                      <a:pt x="92" y="568"/>
                    </a:lnTo>
                    <a:lnTo>
                      <a:pt x="92" y="564"/>
                    </a:lnTo>
                    <a:lnTo>
                      <a:pt x="92" y="558"/>
                    </a:lnTo>
                    <a:lnTo>
                      <a:pt x="94" y="554"/>
                    </a:lnTo>
                    <a:lnTo>
                      <a:pt x="94" y="554"/>
                    </a:lnTo>
                    <a:lnTo>
                      <a:pt x="96" y="548"/>
                    </a:lnTo>
                    <a:lnTo>
                      <a:pt x="96" y="546"/>
                    </a:lnTo>
                    <a:lnTo>
                      <a:pt x="96" y="542"/>
                    </a:lnTo>
                    <a:lnTo>
                      <a:pt x="96" y="542"/>
                    </a:lnTo>
                    <a:lnTo>
                      <a:pt x="96" y="542"/>
                    </a:lnTo>
                    <a:lnTo>
                      <a:pt x="94" y="540"/>
                    </a:lnTo>
                    <a:lnTo>
                      <a:pt x="94" y="540"/>
                    </a:lnTo>
                    <a:lnTo>
                      <a:pt x="92" y="538"/>
                    </a:lnTo>
                    <a:lnTo>
                      <a:pt x="90" y="536"/>
                    </a:lnTo>
                    <a:lnTo>
                      <a:pt x="90" y="536"/>
                    </a:lnTo>
                    <a:lnTo>
                      <a:pt x="88" y="532"/>
                    </a:lnTo>
                    <a:lnTo>
                      <a:pt x="88" y="530"/>
                    </a:lnTo>
                    <a:lnTo>
                      <a:pt x="88" y="528"/>
                    </a:lnTo>
                    <a:lnTo>
                      <a:pt x="88" y="526"/>
                    </a:lnTo>
                    <a:lnTo>
                      <a:pt x="88" y="526"/>
                    </a:lnTo>
                    <a:lnTo>
                      <a:pt x="88" y="524"/>
                    </a:lnTo>
                    <a:lnTo>
                      <a:pt x="86" y="522"/>
                    </a:lnTo>
                    <a:lnTo>
                      <a:pt x="84" y="520"/>
                    </a:lnTo>
                    <a:lnTo>
                      <a:pt x="84" y="520"/>
                    </a:lnTo>
                    <a:lnTo>
                      <a:pt x="84" y="518"/>
                    </a:lnTo>
                    <a:lnTo>
                      <a:pt x="84" y="518"/>
                    </a:lnTo>
                    <a:lnTo>
                      <a:pt x="86" y="516"/>
                    </a:lnTo>
                    <a:lnTo>
                      <a:pt x="86" y="516"/>
                    </a:lnTo>
                    <a:lnTo>
                      <a:pt x="88" y="516"/>
                    </a:lnTo>
                    <a:lnTo>
                      <a:pt x="88" y="514"/>
                    </a:lnTo>
                    <a:lnTo>
                      <a:pt x="90" y="514"/>
                    </a:lnTo>
                    <a:lnTo>
                      <a:pt x="90" y="512"/>
                    </a:lnTo>
                    <a:lnTo>
                      <a:pt x="90" y="512"/>
                    </a:lnTo>
                    <a:lnTo>
                      <a:pt x="90" y="512"/>
                    </a:lnTo>
                    <a:lnTo>
                      <a:pt x="88" y="510"/>
                    </a:lnTo>
                    <a:lnTo>
                      <a:pt x="88" y="510"/>
                    </a:lnTo>
                    <a:lnTo>
                      <a:pt x="88" y="510"/>
                    </a:lnTo>
                    <a:lnTo>
                      <a:pt x="86" y="510"/>
                    </a:lnTo>
                    <a:lnTo>
                      <a:pt x="84" y="510"/>
                    </a:lnTo>
                    <a:lnTo>
                      <a:pt x="82" y="510"/>
                    </a:lnTo>
                    <a:lnTo>
                      <a:pt x="82" y="510"/>
                    </a:lnTo>
                    <a:lnTo>
                      <a:pt x="82" y="510"/>
                    </a:lnTo>
                    <a:lnTo>
                      <a:pt x="80" y="510"/>
                    </a:lnTo>
                    <a:lnTo>
                      <a:pt x="80" y="508"/>
                    </a:lnTo>
                    <a:lnTo>
                      <a:pt x="80" y="506"/>
                    </a:lnTo>
                    <a:lnTo>
                      <a:pt x="80" y="500"/>
                    </a:lnTo>
                    <a:lnTo>
                      <a:pt x="80" y="500"/>
                    </a:lnTo>
                    <a:lnTo>
                      <a:pt x="78" y="492"/>
                    </a:lnTo>
                    <a:lnTo>
                      <a:pt x="76" y="488"/>
                    </a:lnTo>
                    <a:lnTo>
                      <a:pt x="76" y="484"/>
                    </a:lnTo>
                    <a:lnTo>
                      <a:pt x="76" y="484"/>
                    </a:lnTo>
                    <a:lnTo>
                      <a:pt x="74" y="480"/>
                    </a:lnTo>
                    <a:lnTo>
                      <a:pt x="72" y="476"/>
                    </a:lnTo>
                    <a:lnTo>
                      <a:pt x="70" y="470"/>
                    </a:lnTo>
                    <a:lnTo>
                      <a:pt x="68" y="468"/>
                    </a:lnTo>
                    <a:lnTo>
                      <a:pt x="68" y="468"/>
                    </a:lnTo>
                    <a:lnTo>
                      <a:pt x="68" y="462"/>
                    </a:lnTo>
                    <a:lnTo>
                      <a:pt x="68" y="456"/>
                    </a:lnTo>
                    <a:lnTo>
                      <a:pt x="66" y="452"/>
                    </a:lnTo>
                    <a:lnTo>
                      <a:pt x="66" y="448"/>
                    </a:lnTo>
                    <a:lnTo>
                      <a:pt x="66" y="446"/>
                    </a:lnTo>
                    <a:lnTo>
                      <a:pt x="66" y="446"/>
                    </a:lnTo>
                    <a:lnTo>
                      <a:pt x="64" y="444"/>
                    </a:lnTo>
                    <a:lnTo>
                      <a:pt x="64" y="444"/>
                    </a:lnTo>
                    <a:lnTo>
                      <a:pt x="60" y="440"/>
                    </a:lnTo>
                    <a:lnTo>
                      <a:pt x="60" y="440"/>
                    </a:lnTo>
                    <a:lnTo>
                      <a:pt x="60" y="438"/>
                    </a:lnTo>
                    <a:lnTo>
                      <a:pt x="58" y="434"/>
                    </a:lnTo>
                    <a:lnTo>
                      <a:pt x="58" y="430"/>
                    </a:lnTo>
                    <a:lnTo>
                      <a:pt x="58" y="430"/>
                    </a:lnTo>
                    <a:lnTo>
                      <a:pt x="58" y="426"/>
                    </a:lnTo>
                    <a:lnTo>
                      <a:pt x="58" y="424"/>
                    </a:lnTo>
                    <a:lnTo>
                      <a:pt x="60" y="420"/>
                    </a:lnTo>
                    <a:lnTo>
                      <a:pt x="60" y="414"/>
                    </a:lnTo>
                    <a:lnTo>
                      <a:pt x="60" y="412"/>
                    </a:lnTo>
                    <a:lnTo>
                      <a:pt x="60" y="410"/>
                    </a:lnTo>
                    <a:lnTo>
                      <a:pt x="60" y="410"/>
                    </a:lnTo>
                    <a:lnTo>
                      <a:pt x="60" y="406"/>
                    </a:lnTo>
                    <a:lnTo>
                      <a:pt x="58" y="404"/>
                    </a:lnTo>
                    <a:lnTo>
                      <a:pt x="56" y="400"/>
                    </a:lnTo>
                    <a:lnTo>
                      <a:pt x="56" y="398"/>
                    </a:lnTo>
                    <a:lnTo>
                      <a:pt x="54" y="396"/>
                    </a:lnTo>
                    <a:lnTo>
                      <a:pt x="56" y="394"/>
                    </a:lnTo>
                    <a:lnTo>
                      <a:pt x="56" y="392"/>
                    </a:lnTo>
                    <a:lnTo>
                      <a:pt x="56" y="392"/>
                    </a:lnTo>
                    <a:lnTo>
                      <a:pt x="56" y="392"/>
                    </a:lnTo>
                    <a:lnTo>
                      <a:pt x="58" y="390"/>
                    </a:lnTo>
                    <a:lnTo>
                      <a:pt x="60" y="388"/>
                    </a:lnTo>
                    <a:lnTo>
                      <a:pt x="62" y="388"/>
                    </a:lnTo>
                    <a:lnTo>
                      <a:pt x="64" y="386"/>
                    </a:lnTo>
                    <a:lnTo>
                      <a:pt x="64" y="386"/>
                    </a:lnTo>
                    <a:lnTo>
                      <a:pt x="64" y="386"/>
                    </a:lnTo>
                    <a:lnTo>
                      <a:pt x="64" y="384"/>
                    </a:lnTo>
                    <a:lnTo>
                      <a:pt x="64" y="380"/>
                    </a:lnTo>
                    <a:lnTo>
                      <a:pt x="64" y="378"/>
                    </a:lnTo>
                    <a:lnTo>
                      <a:pt x="62" y="376"/>
                    </a:lnTo>
                    <a:lnTo>
                      <a:pt x="62" y="376"/>
                    </a:lnTo>
                    <a:lnTo>
                      <a:pt x="62" y="374"/>
                    </a:lnTo>
                    <a:lnTo>
                      <a:pt x="60" y="372"/>
                    </a:lnTo>
                    <a:lnTo>
                      <a:pt x="56" y="368"/>
                    </a:lnTo>
                    <a:lnTo>
                      <a:pt x="56" y="366"/>
                    </a:lnTo>
                    <a:lnTo>
                      <a:pt x="54" y="364"/>
                    </a:lnTo>
                    <a:lnTo>
                      <a:pt x="54" y="362"/>
                    </a:lnTo>
                    <a:lnTo>
                      <a:pt x="54" y="360"/>
                    </a:lnTo>
                    <a:lnTo>
                      <a:pt x="54" y="360"/>
                    </a:lnTo>
                    <a:lnTo>
                      <a:pt x="54" y="356"/>
                    </a:lnTo>
                    <a:lnTo>
                      <a:pt x="54" y="354"/>
                    </a:lnTo>
                    <a:lnTo>
                      <a:pt x="56" y="350"/>
                    </a:lnTo>
                    <a:lnTo>
                      <a:pt x="58" y="346"/>
                    </a:lnTo>
                    <a:lnTo>
                      <a:pt x="58" y="342"/>
                    </a:lnTo>
                    <a:lnTo>
                      <a:pt x="58" y="340"/>
                    </a:lnTo>
                    <a:lnTo>
                      <a:pt x="58" y="340"/>
                    </a:lnTo>
                    <a:lnTo>
                      <a:pt x="58" y="338"/>
                    </a:lnTo>
                    <a:lnTo>
                      <a:pt x="58" y="336"/>
                    </a:lnTo>
                    <a:lnTo>
                      <a:pt x="56" y="332"/>
                    </a:lnTo>
                    <a:lnTo>
                      <a:pt x="56" y="330"/>
                    </a:lnTo>
                    <a:lnTo>
                      <a:pt x="56" y="330"/>
                    </a:lnTo>
                    <a:lnTo>
                      <a:pt x="56" y="326"/>
                    </a:lnTo>
                    <a:lnTo>
                      <a:pt x="56" y="326"/>
                    </a:lnTo>
                    <a:lnTo>
                      <a:pt x="56" y="322"/>
                    </a:lnTo>
                    <a:lnTo>
                      <a:pt x="58" y="320"/>
                    </a:lnTo>
                    <a:lnTo>
                      <a:pt x="58" y="320"/>
                    </a:lnTo>
                    <a:lnTo>
                      <a:pt x="58" y="318"/>
                    </a:lnTo>
                    <a:lnTo>
                      <a:pt x="60" y="316"/>
                    </a:lnTo>
                    <a:lnTo>
                      <a:pt x="62" y="312"/>
                    </a:lnTo>
                    <a:lnTo>
                      <a:pt x="62" y="310"/>
                    </a:lnTo>
                    <a:lnTo>
                      <a:pt x="62" y="308"/>
                    </a:lnTo>
                    <a:lnTo>
                      <a:pt x="62" y="304"/>
                    </a:lnTo>
                    <a:lnTo>
                      <a:pt x="62" y="302"/>
                    </a:lnTo>
                    <a:lnTo>
                      <a:pt x="62" y="302"/>
                    </a:lnTo>
                    <a:lnTo>
                      <a:pt x="60" y="302"/>
                    </a:lnTo>
                    <a:lnTo>
                      <a:pt x="58" y="300"/>
                    </a:lnTo>
                    <a:lnTo>
                      <a:pt x="58" y="298"/>
                    </a:lnTo>
                    <a:lnTo>
                      <a:pt x="58" y="294"/>
                    </a:lnTo>
                    <a:lnTo>
                      <a:pt x="58" y="294"/>
                    </a:lnTo>
                    <a:lnTo>
                      <a:pt x="58" y="292"/>
                    </a:lnTo>
                    <a:lnTo>
                      <a:pt x="58" y="290"/>
                    </a:lnTo>
                    <a:lnTo>
                      <a:pt x="60" y="288"/>
                    </a:lnTo>
                    <a:lnTo>
                      <a:pt x="60" y="284"/>
                    </a:lnTo>
                    <a:lnTo>
                      <a:pt x="60" y="284"/>
                    </a:lnTo>
                    <a:lnTo>
                      <a:pt x="58" y="284"/>
                    </a:lnTo>
                    <a:lnTo>
                      <a:pt x="58" y="282"/>
                    </a:lnTo>
                    <a:lnTo>
                      <a:pt x="56" y="280"/>
                    </a:lnTo>
                    <a:lnTo>
                      <a:pt x="54" y="278"/>
                    </a:lnTo>
                    <a:lnTo>
                      <a:pt x="52" y="278"/>
                    </a:lnTo>
                    <a:lnTo>
                      <a:pt x="52" y="278"/>
                    </a:lnTo>
                    <a:lnTo>
                      <a:pt x="52" y="274"/>
                    </a:lnTo>
                    <a:lnTo>
                      <a:pt x="50" y="272"/>
                    </a:lnTo>
                    <a:lnTo>
                      <a:pt x="50" y="266"/>
                    </a:lnTo>
                    <a:lnTo>
                      <a:pt x="50" y="266"/>
                    </a:lnTo>
                    <a:lnTo>
                      <a:pt x="48" y="260"/>
                    </a:lnTo>
                    <a:lnTo>
                      <a:pt x="46" y="256"/>
                    </a:lnTo>
                    <a:lnTo>
                      <a:pt x="46" y="256"/>
                    </a:lnTo>
                    <a:lnTo>
                      <a:pt x="44" y="252"/>
                    </a:lnTo>
                    <a:lnTo>
                      <a:pt x="44" y="250"/>
                    </a:lnTo>
                    <a:lnTo>
                      <a:pt x="40" y="248"/>
                    </a:lnTo>
                    <a:lnTo>
                      <a:pt x="40" y="248"/>
                    </a:lnTo>
                    <a:lnTo>
                      <a:pt x="40" y="242"/>
                    </a:lnTo>
                    <a:lnTo>
                      <a:pt x="40" y="238"/>
                    </a:lnTo>
                    <a:lnTo>
                      <a:pt x="40" y="228"/>
                    </a:lnTo>
                    <a:lnTo>
                      <a:pt x="40" y="228"/>
                    </a:lnTo>
                    <a:lnTo>
                      <a:pt x="40" y="216"/>
                    </a:lnTo>
                    <a:lnTo>
                      <a:pt x="44" y="206"/>
                    </a:lnTo>
                    <a:lnTo>
                      <a:pt x="46" y="202"/>
                    </a:lnTo>
                    <a:lnTo>
                      <a:pt x="46" y="196"/>
                    </a:lnTo>
                    <a:lnTo>
                      <a:pt x="48" y="192"/>
                    </a:lnTo>
                    <a:lnTo>
                      <a:pt x="50" y="186"/>
                    </a:lnTo>
                    <a:lnTo>
                      <a:pt x="50" y="186"/>
                    </a:lnTo>
                    <a:lnTo>
                      <a:pt x="54" y="178"/>
                    </a:lnTo>
                    <a:lnTo>
                      <a:pt x="56" y="172"/>
                    </a:lnTo>
                    <a:lnTo>
                      <a:pt x="56" y="168"/>
                    </a:lnTo>
                    <a:lnTo>
                      <a:pt x="58" y="162"/>
                    </a:lnTo>
                    <a:lnTo>
                      <a:pt x="58" y="160"/>
                    </a:lnTo>
                    <a:lnTo>
                      <a:pt x="58" y="154"/>
                    </a:lnTo>
                    <a:lnTo>
                      <a:pt x="58" y="152"/>
                    </a:lnTo>
                    <a:lnTo>
                      <a:pt x="56" y="150"/>
                    </a:lnTo>
                    <a:lnTo>
                      <a:pt x="56" y="150"/>
                    </a:lnTo>
                    <a:lnTo>
                      <a:pt x="54" y="144"/>
                    </a:lnTo>
                    <a:lnTo>
                      <a:pt x="52" y="140"/>
                    </a:lnTo>
                    <a:lnTo>
                      <a:pt x="52" y="138"/>
                    </a:lnTo>
                    <a:lnTo>
                      <a:pt x="52" y="136"/>
                    </a:lnTo>
                    <a:lnTo>
                      <a:pt x="52" y="134"/>
                    </a:lnTo>
                    <a:lnTo>
                      <a:pt x="52" y="132"/>
                    </a:lnTo>
                    <a:lnTo>
                      <a:pt x="52" y="132"/>
                    </a:lnTo>
                    <a:lnTo>
                      <a:pt x="52" y="128"/>
                    </a:lnTo>
                    <a:lnTo>
                      <a:pt x="54" y="126"/>
                    </a:lnTo>
                    <a:lnTo>
                      <a:pt x="56" y="124"/>
                    </a:lnTo>
                    <a:lnTo>
                      <a:pt x="58" y="122"/>
                    </a:lnTo>
                    <a:lnTo>
                      <a:pt x="62" y="120"/>
                    </a:lnTo>
                    <a:lnTo>
                      <a:pt x="66" y="116"/>
                    </a:lnTo>
                    <a:lnTo>
                      <a:pt x="66" y="116"/>
                    </a:lnTo>
                    <a:lnTo>
                      <a:pt x="68" y="114"/>
                    </a:lnTo>
                    <a:lnTo>
                      <a:pt x="68" y="112"/>
                    </a:lnTo>
                    <a:lnTo>
                      <a:pt x="70" y="110"/>
                    </a:lnTo>
                    <a:lnTo>
                      <a:pt x="70" y="108"/>
                    </a:lnTo>
                    <a:lnTo>
                      <a:pt x="72" y="106"/>
                    </a:lnTo>
                    <a:lnTo>
                      <a:pt x="72" y="104"/>
                    </a:lnTo>
                    <a:lnTo>
                      <a:pt x="70" y="102"/>
                    </a:lnTo>
                    <a:lnTo>
                      <a:pt x="70" y="100"/>
                    </a:lnTo>
                    <a:lnTo>
                      <a:pt x="70" y="100"/>
                    </a:lnTo>
                    <a:lnTo>
                      <a:pt x="68" y="98"/>
                    </a:lnTo>
                    <a:lnTo>
                      <a:pt x="66" y="96"/>
                    </a:lnTo>
                    <a:lnTo>
                      <a:pt x="64" y="94"/>
                    </a:lnTo>
                    <a:lnTo>
                      <a:pt x="62" y="94"/>
                    </a:lnTo>
                    <a:lnTo>
                      <a:pt x="58" y="92"/>
                    </a:lnTo>
                    <a:lnTo>
                      <a:pt x="56" y="92"/>
                    </a:lnTo>
                    <a:lnTo>
                      <a:pt x="54" y="90"/>
                    </a:lnTo>
                    <a:lnTo>
                      <a:pt x="54" y="90"/>
                    </a:lnTo>
                    <a:lnTo>
                      <a:pt x="52" y="90"/>
                    </a:lnTo>
                    <a:lnTo>
                      <a:pt x="50" y="88"/>
                    </a:lnTo>
                    <a:lnTo>
                      <a:pt x="50" y="86"/>
                    </a:lnTo>
                    <a:lnTo>
                      <a:pt x="50" y="84"/>
                    </a:lnTo>
                    <a:lnTo>
                      <a:pt x="48" y="78"/>
                    </a:lnTo>
                    <a:lnTo>
                      <a:pt x="46" y="74"/>
                    </a:lnTo>
                    <a:lnTo>
                      <a:pt x="46" y="74"/>
                    </a:lnTo>
                    <a:lnTo>
                      <a:pt x="44" y="70"/>
                    </a:lnTo>
                    <a:lnTo>
                      <a:pt x="40" y="66"/>
                    </a:lnTo>
                    <a:lnTo>
                      <a:pt x="38" y="64"/>
                    </a:lnTo>
                    <a:lnTo>
                      <a:pt x="36" y="62"/>
                    </a:lnTo>
                    <a:lnTo>
                      <a:pt x="36" y="58"/>
                    </a:lnTo>
                    <a:lnTo>
                      <a:pt x="36" y="58"/>
                    </a:lnTo>
                    <a:lnTo>
                      <a:pt x="34" y="54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30" y="44"/>
                    </a:lnTo>
                    <a:lnTo>
                      <a:pt x="30" y="42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30" y="38"/>
                    </a:lnTo>
                    <a:lnTo>
                      <a:pt x="30" y="36"/>
                    </a:lnTo>
                    <a:lnTo>
                      <a:pt x="32" y="32"/>
                    </a:lnTo>
                    <a:lnTo>
                      <a:pt x="32" y="30"/>
                    </a:lnTo>
                    <a:lnTo>
                      <a:pt x="32" y="28"/>
                    </a:lnTo>
                    <a:lnTo>
                      <a:pt x="30" y="26"/>
                    </a:lnTo>
                    <a:lnTo>
                      <a:pt x="28" y="24"/>
                    </a:lnTo>
                    <a:lnTo>
                      <a:pt x="28" y="24"/>
                    </a:lnTo>
                    <a:lnTo>
                      <a:pt x="24" y="22"/>
                    </a:lnTo>
                    <a:lnTo>
                      <a:pt x="24" y="20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6"/>
                    </a:lnTo>
                    <a:lnTo>
                      <a:pt x="24" y="14"/>
                    </a:lnTo>
                    <a:lnTo>
                      <a:pt x="24" y="12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6"/>
                    </a:lnTo>
                    <a:lnTo>
                      <a:pt x="20" y="4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4" y="4"/>
                    </a:lnTo>
                    <a:lnTo>
                      <a:pt x="10" y="8"/>
                    </a:lnTo>
                    <a:lnTo>
                      <a:pt x="8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4" y="20"/>
                    </a:lnTo>
                    <a:lnTo>
                      <a:pt x="4" y="24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30"/>
                    </a:lnTo>
                    <a:lnTo>
                      <a:pt x="4" y="34"/>
                    </a:lnTo>
                    <a:lnTo>
                      <a:pt x="6" y="38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8" y="42"/>
                    </a:lnTo>
                    <a:lnTo>
                      <a:pt x="10" y="46"/>
                    </a:lnTo>
                    <a:lnTo>
                      <a:pt x="10" y="48"/>
                    </a:lnTo>
                    <a:lnTo>
                      <a:pt x="10" y="50"/>
                    </a:lnTo>
                    <a:lnTo>
                      <a:pt x="12" y="58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6"/>
                    </a:lnTo>
                    <a:lnTo>
                      <a:pt x="14" y="68"/>
                    </a:lnTo>
                    <a:lnTo>
                      <a:pt x="14" y="68"/>
                    </a:lnTo>
                    <a:lnTo>
                      <a:pt x="14" y="70"/>
                    </a:lnTo>
                    <a:lnTo>
                      <a:pt x="14" y="74"/>
                    </a:lnTo>
                    <a:lnTo>
                      <a:pt x="14" y="80"/>
                    </a:lnTo>
                    <a:lnTo>
                      <a:pt x="14" y="80"/>
                    </a:lnTo>
                    <a:lnTo>
                      <a:pt x="14" y="82"/>
                    </a:lnTo>
                    <a:lnTo>
                      <a:pt x="14" y="86"/>
                    </a:lnTo>
                    <a:lnTo>
                      <a:pt x="14" y="88"/>
                    </a:lnTo>
                    <a:lnTo>
                      <a:pt x="14" y="90"/>
                    </a:lnTo>
                    <a:lnTo>
                      <a:pt x="14" y="90"/>
                    </a:lnTo>
                    <a:lnTo>
                      <a:pt x="12" y="94"/>
                    </a:lnTo>
                    <a:lnTo>
                      <a:pt x="12" y="96"/>
                    </a:lnTo>
                    <a:lnTo>
                      <a:pt x="10" y="100"/>
                    </a:lnTo>
                    <a:lnTo>
                      <a:pt x="10" y="102"/>
                    </a:lnTo>
                    <a:lnTo>
                      <a:pt x="12" y="106"/>
                    </a:lnTo>
                    <a:lnTo>
                      <a:pt x="12" y="108"/>
                    </a:lnTo>
                    <a:lnTo>
                      <a:pt x="12" y="112"/>
                    </a:lnTo>
                    <a:lnTo>
                      <a:pt x="14" y="114"/>
                    </a:lnTo>
                    <a:lnTo>
                      <a:pt x="14" y="114"/>
                    </a:lnTo>
                    <a:lnTo>
                      <a:pt x="14" y="116"/>
                    </a:lnTo>
                    <a:lnTo>
                      <a:pt x="16" y="120"/>
                    </a:lnTo>
                    <a:lnTo>
                      <a:pt x="16" y="122"/>
                    </a:lnTo>
                    <a:lnTo>
                      <a:pt x="16" y="126"/>
                    </a:lnTo>
                    <a:lnTo>
                      <a:pt x="16" y="126"/>
                    </a:lnTo>
                    <a:lnTo>
                      <a:pt x="16" y="128"/>
                    </a:lnTo>
                    <a:lnTo>
                      <a:pt x="16" y="132"/>
                    </a:lnTo>
                    <a:lnTo>
                      <a:pt x="16" y="134"/>
                    </a:lnTo>
                    <a:lnTo>
                      <a:pt x="16" y="136"/>
                    </a:lnTo>
                    <a:lnTo>
                      <a:pt x="14" y="136"/>
                    </a:lnTo>
                    <a:lnTo>
                      <a:pt x="14" y="136"/>
                    </a:lnTo>
                    <a:lnTo>
                      <a:pt x="12" y="138"/>
                    </a:lnTo>
                    <a:lnTo>
                      <a:pt x="12" y="140"/>
                    </a:lnTo>
                    <a:lnTo>
                      <a:pt x="10" y="142"/>
                    </a:lnTo>
                    <a:lnTo>
                      <a:pt x="10" y="142"/>
                    </a:lnTo>
                    <a:lnTo>
                      <a:pt x="10" y="144"/>
                    </a:lnTo>
                    <a:lnTo>
                      <a:pt x="12" y="146"/>
                    </a:lnTo>
                    <a:lnTo>
                      <a:pt x="12" y="146"/>
                    </a:lnTo>
                    <a:lnTo>
                      <a:pt x="12" y="150"/>
                    </a:lnTo>
                    <a:lnTo>
                      <a:pt x="14" y="154"/>
                    </a:lnTo>
                    <a:lnTo>
                      <a:pt x="16" y="158"/>
                    </a:lnTo>
                    <a:lnTo>
                      <a:pt x="18" y="162"/>
                    </a:lnTo>
                    <a:lnTo>
                      <a:pt x="18" y="162"/>
                    </a:lnTo>
                    <a:lnTo>
                      <a:pt x="20" y="166"/>
                    </a:lnTo>
                    <a:lnTo>
                      <a:pt x="20" y="168"/>
                    </a:lnTo>
                    <a:lnTo>
                      <a:pt x="20" y="172"/>
                    </a:lnTo>
                    <a:lnTo>
                      <a:pt x="20" y="172"/>
                    </a:lnTo>
                    <a:lnTo>
                      <a:pt x="20" y="174"/>
                    </a:lnTo>
                    <a:lnTo>
                      <a:pt x="20" y="176"/>
                    </a:lnTo>
                    <a:lnTo>
                      <a:pt x="18" y="178"/>
                    </a:lnTo>
                    <a:lnTo>
                      <a:pt x="16" y="180"/>
                    </a:lnTo>
                    <a:lnTo>
                      <a:pt x="16" y="180"/>
                    </a:lnTo>
                    <a:lnTo>
                      <a:pt x="16" y="180"/>
                    </a:lnTo>
                    <a:lnTo>
                      <a:pt x="16" y="182"/>
                    </a:lnTo>
                    <a:lnTo>
                      <a:pt x="16" y="184"/>
                    </a:lnTo>
                    <a:lnTo>
                      <a:pt x="16" y="190"/>
                    </a:lnTo>
                    <a:lnTo>
                      <a:pt x="16" y="190"/>
                    </a:lnTo>
                    <a:lnTo>
                      <a:pt x="16" y="192"/>
                    </a:lnTo>
                    <a:lnTo>
                      <a:pt x="16" y="194"/>
                    </a:lnTo>
                    <a:lnTo>
                      <a:pt x="16" y="194"/>
                    </a:lnTo>
                    <a:lnTo>
                      <a:pt x="16" y="198"/>
                    </a:lnTo>
                    <a:lnTo>
                      <a:pt x="16" y="200"/>
                    </a:lnTo>
                    <a:lnTo>
                      <a:pt x="16" y="202"/>
                    </a:lnTo>
                    <a:lnTo>
                      <a:pt x="16" y="202"/>
                    </a:lnTo>
                    <a:lnTo>
                      <a:pt x="14" y="206"/>
                    </a:lnTo>
                    <a:lnTo>
                      <a:pt x="14" y="206"/>
                    </a:lnTo>
                    <a:lnTo>
                      <a:pt x="12" y="208"/>
                    </a:lnTo>
                    <a:lnTo>
                      <a:pt x="12" y="208"/>
                    </a:lnTo>
                    <a:lnTo>
                      <a:pt x="14" y="210"/>
                    </a:lnTo>
                    <a:lnTo>
                      <a:pt x="14" y="214"/>
                    </a:lnTo>
                    <a:lnTo>
                      <a:pt x="16" y="216"/>
                    </a:lnTo>
                    <a:lnTo>
                      <a:pt x="18" y="218"/>
                    </a:lnTo>
                    <a:lnTo>
                      <a:pt x="18" y="218"/>
                    </a:lnTo>
                    <a:lnTo>
                      <a:pt x="20" y="220"/>
                    </a:lnTo>
                    <a:lnTo>
                      <a:pt x="20" y="222"/>
                    </a:lnTo>
                    <a:lnTo>
                      <a:pt x="20" y="222"/>
                    </a:lnTo>
                    <a:lnTo>
                      <a:pt x="20" y="222"/>
                    </a:lnTo>
                    <a:lnTo>
                      <a:pt x="20" y="224"/>
                    </a:lnTo>
                    <a:lnTo>
                      <a:pt x="20" y="226"/>
                    </a:lnTo>
                    <a:lnTo>
                      <a:pt x="18" y="228"/>
                    </a:lnTo>
                    <a:lnTo>
                      <a:pt x="18" y="228"/>
                    </a:lnTo>
                    <a:lnTo>
                      <a:pt x="18" y="230"/>
                    </a:lnTo>
                    <a:lnTo>
                      <a:pt x="18" y="234"/>
                    </a:lnTo>
                    <a:lnTo>
                      <a:pt x="18" y="236"/>
                    </a:lnTo>
                    <a:lnTo>
                      <a:pt x="18" y="240"/>
                    </a:lnTo>
                    <a:lnTo>
                      <a:pt x="18" y="240"/>
                    </a:lnTo>
                    <a:lnTo>
                      <a:pt x="20" y="246"/>
                    </a:lnTo>
                    <a:lnTo>
                      <a:pt x="22" y="252"/>
                    </a:lnTo>
                    <a:lnTo>
                      <a:pt x="22" y="252"/>
                    </a:lnTo>
                    <a:lnTo>
                      <a:pt x="22" y="254"/>
                    </a:lnTo>
                    <a:lnTo>
                      <a:pt x="22" y="258"/>
                    </a:lnTo>
                    <a:lnTo>
                      <a:pt x="24" y="264"/>
                    </a:lnTo>
                    <a:lnTo>
                      <a:pt x="24" y="264"/>
                    </a:lnTo>
                    <a:lnTo>
                      <a:pt x="26" y="268"/>
                    </a:lnTo>
                    <a:lnTo>
                      <a:pt x="26" y="272"/>
                    </a:lnTo>
                    <a:lnTo>
                      <a:pt x="26" y="272"/>
                    </a:lnTo>
                    <a:lnTo>
                      <a:pt x="26" y="276"/>
                    </a:lnTo>
                    <a:lnTo>
                      <a:pt x="26" y="278"/>
                    </a:lnTo>
                    <a:lnTo>
                      <a:pt x="26" y="278"/>
                    </a:lnTo>
                    <a:lnTo>
                      <a:pt x="26" y="278"/>
                    </a:lnTo>
                    <a:lnTo>
                      <a:pt x="26" y="280"/>
                    </a:lnTo>
                    <a:lnTo>
                      <a:pt x="24" y="280"/>
                    </a:lnTo>
                    <a:lnTo>
                      <a:pt x="24" y="282"/>
                    </a:lnTo>
                    <a:lnTo>
                      <a:pt x="24" y="282"/>
                    </a:lnTo>
                    <a:lnTo>
                      <a:pt x="24" y="282"/>
                    </a:lnTo>
                    <a:lnTo>
                      <a:pt x="24" y="284"/>
                    </a:lnTo>
                    <a:lnTo>
                      <a:pt x="26" y="286"/>
                    </a:lnTo>
                    <a:lnTo>
                      <a:pt x="26" y="288"/>
                    </a:lnTo>
                    <a:lnTo>
                      <a:pt x="26" y="288"/>
                    </a:lnTo>
                    <a:lnTo>
                      <a:pt x="28" y="290"/>
                    </a:lnTo>
                    <a:lnTo>
                      <a:pt x="28" y="292"/>
                    </a:lnTo>
                    <a:lnTo>
                      <a:pt x="28" y="292"/>
                    </a:lnTo>
                    <a:lnTo>
                      <a:pt x="28" y="292"/>
                    </a:lnTo>
                    <a:lnTo>
                      <a:pt x="26" y="294"/>
                    </a:lnTo>
                    <a:lnTo>
                      <a:pt x="26" y="294"/>
                    </a:lnTo>
                    <a:lnTo>
                      <a:pt x="24" y="296"/>
                    </a:lnTo>
                    <a:lnTo>
                      <a:pt x="24" y="296"/>
                    </a:lnTo>
                    <a:lnTo>
                      <a:pt x="24" y="298"/>
                    </a:lnTo>
                    <a:lnTo>
                      <a:pt x="22" y="300"/>
                    </a:lnTo>
                    <a:lnTo>
                      <a:pt x="22" y="302"/>
                    </a:lnTo>
                    <a:lnTo>
                      <a:pt x="22" y="302"/>
                    </a:lnTo>
                    <a:lnTo>
                      <a:pt x="22" y="302"/>
                    </a:lnTo>
                    <a:lnTo>
                      <a:pt x="22" y="304"/>
                    </a:lnTo>
                    <a:lnTo>
                      <a:pt x="24" y="306"/>
                    </a:lnTo>
                    <a:lnTo>
                      <a:pt x="24" y="306"/>
                    </a:lnTo>
                    <a:lnTo>
                      <a:pt x="24" y="308"/>
                    </a:lnTo>
                    <a:lnTo>
                      <a:pt x="26" y="312"/>
                    </a:lnTo>
                    <a:lnTo>
                      <a:pt x="26" y="314"/>
                    </a:lnTo>
                    <a:lnTo>
                      <a:pt x="26" y="316"/>
                    </a:lnTo>
                    <a:lnTo>
                      <a:pt x="26" y="316"/>
                    </a:lnTo>
                    <a:lnTo>
                      <a:pt x="24" y="318"/>
                    </a:lnTo>
                    <a:lnTo>
                      <a:pt x="24" y="320"/>
                    </a:lnTo>
                    <a:lnTo>
                      <a:pt x="24" y="322"/>
                    </a:lnTo>
                    <a:lnTo>
                      <a:pt x="24" y="324"/>
                    </a:lnTo>
                    <a:lnTo>
                      <a:pt x="24" y="324"/>
                    </a:lnTo>
                    <a:lnTo>
                      <a:pt x="22" y="326"/>
                    </a:lnTo>
                    <a:lnTo>
                      <a:pt x="22" y="328"/>
                    </a:lnTo>
                    <a:lnTo>
                      <a:pt x="22" y="330"/>
                    </a:lnTo>
                    <a:lnTo>
                      <a:pt x="22" y="330"/>
                    </a:lnTo>
                    <a:lnTo>
                      <a:pt x="20" y="334"/>
                    </a:lnTo>
                    <a:lnTo>
                      <a:pt x="20" y="338"/>
                    </a:lnTo>
                    <a:lnTo>
                      <a:pt x="20" y="338"/>
                    </a:lnTo>
                    <a:lnTo>
                      <a:pt x="20" y="340"/>
                    </a:lnTo>
                    <a:lnTo>
                      <a:pt x="20" y="342"/>
                    </a:lnTo>
                    <a:lnTo>
                      <a:pt x="20" y="342"/>
                    </a:lnTo>
                    <a:lnTo>
                      <a:pt x="20" y="342"/>
                    </a:lnTo>
                    <a:lnTo>
                      <a:pt x="22" y="346"/>
                    </a:lnTo>
                    <a:lnTo>
                      <a:pt x="22" y="346"/>
                    </a:lnTo>
                    <a:lnTo>
                      <a:pt x="22" y="348"/>
                    </a:lnTo>
                    <a:lnTo>
                      <a:pt x="22" y="348"/>
                    </a:lnTo>
                    <a:lnTo>
                      <a:pt x="20" y="350"/>
                    </a:lnTo>
                    <a:lnTo>
                      <a:pt x="20" y="352"/>
                    </a:lnTo>
                    <a:lnTo>
                      <a:pt x="20" y="352"/>
                    </a:lnTo>
                    <a:lnTo>
                      <a:pt x="20" y="352"/>
                    </a:lnTo>
                    <a:lnTo>
                      <a:pt x="20" y="354"/>
                    </a:lnTo>
                    <a:lnTo>
                      <a:pt x="20" y="356"/>
                    </a:lnTo>
                    <a:lnTo>
                      <a:pt x="20" y="358"/>
                    </a:lnTo>
                    <a:lnTo>
                      <a:pt x="20" y="358"/>
                    </a:lnTo>
                    <a:lnTo>
                      <a:pt x="20" y="358"/>
                    </a:lnTo>
                    <a:lnTo>
                      <a:pt x="20" y="358"/>
                    </a:lnTo>
                    <a:lnTo>
                      <a:pt x="20" y="360"/>
                    </a:lnTo>
                    <a:lnTo>
                      <a:pt x="18" y="360"/>
                    </a:lnTo>
                    <a:lnTo>
                      <a:pt x="16" y="358"/>
                    </a:lnTo>
                    <a:lnTo>
                      <a:pt x="16" y="360"/>
                    </a:lnTo>
                    <a:lnTo>
                      <a:pt x="14" y="360"/>
                    </a:lnTo>
                    <a:lnTo>
                      <a:pt x="14" y="360"/>
                    </a:lnTo>
                    <a:lnTo>
                      <a:pt x="14" y="360"/>
                    </a:lnTo>
                    <a:lnTo>
                      <a:pt x="14" y="362"/>
                    </a:lnTo>
                    <a:lnTo>
                      <a:pt x="14" y="364"/>
                    </a:lnTo>
                    <a:lnTo>
                      <a:pt x="14" y="364"/>
                    </a:lnTo>
                    <a:lnTo>
                      <a:pt x="14" y="370"/>
                    </a:lnTo>
                    <a:lnTo>
                      <a:pt x="14" y="374"/>
                    </a:lnTo>
                    <a:lnTo>
                      <a:pt x="16" y="374"/>
                    </a:lnTo>
                    <a:lnTo>
                      <a:pt x="16" y="374"/>
                    </a:lnTo>
                    <a:lnTo>
                      <a:pt x="18" y="380"/>
                    </a:lnTo>
                    <a:lnTo>
                      <a:pt x="18" y="380"/>
                    </a:lnTo>
                    <a:lnTo>
                      <a:pt x="20" y="380"/>
                    </a:lnTo>
                    <a:lnTo>
                      <a:pt x="20" y="382"/>
                    </a:lnTo>
                    <a:lnTo>
                      <a:pt x="20" y="382"/>
                    </a:lnTo>
                    <a:lnTo>
                      <a:pt x="20" y="384"/>
                    </a:lnTo>
                    <a:lnTo>
                      <a:pt x="20" y="384"/>
                    </a:lnTo>
                    <a:lnTo>
                      <a:pt x="20" y="386"/>
                    </a:lnTo>
                    <a:lnTo>
                      <a:pt x="20" y="388"/>
                    </a:lnTo>
                    <a:lnTo>
                      <a:pt x="20" y="390"/>
                    </a:lnTo>
                    <a:lnTo>
                      <a:pt x="20" y="392"/>
                    </a:lnTo>
                    <a:lnTo>
                      <a:pt x="22" y="396"/>
                    </a:lnTo>
                    <a:lnTo>
                      <a:pt x="22" y="398"/>
                    </a:lnTo>
                    <a:lnTo>
                      <a:pt x="24" y="400"/>
                    </a:lnTo>
                    <a:lnTo>
                      <a:pt x="24" y="400"/>
                    </a:lnTo>
                    <a:lnTo>
                      <a:pt x="26" y="400"/>
                    </a:lnTo>
                    <a:lnTo>
                      <a:pt x="26" y="402"/>
                    </a:lnTo>
                    <a:lnTo>
                      <a:pt x="28" y="404"/>
                    </a:lnTo>
                    <a:lnTo>
                      <a:pt x="28" y="406"/>
                    </a:lnTo>
                    <a:lnTo>
                      <a:pt x="28" y="408"/>
                    </a:lnTo>
                    <a:lnTo>
                      <a:pt x="26" y="410"/>
                    </a:lnTo>
                    <a:lnTo>
                      <a:pt x="24" y="414"/>
                    </a:lnTo>
                    <a:lnTo>
                      <a:pt x="24" y="414"/>
                    </a:lnTo>
                    <a:lnTo>
                      <a:pt x="24" y="416"/>
                    </a:lnTo>
                    <a:lnTo>
                      <a:pt x="24" y="418"/>
                    </a:lnTo>
                    <a:lnTo>
                      <a:pt x="24" y="418"/>
                    </a:lnTo>
                    <a:lnTo>
                      <a:pt x="24" y="418"/>
                    </a:lnTo>
                    <a:lnTo>
                      <a:pt x="24" y="420"/>
                    </a:lnTo>
                    <a:lnTo>
                      <a:pt x="24" y="422"/>
                    </a:lnTo>
                    <a:lnTo>
                      <a:pt x="24" y="424"/>
                    </a:lnTo>
                    <a:lnTo>
                      <a:pt x="24" y="424"/>
                    </a:lnTo>
                    <a:lnTo>
                      <a:pt x="26" y="428"/>
                    </a:lnTo>
                    <a:lnTo>
                      <a:pt x="26" y="432"/>
                    </a:lnTo>
                    <a:lnTo>
                      <a:pt x="26" y="436"/>
                    </a:lnTo>
                    <a:lnTo>
                      <a:pt x="26" y="440"/>
                    </a:lnTo>
                    <a:lnTo>
                      <a:pt x="26" y="440"/>
                    </a:lnTo>
                    <a:lnTo>
                      <a:pt x="26" y="442"/>
                    </a:lnTo>
                    <a:lnTo>
                      <a:pt x="26" y="442"/>
                    </a:lnTo>
                    <a:lnTo>
                      <a:pt x="28" y="444"/>
                    </a:lnTo>
                    <a:lnTo>
                      <a:pt x="28" y="444"/>
                    </a:lnTo>
                    <a:lnTo>
                      <a:pt x="28" y="444"/>
                    </a:lnTo>
                    <a:lnTo>
                      <a:pt x="30" y="446"/>
                    </a:lnTo>
                    <a:lnTo>
                      <a:pt x="32" y="448"/>
                    </a:lnTo>
                    <a:lnTo>
                      <a:pt x="32" y="448"/>
                    </a:lnTo>
                    <a:lnTo>
                      <a:pt x="36" y="450"/>
                    </a:lnTo>
                    <a:lnTo>
                      <a:pt x="36" y="450"/>
                    </a:lnTo>
                    <a:lnTo>
                      <a:pt x="38" y="452"/>
                    </a:lnTo>
                    <a:lnTo>
                      <a:pt x="38" y="452"/>
                    </a:lnTo>
                    <a:lnTo>
                      <a:pt x="40" y="450"/>
                    </a:lnTo>
                    <a:lnTo>
                      <a:pt x="40" y="450"/>
                    </a:lnTo>
                    <a:lnTo>
                      <a:pt x="44" y="448"/>
                    </a:lnTo>
                    <a:lnTo>
                      <a:pt x="44" y="448"/>
                    </a:lnTo>
                    <a:lnTo>
                      <a:pt x="46" y="444"/>
                    </a:lnTo>
                    <a:lnTo>
                      <a:pt x="46" y="444"/>
                    </a:lnTo>
                    <a:lnTo>
                      <a:pt x="48" y="444"/>
                    </a:lnTo>
                    <a:lnTo>
                      <a:pt x="48" y="444"/>
                    </a:lnTo>
                    <a:lnTo>
                      <a:pt x="50" y="444"/>
                    </a:lnTo>
                    <a:lnTo>
                      <a:pt x="50" y="444"/>
                    </a:lnTo>
                    <a:lnTo>
                      <a:pt x="50" y="444"/>
                    </a:lnTo>
                    <a:lnTo>
                      <a:pt x="52" y="444"/>
                    </a:lnTo>
                    <a:lnTo>
                      <a:pt x="52" y="444"/>
                    </a:lnTo>
                    <a:lnTo>
                      <a:pt x="52" y="446"/>
                    </a:lnTo>
                    <a:lnTo>
                      <a:pt x="52" y="446"/>
                    </a:lnTo>
                    <a:lnTo>
                      <a:pt x="52" y="446"/>
                    </a:lnTo>
                    <a:lnTo>
                      <a:pt x="50" y="448"/>
                    </a:lnTo>
                    <a:lnTo>
                      <a:pt x="50" y="450"/>
                    </a:lnTo>
                    <a:lnTo>
                      <a:pt x="50" y="450"/>
                    </a:lnTo>
                    <a:lnTo>
                      <a:pt x="50" y="452"/>
                    </a:lnTo>
                    <a:lnTo>
                      <a:pt x="50" y="452"/>
                    </a:lnTo>
                    <a:lnTo>
                      <a:pt x="50" y="454"/>
                    </a:lnTo>
                    <a:lnTo>
                      <a:pt x="50" y="454"/>
                    </a:lnTo>
                    <a:lnTo>
                      <a:pt x="50" y="458"/>
                    </a:lnTo>
                    <a:lnTo>
                      <a:pt x="50" y="458"/>
                    </a:lnTo>
                    <a:lnTo>
                      <a:pt x="52" y="460"/>
                    </a:lnTo>
                    <a:lnTo>
                      <a:pt x="52" y="462"/>
                    </a:lnTo>
                    <a:lnTo>
                      <a:pt x="52" y="462"/>
                    </a:lnTo>
                    <a:lnTo>
                      <a:pt x="52" y="466"/>
                    </a:lnTo>
                    <a:lnTo>
                      <a:pt x="52" y="468"/>
                    </a:lnTo>
                    <a:lnTo>
                      <a:pt x="52" y="468"/>
                    </a:lnTo>
                    <a:lnTo>
                      <a:pt x="50" y="468"/>
                    </a:lnTo>
                    <a:lnTo>
                      <a:pt x="50" y="468"/>
                    </a:lnTo>
                    <a:lnTo>
                      <a:pt x="48" y="470"/>
                    </a:lnTo>
                    <a:lnTo>
                      <a:pt x="48" y="470"/>
                    </a:lnTo>
                    <a:lnTo>
                      <a:pt x="48" y="470"/>
                    </a:lnTo>
                    <a:lnTo>
                      <a:pt x="48" y="472"/>
                    </a:lnTo>
                    <a:lnTo>
                      <a:pt x="50" y="474"/>
                    </a:lnTo>
                    <a:lnTo>
                      <a:pt x="50" y="474"/>
                    </a:lnTo>
                    <a:lnTo>
                      <a:pt x="52" y="474"/>
                    </a:lnTo>
                    <a:lnTo>
                      <a:pt x="54" y="476"/>
                    </a:lnTo>
                    <a:lnTo>
                      <a:pt x="54" y="478"/>
                    </a:lnTo>
                    <a:lnTo>
                      <a:pt x="54" y="478"/>
                    </a:lnTo>
                    <a:lnTo>
                      <a:pt x="54" y="480"/>
                    </a:lnTo>
                    <a:lnTo>
                      <a:pt x="54" y="480"/>
                    </a:lnTo>
                    <a:lnTo>
                      <a:pt x="54" y="482"/>
                    </a:lnTo>
                    <a:lnTo>
                      <a:pt x="54" y="482"/>
                    </a:lnTo>
                    <a:lnTo>
                      <a:pt x="56" y="486"/>
                    </a:lnTo>
                    <a:lnTo>
                      <a:pt x="58" y="488"/>
                    </a:lnTo>
                    <a:lnTo>
                      <a:pt x="58" y="488"/>
                    </a:lnTo>
                    <a:lnTo>
                      <a:pt x="58" y="488"/>
                    </a:lnTo>
                    <a:lnTo>
                      <a:pt x="58" y="490"/>
                    </a:lnTo>
                    <a:lnTo>
                      <a:pt x="58" y="490"/>
                    </a:lnTo>
                    <a:lnTo>
                      <a:pt x="58" y="490"/>
                    </a:lnTo>
                    <a:lnTo>
                      <a:pt x="56" y="492"/>
                    </a:lnTo>
                    <a:lnTo>
                      <a:pt x="56" y="492"/>
                    </a:lnTo>
                    <a:lnTo>
                      <a:pt x="56" y="492"/>
                    </a:lnTo>
                    <a:lnTo>
                      <a:pt x="54" y="494"/>
                    </a:lnTo>
                    <a:lnTo>
                      <a:pt x="54" y="494"/>
                    </a:lnTo>
                    <a:lnTo>
                      <a:pt x="56" y="498"/>
                    </a:lnTo>
                    <a:lnTo>
                      <a:pt x="56" y="498"/>
                    </a:lnTo>
                    <a:lnTo>
                      <a:pt x="56" y="502"/>
                    </a:lnTo>
                    <a:lnTo>
                      <a:pt x="56" y="504"/>
                    </a:lnTo>
                    <a:lnTo>
                      <a:pt x="56" y="504"/>
                    </a:lnTo>
                    <a:lnTo>
                      <a:pt x="56" y="504"/>
                    </a:lnTo>
                    <a:lnTo>
                      <a:pt x="58" y="506"/>
                    </a:lnTo>
                    <a:lnTo>
                      <a:pt x="58" y="506"/>
                    </a:lnTo>
                    <a:lnTo>
                      <a:pt x="62" y="508"/>
                    </a:lnTo>
                    <a:lnTo>
                      <a:pt x="62" y="508"/>
                    </a:lnTo>
                    <a:lnTo>
                      <a:pt x="64" y="508"/>
                    </a:lnTo>
                    <a:lnTo>
                      <a:pt x="64" y="508"/>
                    </a:lnTo>
                    <a:lnTo>
                      <a:pt x="66" y="510"/>
                    </a:lnTo>
                    <a:lnTo>
                      <a:pt x="66" y="510"/>
                    </a:lnTo>
                    <a:lnTo>
                      <a:pt x="66" y="512"/>
                    </a:lnTo>
                    <a:lnTo>
                      <a:pt x="66" y="512"/>
                    </a:lnTo>
                    <a:lnTo>
                      <a:pt x="64" y="516"/>
                    </a:lnTo>
                    <a:lnTo>
                      <a:pt x="64" y="516"/>
                    </a:lnTo>
                    <a:lnTo>
                      <a:pt x="62" y="518"/>
                    </a:lnTo>
                    <a:lnTo>
                      <a:pt x="62" y="520"/>
                    </a:lnTo>
                    <a:lnTo>
                      <a:pt x="62" y="520"/>
                    </a:lnTo>
                    <a:lnTo>
                      <a:pt x="60" y="522"/>
                    </a:lnTo>
                    <a:lnTo>
                      <a:pt x="58" y="522"/>
                    </a:lnTo>
                    <a:lnTo>
                      <a:pt x="58" y="524"/>
                    </a:lnTo>
                    <a:lnTo>
                      <a:pt x="58" y="524"/>
                    </a:lnTo>
                    <a:lnTo>
                      <a:pt x="56" y="524"/>
                    </a:lnTo>
                    <a:lnTo>
                      <a:pt x="56" y="526"/>
                    </a:lnTo>
                    <a:lnTo>
                      <a:pt x="56" y="530"/>
                    </a:lnTo>
                    <a:lnTo>
                      <a:pt x="56" y="536"/>
                    </a:lnTo>
                    <a:lnTo>
                      <a:pt x="56" y="536"/>
                    </a:lnTo>
                    <a:lnTo>
                      <a:pt x="56" y="536"/>
                    </a:lnTo>
                    <a:lnTo>
                      <a:pt x="56" y="538"/>
                    </a:lnTo>
                    <a:lnTo>
                      <a:pt x="58" y="540"/>
                    </a:lnTo>
                    <a:lnTo>
                      <a:pt x="58" y="540"/>
                    </a:lnTo>
                    <a:lnTo>
                      <a:pt x="58" y="540"/>
                    </a:lnTo>
                    <a:lnTo>
                      <a:pt x="58" y="542"/>
                    </a:lnTo>
                    <a:lnTo>
                      <a:pt x="56" y="544"/>
                    </a:lnTo>
                    <a:lnTo>
                      <a:pt x="56" y="544"/>
                    </a:lnTo>
                    <a:lnTo>
                      <a:pt x="54" y="544"/>
                    </a:lnTo>
                    <a:lnTo>
                      <a:pt x="54" y="544"/>
                    </a:lnTo>
                    <a:lnTo>
                      <a:pt x="54" y="544"/>
                    </a:lnTo>
                    <a:lnTo>
                      <a:pt x="54" y="542"/>
                    </a:lnTo>
                    <a:lnTo>
                      <a:pt x="54" y="542"/>
                    </a:lnTo>
                    <a:lnTo>
                      <a:pt x="52" y="540"/>
                    </a:lnTo>
                    <a:lnTo>
                      <a:pt x="52" y="540"/>
                    </a:lnTo>
                    <a:lnTo>
                      <a:pt x="52" y="540"/>
                    </a:lnTo>
                    <a:lnTo>
                      <a:pt x="50" y="540"/>
                    </a:lnTo>
                    <a:lnTo>
                      <a:pt x="50" y="538"/>
                    </a:lnTo>
                    <a:lnTo>
                      <a:pt x="50" y="538"/>
                    </a:lnTo>
                    <a:lnTo>
                      <a:pt x="50" y="538"/>
                    </a:lnTo>
                    <a:lnTo>
                      <a:pt x="52" y="538"/>
                    </a:lnTo>
                    <a:lnTo>
                      <a:pt x="52" y="538"/>
                    </a:lnTo>
                    <a:lnTo>
                      <a:pt x="52" y="538"/>
                    </a:lnTo>
                    <a:lnTo>
                      <a:pt x="52" y="538"/>
                    </a:lnTo>
                    <a:lnTo>
                      <a:pt x="50" y="536"/>
                    </a:lnTo>
                    <a:lnTo>
                      <a:pt x="50" y="536"/>
                    </a:lnTo>
                    <a:lnTo>
                      <a:pt x="50" y="536"/>
                    </a:lnTo>
                    <a:lnTo>
                      <a:pt x="48" y="536"/>
                    </a:lnTo>
                    <a:lnTo>
                      <a:pt x="46" y="536"/>
                    </a:lnTo>
                    <a:lnTo>
                      <a:pt x="46" y="534"/>
                    </a:lnTo>
                    <a:lnTo>
                      <a:pt x="46" y="534"/>
                    </a:lnTo>
                    <a:lnTo>
                      <a:pt x="46" y="534"/>
                    </a:lnTo>
                    <a:lnTo>
                      <a:pt x="46" y="534"/>
                    </a:lnTo>
                    <a:lnTo>
                      <a:pt x="48" y="534"/>
                    </a:lnTo>
                    <a:lnTo>
                      <a:pt x="48" y="532"/>
                    </a:lnTo>
                    <a:lnTo>
                      <a:pt x="48" y="532"/>
                    </a:lnTo>
                    <a:lnTo>
                      <a:pt x="48" y="532"/>
                    </a:lnTo>
                    <a:lnTo>
                      <a:pt x="46" y="532"/>
                    </a:lnTo>
                    <a:lnTo>
                      <a:pt x="46" y="530"/>
                    </a:lnTo>
                    <a:lnTo>
                      <a:pt x="46" y="530"/>
                    </a:lnTo>
                    <a:lnTo>
                      <a:pt x="44" y="530"/>
                    </a:lnTo>
                    <a:lnTo>
                      <a:pt x="44" y="530"/>
                    </a:lnTo>
                    <a:lnTo>
                      <a:pt x="40" y="530"/>
                    </a:lnTo>
                    <a:lnTo>
                      <a:pt x="38" y="530"/>
                    </a:lnTo>
                    <a:lnTo>
                      <a:pt x="38" y="530"/>
                    </a:lnTo>
                    <a:lnTo>
                      <a:pt x="36" y="532"/>
                    </a:lnTo>
                    <a:lnTo>
                      <a:pt x="34" y="532"/>
                    </a:lnTo>
                    <a:lnTo>
                      <a:pt x="34" y="532"/>
                    </a:lnTo>
                    <a:lnTo>
                      <a:pt x="34" y="532"/>
                    </a:lnTo>
                    <a:lnTo>
                      <a:pt x="32" y="534"/>
                    </a:lnTo>
                    <a:lnTo>
                      <a:pt x="30" y="534"/>
                    </a:lnTo>
                    <a:lnTo>
                      <a:pt x="30" y="536"/>
                    </a:lnTo>
                    <a:lnTo>
                      <a:pt x="30" y="536"/>
                    </a:lnTo>
                    <a:lnTo>
                      <a:pt x="30" y="538"/>
                    </a:lnTo>
                    <a:lnTo>
                      <a:pt x="30" y="538"/>
                    </a:lnTo>
                    <a:lnTo>
                      <a:pt x="32" y="540"/>
                    </a:lnTo>
                    <a:lnTo>
                      <a:pt x="32" y="540"/>
                    </a:lnTo>
                    <a:lnTo>
                      <a:pt x="32" y="540"/>
                    </a:lnTo>
                    <a:lnTo>
                      <a:pt x="34" y="540"/>
                    </a:lnTo>
                    <a:lnTo>
                      <a:pt x="34" y="540"/>
                    </a:lnTo>
                    <a:lnTo>
                      <a:pt x="34" y="540"/>
                    </a:lnTo>
                    <a:lnTo>
                      <a:pt x="34" y="540"/>
                    </a:lnTo>
                    <a:lnTo>
                      <a:pt x="34" y="542"/>
                    </a:lnTo>
                    <a:lnTo>
                      <a:pt x="34" y="542"/>
                    </a:lnTo>
                    <a:lnTo>
                      <a:pt x="32" y="542"/>
                    </a:lnTo>
                    <a:lnTo>
                      <a:pt x="32" y="542"/>
                    </a:lnTo>
                    <a:lnTo>
                      <a:pt x="30" y="544"/>
                    </a:lnTo>
                    <a:lnTo>
                      <a:pt x="28" y="546"/>
                    </a:lnTo>
                    <a:lnTo>
                      <a:pt x="28" y="548"/>
                    </a:lnTo>
                    <a:lnTo>
                      <a:pt x="28" y="548"/>
                    </a:lnTo>
                    <a:lnTo>
                      <a:pt x="28" y="548"/>
                    </a:lnTo>
                    <a:lnTo>
                      <a:pt x="28" y="550"/>
                    </a:lnTo>
                    <a:lnTo>
                      <a:pt x="28" y="552"/>
                    </a:lnTo>
                    <a:lnTo>
                      <a:pt x="28" y="554"/>
                    </a:lnTo>
                    <a:lnTo>
                      <a:pt x="28" y="556"/>
                    </a:lnTo>
                    <a:lnTo>
                      <a:pt x="30" y="556"/>
                    </a:lnTo>
                    <a:lnTo>
                      <a:pt x="30" y="558"/>
                    </a:lnTo>
                    <a:lnTo>
                      <a:pt x="32" y="558"/>
                    </a:lnTo>
                    <a:lnTo>
                      <a:pt x="32" y="558"/>
                    </a:lnTo>
                    <a:lnTo>
                      <a:pt x="32" y="560"/>
                    </a:lnTo>
                    <a:lnTo>
                      <a:pt x="34" y="558"/>
                    </a:lnTo>
                    <a:lnTo>
                      <a:pt x="34" y="558"/>
                    </a:lnTo>
                    <a:lnTo>
                      <a:pt x="34" y="556"/>
                    </a:lnTo>
                    <a:lnTo>
                      <a:pt x="34" y="554"/>
                    </a:lnTo>
                    <a:lnTo>
                      <a:pt x="36" y="552"/>
                    </a:lnTo>
                    <a:lnTo>
                      <a:pt x="36" y="552"/>
                    </a:lnTo>
                    <a:lnTo>
                      <a:pt x="36" y="552"/>
                    </a:lnTo>
                    <a:lnTo>
                      <a:pt x="36" y="552"/>
                    </a:lnTo>
                    <a:lnTo>
                      <a:pt x="38" y="552"/>
                    </a:lnTo>
                    <a:lnTo>
                      <a:pt x="40" y="552"/>
                    </a:lnTo>
                    <a:lnTo>
                      <a:pt x="40" y="554"/>
                    </a:lnTo>
                    <a:lnTo>
                      <a:pt x="44" y="554"/>
                    </a:lnTo>
                    <a:lnTo>
                      <a:pt x="44" y="554"/>
                    </a:lnTo>
                    <a:lnTo>
                      <a:pt x="44" y="556"/>
                    </a:lnTo>
                    <a:lnTo>
                      <a:pt x="46" y="556"/>
                    </a:lnTo>
                    <a:lnTo>
                      <a:pt x="46" y="558"/>
                    </a:lnTo>
                    <a:lnTo>
                      <a:pt x="46" y="558"/>
                    </a:lnTo>
                    <a:lnTo>
                      <a:pt x="46" y="558"/>
                    </a:lnTo>
                    <a:lnTo>
                      <a:pt x="48" y="558"/>
                    </a:lnTo>
                    <a:lnTo>
                      <a:pt x="50" y="558"/>
                    </a:lnTo>
                    <a:lnTo>
                      <a:pt x="50" y="558"/>
                    </a:lnTo>
                    <a:lnTo>
                      <a:pt x="50" y="558"/>
                    </a:lnTo>
                    <a:lnTo>
                      <a:pt x="50" y="558"/>
                    </a:lnTo>
                    <a:lnTo>
                      <a:pt x="52" y="558"/>
                    </a:lnTo>
                    <a:lnTo>
                      <a:pt x="54" y="558"/>
                    </a:lnTo>
                    <a:lnTo>
                      <a:pt x="56" y="558"/>
                    </a:lnTo>
                    <a:lnTo>
                      <a:pt x="58" y="560"/>
                    </a:lnTo>
                    <a:lnTo>
                      <a:pt x="58" y="560"/>
                    </a:lnTo>
                    <a:lnTo>
                      <a:pt x="58" y="562"/>
                    </a:lnTo>
                    <a:lnTo>
                      <a:pt x="58" y="564"/>
                    </a:lnTo>
                    <a:lnTo>
                      <a:pt x="56" y="564"/>
                    </a:lnTo>
                    <a:lnTo>
                      <a:pt x="56" y="564"/>
                    </a:lnTo>
                    <a:lnTo>
                      <a:pt x="54" y="564"/>
                    </a:lnTo>
                    <a:lnTo>
                      <a:pt x="52" y="566"/>
                    </a:lnTo>
                    <a:lnTo>
                      <a:pt x="52" y="566"/>
                    </a:lnTo>
                    <a:lnTo>
                      <a:pt x="52" y="566"/>
                    </a:lnTo>
                    <a:lnTo>
                      <a:pt x="52" y="568"/>
                    </a:lnTo>
                    <a:lnTo>
                      <a:pt x="52" y="568"/>
                    </a:lnTo>
                    <a:lnTo>
                      <a:pt x="52" y="568"/>
                    </a:lnTo>
                    <a:lnTo>
                      <a:pt x="52" y="570"/>
                    </a:lnTo>
                    <a:lnTo>
                      <a:pt x="54" y="570"/>
                    </a:lnTo>
                    <a:lnTo>
                      <a:pt x="56" y="570"/>
                    </a:lnTo>
                    <a:lnTo>
                      <a:pt x="56" y="570"/>
                    </a:lnTo>
                    <a:lnTo>
                      <a:pt x="56" y="572"/>
                    </a:lnTo>
                    <a:lnTo>
                      <a:pt x="56" y="574"/>
                    </a:lnTo>
                    <a:lnTo>
                      <a:pt x="56" y="574"/>
                    </a:lnTo>
                    <a:lnTo>
                      <a:pt x="54" y="574"/>
                    </a:lnTo>
                    <a:lnTo>
                      <a:pt x="52" y="574"/>
                    </a:lnTo>
                    <a:lnTo>
                      <a:pt x="52" y="576"/>
                    </a:lnTo>
                    <a:lnTo>
                      <a:pt x="52" y="576"/>
                    </a:lnTo>
                    <a:lnTo>
                      <a:pt x="52" y="578"/>
                    </a:lnTo>
                    <a:lnTo>
                      <a:pt x="52" y="578"/>
                    </a:lnTo>
                    <a:lnTo>
                      <a:pt x="52" y="580"/>
                    </a:lnTo>
                    <a:lnTo>
                      <a:pt x="54" y="580"/>
                    </a:lnTo>
                    <a:lnTo>
                      <a:pt x="54" y="580"/>
                    </a:lnTo>
                    <a:lnTo>
                      <a:pt x="56" y="580"/>
                    </a:lnTo>
                    <a:lnTo>
                      <a:pt x="56" y="580"/>
                    </a:lnTo>
                    <a:lnTo>
                      <a:pt x="60" y="580"/>
                    </a:lnTo>
                    <a:lnTo>
                      <a:pt x="60" y="580"/>
                    </a:lnTo>
                    <a:lnTo>
                      <a:pt x="60" y="580"/>
                    </a:lnTo>
                    <a:lnTo>
                      <a:pt x="62" y="578"/>
                    </a:lnTo>
                    <a:lnTo>
                      <a:pt x="66" y="578"/>
                    </a:lnTo>
                    <a:lnTo>
                      <a:pt x="66" y="578"/>
                    </a:lnTo>
                    <a:lnTo>
                      <a:pt x="66" y="580"/>
                    </a:lnTo>
                    <a:lnTo>
                      <a:pt x="66" y="580"/>
                    </a:lnTo>
                    <a:lnTo>
                      <a:pt x="64" y="582"/>
                    </a:lnTo>
                    <a:lnTo>
                      <a:pt x="64" y="584"/>
                    </a:lnTo>
                    <a:lnTo>
                      <a:pt x="64" y="584"/>
                    </a:lnTo>
                    <a:lnTo>
                      <a:pt x="64" y="584"/>
                    </a:lnTo>
                    <a:lnTo>
                      <a:pt x="64" y="586"/>
                    </a:lnTo>
                    <a:lnTo>
                      <a:pt x="64" y="586"/>
                    </a:lnTo>
                    <a:lnTo>
                      <a:pt x="64" y="586"/>
                    </a:lnTo>
                    <a:lnTo>
                      <a:pt x="62" y="586"/>
                    </a:lnTo>
                    <a:lnTo>
                      <a:pt x="60" y="584"/>
                    </a:lnTo>
                    <a:lnTo>
                      <a:pt x="60" y="584"/>
                    </a:lnTo>
                    <a:lnTo>
                      <a:pt x="56" y="584"/>
                    </a:lnTo>
                    <a:lnTo>
                      <a:pt x="52" y="584"/>
                    </a:lnTo>
                    <a:lnTo>
                      <a:pt x="52" y="584"/>
                    </a:lnTo>
                    <a:lnTo>
                      <a:pt x="52" y="584"/>
                    </a:lnTo>
                    <a:lnTo>
                      <a:pt x="50" y="586"/>
                    </a:lnTo>
                    <a:lnTo>
                      <a:pt x="50" y="586"/>
                    </a:lnTo>
                    <a:lnTo>
                      <a:pt x="50" y="586"/>
                    </a:lnTo>
                    <a:lnTo>
                      <a:pt x="52" y="588"/>
                    </a:lnTo>
                    <a:lnTo>
                      <a:pt x="52" y="588"/>
                    </a:lnTo>
                    <a:lnTo>
                      <a:pt x="52" y="588"/>
                    </a:lnTo>
                    <a:lnTo>
                      <a:pt x="54" y="590"/>
                    </a:lnTo>
                    <a:lnTo>
                      <a:pt x="56" y="592"/>
                    </a:lnTo>
                    <a:lnTo>
                      <a:pt x="58" y="592"/>
                    </a:lnTo>
                    <a:lnTo>
                      <a:pt x="58" y="594"/>
                    </a:lnTo>
                    <a:lnTo>
                      <a:pt x="58" y="594"/>
                    </a:lnTo>
                    <a:lnTo>
                      <a:pt x="58" y="596"/>
                    </a:lnTo>
                    <a:lnTo>
                      <a:pt x="58" y="596"/>
                    </a:lnTo>
                    <a:lnTo>
                      <a:pt x="56" y="598"/>
                    </a:lnTo>
                    <a:lnTo>
                      <a:pt x="56" y="600"/>
                    </a:lnTo>
                    <a:lnTo>
                      <a:pt x="56" y="602"/>
                    </a:lnTo>
                    <a:lnTo>
                      <a:pt x="56" y="602"/>
                    </a:lnTo>
                    <a:lnTo>
                      <a:pt x="56" y="602"/>
                    </a:lnTo>
                    <a:lnTo>
                      <a:pt x="58" y="602"/>
                    </a:lnTo>
                    <a:lnTo>
                      <a:pt x="60" y="604"/>
                    </a:lnTo>
                    <a:lnTo>
                      <a:pt x="60" y="604"/>
                    </a:lnTo>
                    <a:lnTo>
                      <a:pt x="62" y="606"/>
                    </a:lnTo>
                    <a:lnTo>
                      <a:pt x="64" y="606"/>
                    </a:lnTo>
                    <a:lnTo>
                      <a:pt x="64" y="608"/>
                    </a:lnTo>
                    <a:lnTo>
                      <a:pt x="66" y="610"/>
                    </a:lnTo>
                    <a:lnTo>
                      <a:pt x="66" y="610"/>
                    </a:lnTo>
                    <a:lnTo>
                      <a:pt x="66" y="612"/>
                    </a:lnTo>
                    <a:lnTo>
                      <a:pt x="66" y="612"/>
                    </a:lnTo>
                    <a:lnTo>
                      <a:pt x="68" y="612"/>
                    </a:lnTo>
                    <a:lnTo>
                      <a:pt x="68" y="612"/>
                    </a:lnTo>
                    <a:lnTo>
                      <a:pt x="70" y="614"/>
                    </a:lnTo>
                    <a:lnTo>
                      <a:pt x="70" y="614"/>
                    </a:lnTo>
                    <a:lnTo>
                      <a:pt x="70" y="614"/>
                    </a:lnTo>
                    <a:lnTo>
                      <a:pt x="72" y="616"/>
                    </a:lnTo>
                    <a:lnTo>
                      <a:pt x="72" y="616"/>
                    </a:lnTo>
                    <a:lnTo>
                      <a:pt x="72" y="618"/>
                    </a:lnTo>
                    <a:lnTo>
                      <a:pt x="72" y="618"/>
                    </a:lnTo>
                    <a:lnTo>
                      <a:pt x="74" y="618"/>
                    </a:lnTo>
                    <a:lnTo>
                      <a:pt x="74" y="618"/>
                    </a:lnTo>
                    <a:lnTo>
                      <a:pt x="76" y="620"/>
                    </a:lnTo>
                    <a:lnTo>
                      <a:pt x="76" y="620"/>
                    </a:lnTo>
                    <a:lnTo>
                      <a:pt x="76" y="620"/>
                    </a:lnTo>
                    <a:lnTo>
                      <a:pt x="74" y="620"/>
                    </a:lnTo>
                    <a:lnTo>
                      <a:pt x="74" y="622"/>
                    </a:lnTo>
                    <a:lnTo>
                      <a:pt x="74" y="622"/>
                    </a:lnTo>
                    <a:lnTo>
                      <a:pt x="72" y="622"/>
                    </a:lnTo>
                    <a:lnTo>
                      <a:pt x="72" y="622"/>
                    </a:lnTo>
                    <a:lnTo>
                      <a:pt x="72" y="624"/>
                    </a:lnTo>
                    <a:lnTo>
                      <a:pt x="72" y="626"/>
                    </a:lnTo>
                    <a:lnTo>
                      <a:pt x="72" y="628"/>
                    </a:lnTo>
                    <a:lnTo>
                      <a:pt x="72" y="630"/>
                    </a:lnTo>
                    <a:lnTo>
                      <a:pt x="72" y="630"/>
                    </a:lnTo>
                    <a:lnTo>
                      <a:pt x="74" y="634"/>
                    </a:lnTo>
                    <a:lnTo>
                      <a:pt x="74" y="636"/>
                    </a:lnTo>
                    <a:lnTo>
                      <a:pt x="74" y="636"/>
                    </a:lnTo>
                    <a:lnTo>
                      <a:pt x="74" y="638"/>
                    </a:lnTo>
                    <a:lnTo>
                      <a:pt x="74" y="638"/>
                    </a:lnTo>
                    <a:lnTo>
                      <a:pt x="74" y="638"/>
                    </a:lnTo>
                    <a:lnTo>
                      <a:pt x="74" y="638"/>
                    </a:lnTo>
                    <a:lnTo>
                      <a:pt x="72" y="636"/>
                    </a:lnTo>
                    <a:lnTo>
                      <a:pt x="72" y="636"/>
                    </a:lnTo>
                    <a:lnTo>
                      <a:pt x="70" y="636"/>
                    </a:lnTo>
                    <a:lnTo>
                      <a:pt x="70" y="634"/>
                    </a:lnTo>
                    <a:lnTo>
                      <a:pt x="68" y="630"/>
                    </a:lnTo>
                    <a:lnTo>
                      <a:pt x="68" y="630"/>
                    </a:lnTo>
                    <a:lnTo>
                      <a:pt x="68" y="624"/>
                    </a:lnTo>
                    <a:lnTo>
                      <a:pt x="66" y="620"/>
                    </a:lnTo>
                    <a:lnTo>
                      <a:pt x="66" y="620"/>
                    </a:lnTo>
                    <a:lnTo>
                      <a:pt x="64" y="616"/>
                    </a:lnTo>
                    <a:lnTo>
                      <a:pt x="64" y="614"/>
                    </a:lnTo>
                    <a:lnTo>
                      <a:pt x="64" y="614"/>
                    </a:lnTo>
                    <a:lnTo>
                      <a:pt x="62" y="612"/>
                    </a:lnTo>
                    <a:lnTo>
                      <a:pt x="62" y="612"/>
                    </a:lnTo>
                    <a:lnTo>
                      <a:pt x="62" y="610"/>
                    </a:lnTo>
                    <a:lnTo>
                      <a:pt x="62" y="610"/>
                    </a:lnTo>
                    <a:lnTo>
                      <a:pt x="60" y="610"/>
                    </a:lnTo>
                    <a:lnTo>
                      <a:pt x="60" y="610"/>
                    </a:lnTo>
                    <a:lnTo>
                      <a:pt x="58" y="610"/>
                    </a:lnTo>
                    <a:lnTo>
                      <a:pt x="56" y="610"/>
                    </a:lnTo>
                    <a:lnTo>
                      <a:pt x="56" y="610"/>
                    </a:lnTo>
                    <a:lnTo>
                      <a:pt x="56" y="612"/>
                    </a:lnTo>
                    <a:lnTo>
                      <a:pt x="56" y="612"/>
                    </a:lnTo>
                    <a:lnTo>
                      <a:pt x="56" y="612"/>
                    </a:lnTo>
                    <a:lnTo>
                      <a:pt x="56" y="616"/>
                    </a:lnTo>
                    <a:lnTo>
                      <a:pt x="56" y="616"/>
                    </a:lnTo>
                    <a:lnTo>
                      <a:pt x="58" y="620"/>
                    </a:lnTo>
                    <a:lnTo>
                      <a:pt x="58" y="620"/>
                    </a:lnTo>
                    <a:lnTo>
                      <a:pt x="58" y="622"/>
                    </a:lnTo>
                    <a:lnTo>
                      <a:pt x="58" y="622"/>
                    </a:lnTo>
                    <a:lnTo>
                      <a:pt x="60" y="624"/>
                    </a:lnTo>
                    <a:lnTo>
                      <a:pt x="60" y="626"/>
                    </a:lnTo>
                    <a:lnTo>
                      <a:pt x="60" y="626"/>
                    </a:lnTo>
                    <a:lnTo>
                      <a:pt x="60" y="626"/>
                    </a:lnTo>
                    <a:lnTo>
                      <a:pt x="58" y="630"/>
                    </a:lnTo>
                    <a:lnTo>
                      <a:pt x="58" y="630"/>
                    </a:lnTo>
                    <a:lnTo>
                      <a:pt x="58" y="632"/>
                    </a:lnTo>
                    <a:lnTo>
                      <a:pt x="58" y="632"/>
                    </a:lnTo>
                    <a:lnTo>
                      <a:pt x="60" y="634"/>
                    </a:lnTo>
                    <a:lnTo>
                      <a:pt x="60" y="634"/>
                    </a:lnTo>
                    <a:lnTo>
                      <a:pt x="62" y="634"/>
                    </a:lnTo>
                    <a:lnTo>
                      <a:pt x="62" y="634"/>
                    </a:lnTo>
                    <a:lnTo>
                      <a:pt x="64" y="634"/>
                    </a:lnTo>
                    <a:lnTo>
                      <a:pt x="66" y="634"/>
                    </a:lnTo>
                    <a:lnTo>
                      <a:pt x="66" y="636"/>
                    </a:lnTo>
                    <a:lnTo>
                      <a:pt x="68" y="636"/>
                    </a:lnTo>
                    <a:lnTo>
                      <a:pt x="70" y="638"/>
                    </a:lnTo>
                    <a:lnTo>
                      <a:pt x="72" y="642"/>
                    </a:lnTo>
                    <a:lnTo>
                      <a:pt x="72" y="642"/>
                    </a:lnTo>
                    <a:lnTo>
                      <a:pt x="72" y="644"/>
                    </a:lnTo>
                    <a:lnTo>
                      <a:pt x="72" y="644"/>
                    </a:lnTo>
                    <a:lnTo>
                      <a:pt x="70" y="644"/>
                    </a:lnTo>
                    <a:lnTo>
                      <a:pt x="70" y="646"/>
                    </a:lnTo>
                    <a:lnTo>
                      <a:pt x="68" y="646"/>
                    </a:lnTo>
                    <a:lnTo>
                      <a:pt x="66" y="646"/>
                    </a:lnTo>
                    <a:lnTo>
                      <a:pt x="66" y="646"/>
                    </a:lnTo>
                    <a:lnTo>
                      <a:pt x="66" y="646"/>
                    </a:lnTo>
                    <a:lnTo>
                      <a:pt x="66" y="648"/>
                    </a:lnTo>
                    <a:lnTo>
                      <a:pt x="66" y="650"/>
                    </a:lnTo>
                    <a:lnTo>
                      <a:pt x="68" y="650"/>
                    </a:lnTo>
                    <a:lnTo>
                      <a:pt x="70" y="650"/>
                    </a:lnTo>
                    <a:lnTo>
                      <a:pt x="74" y="652"/>
                    </a:lnTo>
                    <a:lnTo>
                      <a:pt x="74" y="652"/>
                    </a:lnTo>
                    <a:lnTo>
                      <a:pt x="74" y="652"/>
                    </a:lnTo>
                    <a:lnTo>
                      <a:pt x="76" y="652"/>
                    </a:lnTo>
                    <a:lnTo>
                      <a:pt x="76" y="652"/>
                    </a:lnTo>
                    <a:lnTo>
                      <a:pt x="78" y="654"/>
                    </a:lnTo>
                    <a:lnTo>
                      <a:pt x="78" y="654"/>
                    </a:lnTo>
                    <a:lnTo>
                      <a:pt x="78" y="656"/>
                    </a:lnTo>
                    <a:lnTo>
                      <a:pt x="80" y="656"/>
                    </a:lnTo>
                    <a:lnTo>
                      <a:pt x="80" y="656"/>
                    </a:lnTo>
                    <a:lnTo>
                      <a:pt x="80" y="656"/>
                    </a:lnTo>
                    <a:lnTo>
                      <a:pt x="82" y="656"/>
                    </a:lnTo>
                    <a:lnTo>
                      <a:pt x="82" y="654"/>
                    </a:lnTo>
                    <a:lnTo>
                      <a:pt x="82" y="654"/>
                    </a:lnTo>
                    <a:lnTo>
                      <a:pt x="82" y="652"/>
                    </a:lnTo>
                    <a:lnTo>
                      <a:pt x="82" y="652"/>
                    </a:lnTo>
                    <a:lnTo>
                      <a:pt x="84" y="652"/>
                    </a:lnTo>
                    <a:lnTo>
                      <a:pt x="84" y="652"/>
                    </a:lnTo>
                    <a:lnTo>
                      <a:pt x="86" y="652"/>
                    </a:lnTo>
                    <a:lnTo>
                      <a:pt x="86" y="652"/>
                    </a:lnTo>
                    <a:lnTo>
                      <a:pt x="88" y="656"/>
                    </a:lnTo>
                    <a:lnTo>
                      <a:pt x="88" y="658"/>
                    </a:lnTo>
                    <a:lnTo>
                      <a:pt x="88" y="658"/>
                    </a:lnTo>
                    <a:lnTo>
                      <a:pt x="88" y="658"/>
                    </a:lnTo>
                    <a:lnTo>
                      <a:pt x="90" y="660"/>
                    </a:lnTo>
                    <a:lnTo>
                      <a:pt x="90" y="660"/>
                    </a:lnTo>
                    <a:lnTo>
                      <a:pt x="92" y="660"/>
                    </a:lnTo>
                    <a:lnTo>
                      <a:pt x="92" y="658"/>
                    </a:lnTo>
                    <a:lnTo>
                      <a:pt x="92" y="658"/>
                    </a:lnTo>
                    <a:lnTo>
                      <a:pt x="94" y="656"/>
                    </a:lnTo>
                    <a:lnTo>
                      <a:pt x="96" y="656"/>
                    </a:lnTo>
                    <a:lnTo>
                      <a:pt x="96" y="656"/>
                    </a:lnTo>
                    <a:lnTo>
                      <a:pt x="96" y="656"/>
                    </a:lnTo>
                    <a:lnTo>
                      <a:pt x="96" y="656"/>
                    </a:lnTo>
                    <a:lnTo>
                      <a:pt x="96" y="658"/>
                    </a:lnTo>
                    <a:lnTo>
                      <a:pt x="96" y="658"/>
                    </a:lnTo>
                    <a:lnTo>
                      <a:pt x="96" y="658"/>
                    </a:lnTo>
                    <a:lnTo>
                      <a:pt x="96" y="660"/>
                    </a:lnTo>
                    <a:lnTo>
                      <a:pt x="94" y="660"/>
                    </a:lnTo>
                    <a:lnTo>
                      <a:pt x="94" y="660"/>
                    </a:lnTo>
                    <a:lnTo>
                      <a:pt x="94" y="662"/>
                    </a:lnTo>
                    <a:lnTo>
                      <a:pt x="94" y="662"/>
                    </a:lnTo>
                    <a:lnTo>
                      <a:pt x="96" y="664"/>
                    </a:lnTo>
                    <a:lnTo>
                      <a:pt x="96" y="666"/>
                    </a:lnTo>
                    <a:lnTo>
                      <a:pt x="96" y="666"/>
                    </a:lnTo>
                    <a:lnTo>
                      <a:pt x="98" y="666"/>
                    </a:lnTo>
                    <a:lnTo>
                      <a:pt x="98" y="666"/>
                    </a:lnTo>
                    <a:lnTo>
                      <a:pt x="98" y="666"/>
                    </a:lnTo>
                    <a:lnTo>
                      <a:pt x="98" y="666"/>
                    </a:lnTo>
                    <a:lnTo>
                      <a:pt x="98" y="668"/>
                    </a:lnTo>
                    <a:lnTo>
                      <a:pt x="98" y="668"/>
                    </a:lnTo>
                    <a:lnTo>
                      <a:pt x="98" y="668"/>
                    </a:lnTo>
                    <a:lnTo>
                      <a:pt x="98" y="670"/>
                    </a:lnTo>
                    <a:lnTo>
                      <a:pt x="98" y="670"/>
                    </a:lnTo>
                    <a:lnTo>
                      <a:pt x="98" y="672"/>
                    </a:lnTo>
                    <a:lnTo>
                      <a:pt x="100" y="672"/>
                    </a:lnTo>
                    <a:lnTo>
                      <a:pt x="100" y="672"/>
                    </a:lnTo>
                    <a:lnTo>
                      <a:pt x="102" y="674"/>
                    </a:lnTo>
                    <a:lnTo>
                      <a:pt x="102" y="674"/>
                    </a:lnTo>
                    <a:lnTo>
                      <a:pt x="104" y="676"/>
                    </a:lnTo>
                    <a:lnTo>
                      <a:pt x="104" y="676"/>
                    </a:lnTo>
                    <a:lnTo>
                      <a:pt x="106" y="676"/>
                    </a:lnTo>
                    <a:lnTo>
                      <a:pt x="106" y="676"/>
                    </a:lnTo>
                    <a:lnTo>
                      <a:pt x="106" y="674"/>
                    </a:lnTo>
                    <a:lnTo>
                      <a:pt x="106" y="674"/>
                    </a:lnTo>
                    <a:lnTo>
                      <a:pt x="106" y="672"/>
                    </a:lnTo>
                    <a:lnTo>
                      <a:pt x="106" y="670"/>
                    </a:lnTo>
                    <a:lnTo>
                      <a:pt x="106" y="670"/>
                    </a:lnTo>
                    <a:lnTo>
                      <a:pt x="108" y="670"/>
                    </a:lnTo>
                    <a:lnTo>
                      <a:pt x="108" y="670"/>
                    </a:lnTo>
                    <a:lnTo>
                      <a:pt x="108" y="668"/>
                    </a:lnTo>
                    <a:lnTo>
                      <a:pt x="110" y="668"/>
                    </a:lnTo>
                    <a:lnTo>
                      <a:pt x="112" y="670"/>
                    </a:lnTo>
                    <a:lnTo>
                      <a:pt x="112" y="670"/>
                    </a:lnTo>
                    <a:lnTo>
                      <a:pt x="114" y="672"/>
                    </a:lnTo>
                    <a:lnTo>
                      <a:pt x="116" y="674"/>
                    </a:lnTo>
                    <a:lnTo>
                      <a:pt x="116" y="674"/>
                    </a:lnTo>
                    <a:lnTo>
                      <a:pt x="112" y="676"/>
                    </a:lnTo>
                    <a:lnTo>
                      <a:pt x="110" y="676"/>
                    </a:lnTo>
                    <a:lnTo>
                      <a:pt x="108" y="678"/>
                    </a:lnTo>
                    <a:lnTo>
                      <a:pt x="108" y="678"/>
                    </a:lnTo>
                    <a:lnTo>
                      <a:pt x="108" y="680"/>
                    </a:lnTo>
                    <a:lnTo>
                      <a:pt x="108" y="680"/>
                    </a:lnTo>
                    <a:lnTo>
                      <a:pt x="108" y="680"/>
                    </a:lnTo>
                    <a:lnTo>
                      <a:pt x="110" y="682"/>
                    </a:lnTo>
                    <a:lnTo>
                      <a:pt x="110" y="682"/>
                    </a:lnTo>
                    <a:lnTo>
                      <a:pt x="112" y="682"/>
                    </a:lnTo>
                    <a:lnTo>
                      <a:pt x="112" y="684"/>
                    </a:lnTo>
                    <a:lnTo>
                      <a:pt x="112" y="684"/>
                    </a:lnTo>
                    <a:lnTo>
                      <a:pt x="112" y="686"/>
                    </a:lnTo>
                    <a:lnTo>
                      <a:pt x="112" y="688"/>
                    </a:lnTo>
                    <a:lnTo>
                      <a:pt x="112" y="688"/>
                    </a:lnTo>
                    <a:lnTo>
                      <a:pt x="112" y="688"/>
                    </a:lnTo>
                    <a:lnTo>
                      <a:pt x="114" y="690"/>
                    </a:lnTo>
                    <a:lnTo>
                      <a:pt x="116" y="692"/>
                    </a:lnTo>
                    <a:lnTo>
                      <a:pt x="116" y="692"/>
                    </a:lnTo>
                    <a:lnTo>
                      <a:pt x="116" y="692"/>
                    </a:lnTo>
                    <a:lnTo>
                      <a:pt x="118" y="692"/>
                    </a:lnTo>
                    <a:lnTo>
                      <a:pt x="118" y="692"/>
                    </a:lnTo>
                    <a:lnTo>
                      <a:pt x="118" y="690"/>
                    </a:lnTo>
                    <a:lnTo>
                      <a:pt x="118" y="690"/>
                    </a:lnTo>
                    <a:lnTo>
                      <a:pt x="116" y="686"/>
                    </a:lnTo>
                    <a:lnTo>
                      <a:pt x="116" y="686"/>
                    </a:lnTo>
                    <a:lnTo>
                      <a:pt x="116" y="684"/>
                    </a:lnTo>
                    <a:lnTo>
                      <a:pt x="118" y="684"/>
                    </a:lnTo>
                    <a:lnTo>
                      <a:pt x="118" y="684"/>
                    </a:lnTo>
                    <a:lnTo>
                      <a:pt x="118" y="682"/>
                    </a:lnTo>
                    <a:lnTo>
                      <a:pt x="118" y="682"/>
                    </a:lnTo>
                    <a:lnTo>
                      <a:pt x="120" y="682"/>
                    </a:lnTo>
                    <a:lnTo>
                      <a:pt x="120" y="682"/>
                    </a:lnTo>
                    <a:lnTo>
                      <a:pt x="120" y="684"/>
                    </a:lnTo>
                    <a:lnTo>
                      <a:pt x="122" y="682"/>
                    </a:lnTo>
                    <a:lnTo>
                      <a:pt x="122" y="682"/>
                    </a:lnTo>
                    <a:lnTo>
                      <a:pt x="122" y="682"/>
                    </a:lnTo>
                    <a:lnTo>
                      <a:pt x="122" y="682"/>
                    </a:lnTo>
                    <a:lnTo>
                      <a:pt x="122" y="682"/>
                    </a:lnTo>
                    <a:lnTo>
                      <a:pt x="122" y="680"/>
                    </a:lnTo>
                    <a:lnTo>
                      <a:pt x="122" y="680"/>
                    </a:lnTo>
                    <a:lnTo>
                      <a:pt x="122" y="680"/>
                    </a:lnTo>
                    <a:lnTo>
                      <a:pt x="122" y="680"/>
                    </a:lnTo>
                    <a:lnTo>
                      <a:pt x="124" y="680"/>
                    </a:lnTo>
                    <a:lnTo>
                      <a:pt x="126" y="682"/>
                    </a:lnTo>
                    <a:lnTo>
                      <a:pt x="128" y="682"/>
                    </a:lnTo>
                    <a:lnTo>
                      <a:pt x="128" y="682"/>
                    </a:lnTo>
                    <a:lnTo>
                      <a:pt x="130" y="682"/>
                    </a:lnTo>
                    <a:lnTo>
                      <a:pt x="132" y="684"/>
                    </a:lnTo>
                    <a:lnTo>
                      <a:pt x="132" y="684"/>
                    </a:lnTo>
                    <a:lnTo>
                      <a:pt x="132" y="686"/>
                    </a:lnTo>
                    <a:lnTo>
                      <a:pt x="132" y="686"/>
                    </a:lnTo>
                    <a:lnTo>
                      <a:pt x="132" y="686"/>
                    </a:lnTo>
                    <a:lnTo>
                      <a:pt x="130" y="690"/>
                    </a:lnTo>
                    <a:lnTo>
                      <a:pt x="130" y="690"/>
                    </a:lnTo>
                    <a:lnTo>
                      <a:pt x="130" y="692"/>
                    </a:lnTo>
                    <a:lnTo>
                      <a:pt x="130" y="692"/>
                    </a:lnTo>
                    <a:lnTo>
                      <a:pt x="130" y="694"/>
                    </a:lnTo>
                    <a:lnTo>
                      <a:pt x="130" y="694"/>
                    </a:lnTo>
                    <a:lnTo>
                      <a:pt x="130" y="696"/>
                    </a:lnTo>
                    <a:lnTo>
                      <a:pt x="130" y="696"/>
                    </a:lnTo>
                    <a:lnTo>
                      <a:pt x="130" y="696"/>
                    </a:lnTo>
                    <a:lnTo>
                      <a:pt x="128" y="698"/>
                    </a:lnTo>
                    <a:lnTo>
                      <a:pt x="128" y="698"/>
                    </a:lnTo>
                    <a:lnTo>
                      <a:pt x="126" y="698"/>
                    </a:lnTo>
                    <a:lnTo>
                      <a:pt x="126" y="698"/>
                    </a:lnTo>
                    <a:lnTo>
                      <a:pt x="124" y="700"/>
                    </a:lnTo>
                    <a:lnTo>
                      <a:pt x="124" y="700"/>
                    </a:lnTo>
                    <a:lnTo>
                      <a:pt x="124" y="700"/>
                    </a:lnTo>
                    <a:lnTo>
                      <a:pt x="126" y="702"/>
                    </a:lnTo>
                    <a:lnTo>
                      <a:pt x="126" y="702"/>
                    </a:lnTo>
                    <a:lnTo>
                      <a:pt x="130" y="704"/>
                    </a:lnTo>
                    <a:lnTo>
                      <a:pt x="130" y="704"/>
                    </a:lnTo>
                    <a:lnTo>
                      <a:pt x="132" y="706"/>
                    </a:lnTo>
                    <a:lnTo>
                      <a:pt x="134" y="706"/>
                    </a:lnTo>
                    <a:lnTo>
                      <a:pt x="136" y="706"/>
                    </a:lnTo>
                    <a:lnTo>
                      <a:pt x="138" y="706"/>
                    </a:lnTo>
                    <a:lnTo>
                      <a:pt x="138" y="706"/>
                    </a:lnTo>
                    <a:lnTo>
                      <a:pt x="140" y="706"/>
                    </a:lnTo>
                    <a:lnTo>
                      <a:pt x="140" y="706"/>
                    </a:lnTo>
                    <a:lnTo>
                      <a:pt x="140" y="704"/>
                    </a:lnTo>
                    <a:lnTo>
                      <a:pt x="142" y="702"/>
                    </a:lnTo>
                    <a:lnTo>
                      <a:pt x="142" y="698"/>
                    </a:lnTo>
                    <a:lnTo>
                      <a:pt x="140" y="696"/>
                    </a:lnTo>
                    <a:lnTo>
                      <a:pt x="140" y="696"/>
                    </a:lnTo>
                    <a:lnTo>
                      <a:pt x="140" y="692"/>
                    </a:lnTo>
                    <a:lnTo>
                      <a:pt x="140" y="690"/>
                    </a:lnTo>
                    <a:lnTo>
                      <a:pt x="140" y="688"/>
                    </a:lnTo>
                    <a:lnTo>
                      <a:pt x="140" y="688"/>
                    </a:lnTo>
                    <a:lnTo>
                      <a:pt x="140" y="684"/>
                    </a:lnTo>
                    <a:lnTo>
                      <a:pt x="140" y="682"/>
                    </a:lnTo>
                    <a:lnTo>
                      <a:pt x="140" y="682"/>
                    </a:lnTo>
                    <a:lnTo>
                      <a:pt x="140" y="682"/>
                    </a:lnTo>
                    <a:lnTo>
                      <a:pt x="140" y="680"/>
                    </a:lnTo>
                    <a:lnTo>
                      <a:pt x="142" y="678"/>
                    </a:lnTo>
                    <a:lnTo>
                      <a:pt x="142" y="678"/>
                    </a:lnTo>
                    <a:lnTo>
                      <a:pt x="142" y="674"/>
                    </a:lnTo>
                    <a:lnTo>
                      <a:pt x="144" y="672"/>
                    </a:lnTo>
                    <a:lnTo>
                      <a:pt x="144" y="672"/>
                    </a:lnTo>
                    <a:lnTo>
                      <a:pt x="144" y="672"/>
                    </a:lnTo>
                    <a:lnTo>
                      <a:pt x="146" y="670"/>
                    </a:lnTo>
                    <a:lnTo>
                      <a:pt x="146" y="672"/>
                    </a:lnTo>
                    <a:lnTo>
                      <a:pt x="148" y="672"/>
                    </a:lnTo>
                    <a:lnTo>
                      <a:pt x="148" y="672"/>
                    </a:lnTo>
                    <a:lnTo>
                      <a:pt x="150" y="672"/>
                    </a:lnTo>
                    <a:lnTo>
                      <a:pt x="152" y="672"/>
                    </a:lnTo>
                    <a:lnTo>
                      <a:pt x="152" y="670"/>
                    </a:lnTo>
                    <a:lnTo>
                      <a:pt x="152" y="670"/>
                    </a:lnTo>
                    <a:lnTo>
                      <a:pt x="154" y="668"/>
                    </a:lnTo>
                    <a:lnTo>
                      <a:pt x="154" y="666"/>
                    </a:lnTo>
                    <a:lnTo>
                      <a:pt x="154" y="666"/>
                    </a:lnTo>
                    <a:lnTo>
                      <a:pt x="152" y="666"/>
                    </a:lnTo>
                    <a:lnTo>
                      <a:pt x="152" y="666"/>
                    </a:lnTo>
                    <a:lnTo>
                      <a:pt x="148" y="664"/>
                    </a:lnTo>
                    <a:lnTo>
                      <a:pt x="146" y="662"/>
                    </a:lnTo>
                    <a:lnTo>
                      <a:pt x="140" y="660"/>
                    </a:lnTo>
                    <a:lnTo>
                      <a:pt x="136" y="660"/>
                    </a:lnTo>
                    <a:lnTo>
                      <a:pt x="136" y="660"/>
                    </a:lnTo>
                    <a:lnTo>
                      <a:pt x="136" y="660"/>
                    </a:lnTo>
                    <a:lnTo>
                      <a:pt x="136" y="660"/>
                    </a:lnTo>
                    <a:lnTo>
                      <a:pt x="136" y="66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22" name="Freeform 220"/>
              <p:cNvSpPr>
                <a:spLocks/>
              </p:cNvSpPr>
              <p:nvPr/>
            </p:nvSpPr>
            <p:spPr bwMode="auto">
              <a:xfrm>
                <a:off x="1631" y="3592"/>
                <a:ext cx="12" cy="34"/>
              </a:xfrm>
              <a:custGeom>
                <a:avLst/>
                <a:gdLst>
                  <a:gd name="T0" fmla="*/ 4 w 12"/>
                  <a:gd name="T1" fmla="*/ 2 h 34"/>
                  <a:gd name="T2" fmla="*/ 2 w 12"/>
                  <a:gd name="T3" fmla="*/ 0 h 34"/>
                  <a:gd name="T4" fmla="*/ 2 w 12"/>
                  <a:gd name="T5" fmla="*/ 0 h 34"/>
                  <a:gd name="T6" fmla="*/ 0 w 12"/>
                  <a:gd name="T7" fmla="*/ 0 h 34"/>
                  <a:gd name="T8" fmla="*/ 0 w 12"/>
                  <a:gd name="T9" fmla="*/ 2 h 34"/>
                  <a:gd name="T10" fmla="*/ 0 w 12"/>
                  <a:gd name="T11" fmla="*/ 10 h 34"/>
                  <a:gd name="T12" fmla="*/ 0 w 12"/>
                  <a:gd name="T13" fmla="*/ 14 h 34"/>
                  <a:gd name="T14" fmla="*/ 0 w 12"/>
                  <a:gd name="T15" fmla="*/ 18 h 34"/>
                  <a:gd name="T16" fmla="*/ 2 w 12"/>
                  <a:gd name="T17" fmla="*/ 24 h 34"/>
                  <a:gd name="T18" fmla="*/ 2 w 12"/>
                  <a:gd name="T19" fmla="*/ 26 h 34"/>
                  <a:gd name="T20" fmla="*/ 2 w 12"/>
                  <a:gd name="T21" fmla="*/ 28 h 34"/>
                  <a:gd name="T22" fmla="*/ 2 w 12"/>
                  <a:gd name="T23" fmla="*/ 32 h 34"/>
                  <a:gd name="T24" fmla="*/ 4 w 12"/>
                  <a:gd name="T25" fmla="*/ 32 h 34"/>
                  <a:gd name="T26" fmla="*/ 4 w 12"/>
                  <a:gd name="T27" fmla="*/ 34 h 34"/>
                  <a:gd name="T28" fmla="*/ 6 w 12"/>
                  <a:gd name="T29" fmla="*/ 32 h 34"/>
                  <a:gd name="T30" fmla="*/ 8 w 12"/>
                  <a:gd name="T31" fmla="*/ 32 h 34"/>
                  <a:gd name="T32" fmla="*/ 10 w 12"/>
                  <a:gd name="T33" fmla="*/ 30 h 34"/>
                  <a:gd name="T34" fmla="*/ 10 w 12"/>
                  <a:gd name="T35" fmla="*/ 28 h 34"/>
                  <a:gd name="T36" fmla="*/ 10 w 12"/>
                  <a:gd name="T37" fmla="*/ 26 h 34"/>
                  <a:gd name="T38" fmla="*/ 10 w 12"/>
                  <a:gd name="T39" fmla="*/ 26 h 34"/>
                  <a:gd name="T40" fmla="*/ 12 w 12"/>
                  <a:gd name="T41" fmla="*/ 22 h 34"/>
                  <a:gd name="T42" fmla="*/ 12 w 12"/>
                  <a:gd name="T43" fmla="*/ 20 h 34"/>
                  <a:gd name="T44" fmla="*/ 12 w 12"/>
                  <a:gd name="T45" fmla="*/ 18 h 34"/>
                  <a:gd name="T46" fmla="*/ 10 w 12"/>
                  <a:gd name="T47" fmla="*/ 18 h 34"/>
                  <a:gd name="T48" fmla="*/ 8 w 12"/>
                  <a:gd name="T49" fmla="*/ 16 h 34"/>
                  <a:gd name="T50" fmla="*/ 8 w 12"/>
                  <a:gd name="T51" fmla="*/ 16 h 34"/>
                  <a:gd name="T52" fmla="*/ 8 w 12"/>
                  <a:gd name="T53" fmla="*/ 16 h 34"/>
                  <a:gd name="T54" fmla="*/ 10 w 12"/>
                  <a:gd name="T55" fmla="*/ 12 h 34"/>
                  <a:gd name="T56" fmla="*/ 10 w 12"/>
                  <a:gd name="T57" fmla="*/ 12 h 34"/>
                  <a:gd name="T58" fmla="*/ 12 w 12"/>
                  <a:gd name="T59" fmla="*/ 8 h 34"/>
                  <a:gd name="T60" fmla="*/ 12 w 12"/>
                  <a:gd name="T61" fmla="*/ 8 h 34"/>
                  <a:gd name="T62" fmla="*/ 12 w 12"/>
                  <a:gd name="T63" fmla="*/ 6 h 34"/>
                  <a:gd name="T64" fmla="*/ 8 w 12"/>
                  <a:gd name="T65" fmla="*/ 4 h 34"/>
                  <a:gd name="T66" fmla="*/ 4 w 12"/>
                  <a:gd name="T67" fmla="*/ 2 h 34"/>
                  <a:gd name="T68" fmla="*/ 4 w 12"/>
                  <a:gd name="T69" fmla="*/ 2 h 34"/>
                  <a:gd name="T70" fmla="*/ 4 w 12"/>
                  <a:gd name="T71" fmla="*/ 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2" h="34">
                    <a:moveTo>
                      <a:pt x="4" y="2"/>
                    </a:moveTo>
                    <a:lnTo>
                      <a:pt x="4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20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6"/>
                    </a:lnTo>
                    <a:lnTo>
                      <a:pt x="2" y="28"/>
                    </a:lnTo>
                    <a:lnTo>
                      <a:pt x="2" y="28"/>
                    </a:lnTo>
                    <a:lnTo>
                      <a:pt x="2" y="30"/>
                    </a:lnTo>
                    <a:lnTo>
                      <a:pt x="2" y="32"/>
                    </a:lnTo>
                    <a:lnTo>
                      <a:pt x="2" y="32"/>
                    </a:lnTo>
                    <a:lnTo>
                      <a:pt x="4" y="32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6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2" y="24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4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2" y="10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0" y="4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23" name="Freeform 222"/>
              <p:cNvSpPr>
                <a:spLocks/>
              </p:cNvSpPr>
              <p:nvPr/>
            </p:nvSpPr>
            <p:spPr bwMode="auto">
              <a:xfrm>
                <a:off x="1643" y="3624"/>
                <a:ext cx="6" cy="8"/>
              </a:xfrm>
              <a:custGeom>
                <a:avLst/>
                <a:gdLst>
                  <a:gd name="T0" fmla="*/ 4 w 6"/>
                  <a:gd name="T1" fmla="*/ 8 h 8"/>
                  <a:gd name="T2" fmla="*/ 4 w 6"/>
                  <a:gd name="T3" fmla="*/ 8 h 8"/>
                  <a:gd name="T4" fmla="*/ 4 w 6"/>
                  <a:gd name="T5" fmla="*/ 8 h 8"/>
                  <a:gd name="T6" fmla="*/ 4 w 6"/>
                  <a:gd name="T7" fmla="*/ 6 h 8"/>
                  <a:gd name="T8" fmla="*/ 6 w 6"/>
                  <a:gd name="T9" fmla="*/ 6 h 8"/>
                  <a:gd name="T10" fmla="*/ 6 w 6"/>
                  <a:gd name="T11" fmla="*/ 4 h 8"/>
                  <a:gd name="T12" fmla="*/ 6 w 6"/>
                  <a:gd name="T13" fmla="*/ 4 h 8"/>
                  <a:gd name="T14" fmla="*/ 6 w 6"/>
                  <a:gd name="T15" fmla="*/ 2 h 8"/>
                  <a:gd name="T16" fmla="*/ 6 w 6"/>
                  <a:gd name="T17" fmla="*/ 2 h 8"/>
                  <a:gd name="T18" fmla="*/ 4 w 6"/>
                  <a:gd name="T19" fmla="*/ 0 h 8"/>
                  <a:gd name="T20" fmla="*/ 4 w 6"/>
                  <a:gd name="T21" fmla="*/ 0 h 8"/>
                  <a:gd name="T22" fmla="*/ 4 w 6"/>
                  <a:gd name="T23" fmla="*/ 0 h 8"/>
                  <a:gd name="T24" fmla="*/ 4 w 6"/>
                  <a:gd name="T25" fmla="*/ 2 h 8"/>
                  <a:gd name="T26" fmla="*/ 0 w 6"/>
                  <a:gd name="T27" fmla="*/ 2 h 8"/>
                  <a:gd name="T28" fmla="*/ 0 w 6"/>
                  <a:gd name="T29" fmla="*/ 4 h 8"/>
                  <a:gd name="T30" fmla="*/ 0 w 6"/>
                  <a:gd name="T31" fmla="*/ 6 h 8"/>
                  <a:gd name="T32" fmla="*/ 0 w 6"/>
                  <a:gd name="T33" fmla="*/ 6 h 8"/>
                  <a:gd name="T34" fmla="*/ 0 w 6"/>
                  <a:gd name="T35" fmla="*/ 8 h 8"/>
                  <a:gd name="T36" fmla="*/ 4 w 6"/>
                  <a:gd name="T37" fmla="*/ 8 h 8"/>
                  <a:gd name="T38" fmla="*/ 4 w 6"/>
                  <a:gd name="T39" fmla="*/ 8 h 8"/>
                  <a:gd name="T40" fmla="*/ 4 w 6"/>
                  <a:gd name="T41" fmla="*/ 8 h 8"/>
                  <a:gd name="T42" fmla="*/ 4 w 6"/>
                  <a:gd name="T43" fmla="*/ 8 h 8"/>
                  <a:gd name="T44" fmla="*/ 4 w 6"/>
                  <a:gd name="T4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" h="8">
                    <a:moveTo>
                      <a:pt x="4" y="8"/>
                    </a:moveTo>
                    <a:lnTo>
                      <a:pt x="4" y="8"/>
                    </a:lnTo>
                    <a:lnTo>
                      <a:pt x="4" y="8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24" name="Freeform 225"/>
              <p:cNvSpPr>
                <a:spLocks/>
              </p:cNvSpPr>
              <p:nvPr/>
            </p:nvSpPr>
            <p:spPr bwMode="auto">
              <a:xfrm>
                <a:off x="1647" y="3636"/>
                <a:ext cx="6" cy="4"/>
              </a:xfrm>
              <a:custGeom>
                <a:avLst/>
                <a:gdLst>
                  <a:gd name="T0" fmla="*/ 0 w 6"/>
                  <a:gd name="T1" fmla="*/ 0 h 4"/>
                  <a:gd name="T2" fmla="*/ 0 w 6"/>
                  <a:gd name="T3" fmla="*/ 0 h 4"/>
                  <a:gd name="T4" fmla="*/ 0 w 6"/>
                  <a:gd name="T5" fmla="*/ 0 h 4"/>
                  <a:gd name="T6" fmla="*/ 0 w 6"/>
                  <a:gd name="T7" fmla="*/ 2 h 4"/>
                  <a:gd name="T8" fmla="*/ 0 w 6"/>
                  <a:gd name="T9" fmla="*/ 2 h 4"/>
                  <a:gd name="T10" fmla="*/ 0 w 6"/>
                  <a:gd name="T11" fmla="*/ 2 h 4"/>
                  <a:gd name="T12" fmla="*/ 0 w 6"/>
                  <a:gd name="T13" fmla="*/ 4 h 4"/>
                  <a:gd name="T14" fmla="*/ 0 w 6"/>
                  <a:gd name="T15" fmla="*/ 4 h 4"/>
                  <a:gd name="T16" fmla="*/ 0 w 6"/>
                  <a:gd name="T17" fmla="*/ 4 h 4"/>
                  <a:gd name="T18" fmla="*/ 2 w 6"/>
                  <a:gd name="T19" fmla="*/ 4 h 4"/>
                  <a:gd name="T20" fmla="*/ 4 w 6"/>
                  <a:gd name="T21" fmla="*/ 4 h 4"/>
                  <a:gd name="T22" fmla="*/ 4 w 6"/>
                  <a:gd name="T23" fmla="*/ 4 h 4"/>
                  <a:gd name="T24" fmla="*/ 4 w 6"/>
                  <a:gd name="T25" fmla="*/ 4 h 4"/>
                  <a:gd name="T26" fmla="*/ 6 w 6"/>
                  <a:gd name="T27" fmla="*/ 4 h 4"/>
                  <a:gd name="T28" fmla="*/ 6 w 6"/>
                  <a:gd name="T29" fmla="*/ 4 h 4"/>
                  <a:gd name="T30" fmla="*/ 6 w 6"/>
                  <a:gd name="T31" fmla="*/ 2 h 4"/>
                  <a:gd name="T32" fmla="*/ 4 w 6"/>
                  <a:gd name="T33" fmla="*/ 2 h 4"/>
                  <a:gd name="T34" fmla="*/ 4 w 6"/>
                  <a:gd name="T35" fmla="*/ 0 h 4"/>
                  <a:gd name="T36" fmla="*/ 4 w 6"/>
                  <a:gd name="T37" fmla="*/ 0 h 4"/>
                  <a:gd name="T38" fmla="*/ 2 w 6"/>
                  <a:gd name="T39" fmla="*/ 0 h 4"/>
                  <a:gd name="T40" fmla="*/ 0 w 6"/>
                  <a:gd name="T41" fmla="*/ 0 h 4"/>
                  <a:gd name="T42" fmla="*/ 0 w 6"/>
                  <a:gd name="T43" fmla="*/ 0 h 4"/>
                  <a:gd name="T44" fmla="*/ 0 w 6"/>
                  <a:gd name="T45" fmla="*/ 0 h 4"/>
                  <a:gd name="T46" fmla="*/ 0 w 6"/>
                  <a:gd name="T47" fmla="*/ 0 h 4"/>
                  <a:gd name="T48" fmla="*/ 0 w 6"/>
                  <a:gd name="T49" fmla="*/ 0 h 4"/>
                  <a:gd name="T50" fmla="*/ 0 w 6"/>
                  <a:gd name="T5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" h="4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25" name="Freeform 226"/>
              <p:cNvSpPr>
                <a:spLocks/>
              </p:cNvSpPr>
              <p:nvPr/>
            </p:nvSpPr>
            <p:spPr bwMode="auto">
              <a:xfrm>
                <a:off x="1657" y="3650"/>
                <a:ext cx="10" cy="10"/>
              </a:xfrm>
              <a:custGeom>
                <a:avLst/>
                <a:gdLst>
                  <a:gd name="T0" fmla="*/ 8 w 10"/>
                  <a:gd name="T1" fmla="*/ 0 h 10"/>
                  <a:gd name="T2" fmla="*/ 8 w 10"/>
                  <a:gd name="T3" fmla="*/ 0 h 10"/>
                  <a:gd name="T4" fmla="*/ 4 w 10"/>
                  <a:gd name="T5" fmla="*/ 0 h 10"/>
                  <a:gd name="T6" fmla="*/ 4 w 10"/>
                  <a:gd name="T7" fmla="*/ 0 h 10"/>
                  <a:gd name="T8" fmla="*/ 2 w 10"/>
                  <a:gd name="T9" fmla="*/ 0 h 10"/>
                  <a:gd name="T10" fmla="*/ 2 w 10"/>
                  <a:gd name="T11" fmla="*/ 0 h 10"/>
                  <a:gd name="T12" fmla="*/ 0 w 10"/>
                  <a:gd name="T13" fmla="*/ 0 h 10"/>
                  <a:gd name="T14" fmla="*/ 0 w 10"/>
                  <a:gd name="T15" fmla="*/ 0 h 10"/>
                  <a:gd name="T16" fmla="*/ 0 w 10"/>
                  <a:gd name="T17" fmla="*/ 0 h 10"/>
                  <a:gd name="T18" fmla="*/ 0 w 10"/>
                  <a:gd name="T19" fmla="*/ 2 h 10"/>
                  <a:gd name="T20" fmla="*/ 0 w 10"/>
                  <a:gd name="T21" fmla="*/ 2 h 10"/>
                  <a:gd name="T22" fmla="*/ 2 w 10"/>
                  <a:gd name="T23" fmla="*/ 4 h 10"/>
                  <a:gd name="T24" fmla="*/ 2 w 10"/>
                  <a:gd name="T25" fmla="*/ 4 h 10"/>
                  <a:gd name="T26" fmla="*/ 2 w 10"/>
                  <a:gd name="T27" fmla="*/ 6 h 10"/>
                  <a:gd name="T28" fmla="*/ 2 w 10"/>
                  <a:gd name="T29" fmla="*/ 8 h 10"/>
                  <a:gd name="T30" fmla="*/ 2 w 10"/>
                  <a:gd name="T31" fmla="*/ 8 h 10"/>
                  <a:gd name="T32" fmla="*/ 2 w 10"/>
                  <a:gd name="T33" fmla="*/ 8 h 10"/>
                  <a:gd name="T34" fmla="*/ 4 w 10"/>
                  <a:gd name="T35" fmla="*/ 10 h 10"/>
                  <a:gd name="T36" fmla="*/ 4 w 10"/>
                  <a:gd name="T37" fmla="*/ 10 h 10"/>
                  <a:gd name="T38" fmla="*/ 4 w 10"/>
                  <a:gd name="T39" fmla="*/ 10 h 10"/>
                  <a:gd name="T40" fmla="*/ 6 w 10"/>
                  <a:gd name="T41" fmla="*/ 10 h 10"/>
                  <a:gd name="T42" fmla="*/ 6 w 10"/>
                  <a:gd name="T43" fmla="*/ 8 h 10"/>
                  <a:gd name="T44" fmla="*/ 6 w 10"/>
                  <a:gd name="T45" fmla="*/ 8 h 10"/>
                  <a:gd name="T46" fmla="*/ 6 w 10"/>
                  <a:gd name="T47" fmla="*/ 8 h 10"/>
                  <a:gd name="T48" fmla="*/ 8 w 10"/>
                  <a:gd name="T49" fmla="*/ 4 h 10"/>
                  <a:gd name="T50" fmla="*/ 8 w 10"/>
                  <a:gd name="T51" fmla="*/ 4 h 10"/>
                  <a:gd name="T52" fmla="*/ 8 w 10"/>
                  <a:gd name="T53" fmla="*/ 2 h 10"/>
                  <a:gd name="T54" fmla="*/ 8 w 10"/>
                  <a:gd name="T55" fmla="*/ 2 h 10"/>
                  <a:gd name="T56" fmla="*/ 10 w 10"/>
                  <a:gd name="T57" fmla="*/ 2 h 10"/>
                  <a:gd name="T58" fmla="*/ 8 w 10"/>
                  <a:gd name="T59" fmla="*/ 0 h 10"/>
                  <a:gd name="T60" fmla="*/ 8 w 10"/>
                  <a:gd name="T61" fmla="*/ 0 h 10"/>
                  <a:gd name="T62" fmla="*/ 8 w 10"/>
                  <a:gd name="T63" fmla="*/ 0 h 10"/>
                  <a:gd name="T64" fmla="*/ 8 w 10"/>
                  <a:gd name="T6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0" h="10">
                    <a:moveTo>
                      <a:pt x="8" y="0"/>
                    </a:moveTo>
                    <a:lnTo>
                      <a:pt x="8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26" name="Freeform 227"/>
              <p:cNvSpPr>
                <a:spLocks/>
              </p:cNvSpPr>
              <p:nvPr/>
            </p:nvSpPr>
            <p:spPr bwMode="auto">
              <a:xfrm>
                <a:off x="1657" y="3650"/>
                <a:ext cx="10" cy="10"/>
              </a:xfrm>
              <a:custGeom>
                <a:avLst/>
                <a:gdLst>
                  <a:gd name="T0" fmla="*/ 8 w 10"/>
                  <a:gd name="T1" fmla="*/ 0 h 10"/>
                  <a:gd name="T2" fmla="*/ 8 w 10"/>
                  <a:gd name="T3" fmla="*/ 0 h 10"/>
                  <a:gd name="T4" fmla="*/ 4 w 10"/>
                  <a:gd name="T5" fmla="*/ 0 h 10"/>
                  <a:gd name="T6" fmla="*/ 4 w 10"/>
                  <a:gd name="T7" fmla="*/ 0 h 10"/>
                  <a:gd name="T8" fmla="*/ 2 w 10"/>
                  <a:gd name="T9" fmla="*/ 0 h 10"/>
                  <a:gd name="T10" fmla="*/ 2 w 10"/>
                  <a:gd name="T11" fmla="*/ 0 h 10"/>
                  <a:gd name="T12" fmla="*/ 0 w 10"/>
                  <a:gd name="T13" fmla="*/ 0 h 10"/>
                  <a:gd name="T14" fmla="*/ 0 w 10"/>
                  <a:gd name="T15" fmla="*/ 0 h 10"/>
                  <a:gd name="T16" fmla="*/ 0 w 10"/>
                  <a:gd name="T17" fmla="*/ 0 h 10"/>
                  <a:gd name="T18" fmla="*/ 0 w 10"/>
                  <a:gd name="T19" fmla="*/ 2 h 10"/>
                  <a:gd name="T20" fmla="*/ 0 w 10"/>
                  <a:gd name="T21" fmla="*/ 2 h 10"/>
                  <a:gd name="T22" fmla="*/ 2 w 10"/>
                  <a:gd name="T23" fmla="*/ 4 h 10"/>
                  <a:gd name="T24" fmla="*/ 2 w 10"/>
                  <a:gd name="T25" fmla="*/ 4 h 10"/>
                  <a:gd name="T26" fmla="*/ 2 w 10"/>
                  <a:gd name="T27" fmla="*/ 6 h 10"/>
                  <a:gd name="T28" fmla="*/ 2 w 10"/>
                  <a:gd name="T29" fmla="*/ 8 h 10"/>
                  <a:gd name="T30" fmla="*/ 2 w 10"/>
                  <a:gd name="T31" fmla="*/ 8 h 10"/>
                  <a:gd name="T32" fmla="*/ 2 w 10"/>
                  <a:gd name="T33" fmla="*/ 8 h 10"/>
                  <a:gd name="T34" fmla="*/ 4 w 10"/>
                  <a:gd name="T35" fmla="*/ 10 h 10"/>
                  <a:gd name="T36" fmla="*/ 4 w 10"/>
                  <a:gd name="T37" fmla="*/ 10 h 10"/>
                  <a:gd name="T38" fmla="*/ 4 w 10"/>
                  <a:gd name="T39" fmla="*/ 10 h 10"/>
                  <a:gd name="T40" fmla="*/ 6 w 10"/>
                  <a:gd name="T41" fmla="*/ 10 h 10"/>
                  <a:gd name="T42" fmla="*/ 6 w 10"/>
                  <a:gd name="T43" fmla="*/ 8 h 10"/>
                  <a:gd name="T44" fmla="*/ 6 w 10"/>
                  <a:gd name="T45" fmla="*/ 8 h 10"/>
                  <a:gd name="T46" fmla="*/ 6 w 10"/>
                  <a:gd name="T47" fmla="*/ 8 h 10"/>
                  <a:gd name="T48" fmla="*/ 8 w 10"/>
                  <a:gd name="T49" fmla="*/ 4 h 10"/>
                  <a:gd name="T50" fmla="*/ 8 w 10"/>
                  <a:gd name="T51" fmla="*/ 4 h 10"/>
                  <a:gd name="T52" fmla="*/ 8 w 10"/>
                  <a:gd name="T53" fmla="*/ 2 h 10"/>
                  <a:gd name="T54" fmla="*/ 8 w 10"/>
                  <a:gd name="T55" fmla="*/ 2 h 10"/>
                  <a:gd name="T56" fmla="*/ 10 w 10"/>
                  <a:gd name="T57" fmla="*/ 2 h 10"/>
                  <a:gd name="T58" fmla="*/ 8 w 10"/>
                  <a:gd name="T59" fmla="*/ 0 h 10"/>
                  <a:gd name="T60" fmla="*/ 8 w 10"/>
                  <a:gd name="T61" fmla="*/ 0 h 10"/>
                  <a:gd name="T62" fmla="*/ 8 w 10"/>
                  <a:gd name="T63" fmla="*/ 0 h 10"/>
                  <a:gd name="T64" fmla="*/ 8 w 10"/>
                  <a:gd name="T6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0" h="10">
                    <a:moveTo>
                      <a:pt x="8" y="0"/>
                    </a:moveTo>
                    <a:lnTo>
                      <a:pt x="8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27" name="Freeform 228"/>
              <p:cNvSpPr>
                <a:spLocks/>
              </p:cNvSpPr>
              <p:nvPr/>
            </p:nvSpPr>
            <p:spPr bwMode="auto">
              <a:xfrm>
                <a:off x="1649" y="3648"/>
                <a:ext cx="6" cy="10"/>
              </a:xfrm>
              <a:custGeom>
                <a:avLst/>
                <a:gdLst>
                  <a:gd name="T0" fmla="*/ 0 w 6"/>
                  <a:gd name="T1" fmla="*/ 0 h 10"/>
                  <a:gd name="T2" fmla="*/ 0 w 6"/>
                  <a:gd name="T3" fmla="*/ 0 h 10"/>
                  <a:gd name="T4" fmla="*/ 0 w 6"/>
                  <a:gd name="T5" fmla="*/ 0 h 10"/>
                  <a:gd name="T6" fmla="*/ 2 w 6"/>
                  <a:gd name="T7" fmla="*/ 2 h 10"/>
                  <a:gd name="T8" fmla="*/ 2 w 6"/>
                  <a:gd name="T9" fmla="*/ 2 h 10"/>
                  <a:gd name="T10" fmla="*/ 0 w 6"/>
                  <a:gd name="T11" fmla="*/ 2 h 10"/>
                  <a:gd name="T12" fmla="*/ 0 w 6"/>
                  <a:gd name="T13" fmla="*/ 4 h 10"/>
                  <a:gd name="T14" fmla="*/ 0 w 6"/>
                  <a:gd name="T15" fmla="*/ 4 h 10"/>
                  <a:gd name="T16" fmla="*/ 0 w 6"/>
                  <a:gd name="T17" fmla="*/ 4 h 10"/>
                  <a:gd name="T18" fmla="*/ 0 w 6"/>
                  <a:gd name="T19" fmla="*/ 6 h 10"/>
                  <a:gd name="T20" fmla="*/ 0 w 6"/>
                  <a:gd name="T21" fmla="*/ 6 h 10"/>
                  <a:gd name="T22" fmla="*/ 0 w 6"/>
                  <a:gd name="T23" fmla="*/ 8 h 10"/>
                  <a:gd name="T24" fmla="*/ 0 w 6"/>
                  <a:gd name="T25" fmla="*/ 8 h 10"/>
                  <a:gd name="T26" fmla="*/ 2 w 6"/>
                  <a:gd name="T27" fmla="*/ 8 h 10"/>
                  <a:gd name="T28" fmla="*/ 2 w 6"/>
                  <a:gd name="T29" fmla="*/ 8 h 10"/>
                  <a:gd name="T30" fmla="*/ 4 w 6"/>
                  <a:gd name="T31" fmla="*/ 10 h 10"/>
                  <a:gd name="T32" fmla="*/ 4 w 6"/>
                  <a:gd name="T33" fmla="*/ 10 h 10"/>
                  <a:gd name="T34" fmla="*/ 4 w 6"/>
                  <a:gd name="T35" fmla="*/ 10 h 10"/>
                  <a:gd name="T36" fmla="*/ 4 w 6"/>
                  <a:gd name="T37" fmla="*/ 10 h 10"/>
                  <a:gd name="T38" fmla="*/ 6 w 6"/>
                  <a:gd name="T39" fmla="*/ 10 h 10"/>
                  <a:gd name="T40" fmla="*/ 6 w 6"/>
                  <a:gd name="T41" fmla="*/ 10 h 10"/>
                  <a:gd name="T42" fmla="*/ 6 w 6"/>
                  <a:gd name="T43" fmla="*/ 10 h 10"/>
                  <a:gd name="T44" fmla="*/ 6 w 6"/>
                  <a:gd name="T45" fmla="*/ 8 h 10"/>
                  <a:gd name="T46" fmla="*/ 6 w 6"/>
                  <a:gd name="T47" fmla="*/ 8 h 10"/>
                  <a:gd name="T48" fmla="*/ 6 w 6"/>
                  <a:gd name="T49" fmla="*/ 8 h 10"/>
                  <a:gd name="T50" fmla="*/ 6 w 6"/>
                  <a:gd name="T51" fmla="*/ 6 h 10"/>
                  <a:gd name="T52" fmla="*/ 4 w 6"/>
                  <a:gd name="T53" fmla="*/ 4 h 10"/>
                  <a:gd name="T54" fmla="*/ 4 w 6"/>
                  <a:gd name="T55" fmla="*/ 4 h 10"/>
                  <a:gd name="T56" fmla="*/ 4 w 6"/>
                  <a:gd name="T57" fmla="*/ 2 h 10"/>
                  <a:gd name="T58" fmla="*/ 4 w 6"/>
                  <a:gd name="T59" fmla="*/ 2 h 10"/>
                  <a:gd name="T60" fmla="*/ 4 w 6"/>
                  <a:gd name="T61" fmla="*/ 0 h 10"/>
                  <a:gd name="T62" fmla="*/ 4 w 6"/>
                  <a:gd name="T63" fmla="*/ 0 h 10"/>
                  <a:gd name="T64" fmla="*/ 4 w 6"/>
                  <a:gd name="T65" fmla="*/ 0 h 10"/>
                  <a:gd name="T66" fmla="*/ 2 w 6"/>
                  <a:gd name="T67" fmla="*/ 0 h 10"/>
                  <a:gd name="T68" fmla="*/ 2 w 6"/>
                  <a:gd name="T69" fmla="*/ 0 h 10"/>
                  <a:gd name="T70" fmla="*/ 0 w 6"/>
                  <a:gd name="T71" fmla="*/ 0 h 10"/>
                  <a:gd name="T72" fmla="*/ 0 w 6"/>
                  <a:gd name="T73" fmla="*/ 0 h 10"/>
                  <a:gd name="T74" fmla="*/ 0 w 6"/>
                  <a:gd name="T75" fmla="*/ 0 h 10"/>
                  <a:gd name="T76" fmla="*/ 0 w 6"/>
                  <a:gd name="T77" fmla="*/ 0 h 10"/>
                  <a:gd name="T78" fmla="*/ 0 w 6"/>
                  <a:gd name="T7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6" h="1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6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28" name="Freeform 230"/>
              <p:cNvSpPr>
                <a:spLocks/>
              </p:cNvSpPr>
              <p:nvPr/>
            </p:nvSpPr>
            <p:spPr bwMode="auto">
              <a:xfrm>
                <a:off x="1647" y="3660"/>
                <a:ext cx="10" cy="14"/>
              </a:xfrm>
              <a:custGeom>
                <a:avLst/>
                <a:gdLst>
                  <a:gd name="T0" fmla="*/ 2 w 10"/>
                  <a:gd name="T1" fmla="*/ 2 h 14"/>
                  <a:gd name="T2" fmla="*/ 2 w 10"/>
                  <a:gd name="T3" fmla="*/ 2 h 14"/>
                  <a:gd name="T4" fmla="*/ 0 w 10"/>
                  <a:gd name="T5" fmla="*/ 4 h 14"/>
                  <a:gd name="T6" fmla="*/ 0 w 10"/>
                  <a:gd name="T7" fmla="*/ 4 h 14"/>
                  <a:gd name="T8" fmla="*/ 2 w 10"/>
                  <a:gd name="T9" fmla="*/ 6 h 14"/>
                  <a:gd name="T10" fmla="*/ 2 w 10"/>
                  <a:gd name="T11" fmla="*/ 6 h 14"/>
                  <a:gd name="T12" fmla="*/ 2 w 10"/>
                  <a:gd name="T13" fmla="*/ 6 h 14"/>
                  <a:gd name="T14" fmla="*/ 4 w 10"/>
                  <a:gd name="T15" fmla="*/ 8 h 14"/>
                  <a:gd name="T16" fmla="*/ 6 w 10"/>
                  <a:gd name="T17" fmla="*/ 8 h 14"/>
                  <a:gd name="T18" fmla="*/ 6 w 10"/>
                  <a:gd name="T19" fmla="*/ 8 h 14"/>
                  <a:gd name="T20" fmla="*/ 6 w 10"/>
                  <a:gd name="T21" fmla="*/ 12 h 14"/>
                  <a:gd name="T22" fmla="*/ 6 w 10"/>
                  <a:gd name="T23" fmla="*/ 14 h 14"/>
                  <a:gd name="T24" fmla="*/ 8 w 10"/>
                  <a:gd name="T25" fmla="*/ 14 h 14"/>
                  <a:gd name="T26" fmla="*/ 8 w 10"/>
                  <a:gd name="T27" fmla="*/ 14 h 14"/>
                  <a:gd name="T28" fmla="*/ 8 w 10"/>
                  <a:gd name="T29" fmla="*/ 14 h 14"/>
                  <a:gd name="T30" fmla="*/ 8 w 10"/>
                  <a:gd name="T31" fmla="*/ 14 h 14"/>
                  <a:gd name="T32" fmla="*/ 10 w 10"/>
                  <a:gd name="T33" fmla="*/ 14 h 14"/>
                  <a:gd name="T34" fmla="*/ 10 w 10"/>
                  <a:gd name="T35" fmla="*/ 12 h 14"/>
                  <a:gd name="T36" fmla="*/ 10 w 10"/>
                  <a:gd name="T37" fmla="*/ 8 h 14"/>
                  <a:gd name="T38" fmla="*/ 10 w 10"/>
                  <a:gd name="T39" fmla="*/ 8 h 14"/>
                  <a:gd name="T40" fmla="*/ 10 w 10"/>
                  <a:gd name="T41" fmla="*/ 8 h 14"/>
                  <a:gd name="T42" fmla="*/ 8 w 10"/>
                  <a:gd name="T43" fmla="*/ 6 h 14"/>
                  <a:gd name="T44" fmla="*/ 8 w 10"/>
                  <a:gd name="T45" fmla="*/ 6 h 14"/>
                  <a:gd name="T46" fmla="*/ 8 w 10"/>
                  <a:gd name="T47" fmla="*/ 4 h 14"/>
                  <a:gd name="T48" fmla="*/ 8 w 10"/>
                  <a:gd name="T49" fmla="*/ 4 h 14"/>
                  <a:gd name="T50" fmla="*/ 8 w 10"/>
                  <a:gd name="T51" fmla="*/ 2 h 14"/>
                  <a:gd name="T52" fmla="*/ 8 w 10"/>
                  <a:gd name="T53" fmla="*/ 2 h 14"/>
                  <a:gd name="T54" fmla="*/ 6 w 10"/>
                  <a:gd name="T55" fmla="*/ 0 h 14"/>
                  <a:gd name="T56" fmla="*/ 6 w 10"/>
                  <a:gd name="T57" fmla="*/ 0 h 14"/>
                  <a:gd name="T58" fmla="*/ 6 w 10"/>
                  <a:gd name="T59" fmla="*/ 0 h 14"/>
                  <a:gd name="T60" fmla="*/ 4 w 10"/>
                  <a:gd name="T61" fmla="*/ 2 h 14"/>
                  <a:gd name="T62" fmla="*/ 2 w 10"/>
                  <a:gd name="T63" fmla="*/ 2 h 14"/>
                  <a:gd name="T64" fmla="*/ 2 w 10"/>
                  <a:gd name="T65" fmla="*/ 2 h 14"/>
                  <a:gd name="T66" fmla="*/ 2 w 10"/>
                  <a:gd name="T67" fmla="*/ 2 h 14"/>
                  <a:gd name="T68" fmla="*/ 2 w 10"/>
                  <a:gd name="T69" fmla="*/ 2 h 14"/>
                  <a:gd name="T70" fmla="*/ 2 w 10"/>
                  <a:gd name="T71" fmla="*/ 2 h 14"/>
                  <a:gd name="T72" fmla="*/ 2 w 10"/>
                  <a:gd name="T73" fmla="*/ 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0" h="14">
                    <a:moveTo>
                      <a:pt x="2" y="2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12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0" y="14"/>
                    </a:lnTo>
                    <a:lnTo>
                      <a:pt x="10" y="12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29" name="Freeform 232"/>
              <p:cNvSpPr>
                <a:spLocks/>
              </p:cNvSpPr>
              <p:nvPr/>
            </p:nvSpPr>
            <p:spPr bwMode="auto">
              <a:xfrm>
                <a:off x="1641" y="3714"/>
                <a:ext cx="10" cy="8"/>
              </a:xfrm>
              <a:custGeom>
                <a:avLst/>
                <a:gdLst>
                  <a:gd name="T0" fmla="*/ 0 w 10"/>
                  <a:gd name="T1" fmla="*/ 4 h 8"/>
                  <a:gd name="T2" fmla="*/ 0 w 10"/>
                  <a:gd name="T3" fmla="*/ 4 h 8"/>
                  <a:gd name="T4" fmla="*/ 0 w 10"/>
                  <a:gd name="T5" fmla="*/ 6 h 8"/>
                  <a:gd name="T6" fmla="*/ 2 w 10"/>
                  <a:gd name="T7" fmla="*/ 8 h 8"/>
                  <a:gd name="T8" fmla="*/ 2 w 10"/>
                  <a:gd name="T9" fmla="*/ 8 h 8"/>
                  <a:gd name="T10" fmla="*/ 6 w 10"/>
                  <a:gd name="T11" fmla="*/ 6 h 8"/>
                  <a:gd name="T12" fmla="*/ 6 w 10"/>
                  <a:gd name="T13" fmla="*/ 6 h 8"/>
                  <a:gd name="T14" fmla="*/ 8 w 10"/>
                  <a:gd name="T15" fmla="*/ 4 h 8"/>
                  <a:gd name="T16" fmla="*/ 8 w 10"/>
                  <a:gd name="T17" fmla="*/ 4 h 8"/>
                  <a:gd name="T18" fmla="*/ 10 w 10"/>
                  <a:gd name="T19" fmla="*/ 2 h 8"/>
                  <a:gd name="T20" fmla="*/ 8 w 10"/>
                  <a:gd name="T21" fmla="*/ 2 h 8"/>
                  <a:gd name="T22" fmla="*/ 8 w 10"/>
                  <a:gd name="T23" fmla="*/ 0 h 8"/>
                  <a:gd name="T24" fmla="*/ 8 w 10"/>
                  <a:gd name="T25" fmla="*/ 0 h 8"/>
                  <a:gd name="T26" fmla="*/ 8 w 10"/>
                  <a:gd name="T27" fmla="*/ 0 h 8"/>
                  <a:gd name="T28" fmla="*/ 6 w 10"/>
                  <a:gd name="T29" fmla="*/ 0 h 8"/>
                  <a:gd name="T30" fmla="*/ 6 w 10"/>
                  <a:gd name="T31" fmla="*/ 0 h 8"/>
                  <a:gd name="T32" fmla="*/ 2 w 10"/>
                  <a:gd name="T33" fmla="*/ 0 h 8"/>
                  <a:gd name="T34" fmla="*/ 2 w 10"/>
                  <a:gd name="T35" fmla="*/ 0 h 8"/>
                  <a:gd name="T36" fmla="*/ 0 w 10"/>
                  <a:gd name="T37" fmla="*/ 2 h 8"/>
                  <a:gd name="T38" fmla="*/ 0 w 10"/>
                  <a:gd name="T39" fmla="*/ 2 h 8"/>
                  <a:gd name="T40" fmla="*/ 0 w 10"/>
                  <a:gd name="T41" fmla="*/ 4 h 8"/>
                  <a:gd name="T42" fmla="*/ 0 w 10"/>
                  <a:gd name="T43" fmla="*/ 4 h 8"/>
                  <a:gd name="T44" fmla="*/ 0 w 10"/>
                  <a:gd name="T45" fmla="*/ 4 h 8"/>
                  <a:gd name="T46" fmla="*/ 0 w 10"/>
                  <a:gd name="T47" fmla="*/ 4 h 8"/>
                  <a:gd name="T48" fmla="*/ 0 w 10"/>
                  <a:gd name="T49" fmla="*/ 4 h 8"/>
                  <a:gd name="T50" fmla="*/ 0 w 10"/>
                  <a:gd name="T51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0" h="8">
                    <a:moveTo>
                      <a:pt x="0" y="4"/>
                    </a:moveTo>
                    <a:lnTo>
                      <a:pt x="0" y="4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0" y="2"/>
                    </a:lnTo>
                    <a:lnTo>
                      <a:pt x="8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30" name="Freeform 234"/>
              <p:cNvSpPr>
                <a:spLocks/>
              </p:cNvSpPr>
              <p:nvPr/>
            </p:nvSpPr>
            <p:spPr bwMode="auto">
              <a:xfrm>
                <a:off x="1643" y="3730"/>
                <a:ext cx="8" cy="10"/>
              </a:xfrm>
              <a:custGeom>
                <a:avLst/>
                <a:gdLst>
                  <a:gd name="T0" fmla="*/ 4 w 8"/>
                  <a:gd name="T1" fmla="*/ 4 h 10"/>
                  <a:gd name="T2" fmla="*/ 4 w 8"/>
                  <a:gd name="T3" fmla="*/ 4 h 10"/>
                  <a:gd name="T4" fmla="*/ 0 w 8"/>
                  <a:gd name="T5" fmla="*/ 4 h 10"/>
                  <a:gd name="T6" fmla="*/ 0 w 8"/>
                  <a:gd name="T7" fmla="*/ 6 h 10"/>
                  <a:gd name="T8" fmla="*/ 0 w 8"/>
                  <a:gd name="T9" fmla="*/ 8 h 10"/>
                  <a:gd name="T10" fmla="*/ 0 w 8"/>
                  <a:gd name="T11" fmla="*/ 8 h 10"/>
                  <a:gd name="T12" fmla="*/ 0 w 8"/>
                  <a:gd name="T13" fmla="*/ 8 h 10"/>
                  <a:gd name="T14" fmla="*/ 0 w 8"/>
                  <a:gd name="T15" fmla="*/ 10 h 10"/>
                  <a:gd name="T16" fmla="*/ 4 w 8"/>
                  <a:gd name="T17" fmla="*/ 10 h 10"/>
                  <a:gd name="T18" fmla="*/ 4 w 8"/>
                  <a:gd name="T19" fmla="*/ 10 h 10"/>
                  <a:gd name="T20" fmla="*/ 4 w 8"/>
                  <a:gd name="T21" fmla="*/ 10 h 10"/>
                  <a:gd name="T22" fmla="*/ 4 w 8"/>
                  <a:gd name="T23" fmla="*/ 10 h 10"/>
                  <a:gd name="T24" fmla="*/ 6 w 8"/>
                  <a:gd name="T25" fmla="*/ 10 h 10"/>
                  <a:gd name="T26" fmla="*/ 6 w 8"/>
                  <a:gd name="T27" fmla="*/ 8 h 10"/>
                  <a:gd name="T28" fmla="*/ 6 w 8"/>
                  <a:gd name="T29" fmla="*/ 8 h 10"/>
                  <a:gd name="T30" fmla="*/ 8 w 8"/>
                  <a:gd name="T31" fmla="*/ 6 h 10"/>
                  <a:gd name="T32" fmla="*/ 8 w 8"/>
                  <a:gd name="T33" fmla="*/ 4 h 10"/>
                  <a:gd name="T34" fmla="*/ 8 w 8"/>
                  <a:gd name="T35" fmla="*/ 4 h 10"/>
                  <a:gd name="T36" fmla="*/ 8 w 8"/>
                  <a:gd name="T37" fmla="*/ 2 h 10"/>
                  <a:gd name="T38" fmla="*/ 8 w 8"/>
                  <a:gd name="T39" fmla="*/ 2 h 10"/>
                  <a:gd name="T40" fmla="*/ 8 w 8"/>
                  <a:gd name="T41" fmla="*/ 0 h 10"/>
                  <a:gd name="T42" fmla="*/ 8 w 8"/>
                  <a:gd name="T43" fmla="*/ 0 h 10"/>
                  <a:gd name="T44" fmla="*/ 6 w 8"/>
                  <a:gd name="T45" fmla="*/ 0 h 10"/>
                  <a:gd name="T46" fmla="*/ 6 w 8"/>
                  <a:gd name="T47" fmla="*/ 0 h 10"/>
                  <a:gd name="T48" fmla="*/ 4 w 8"/>
                  <a:gd name="T49" fmla="*/ 2 h 10"/>
                  <a:gd name="T50" fmla="*/ 4 w 8"/>
                  <a:gd name="T51" fmla="*/ 4 h 10"/>
                  <a:gd name="T52" fmla="*/ 4 w 8"/>
                  <a:gd name="T53" fmla="*/ 4 h 10"/>
                  <a:gd name="T54" fmla="*/ 4 w 8"/>
                  <a:gd name="T55" fmla="*/ 4 h 10"/>
                  <a:gd name="T56" fmla="*/ 4 w 8"/>
                  <a:gd name="T57" fmla="*/ 4 h 10"/>
                  <a:gd name="T58" fmla="*/ 4 w 8"/>
                  <a:gd name="T59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8" h="10">
                    <a:moveTo>
                      <a:pt x="4" y="4"/>
                    </a:moveTo>
                    <a:lnTo>
                      <a:pt x="4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31" name="Freeform 236"/>
              <p:cNvSpPr>
                <a:spLocks/>
              </p:cNvSpPr>
              <p:nvPr/>
            </p:nvSpPr>
            <p:spPr bwMode="auto">
              <a:xfrm>
                <a:off x="1651" y="3734"/>
                <a:ext cx="8" cy="14"/>
              </a:xfrm>
              <a:custGeom>
                <a:avLst/>
                <a:gdLst>
                  <a:gd name="T0" fmla="*/ 0 w 8"/>
                  <a:gd name="T1" fmla="*/ 8 h 14"/>
                  <a:gd name="T2" fmla="*/ 0 w 8"/>
                  <a:gd name="T3" fmla="*/ 8 h 14"/>
                  <a:gd name="T4" fmla="*/ 0 w 8"/>
                  <a:gd name="T5" fmla="*/ 10 h 14"/>
                  <a:gd name="T6" fmla="*/ 2 w 8"/>
                  <a:gd name="T7" fmla="*/ 10 h 14"/>
                  <a:gd name="T8" fmla="*/ 2 w 8"/>
                  <a:gd name="T9" fmla="*/ 12 h 14"/>
                  <a:gd name="T10" fmla="*/ 4 w 8"/>
                  <a:gd name="T11" fmla="*/ 12 h 14"/>
                  <a:gd name="T12" fmla="*/ 4 w 8"/>
                  <a:gd name="T13" fmla="*/ 12 h 14"/>
                  <a:gd name="T14" fmla="*/ 4 w 8"/>
                  <a:gd name="T15" fmla="*/ 14 h 14"/>
                  <a:gd name="T16" fmla="*/ 6 w 8"/>
                  <a:gd name="T17" fmla="*/ 14 h 14"/>
                  <a:gd name="T18" fmla="*/ 8 w 8"/>
                  <a:gd name="T19" fmla="*/ 14 h 14"/>
                  <a:gd name="T20" fmla="*/ 8 w 8"/>
                  <a:gd name="T21" fmla="*/ 14 h 14"/>
                  <a:gd name="T22" fmla="*/ 8 w 8"/>
                  <a:gd name="T23" fmla="*/ 12 h 14"/>
                  <a:gd name="T24" fmla="*/ 8 w 8"/>
                  <a:gd name="T25" fmla="*/ 12 h 14"/>
                  <a:gd name="T26" fmla="*/ 8 w 8"/>
                  <a:gd name="T27" fmla="*/ 12 h 14"/>
                  <a:gd name="T28" fmla="*/ 8 w 8"/>
                  <a:gd name="T29" fmla="*/ 10 h 14"/>
                  <a:gd name="T30" fmla="*/ 8 w 8"/>
                  <a:gd name="T31" fmla="*/ 10 h 14"/>
                  <a:gd name="T32" fmla="*/ 6 w 8"/>
                  <a:gd name="T33" fmla="*/ 8 h 14"/>
                  <a:gd name="T34" fmla="*/ 6 w 8"/>
                  <a:gd name="T35" fmla="*/ 8 h 14"/>
                  <a:gd name="T36" fmla="*/ 4 w 8"/>
                  <a:gd name="T37" fmla="*/ 6 h 14"/>
                  <a:gd name="T38" fmla="*/ 4 w 8"/>
                  <a:gd name="T39" fmla="*/ 6 h 14"/>
                  <a:gd name="T40" fmla="*/ 4 w 8"/>
                  <a:gd name="T41" fmla="*/ 2 h 14"/>
                  <a:gd name="T42" fmla="*/ 4 w 8"/>
                  <a:gd name="T43" fmla="*/ 2 h 14"/>
                  <a:gd name="T44" fmla="*/ 4 w 8"/>
                  <a:gd name="T45" fmla="*/ 0 h 14"/>
                  <a:gd name="T46" fmla="*/ 2 w 8"/>
                  <a:gd name="T47" fmla="*/ 0 h 14"/>
                  <a:gd name="T48" fmla="*/ 2 w 8"/>
                  <a:gd name="T49" fmla="*/ 0 h 14"/>
                  <a:gd name="T50" fmla="*/ 2 w 8"/>
                  <a:gd name="T51" fmla="*/ 0 h 14"/>
                  <a:gd name="T52" fmla="*/ 2 w 8"/>
                  <a:gd name="T53" fmla="*/ 2 h 14"/>
                  <a:gd name="T54" fmla="*/ 2 w 8"/>
                  <a:gd name="T55" fmla="*/ 4 h 14"/>
                  <a:gd name="T56" fmla="*/ 2 w 8"/>
                  <a:gd name="T57" fmla="*/ 4 h 14"/>
                  <a:gd name="T58" fmla="*/ 2 w 8"/>
                  <a:gd name="T59" fmla="*/ 6 h 14"/>
                  <a:gd name="T60" fmla="*/ 0 w 8"/>
                  <a:gd name="T61" fmla="*/ 8 h 14"/>
                  <a:gd name="T62" fmla="*/ 0 w 8"/>
                  <a:gd name="T63" fmla="*/ 8 h 14"/>
                  <a:gd name="T64" fmla="*/ 0 w 8"/>
                  <a:gd name="T65" fmla="*/ 8 h 14"/>
                  <a:gd name="T66" fmla="*/ 0 w 8"/>
                  <a:gd name="T67" fmla="*/ 8 h 14"/>
                  <a:gd name="T68" fmla="*/ 0 w 8"/>
                  <a:gd name="T69" fmla="*/ 8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8" h="14">
                    <a:moveTo>
                      <a:pt x="0" y="8"/>
                    </a:moveTo>
                    <a:lnTo>
                      <a:pt x="0" y="8"/>
                    </a:lnTo>
                    <a:lnTo>
                      <a:pt x="0" y="10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4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32" name="Freeform 238"/>
              <p:cNvSpPr>
                <a:spLocks/>
              </p:cNvSpPr>
              <p:nvPr/>
            </p:nvSpPr>
            <p:spPr bwMode="auto">
              <a:xfrm>
                <a:off x="1661" y="3776"/>
                <a:ext cx="6" cy="8"/>
              </a:xfrm>
              <a:custGeom>
                <a:avLst/>
                <a:gdLst>
                  <a:gd name="T0" fmla="*/ 6 w 6"/>
                  <a:gd name="T1" fmla="*/ 0 h 8"/>
                  <a:gd name="T2" fmla="*/ 6 w 6"/>
                  <a:gd name="T3" fmla="*/ 0 h 8"/>
                  <a:gd name="T4" fmla="*/ 4 w 6"/>
                  <a:gd name="T5" fmla="*/ 0 h 8"/>
                  <a:gd name="T6" fmla="*/ 4 w 6"/>
                  <a:gd name="T7" fmla="*/ 0 h 8"/>
                  <a:gd name="T8" fmla="*/ 2 w 6"/>
                  <a:gd name="T9" fmla="*/ 0 h 8"/>
                  <a:gd name="T10" fmla="*/ 2 w 6"/>
                  <a:gd name="T11" fmla="*/ 0 h 8"/>
                  <a:gd name="T12" fmla="*/ 0 w 6"/>
                  <a:gd name="T13" fmla="*/ 0 h 8"/>
                  <a:gd name="T14" fmla="*/ 0 w 6"/>
                  <a:gd name="T15" fmla="*/ 2 h 8"/>
                  <a:gd name="T16" fmla="*/ 0 w 6"/>
                  <a:gd name="T17" fmla="*/ 4 h 8"/>
                  <a:gd name="T18" fmla="*/ 2 w 6"/>
                  <a:gd name="T19" fmla="*/ 6 h 8"/>
                  <a:gd name="T20" fmla="*/ 2 w 6"/>
                  <a:gd name="T21" fmla="*/ 6 h 8"/>
                  <a:gd name="T22" fmla="*/ 2 w 6"/>
                  <a:gd name="T23" fmla="*/ 6 h 8"/>
                  <a:gd name="T24" fmla="*/ 4 w 6"/>
                  <a:gd name="T25" fmla="*/ 8 h 8"/>
                  <a:gd name="T26" fmla="*/ 4 w 6"/>
                  <a:gd name="T27" fmla="*/ 8 h 8"/>
                  <a:gd name="T28" fmla="*/ 4 w 6"/>
                  <a:gd name="T29" fmla="*/ 8 h 8"/>
                  <a:gd name="T30" fmla="*/ 6 w 6"/>
                  <a:gd name="T31" fmla="*/ 8 h 8"/>
                  <a:gd name="T32" fmla="*/ 6 w 6"/>
                  <a:gd name="T33" fmla="*/ 6 h 8"/>
                  <a:gd name="T34" fmla="*/ 6 w 6"/>
                  <a:gd name="T35" fmla="*/ 6 h 8"/>
                  <a:gd name="T36" fmla="*/ 6 w 6"/>
                  <a:gd name="T37" fmla="*/ 4 h 8"/>
                  <a:gd name="T38" fmla="*/ 6 w 6"/>
                  <a:gd name="T39" fmla="*/ 4 h 8"/>
                  <a:gd name="T40" fmla="*/ 6 w 6"/>
                  <a:gd name="T41" fmla="*/ 2 h 8"/>
                  <a:gd name="T42" fmla="*/ 6 w 6"/>
                  <a:gd name="T43" fmla="*/ 0 h 8"/>
                  <a:gd name="T44" fmla="*/ 6 w 6"/>
                  <a:gd name="T45" fmla="*/ 0 h 8"/>
                  <a:gd name="T46" fmla="*/ 6 w 6"/>
                  <a:gd name="T47" fmla="*/ 0 h 8"/>
                  <a:gd name="T48" fmla="*/ 6 w 6"/>
                  <a:gd name="T49" fmla="*/ 0 h 8"/>
                  <a:gd name="T50" fmla="*/ 6 w 6"/>
                  <a:gd name="T51" fmla="*/ 0 h 8"/>
                  <a:gd name="T52" fmla="*/ 6 w 6"/>
                  <a:gd name="T5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" h="8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33" name="Freeform 239"/>
              <p:cNvSpPr>
                <a:spLocks/>
              </p:cNvSpPr>
              <p:nvPr/>
            </p:nvSpPr>
            <p:spPr bwMode="auto">
              <a:xfrm>
                <a:off x="1661" y="3776"/>
                <a:ext cx="6" cy="8"/>
              </a:xfrm>
              <a:custGeom>
                <a:avLst/>
                <a:gdLst>
                  <a:gd name="T0" fmla="*/ 6 w 6"/>
                  <a:gd name="T1" fmla="*/ 0 h 8"/>
                  <a:gd name="T2" fmla="*/ 6 w 6"/>
                  <a:gd name="T3" fmla="*/ 0 h 8"/>
                  <a:gd name="T4" fmla="*/ 4 w 6"/>
                  <a:gd name="T5" fmla="*/ 0 h 8"/>
                  <a:gd name="T6" fmla="*/ 4 w 6"/>
                  <a:gd name="T7" fmla="*/ 0 h 8"/>
                  <a:gd name="T8" fmla="*/ 2 w 6"/>
                  <a:gd name="T9" fmla="*/ 0 h 8"/>
                  <a:gd name="T10" fmla="*/ 2 w 6"/>
                  <a:gd name="T11" fmla="*/ 0 h 8"/>
                  <a:gd name="T12" fmla="*/ 0 w 6"/>
                  <a:gd name="T13" fmla="*/ 0 h 8"/>
                  <a:gd name="T14" fmla="*/ 0 w 6"/>
                  <a:gd name="T15" fmla="*/ 2 h 8"/>
                  <a:gd name="T16" fmla="*/ 0 w 6"/>
                  <a:gd name="T17" fmla="*/ 4 h 8"/>
                  <a:gd name="T18" fmla="*/ 2 w 6"/>
                  <a:gd name="T19" fmla="*/ 6 h 8"/>
                  <a:gd name="T20" fmla="*/ 2 w 6"/>
                  <a:gd name="T21" fmla="*/ 6 h 8"/>
                  <a:gd name="T22" fmla="*/ 2 w 6"/>
                  <a:gd name="T23" fmla="*/ 6 h 8"/>
                  <a:gd name="T24" fmla="*/ 4 w 6"/>
                  <a:gd name="T25" fmla="*/ 8 h 8"/>
                  <a:gd name="T26" fmla="*/ 4 w 6"/>
                  <a:gd name="T27" fmla="*/ 8 h 8"/>
                  <a:gd name="T28" fmla="*/ 4 w 6"/>
                  <a:gd name="T29" fmla="*/ 8 h 8"/>
                  <a:gd name="T30" fmla="*/ 6 w 6"/>
                  <a:gd name="T31" fmla="*/ 8 h 8"/>
                  <a:gd name="T32" fmla="*/ 6 w 6"/>
                  <a:gd name="T33" fmla="*/ 6 h 8"/>
                  <a:gd name="T34" fmla="*/ 6 w 6"/>
                  <a:gd name="T35" fmla="*/ 6 h 8"/>
                  <a:gd name="T36" fmla="*/ 6 w 6"/>
                  <a:gd name="T37" fmla="*/ 4 h 8"/>
                  <a:gd name="T38" fmla="*/ 6 w 6"/>
                  <a:gd name="T39" fmla="*/ 4 h 8"/>
                  <a:gd name="T40" fmla="*/ 6 w 6"/>
                  <a:gd name="T41" fmla="*/ 2 h 8"/>
                  <a:gd name="T42" fmla="*/ 6 w 6"/>
                  <a:gd name="T43" fmla="*/ 0 h 8"/>
                  <a:gd name="T44" fmla="*/ 6 w 6"/>
                  <a:gd name="T45" fmla="*/ 0 h 8"/>
                  <a:gd name="T46" fmla="*/ 6 w 6"/>
                  <a:gd name="T47" fmla="*/ 0 h 8"/>
                  <a:gd name="T48" fmla="*/ 6 w 6"/>
                  <a:gd name="T49" fmla="*/ 0 h 8"/>
                  <a:gd name="T50" fmla="*/ 6 w 6"/>
                  <a:gd name="T51" fmla="*/ 0 h 8"/>
                  <a:gd name="T52" fmla="*/ 6 w 6"/>
                  <a:gd name="T5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" h="8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34" name="Freeform 241"/>
              <p:cNvSpPr>
                <a:spLocks/>
              </p:cNvSpPr>
              <p:nvPr/>
            </p:nvSpPr>
            <p:spPr bwMode="auto">
              <a:xfrm>
                <a:off x="1675" y="3800"/>
                <a:ext cx="6" cy="8"/>
              </a:xfrm>
              <a:custGeom>
                <a:avLst/>
                <a:gdLst>
                  <a:gd name="T0" fmla="*/ 2 w 6"/>
                  <a:gd name="T1" fmla="*/ 0 h 8"/>
                  <a:gd name="T2" fmla="*/ 2 w 6"/>
                  <a:gd name="T3" fmla="*/ 0 h 8"/>
                  <a:gd name="T4" fmla="*/ 2 w 6"/>
                  <a:gd name="T5" fmla="*/ 2 h 8"/>
                  <a:gd name="T6" fmla="*/ 0 w 6"/>
                  <a:gd name="T7" fmla="*/ 4 h 8"/>
                  <a:gd name="T8" fmla="*/ 2 w 6"/>
                  <a:gd name="T9" fmla="*/ 4 h 8"/>
                  <a:gd name="T10" fmla="*/ 2 w 6"/>
                  <a:gd name="T11" fmla="*/ 6 h 8"/>
                  <a:gd name="T12" fmla="*/ 2 w 6"/>
                  <a:gd name="T13" fmla="*/ 6 h 8"/>
                  <a:gd name="T14" fmla="*/ 2 w 6"/>
                  <a:gd name="T15" fmla="*/ 6 h 8"/>
                  <a:gd name="T16" fmla="*/ 4 w 6"/>
                  <a:gd name="T17" fmla="*/ 8 h 8"/>
                  <a:gd name="T18" fmla="*/ 4 w 6"/>
                  <a:gd name="T19" fmla="*/ 8 h 8"/>
                  <a:gd name="T20" fmla="*/ 4 w 6"/>
                  <a:gd name="T21" fmla="*/ 8 h 8"/>
                  <a:gd name="T22" fmla="*/ 4 w 6"/>
                  <a:gd name="T23" fmla="*/ 6 h 8"/>
                  <a:gd name="T24" fmla="*/ 6 w 6"/>
                  <a:gd name="T25" fmla="*/ 6 h 8"/>
                  <a:gd name="T26" fmla="*/ 6 w 6"/>
                  <a:gd name="T27" fmla="*/ 6 h 8"/>
                  <a:gd name="T28" fmla="*/ 6 w 6"/>
                  <a:gd name="T29" fmla="*/ 2 h 8"/>
                  <a:gd name="T30" fmla="*/ 6 w 6"/>
                  <a:gd name="T31" fmla="*/ 2 h 8"/>
                  <a:gd name="T32" fmla="*/ 6 w 6"/>
                  <a:gd name="T33" fmla="*/ 0 h 8"/>
                  <a:gd name="T34" fmla="*/ 6 w 6"/>
                  <a:gd name="T35" fmla="*/ 0 h 8"/>
                  <a:gd name="T36" fmla="*/ 6 w 6"/>
                  <a:gd name="T37" fmla="*/ 0 h 8"/>
                  <a:gd name="T38" fmla="*/ 6 w 6"/>
                  <a:gd name="T39" fmla="*/ 0 h 8"/>
                  <a:gd name="T40" fmla="*/ 4 w 6"/>
                  <a:gd name="T41" fmla="*/ 0 h 8"/>
                  <a:gd name="T42" fmla="*/ 2 w 6"/>
                  <a:gd name="T43" fmla="*/ 0 h 8"/>
                  <a:gd name="T44" fmla="*/ 2 w 6"/>
                  <a:gd name="T45" fmla="*/ 0 h 8"/>
                  <a:gd name="T46" fmla="*/ 2 w 6"/>
                  <a:gd name="T47" fmla="*/ 0 h 8"/>
                  <a:gd name="T48" fmla="*/ 2 w 6"/>
                  <a:gd name="T49" fmla="*/ 0 h 8"/>
                  <a:gd name="T50" fmla="*/ 2 w 6"/>
                  <a:gd name="T51" fmla="*/ 0 h 8"/>
                  <a:gd name="T52" fmla="*/ 2 w 6"/>
                  <a:gd name="T53" fmla="*/ 0 h 8"/>
                  <a:gd name="T54" fmla="*/ 2 w 6"/>
                  <a:gd name="T5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6" h="8">
                    <a:moveTo>
                      <a:pt x="2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35" name="Freeform 242"/>
              <p:cNvSpPr>
                <a:spLocks/>
              </p:cNvSpPr>
              <p:nvPr/>
            </p:nvSpPr>
            <p:spPr bwMode="auto">
              <a:xfrm>
                <a:off x="1685" y="3798"/>
                <a:ext cx="8" cy="6"/>
              </a:xfrm>
              <a:custGeom>
                <a:avLst/>
                <a:gdLst>
                  <a:gd name="T0" fmla="*/ 0 w 8"/>
                  <a:gd name="T1" fmla="*/ 2 h 6"/>
                  <a:gd name="T2" fmla="*/ 0 w 8"/>
                  <a:gd name="T3" fmla="*/ 2 h 6"/>
                  <a:gd name="T4" fmla="*/ 0 w 8"/>
                  <a:gd name="T5" fmla="*/ 4 h 6"/>
                  <a:gd name="T6" fmla="*/ 2 w 8"/>
                  <a:gd name="T7" fmla="*/ 4 h 6"/>
                  <a:gd name="T8" fmla="*/ 4 w 8"/>
                  <a:gd name="T9" fmla="*/ 6 h 6"/>
                  <a:gd name="T10" fmla="*/ 4 w 8"/>
                  <a:gd name="T11" fmla="*/ 6 h 6"/>
                  <a:gd name="T12" fmla="*/ 6 w 8"/>
                  <a:gd name="T13" fmla="*/ 6 h 6"/>
                  <a:gd name="T14" fmla="*/ 8 w 8"/>
                  <a:gd name="T15" fmla="*/ 6 h 6"/>
                  <a:gd name="T16" fmla="*/ 8 w 8"/>
                  <a:gd name="T17" fmla="*/ 6 h 6"/>
                  <a:gd name="T18" fmla="*/ 8 w 8"/>
                  <a:gd name="T19" fmla="*/ 4 h 6"/>
                  <a:gd name="T20" fmla="*/ 8 w 8"/>
                  <a:gd name="T21" fmla="*/ 4 h 6"/>
                  <a:gd name="T22" fmla="*/ 8 w 8"/>
                  <a:gd name="T23" fmla="*/ 2 h 6"/>
                  <a:gd name="T24" fmla="*/ 6 w 8"/>
                  <a:gd name="T25" fmla="*/ 2 h 6"/>
                  <a:gd name="T26" fmla="*/ 4 w 8"/>
                  <a:gd name="T27" fmla="*/ 0 h 6"/>
                  <a:gd name="T28" fmla="*/ 2 w 8"/>
                  <a:gd name="T29" fmla="*/ 0 h 6"/>
                  <a:gd name="T30" fmla="*/ 2 w 8"/>
                  <a:gd name="T31" fmla="*/ 0 h 6"/>
                  <a:gd name="T32" fmla="*/ 2 w 8"/>
                  <a:gd name="T33" fmla="*/ 0 h 6"/>
                  <a:gd name="T34" fmla="*/ 0 w 8"/>
                  <a:gd name="T35" fmla="*/ 0 h 6"/>
                  <a:gd name="T36" fmla="*/ 0 w 8"/>
                  <a:gd name="T37" fmla="*/ 2 h 6"/>
                  <a:gd name="T38" fmla="*/ 0 w 8"/>
                  <a:gd name="T39" fmla="*/ 2 h 6"/>
                  <a:gd name="T40" fmla="*/ 0 w 8"/>
                  <a:gd name="T41" fmla="*/ 2 h 6"/>
                  <a:gd name="T42" fmla="*/ 0 w 8"/>
                  <a:gd name="T43" fmla="*/ 2 h 6"/>
                  <a:gd name="T44" fmla="*/ 0 w 8"/>
                  <a:gd name="T45" fmla="*/ 2 h 6"/>
                  <a:gd name="T46" fmla="*/ 0 w 8"/>
                  <a:gd name="T47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8" h="6">
                    <a:moveTo>
                      <a:pt x="0" y="2"/>
                    </a:moveTo>
                    <a:lnTo>
                      <a:pt x="0" y="2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36" name="Freeform 243"/>
              <p:cNvSpPr>
                <a:spLocks/>
              </p:cNvSpPr>
              <p:nvPr/>
            </p:nvSpPr>
            <p:spPr bwMode="auto">
              <a:xfrm>
                <a:off x="1685" y="3798"/>
                <a:ext cx="8" cy="6"/>
              </a:xfrm>
              <a:custGeom>
                <a:avLst/>
                <a:gdLst>
                  <a:gd name="T0" fmla="*/ 0 w 8"/>
                  <a:gd name="T1" fmla="*/ 2 h 6"/>
                  <a:gd name="T2" fmla="*/ 0 w 8"/>
                  <a:gd name="T3" fmla="*/ 2 h 6"/>
                  <a:gd name="T4" fmla="*/ 0 w 8"/>
                  <a:gd name="T5" fmla="*/ 4 h 6"/>
                  <a:gd name="T6" fmla="*/ 2 w 8"/>
                  <a:gd name="T7" fmla="*/ 4 h 6"/>
                  <a:gd name="T8" fmla="*/ 4 w 8"/>
                  <a:gd name="T9" fmla="*/ 6 h 6"/>
                  <a:gd name="T10" fmla="*/ 4 w 8"/>
                  <a:gd name="T11" fmla="*/ 6 h 6"/>
                  <a:gd name="T12" fmla="*/ 6 w 8"/>
                  <a:gd name="T13" fmla="*/ 6 h 6"/>
                  <a:gd name="T14" fmla="*/ 8 w 8"/>
                  <a:gd name="T15" fmla="*/ 6 h 6"/>
                  <a:gd name="T16" fmla="*/ 8 w 8"/>
                  <a:gd name="T17" fmla="*/ 6 h 6"/>
                  <a:gd name="T18" fmla="*/ 8 w 8"/>
                  <a:gd name="T19" fmla="*/ 4 h 6"/>
                  <a:gd name="T20" fmla="*/ 8 w 8"/>
                  <a:gd name="T21" fmla="*/ 4 h 6"/>
                  <a:gd name="T22" fmla="*/ 8 w 8"/>
                  <a:gd name="T23" fmla="*/ 2 h 6"/>
                  <a:gd name="T24" fmla="*/ 6 w 8"/>
                  <a:gd name="T25" fmla="*/ 2 h 6"/>
                  <a:gd name="T26" fmla="*/ 4 w 8"/>
                  <a:gd name="T27" fmla="*/ 0 h 6"/>
                  <a:gd name="T28" fmla="*/ 2 w 8"/>
                  <a:gd name="T29" fmla="*/ 0 h 6"/>
                  <a:gd name="T30" fmla="*/ 2 w 8"/>
                  <a:gd name="T31" fmla="*/ 0 h 6"/>
                  <a:gd name="T32" fmla="*/ 2 w 8"/>
                  <a:gd name="T33" fmla="*/ 0 h 6"/>
                  <a:gd name="T34" fmla="*/ 0 w 8"/>
                  <a:gd name="T35" fmla="*/ 0 h 6"/>
                  <a:gd name="T36" fmla="*/ 0 w 8"/>
                  <a:gd name="T37" fmla="*/ 2 h 6"/>
                  <a:gd name="T38" fmla="*/ 0 w 8"/>
                  <a:gd name="T39" fmla="*/ 2 h 6"/>
                  <a:gd name="T40" fmla="*/ 0 w 8"/>
                  <a:gd name="T41" fmla="*/ 2 h 6"/>
                  <a:gd name="T42" fmla="*/ 0 w 8"/>
                  <a:gd name="T43" fmla="*/ 2 h 6"/>
                  <a:gd name="T44" fmla="*/ 0 w 8"/>
                  <a:gd name="T45" fmla="*/ 2 h 6"/>
                  <a:gd name="T46" fmla="*/ 0 w 8"/>
                  <a:gd name="T47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8" h="6">
                    <a:moveTo>
                      <a:pt x="0" y="2"/>
                    </a:moveTo>
                    <a:lnTo>
                      <a:pt x="0" y="2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37" name="Freeform 244"/>
              <p:cNvSpPr>
                <a:spLocks/>
              </p:cNvSpPr>
              <p:nvPr/>
            </p:nvSpPr>
            <p:spPr bwMode="auto">
              <a:xfrm>
                <a:off x="1687" y="3808"/>
                <a:ext cx="10" cy="8"/>
              </a:xfrm>
              <a:custGeom>
                <a:avLst/>
                <a:gdLst>
                  <a:gd name="T0" fmla="*/ 0 w 10"/>
                  <a:gd name="T1" fmla="*/ 2 h 8"/>
                  <a:gd name="T2" fmla="*/ 0 w 10"/>
                  <a:gd name="T3" fmla="*/ 2 h 8"/>
                  <a:gd name="T4" fmla="*/ 0 w 10"/>
                  <a:gd name="T5" fmla="*/ 4 h 8"/>
                  <a:gd name="T6" fmla="*/ 0 w 10"/>
                  <a:gd name="T7" fmla="*/ 4 h 8"/>
                  <a:gd name="T8" fmla="*/ 0 w 10"/>
                  <a:gd name="T9" fmla="*/ 6 h 8"/>
                  <a:gd name="T10" fmla="*/ 4 w 10"/>
                  <a:gd name="T11" fmla="*/ 8 h 8"/>
                  <a:gd name="T12" fmla="*/ 4 w 10"/>
                  <a:gd name="T13" fmla="*/ 8 h 8"/>
                  <a:gd name="T14" fmla="*/ 4 w 10"/>
                  <a:gd name="T15" fmla="*/ 8 h 8"/>
                  <a:gd name="T16" fmla="*/ 6 w 10"/>
                  <a:gd name="T17" fmla="*/ 8 h 8"/>
                  <a:gd name="T18" fmla="*/ 8 w 10"/>
                  <a:gd name="T19" fmla="*/ 8 h 8"/>
                  <a:gd name="T20" fmla="*/ 10 w 10"/>
                  <a:gd name="T21" fmla="*/ 8 h 8"/>
                  <a:gd name="T22" fmla="*/ 10 w 10"/>
                  <a:gd name="T23" fmla="*/ 6 h 8"/>
                  <a:gd name="T24" fmla="*/ 10 w 10"/>
                  <a:gd name="T25" fmla="*/ 6 h 8"/>
                  <a:gd name="T26" fmla="*/ 10 w 10"/>
                  <a:gd name="T27" fmla="*/ 6 h 8"/>
                  <a:gd name="T28" fmla="*/ 10 w 10"/>
                  <a:gd name="T29" fmla="*/ 6 h 8"/>
                  <a:gd name="T30" fmla="*/ 10 w 10"/>
                  <a:gd name="T31" fmla="*/ 4 h 8"/>
                  <a:gd name="T32" fmla="*/ 8 w 10"/>
                  <a:gd name="T33" fmla="*/ 2 h 8"/>
                  <a:gd name="T34" fmla="*/ 6 w 10"/>
                  <a:gd name="T35" fmla="*/ 2 h 8"/>
                  <a:gd name="T36" fmla="*/ 4 w 10"/>
                  <a:gd name="T37" fmla="*/ 0 h 8"/>
                  <a:gd name="T38" fmla="*/ 2 w 10"/>
                  <a:gd name="T39" fmla="*/ 0 h 8"/>
                  <a:gd name="T40" fmla="*/ 0 w 10"/>
                  <a:gd name="T41" fmla="*/ 0 h 8"/>
                  <a:gd name="T42" fmla="*/ 0 w 10"/>
                  <a:gd name="T43" fmla="*/ 2 h 8"/>
                  <a:gd name="T44" fmla="*/ 0 w 10"/>
                  <a:gd name="T45" fmla="*/ 2 h 8"/>
                  <a:gd name="T46" fmla="*/ 0 w 10"/>
                  <a:gd name="T47" fmla="*/ 2 h 8"/>
                  <a:gd name="T48" fmla="*/ 0 w 10"/>
                  <a:gd name="T49" fmla="*/ 2 h 8"/>
                  <a:gd name="T50" fmla="*/ 0 w 10"/>
                  <a:gd name="T51" fmla="*/ 2 h 8"/>
                  <a:gd name="T52" fmla="*/ 0 w 10"/>
                  <a:gd name="T53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0" h="8">
                    <a:moveTo>
                      <a:pt x="0" y="2"/>
                    </a:move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8" y="8"/>
                    </a:lnTo>
                    <a:lnTo>
                      <a:pt x="10" y="8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38" name="Freeform 247"/>
              <p:cNvSpPr>
                <a:spLocks/>
              </p:cNvSpPr>
              <p:nvPr/>
            </p:nvSpPr>
            <p:spPr bwMode="auto">
              <a:xfrm>
                <a:off x="1713" y="3838"/>
                <a:ext cx="12" cy="14"/>
              </a:xfrm>
              <a:custGeom>
                <a:avLst/>
                <a:gdLst>
                  <a:gd name="T0" fmla="*/ 6 w 12"/>
                  <a:gd name="T1" fmla="*/ 12 h 14"/>
                  <a:gd name="T2" fmla="*/ 6 w 12"/>
                  <a:gd name="T3" fmla="*/ 12 h 14"/>
                  <a:gd name="T4" fmla="*/ 10 w 12"/>
                  <a:gd name="T5" fmla="*/ 14 h 14"/>
                  <a:gd name="T6" fmla="*/ 12 w 12"/>
                  <a:gd name="T7" fmla="*/ 14 h 14"/>
                  <a:gd name="T8" fmla="*/ 12 w 12"/>
                  <a:gd name="T9" fmla="*/ 14 h 14"/>
                  <a:gd name="T10" fmla="*/ 12 w 12"/>
                  <a:gd name="T11" fmla="*/ 14 h 14"/>
                  <a:gd name="T12" fmla="*/ 12 w 12"/>
                  <a:gd name="T13" fmla="*/ 14 h 14"/>
                  <a:gd name="T14" fmla="*/ 12 w 12"/>
                  <a:gd name="T15" fmla="*/ 14 h 14"/>
                  <a:gd name="T16" fmla="*/ 12 w 12"/>
                  <a:gd name="T17" fmla="*/ 12 h 14"/>
                  <a:gd name="T18" fmla="*/ 12 w 12"/>
                  <a:gd name="T19" fmla="*/ 10 h 14"/>
                  <a:gd name="T20" fmla="*/ 12 w 12"/>
                  <a:gd name="T21" fmla="*/ 10 h 14"/>
                  <a:gd name="T22" fmla="*/ 12 w 12"/>
                  <a:gd name="T23" fmla="*/ 8 h 14"/>
                  <a:gd name="T24" fmla="*/ 12 w 12"/>
                  <a:gd name="T25" fmla="*/ 6 h 14"/>
                  <a:gd name="T26" fmla="*/ 12 w 12"/>
                  <a:gd name="T27" fmla="*/ 4 h 14"/>
                  <a:gd name="T28" fmla="*/ 12 w 12"/>
                  <a:gd name="T29" fmla="*/ 4 h 14"/>
                  <a:gd name="T30" fmla="*/ 10 w 12"/>
                  <a:gd name="T31" fmla="*/ 4 h 14"/>
                  <a:gd name="T32" fmla="*/ 8 w 12"/>
                  <a:gd name="T33" fmla="*/ 2 h 14"/>
                  <a:gd name="T34" fmla="*/ 8 w 12"/>
                  <a:gd name="T35" fmla="*/ 2 h 14"/>
                  <a:gd name="T36" fmla="*/ 6 w 12"/>
                  <a:gd name="T37" fmla="*/ 0 h 14"/>
                  <a:gd name="T38" fmla="*/ 4 w 12"/>
                  <a:gd name="T39" fmla="*/ 0 h 14"/>
                  <a:gd name="T40" fmla="*/ 2 w 12"/>
                  <a:gd name="T41" fmla="*/ 0 h 14"/>
                  <a:gd name="T42" fmla="*/ 0 w 12"/>
                  <a:gd name="T43" fmla="*/ 2 h 14"/>
                  <a:gd name="T44" fmla="*/ 0 w 12"/>
                  <a:gd name="T45" fmla="*/ 2 h 14"/>
                  <a:gd name="T46" fmla="*/ 0 w 12"/>
                  <a:gd name="T47" fmla="*/ 4 h 14"/>
                  <a:gd name="T48" fmla="*/ 0 w 12"/>
                  <a:gd name="T49" fmla="*/ 4 h 14"/>
                  <a:gd name="T50" fmla="*/ 0 w 12"/>
                  <a:gd name="T51" fmla="*/ 4 h 14"/>
                  <a:gd name="T52" fmla="*/ 0 w 12"/>
                  <a:gd name="T53" fmla="*/ 6 h 14"/>
                  <a:gd name="T54" fmla="*/ 2 w 12"/>
                  <a:gd name="T55" fmla="*/ 8 h 14"/>
                  <a:gd name="T56" fmla="*/ 2 w 12"/>
                  <a:gd name="T57" fmla="*/ 8 h 14"/>
                  <a:gd name="T58" fmla="*/ 4 w 12"/>
                  <a:gd name="T59" fmla="*/ 10 h 14"/>
                  <a:gd name="T60" fmla="*/ 6 w 12"/>
                  <a:gd name="T61" fmla="*/ 12 h 14"/>
                  <a:gd name="T62" fmla="*/ 6 w 12"/>
                  <a:gd name="T63" fmla="*/ 12 h 14"/>
                  <a:gd name="T64" fmla="*/ 6 w 12"/>
                  <a:gd name="T65" fmla="*/ 12 h 14"/>
                  <a:gd name="T66" fmla="*/ 6 w 12"/>
                  <a:gd name="T67" fmla="*/ 12 h 14"/>
                  <a:gd name="T68" fmla="*/ 6 w 12"/>
                  <a:gd name="T69" fmla="*/ 1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2" h="14">
                    <a:moveTo>
                      <a:pt x="6" y="12"/>
                    </a:moveTo>
                    <a:lnTo>
                      <a:pt x="6" y="12"/>
                    </a:lnTo>
                    <a:lnTo>
                      <a:pt x="10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2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8"/>
                    </a:lnTo>
                    <a:lnTo>
                      <a:pt x="12" y="6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39" name="Freeform 248"/>
              <p:cNvSpPr>
                <a:spLocks/>
              </p:cNvSpPr>
              <p:nvPr/>
            </p:nvSpPr>
            <p:spPr bwMode="auto">
              <a:xfrm>
                <a:off x="1723" y="3822"/>
                <a:ext cx="8" cy="16"/>
              </a:xfrm>
              <a:custGeom>
                <a:avLst/>
                <a:gdLst>
                  <a:gd name="T0" fmla="*/ 6 w 8"/>
                  <a:gd name="T1" fmla="*/ 12 h 16"/>
                  <a:gd name="T2" fmla="*/ 6 w 8"/>
                  <a:gd name="T3" fmla="*/ 12 h 16"/>
                  <a:gd name="T4" fmla="*/ 6 w 8"/>
                  <a:gd name="T5" fmla="*/ 12 h 16"/>
                  <a:gd name="T6" fmla="*/ 4 w 8"/>
                  <a:gd name="T7" fmla="*/ 14 h 16"/>
                  <a:gd name="T8" fmla="*/ 2 w 8"/>
                  <a:gd name="T9" fmla="*/ 14 h 16"/>
                  <a:gd name="T10" fmla="*/ 2 w 8"/>
                  <a:gd name="T11" fmla="*/ 14 h 16"/>
                  <a:gd name="T12" fmla="*/ 2 w 8"/>
                  <a:gd name="T13" fmla="*/ 16 h 16"/>
                  <a:gd name="T14" fmla="*/ 2 w 8"/>
                  <a:gd name="T15" fmla="*/ 16 h 16"/>
                  <a:gd name="T16" fmla="*/ 2 w 8"/>
                  <a:gd name="T17" fmla="*/ 16 h 16"/>
                  <a:gd name="T18" fmla="*/ 2 w 8"/>
                  <a:gd name="T19" fmla="*/ 16 h 16"/>
                  <a:gd name="T20" fmla="*/ 0 w 8"/>
                  <a:gd name="T21" fmla="*/ 16 h 16"/>
                  <a:gd name="T22" fmla="*/ 0 w 8"/>
                  <a:gd name="T23" fmla="*/ 16 h 16"/>
                  <a:gd name="T24" fmla="*/ 0 w 8"/>
                  <a:gd name="T25" fmla="*/ 14 h 16"/>
                  <a:gd name="T26" fmla="*/ 0 w 8"/>
                  <a:gd name="T27" fmla="*/ 14 h 16"/>
                  <a:gd name="T28" fmla="*/ 2 w 8"/>
                  <a:gd name="T29" fmla="*/ 12 h 16"/>
                  <a:gd name="T30" fmla="*/ 2 w 8"/>
                  <a:gd name="T31" fmla="*/ 10 h 16"/>
                  <a:gd name="T32" fmla="*/ 2 w 8"/>
                  <a:gd name="T33" fmla="*/ 10 h 16"/>
                  <a:gd name="T34" fmla="*/ 2 w 8"/>
                  <a:gd name="T35" fmla="*/ 10 h 16"/>
                  <a:gd name="T36" fmla="*/ 2 w 8"/>
                  <a:gd name="T37" fmla="*/ 8 h 16"/>
                  <a:gd name="T38" fmla="*/ 2 w 8"/>
                  <a:gd name="T39" fmla="*/ 8 h 16"/>
                  <a:gd name="T40" fmla="*/ 2 w 8"/>
                  <a:gd name="T41" fmla="*/ 6 h 16"/>
                  <a:gd name="T42" fmla="*/ 2 w 8"/>
                  <a:gd name="T43" fmla="*/ 4 h 16"/>
                  <a:gd name="T44" fmla="*/ 2 w 8"/>
                  <a:gd name="T45" fmla="*/ 4 h 16"/>
                  <a:gd name="T46" fmla="*/ 2 w 8"/>
                  <a:gd name="T47" fmla="*/ 2 h 16"/>
                  <a:gd name="T48" fmla="*/ 2 w 8"/>
                  <a:gd name="T49" fmla="*/ 2 h 16"/>
                  <a:gd name="T50" fmla="*/ 2 w 8"/>
                  <a:gd name="T51" fmla="*/ 2 h 16"/>
                  <a:gd name="T52" fmla="*/ 2 w 8"/>
                  <a:gd name="T53" fmla="*/ 0 h 16"/>
                  <a:gd name="T54" fmla="*/ 2 w 8"/>
                  <a:gd name="T55" fmla="*/ 0 h 16"/>
                  <a:gd name="T56" fmla="*/ 4 w 8"/>
                  <a:gd name="T57" fmla="*/ 2 h 16"/>
                  <a:gd name="T58" fmla="*/ 4 w 8"/>
                  <a:gd name="T59" fmla="*/ 2 h 16"/>
                  <a:gd name="T60" fmla="*/ 6 w 8"/>
                  <a:gd name="T61" fmla="*/ 2 h 16"/>
                  <a:gd name="T62" fmla="*/ 6 w 8"/>
                  <a:gd name="T63" fmla="*/ 4 h 16"/>
                  <a:gd name="T64" fmla="*/ 6 w 8"/>
                  <a:gd name="T65" fmla="*/ 4 h 16"/>
                  <a:gd name="T66" fmla="*/ 8 w 8"/>
                  <a:gd name="T67" fmla="*/ 4 h 16"/>
                  <a:gd name="T68" fmla="*/ 8 w 8"/>
                  <a:gd name="T69" fmla="*/ 4 h 16"/>
                  <a:gd name="T70" fmla="*/ 8 w 8"/>
                  <a:gd name="T71" fmla="*/ 6 h 16"/>
                  <a:gd name="T72" fmla="*/ 8 w 8"/>
                  <a:gd name="T73" fmla="*/ 6 h 16"/>
                  <a:gd name="T74" fmla="*/ 8 w 8"/>
                  <a:gd name="T75" fmla="*/ 6 h 16"/>
                  <a:gd name="T76" fmla="*/ 8 w 8"/>
                  <a:gd name="T77" fmla="*/ 6 h 16"/>
                  <a:gd name="T78" fmla="*/ 8 w 8"/>
                  <a:gd name="T79" fmla="*/ 8 h 16"/>
                  <a:gd name="T80" fmla="*/ 8 w 8"/>
                  <a:gd name="T81" fmla="*/ 8 h 16"/>
                  <a:gd name="T82" fmla="*/ 6 w 8"/>
                  <a:gd name="T83" fmla="*/ 10 h 16"/>
                  <a:gd name="T84" fmla="*/ 6 w 8"/>
                  <a:gd name="T85" fmla="*/ 12 h 16"/>
                  <a:gd name="T86" fmla="*/ 6 w 8"/>
                  <a:gd name="T87" fmla="*/ 12 h 16"/>
                  <a:gd name="T88" fmla="*/ 6 w 8"/>
                  <a:gd name="T89" fmla="*/ 12 h 16"/>
                  <a:gd name="T90" fmla="*/ 6 w 8"/>
                  <a:gd name="T91" fmla="*/ 12 h 16"/>
                  <a:gd name="T92" fmla="*/ 6 w 8"/>
                  <a:gd name="T93" fmla="*/ 1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8" h="16">
                    <a:moveTo>
                      <a:pt x="6" y="12"/>
                    </a:moveTo>
                    <a:lnTo>
                      <a:pt x="6" y="12"/>
                    </a:lnTo>
                    <a:lnTo>
                      <a:pt x="6" y="12"/>
                    </a:lnTo>
                    <a:lnTo>
                      <a:pt x="4" y="14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2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6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6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6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40" name="Freeform 250"/>
              <p:cNvSpPr>
                <a:spLocks/>
              </p:cNvSpPr>
              <p:nvPr/>
            </p:nvSpPr>
            <p:spPr bwMode="auto">
              <a:xfrm>
                <a:off x="1687" y="3826"/>
                <a:ext cx="22" cy="12"/>
              </a:xfrm>
              <a:custGeom>
                <a:avLst/>
                <a:gdLst>
                  <a:gd name="T0" fmla="*/ 12 w 22"/>
                  <a:gd name="T1" fmla="*/ 4 h 12"/>
                  <a:gd name="T2" fmla="*/ 12 w 22"/>
                  <a:gd name="T3" fmla="*/ 4 h 12"/>
                  <a:gd name="T4" fmla="*/ 10 w 22"/>
                  <a:gd name="T5" fmla="*/ 4 h 12"/>
                  <a:gd name="T6" fmla="*/ 8 w 22"/>
                  <a:gd name="T7" fmla="*/ 2 h 12"/>
                  <a:gd name="T8" fmla="*/ 8 w 22"/>
                  <a:gd name="T9" fmla="*/ 2 h 12"/>
                  <a:gd name="T10" fmla="*/ 6 w 22"/>
                  <a:gd name="T11" fmla="*/ 2 h 12"/>
                  <a:gd name="T12" fmla="*/ 4 w 22"/>
                  <a:gd name="T13" fmla="*/ 0 h 12"/>
                  <a:gd name="T14" fmla="*/ 4 w 22"/>
                  <a:gd name="T15" fmla="*/ 0 h 12"/>
                  <a:gd name="T16" fmla="*/ 2 w 22"/>
                  <a:gd name="T17" fmla="*/ 2 h 12"/>
                  <a:gd name="T18" fmla="*/ 2 w 22"/>
                  <a:gd name="T19" fmla="*/ 2 h 12"/>
                  <a:gd name="T20" fmla="*/ 0 w 22"/>
                  <a:gd name="T21" fmla="*/ 2 h 12"/>
                  <a:gd name="T22" fmla="*/ 0 w 22"/>
                  <a:gd name="T23" fmla="*/ 2 h 12"/>
                  <a:gd name="T24" fmla="*/ 0 w 22"/>
                  <a:gd name="T25" fmla="*/ 2 h 12"/>
                  <a:gd name="T26" fmla="*/ 0 w 22"/>
                  <a:gd name="T27" fmla="*/ 2 h 12"/>
                  <a:gd name="T28" fmla="*/ 0 w 22"/>
                  <a:gd name="T29" fmla="*/ 4 h 12"/>
                  <a:gd name="T30" fmla="*/ 4 w 22"/>
                  <a:gd name="T31" fmla="*/ 4 h 12"/>
                  <a:gd name="T32" fmla="*/ 4 w 22"/>
                  <a:gd name="T33" fmla="*/ 4 h 12"/>
                  <a:gd name="T34" fmla="*/ 4 w 22"/>
                  <a:gd name="T35" fmla="*/ 6 h 12"/>
                  <a:gd name="T36" fmla="*/ 6 w 22"/>
                  <a:gd name="T37" fmla="*/ 6 h 12"/>
                  <a:gd name="T38" fmla="*/ 6 w 22"/>
                  <a:gd name="T39" fmla="*/ 6 h 12"/>
                  <a:gd name="T40" fmla="*/ 8 w 22"/>
                  <a:gd name="T41" fmla="*/ 6 h 12"/>
                  <a:gd name="T42" fmla="*/ 10 w 22"/>
                  <a:gd name="T43" fmla="*/ 8 h 12"/>
                  <a:gd name="T44" fmla="*/ 10 w 22"/>
                  <a:gd name="T45" fmla="*/ 8 h 12"/>
                  <a:gd name="T46" fmla="*/ 14 w 22"/>
                  <a:gd name="T47" fmla="*/ 10 h 12"/>
                  <a:gd name="T48" fmla="*/ 14 w 22"/>
                  <a:gd name="T49" fmla="*/ 10 h 12"/>
                  <a:gd name="T50" fmla="*/ 14 w 22"/>
                  <a:gd name="T51" fmla="*/ 10 h 12"/>
                  <a:gd name="T52" fmla="*/ 18 w 22"/>
                  <a:gd name="T53" fmla="*/ 12 h 12"/>
                  <a:gd name="T54" fmla="*/ 18 w 22"/>
                  <a:gd name="T55" fmla="*/ 12 h 12"/>
                  <a:gd name="T56" fmla="*/ 20 w 22"/>
                  <a:gd name="T57" fmla="*/ 12 h 12"/>
                  <a:gd name="T58" fmla="*/ 20 w 22"/>
                  <a:gd name="T59" fmla="*/ 12 h 12"/>
                  <a:gd name="T60" fmla="*/ 22 w 22"/>
                  <a:gd name="T61" fmla="*/ 12 h 12"/>
                  <a:gd name="T62" fmla="*/ 22 w 22"/>
                  <a:gd name="T63" fmla="*/ 12 h 12"/>
                  <a:gd name="T64" fmla="*/ 22 w 22"/>
                  <a:gd name="T65" fmla="*/ 10 h 12"/>
                  <a:gd name="T66" fmla="*/ 20 w 22"/>
                  <a:gd name="T67" fmla="*/ 10 h 12"/>
                  <a:gd name="T68" fmla="*/ 20 w 22"/>
                  <a:gd name="T69" fmla="*/ 10 h 12"/>
                  <a:gd name="T70" fmla="*/ 18 w 22"/>
                  <a:gd name="T71" fmla="*/ 8 h 12"/>
                  <a:gd name="T72" fmla="*/ 18 w 22"/>
                  <a:gd name="T73" fmla="*/ 8 h 12"/>
                  <a:gd name="T74" fmla="*/ 14 w 22"/>
                  <a:gd name="T75" fmla="*/ 6 h 12"/>
                  <a:gd name="T76" fmla="*/ 14 w 22"/>
                  <a:gd name="T77" fmla="*/ 4 h 12"/>
                  <a:gd name="T78" fmla="*/ 12 w 22"/>
                  <a:gd name="T79" fmla="*/ 4 h 12"/>
                  <a:gd name="T80" fmla="*/ 12 w 22"/>
                  <a:gd name="T81" fmla="*/ 4 h 12"/>
                  <a:gd name="T82" fmla="*/ 12 w 22"/>
                  <a:gd name="T83" fmla="*/ 4 h 12"/>
                  <a:gd name="T84" fmla="*/ 12 w 22"/>
                  <a:gd name="T85" fmla="*/ 4 h 12"/>
                  <a:gd name="T86" fmla="*/ 12 w 22"/>
                  <a:gd name="T87" fmla="*/ 4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2" h="12">
                    <a:moveTo>
                      <a:pt x="12" y="4"/>
                    </a:moveTo>
                    <a:lnTo>
                      <a:pt x="12" y="4"/>
                    </a:lnTo>
                    <a:lnTo>
                      <a:pt x="10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8" y="6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4" y="6"/>
                    </a:lnTo>
                    <a:lnTo>
                      <a:pt x="14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41" name="Freeform 252"/>
              <p:cNvSpPr>
                <a:spLocks/>
              </p:cNvSpPr>
              <p:nvPr/>
            </p:nvSpPr>
            <p:spPr bwMode="auto">
              <a:xfrm>
                <a:off x="1729" y="3846"/>
                <a:ext cx="6" cy="10"/>
              </a:xfrm>
              <a:custGeom>
                <a:avLst/>
                <a:gdLst>
                  <a:gd name="T0" fmla="*/ 0 w 6"/>
                  <a:gd name="T1" fmla="*/ 6 h 10"/>
                  <a:gd name="T2" fmla="*/ 0 w 6"/>
                  <a:gd name="T3" fmla="*/ 6 h 10"/>
                  <a:gd name="T4" fmla="*/ 0 w 6"/>
                  <a:gd name="T5" fmla="*/ 8 h 10"/>
                  <a:gd name="T6" fmla="*/ 0 w 6"/>
                  <a:gd name="T7" fmla="*/ 8 h 10"/>
                  <a:gd name="T8" fmla="*/ 0 w 6"/>
                  <a:gd name="T9" fmla="*/ 8 h 10"/>
                  <a:gd name="T10" fmla="*/ 2 w 6"/>
                  <a:gd name="T11" fmla="*/ 10 h 10"/>
                  <a:gd name="T12" fmla="*/ 2 w 6"/>
                  <a:gd name="T13" fmla="*/ 10 h 10"/>
                  <a:gd name="T14" fmla="*/ 2 w 6"/>
                  <a:gd name="T15" fmla="*/ 10 h 10"/>
                  <a:gd name="T16" fmla="*/ 2 w 6"/>
                  <a:gd name="T17" fmla="*/ 10 h 10"/>
                  <a:gd name="T18" fmla="*/ 4 w 6"/>
                  <a:gd name="T19" fmla="*/ 10 h 10"/>
                  <a:gd name="T20" fmla="*/ 6 w 6"/>
                  <a:gd name="T21" fmla="*/ 10 h 10"/>
                  <a:gd name="T22" fmla="*/ 6 w 6"/>
                  <a:gd name="T23" fmla="*/ 10 h 10"/>
                  <a:gd name="T24" fmla="*/ 6 w 6"/>
                  <a:gd name="T25" fmla="*/ 8 h 10"/>
                  <a:gd name="T26" fmla="*/ 6 w 6"/>
                  <a:gd name="T27" fmla="*/ 6 h 10"/>
                  <a:gd name="T28" fmla="*/ 6 w 6"/>
                  <a:gd name="T29" fmla="*/ 4 h 10"/>
                  <a:gd name="T30" fmla="*/ 6 w 6"/>
                  <a:gd name="T31" fmla="*/ 4 h 10"/>
                  <a:gd name="T32" fmla="*/ 6 w 6"/>
                  <a:gd name="T33" fmla="*/ 2 h 10"/>
                  <a:gd name="T34" fmla="*/ 4 w 6"/>
                  <a:gd name="T35" fmla="*/ 2 h 10"/>
                  <a:gd name="T36" fmla="*/ 2 w 6"/>
                  <a:gd name="T37" fmla="*/ 0 h 10"/>
                  <a:gd name="T38" fmla="*/ 2 w 6"/>
                  <a:gd name="T39" fmla="*/ 0 h 10"/>
                  <a:gd name="T40" fmla="*/ 0 w 6"/>
                  <a:gd name="T41" fmla="*/ 0 h 10"/>
                  <a:gd name="T42" fmla="*/ 0 w 6"/>
                  <a:gd name="T43" fmla="*/ 0 h 10"/>
                  <a:gd name="T44" fmla="*/ 0 w 6"/>
                  <a:gd name="T45" fmla="*/ 2 h 10"/>
                  <a:gd name="T46" fmla="*/ 0 w 6"/>
                  <a:gd name="T47" fmla="*/ 2 h 10"/>
                  <a:gd name="T48" fmla="*/ 0 w 6"/>
                  <a:gd name="T49" fmla="*/ 4 h 10"/>
                  <a:gd name="T50" fmla="*/ 0 w 6"/>
                  <a:gd name="T51" fmla="*/ 6 h 10"/>
                  <a:gd name="T52" fmla="*/ 0 w 6"/>
                  <a:gd name="T53" fmla="*/ 6 h 10"/>
                  <a:gd name="T54" fmla="*/ 0 w 6"/>
                  <a:gd name="T55" fmla="*/ 6 h 10"/>
                  <a:gd name="T56" fmla="*/ 0 w 6"/>
                  <a:gd name="T57" fmla="*/ 6 h 10"/>
                  <a:gd name="T58" fmla="*/ 0 w 6"/>
                  <a:gd name="T59" fmla="*/ 6 h 10"/>
                  <a:gd name="T60" fmla="*/ 0 w 6"/>
                  <a:gd name="T61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6" h="10">
                    <a:moveTo>
                      <a:pt x="0" y="6"/>
                    </a:moveTo>
                    <a:lnTo>
                      <a:pt x="0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8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42" name="Freeform 254"/>
              <p:cNvSpPr>
                <a:spLocks/>
              </p:cNvSpPr>
              <p:nvPr/>
            </p:nvSpPr>
            <p:spPr bwMode="auto">
              <a:xfrm>
                <a:off x="1701" y="3816"/>
                <a:ext cx="8" cy="6"/>
              </a:xfrm>
              <a:custGeom>
                <a:avLst/>
                <a:gdLst>
                  <a:gd name="T0" fmla="*/ 0 w 8"/>
                  <a:gd name="T1" fmla="*/ 0 h 6"/>
                  <a:gd name="T2" fmla="*/ 0 w 8"/>
                  <a:gd name="T3" fmla="*/ 0 h 6"/>
                  <a:gd name="T4" fmla="*/ 0 w 8"/>
                  <a:gd name="T5" fmla="*/ 0 h 6"/>
                  <a:gd name="T6" fmla="*/ 0 w 8"/>
                  <a:gd name="T7" fmla="*/ 2 h 6"/>
                  <a:gd name="T8" fmla="*/ 0 w 8"/>
                  <a:gd name="T9" fmla="*/ 2 h 6"/>
                  <a:gd name="T10" fmla="*/ 0 w 8"/>
                  <a:gd name="T11" fmla="*/ 2 h 6"/>
                  <a:gd name="T12" fmla="*/ 4 w 8"/>
                  <a:gd name="T13" fmla="*/ 6 h 6"/>
                  <a:gd name="T14" fmla="*/ 4 w 8"/>
                  <a:gd name="T15" fmla="*/ 6 h 6"/>
                  <a:gd name="T16" fmla="*/ 6 w 8"/>
                  <a:gd name="T17" fmla="*/ 6 h 6"/>
                  <a:gd name="T18" fmla="*/ 6 w 8"/>
                  <a:gd name="T19" fmla="*/ 6 h 6"/>
                  <a:gd name="T20" fmla="*/ 6 w 8"/>
                  <a:gd name="T21" fmla="*/ 6 h 6"/>
                  <a:gd name="T22" fmla="*/ 6 w 8"/>
                  <a:gd name="T23" fmla="*/ 6 h 6"/>
                  <a:gd name="T24" fmla="*/ 8 w 8"/>
                  <a:gd name="T25" fmla="*/ 6 h 6"/>
                  <a:gd name="T26" fmla="*/ 6 w 8"/>
                  <a:gd name="T27" fmla="*/ 4 h 6"/>
                  <a:gd name="T28" fmla="*/ 6 w 8"/>
                  <a:gd name="T29" fmla="*/ 4 h 6"/>
                  <a:gd name="T30" fmla="*/ 6 w 8"/>
                  <a:gd name="T31" fmla="*/ 4 h 6"/>
                  <a:gd name="T32" fmla="*/ 4 w 8"/>
                  <a:gd name="T33" fmla="*/ 2 h 6"/>
                  <a:gd name="T34" fmla="*/ 2 w 8"/>
                  <a:gd name="T35" fmla="*/ 0 h 6"/>
                  <a:gd name="T36" fmla="*/ 0 w 8"/>
                  <a:gd name="T37" fmla="*/ 0 h 6"/>
                  <a:gd name="T38" fmla="*/ 0 w 8"/>
                  <a:gd name="T39" fmla="*/ 0 h 6"/>
                  <a:gd name="T40" fmla="*/ 0 w 8"/>
                  <a:gd name="T41" fmla="*/ 0 h 6"/>
                  <a:gd name="T42" fmla="*/ 0 w 8"/>
                  <a:gd name="T43" fmla="*/ 0 h 6"/>
                  <a:gd name="T44" fmla="*/ 0 w 8"/>
                  <a:gd name="T45" fmla="*/ 0 h 6"/>
                  <a:gd name="T46" fmla="*/ 0 w 8"/>
                  <a:gd name="T47" fmla="*/ 0 h 6"/>
                  <a:gd name="T48" fmla="*/ 0 w 8"/>
                  <a:gd name="T4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8" h="6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8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43" name="Freeform 255"/>
              <p:cNvSpPr>
                <a:spLocks/>
              </p:cNvSpPr>
              <p:nvPr/>
            </p:nvSpPr>
            <p:spPr bwMode="auto">
              <a:xfrm>
                <a:off x="1701" y="3816"/>
                <a:ext cx="8" cy="6"/>
              </a:xfrm>
              <a:custGeom>
                <a:avLst/>
                <a:gdLst>
                  <a:gd name="T0" fmla="*/ 0 w 8"/>
                  <a:gd name="T1" fmla="*/ 0 h 6"/>
                  <a:gd name="T2" fmla="*/ 0 w 8"/>
                  <a:gd name="T3" fmla="*/ 0 h 6"/>
                  <a:gd name="T4" fmla="*/ 0 w 8"/>
                  <a:gd name="T5" fmla="*/ 0 h 6"/>
                  <a:gd name="T6" fmla="*/ 0 w 8"/>
                  <a:gd name="T7" fmla="*/ 2 h 6"/>
                  <a:gd name="T8" fmla="*/ 0 w 8"/>
                  <a:gd name="T9" fmla="*/ 2 h 6"/>
                  <a:gd name="T10" fmla="*/ 0 w 8"/>
                  <a:gd name="T11" fmla="*/ 2 h 6"/>
                  <a:gd name="T12" fmla="*/ 4 w 8"/>
                  <a:gd name="T13" fmla="*/ 6 h 6"/>
                  <a:gd name="T14" fmla="*/ 4 w 8"/>
                  <a:gd name="T15" fmla="*/ 6 h 6"/>
                  <a:gd name="T16" fmla="*/ 6 w 8"/>
                  <a:gd name="T17" fmla="*/ 6 h 6"/>
                  <a:gd name="T18" fmla="*/ 6 w 8"/>
                  <a:gd name="T19" fmla="*/ 6 h 6"/>
                  <a:gd name="T20" fmla="*/ 6 w 8"/>
                  <a:gd name="T21" fmla="*/ 6 h 6"/>
                  <a:gd name="T22" fmla="*/ 6 w 8"/>
                  <a:gd name="T23" fmla="*/ 6 h 6"/>
                  <a:gd name="T24" fmla="*/ 8 w 8"/>
                  <a:gd name="T25" fmla="*/ 6 h 6"/>
                  <a:gd name="T26" fmla="*/ 6 w 8"/>
                  <a:gd name="T27" fmla="*/ 4 h 6"/>
                  <a:gd name="T28" fmla="*/ 6 w 8"/>
                  <a:gd name="T29" fmla="*/ 4 h 6"/>
                  <a:gd name="T30" fmla="*/ 6 w 8"/>
                  <a:gd name="T31" fmla="*/ 4 h 6"/>
                  <a:gd name="T32" fmla="*/ 4 w 8"/>
                  <a:gd name="T33" fmla="*/ 2 h 6"/>
                  <a:gd name="T34" fmla="*/ 2 w 8"/>
                  <a:gd name="T35" fmla="*/ 0 h 6"/>
                  <a:gd name="T36" fmla="*/ 0 w 8"/>
                  <a:gd name="T37" fmla="*/ 0 h 6"/>
                  <a:gd name="T38" fmla="*/ 0 w 8"/>
                  <a:gd name="T39" fmla="*/ 0 h 6"/>
                  <a:gd name="T40" fmla="*/ 0 w 8"/>
                  <a:gd name="T41" fmla="*/ 0 h 6"/>
                  <a:gd name="T42" fmla="*/ 0 w 8"/>
                  <a:gd name="T43" fmla="*/ 0 h 6"/>
                  <a:gd name="T44" fmla="*/ 0 w 8"/>
                  <a:gd name="T45" fmla="*/ 0 h 6"/>
                  <a:gd name="T46" fmla="*/ 0 w 8"/>
                  <a:gd name="T47" fmla="*/ 0 h 6"/>
                  <a:gd name="T48" fmla="*/ 0 w 8"/>
                  <a:gd name="T4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8" h="6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8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44" name="Freeform 256"/>
              <p:cNvSpPr>
                <a:spLocks/>
              </p:cNvSpPr>
              <p:nvPr/>
            </p:nvSpPr>
            <p:spPr bwMode="auto">
              <a:xfrm>
                <a:off x="1699" y="3820"/>
                <a:ext cx="4" cy="2"/>
              </a:xfrm>
              <a:custGeom>
                <a:avLst/>
                <a:gdLst>
                  <a:gd name="T0" fmla="*/ 0 w 4"/>
                  <a:gd name="T1" fmla="*/ 0 h 2"/>
                  <a:gd name="T2" fmla="*/ 0 w 4"/>
                  <a:gd name="T3" fmla="*/ 0 h 2"/>
                  <a:gd name="T4" fmla="*/ 0 w 4"/>
                  <a:gd name="T5" fmla="*/ 2 h 2"/>
                  <a:gd name="T6" fmla="*/ 2 w 4"/>
                  <a:gd name="T7" fmla="*/ 2 h 2"/>
                  <a:gd name="T8" fmla="*/ 2 w 4"/>
                  <a:gd name="T9" fmla="*/ 2 h 2"/>
                  <a:gd name="T10" fmla="*/ 2 w 4"/>
                  <a:gd name="T11" fmla="*/ 2 h 2"/>
                  <a:gd name="T12" fmla="*/ 2 w 4"/>
                  <a:gd name="T13" fmla="*/ 2 h 2"/>
                  <a:gd name="T14" fmla="*/ 4 w 4"/>
                  <a:gd name="T15" fmla="*/ 2 h 2"/>
                  <a:gd name="T16" fmla="*/ 4 w 4"/>
                  <a:gd name="T17" fmla="*/ 2 h 2"/>
                  <a:gd name="T18" fmla="*/ 4 w 4"/>
                  <a:gd name="T19" fmla="*/ 2 h 2"/>
                  <a:gd name="T20" fmla="*/ 2 w 4"/>
                  <a:gd name="T21" fmla="*/ 2 h 2"/>
                  <a:gd name="T22" fmla="*/ 2 w 4"/>
                  <a:gd name="T23" fmla="*/ 0 h 2"/>
                  <a:gd name="T24" fmla="*/ 2 w 4"/>
                  <a:gd name="T25" fmla="*/ 0 h 2"/>
                  <a:gd name="T26" fmla="*/ 2 w 4"/>
                  <a:gd name="T27" fmla="*/ 0 h 2"/>
                  <a:gd name="T28" fmla="*/ 0 w 4"/>
                  <a:gd name="T29" fmla="*/ 0 h 2"/>
                  <a:gd name="T30" fmla="*/ 0 w 4"/>
                  <a:gd name="T31" fmla="*/ 0 h 2"/>
                  <a:gd name="T32" fmla="*/ 0 w 4"/>
                  <a:gd name="T33" fmla="*/ 0 h 2"/>
                  <a:gd name="T34" fmla="*/ 0 w 4"/>
                  <a:gd name="T35" fmla="*/ 0 h 2"/>
                  <a:gd name="T36" fmla="*/ 0 w 4"/>
                  <a:gd name="T37" fmla="*/ 0 h 2"/>
                  <a:gd name="T38" fmla="*/ 0 w 4"/>
                  <a:gd name="T39" fmla="*/ 0 h 2"/>
                  <a:gd name="T40" fmla="*/ 0 w 4"/>
                  <a:gd name="T41" fmla="*/ 0 h 2"/>
                  <a:gd name="T42" fmla="*/ 0 w 4"/>
                  <a:gd name="T4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45" name="Freeform 257"/>
              <p:cNvSpPr>
                <a:spLocks/>
              </p:cNvSpPr>
              <p:nvPr/>
            </p:nvSpPr>
            <p:spPr bwMode="auto">
              <a:xfrm>
                <a:off x="1699" y="3820"/>
                <a:ext cx="4" cy="2"/>
              </a:xfrm>
              <a:custGeom>
                <a:avLst/>
                <a:gdLst>
                  <a:gd name="T0" fmla="*/ 0 w 4"/>
                  <a:gd name="T1" fmla="*/ 0 h 2"/>
                  <a:gd name="T2" fmla="*/ 0 w 4"/>
                  <a:gd name="T3" fmla="*/ 0 h 2"/>
                  <a:gd name="T4" fmla="*/ 0 w 4"/>
                  <a:gd name="T5" fmla="*/ 2 h 2"/>
                  <a:gd name="T6" fmla="*/ 2 w 4"/>
                  <a:gd name="T7" fmla="*/ 2 h 2"/>
                  <a:gd name="T8" fmla="*/ 2 w 4"/>
                  <a:gd name="T9" fmla="*/ 2 h 2"/>
                  <a:gd name="T10" fmla="*/ 2 w 4"/>
                  <a:gd name="T11" fmla="*/ 2 h 2"/>
                  <a:gd name="T12" fmla="*/ 2 w 4"/>
                  <a:gd name="T13" fmla="*/ 2 h 2"/>
                  <a:gd name="T14" fmla="*/ 4 w 4"/>
                  <a:gd name="T15" fmla="*/ 2 h 2"/>
                  <a:gd name="T16" fmla="*/ 4 w 4"/>
                  <a:gd name="T17" fmla="*/ 2 h 2"/>
                  <a:gd name="T18" fmla="*/ 4 w 4"/>
                  <a:gd name="T19" fmla="*/ 2 h 2"/>
                  <a:gd name="T20" fmla="*/ 2 w 4"/>
                  <a:gd name="T21" fmla="*/ 2 h 2"/>
                  <a:gd name="T22" fmla="*/ 2 w 4"/>
                  <a:gd name="T23" fmla="*/ 0 h 2"/>
                  <a:gd name="T24" fmla="*/ 2 w 4"/>
                  <a:gd name="T25" fmla="*/ 0 h 2"/>
                  <a:gd name="T26" fmla="*/ 2 w 4"/>
                  <a:gd name="T27" fmla="*/ 0 h 2"/>
                  <a:gd name="T28" fmla="*/ 0 w 4"/>
                  <a:gd name="T29" fmla="*/ 0 h 2"/>
                  <a:gd name="T30" fmla="*/ 0 w 4"/>
                  <a:gd name="T31" fmla="*/ 0 h 2"/>
                  <a:gd name="T32" fmla="*/ 0 w 4"/>
                  <a:gd name="T33" fmla="*/ 0 h 2"/>
                  <a:gd name="T34" fmla="*/ 0 w 4"/>
                  <a:gd name="T35" fmla="*/ 0 h 2"/>
                  <a:gd name="T36" fmla="*/ 0 w 4"/>
                  <a:gd name="T37" fmla="*/ 0 h 2"/>
                  <a:gd name="T38" fmla="*/ 0 w 4"/>
                  <a:gd name="T39" fmla="*/ 0 h 2"/>
                  <a:gd name="T40" fmla="*/ 0 w 4"/>
                  <a:gd name="T41" fmla="*/ 0 h 2"/>
                  <a:gd name="T42" fmla="*/ 0 w 4"/>
                  <a:gd name="T4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46" name="Freeform 258"/>
              <p:cNvSpPr>
                <a:spLocks/>
              </p:cNvSpPr>
              <p:nvPr/>
            </p:nvSpPr>
            <p:spPr bwMode="auto">
              <a:xfrm>
                <a:off x="1689" y="3820"/>
                <a:ext cx="6" cy="4"/>
              </a:xfrm>
              <a:custGeom>
                <a:avLst/>
                <a:gdLst>
                  <a:gd name="T0" fmla="*/ 0 w 6"/>
                  <a:gd name="T1" fmla="*/ 2 h 4"/>
                  <a:gd name="T2" fmla="*/ 0 w 6"/>
                  <a:gd name="T3" fmla="*/ 2 h 4"/>
                  <a:gd name="T4" fmla="*/ 2 w 6"/>
                  <a:gd name="T5" fmla="*/ 2 h 4"/>
                  <a:gd name="T6" fmla="*/ 4 w 6"/>
                  <a:gd name="T7" fmla="*/ 4 h 4"/>
                  <a:gd name="T8" fmla="*/ 4 w 6"/>
                  <a:gd name="T9" fmla="*/ 4 h 4"/>
                  <a:gd name="T10" fmla="*/ 4 w 6"/>
                  <a:gd name="T11" fmla="*/ 4 h 4"/>
                  <a:gd name="T12" fmla="*/ 4 w 6"/>
                  <a:gd name="T13" fmla="*/ 4 h 4"/>
                  <a:gd name="T14" fmla="*/ 6 w 6"/>
                  <a:gd name="T15" fmla="*/ 2 h 4"/>
                  <a:gd name="T16" fmla="*/ 6 w 6"/>
                  <a:gd name="T17" fmla="*/ 2 h 4"/>
                  <a:gd name="T18" fmla="*/ 6 w 6"/>
                  <a:gd name="T19" fmla="*/ 2 h 4"/>
                  <a:gd name="T20" fmla="*/ 4 w 6"/>
                  <a:gd name="T21" fmla="*/ 2 h 4"/>
                  <a:gd name="T22" fmla="*/ 4 w 6"/>
                  <a:gd name="T23" fmla="*/ 2 h 4"/>
                  <a:gd name="T24" fmla="*/ 2 w 6"/>
                  <a:gd name="T25" fmla="*/ 0 h 4"/>
                  <a:gd name="T26" fmla="*/ 2 w 6"/>
                  <a:gd name="T27" fmla="*/ 0 h 4"/>
                  <a:gd name="T28" fmla="*/ 2 w 6"/>
                  <a:gd name="T29" fmla="*/ 0 h 4"/>
                  <a:gd name="T30" fmla="*/ 0 w 6"/>
                  <a:gd name="T31" fmla="*/ 0 h 4"/>
                  <a:gd name="T32" fmla="*/ 0 w 6"/>
                  <a:gd name="T33" fmla="*/ 0 h 4"/>
                  <a:gd name="T34" fmla="*/ 0 w 6"/>
                  <a:gd name="T35" fmla="*/ 2 h 4"/>
                  <a:gd name="T36" fmla="*/ 0 w 6"/>
                  <a:gd name="T37" fmla="*/ 2 h 4"/>
                  <a:gd name="T38" fmla="*/ 0 w 6"/>
                  <a:gd name="T39" fmla="*/ 2 h 4"/>
                  <a:gd name="T40" fmla="*/ 0 w 6"/>
                  <a:gd name="T41" fmla="*/ 2 h 4"/>
                  <a:gd name="T42" fmla="*/ 0 w 6"/>
                  <a:gd name="T4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" h="4">
                    <a:moveTo>
                      <a:pt x="0" y="2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47" name="Freeform 259"/>
              <p:cNvSpPr>
                <a:spLocks/>
              </p:cNvSpPr>
              <p:nvPr/>
            </p:nvSpPr>
            <p:spPr bwMode="auto">
              <a:xfrm>
                <a:off x="1689" y="3820"/>
                <a:ext cx="6" cy="4"/>
              </a:xfrm>
              <a:custGeom>
                <a:avLst/>
                <a:gdLst>
                  <a:gd name="T0" fmla="*/ 0 w 6"/>
                  <a:gd name="T1" fmla="*/ 2 h 4"/>
                  <a:gd name="T2" fmla="*/ 0 w 6"/>
                  <a:gd name="T3" fmla="*/ 2 h 4"/>
                  <a:gd name="T4" fmla="*/ 2 w 6"/>
                  <a:gd name="T5" fmla="*/ 2 h 4"/>
                  <a:gd name="T6" fmla="*/ 4 w 6"/>
                  <a:gd name="T7" fmla="*/ 4 h 4"/>
                  <a:gd name="T8" fmla="*/ 4 w 6"/>
                  <a:gd name="T9" fmla="*/ 4 h 4"/>
                  <a:gd name="T10" fmla="*/ 4 w 6"/>
                  <a:gd name="T11" fmla="*/ 4 h 4"/>
                  <a:gd name="T12" fmla="*/ 4 w 6"/>
                  <a:gd name="T13" fmla="*/ 4 h 4"/>
                  <a:gd name="T14" fmla="*/ 6 w 6"/>
                  <a:gd name="T15" fmla="*/ 2 h 4"/>
                  <a:gd name="T16" fmla="*/ 6 w 6"/>
                  <a:gd name="T17" fmla="*/ 2 h 4"/>
                  <a:gd name="T18" fmla="*/ 6 w 6"/>
                  <a:gd name="T19" fmla="*/ 2 h 4"/>
                  <a:gd name="T20" fmla="*/ 4 w 6"/>
                  <a:gd name="T21" fmla="*/ 2 h 4"/>
                  <a:gd name="T22" fmla="*/ 4 w 6"/>
                  <a:gd name="T23" fmla="*/ 2 h 4"/>
                  <a:gd name="T24" fmla="*/ 2 w 6"/>
                  <a:gd name="T25" fmla="*/ 0 h 4"/>
                  <a:gd name="T26" fmla="*/ 2 w 6"/>
                  <a:gd name="T27" fmla="*/ 0 h 4"/>
                  <a:gd name="T28" fmla="*/ 2 w 6"/>
                  <a:gd name="T29" fmla="*/ 0 h 4"/>
                  <a:gd name="T30" fmla="*/ 0 w 6"/>
                  <a:gd name="T31" fmla="*/ 0 h 4"/>
                  <a:gd name="T32" fmla="*/ 0 w 6"/>
                  <a:gd name="T33" fmla="*/ 0 h 4"/>
                  <a:gd name="T34" fmla="*/ 0 w 6"/>
                  <a:gd name="T35" fmla="*/ 2 h 4"/>
                  <a:gd name="T36" fmla="*/ 0 w 6"/>
                  <a:gd name="T37" fmla="*/ 2 h 4"/>
                  <a:gd name="T38" fmla="*/ 0 w 6"/>
                  <a:gd name="T39" fmla="*/ 2 h 4"/>
                  <a:gd name="T40" fmla="*/ 0 w 6"/>
                  <a:gd name="T41" fmla="*/ 2 h 4"/>
                  <a:gd name="T42" fmla="*/ 0 w 6"/>
                  <a:gd name="T4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" h="4">
                    <a:moveTo>
                      <a:pt x="0" y="2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48" name="Freeform 260"/>
              <p:cNvSpPr>
                <a:spLocks/>
              </p:cNvSpPr>
              <p:nvPr/>
            </p:nvSpPr>
            <p:spPr bwMode="auto">
              <a:xfrm>
                <a:off x="1747" y="3836"/>
                <a:ext cx="12" cy="10"/>
              </a:xfrm>
              <a:custGeom>
                <a:avLst/>
                <a:gdLst>
                  <a:gd name="T0" fmla="*/ 6 w 12"/>
                  <a:gd name="T1" fmla="*/ 4 h 10"/>
                  <a:gd name="T2" fmla="*/ 6 w 12"/>
                  <a:gd name="T3" fmla="*/ 4 h 10"/>
                  <a:gd name="T4" fmla="*/ 4 w 12"/>
                  <a:gd name="T5" fmla="*/ 2 h 10"/>
                  <a:gd name="T6" fmla="*/ 4 w 12"/>
                  <a:gd name="T7" fmla="*/ 0 h 10"/>
                  <a:gd name="T8" fmla="*/ 2 w 12"/>
                  <a:gd name="T9" fmla="*/ 0 h 10"/>
                  <a:gd name="T10" fmla="*/ 2 w 12"/>
                  <a:gd name="T11" fmla="*/ 0 h 10"/>
                  <a:gd name="T12" fmla="*/ 2 w 12"/>
                  <a:gd name="T13" fmla="*/ 0 h 10"/>
                  <a:gd name="T14" fmla="*/ 0 w 12"/>
                  <a:gd name="T15" fmla="*/ 0 h 10"/>
                  <a:gd name="T16" fmla="*/ 0 w 12"/>
                  <a:gd name="T17" fmla="*/ 2 h 10"/>
                  <a:gd name="T18" fmla="*/ 0 w 12"/>
                  <a:gd name="T19" fmla="*/ 2 h 10"/>
                  <a:gd name="T20" fmla="*/ 0 w 12"/>
                  <a:gd name="T21" fmla="*/ 4 h 10"/>
                  <a:gd name="T22" fmla="*/ 0 w 12"/>
                  <a:gd name="T23" fmla="*/ 6 h 10"/>
                  <a:gd name="T24" fmla="*/ 0 w 12"/>
                  <a:gd name="T25" fmla="*/ 6 h 10"/>
                  <a:gd name="T26" fmla="*/ 2 w 12"/>
                  <a:gd name="T27" fmla="*/ 8 h 10"/>
                  <a:gd name="T28" fmla="*/ 2 w 12"/>
                  <a:gd name="T29" fmla="*/ 10 h 10"/>
                  <a:gd name="T30" fmla="*/ 4 w 12"/>
                  <a:gd name="T31" fmla="*/ 10 h 10"/>
                  <a:gd name="T32" fmla="*/ 4 w 12"/>
                  <a:gd name="T33" fmla="*/ 10 h 10"/>
                  <a:gd name="T34" fmla="*/ 4 w 12"/>
                  <a:gd name="T35" fmla="*/ 10 h 10"/>
                  <a:gd name="T36" fmla="*/ 8 w 12"/>
                  <a:gd name="T37" fmla="*/ 10 h 10"/>
                  <a:gd name="T38" fmla="*/ 10 w 12"/>
                  <a:gd name="T39" fmla="*/ 10 h 10"/>
                  <a:gd name="T40" fmla="*/ 10 w 12"/>
                  <a:gd name="T41" fmla="*/ 10 h 10"/>
                  <a:gd name="T42" fmla="*/ 12 w 12"/>
                  <a:gd name="T43" fmla="*/ 10 h 10"/>
                  <a:gd name="T44" fmla="*/ 12 w 12"/>
                  <a:gd name="T45" fmla="*/ 10 h 10"/>
                  <a:gd name="T46" fmla="*/ 12 w 12"/>
                  <a:gd name="T47" fmla="*/ 10 h 10"/>
                  <a:gd name="T48" fmla="*/ 10 w 12"/>
                  <a:gd name="T49" fmla="*/ 8 h 10"/>
                  <a:gd name="T50" fmla="*/ 10 w 12"/>
                  <a:gd name="T51" fmla="*/ 8 h 10"/>
                  <a:gd name="T52" fmla="*/ 6 w 12"/>
                  <a:gd name="T53" fmla="*/ 4 h 10"/>
                  <a:gd name="T54" fmla="*/ 6 w 12"/>
                  <a:gd name="T55" fmla="*/ 4 h 10"/>
                  <a:gd name="T56" fmla="*/ 6 w 12"/>
                  <a:gd name="T57" fmla="*/ 4 h 10"/>
                  <a:gd name="T58" fmla="*/ 6 w 12"/>
                  <a:gd name="T59" fmla="*/ 4 h 10"/>
                  <a:gd name="T60" fmla="*/ 6 w 12"/>
                  <a:gd name="T61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2" h="10">
                    <a:moveTo>
                      <a:pt x="6" y="4"/>
                    </a:moveTo>
                    <a:lnTo>
                      <a:pt x="6" y="4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49" name="Freeform 261"/>
              <p:cNvSpPr>
                <a:spLocks/>
              </p:cNvSpPr>
              <p:nvPr/>
            </p:nvSpPr>
            <p:spPr bwMode="auto">
              <a:xfrm>
                <a:off x="1747" y="3836"/>
                <a:ext cx="12" cy="10"/>
              </a:xfrm>
              <a:custGeom>
                <a:avLst/>
                <a:gdLst>
                  <a:gd name="T0" fmla="*/ 6 w 12"/>
                  <a:gd name="T1" fmla="*/ 4 h 10"/>
                  <a:gd name="T2" fmla="*/ 6 w 12"/>
                  <a:gd name="T3" fmla="*/ 4 h 10"/>
                  <a:gd name="T4" fmla="*/ 4 w 12"/>
                  <a:gd name="T5" fmla="*/ 2 h 10"/>
                  <a:gd name="T6" fmla="*/ 4 w 12"/>
                  <a:gd name="T7" fmla="*/ 0 h 10"/>
                  <a:gd name="T8" fmla="*/ 2 w 12"/>
                  <a:gd name="T9" fmla="*/ 0 h 10"/>
                  <a:gd name="T10" fmla="*/ 2 w 12"/>
                  <a:gd name="T11" fmla="*/ 0 h 10"/>
                  <a:gd name="T12" fmla="*/ 2 w 12"/>
                  <a:gd name="T13" fmla="*/ 0 h 10"/>
                  <a:gd name="T14" fmla="*/ 0 w 12"/>
                  <a:gd name="T15" fmla="*/ 0 h 10"/>
                  <a:gd name="T16" fmla="*/ 0 w 12"/>
                  <a:gd name="T17" fmla="*/ 2 h 10"/>
                  <a:gd name="T18" fmla="*/ 0 w 12"/>
                  <a:gd name="T19" fmla="*/ 2 h 10"/>
                  <a:gd name="T20" fmla="*/ 0 w 12"/>
                  <a:gd name="T21" fmla="*/ 4 h 10"/>
                  <a:gd name="T22" fmla="*/ 0 w 12"/>
                  <a:gd name="T23" fmla="*/ 6 h 10"/>
                  <a:gd name="T24" fmla="*/ 0 w 12"/>
                  <a:gd name="T25" fmla="*/ 6 h 10"/>
                  <a:gd name="T26" fmla="*/ 2 w 12"/>
                  <a:gd name="T27" fmla="*/ 8 h 10"/>
                  <a:gd name="T28" fmla="*/ 2 w 12"/>
                  <a:gd name="T29" fmla="*/ 10 h 10"/>
                  <a:gd name="T30" fmla="*/ 4 w 12"/>
                  <a:gd name="T31" fmla="*/ 10 h 10"/>
                  <a:gd name="T32" fmla="*/ 4 w 12"/>
                  <a:gd name="T33" fmla="*/ 10 h 10"/>
                  <a:gd name="T34" fmla="*/ 4 w 12"/>
                  <a:gd name="T35" fmla="*/ 10 h 10"/>
                  <a:gd name="T36" fmla="*/ 8 w 12"/>
                  <a:gd name="T37" fmla="*/ 10 h 10"/>
                  <a:gd name="T38" fmla="*/ 10 w 12"/>
                  <a:gd name="T39" fmla="*/ 10 h 10"/>
                  <a:gd name="T40" fmla="*/ 10 w 12"/>
                  <a:gd name="T41" fmla="*/ 10 h 10"/>
                  <a:gd name="T42" fmla="*/ 12 w 12"/>
                  <a:gd name="T43" fmla="*/ 10 h 10"/>
                  <a:gd name="T44" fmla="*/ 12 w 12"/>
                  <a:gd name="T45" fmla="*/ 10 h 10"/>
                  <a:gd name="T46" fmla="*/ 12 w 12"/>
                  <a:gd name="T47" fmla="*/ 10 h 10"/>
                  <a:gd name="T48" fmla="*/ 10 w 12"/>
                  <a:gd name="T49" fmla="*/ 8 h 10"/>
                  <a:gd name="T50" fmla="*/ 10 w 12"/>
                  <a:gd name="T51" fmla="*/ 8 h 10"/>
                  <a:gd name="T52" fmla="*/ 6 w 12"/>
                  <a:gd name="T53" fmla="*/ 4 h 10"/>
                  <a:gd name="T54" fmla="*/ 6 w 12"/>
                  <a:gd name="T55" fmla="*/ 4 h 10"/>
                  <a:gd name="T56" fmla="*/ 6 w 12"/>
                  <a:gd name="T57" fmla="*/ 4 h 10"/>
                  <a:gd name="T58" fmla="*/ 6 w 12"/>
                  <a:gd name="T59" fmla="*/ 4 h 10"/>
                  <a:gd name="T60" fmla="*/ 6 w 12"/>
                  <a:gd name="T61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2" h="10">
                    <a:moveTo>
                      <a:pt x="6" y="4"/>
                    </a:moveTo>
                    <a:lnTo>
                      <a:pt x="6" y="4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50" name="Freeform 262"/>
              <p:cNvSpPr>
                <a:spLocks/>
              </p:cNvSpPr>
              <p:nvPr/>
            </p:nvSpPr>
            <p:spPr bwMode="auto">
              <a:xfrm>
                <a:off x="1771" y="3866"/>
                <a:ext cx="24" cy="14"/>
              </a:xfrm>
              <a:custGeom>
                <a:avLst/>
                <a:gdLst>
                  <a:gd name="T0" fmla="*/ 14 w 24"/>
                  <a:gd name="T1" fmla="*/ 0 h 14"/>
                  <a:gd name="T2" fmla="*/ 14 w 24"/>
                  <a:gd name="T3" fmla="*/ 0 h 14"/>
                  <a:gd name="T4" fmla="*/ 12 w 24"/>
                  <a:gd name="T5" fmla="*/ 2 h 14"/>
                  <a:gd name="T6" fmla="*/ 10 w 24"/>
                  <a:gd name="T7" fmla="*/ 4 h 14"/>
                  <a:gd name="T8" fmla="*/ 8 w 24"/>
                  <a:gd name="T9" fmla="*/ 4 h 14"/>
                  <a:gd name="T10" fmla="*/ 8 w 24"/>
                  <a:gd name="T11" fmla="*/ 4 h 14"/>
                  <a:gd name="T12" fmla="*/ 6 w 24"/>
                  <a:gd name="T13" fmla="*/ 4 h 14"/>
                  <a:gd name="T14" fmla="*/ 4 w 24"/>
                  <a:gd name="T15" fmla="*/ 4 h 14"/>
                  <a:gd name="T16" fmla="*/ 2 w 24"/>
                  <a:gd name="T17" fmla="*/ 6 h 14"/>
                  <a:gd name="T18" fmla="*/ 2 w 24"/>
                  <a:gd name="T19" fmla="*/ 6 h 14"/>
                  <a:gd name="T20" fmla="*/ 2 w 24"/>
                  <a:gd name="T21" fmla="*/ 8 h 14"/>
                  <a:gd name="T22" fmla="*/ 0 w 24"/>
                  <a:gd name="T23" fmla="*/ 8 h 14"/>
                  <a:gd name="T24" fmla="*/ 0 w 24"/>
                  <a:gd name="T25" fmla="*/ 10 h 14"/>
                  <a:gd name="T26" fmla="*/ 0 w 24"/>
                  <a:gd name="T27" fmla="*/ 12 h 14"/>
                  <a:gd name="T28" fmla="*/ 0 w 24"/>
                  <a:gd name="T29" fmla="*/ 12 h 14"/>
                  <a:gd name="T30" fmla="*/ 2 w 24"/>
                  <a:gd name="T31" fmla="*/ 12 h 14"/>
                  <a:gd name="T32" fmla="*/ 2 w 24"/>
                  <a:gd name="T33" fmla="*/ 14 h 14"/>
                  <a:gd name="T34" fmla="*/ 4 w 24"/>
                  <a:gd name="T35" fmla="*/ 14 h 14"/>
                  <a:gd name="T36" fmla="*/ 6 w 24"/>
                  <a:gd name="T37" fmla="*/ 12 h 14"/>
                  <a:gd name="T38" fmla="*/ 6 w 24"/>
                  <a:gd name="T39" fmla="*/ 12 h 14"/>
                  <a:gd name="T40" fmla="*/ 8 w 24"/>
                  <a:gd name="T41" fmla="*/ 10 h 14"/>
                  <a:gd name="T42" fmla="*/ 14 w 24"/>
                  <a:gd name="T43" fmla="*/ 8 h 14"/>
                  <a:gd name="T44" fmla="*/ 14 w 24"/>
                  <a:gd name="T45" fmla="*/ 8 h 14"/>
                  <a:gd name="T46" fmla="*/ 16 w 24"/>
                  <a:gd name="T47" fmla="*/ 6 h 14"/>
                  <a:gd name="T48" fmla="*/ 20 w 24"/>
                  <a:gd name="T49" fmla="*/ 4 h 14"/>
                  <a:gd name="T50" fmla="*/ 20 w 24"/>
                  <a:gd name="T51" fmla="*/ 4 h 14"/>
                  <a:gd name="T52" fmla="*/ 22 w 24"/>
                  <a:gd name="T53" fmla="*/ 4 h 14"/>
                  <a:gd name="T54" fmla="*/ 24 w 24"/>
                  <a:gd name="T55" fmla="*/ 4 h 14"/>
                  <a:gd name="T56" fmla="*/ 24 w 24"/>
                  <a:gd name="T57" fmla="*/ 4 h 14"/>
                  <a:gd name="T58" fmla="*/ 24 w 24"/>
                  <a:gd name="T59" fmla="*/ 2 h 14"/>
                  <a:gd name="T60" fmla="*/ 24 w 24"/>
                  <a:gd name="T61" fmla="*/ 2 h 14"/>
                  <a:gd name="T62" fmla="*/ 24 w 24"/>
                  <a:gd name="T63" fmla="*/ 2 h 14"/>
                  <a:gd name="T64" fmla="*/ 24 w 24"/>
                  <a:gd name="T65" fmla="*/ 0 h 14"/>
                  <a:gd name="T66" fmla="*/ 22 w 24"/>
                  <a:gd name="T67" fmla="*/ 0 h 14"/>
                  <a:gd name="T68" fmla="*/ 20 w 24"/>
                  <a:gd name="T69" fmla="*/ 0 h 14"/>
                  <a:gd name="T70" fmla="*/ 16 w 24"/>
                  <a:gd name="T71" fmla="*/ 0 h 14"/>
                  <a:gd name="T72" fmla="*/ 16 w 24"/>
                  <a:gd name="T73" fmla="*/ 0 h 14"/>
                  <a:gd name="T74" fmla="*/ 14 w 24"/>
                  <a:gd name="T75" fmla="*/ 0 h 14"/>
                  <a:gd name="T76" fmla="*/ 14 w 24"/>
                  <a:gd name="T77" fmla="*/ 0 h 14"/>
                  <a:gd name="T78" fmla="*/ 14 w 24"/>
                  <a:gd name="T79" fmla="*/ 0 h 14"/>
                  <a:gd name="T80" fmla="*/ 14 w 24"/>
                  <a:gd name="T81" fmla="*/ 0 h 14"/>
                  <a:gd name="T82" fmla="*/ 14 w 24"/>
                  <a:gd name="T83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4" h="14">
                    <a:moveTo>
                      <a:pt x="14" y="0"/>
                    </a:moveTo>
                    <a:lnTo>
                      <a:pt x="14" y="0"/>
                    </a:lnTo>
                    <a:lnTo>
                      <a:pt x="12" y="2"/>
                    </a:lnTo>
                    <a:lnTo>
                      <a:pt x="10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4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8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12"/>
                    </a:lnTo>
                    <a:lnTo>
                      <a:pt x="2" y="14"/>
                    </a:lnTo>
                    <a:lnTo>
                      <a:pt x="4" y="14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0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6" y="6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2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4" y="0"/>
                    </a:lnTo>
                    <a:lnTo>
                      <a:pt x="22" y="0"/>
                    </a:lnTo>
                    <a:lnTo>
                      <a:pt x="20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51" name="Freeform 264"/>
              <p:cNvSpPr>
                <a:spLocks/>
              </p:cNvSpPr>
              <p:nvPr/>
            </p:nvSpPr>
            <p:spPr bwMode="auto">
              <a:xfrm>
                <a:off x="1799" y="3864"/>
                <a:ext cx="12" cy="6"/>
              </a:xfrm>
              <a:custGeom>
                <a:avLst/>
                <a:gdLst>
                  <a:gd name="T0" fmla="*/ 0 w 12"/>
                  <a:gd name="T1" fmla="*/ 2 h 6"/>
                  <a:gd name="T2" fmla="*/ 0 w 12"/>
                  <a:gd name="T3" fmla="*/ 2 h 6"/>
                  <a:gd name="T4" fmla="*/ 0 w 12"/>
                  <a:gd name="T5" fmla="*/ 4 h 6"/>
                  <a:gd name="T6" fmla="*/ 0 w 12"/>
                  <a:gd name="T7" fmla="*/ 4 h 6"/>
                  <a:gd name="T8" fmla="*/ 0 w 12"/>
                  <a:gd name="T9" fmla="*/ 4 h 6"/>
                  <a:gd name="T10" fmla="*/ 2 w 12"/>
                  <a:gd name="T11" fmla="*/ 6 h 6"/>
                  <a:gd name="T12" fmla="*/ 2 w 12"/>
                  <a:gd name="T13" fmla="*/ 6 h 6"/>
                  <a:gd name="T14" fmla="*/ 4 w 12"/>
                  <a:gd name="T15" fmla="*/ 6 h 6"/>
                  <a:gd name="T16" fmla="*/ 4 w 12"/>
                  <a:gd name="T17" fmla="*/ 6 h 6"/>
                  <a:gd name="T18" fmla="*/ 6 w 12"/>
                  <a:gd name="T19" fmla="*/ 6 h 6"/>
                  <a:gd name="T20" fmla="*/ 8 w 12"/>
                  <a:gd name="T21" fmla="*/ 6 h 6"/>
                  <a:gd name="T22" fmla="*/ 8 w 12"/>
                  <a:gd name="T23" fmla="*/ 6 h 6"/>
                  <a:gd name="T24" fmla="*/ 10 w 12"/>
                  <a:gd name="T25" fmla="*/ 4 h 6"/>
                  <a:gd name="T26" fmla="*/ 10 w 12"/>
                  <a:gd name="T27" fmla="*/ 4 h 6"/>
                  <a:gd name="T28" fmla="*/ 10 w 12"/>
                  <a:gd name="T29" fmla="*/ 4 h 6"/>
                  <a:gd name="T30" fmla="*/ 12 w 12"/>
                  <a:gd name="T31" fmla="*/ 2 h 6"/>
                  <a:gd name="T32" fmla="*/ 12 w 12"/>
                  <a:gd name="T33" fmla="*/ 2 h 6"/>
                  <a:gd name="T34" fmla="*/ 10 w 12"/>
                  <a:gd name="T35" fmla="*/ 0 h 6"/>
                  <a:gd name="T36" fmla="*/ 10 w 12"/>
                  <a:gd name="T37" fmla="*/ 0 h 6"/>
                  <a:gd name="T38" fmla="*/ 10 w 12"/>
                  <a:gd name="T39" fmla="*/ 0 h 6"/>
                  <a:gd name="T40" fmla="*/ 10 w 12"/>
                  <a:gd name="T41" fmla="*/ 0 h 6"/>
                  <a:gd name="T42" fmla="*/ 6 w 12"/>
                  <a:gd name="T43" fmla="*/ 0 h 6"/>
                  <a:gd name="T44" fmla="*/ 4 w 12"/>
                  <a:gd name="T45" fmla="*/ 0 h 6"/>
                  <a:gd name="T46" fmla="*/ 4 w 12"/>
                  <a:gd name="T47" fmla="*/ 0 h 6"/>
                  <a:gd name="T48" fmla="*/ 2 w 12"/>
                  <a:gd name="T49" fmla="*/ 2 h 6"/>
                  <a:gd name="T50" fmla="*/ 2 w 12"/>
                  <a:gd name="T51" fmla="*/ 2 h 6"/>
                  <a:gd name="T52" fmla="*/ 0 w 12"/>
                  <a:gd name="T53" fmla="*/ 2 h 6"/>
                  <a:gd name="T54" fmla="*/ 0 w 12"/>
                  <a:gd name="T55" fmla="*/ 2 h 6"/>
                  <a:gd name="T56" fmla="*/ 0 w 12"/>
                  <a:gd name="T57" fmla="*/ 2 h 6"/>
                  <a:gd name="T58" fmla="*/ 0 w 12"/>
                  <a:gd name="T59" fmla="*/ 2 h 6"/>
                  <a:gd name="T60" fmla="*/ 0 w 12"/>
                  <a:gd name="T61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2" h="6">
                    <a:moveTo>
                      <a:pt x="0" y="2"/>
                    </a:move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52" name="Freeform 266"/>
              <p:cNvSpPr>
                <a:spLocks/>
              </p:cNvSpPr>
              <p:nvPr/>
            </p:nvSpPr>
            <p:spPr bwMode="auto">
              <a:xfrm>
                <a:off x="1789" y="3872"/>
                <a:ext cx="14" cy="10"/>
              </a:xfrm>
              <a:custGeom>
                <a:avLst/>
                <a:gdLst>
                  <a:gd name="T0" fmla="*/ 4 w 14"/>
                  <a:gd name="T1" fmla="*/ 2 h 10"/>
                  <a:gd name="T2" fmla="*/ 4 w 14"/>
                  <a:gd name="T3" fmla="*/ 2 h 10"/>
                  <a:gd name="T4" fmla="*/ 2 w 14"/>
                  <a:gd name="T5" fmla="*/ 2 h 10"/>
                  <a:gd name="T6" fmla="*/ 0 w 14"/>
                  <a:gd name="T7" fmla="*/ 4 h 10"/>
                  <a:gd name="T8" fmla="*/ 0 w 14"/>
                  <a:gd name="T9" fmla="*/ 4 h 10"/>
                  <a:gd name="T10" fmla="*/ 0 w 14"/>
                  <a:gd name="T11" fmla="*/ 4 h 10"/>
                  <a:gd name="T12" fmla="*/ 0 w 14"/>
                  <a:gd name="T13" fmla="*/ 4 h 10"/>
                  <a:gd name="T14" fmla="*/ 0 w 14"/>
                  <a:gd name="T15" fmla="*/ 6 h 10"/>
                  <a:gd name="T16" fmla="*/ 0 w 14"/>
                  <a:gd name="T17" fmla="*/ 6 h 10"/>
                  <a:gd name="T18" fmla="*/ 0 w 14"/>
                  <a:gd name="T19" fmla="*/ 6 h 10"/>
                  <a:gd name="T20" fmla="*/ 2 w 14"/>
                  <a:gd name="T21" fmla="*/ 8 h 10"/>
                  <a:gd name="T22" fmla="*/ 2 w 14"/>
                  <a:gd name="T23" fmla="*/ 8 h 10"/>
                  <a:gd name="T24" fmla="*/ 2 w 14"/>
                  <a:gd name="T25" fmla="*/ 8 h 10"/>
                  <a:gd name="T26" fmla="*/ 4 w 14"/>
                  <a:gd name="T27" fmla="*/ 10 h 10"/>
                  <a:gd name="T28" fmla="*/ 6 w 14"/>
                  <a:gd name="T29" fmla="*/ 10 h 10"/>
                  <a:gd name="T30" fmla="*/ 6 w 14"/>
                  <a:gd name="T31" fmla="*/ 10 h 10"/>
                  <a:gd name="T32" fmla="*/ 6 w 14"/>
                  <a:gd name="T33" fmla="*/ 10 h 10"/>
                  <a:gd name="T34" fmla="*/ 6 w 14"/>
                  <a:gd name="T35" fmla="*/ 10 h 10"/>
                  <a:gd name="T36" fmla="*/ 6 w 14"/>
                  <a:gd name="T37" fmla="*/ 10 h 10"/>
                  <a:gd name="T38" fmla="*/ 6 w 14"/>
                  <a:gd name="T39" fmla="*/ 10 h 10"/>
                  <a:gd name="T40" fmla="*/ 8 w 14"/>
                  <a:gd name="T41" fmla="*/ 8 h 10"/>
                  <a:gd name="T42" fmla="*/ 8 w 14"/>
                  <a:gd name="T43" fmla="*/ 6 h 10"/>
                  <a:gd name="T44" fmla="*/ 8 w 14"/>
                  <a:gd name="T45" fmla="*/ 6 h 10"/>
                  <a:gd name="T46" fmla="*/ 8 w 14"/>
                  <a:gd name="T47" fmla="*/ 6 h 10"/>
                  <a:gd name="T48" fmla="*/ 10 w 14"/>
                  <a:gd name="T49" fmla="*/ 4 h 10"/>
                  <a:gd name="T50" fmla="*/ 10 w 14"/>
                  <a:gd name="T51" fmla="*/ 4 h 10"/>
                  <a:gd name="T52" fmla="*/ 12 w 14"/>
                  <a:gd name="T53" fmla="*/ 4 h 10"/>
                  <a:gd name="T54" fmla="*/ 14 w 14"/>
                  <a:gd name="T55" fmla="*/ 4 h 10"/>
                  <a:gd name="T56" fmla="*/ 14 w 14"/>
                  <a:gd name="T57" fmla="*/ 4 h 10"/>
                  <a:gd name="T58" fmla="*/ 14 w 14"/>
                  <a:gd name="T59" fmla="*/ 4 h 10"/>
                  <a:gd name="T60" fmla="*/ 14 w 14"/>
                  <a:gd name="T61" fmla="*/ 4 h 10"/>
                  <a:gd name="T62" fmla="*/ 12 w 14"/>
                  <a:gd name="T63" fmla="*/ 2 h 10"/>
                  <a:gd name="T64" fmla="*/ 10 w 14"/>
                  <a:gd name="T65" fmla="*/ 0 h 10"/>
                  <a:gd name="T66" fmla="*/ 10 w 14"/>
                  <a:gd name="T67" fmla="*/ 0 h 10"/>
                  <a:gd name="T68" fmla="*/ 10 w 14"/>
                  <a:gd name="T69" fmla="*/ 0 h 10"/>
                  <a:gd name="T70" fmla="*/ 8 w 14"/>
                  <a:gd name="T71" fmla="*/ 0 h 10"/>
                  <a:gd name="T72" fmla="*/ 6 w 14"/>
                  <a:gd name="T73" fmla="*/ 2 h 10"/>
                  <a:gd name="T74" fmla="*/ 6 w 14"/>
                  <a:gd name="T75" fmla="*/ 2 h 10"/>
                  <a:gd name="T76" fmla="*/ 4 w 14"/>
                  <a:gd name="T77" fmla="*/ 2 h 10"/>
                  <a:gd name="T78" fmla="*/ 4 w 14"/>
                  <a:gd name="T79" fmla="*/ 2 h 10"/>
                  <a:gd name="T80" fmla="*/ 4 w 14"/>
                  <a:gd name="T81" fmla="*/ 2 h 10"/>
                  <a:gd name="T82" fmla="*/ 4 w 14"/>
                  <a:gd name="T83" fmla="*/ 2 h 10"/>
                  <a:gd name="T84" fmla="*/ 4 w 14"/>
                  <a:gd name="T85" fmla="*/ 2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4" h="10">
                    <a:moveTo>
                      <a:pt x="4" y="2"/>
                    </a:moveTo>
                    <a:lnTo>
                      <a:pt x="4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8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2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2" y="2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53" name="Freeform 268"/>
              <p:cNvSpPr>
                <a:spLocks/>
              </p:cNvSpPr>
              <p:nvPr/>
            </p:nvSpPr>
            <p:spPr bwMode="auto">
              <a:xfrm>
                <a:off x="1741" y="3808"/>
                <a:ext cx="44" cy="56"/>
              </a:xfrm>
              <a:custGeom>
                <a:avLst/>
                <a:gdLst>
                  <a:gd name="T0" fmla="*/ 44 w 44"/>
                  <a:gd name="T1" fmla="*/ 44 h 56"/>
                  <a:gd name="T2" fmla="*/ 38 w 44"/>
                  <a:gd name="T3" fmla="*/ 36 h 56"/>
                  <a:gd name="T4" fmla="*/ 34 w 44"/>
                  <a:gd name="T5" fmla="*/ 26 h 56"/>
                  <a:gd name="T6" fmla="*/ 32 w 44"/>
                  <a:gd name="T7" fmla="*/ 14 h 56"/>
                  <a:gd name="T8" fmla="*/ 32 w 44"/>
                  <a:gd name="T9" fmla="*/ 8 h 56"/>
                  <a:gd name="T10" fmla="*/ 30 w 44"/>
                  <a:gd name="T11" fmla="*/ 2 h 56"/>
                  <a:gd name="T12" fmla="*/ 28 w 44"/>
                  <a:gd name="T13" fmla="*/ 0 h 56"/>
                  <a:gd name="T14" fmla="*/ 24 w 44"/>
                  <a:gd name="T15" fmla="*/ 2 h 56"/>
                  <a:gd name="T16" fmla="*/ 20 w 44"/>
                  <a:gd name="T17" fmla="*/ 4 h 56"/>
                  <a:gd name="T18" fmla="*/ 18 w 44"/>
                  <a:gd name="T19" fmla="*/ 2 h 56"/>
                  <a:gd name="T20" fmla="*/ 16 w 44"/>
                  <a:gd name="T21" fmla="*/ 4 h 56"/>
                  <a:gd name="T22" fmla="*/ 16 w 44"/>
                  <a:gd name="T23" fmla="*/ 8 h 56"/>
                  <a:gd name="T24" fmla="*/ 12 w 44"/>
                  <a:gd name="T25" fmla="*/ 8 h 56"/>
                  <a:gd name="T26" fmla="*/ 8 w 44"/>
                  <a:gd name="T27" fmla="*/ 10 h 56"/>
                  <a:gd name="T28" fmla="*/ 6 w 44"/>
                  <a:gd name="T29" fmla="*/ 14 h 56"/>
                  <a:gd name="T30" fmla="*/ 8 w 44"/>
                  <a:gd name="T31" fmla="*/ 18 h 56"/>
                  <a:gd name="T32" fmla="*/ 10 w 44"/>
                  <a:gd name="T33" fmla="*/ 22 h 56"/>
                  <a:gd name="T34" fmla="*/ 14 w 44"/>
                  <a:gd name="T35" fmla="*/ 24 h 56"/>
                  <a:gd name="T36" fmla="*/ 18 w 44"/>
                  <a:gd name="T37" fmla="*/ 20 h 56"/>
                  <a:gd name="T38" fmla="*/ 22 w 44"/>
                  <a:gd name="T39" fmla="*/ 20 h 56"/>
                  <a:gd name="T40" fmla="*/ 20 w 44"/>
                  <a:gd name="T41" fmla="*/ 24 h 56"/>
                  <a:gd name="T42" fmla="*/ 16 w 44"/>
                  <a:gd name="T43" fmla="*/ 26 h 56"/>
                  <a:gd name="T44" fmla="*/ 14 w 44"/>
                  <a:gd name="T45" fmla="*/ 28 h 56"/>
                  <a:gd name="T46" fmla="*/ 16 w 44"/>
                  <a:gd name="T47" fmla="*/ 34 h 56"/>
                  <a:gd name="T48" fmla="*/ 30 w 44"/>
                  <a:gd name="T49" fmla="*/ 40 h 56"/>
                  <a:gd name="T50" fmla="*/ 32 w 44"/>
                  <a:gd name="T51" fmla="*/ 42 h 56"/>
                  <a:gd name="T52" fmla="*/ 38 w 44"/>
                  <a:gd name="T53" fmla="*/ 44 h 56"/>
                  <a:gd name="T54" fmla="*/ 38 w 44"/>
                  <a:gd name="T55" fmla="*/ 46 h 56"/>
                  <a:gd name="T56" fmla="*/ 34 w 44"/>
                  <a:gd name="T57" fmla="*/ 46 h 56"/>
                  <a:gd name="T58" fmla="*/ 32 w 44"/>
                  <a:gd name="T59" fmla="*/ 48 h 56"/>
                  <a:gd name="T60" fmla="*/ 30 w 44"/>
                  <a:gd name="T61" fmla="*/ 48 h 56"/>
                  <a:gd name="T62" fmla="*/ 28 w 44"/>
                  <a:gd name="T63" fmla="*/ 44 h 56"/>
                  <a:gd name="T64" fmla="*/ 22 w 44"/>
                  <a:gd name="T65" fmla="*/ 40 h 56"/>
                  <a:gd name="T66" fmla="*/ 16 w 44"/>
                  <a:gd name="T67" fmla="*/ 42 h 56"/>
                  <a:gd name="T68" fmla="*/ 12 w 44"/>
                  <a:gd name="T69" fmla="*/ 42 h 56"/>
                  <a:gd name="T70" fmla="*/ 10 w 44"/>
                  <a:gd name="T71" fmla="*/ 44 h 56"/>
                  <a:gd name="T72" fmla="*/ 6 w 44"/>
                  <a:gd name="T73" fmla="*/ 44 h 56"/>
                  <a:gd name="T74" fmla="*/ 4 w 44"/>
                  <a:gd name="T75" fmla="*/ 44 h 56"/>
                  <a:gd name="T76" fmla="*/ 0 w 44"/>
                  <a:gd name="T77" fmla="*/ 44 h 56"/>
                  <a:gd name="T78" fmla="*/ 2 w 44"/>
                  <a:gd name="T79" fmla="*/ 50 h 56"/>
                  <a:gd name="T80" fmla="*/ 4 w 44"/>
                  <a:gd name="T81" fmla="*/ 54 h 56"/>
                  <a:gd name="T82" fmla="*/ 8 w 44"/>
                  <a:gd name="T83" fmla="*/ 54 h 56"/>
                  <a:gd name="T84" fmla="*/ 12 w 44"/>
                  <a:gd name="T85" fmla="*/ 54 h 56"/>
                  <a:gd name="T86" fmla="*/ 18 w 44"/>
                  <a:gd name="T87" fmla="*/ 56 h 56"/>
                  <a:gd name="T88" fmla="*/ 26 w 44"/>
                  <a:gd name="T89" fmla="*/ 56 h 56"/>
                  <a:gd name="T90" fmla="*/ 32 w 44"/>
                  <a:gd name="T91" fmla="*/ 56 h 56"/>
                  <a:gd name="T92" fmla="*/ 36 w 44"/>
                  <a:gd name="T93" fmla="*/ 56 h 56"/>
                  <a:gd name="T94" fmla="*/ 42 w 44"/>
                  <a:gd name="T95" fmla="*/ 52 h 56"/>
                  <a:gd name="T96" fmla="*/ 44 w 44"/>
                  <a:gd name="T97" fmla="*/ 4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4" h="56">
                    <a:moveTo>
                      <a:pt x="44" y="46"/>
                    </a:moveTo>
                    <a:lnTo>
                      <a:pt x="44" y="46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42" y="42"/>
                    </a:lnTo>
                    <a:lnTo>
                      <a:pt x="42" y="40"/>
                    </a:lnTo>
                    <a:lnTo>
                      <a:pt x="40" y="38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6" y="32"/>
                    </a:lnTo>
                    <a:lnTo>
                      <a:pt x="34" y="26"/>
                    </a:lnTo>
                    <a:lnTo>
                      <a:pt x="34" y="26"/>
                    </a:lnTo>
                    <a:lnTo>
                      <a:pt x="32" y="24"/>
                    </a:lnTo>
                    <a:lnTo>
                      <a:pt x="32" y="20"/>
                    </a:lnTo>
                    <a:lnTo>
                      <a:pt x="32" y="16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2" y="12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6"/>
                    </a:lnTo>
                    <a:lnTo>
                      <a:pt x="32" y="4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6" y="0"/>
                    </a:lnTo>
                    <a:lnTo>
                      <a:pt x="24" y="0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0" y="4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6" y="4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2" y="8"/>
                    </a:lnTo>
                    <a:lnTo>
                      <a:pt x="10" y="8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8" y="10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20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4" y="24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4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30"/>
                    </a:lnTo>
                    <a:lnTo>
                      <a:pt x="14" y="32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8" y="36"/>
                    </a:lnTo>
                    <a:lnTo>
                      <a:pt x="22" y="38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32" y="42"/>
                    </a:lnTo>
                    <a:lnTo>
                      <a:pt x="32" y="42"/>
                    </a:lnTo>
                    <a:lnTo>
                      <a:pt x="32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6" y="42"/>
                    </a:lnTo>
                    <a:lnTo>
                      <a:pt x="38" y="44"/>
                    </a:lnTo>
                    <a:lnTo>
                      <a:pt x="38" y="44"/>
                    </a:lnTo>
                    <a:lnTo>
                      <a:pt x="38" y="44"/>
                    </a:lnTo>
                    <a:lnTo>
                      <a:pt x="38" y="44"/>
                    </a:lnTo>
                    <a:lnTo>
                      <a:pt x="38" y="46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28" y="46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4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6" y="42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2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6"/>
                    </a:lnTo>
                    <a:lnTo>
                      <a:pt x="0" y="48"/>
                    </a:lnTo>
                    <a:lnTo>
                      <a:pt x="2" y="50"/>
                    </a:lnTo>
                    <a:lnTo>
                      <a:pt x="2" y="50"/>
                    </a:lnTo>
                    <a:lnTo>
                      <a:pt x="2" y="52"/>
                    </a:lnTo>
                    <a:lnTo>
                      <a:pt x="4" y="52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6" y="54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2" y="54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6" y="56"/>
                    </a:lnTo>
                    <a:lnTo>
                      <a:pt x="18" y="56"/>
                    </a:lnTo>
                    <a:lnTo>
                      <a:pt x="20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4" y="56"/>
                    </a:lnTo>
                    <a:lnTo>
                      <a:pt x="36" y="56"/>
                    </a:lnTo>
                    <a:lnTo>
                      <a:pt x="36" y="56"/>
                    </a:lnTo>
                    <a:lnTo>
                      <a:pt x="42" y="56"/>
                    </a:lnTo>
                    <a:lnTo>
                      <a:pt x="42" y="56"/>
                    </a:lnTo>
                    <a:lnTo>
                      <a:pt x="42" y="54"/>
                    </a:lnTo>
                    <a:lnTo>
                      <a:pt x="42" y="52"/>
                    </a:lnTo>
                    <a:lnTo>
                      <a:pt x="42" y="48"/>
                    </a:lnTo>
                    <a:lnTo>
                      <a:pt x="44" y="46"/>
                    </a:lnTo>
                    <a:lnTo>
                      <a:pt x="44" y="46"/>
                    </a:lnTo>
                    <a:lnTo>
                      <a:pt x="44" y="46"/>
                    </a:lnTo>
                    <a:lnTo>
                      <a:pt x="44" y="46"/>
                    </a:lnTo>
                    <a:lnTo>
                      <a:pt x="44" y="4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54" name="Freeform 269"/>
              <p:cNvSpPr>
                <a:spLocks/>
              </p:cNvSpPr>
              <p:nvPr/>
            </p:nvSpPr>
            <p:spPr bwMode="auto">
              <a:xfrm>
                <a:off x="1741" y="3808"/>
                <a:ext cx="44" cy="56"/>
              </a:xfrm>
              <a:custGeom>
                <a:avLst/>
                <a:gdLst>
                  <a:gd name="T0" fmla="*/ 44 w 44"/>
                  <a:gd name="T1" fmla="*/ 44 h 56"/>
                  <a:gd name="T2" fmla="*/ 38 w 44"/>
                  <a:gd name="T3" fmla="*/ 36 h 56"/>
                  <a:gd name="T4" fmla="*/ 34 w 44"/>
                  <a:gd name="T5" fmla="*/ 26 h 56"/>
                  <a:gd name="T6" fmla="*/ 32 w 44"/>
                  <a:gd name="T7" fmla="*/ 14 h 56"/>
                  <a:gd name="T8" fmla="*/ 32 w 44"/>
                  <a:gd name="T9" fmla="*/ 8 h 56"/>
                  <a:gd name="T10" fmla="*/ 30 w 44"/>
                  <a:gd name="T11" fmla="*/ 2 h 56"/>
                  <a:gd name="T12" fmla="*/ 28 w 44"/>
                  <a:gd name="T13" fmla="*/ 0 h 56"/>
                  <a:gd name="T14" fmla="*/ 24 w 44"/>
                  <a:gd name="T15" fmla="*/ 2 h 56"/>
                  <a:gd name="T16" fmla="*/ 20 w 44"/>
                  <a:gd name="T17" fmla="*/ 4 h 56"/>
                  <a:gd name="T18" fmla="*/ 18 w 44"/>
                  <a:gd name="T19" fmla="*/ 2 h 56"/>
                  <a:gd name="T20" fmla="*/ 16 w 44"/>
                  <a:gd name="T21" fmla="*/ 4 h 56"/>
                  <a:gd name="T22" fmla="*/ 16 w 44"/>
                  <a:gd name="T23" fmla="*/ 8 h 56"/>
                  <a:gd name="T24" fmla="*/ 12 w 44"/>
                  <a:gd name="T25" fmla="*/ 8 h 56"/>
                  <a:gd name="T26" fmla="*/ 8 w 44"/>
                  <a:gd name="T27" fmla="*/ 10 h 56"/>
                  <a:gd name="T28" fmla="*/ 6 w 44"/>
                  <a:gd name="T29" fmla="*/ 14 h 56"/>
                  <a:gd name="T30" fmla="*/ 8 w 44"/>
                  <a:gd name="T31" fmla="*/ 18 h 56"/>
                  <a:gd name="T32" fmla="*/ 10 w 44"/>
                  <a:gd name="T33" fmla="*/ 22 h 56"/>
                  <a:gd name="T34" fmla="*/ 14 w 44"/>
                  <a:gd name="T35" fmla="*/ 24 h 56"/>
                  <a:gd name="T36" fmla="*/ 18 w 44"/>
                  <a:gd name="T37" fmla="*/ 20 h 56"/>
                  <a:gd name="T38" fmla="*/ 22 w 44"/>
                  <a:gd name="T39" fmla="*/ 20 h 56"/>
                  <a:gd name="T40" fmla="*/ 20 w 44"/>
                  <a:gd name="T41" fmla="*/ 24 h 56"/>
                  <a:gd name="T42" fmla="*/ 16 w 44"/>
                  <a:gd name="T43" fmla="*/ 26 h 56"/>
                  <a:gd name="T44" fmla="*/ 14 w 44"/>
                  <a:gd name="T45" fmla="*/ 28 h 56"/>
                  <a:gd name="T46" fmla="*/ 16 w 44"/>
                  <a:gd name="T47" fmla="*/ 34 h 56"/>
                  <a:gd name="T48" fmla="*/ 30 w 44"/>
                  <a:gd name="T49" fmla="*/ 40 h 56"/>
                  <a:gd name="T50" fmla="*/ 32 w 44"/>
                  <a:gd name="T51" fmla="*/ 42 h 56"/>
                  <a:gd name="T52" fmla="*/ 38 w 44"/>
                  <a:gd name="T53" fmla="*/ 44 h 56"/>
                  <a:gd name="T54" fmla="*/ 38 w 44"/>
                  <a:gd name="T55" fmla="*/ 46 h 56"/>
                  <a:gd name="T56" fmla="*/ 34 w 44"/>
                  <a:gd name="T57" fmla="*/ 46 h 56"/>
                  <a:gd name="T58" fmla="*/ 32 w 44"/>
                  <a:gd name="T59" fmla="*/ 48 h 56"/>
                  <a:gd name="T60" fmla="*/ 30 w 44"/>
                  <a:gd name="T61" fmla="*/ 48 h 56"/>
                  <a:gd name="T62" fmla="*/ 28 w 44"/>
                  <a:gd name="T63" fmla="*/ 44 h 56"/>
                  <a:gd name="T64" fmla="*/ 22 w 44"/>
                  <a:gd name="T65" fmla="*/ 40 h 56"/>
                  <a:gd name="T66" fmla="*/ 16 w 44"/>
                  <a:gd name="T67" fmla="*/ 42 h 56"/>
                  <a:gd name="T68" fmla="*/ 12 w 44"/>
                  <a:gd name="T69" fmla="*/ 42 h 56"/>
                  <a:gd name="T70" fmla="*/ 10 w 44"/>
                  <a:gd name="T71" fmla="*/ 44 h 56"/>
                  <a:gd name="T72" fmla="*/ 6 w 44"/>
                  <a:gd name="T73" fmla="*/ 44 h 56"/>
                  <a:gd name="T74" fmla="*/ 4 w 44"/>
                  <a:gd name="T75" fmla="*/ 44 h 56"/>
                  <a:gd name="T76" fmla="*/ 0 w 44"/>
                  <a:gd name="T77" fmla="*/ 44 h 56"/>
                  <a:gd name="T78" fmla="*/ 2 w 44"/>
                  <a:gd name="T79" fmla="*/ 50 h 56"/>
                  <a:gd name="T80" fmla="*/ 4 w 44"/>
                  <a:gd name="T81" fmla="*/ 54 h 56"/>
                  <a:gd name="T82" fmla="*/ 8 w 44"/>
                  <a:gd name="T83" fmla="*/ 54 h 56"/>
                  <a:gd name="T84" fmla="*/ 12 w 44"/>
                  <a:gd name="T85" fmla="*/ 54 h 56"/>
                  <a:gd name="T86" fmla="*/ 18 w 44"/>
                  <a:gd name="T87" fmla="*/ 56 h 56"/>
                  <a:gd name="T88" fmla="*/ 26 w 44"/>
                  <a:gd name="T89" fmla="*/ 56 h 56"/>
                  <a:gd name="T90" fmla="*/ 32 w 44"/>
                  <a:gd name="T91" fmla="*/ 56 h 56"/>
                  <a:gd name="T92" fmla="*/ 36 w 44"/>
                  <a:gd name="T93" fmla="*/ 56 h 56"/>
                  <a:gd name="T94" fmla="*/ 42 w 44"/>
                  <a:gd name="T95" fmla="*/ 52 h 56"/>
                  <a:gd name="T96" fmla="*/ 44 w 44"/>
                  <a:gd name="T97" fmla="*/ 4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4" h="56">
                    <a:moveTo>
                      <a:pt x="44" y="46"/>
                    </a:moveTo>
                    <a:lnTo>
                      <a:pt x="44" y="46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42" y="42"/>
                    </a:lnTo>
                    <a:lnTo>
                      <a:pt x="42" y="40"/>
                    </a:lnTo>
                    <a:lnTo>
                      <a:pt x="40" y="38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6" y="32"/>
                    </a:lnTo>
                    <a:lnTo>
                      <a:pt x="34" y="26"/>
                    </a:lnTo>
                    <a:lnTo>
                      <a:pt x="34" y="26"/>
                    </a:lnTo>
                    <a:lnTo>
                      <a:pt x="32" y="24"/>
                    </a:lnTo>
                    <a:lnTo>
                      <a:pt x="32" y="20"/>
                    </a:lnTo>
                    <a:lnTo>
                      <a:pt x="32" y="16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2" y="12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6"/>
                    </a:lnTo>
                    <a:lnTo>
                      <a:pt x="32" y="4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6" y="0"/>
                    </a:lnTo>
                    <a:lnTo>
                      <a:pt x="24" y="0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0" y="4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6" y="4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2" y="8"/>
                    </a:lnTo>
                    <a:lnTo>
                      <a:pt x="10" y="8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8" y="10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6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20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4" y="24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4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30"/>
                    </a:lnTo>
                    <a:lnTo>
                      <a:pt x="14" y="32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8" y="36"/>
                    </a:lnTo>
                    <a:lnTo>
                      <a:pt x="22" y="38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32" y="42"/>
                    </a:lnTo>
                    <a:lnTo>
                      <a:pt x="32" y="42"/>
                    </a:lnTo>
                    <a:lnTo>
                      <a:pt x="32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6" y="42"/>
                    </a:lnTo>
                    <a:lnTo>
                      <a:pt x="38" y="44"/>
                    </a:lnTo>
                    <a:lnTo>
                      <a:pt x="38" y="44"/>
                    </a:lnTo>
                    <a:lnTo>
                      <a:pt x="38" y="44"/>
                    </a:lnTo>
                    <a:lnTo>
                      <a:pt x="38" y="44"/>
                    </a:lnTo>
                    <a:lnTo>
                      <a:pt x="38" y="46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28" y="46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4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6" y="42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2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6"/>
                    </a:lnTo>
                    <a:lnTo>
                      <a:pt x="0" y="48"/>
                    </a:lnTo>
                    <a:lnTo>
                      <a:pt x="2" y="50"/>
                    </a:lnTo>
                    <a:lnTo>
                      <a:pt x="2" y="50"/>
                    </a:lnTo>
                    <a:lnTo>
                      <a:pt x="2" y="52"/>
                    </a:lnTo>
                    <a:lnTo>
                      <a:pt x="4" y="52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6" y="54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2" y="54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6" y="56"/>
                    </a:lnTo>
                    <a:lnTo>
                      <a:pt x="18" y="56"/>
                    </a:lnTo>
                    <a:lnTo>
                      <a:pt x="20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4" y="56"/>
                    </a:lnTo>
                    <a:lnTo>
                      <a:pt x="36" y="56"/>
                    </a:lnTo>
                    <a:lnTo>
                      <a:pt x="36" y="56"/>
                    </a:lnTo>
                    <a:lnTo>
                      <a:pt x="42" y="56"/>
                    </a:lnTo>
                    <a:lnTo>
                      <a:pt x="42" y="56"/>
                    </a:lnTo>
                    <a:lnTo>
                      <a:pt x="42" y="54"/>
                    </a:lnTo>
                    <a:lnTo>
                      <a:pt x="42" y="52"/>
                    </a:lnTo>
                    <a:lnTo>
                      <a:pt x="42" y="48"/>
                    </a:lnTo>
                    <a:lnTo>
                      <a:pt x="44" y="46"/>
                    </a:lnTo>
                    <a:lnTo>
                      <a:pt x="44" y="46"/>
                    </a:lnTo>
                    <a:lnTo>
                      <a:pt x="44" y="46"/>
                    </a:lnTo>
                    <a:lnTo>
                      <a:pt x="44" y="46"/>
                    </a:lnTo>
                    <a:lnTo>
                      <a:pt x="44" y="4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55" name="Freeform 270"/>
              <p:cNvSpPr>
                <a:spLocks/>
              </p:cNvSpPr>
              <p:nvPr/>
            </p:nvSpPr>
            <p:spPr bwMode="auto">
              <a:xfrm>
                <a:off x="1551" y="2624"/>
                <a:ext cx="214" cy="202"/>
              </a:xfrm>
              <a:custGeom>
                <a:avLst/>
                <a:gdLst>
                  <a:gd name="T0" fmla="*/ 92 w 214"/>
                  <a:gd name="T1" fmla="*/ 190 h 202"/>
                  <a:gd name="T2" fmla="*/ 100 w 214"/>
                  <a:gd name="T3" fmla="*/ 192 h 202"/>
                  <a:gd name="T4" fmla="*/ 106 w 214"/>
                  <a:gd name="T5" fmla="*/ 198 h 202"/>
                  <a:gd name="T6" fmla="*/ 118 w 214"/>
                  <a:gd name="T7" fmla="*/ 202 h 202"/>
                  <a:gd name="T8" fmla="*/ 130 w 214"/>
                  <a:gd name="T9" fmla="*/ 194 h 202"/>
                  <a:gd name="T10" fmla="*/ 150 w 214"/>
                  <a:gd name="T11" fmla="*/ 180 h 202"/>
                  <a:gd name="T12" fmla="*/ 154 w 214"/>
                  <a:gd name="T13" fmla="*/ 172 h 202"/>
                  <a:gd name="T14" fmla="*/ 140 w 214"/>
                  <a:gd name="T15" fmla="*/ 168 h 202"/>
                  <a:gd name="T16" fmla="*/ 138 w 214"/>
                  <a:gd name="T17" fmla="*/ 160 h 202"/>
                  <a:gd name="T18" fmla="*/ 144 w 214"/>
                  <a:gd name="T19" fmla="*/ 150 h 202"/>
                  <a:gd name="T20" fmla="*/ 138 w 214"/>
                  <a:gd name="T21" fmla="*/ 146 h 202"/>
                  <a:gd name="T22" fmla="*/ 138 w 214"/>
                  <a:gd name="T23" fmla="*/ 138 h 202"/>
                  <a:gd name="T24" fmla="*/ 146 w 214"/>
                  <a:gd name="T25" fmla="*/ 136 h 202"/>
                  <a:gd name="T26" fmla="*/ 156 w 214"/>
                  <a:gd name="T27" fmla="*/ 148 h 202"/>
                  <a:gd name="T28" fmla="*/ 174 w 214"/>
                  <a:gd name="T29" fmla="*/ 148 h 202"/>
                  <a:gd name="T30" fmla="*/ 184 w 214"/>
                  <a:gd name="T31" fmla="*/ 138 h 202"/>
                  <a:gd name="T32" fmla="*/ 196 w 214"/>
                  <a:gd name="T33" fmla="*/ 132 h 202"/>
                  <a:gd name="T34" fmla="*/ 198 w 214"/>
                  <a:gd name="T35" fmla="*/ 122 h 202"/>
                  <a:gd name="T36" fmla="*/ 190 w 214"/>
                  <a:gd name="T37" fmla="*/ 112 h 202"/>
                  <a:gd name="T38" fmla="*/ 192 w 214"/>
                  <a:gd name="T39" fmla="*/ 104 h 202"/>
                  <a:gd name="T40" fmla="*/ 198 w 214"/>
                  <a:gd name="T41" fmla="*/ 94 h 202"/>
                  <a:gd name="T42" fmla="*/ 202 w 214"/>
                  <a:gd name="T43" fmla="*/ 80 h 202"/>
                  <a:gd name="T44" fmla="*/ 214 w 214"/>
                  <a:gd name="T45" fmla="*/ 70 h 202"/>
                  <a:gd name="T46" fmla="*/ 196 w 214"/>
                  <a:gd name="T47" fmla="*/ 58 h 202"/>
                  <a:gd name="T48" fmla="*/ 194 w 214"/>
                  <a:gd name="T49" fmla="*/ 46 h 202"/>
                  <a:gd name="T50" fmla="*/ 180 w 214"/>
                  <a:gd name="T51" fmla="*/ 42 h 202"/>
                  <a:gd name="T52" fmla="*/ 174 w 214"/>
                  <a:gd name="T53" fmla="*/ 42 h 202"/>
                  <a:gd name="T54" fmla="*/ 170 w 214"/>
                  <a:gd name="T55" fmla="*/ 38 h 202"/>
                  <a:gd name="T56" fmla="*/ 174 w 214"/>
                  <a:gd name="T57" fmla="*/ 34 h 202"/>
                  <a:gd name="T58" fmla="*/ 178 w 214"/>
                  <a:gd name="T59" fmla="*/ 30 h 202"/>
                  <a:gd name="T60" fmla="*/ 166 w 214"/>
                  <a:gd name="T61" fmla="*/ 30 h 202"/>
                  <a:gd name="T62" fmla="*/ 150 w 214"/>
                  <a:gd name="T63" fmla="*/ 28 h 202"/>
                  <a:gd name="T64" fmla="*/ 144 w 214"/>
                  <a:gd name="T65" fmla="*/ 30 h 202"/>
                  <a:gd name="T66" fmla="*/ 140 w 214"/>
                  <a:gd name="T67" fmla="*/ 36 h 202"/>
                  <a:gd name="T68" fmla="*/ 126 w 214"/>
                  <a:gd name="T69" fmla="*/ 34 h 202"/>
                  <a:gd name="T70" fmla="*/ 112 w 214"/>
                  <a:gd name="T71" fmla="*/ 26 h 202"/>
                  <a:gd name="T72" fmla="*/ 98 w 214"/>
                  <a:gd name="T73" fmla="*/ 30 h 202"/>
                  <a:gd name="T74" fmla="*/ 78 w 214"/>
                  <a:gd name="T75" fmla="*/ 26 h 202"/>
                  <a:gd name="T76" fmla="*/ 74 w 214"/>
                  <a:gd name="T77" fmla="*/ 16 h 202"/>
                  <a:gd name="T78" fmla="*/ 62 w 214"/>
                  <a:gd name="T79" fmla="*/ 8 h 202"/>
                  <a:gd name="T80" fmla="*/ 56 w 214"/>
                  <a:gd name="T81" fmla="*/ 0 h 202"/>
                  <a:gd name="T82" fmla="*/ 50 w 214"/>
                  <a:gd name="T83" fmla="*/ 2 h 202"/>
                  <a:gd name="T84" fmla="*/ 52 w 214"/>
                  <a:gd name="T85" fmla="*/ 8 h 202"/>
                  <a:gd name="T86" fmla="*/ 38 w 214"/>
                  <a:gd name="T87" fmla="*/ 16 h 202"/>
                  <a:gd name="T88" fmla="*/ 30 w 214"/>
                  <a:gd name="T89" fmla="*/ 20 h 202"/>
                  <a:gd name="T90" fmla="*/ 32 w 214"/>
                  <a:gd name="T91" fmla="*/ 38 h 202"/>
                  <a:gd name="T92" fmla="*/ 32 w 214"/>
                  <a:gd name="T93" fmla="*/ 50 h 202"/>
                  <a:gd name="T94" fmla="*/ 26 w 214"/>
                  <a:gd name="T95" fmla="*/ 46 h 202"/>
                  <a:gd name="T96" fmla="*/ 20 w 214"/>
                  <a:gd name="T97" fmla="*/ 44 h 202"/>
                  <a:gd name="T98" fmla="*/ 22 w 214"/>
                  <a:gd name="T99" fmla="*/ 32 h 202"/>
                  <a:gd name="T100" fmla="*/ 26 w 214"/>
                  <a:gd name="T101" fmla="*/ 18 h 202"/>
                  <a:gd name="T102" fmla="*/ 18 w 214"/>
                  <a:gd name="T103" fmla="*/ 12 h 202"/>
                  <a:gd name="T104" fmla="*/ 2 w 214"/>
                  <a:gd name="T105" fmla="*/ 32 h 202"/>
                  <a:gd name="T106" fmla="*/ 4 w 214"/>
                  <a:gd name="T107" fmla="*/ 54 h 202"/>
                  <a:gd name="T108" fmla="*/ 10 w 214"/>
                  <a:gd name="T109" fmla="*/ 76 h 202"/>
                  <a:gd name="T110" fmla="*/ 20 w 214"/>
                  <a:gd name="T111" fmla="*/ 86 h 202"/>
                  <a:gd name="T112" fmla="*/ 40 w 214"/>
                  <a:gd name="T113" fmla="*/ 94 h 202"/>
                  <a:gd name="T114" fmla="*/ 56 w 214"/>
                  <a:gd name="T115" fmla="*/ 104 h 202"/>
                  <a:gd name="T116" fmla="*/ 78 w 214"/>
                  <a:gd name="T117" fmla="*/ 106 h 202"/>
                  <a:gd name="T118" fmla="*/ 76 w 214"/>
                  <a:gd name="T119" fmla="*/ 124 h 202"/>
                  <a:gd name="T120" fmla="*/ 78 w 214"/>
                  <a:gd name="T121" fmla="*/ 144 h 202"/>
                  <a:gd name="T122" fmla="*/ 80 w 214"/>
                  <a:gd name="T123" fmla="*/ 170 h 202"/>
                  <a:gd name="T124" fmla="*/ 88 w 214"/>
                  <a:gd name="T125" fmla="*/ 178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14" h="202">
                    <a:moveTo>
                      <a:pt x="90" y="182"/>
                    </a:moveTo>
                    <a:lnTo>
                      <a:pt x="90" y="182"/>
                    </a:lnTo>
                    <a:lnTo>
                      <a:pt x="92" y="184"/>
                    </a:lnTo>
                    <a:lnTo>
                      <a:pt x="92" y="184"/>
                    </a:lnTo>
                    <a:lnTo>
                      <a:pt x="92" y="186"/>
                    </a:lnTo>
                    <a:lnTo>
                      <a:pt x="92" y="188"/>
                    </a:lnTo>
                    <a:lnTo>
                      <a:pt x="92" y="190"/>
                    </a:lnTo>
                    <a:lnTo>
                      <a:pt x="92" y="192"/>
                    </a:lnTo>
                    <a:lnTo>
                      <a:pt x="92" y="192"/>
                    </a:lnTo>
                    <a:lnTo>
                      <a:pt x="92" y="192"/>
                    </a:lnTo>
                    <a:lnTo>
                      <a:pt x="96" y="192"/>
                    </a:lnTo>
                    <a:lnTo>
                      <a:pt x="98" y="192"/>
                    </a:lnTo>
                    <a:lnTo>
                      <a:pt x="98" y="194"/>
                    </a:lnTo>
                    <a:lnTo>
                      <a:pt x="100" y="192"/>
                    </a:lnTo>
                    <a:lnTo>
                      <a:pt x="102" y="192"/>
                    </a:lnTo>
                    <a:lnTo>
                      <a:pt x="102" y="192"/>
                    </a:lnTo>
                    <a:lnTo>
                      <a:pt x="102" y="192"/>
                    </a:lnTo>
                    <a:lnTo>
                      <a:pt x="104" y="194"/>
                    </a:lnTo>
                    <a:lnTo>
                      <a:pt x="104" y="196"/>
                    </a:lnTo>
                    <a:lnTo>
                      <a:pt x="104" y="198"/>
                    </a:lnTo>
                    <a:lnTo>
                      <a:pt x="106" y="198"/>
                    </a:lnTo>
                    <a:lnTo>
                      <a:pt x="106" y="198"/>
                    </a:lnTo>
                    <a:lnTo>
                      <a:pt x="108" y="200"/>
                    </a:lnTo>
                    <a:lnTo>
                      <a:pt x="110" y="200"/>
                    </a:lnTo>
                    <a:lnTo>
                      <a:pt x="112" y="200"/>
                    </a:lnTo>
                    <a:lnTo>
                      <a:pt x="116" y="202"/>
                    </a:lnTo>
                    <a:lnTo>
                      <a:pt x="116" y="202"/>
                    </a:lnTo>
                    <a:lnTo>
                      <a:pt x="118" y="202"/>
                    </a:lnTo>
                    <a:lnTo>
                      <a:pt x="120" y="200"/>
                    </a:lnTo>
                    <a:lnTo>
                      <a:pt x="122" y="200"/>
                    </a:lnTo>
                    <a:lnTo>
                      <a:pt x="124" y="200"/>
                    </a:lnTo>
                    <a:lnTo>
                      <a:pt x="126" y="198"/>
                    </a:lnTo>
                    <a:lnTo>
                      <a:pt x="126" y="198"/>
                    </a:lnTo>
                    <a:lnTo>
                      <a:pt x="130" y="194"/>
                    </a:lnTo>
                    <a:lnTo>
                      <a:pt x="130" y="194"/>
                    </a:lnTo>
                    <a:lnTo>
                      <a:pt x="132" y="190"/>
                    </a:lnTo>
                    <a:lnTo>
                      <a:pt x="136" y="188"/>
                    </a:lnTo>
                    <a:lnTo>
                      <a:pt x="140" y="186"/>
                    </a:lnTo>
                    <a:lnTo>
                      <a:pt x="144" y="184"/>
                    </a:lnTo>
                    <a:lnTo>
                      <a:pt x="144" y="184"/>
                    </a:lnTo>
                    <a:lnTo>
                      <a:pt x="148" y="182"/>
                    </a:lnTo>
                    <a:lnTo>
                      <a:pt x="150" y="180"/>
                    </a:lnTo>
                    <a:lnTo>
                      <a:pt x="152" y="178"/>
                    </a:lnTo>
                    <a:lnTo>
                      <a:pt x="154" y="176"/>
                    </a:lnTo>
                    <a:lnTo>
                      <a:pt x="156" y="176"/>
                    </a:lnTo>
                    <a:lnTo>
                      <a:pt x="156" y="174"/>
                    </a:lnTo>
                    <a:lnTo>
                      <a:pt x="156" y="174"/>
                    </a:lnTo>
                    <a:lnTo>
                      <a:pt x="154" y="172"/>
                    </a:lnTo>
                    <a:lnTo>
                      <a:pt x="154" y="172"/>
                    </a:lnTo>
                    <a:lnTo>
                      <a:pt x="154" y="172"/>
                    </a:lnTo>
                    <a:lnTo>
                      <a:pt x="152" y="170"/>
                    </a:lnTo>
                    <a:lnTo>
                      <a:pt x="150" y="170"/>
                    </a:lnTo>
                    <a:lnTo>
                      <a:pt x="144" y="170"/>
                    </a:lnTo>
                    <a:lnTo>
                      <a:pt x="142" y="170"/>
                    </a:lnTo>
                    <a:lnTo>
                      <a:pt x="140" y="168"/>
                    </a:lnTo>
                    <a:lnTo>
                      <a:pt x="140" y="168"/>
                    </a:lnTo>
                    <a:lnTo>
                      <a:pt x="138" y="168"/>
                    </a:lnTo>
                    <a:lnTo>
                      <a:pt x="138" y="166"/>
                    </a:lnTo>
                    <a:lnTo>
                      <a:pt x="138" y="166"/>
                    </a:lnTo>
                    <a:lnTo>
                      <a:pt x="138" y="166"/>
                    </a:lnTo>
                    <a:lnTo>
                      <a:pt x="136" y="164"/>
                    </a:lnTo>
                    <a:lnTo>
                      <a:pt x="138" y="162"/>
                    </a:lnTo>
                    <a:lnTo>
                      <a:pt x="138" y="160"/>
                    </a:lnTo>
                    <a:lnTo>
                      <a:pt x="140" y="158"/>
                    </a:lnTo>
                    <a:lnTo>
                      <a:pt x="142" y="158"/>
                    </a:lnTo>
                    <a:lnTo>
                      <a:pt x="144" y="154"/>
                    </a:lnTo>
                    <a:lnTo>
                      <a:pt x="144" y="152"/>
                    </a:lnTo>
                    <a:lnTo>
                      <a:pt x="144" y="152"/>
                    </a:lnTo>
                    <a:lnTo>
                      <a:pt x="144" y="152"/>
                    </a:lnTo>
                    <a:lnTo>
                      <a:pt x="144" y="150"/>
                    </a:lnTo>
                    <a:lnTo>
                      <a:pt x="144" y="150"/>
                    </a:lnTo>
                    <a:lnTo>
                      <a:pt x="144" y="150"/>
                    </a:lnTo>
                    <a:lnTo>
                      <a:pt x="144" y="148"/>
                    </a:lnTo>
                    <a:lnTo>
                      <a:pt x="142" y="148"/>
                    </a:lnTo>
                    <a:lnTo>
                      <a:pt x="140" y="148"/>
                    </a:lnTo>
                    <a:lnTo>
                      <a:pt x="138" y="146"/>
                    </a:lnTo>
                    <a:lnTo>
                      <a:pt x="138" y="146"/>
                    </a:lnTo>
                    <a:lnTo>
                      <a:pt x="136" y="144"/>
                    </a:lnTo>
                    <a:lnTo>
                      <a:pt x="136" y="144"/>
                    </a:lnTo>
                    <a:lnTo>
                      <a:pt x="136" y="142"/>
                    </a:lnTo>
                    <a:lnTo>
                      <a:pt x="136" y="142"/>
                    </a:lnTo>
                    <a:lnTo>
                      <a:pt x="136" y="140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40" y="138"/>
                    </a:lnTo>
                    <a:lnTo>
                      <a:pt x="140" y="136"/>
                    </a:lnTo>
                    <a:lnTo>
                      <a:pt x="142" y="136"/>
                    </a:lnTo>
                    <a:lnTo>
                      <a:pt x="142" y="136"/>
                    </a:lnTo>
                    <a:lnTo>
                      <a:pt x="142" y="136"/>
                    </a:lnTo>
                    <a:lnTo>
                      <a:pt x="144" y="136"/>
                    </a:lnTo>
                    <a:lnTo>
                      <a:pt x="146" y="136"/>
                    </a:lnTo>
                    <a:lnTo>
                      <a:pt x="146" y="138"/>
                    </a:lnTo>
                    <a:lnTo>
                      <a:pt x="148" y="140"/>
                    </a:lnTo>
                    <a:lnTo>
                      <a:pt x="150" y="144"/>
                    </a:lnTo>
                    <a:lnTo>
                      <a:pt x="150" y="146"/>
                    </a:lnTo>
                    <a:lnTo>
                      <a:pt x="152" y="146"/>
                    </a:lnTo>
                    <a:lnTo>
                      <a:pt x="152" y="146"/>
                    </a:lnTo>
                    <a:lnTo>
                      <a:pt x="156" y="148"/>
                    </a:lnTo>
                    <a:lnTo>
                      <a:pt x="162" y="148"/>
                    </a:lnTo>
                    <a:lnTo>
                      <a:pt x="168" y="150"/>
                    </a:lnTo>
                    <a:lnTo>
                      <a:pt x="170" y="150"/>
                    </a:lnTo>
                    <a:lnTo>
                      <a:pt x="172" y="148"/>
                    </a:lnTo>
                    <a:lnTo>
                      <a:pt x="172" y="148"/>
                    </a:lnTo>
                    <a:lnTo>
                      <a:pt x="174" y="148"/>
                    </a:lnTo>
                    <a:lnTo>
                      <a:pt x="174" y="148"/>
                    </a:lnTo>
                    <a:lnTo>
                      <a:pt x="176" y="146"/>
                    </a:lnTo>
                    <a:lnTo>
                      <a:pt x="176" y="144"/>
                    </a:lnTo>
                    <a:lnTo>
                      <a:pt x="178" y="140"/>
                    </a:lnTo>
                    <a:lnTo>
                      <a:pt x="178" y="140"/>
                    </a:lnTo>
                    <a:lnTo>
                      <a:pt x="180" y="138"/>
                    </a:lnTo>
                    <a:lnTo>
                      <a:pt x="182" y="138"/>
                    </a:lnTo>
                    <a:lnTo>
                      <a:pt x="184" y="138"/>
                    </a:lnTo>
                    <a:lnTo>
                      <a:pt x="186" y="138"/>
                    </a:lnTo>
                    <a:lnTo>
                      <a:pt x="186" y="138"/>
                    </a:lnTo>
                    <a:lnTo>
                      <a:pt x="188" y="138"/>
                    </a:lnTo>
                    <a:lnTo>
                      <a:pt x="190" y="136"/>
                    </a:lnTo>
                    <a:lnTo>
                      <a:pt x="192" y="136"/>
                    </a:lnTo>
                    <a:lnTo>
                      <a:pt x="194" y="134"/>
                    </a:lnTo>
                    <a:lnTo>
                      <a:pt x="196" y="132"/>
                    </a:lnTo>
                    <a:lnTo>
                      <a:pt x="198" y="130"/>
                    </a:lnTo>
                    <a:lnTo>
                      <a:pt x="198" y="128"/>
                    </a:lnTo>
                    <a:lnTo>
                      <a:pt x="198" y="126"/>
                    </a:lnTo>
                    <a:lnTo>
                      <a:pt x="198" y="126"/>
                    </a:lnTo>
                    <a:lnTo>
                      <a:pt x="198" y="122"/>
                    </a:lnTo>
                    <a:lnTo>
                      <a:pt x="198" y="122"/>
                    </a:lnTo>
                    <a:lnTo>
                      <a:pt x="198" y="122"/>
                    </a:lnTo>
                    <a:lnTo>
                      <a:pt x="198" y="120"/>
                    </a:lnTo>
                    <a:lnTo>
                      <a:pt x="196" y="118"/>
                    </a:lnTo>
                    <a:lnTo>
                      <a:pt x="196" y="118"/>
                    </a:lnTo>
                    <a:lnTo>
                      <a:pt x="194" y="118"/>
                    </a:lnTo>
                    <a:lnTo>
                      <a:pt x="192" y="116"/>
                    </a:lnTo>
                    <a:lnTo>
                      <a:pt x="190" y="114"/>
                    </a:lnTo>
                    <a:lnTo>
                      <a:pt x="190" y="112"/>
                    </a:lnTo>
                    <a:lnTo>
                      <a:pt x="190" y="112"/>
                    </a:lnTo>
                    <a:lnTo>
                      <a:pt x="190" y="108"/>
                    </a:lnTo>
                    <a:lnTo>
                      <a:pt x="188" y="108"/>
                    </a:lnTo>
                    <a:lnTo>
                      <a:pt x="188" y="106"/>
                    </a:lnTo>
                    <a:lnTo>
                      <a:pt x="190" y="104"/>
                    </a:lnTo>
                    <a:lnTo>
                      <a:pt x="190" y="104"/>
                    </a:lnTo>
                    <a:lnTo>
                      <a:pt x="192" y="104"/>
                    </a:lnTo>
                    <a:lnTo>
                      <a:pt x="194" y="102"/>
                    </a:lnTo>
                    <a:lnTo>
                      <a:pt x="194" y="102"/>
                    </a:lnTo>
                    <a:lnTo>
                      <a:pt x="196" y="100"/>
                    </a:lnTo>
                    <a:lnTo>
                      <a:pt x="196" y="98"/>
                    </a:lnTo>
                    <a:lnTo>
                      <a:pt x="196" y="94"/>
                    </a:lnTo>
                    <a:lnTo>
                      <a:pt x="196" y="94"/>
                    </a:lnTo>
                    <a:lnTo>
                      <a:pt x="198" y="94"/>
                    </a:lnTo>
                    <a:lnTo>
                      <a:pt x="198" y="92"/>
                    </a:lnTo>
                    <a:lnTo>
                      <a:pt x="198" y="90"/>
                    </a:lnTo>
                    <a:lnTo>
                      <a:pt x="200" y="88"/>
                    </a:lnTo>
                    <a:lnTo>
                      <a:pt x="200" y="88"/>
                    </a:lnTo>
                    <a:lnTo>
                      <a:pt x="200" y="86"/>
                    </a:lnTo>
                    <a:lnTo>
                      <a:pt x="202" y="82"/>
                    </a:lnTo>
                    <a:lnTo>
                      <a:pt x="202" y="80"/>
                    </a:lnTo>
                    <a:lnTo>
                      <a:pt x="202" y="80"/>
                    </a:lnTo>
                    <a:lnTo>
                      <a:pt x="204" y="80"/>
                    </a:lnTo>
                    <a:lnTo>
                      <a:pt x="206" y="78"/>
                    </a:lnTo>
                    <a:lnTo>
                      <a:pt x="206" y="78"/>
                    </a:lnTo>
                    <a:lnTo>
                      <a:pt x="210" y="74"/>
                    </a:lnTo>
                    <a:lnTo>
                      <a:pt x="214" y="70"/>
                    </a:lnTo>
                    <a:lnTo>
                      <a:pt x="214" y="70"/>
                    </a:lnTo>
                    <a:lnTo>
                      <a:pt x="212" y="68"/>
                    </a:lnTo>
                    <a:lnTo>
                      <a:pt x="208" y="66"/>
                    </a:lnTo>
                    <a:lnTo>
                      <a:pt x="202" y="62"/>
                    </a:lnTo>
                    <a:lnTo>
                      <a:pt x="202" y="62"/>
                    </a:lnTo>
                    <a:lnTo>
                      <a:pt x="200" y="60"/>
                    </a:lnTo>
                    <a:lnTo>
                      <a:pt x="196" y="58"/>
                    </a:lnTo>
                    <a:lnTo>
                      <a:pt x="196" y="58"/>
                    </a:lnTo>
                    <a:lnTo>
                      <a:pt x="194" y="56"/>
                    </a:lnTo>
                    <a:lnTo>
                      <a:pt x="194" y="56"/>
                    </a:lnTo>
                    <a:lnTo>
                      <a:pt x="194" y="54"/>
                    </a:lnTo>
                    <a:lnTo>
                      <a:pt x="194" y="54"/>
                    </a:lnTo>
                    <a:lnTo>
                      <a:pt x="194" y="52"/>
                    </a:lnTo>
                    <a:lnTo>
                      <a:pt x="194" y="48"/>
                    </a:lnTo>
                    <a:lnTo>
                      <a:pt x="194" y="46"/>
                    </a:lnTo>
                    <a:lnTo>
                      <a:pt x="192" y="46"/>
                    </a:lnTo>
                    <a:lnTo>
                      <a:pt x="190" y="44"/>
                    </a:lnTo>
                    <a:lnTo>
                      <a:pt x="188" y="44"/>
                    </a:lnTo>
                    <a:lnTo>
                      <a:pt x="184" y="42"/>
                    </a:lnTo>
                    <a:lnTo>
                      <a:pt x="182" y="42"/>
                    </a:lnTo>
                    <a:lnTo>
                      <a:pt x="182" y="42"/>
                    </a:lnTo>
                    <a:lnTo>
                      <a:pt x="180" y="42"/>
                    </a:lnTo>
                    <a:lnTo>
                      <a:pt x="178" y="42"/>
                    </a:lnTo>
                    <a:lnTo>
                      <a:pt x="178" y="40"/>
                    </a:lnTo>
                    <a:lnTo>
                      <a:pt x="176" y="40"/>
                    </a:lnTo>
                    <a:lnTo>
                      <a:pt x="176" y="40"/>
                    </a:lnTo>
                    <a:lnTo>
                      <a:pt x="174" y="42"/>
                    </a:lnTo>
                    <a:lnTo>
                      <a:pt x="174" y="42"/>
                    </a:lnTo>
                    <a:lnTo>
                      <a:pt x="174" y="42"/>
                    </a:lnTo>
                    <a:lnTo>
                      <a:pt x="172" y="44"/>
                    </a:lnTo>
                    <a:lnTo>
                      <a:pt x="172" y="44"/>
                    </a:lnTo>
                    <a:lnTo>
                      <a:pt x="172" y="42"/>
                    </a:lnTo>
                    <a:lnTo>
                      <a:pt x="170" y="42"/>
                    </a:lnTo>
                    <a:lnTo>
                      <a:pt x="170" y="42"/>
                    </a:lnTo>
                    <a:lnTo>
                      <a:pt x="170" y="40"/>
                    </a:lnTo>
                    <a:lnTo>
                      <a:pt x="170" y="38"/>
                    </a:lnTo>
                    <a:lnTo>
                      <a:pt x="170" y="38"/>
                    </a:lnTo>
                    <a:lnTo>
                      <a:pt x="170" y="36"/>
                    </a:lnTo>
                    <a:lnTo>
                      <a:pt x="170" y="36"/>
                    </a:lnTo>
                    <a:lnTo>
                      <a:pt x="172" y="34"/>
                    </a:lnTo>
                    <a:lnTo>
                      <a:pt x="172" y="34"/>
                    </a:lnTo>
                    <a:lnTo>
                      <a:pt x="172" y="34"/>
                    </a:lnTo>
                    <a:lnTo>
                      <a:pt x="174" y="34"/>
                    </a:lnTo>
                    <a:lnTo>
                      <a:pt x="178" y="32"/>
                    </a:lnTo>
                    <a:lnTo>
                      <a:pt x="178" y="32"/>
                    </a:lnTo>
                    <a:lnTo>
                      <a:pt x="180" y="32"/>
                    </a:lnTo>
                    <a:lnTo>
                      <a:pt x="180" y="32"/>
                    </a:lnTo>
                    <a:lnTo>
                      <a:pt x="180" y="30"/>
                    </a:lnTo>
                    <a:lnTo>
                      <a:pt x="180" y="30"/>
                    </a:lnTo>
                    <a:lnTo>
                      <a:pt x="178" y="30"/>
                    </a:lnTo>
                    <a:lnTo>
                      <a:pt x="178" y="30"/>
                    </a:lnTo>
                    <a:lnTo>
                      <a:pt x="176" y="30"/>
                    </a:lnTo>
                    <a:lnTo>
                      <a:pt x="174" y="30"/>
                    </a:lnTo>
                    <a:lnTo>
                      <a:pt x="174" y="30"/>
                    </a:lnTo>
                    <a:lnTo>
                      <a:pt x="170" y="30"/>
                    </a:lnTo>
                    <a:lnTo>
                      <a:pt x="166" y="30"/>
                    </a:lnTo>
                    <a:lnTo>
                      <a:pt x="166" y="30"/>
                    </a:lnTo>
                    <a:lnTo>
                      <a:pt x="164" y="30"/>
                    </a:lnTo>
                    <a:lnTo>
                      <a:pt x="162" y="30"/>
                    </a:lnTo>
                    <a:lnTo>
                      <a:pt x="158" y="28"/>
                    </a:lnTo>
                    <a:lnTo>
                      <a:pt x="158" y="28"/>
                    </a:lnTo>
                    <a:lnTo>
                      <a:pt x="156" y="28"/>
                    </a:lnTo>
                    <a:lnTo>
                      <a:pt x="156" y="28"/>
                    </a:lnTo>
                    <a:lnTo>
                      <a:pt x="150" y="28"/>
                    </a:lnTo>
                    <a:lnTo>
                      <a:pt x="150" y="28"/>
                    </a:lnTo>
                    <a:lnTo>
                      <a:pt x="148" y="28"/>
                    </a:lnTo>
                    <a:lnTo>
                      <a:pt x="146" y="28"/>
                    </a:lnTo>
                    <a:lnTo>
                      <a:pt x="146" y="28"/>
                    </a:lnTo>
                    <a:lnTo>
                      <a:pt x="144" y="28"/>
                    </a:lnTo>
                    <a:lnTo>
                      <a:pt x="144" y="28"/>
                    </a:lnTo>
                    <a:lnTo>
                      <a:pt x="144" y="30"/>
                    </a:lnTo>
                    <a:lnTo>
                      <a:pt x="144" y="30"/>
                    </a:lnTo>
                    <a:lnTo>
                      <a:pt x="144" y="32"/>
                    </a:lnTo>
                    <a:lnTo>
                      <a:pt x="144" y="32"/>
                    </a:lnTo>
                    <a:lnTo>
                      <a:pt x="144" y="32"/>
                    </a:lnTo>
                    <a:lnTo>
                      <a:pt x="142" y="34"/>
                    </a:lnTo>
                    <a:lnTo>
                      <a:pt x="142" y="34"/>
                    </a:lnTo>
                    <a:lnTo>
                      <a:pt x="140" y="36"/>
                    </a:lnTo>
                    <a:lnTo>
                      <a:pt x="136" y="36"/>
                    </a:lnTo>
                    <a:lnTo>
                      <a:pt x="132" y="38"/>
                    </a:lnTo>
                    <a:lnTo>
                      <a:pt x="132" y="38"/>
                    </a:lnTo>
                    <a:lnTo>
                      <a:pt x="132" y="38"/>
                    </a:lnTo>
                    <a:lnTo>
                      <a:pt x="130" y="36"/>
                    </a:lnTo>
                    <a:lnTo>
                      <a:pt x="128" y="36"/>
                    </a:lnTo>
                    <a:lnTo>
                      <a:pt x="126" y="34"/>
                    </a:lnTo>
                    <a:lnTo>
                      <a:pt x="124" y="32"/>
                    </a:lnTo>
                    <a:lnTo>
                      <a:pt x="122" y="30"/>
                    </a:lnTo>
                    <a:lnTo>
                      <a:pt x="122" y="30"/>
                    </a:lnTo>
                    <a:lnTo>
                      <a:pt x="120" y="30"/>
                    </a:lnTo>
                    <a:lnTo>
                      <a:pt x="116" y="28"/>
                    </a:lnTo>
                    <a:lnTo>
                      <a:pt x="114" y="28"/>
                    </a:lnTo>
                    <a:lnTo>
                      <a:pt x="112" y="26"/>
                    </a:lnTo>
                    <a:lnTo>
                      <a:pt x="112" y="26"/>
                    </a:lnTo>
                    <a:lnTo>
                      <a:pt x="110" y="28"/>
                    </a:lnTo>
                    <a:lnTo>
                      <a:pt x="106" y="28"/>
                    </a:lnTo>
                    <a:lnTo>
                      <a:pt x="104" y="28"/>
                    </a:lnTo>
                    <a:lnTo>
                      <a:pt x="102" y="30"/>
                    </a:lnTo>
                    <a:lnTo>
                      <a:pt x="102" y="30"/>
                    </a:lnTo>
                    <a:lnTo>
                      <a:pt x="98" y="30"/>
                    </a:lnTo>
                    <a:lnTo>
                      <a:pt x="90" y="30"/>
                    </a:lnTo>
                    <a:lnTo>
                      <a:pt x="90" y="30"/>
                    </a:lnTo>
                    <a:lnTo>
                      <a:pt x="86" y="28"/>
                    </a:lnTo>
                    <a:lnTo>
                      <a:pt x="82" y="28"/>
                    </a:lnTo>
                    <a:lnTo>
                      <a:pt x="82" y="28"/>
                    </a:lnTo>
                    <a:lnTo>
                      <a:pt x="80" y="28"/>
                    </a:lnTo>
                    <a:lnTo>
                      <a:pt x="78" y="26"/>
                    </a:lnTo>
                    <a:lnTo>
                      <a:pt x="78" y="24"/>
                    </a:lnTo>
                    <a:lnTo>
                      <a:pt x="78" y="24"/>
                    </a:lnTo>
                    <a:lnTo>
                      <a:pt x="78" y="22"/>
                    </a:lnTo>
                    <a:lnTo>
                      <a:pt x="76" y="20"/>
                    </a:lnTo>
                    <a:lnTo>
                      <a:pt x="76" y="20"/>
                    </a:lnTo>
                    <a:lnTo>
                      <a:pt x="76" y="20"/>
                    </a:lnTo>
                    <a:lnTo>
                      <a:pt x="74" y="16"/>
                    </a:lnTo>
                    <a:lnTo>
                      <a:pt x="74" y="16"/>
                    </a:lnTo>
                    <a:lnTo>
                      <a:pt x="72" y="14"/>
                    </a:lnTo>
                    <a:lnTo>
                      <a:pt x="72" y="14"/>
                    </a:lnTo>
                    <a:lnTo>
                      <a:pt x="70" y="12"/>
                    </a:lnTo>
                    <a:lnTo>
                      <a:pt x="68" y="12"/>
                    </a:lnTo>
                    <a:lnTo>
                      <a:pt x="64" y="10"/>
                    </a:lnTo>
                    <a:lnTo>
                      <a:pt x="62" y="8"/>
                    </a:lnTo>
                    <a:lnTo>
                      <a:pt x="62" y="8"/>
                    </a:lnTo>
                    <a:lnTo>
                      <a:pt x="62" y="6"/>
                    </a:lnTo>
                    <a:lnTo>
                      <a:pt x="60" y="4"/>
                    </a:lnTo>
                    <a:lnTo>
                      <a:pt x="58" y="2"/>
                    </a:lnTo>
                    <a:lnTo>
                      <a:pt x="58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4" y="0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6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0" y="8"/>
                    </a:lnTo>
                    <a:lnTo>
                      <a:pt x="50" y="10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4" y="14"/>
                    </a:lnTo>
                    <a:lnTo>
                      <a:pt x="42" y="14"/>
                    </a:lnTo>
                    <a:lnTo>
                      <a:pt x="38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2" y="16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20"/>
                    </a:lnTo>
                    <a:lnTo>
                      <a:pt x="28" y="22"/>
                    </a:lnTo>
                    <a:lnTo>
                      <a:pt x="28" y="24"/>
                    </a:lnTo>
                    <a:lnTo>
                      <a:pt x="28" y="24"/>
                    </a:lnTo>
                    <a:lnTo>
                      <a:pt x="28" y="28"/>
                    </a:lnTo>
                    <a:lnTo>
                      <a:pt x="28" y="32"/>
                    </a:lnTo>
                    <a:lnTo>
                      <a:pt x="30" y="34"/>
                    </a:lnTo>
                    <a:lnTo>
                      <a:pt x="32" y="38"/>
                    </a:lnTo>
                    <a:lnTo>
                      <a:pt x="32" y="38"/>
                    </a:lnTo>
                    <a:lnTo>
                      <a:pt x="32" y="40"/>
                    </a:lnTo>
                    <a:lnTo>
                      <a:pt x="34" y="44"/>
                    </a:lnTo>
                    <a:lnTo>
                      <a:pt x="34" y="46"/>
                    </a:lnTo>
                    <a:lnTo>
                      <a:pt x="34" y="48"/>
                    </a:lnTo>
                    <a:lnTo>
                      <a:pt x="32" y="50"/>
                    </a:lnTo>
                    <a:lnTo>
                      <a:pt x="32" y="50"/>
                    </a:lnTo>
                    <a:lnTo>
                      <a:pt x="32" y="50"/>
                    </a:lnTo>
                    <a:lnTo>
                      <a:pt x="32" y="52"/>
                    </a:lnTo>
                    <a:lnTo>
                      <a:pt x="30" y="52"/>
                    </a:lnTo>
                    <a:lnTo>
                      <a:pt x="30" y="50"/>
                    </a:lnTo>
                    <a:lnTo>
                      <a:pt x="28" y="48"/>
                    </a:lnTo>
                    <a:lnTo>
                      <a:pt x="28" y="48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2" y="44"/>
                    </a:lnTo>
                    <a:lnTo>
                      <a:pt x="20" y="44"/>
                    </a:lnTo>
                    <a:lnTo>
                      <a:pt x="20" y="44"/>
                    </a:lnTo>
                    <a:lnTo>
                      <a:pt x="20" y="44"/>
                    </a:lnTo>
                    <a:lnTo>
                      <a:pt x="18" y="42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20" y="34"/>
                    </a:lnTo>
                    <a:lnTo>
                      <a:pt x="22" y="32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6" y="26"/>
                    </a:lnTo>
                    <a:lnTo>
                      <a:pt x="26" y="24"/>
                    </a:lnTo>
                    <a:lnTo>
                      <a:pt x="26" y="20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4" y="16"/>
                    </a:lnTo>
                    <a:lnTo>
                      <a:pt x="24" y="14"/>
                    </a:lnTo>
                    <a:lnTo>
                      <a:pt x="24" y="12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2" y="12"/>
                    </a:lnTo>
                    <a:lnTo>
                      <a:pt x="18" y="12"/>
                    </a:lnTo>
                    <a:lnTo>
                      <a:pt x="16" y="14"/>
                    </a:lnTo>
                    <a:lnTo>
                      <a:pt x="14" y="14"/>
                    </a:lnTo>
                    <a:lnTo>
                      <a:pt x="12" y="16"/>
                    </a:lnTo>
                    <a:lnTo>
                      <a:pt x="10" y="18"/>
                    </a:lnTo>
                    <a:lnTo>
                      <a:pt x="8" y="24"/>
                    </a:lnTo>
                    <a:lnTo>
                      <a:pt x="4" y="28"/>
                    </a:lnTo>
                    <a:lnTo>
                      <a:pt x="2" y="32"/>
                    </a:lnTo>
                    <a:lnTo>
                      <a:pt x="2" y="38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6"/>
                    </a:lnTo>
                    <a:lnTo>
                      <a:pt x="2" y="50"/>
                    </a:lnTo>
                    <a:lnTo>
                      <a:pt x="2" y="52"/>
                    </a:lnTo>
                    <a:lnTo>
                      <a:pt x="4" y="54"/>
                    </a:lnTo>
                    <a:lnTo>
                      <a:pt x="6" y="58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10" y="66"/>
                    </a:lnTo>
                    <a:lnTo>
                      <a:pt x="10" y="70"/>
                    </a:lnTo>
                    <a:lnTo>
                      <a:pt x="10" y="72"/>
                    </a:lnTo>
                    <a:lnTo>
                      <a:pt x="10" y="76"/>
                    </a:lnTo>
                    <a:lnTo>
                      <a:pt x="10" y="76"/>
                    </a:lnTo>
                    <a:lnTo>
                      <a:pt x="12" y="80"/>
                    </a:lnTo>
                    <a:lnTo>
                      <a:pt x="12" y="80"/>
                    </a:lnTo>
                    <a:lnTo>
                      <a:pt x="14" y="82"/>
                    </a:lnTo>
                    <a:lnTo>
                      <a:pt x="18" y="86"/>
                    </a:lnTo>
                    <a:lnTo>
                      <a:pt x="18" y="86"/>
                    </a:lnTo>
                    <a:lnTo>
                      <a:pt x="20" y="86"/>
                    </a:lnTo>
                    <a:lnTo>
                      <a:pt x="22" y="88"/>
                    </a:lnTo>
                    <a:lnTo>
                      <a:pt x="24" y="90"/>
                    </a:lnTo>
                    <a:lnTo>
                      <a:pt x="28" y="90"/>
                    </a:lnTo>
                    <a:lnTo>
                      <a:pt x="32" y="92"/>
                    </a:lnTo>
                    <a:lnTo>
                      <a:pt x="38" y="94"/>
                    </a:lnTo>
                    <a:lnTo>
                      <a:pt x="38" y="94"/>
                    </a:lnTo>
                    <a:lnTo>
                      <a:pt x="40" y="94"/>
                    </a:lnTo>
                    <a:lnTo>
                      <a:pt x="44" y="96"/>
                    </a:lnTo>
                    <a:lnTo>
                      <a:pt x="48" y="98"/>
                    </a:lnTo>
                    <a:lnTo>
                      <a:pt x="50" y="100"/>
                    </a:lnTo>
                    <a:lnTo>
                      <a:pt x="52" y="102"/>
                    </a:lnTo>
                    <a:lnTo>
                      <a:pt x="54" y="102"/>
                    </a:lnTo>
                    <a:lnTo>
                      <a:pt x="56" y="104"/>
                    </a:lnTo>
                    <a:lnTo>
                      <a:pt x="56" y="104"/>
                    </a:lnTo>
                    <a:lnTo>
                      <a:pt x="60" y="104"/>
                    </a:lnTo>
                    <a:lnTo>
                      <a:pt x="64" y="104"/>
                    </a:lnTo>
                    <a:lnTo>
                      <a:pt x="70" y="104"/>
                    </a:lnTo>
                    <a:lnTo>
                      <a:pt x="74" y="104"/>
                    </a:lnTo>
                    <a:lnTo>
                      <a:pt x="76" y="104"/>
                    </a:lnTo>
                    <a:lnTo>
                      <a:pt x="76" y="106"/>
                    </a:lnTo>
                    <a:lnTo>
                      <a:pt x="78" y="106"/>
                    </a:lnTo>
                    <a:lnTo>
                      <a:pt x="78" y="108"/>
                    </a:lnTo>
                    <a:lnTo>
                      <a:pt x="78" y="108"/>
                    </a:lnTo>
                    <a:lnTo>
                      <a:pt x="78" y="108"/>
                    </a:lnTo>
                    <a:lnTo>
                      <a:pt x="78" y="112"/>
                    </a:lnTo>
                    <a:lnTo>
                      <a:pt x="78" y="114"/>
                    </a:lnTo>
                    <a:lnTo>
                      <a:pt x="76" y="120"/>
                    </a:lnTo>
                    <a:lnTo>
                      <a:pt x="76" y="124"/>
                    </a:lnTo>
                    <a:lnTo>
                      <a:pt x="74" y="126"/>
                    </a:lnTo>
                    <a:lnTo>
                      <a:pt x="74" y="130"/>
                    </a:lnTo>
                    <a:lnTo>
                      <a:pt x="74" y="132"/>
                    </a:lnTo>
                    <a:lnTo>
                      <a:pt x="74" y="132"/>
                    </a:lnTo>
                    <a:lnTo>
                      <a:pt x="76" y="136"/>
                    </a:lnTo>
                    <a:lnTo>
                      <a:pt x="76" y="138"/>
                    </a:lnTo>
                    <a:lnTo>
                      <a:pt x="78" y="144"/>
                    </a:lnTo>
                    <a:lnTo>
                      <a:pt x="80" y="148"/>
                    </a:lnTo>
                    <a:lnTo>
                      <a:pt x="80" y="150"/>
                    </a:lnTo>
                    <a:lnTo>
                      <a:pt x="82" y="152"/>
                    </a:lnTo>
                    <a:lnTo>
                      <a:pt x="82" y="156"/>
                    </a:lnTo>
                    <a:lnTo>
                      <a:pt x="82" y="156"/>
                    </a:lnTo>
                    <a:lnTo>
                      <a:pt x="80" y="166"/>
                    </a:lnTo>
                    <a:lnTo>
                      <a:pt x="80" y="170"/>
                    </a:lnTo>
                    <a:lnTo>
                      <a:pt x="80" y="172"/>
                    </a:lnTo>
                    <a:lnTo>
                      <a:pt x="78" y="174"/>
                    </a:lnTo>
                    <a:lnTo>
                      <a:pt x="78" y="174"/>
                    </a:lnTo>
                    <a:lnTo>
                      <a:pt x="82" y="176"/>
                    </a:lnTo>
                    <a:lnTo>
                      <a:pt x="82" y="176"/>
                    </a:lnTo>
                    <a:lnTo>
                      <a:pt x="84" y="178"/>
                    </a:lnTo>
                    <a:lnTo>
                      <a:pt x="88" y="178"/>
                    </a:lnTo>
                    <a:lnTo>
                      <a:pt x="90" y="180"/>
                    </a:lnTo>
                    <a:lnTo>
                      <a:pt x="90" y="182"/>
                    </a:lnTo>
                    <a:lnTo>
                      <a:pt x="90" y="182"/>
                    </a:lnTo>
                    <a:lnTo>
                      <a:pt x="90" y="182"/>
                    </a:lnTo>
                    <a:lnTo>
                      <a:pt x="90" y="182"/>
                    </a:lnTo>
                    <a:lnTo>
                      <a:pt x="90" y="18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56" name="Freeform 272"/>
              <p:cNvSpPr>
                <a:spLocks/>
              </p:cNvSpPr>
              <p:nvPr/>
            </p:nvSpPr>
            <p:spPr bwMode="auto">
              <a:xfrm>
                <a:off x="1739" y="2694"/>
                <a:ext cx="72" cy="124"/>
              </a:xfrm>
              <a:custGeom>
                <a:avLst/>
                <a:gdLst>
                  <a:gd name="T0" fmla="*/ 18 w 72"/>
                  <a:gd name="T1" fmla="*/ 62 h 124"/>
                  <a:gd name="T2" fmla="*/ 20 w 72"/>
                  <a:gd name="T3" fmla="*/ 64 h 124"/>
                  <a:gd name="T4" fmla="*/ 24 w 72"/>
                  <a:gd name="T5" fmla="*/ 68 h 124"/>
                  <a:gd name="T6" fmla="*/ 24 w 72"/>
                  <a:gd name="T7" fmla="*/ 76 h 124"/>
                  <a:gd name="T8" fmla="*/ 18 w 72"/>
                  <a:gd name="T9" fmla="*/ 84 h 124"/>
                  <a:gd name="T10" fmla="*/ 18 w 72"/>
                  <a:gd name="T11" fmla="*/ 92 h 124"/>
                  <a:gd name="T12" fmla="*/ 20 w 72"/>
                  <a:gd name="T13" fmla="*/ 100 h 124"/>
                  <a:gd name="T14" fmla="*/ 26 w 72"/>
                  <a:gd name="T15" fmla="*/ 112 h 124"/>
                  <a:gd name="T16" fmla="*/ 34 w 72"/>
                  <a:gd name="T17" fmla="*/ 120 h 124"/>
                  <a:gd name="T18" fmla="*/ 42 w 72"/>
                  <a:gd name="T19" fmla="*/ 124 h 124"/>
                  <a:gd name="T20" fmla="*/ 46 w 72"/>
                  <a:gd name="T21" fmla="*/ 122 h 124"/>
                  <a:gd name="T22" fmla="*/ 50 w 72"/>
                  <a:gd name="T23" fmla="*/ 116 h 124"/>
                  <a:gd name="T24" fmla="*/ 60 w 72"/>
                  <a:gd name="T25" fmla="*/ 114 h 124"/>
                  <a:gd name="T26" fmla="*/ 68 w 72"/>
                  <a:gd name="T27" fmla="*/ 112 h 124"/>
                  <a:gd name="T28" fmla="*/ 72 w 72"/>
                  <a:gd name="T29" fmla="*/ 106 h 124"/>
                  <a:gd name="T30" fmla="*/ 70 w 72"/>
                  <a:gd name="T31" fmla="*/ 102 h 124"/>
                  <a:gd name="T32" fmla="*/ 64 w 72"/>
                  <a:gd name="T33" fmla="*/ 96 h 124"/>
                  <a:gd name="T34" fmla="*/ 64 w 72"/>
                  <a:gd name="T35" fmla="*/ 90 h 124"/>
                  <a:gd name="T36" fmla="*/ 62 w 72"/>
                  <a:gd name="T37" fmla="*/ 84 h 124"/>
                  <a:gd name="T38" fmla="*/ 56 w 72"/>
                  <a:gd name="T39" fmla="*/ 80 h 124"/>
                  <a:gd name="T40" fmla="*/ 50 w 72"/>
                  <a:gd name="T41" fmla="*/ 70 h 124"/>
                  <a:gd name="T42" fmla="*/ 48 w 72"/>
                  <a:gd name="T43" fmla="*/ 58 h 124"/>
                  <a:gd name="T44" fmla="*/ 50 w 72"/>
                  <a:gd name="T45" fmla="*/ 56 h 124"/>
                  <a:gd name="T46" fmla="*/ 54 w 72"/>
                  <a:gd name="T47" fmla="*/ 56 h 124"/>
                  <a:gd name="T48" fmla="*/ 60 w 72"/>
                  <a:gd name="T49" fmla="*/ 58 h 124"/>
                  <a:gd name="T50" fmla="*/ 62 w 72"/>
                  <a:gd name="T51" fmla="*/ 52 h 124"/>
                  <a:gd name="T52" fmla="*/ 62 w 72"/>
                  <a:gd name="T53" fmla="*/ 44 h 124"/>
                  <a:gd name="T54" fmla="*/ 66 w 72"/>
                  <a:gd name="T55" fmla="*/ 40 h 124"/>
                  <a:gd name="T56" fmla="*/ 62 w 72"/>
                  <a:gd name="T57" fmla="*/ 34 h 124"/>
                  <a:gd name="T58" fmla="*/ 54 w 72"/>
                  <a:gd name="T59" fmla="*/ 28 h 124"/>
                  <a:gd name="T60" fmla="*/ 52 w 72"/>
                  <a:gd name="T61" fmla="*/ 26 h 124"/>
                  <a:gd name="T62" fmla="*/ 44 w 72"/>
                  <a:gd name="T63" fmla="*/ 28 h 124"/>
                  <a:gd name="T64" fmla="*/ 40 w 72"/>
                  <a:gd name="T65" fmla="*/ 26 h 124"/>
                  <a:gd name="T66" fmla="*/ 40 w 72"/>
                  <a:gd name="T67" fmla="*/ 24 h 124"/>
                  <a:gd name="T68" fmla="*/ 40 w 72"/>
                  <a:gd name="T69" fmla="*/ 14 h 124"/>
                  <a:gd name="T70" fmla="*/ 34 w 72"/>
                  <a:gd name="T71" fmla="*/ 4 h 124"/>
                  <a:gd name="T72" fmla="*/ 26 w 72"/>
                  <a:gd name="T73" fmla="*/ 0 h 124"/>
                  <a:gd name="T74" fmla="*/ 16 w 72"/>
                  <a:gd name="T75" fmla="*/ 10 h 124"/>
                  <a:gd name="T76" fmla="*/ 12 w 72"/>
                  <a:gd name="T77" fmla="*/ 16 h 124"/>
                  <a:gd name="T78" fmla="*/ 10 w 72"/>
                  <a:gd name="T79" fmla="*/ 22 h 124"/>
                  <a:gd name="T80" fmla="*/ 8 w 72"/>
                  <a:gd name="T81" fmla="*/ 28 h 124"/>
                  <a:gd name="T82" fmla="*/ 4 w 72"/>
                  <a:gd name="T83" fmla="*/ 34 h 124"/>
                  <a:gd name="T84" fmla="*/ 0 w 72"/>
                  <a:gd name="T85" fmla="*/ 38 h 124"/>
                  <a:gd name="T86" fmla="*/ 2 w 72"/>
                  <a:gd name="T87" fmla="*/ 44 h 124"/>
                  <a:gd name="T88" fmla="*/ 8 w 72"/>
                  <a:gd name="T89" fmla="*/ 48 h 124"/>
                  <a:gd name="T90" fmla="*/ 10 w 72"/>
                  <a:gd name="T91" fmla="*/ 52 h 124"/>
                  <a:gd name="T92" fmla="*/ 16 w 72"/>
                  <a:gd name="T93" fmla="*/ 54 h 124"/>
                  <a:gd name="T94" fmla="*/ 18 w 72"/>
                  <a:gd name="T95" fmla="*/ 58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72" h="124">
                    <a:moveTo>
                      <a:pt x="18" y="58"/>
                    </a:moveTo>
                    <a:lnTo>
                      <a:pt x="18" y="58"/>
                    </a:lnTo>
                    <a:lnTo>
                      <a:pt x="18" y="60"/>
                    </a:lnTo>
                    <a:lnTo>
                      <a:pt x="18" y="62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20" y="64"/>
                    </a:lnTo>
                    <a:lnTo>
                      <a:pt x="20" y="64"/>
                    </a:lnTo>
                    <a:lnTo>
                      <a:pt x="22" y="66"/>
                    </a:lnTo>
                    <a:lnTo>
                      <a:pt x="22" y="66"/>
                    </a:lnTo>
                    <a:lnTo>
                      <a:pt x="22" y="66"/>
                    </a:lnTo>
                    <a:lnTo>
                      <a:pt x="24" y="68"/>
                    </a:lnTo>
                    <a:lnTo>
                      <a:pt x="24" y="70"/>
                    </a:lnTo>
                    <a:lnTo>
                      <a:pt x="24" y="74"/>
                    </a:lnTo>
                    <a:lnTo>
                      <a:pt x="24" y="76"/>
                    </a:lnTo>
                    <a:lnTo>
                      <a:pt x="24" y="76"/>
                    </a:lnTo>
                    <a:lnTo>
                      <a:pt x="22" y="78"/>
                    </a:lnTo>
                    <a:lnTo>
                      <a:pt x="20" y="80"/>
                    </a:lnTo>
                    <a:lnTo>
                      <a:pt x="20" y="82"/>
                    </a:lnTo>
                    <a:lnTo>
                      <a:pt x="18" y="84"/>
                    </a:lnTo>
                    <a:lnTo>
                      <a:pt x="18" y="84"/>
                    </a:lnTo>
                    <a:lnTo>
                      <a:pt x="18" y="88"/>
                    </a:lnTo>
                    <a:lnTo>
                      <a:pt x="18" y="90"/>
                    </a:lnTo>
                    <a:lnTo>
                      <a:pt x="18" y="92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8"/>
                    </a:lnTo>
                    <a:lnTo>
                      <a:pt x="20" y="100"/>
                    </a:lnTo>
                    <a:lnTo>
                      <a:pt x="24" y="106"/>
                    </a:lnTo>
                    <a:lnTo>
                      <a:pt x="24" y="106"/>
                    </a:lnTo>
                    <a:lnTo>
                      <a:pt x="26" y="110"/>
                    </a:lnTo>
                    <a:lnTo>
                      <a:pt x="26" y="112"/>
                    </a:lnTo>
                    <a:lnTo>
                      <a:pt x="28" y="114"/>
                    </a:lnTo>
                    <a:lnTo>
                      <a:pt x="28" y="114"/>
                    </a:lnTo>
                    <a:lnTo>
                      <a:pt x="30" y="118"/>
                    </a:lnTo>
                    <a:lnTo>
                      <a:pt x="34" y="120"/>
                    </a:lnTo>
                    <a:lnTo>
                      <a:pt x="34" y="120"/>
                    </a:lnTo>
                    <a:lnTo>
                      <a:pt x="38" y="122"/>
                    </a:lnTo>
                    <a:lnTo>
                      <a:pt x="40" y="122"/>
                    </a:lnTo>
                    <a:lnTo>
                      <a:pt x="42" y="124"/>
                    </a:lnTo>
                    <a:lnTo>
                      <a:pt x="44" y="122"/>
                    </a:lnTo>
                    <a:lnTo>
                      <a:pt x="44" y="122"/>
                    </a:lnTo>
                    <a:lnTo>
                      <a:pt x="46" y="122"/>
                    </a:lnTo>
                    <a:lnTo>
                      <a:pt x="46" y="122"/>
                    </a:lnTo>
                    <a:lnTo>
                      <a:pt x="48" y="120"/>
                    </a:lnTo>
                    <a:lnTo>
                      <a:pt x="48" y="116"/>
                    </a:lnTo>
                    <a:lnTo>
                      <a:pt x="50" y="116"/>
                    </a:lnTo>
                    <a:lnTo>
                      <a:pt x="50" y="116"/>
                    </a:lnTo>
                    <a:lnTo>
                      <a:pt x="50" y="116"/>
                    </a:lnTo>
                    <a:lnTo>
                      <a:pt x="52" y="114"/>
                    </a:lnTo>
                    <a:lnTo>
                      <a:pt x="56" y="114"/>
                    </a:lnTo>
                    <a:lnTo>
                      <a:pt x="60" y="114"/>
                    </a:lnTo>
                    <a:lnTo>
                      <a:pt x="60" y="114"/>
                    </a:lnTo>
                    <a:lnTo>
                      <a:pt x="62" y="114"/>
                    </a:lnTo>
                    <a:lnTo>
                      <a:pt x="64" y="112"/>
                    </a:lnTo>
                    <a:lnTo>
                      <a:pt x="68" y="112"/>
                    </a:lnTo>
                    <a:lnTo>
                      <a:pt x="70" y="110"/>
                    </a:lnTo>
                    <a:lnTo>
                      <a:pt x="70" y="108"/>
                    </a:lnTo>
                    <a:lnTo>
                      <a:pt x="72" y="106"/>
                    </a:lnTo>
                    <a:lnTo>
                      <a:pt x="72" y="106"/>
                    </a:lnTo>
                    <a:lnTo>
                      <a:pt x="72" y="104"/>
                    </a:lnTo>
                    <a:lnTo>
                      <a:pt x="72" y="104"/>
                    </a:lnTo>
                    <a:lnTo>
                      <a:pt x="70" y="102"/>
                    </a:lnTo>
                    <a:lnTo>
                      <a:pt x="70" y="102"/>
                    </a:lnTo>
                    <a:lnTo>
                      <a:pt x="70" y="100"/>
                    </a:lnTo>
                    <a:lnTo>
                      <a:pt x="68" y="98"/>
                    </a:lnTo>
                    <a:lnTo>
                      <a:pt x="66" y="98"/>
                    </a:lnTo>
                    <a:lnTo>
                      <a:pt x="64" y="96"/>
                    </a:lnTo>
                    <a:lnTo>
                      <a:pt x="64" y="96"/>
                    </a:lnTo>
                    <a:lnTo>
                      <a:pt x="64" y="96"/>
                    </a:lnTo>
                    <a:lnTo>
                      <a:pt x="64" y="92"/>
                    </a:lnTo>
                    <a:lnTo>
                      <a:pt x="64" y="90"/>
                    </a:lnTo>
                    <a:lnTo>
                      <a:pt x="64" y="88"/>
                    </a:lnTo>
                    <a:lnTo>
                      <a:pt x="62" y="86"/>
                    </a:lnTo>
                    <a:lnTo>
                      <a:pt x="62" y="86"/>
                    </a:lnTo>
                    <a:lnTo>
                      <a:pt x="62" y="84"/>
                    </a:lnTo>
                    <a:lnTo>
                      <a:pt x="60" y="82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56" y="80"/>
                    </a:lnTo>
                    <a:lnTo>
                      <a:pt x="54" y="78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0" y="70"/>
                    </a:lnTo>
                    <a:lnTo>
                      <a:pt x="50" y="66"/>
                    </a:lnTo>
                    <a:lnTo>
                      <a:pt x="48" y="64"/>
                    </a:lnTo>
                    <a:lnTo>
                      <a:pt x="48" y="62"/>
                    </a:lnTo>
                    <a:lnTo>
                      <a:pt x="48" y="58"/>
                    </a:lnTo>
                    <a:lnTo>
                      <a:pt x="48" y="58"/>
                    </a:lnTo>
                    <a:lnTo>
                      <a:pt x="48" y="58"/>
                    </a:lnTo>
                    <a:lnTo>
                      <a:pt x="48" y="56"/>
                    </a:lnTo>
                    <a:lnTo>
                      <a:pt x="50" y="56"/>
                    </a:lnTo>
                    <a:lnTo>
                      <a:pt x="50" y="56"/>
                    </a:lnTo>
                    <a:lnTo>
                      <a:pt x="50" y="54"/>
                    </a:lnTo>
                    <a:lnTo>
                      <a:pt x="52" y="54"/>
                    </a:lnTo>
                    <a:lnTo>
                      <a:pt x="54" y="56"/>
                    </a:lnTo>
                    <a:lnTo>
                      <a:pt x="56" y="56"/>
                    </a:lnTo>
                    <a:lnTo>
                      <a:pt x="56" y="58"/>
                    </a:lnTo>
                    <a:lnTo>
                      <a:pt x="58" y="58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62" y="52"/>
                    </a:lnTo>
                    <a:lnTo>
                      <a:pt x="62" y="52"/>
                    </a:lnTo>
                    <a:lnTo>
                      <a:pt x="62" y="48"/>
                    </a:lnTo>
                    <a:lnTo>
                      <a:pt x="62" y="46"/>
                    </a:lnTo>
                    <a:lnTo>
                      <a:pt x="62" y="44"/>
                    </a:lnTo>
                    <a:lnTo>
                      <a:pt x="62" y="44"/>
                    </a:lnTo>
                    <a:lnTo>
                      <a:pt x="64" y="42"/>
                    </a:lnTo>
                    <a:lnTo>
                      <a:pt x="66" y="40"/>
                    </a:lnTo>
                    <a:lnTo>
                      <a:pt x="66" y="40"/>
                    </a:lnTo>
                    <a:lnTo>
                      <a:pt x="64" y="38"/>
                    </a:lnTo>
                    <a:lnTo>
                      <a:pt x="64" y="34"/>
                    </a:lnTo>
                    <a:lnTo>
                      <a:pt x="64" y="34"/>
                    </a:lnTo>
                    <a:lnTo>
                      <a:pt x="62" y="34"/>
                    </a:lnTo>
                    <a:lnTo>
                      <a:pt x="62" y="34"/>
                    </a:lnTo>
                    <a:lnTo>
                      <a:pt x="58" y="32"/>
                    </a:lnTo>
                    <a:lnTo>
                      <a:pt x="56" y="30"/>
                    </a:lnTo>
                    <a:lnTo>
                      <a:pt x="54" y="28"/>
                    </a:lnTo>
                    <a:lnTo>
                      <a:pt x="54" y="28"/>
                    </a:lnTo>
                    <a:lnTo>
                      <a:pt x="54" y="28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50" y="26"/>
                    </a:lnTo>
                    <a:lnTo>
                      <a:pt x="48" y="26"/>
                    </a:lnTo>
                    <a:lnTo>
                      <a:pt x="46" y="26"/>
                    </a:lnTo>
                    <a:lnTo>
                      <a:pt x="44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4"/>
                    </a:lnTo>
                    <a:lnTo>
                      <a:pt x="40" y="24"/>
                    </a:lnTo>
                    <a:lnTo>
                      <a:pt x="40" y="24"/>
                    </a:lnTo>
                    <a:lnTo>
                      <a:pt x="40" y="20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4"/>
                    </a:lnTo>
                    <a:lnTo>
                      <a:pt x="38" y="10"/>
                    </a:lnTo>
                    <a:lnTo>
                      <a:pt x="36" y="10"/>
                    </a:lnTo>
                    <a:lnTo>
                      <a:pt x="34" y="8"/>
                    </a:lnTo>
                    <a:lnTo>
                      <a:pt x="34" y="4"/>
                    </a:lnTo>
                    <a:lnTo>
                      <a:pt x="32" y="2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2" y="4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6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2"/>
                    </a:lnTo>
                    <a:lnTo>
                      <a:pt x="12" y="16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0" y="20"/>
                    </a:lnTo>
                    <a:lnTo>
                      <a:pt x="10" y="22"/>
                    </a:lnTo>
                    <a:lnTo>
                      <a:pt x="10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8"/>
                    </a:lnTo>
                    <a:lnTo>
                      <a:pt x="8" y="30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4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0" y="36"/>
                    </a:lnTo>
                    <a:lnTo>
                      <a:pt x="0" y="38"/>
                    </a:lnTo>
                    <a:lnTo>
                      <a:pt x="2" y="38"/>
                    </a:lnTo>
                    <a:lnTo>
                      <a:pt x="2" y="42"/>
                    </a:lnTo>
                    <a:lnTo>
                      <a:pt x="2" y="42"/>
                    </a:lnTo>
                    <a:lnTo>
                      <a:pt x="2" y="44"/>
                    </a:lnTo>
                    <a:lnTo>
                      <a:pt x="4" y="46"/>
                    </a:lnTo>
                    <a:lnTo>
                      <a:pt x="6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10" y="50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2" y="52"/>
                    </a:lnTo>
                    <a:lnTo>
                      <a:pt x="14" y="52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6"/>
                    </a:lnTo>
                    <a:lnTo>
                      <a:pt x="18" y="58"/>
                    </a:lnTo>
                    <a:lnTo>
                      <a:pt x="18" y="58"/>
                    </a:lnTo>
                    <a:lnTo>
                      <a:pt x="18" y="58"/>
                    </a:lnTo>
                    <a:lnTo>
                      <a:pt x="18" y="58"/>
                    </a:lnTo>
                    <a:lnTo>
                      <a:pt x="18" y="58"/>
                    </a:lnTo>
                    <a:lnTo>
                      <a:pt x="18" y="58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57" name="Freeform 274"/>
              <p:cNvSpPr>
                <a:spLocks/>
              </p:cNvSpPr>
              <p:nvPr/>
            </p:nvSpPr>
            <p:spPr bwMode="auto">
              <a:xfrm>
                <a:off x="1787" y="2734"/>
                <a:ext cx="70" cy="68"/>
              </a:xfrm>
              <a:custGeom>
                <a:avLst/>
                <a:gdLst>
                  <a:gd name="T0" fmla="*/ 38 w 70"/>
                  <a:gd name="T1" fmla="*/ 62 h 68"/>
                  <a:gd name="T2" fmla="*/ 46 w 70"/>
                  <a:gd name="T3" fmla="*/ 60 h 68"/>
                  <a:gd name="T4" fmla="*/ 56 w 70"/>
                  <a:gd name="T5" fmla="*/ 58 h 68"/>
                  <a:gd name="T6" fmla="*/ 56 w 70"/>
                  <a:gd name="T7" fmla="*/ 56 h 68"/>
                  <a:gd name="T8" fmla="*/ 58 w 70"/>
                  <a:gd name="T9" fmla="*/ 50 h 68"/>
                  <a:gd name="T10" fmla="*/ 58 w 70"/>
                  <a:gd name="T11" fmla="*/ 46 h 68"/>
                  <a:gd name="T12" fmla="*/ 62 w 70"/>
                  <a:gd name="T13" fmla="*/ 42 h 68"/>
                  <a:gd name="T14" fmla="*/ 62 w 70"/>
                  <a:gd name="T15" fmla="*/ 36 h 68"/>
                  <a:gd name="T16" fmla="*/ 58 w 70"/>
                  <a:gd name="T17" fmla="*/ 28 h 68"/>
                  <a:gd name="T18" fmla="*/ 58 w 70"/>
                  <a:gd name="T19" fmla="*/ 24 h 68"/>
                  <a:gd name="T20" fmla="*/ 60 w 70"/>
                  <a:gd name="T21" fmla="*/ 16 h 68"/>
                  <a:gd name="T22" fmla="*/ 62 w 70"/>
                  <a:gd name="T23" fmla="*/ 12 h 68"/>
                  <a:gd name="T24" fmla="*/ 68 w 70"/>
                  <a:gd name="T25" fmla="*/ 8 h 68"/>
                  <a:gd name="T26" fmla="*/ 70 w 70"/>
                  <a:gd name="T27" fmla="*/ 6 h 68"/>
                  <a:gd name="T28" fmla="*/ 64 w 70"/>
                  <a:gd name="T29" fmla="*/ 4 h 68"/>
                  <a:gd name="T30" fmla="*/ 52 w 70"/>
                  <a:gd name="T31" fmla="*/ 2 h 68"/>
                  <a:gd name="T32" fmla="*/ 46 w 70"/>
                  <a:gd name="T33" fmla="*/ 2 h 68"/>
                  <a:gd name="T34" fmla="*/ 42 w 70"/>
                  <a:gd name="T35" fmla="*/ 6 h 68"/>
                  <a:gd name="T36" fmla="*/ 34 w 70"/>
                  <a:gd name="T37" fmla="*/ 6 h 68"/>
                  <a:gd name="T38" fmla="*/ 32 w 70"/>
                  <a:gd name="T39" fmla="*/ 4 h 68"/>
                  <a:gd name="T40" fmla="*/ 28 w 70"/>
                  <a:gd name="T41" fmla="*/ 2 h 68"/>
                  <a:gd name="T42" fmla="*/ 24 w 70"/>
                  <a:gd name="T43" fmla="*/ 2 h 68"/>
                  <a:gd name="T44" fmla="*/ 18 w 70"/>
                  <a:gd name="T45" fmla="*/ 2 h 68"/>
                  <a:gd name="T46" fmla="*/ 18 w 70"/>
                  <a:gd name="T47" fmla="*/ 0 h 68"/>
                  <a:gd name="T48" fmla="*/ 14 w 70"/>
                  <a:gd name="T49" fmla="*/ 4 h 68"/>
                  <a:gd name="T50" fmla="*/ 14 w 70"/>
                  <a:gd name="T51" fmla="*/ 12 h 68"/>
                  <a:gd name="T52" fmla="*/ 12 w 70"/>
                  <a:gd name="T53" fmla="*/ 16 h 68"/>
                  <a:gd name="T54" fmla="*/ 10 w 70"/>
                  <a:gd name="T55" fmla="*/ 18 h 68"/>
                  <a:gd name="T56" fmla="*/ 6 w 70"/>
                  <a:gd name="T57" fmla="*/ 16 h 68"/>
                  <a:gd name="T58" fmla="*/ 2 w 70"/>
                  <a:gd name="T59" fmla="*/ 16 h 68"/>
                  <a:gd name="T60" fmla="*/ 0 w 70"/>
                  <a:gd name="T61" fmla="*/ 18 h 68"/>
                  <a:gd name="T62" fmla="*/ 0 w 70"/>
                  <a:gd name="T63" fmla="*/ 22 h 68"/>
                  <a:gd name="T64" fmla="*/ 2 w 70"/>
                  <a:gd name="T65" fmla="*/ 30 h 68"/>
                  <a:gd name="T66" fmla="*/ 6 w 70"/>
                  <a:gd name="T67" fmla="*/ 38 h 68"/>
                  <a:gd name="T68" fmla="*/ 8 w 70"/>
                  <a:gd name="T69" fmla="*/ 42 h 68"/>
                  <a:gd name="T70" fmla="*/ 14 w 70"/>
                  <a:gd name="T71" fmla="*/ 46 h 68"/>
                  <a:gd name="T72" fmla="*/ 16 w 70"/>
                  <a:gd name="T73" fmla="*/ 50 h 68"/>
                  <a:gd name="T74" fmla="*/ 16 w 70"/>
                  <a:gd name="T75" fmla="*/ 56 h 68"/>
                  <a:gd name="T76" fmla="*/ 20 w 70"/>
                  <a:gd name="T77" fmla="*/ 58 h 68"/>
                  <a:gd name="T78" fmla="*/ 22 w 70"/>
                  <a:gd name="T79" fmla="*/ 62 h 68"/>
                  <a:gd name="T80" fmla="*/ 24 w 70"/>
                  <a:gd name="T81" fmla="*/ 66 h 68"/>
                  <a:gd name="T82" fmla="*/ 28 w 70"/>
                  <a:gd name="T83" fmla="*/ 68 h 68"/>
                  <a:gd name="T84" fmla="*/ 32 w 70"/>
                  <a:gd name="T85" fmla="*/ 66 h 68"/>
                  <a:gd name="T86" fmla="*/ 36 w 70"/>
                  <a:gd name="T87" fmla="*/ 62 h 68"/>
                  <a:gd name="T88" fmla="*/ 36 w 70"/>
                  <a:gd name="T89" fmla="*/ 62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70" h="68">
                    <a:moveTo>
                      <a:pt x="36" y="62"/>
                    </a:moveTo>
                    <a:lnTo>
                      <a:pt x="36" y="62"/>
                    </a:lnTo>
                    <a:lnTo>
                      <a:pt x="38" y="62"/>
                    </a:lnTo>
                    <a:lnTo>
                      <a:pt x="40" y="62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50" y="60"/>
                    </a:lnTo>
                    <a:lnTo>
                      <a:pt x="52" y="60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6"/>
                    </a:lnTo>
                    <a:lnTo>
                      <a:pt x="56" y="56"/>
                    </a:lnTo>
                    <a:lnTo>
                      <a:pt x="56" y="54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48"/>
                    </a:lnTo>
                    <a:lnTo>
                      <a:pt x="58" y="46"/>
                    </a:lnTo>
                    <a:lnTo>
                      <a:pt x="58" y="46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2" y="42"/>
                    </a:lnTo>
                    <a:lnTo>
                      <a:pt x="62" y="40"/>
                    </a:lnTo>
                    <a:lnTo>
                      <a:pt x="62" y="38"/>
                    </a:lnTo>
                    <a:lnTo>
                      <a:pt x="62" y="36"/>
                    </a:lnTo>
                    <a:lnTo>
                      <a:pt x="60" y="32"/>
                    </a:lnTo>
                    <a:lnTo>
                      <a:pt x="60" y="30"/>
                    </a:lnTo>
                    <a:lnTo>
                      <a:pt x="58" y="28"/>
                    </a:lnTo>
                    <a:lnTo>
                      <a:pt x="58" y="28"/>
                    </a:lnTo>
                    <a:lnTo>
                      <a:pt x="58" y="26"/>
                    </a:lnTo>
                    <a:lnTo>
                      <a:pt x="58" y="24"/>
                    </a:lnTo>
                    <a:lnTo>
                      <a:pt x="58" y="22"/>
                    </a:lnTo>
                    <a:lnTo>
                      <a:pt x="58" y="18"/>
                    </a:lnTo>
                    <a:lnTo>
                      <a:pt x="60" y="16"/>
                    </a:lnTo>
                    <a:lnTo>
                      <a:pt x="60" y="14"/>
                    </a:lnTo>
                    <a:lnTo>
                      <a:pt x="62" y="12"/>
                    </a:lnTo>
                    <a:lnTo>
                      <a:pt x="62" y="12"/>
                    </a:lnTo>
                    <a:lnTo>
                      <a:pt x="62" y="12"/>
                    </a:lnTo>
                    <a:lnTo>
                      <a:pt x="64" y="10"/>
                    </a:lnTo>
                    <a:lnTo>
                      <a:pt x="68" y="8"/>
                    </a:lnTo>
                    <a:lnTo>
                      <a:pt x="70" y="8"/>
                    </a:lnTo>
                    <a:lnTo>
                      <a:pt x="70" y="6"/>
                    </a:lnTo>
                    <a:lnTo>
                      <a:pt x="70" y="6"/>
                    </a:lnTo>
                    <a:lnTo>
                      <a:pt x="68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58" y="2"/>
                    </a:lnTo>
                    <a:lnTo>
                      <a:pt x="56" y="2"/>
                    </a:lnTo>
                    <a:lnTo>
                      <a:pt x="52" y="2"/>
                    </a:lnTo>
                    <a:lnTo>
                      <a:pt x="52" y="2"/>
                    </a:lnTo>
                    <a:lnTo>
                      <a:pt x="48" y="2"/>
                    </a:lnTo>
                    <a:lnTo>
                      <a:pt x="46" y="2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2" y="6"/>
                    </a:lnTo>
                    <a:lnTo>
                      <a:pt x="38" y="6"/>
                    </a:lnTo>
                    <a:lnTo>
                      <a:pt x="36" y="6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2" y="6"/>
                    </a:lnTo>
                    <a:lnTo>
                      <a:pt x="32" y="4"/>
                    </a:lnTo>
                    <a:lnTo>
                      <a:pt x="30" y="4"/>
                    </a:lnTo>
                    <a:lnTo>
                      <a:pt x="28" y="2"/>
                    </a:lnTo>
                    <a:lnTo>
                      <a:pt x="28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4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6" y="2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6"/>
                    </a:lnTo>
                    <a:lnTo>
                      <a:pt x="14" y="8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0" y="18"/>
                    </a:lnTo>
                    <a:lnTo>
                      <a:pt x="8" y="18"/>
                    </a:lnTo>
                    <a:lnTo>
                      <a:pt x="8" y="16"/>
                    </a:lnTo>
                    <a:lnTo>
                      <a:pt x="6" y="16"/>
                    </a:lnTo>
                    <a:lnTo>
                      <a:pt x="4" y="14"/>
                    </a:lnTo>
                    <a:lnTo>
                      <a:pt x="2" y="14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0" y="16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22"/>
                    </a:lnTo>
                    <a:lnTo>
                      <a:pt x="0" y="24"/>
                    </a:lnTo>
                    <a:lnTo>
                      <a:pt x="2" y="26"/>
                    </a:lnTo>
                    <a:lnTo>
                      <a:pt x="2" y="30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6" y="38"/>
                    </a:lnTo>
                    <a:lnTo>
                      <a:pt x="8" y="40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2" y="42"/>
                    </a:lnTo>
                    <a:lnTo>
                      <a:pt x="14" y="44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6" y="48"/>
                    </a:lnTo>
                    <a:lnTo>
                      <a:pt x="16" y="50"/>
                    </a:lnTo>
                    <a:lnTo>
                      <a:pt x="16" y="52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8" y="58"/>
                    </a:lnTo>
                    <a:lnTo>
                      <a:pt x="20" y="58"/>
                    </a:lnTo>
                    <a:lnTo>
                      <a:pt x="22" y="60"/>
                    </a:lnTo>
                    <a:lnTo>
                      <a:pt x="22" y="62"/>
                    </a:lnTo>
                    <a:lnTo>
                      <a:pt x="22" y="62"/>
                    </a:lnTo>
                    <a:lnTo>
                      <a:pt x="24" y="64"/>
                    </a:lnTo>
                    <a:lnTo>
                      <a:pt x="24" y="66"/>
                    </a:lnTo>
                    <a:lnTo>
                      <a:pt x="24" y="66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8" y="68"/>
                    </a:lnTo>
                    <a:lnTo>
                      <a:pt x="30" y="68"/>
                    </a:lnTo>
                    <a:lnTo>
                      <a:pt x="32" y="68"/>
                    </a:lnTo>
                    <a:lnTo>
                      <a:pt x="32" y="66"/>
                    </a:lnTo>
                    <a:lnTo>
                      <a:pt x="34" y="66"/>
                    </a:lnTo>
                    <a:lnTo>
                      <a:pt x="34" y="64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6" y="6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58" name="Freeform 276"/>
              <p:cNvSpPr>
                <a:spLocks/>
              </p:cNvSpPr>
              <p:nvPr/>
            </p:nvSpPr>
            <p:spPr bwMode="auto">
              <a:xfrm>
                <a:off x="1843" y="2740"/>
                <a:ext cx="50" cy="60"/>
              </a:xfrm>
              <a:custGeom>
                <a:avLst/>
                <a:gdLst>
                  <a:gd name="T0" fmla="*/ 4 w 50"/>
                  <a:gd name="T1" fmla="*/ 56 h 60"/>
                  <a:gd name="T2" fmla="*/ 6 w 50"/>
                  <a:gd name="T3" fmla="*/ 58 h 60"/>
                  <a:gd name="T4" fmla="*/ 12 w 50"/>
                  <a:gd name="T5" fmla="*/ 56 h 60"/>
                  <a:gd name="T6" fmla="*/ 14 w 50"/>
                  <a:gd name="T7" fmla="*/ 56 h 60"/>
                  <a:gd name="T8" fmla="*/ 20 w 50"/>
                  <a:gd name="T9" fmla="*/ 58 h 60"/>
                  <a:gd name="T10" fmla="*/ 24 w 50"/>
                  <a:gd name="T11" fmla="*/ 60 h 60"/>
                  <a:gd name="T12" fmla="*/ 26 w 50"/>
                  <a:gd name="T13" fmla="*/ 58 h 60"/>
                  <a:gd name="T14" fmla="*/ 30 w 50"/>
                  <a:gd name="T15" fmla="*/ 56 h 60"/>
                  <a:gd name="T16" fmla="*/ 32 w 50"/>
                  <a:gd name="T17" fmla="*/ 56 h 60"/>
                  <a:gd name="T18" fmla="*/ 36 w 50"/>
                  <a:gd name="T19" fmla="*/ 52 h 60"/>
                  <a:gd name="T20" fmla="*/ 36 w 50"/>
                  <a:gd name="T21" fmla="*/ 46 h 60"/>
                  <a:gd name="T22" fmla="*/ 36 w 50"/>
                  <a:gd name="T23" fmla="*/ 38 h 60"/>
                  <a:gd name="T24" fmla="*/ 36 w 50"/>
                  <a:gd name="T25" fmla="*/ 36 h 60"/>
                  <a:gd name="T26" fmla="*/ 36 w 50"/>
                  <a:gd name="T27" fmla="*/ 32 h 60"/>
                  <a:gd name="T28" fmla="*/ 40 w 50"/>
                  <a:gd name="T29" fmla="*/ 28 h 60"/>
                  <a:gd name="T30" fmla="*/ 48 w 50"/>
                  <a:gd name="T31" fmla="*/ 24 h 60"/>
                  <a:gd name="T32" fmla="*/ 50 w 50"/>
                  <a:gd name="T33" fmla="*/ 22 h 60"/>
                  <a:gd name="T34" fmla="*/ 50 w 50"/>
                  <a:gd name="T35" fmla="*/ 20 h 60"/>
                  <a:gd name="T36" fmla="*/ 46 w 50"/>
                  <a:gd name="T37" fmla="*/ 12 h 60"/>
                  <a:gd name="T38" fmla="*/ 40 w 50"/>
                  <a:gd name="T39" fmla="*/ 8 h 60"/>
                  <a:gd name="T40" fmla="*/ 40 w 50"/>
                  <a:gd name="T41" fmla="*/ 8 h 60"/>
                  <a:gd name="T42" fmla="*/ 36 w 50"/>
                  <a:gd name="T43" fmla="*/ 8 h 60"/>
                  <a:gd name="T44" fmla="*/ 32 w 50"/>
                  <a:gd name="T45" fmla="*/ 8 h 60"/>
                  <a:gd name="T46" fmla="*/ 26 w 50"/>
                  <a:gd name="T47" fmla="*/ 6 h 60"/>
                  <a:gd name="T48" fmla="*/ 20 w 50"/>
                  <a:gd name="T49" fmla="*/ 2 h 60"/>
                  <a:gd name="T50" fmla="*/ 14 w 50"/>
                  <a:gd name="T51" fmla="*/ 0 h 60"/>
                  <a:gd name="T52" fmla="*/ 14 w 50"/>
                  <a:gd name="T53" fmla="*/ 2 h 60"/>
                  <a:gd name="T54" fmla="*/ 8 w 50"/>
                  <a:gd name="T55" fmla="*/ 4 h 60"/>
                  <a:gd name="T56" fmla="*/ 6 w 50"/>
                  <a:gd name="T57" fmla="*/ 6 h 60"/>
                  <a:gd name="T58" fmla="*/ 4 w 50"/>
                  <a:gd name="T59" fmla="*/ 8 h 60"/>
                  <a:gd name="T60" fmla="*/ 2 w 50"/>
                  <a:gd name="T61" fmla="*/ 12 h 60"/>
                  <a:gd name="T62" fmla="*/ 2 w 50"/>
                  <a:gd name="T63" fmla="*/ 18 h 60"/>
                  <a:gd name="T64" fmla="*/ 2 w 50"/>
                  <a:gd name="T65" fmla="*/ 22 h 60"/>
                  <a:gd name="T66" fmla="*/ 4 w 50"/>
                  <a:gd name="T67" fmla="*/ 24 h 60"/>
                  <a:gd name="T68" fmla="*/ 6 w 50"/>
                  <a:gd name="T69" fmla="*/ 30 h 60"/>
                  <a:gd name="T70" fmla="*/ 6 w 50"/>
                  <a:gd name="T71" fmla="*/ 34 h 60"/>
                  <a:gd name="T72" fmla="*/ 4 w 50"/>
                  <a:gd name="T73" fmla="*/ 38 h 60"/>
                  <a:gd name="T74" fmla="*/ 2 w 50"/>
                  <a:gd name="T75" fmla="*/ 40 h 60"/>
                  <a:gd name="T76" fmla="*/ 2 w 50"/>
                  <a:gd name="T77" fmla="*/ 42 h 60"/>
                  <a:gd name="T78" fmla="*/ 2 w 50"/>
                  <a:gd name="T79" fmla="*/ 44 h 60"/>
                  <a:gd name="T80" fmla="*/ 0 w 50"/>
                  <a:gd name="T81" fmla="*/ 48 h 60"/>
                  <a:gd name="T82" fmla="*/ 0 w 50"/>
                  <a:gd name="T83" fmla="*/ 52 h 60"/>
                  <a:gd name="T84" fmla="*/ 0 w 50"/>
                  <a:gd name="T85" fmla="*/ 52 h 60"/>
                  <a:gd name="T86" fmla="*/ 2 w 50"/>
                  <a:gd name="T87" fmla="*/ 54 h 60"/>
                  <a:gd name="T88" fmla="*/ 4 w 50"/>
                  <a:gd name="T89" fmla="*/ 56 h 60"/>
                  <a:gd name="T90" fmla="*/ 4 w 50"/>
                  <a:gd name="T91" fmla="*/ 56 h 60"/>
                  <a:gd name="T92" fmla="*/ 4 w 50"/>
                  <a:gd name="T93" fmla="*/ 56 h 60"/>
                  <a:gd name="T94" fmla="*/ 4 w 50"/>
                  <a:gd name="T95" fmla="*/ 56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50" h="60">
                    <a:moveTo>
                      <a:pt x="4" y="56"/>
                    </a:moveTo>
                    <a:lnTo>
                      <a:pt x="4" y="56"/>
                    </a:lnTo>
                    <a:lnTo>
                      <a:pt x="6" y="58"/>
                    </a:lnTo>
                    <a:lnTo>
                      <a:pt x="6" y="58"/>
                    </a:lnTo>
                    <a:lnTo>
                      <a:pt x="10" y="58"/>
                    </a:lnTo>
                    <a:lnTo>
                      <a:pt x="12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6" y="58"/>
                    </a:lnTo>
                    <a:lnTo>
                      <a:pt x="20" y="58"/>
                    </a:lnTo>
                    <a:lnTo>
                      <a:pt x="22" y="58"/>
                    </a:lnTo>
                    <a:lnTo>
                      <a:pt x="24" y="60"/>
                    </a:lnTo>
                    <a:lnTo>
                      <a:pt x="24" y="60"/>
                    </a:lnTo>
                    <a:lnTo>
                      <a:pt x="26" y="58"/>
                    </a:lnTo>
                    <a:lnTo>
                      <a:pt x="28" y="58"/>
                    </a:lnTo>
                    <a:lnTo>
                      <a:pt x="30" y="5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4" y="54"/>
                    </a:lnTo>
                    <a:lnTo>
                      <a:pt x="36" y="52"/>
                    </a:lnTo>
                    <a:lnTo>
                      <a:pt x="36" y="48"/>
                    </a:lnTo>
                    <a:lnTo>
                      <a:pt x="36" y="46"/>
                    </a:lnTo>
                    <a:lnTo>
                      <a:pt x="36" y="42"/>
                    </a:lnTo>
                    <a:lnTo>
                      <a:pt x="36" y="38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6" y="32"/>
                    </a:lnTo>
                    <a:lnTo>
                      <a:pt x="38" y="30"/>
                    </a:lnTo>
                    <a:lnTo>
                      <a:pt x="40" y="28"/>
                    </a:lnTo>
                    <a:lnTo>
                      <a:pt x="46" y="24"/>
                    </a:lnTo>
                    <a:lnTo>
                      <a:pt x="48" y="24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20"/>
                    </a:lnTo>
                    <a:lnTo>
                      <a:pt x="50" y="20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4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38" y="8"/>
                    </a:lnTo>
                    <a:lnTo>
                      <a:pt x="36" y="8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0" y="6"/>
                    </a:lnTo>
                    <a:lnTo>
                      <a:pt x="26" y="6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2"/>
                    </a:lnTo>
                    <a:lnTo>
                      <a:pt x="12" y="2"/>
                    </a:lnTo>
                    <a:lnTo>
                      <a:pt x="8" y="4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4" y="8"/>
                    </a:lnTo>
                    <a:lnTo>
                      <a:pt x="4" y="10"/>
                    </a:lnTo>
                    <a:lnTo>
                      <a:pt x="2" y="12"/>
                    </a:lnTo>
                    <a:lnTo>
                      <a:pt x="2" y="16"/>
                    </a:lnTo>
                    <a:lnTo>
                      <a:pt x="2" y="18"/>
                    </a:lnTo>
                    <a:lnTo>
                      <a:pt x="2" y="20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4" y="24"/>
                    </a:lnTo>
                    <a:lnTo>
                      <a:pt x="4" y="26"/>
                    </a:lnTo>
                    <a:lnTo>
                      <a:pt x="6" y="30"/>
                    </a:lnTo>
                    <a:lnTo>
                      <a:pt x="6" y="32"/>
                    </a:lnTo>
                    <a:lnTo>
                      <a:pt x="6" y="34"/>
                    </a:lnTo>
                    <a:lnTo>
                      <a:pt x="6" y="36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2" y="40"/>
                    </a:lnTo>
                    <a:lnTo>
                      <a:pt x="2" y="40"/>
                    </a:lnTo>
                    <a:lnTo>
                      <a:pt x="2" y="42"/>
                    </a:lnTo>
                    <a:lnTo>
                      <a:pt x="2" y="44"/>
                    </a:lnTo>
                    <a:lnTo>
                      <a:pt x="2" y="44"/>
                    </a:lnTo>
                    <a:lnTo>
                      <a:pt x="0" y="46"/>
                    </a:lnTo>
                    <a:lnTo>
                      <a:pt x="0" y="48"/>
                    </a:lnTo>
                    <a:lnTo>
                      <a:pt x="0" y="50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2" y="54"/>
                    </a:lnTo>
                    <a:lnTo>
                      <a:pt x="2" y="54"/>
                    </a:lnTo>
                    <a:lnTo>
                      <a:pt x="2" y="54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59" name="Freeform 278"/>
              <p:cNvSpPr>
                <a:spLocks/>
              </p:cNvSpPr>
              <p:nvPr/>
            </p:nvSpPr>
            <p:spPr bwMode="auto">
              <a:xfrm>
                <a:off x="1607" y="3004"/>
                <a:ext cx="202" cy="230"/>
              </a:xfrm>
              <a:custGeom>
                <a:avLst/>
                <a:gdLst>
                  <a:gd name="T0" fmla="*/ 74 w 202"/>
                  <a:gd name="T1" fmla="*/ 212 h 230"/>
                  <a:gd name="T2" fmla="*/ 84 w 202"/>
                  <a:gd name="T3" fmla="*/ 210 h 230"/>
                  <a:gd name="T4" fmla="*/ 96 w 202"/>
                  <a:gd name="T5" fmla="*/ 210 h 230"/>
                  <a:gd name="T6" fmla="*/ 100 w 202"/>
                  <a:gd name="T7" fmla="*/ 218 h 230"/>
                  <a:gd name="T8" fmla="*/ 104 w 202"/>
                  <a:gd name="T9" fmla="*/ 224 h 230"/>
                  <a:gd name="T10" fmla="*/ 112 w 202"/>
                  <a:gd name="T11" fmla="*/ 214 h 230"/>
                  <a:gd name="T12" fmla="*/ 122 w 202"/>
                  <a:gd name="T13" fmla="*/ 210 h 230"/>
                  <a:gd name="T14" fmla="*/ 130 w 202"/>
                  <a:gd name="T15" fmla="*/ 210 h 230"/>
                  <a:gd name="T16" fmla="*/ 134 w 202"/>
                  <a:gd name="T17" fmla="*/ 200 h 230"/>
                  <a:gd name="T18" fmla="*/ 138 w 202"/>
                  <a:gd name="T19" fmla="*/ 184 h 230"/>
                  <a:gd name="T20" fmla="*/ 140 w 202"/>
                  <a:gd name="T21" fmla="*/ 172 h 230"/>
                  <a:gd name="T22" fmla="*/ 152 w 202"/>
                  <a:gd name="T23" fmla="*/ 166 h 230"/>
                  <a:gd name="T24" fmla="*/ 172 w 202"/>
                  <a:gd name="T25" fmla="*/ 162 h 230"/>
                  <a:gd name="T26" fmla="*/ 186 w 202"/>
                  <a:gd name="T27" fmla="*/ 162 h 230"/>
                  <a:gd name="T28" fmla="*/ 196 w 202"/>
                  <a:gd name="T29" fmla="*/ 166 h 230"/>
                  <a:gd name="T30" fmla="*/ 198 w 202"/>
                  <a:gd name="T31" fmla="*/ 156 h 230"/>
                  <a:gd name="T32" fmla="*/ 198 w 202"/>
                  <a:gd name="T33" fmla="*/ 146 h 230"/>
                  <a:gd name="T34" fmla="*/ 202 w 202"/>
                  <a:gd name="T35" fmla="*/ 138 h 230"/>
                  <a:gd name="T36" fmla="*/ 198 w 202"/>
                  <a:gd name="T37" fmla="*/ 128 h 230"/>
                  <a:gd name="T38" fmla="*/ 188 w 202"/>
                  <a:gd name="T39" fmla="*/ 122 h 230"/>
                  <a:gd name="T40" fmla="*/ 188 w 202"/>
                  <a:gd name="T41" fmla="*/ 116 h 230"/>
                  <a:gd name="T42" fmla="*/ 190 w 202"/>
                  <a:gd name="T43" fmla="*/ 108 h 230"/>
                  <a:gd name="T44" fmla="*/ 186 w 202"/>
                  <a:gd name="T45" fmla="*/ 104 h 230"/>
                  <a:gd name="T46" fmla="*/ 178 w 202"/>
                  <a:gd name="T47" fmla="*/ 104 h 230"/>
                  <a:gd name="T48" fmla="*/ 164 w 202"/>
                  <a:gd name="T49" fmla="*/ 104 h 230"/>
                  <a:gd name="T50" fmla="*/ 156 w 202"/>
                  <a:gd name="T51" fmla="*/ 94 h 230"/>
                  <a:gd name="T52" fmla="*/ 154 w 202"/>
                  <a:gd name="T53" fmla="*/ 76 h 230"/>
                  <a:gd name="T54" fmla="*/ 150 w 202"/>
                  <a:gd name="T55" fmla="*/ 64 h 230"/>
                  <a:gd name="T56" fmla="*/ 142 w 202"/>
                  <a:gd name="T57" fmla="*/ 60 h 230"/>
                  <a:gd name="T58" fmla="*/ 124 w 202"/>
                  <a:gd name="T59" fmla="*/ 58 h 230"/>
                  <a:gd name="T60" fmla="*/ 116 w 202"/>
                  <a:gd name="T61" fmla="*/ 52 h 230"/>
                  <a:gd name="T62" fmla="*/ 108 w 202"/>
                  <a:gd name="T63" fmla="*/ 48 h 230"/>
                  <a:gd name="T64" fmla="*/ 100 w 202"/>
                  <a:gd name="T65" fmla="*/ 46 h 230"/>
                  <a:gd name="T66" fmla="*/ 88 w 202"/>
                  <a:gd name="T67" fmla="*/ 42 h 230"/>
                  <a:gd name="T68" fmla="*/ 80 w 202"/>
                  <a:gd name="T69" fmla="*/ 38 h 230"/>
                  <a:gd name="T70" fmla="*/ 70 w 202"/>
                  <a:gd name="T71" fmla="*/ 20 h 230"/>
                  <a:gd name="T72" fmla="*/ 70 w 202"/>
                  <a:gd name="T73" fmla="*/ 10 h 230"/>
                  <a:gd name="T74" fmla="*/ 64 w 202"/>
                  <a:gd name="T75" fmla="*/ 2 h 230"/>
                  <a:gd name="T76" fmla="*/ 54 w 202"/>
                  <a:gd name="T77" fmla="*/ 2 h 230"/>
                  <a:gd name="T78" fmla="*/ 30 w 202"/>
                  <a:gd name="T79" fmla="*/ 14 h 230"/>
                  <a:gd name="T80" fmla="*/ 20 w 202"/>
                  <a:gd name="T81" fmla="*/ 18 h 230"/>
                  <a:gd name="T82" fmla="*/ 8 w 202"/>
                  <a:gd name="T83" fmla="*/ 18 h 230"/>
                  <a:gd name="T84" fmla="*/ 2 w 202"/>
                  <a:gd name="T85" fmla="*/ 24 h 230"/>
                  <a:gd name="T86" fmla="*/ 12 w 202"/>
                  <a:gd name="T87" fmla="*/ 38 h 230"/>
                  <a:gd name="T88" fmla="*/ 16 w 202"/>
                  <a:gd name="T89" fmla="*/ 48 h 230"/>
                  <a:gd name="T90" fmla="*/ 12 w 202"/>
                  <a:gd name="T91" fmla="*/ 62 h 230"/>
                  <a:gd name="T92" fmla="*/ 14 w 202"/>
                  <a:gd name="T93" fmla="*/ 70 h 230"/>
                  <a:gd name="T94" fmla="*/ 14 w 202"/>
                  <a:gd name="T95" fmla="*/ 82 h 230"/>
                  <a:gd name="T96" fmla="*/ 14 w 202"/>
                  <a:gd name="T97" fmla="*/ 92 h 230"/>
                  <a:gd name="T98" fmla="*/ 18 w 202"/>
                  <a:gd name="T99" fmla="*/ 108 h 230"/>
                  <a:gd name="T100" fmla="*/ 16 w 202"/>
                  <a:gd name="T101" fmla="*/ 128 h 230"/>
                  <a:gd name="T102" fmla="*/ 18 w 202"/>
                  <a:gd name="T103" fmla="*/ 142 h 230"/>
                  <a:gd name="T104" fmla="*/ 20 w 202"/>
                  <a:gd name="T105" fmla="*/ 150 h 230"/>
                  <a:gd name="T106" fmla="*/ 20 w 202"/>
                  <a:gd name="T107" fmla="*/ 158 h 230"/>
                  <a:gd name="T108" fmla="*/ 28 w 202"/>
                  <a:gd name="T109" fmla="*/ 166 h 230"/>
                  <a:gd name="T110" fmla="*/ 26 w 202"/>
                  <a:gd name="T111" fmla="*/ 176 h 230"/>
                  <a:gd name="T112" fmla="*/ 30 w 202"/>
                  <a:gd name="T113" fmla="*/ 190 h 230"/>
                  <a:gd name="T114" fmla="*/ 36 w 202"/>
                  <a:gd name="T115" fmla="*/ 202 h 230"/>
                  <a:gd name="T116" fmla="*/ 46 w 202"/>
                  <a:gd name="T117" fmla="*/ 220 h 230"/>
                  <a:gd name="T118" fmla="*/ 50 w 202"/>
                  <a:gd name="T119" fmla="*/ 226 h 230"/>
                  <a:gd name="T120" fmla="*/ 60 w 202"/>
                  <a:gd name="T121" fmla="*/ 230 h 230"/>
                  <a:gd name="T122" fmla="*/ 70 w 202"/>
                  <a:gd name="T123" fmla="*/ 22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02" h="230">
                    <a:moveTo>
                      <a:pt x="70" y="220"/>
                    </a:moveTo>
                    <a:lnTo>
                      <a:pt x="70" y="220"/>
                    </a:lnTo>
                    <a:lnTo>
                      <a:pt x="70" y="218"/>
                    </a:lnTo>
                    <a:lnTo>
                      <a:pt x="72" y="214"/>
                    </a:lnTo>
                    <a:lnTo>
                      <a:pt x="74" y="212"/>
                    </a:lnTo>
                    <a:lnTo>
                      <a:pt x="76" y="212"/>
                    </a:lnTo>
                    <a:lnTo>
                      <a:pt x="78" y="212"/>
                    </a:lnTo>
                    <a:lnTo>
                      <a:pt x="80" y="210"/>
                    </a:lnTo>
                    <a:lnTo>
                      <a:pt x="80" y="210"/>
                    </a:lnTo>
                    <a:lnTo>
                      <a:pt x="84" y="210"/>
                    </a:lnTo>
                    <a:lnTo>
                      <a:pt x="88" y="210"/>
                    </a:lnTo>
                    <a:lnTo>
                      <a:pt x="92" y="210"/>
                    </a:lnTo>
                    <a:lnTo>
                      <a:pt x="94" y="210"/>
                    </a:lnTo>
                    <a:lnTo>
                      <a:pt x="94" y="210"/>
                    </a:lnTo>
                    <a:lnTo>
                      <a:pt x="96" y="210"/>
                    </a:lnTo>
                    <a:lnTo>
                      <a:pt x="96" y="210"/>
                    </a:lnTo>
                    <a:lnTo>
                      <a:pt x="98" y="212"/>
                    </a:lnTo>
                    <a:lnTo>
                      <a:pt x="100" y="214"/>
                    </a:lnTo>
                    <a:lnTo>
                      <a:pt x="100" y="216"/>
                    </a:lnTo>
                    <a:lnTo>
                      <a:pt x="100" y="218"/>
                    </a:lnTo>
                    <a:lnTo>
                      <a:pt x="102" y="222"/>
                    </a:lnTo>
                    <a:lnTo>
                      <a:pt x="102" y="224"/>
                    </a:lnTo>
                    <a:lnTo>
                      <a:pt x="104" y="226"/>
                    </a:lnTo>
                    <a:lnTo>
                      <a:pt x="104" y="226"/>
                    </a:lnTo>
                    <a:lnTo>
                      <a:pt x="104" y="224"/>
                    </a:lnTo>
                    <a:lnTo>
                      <a:pt x="106" y="224"/>
                    </a:lnTo>
                    <a:lnTo>
                      <a:pt x="108" y="220"/>
                    </a:lnTo>
                    <a:lnTo>
                      <a:pt x="110" y="218"/>
                    </a:lnTo>
                    <a:lnTo>
                      <a:pt x="112" y="214"/>
                    </a:lnTo>
                    <a:lnTo>
                      <a:pt x="112" y="214"/>
                    </a:lnTo>
                    <a:lnTo>
                      <a:pt x="114" y="212"/>
                    </a:lnTo>
                    <a:lnTo>
                      <a:pt x="116" y="212"/>
                    </a:lnTo>
                    <a:lnTo>
                      <a:pt x="118" y="212"/>
                    </a:lnTo>
                    <a:lnTo>
                      <a:pt x="118" y="210"/>
                    </a:lnTo>
                    <a:lnTo>
                      <a:pt x="122" y="210"/>
                    </a:lnTo>
                    <a:lnTo>
                      <a:pt x="126" y="212"/>
                    </a:lnTo>
                    <a:lnTo>
                      <a:pt x="126" y="212"/>
                    </a:lnTo>
                    <a:lnTo>
                      <a:pt x="128" y="210"/>
                    </a:lnTo>
                    <a:lnTo>
                      <a:pt x="130" y="210"/>
                    </a:lnTo>
                    <a:lnTo>
                      <a:pt x="130" y="210"/>
                    </a:lnTo>
                    <a:lnTo>
                      <a:pt x="132" y="208"/>
                    </a:lnTo>
                    <a:lnTo>
                      <a:pt x="132" y="206"/>
                    </a:lnTo>
                    <a:lnTo>
                      <a:pt x="134" y="204"/>
                    </a:lnTo>
                    <a:lnTo>
                      <a:pt x="134" y="200"/>
                    </a:lnTo>
                    <a:lnTo>
                      <a:pt x="134" y="200"/>
                    </a:lnTo>
                    <a:lnTo>
                      <a:pt x="136" y="194"/>
                    </a:lnTo>
                    <a:lnTo>
                      <a:pt x="136" y="194"/>
                    </a:lnTo>
                    <a:lnTo>
                      <a:pt x="136" y="190"/>
                    </a:lnTo>
                    <a:lnTo>
                      <a:pt x="138" y="188"/>
                    </a:lnTo>
                    <a:lnTo>
                      <a:pt x="138" y="184"/>
                    </a:lnTo>
                    <a:lnTo>
                      <a:pt x="138" y="178"/>
                    </a:lnTo>
                    <a:lnTo>
                      <a:pt x="138" y="176"/>
                    </a:lnTo>
                    <a:lnTo>
                      <a:pt x="138" y="174"/>
                    </a:lnTo>
                    <a:lnTo>
                      <a:pt x="138" y="174"/>
                    </a:lnTo>
                    <a:lnTo>
                      <a:pt x="140" y="172"/>
                    </a:lnTo>
                    <a:lnTo>
                      <a:pt x="142" y="170"/>
                    </a:lnTo>
                    <a:lnTo>
                      <a:pt x="144" y="168"/>
                    </a:lnTo>
                    <a:lnTo>
                      <a:pt x="146" y="168"/>
                    </a:lnTo>
                    <a:lnTo>
                      <a:pt x="146" y="168"/>
                    </a:lnTo>
                    <a:lnTo>
                      <a:pt x="152" y="166"/>
                    </a:lnTo>
                    <a:lnTo>
                      <a:pt x="156" y="166"/>
                    </a:lnTo>
                    <a:lnTo>
                      <a:pt x="162" y="164"/>
                    </a:lnTo>
                    <a:lnTo>
                      <a:pt x="166" y="164"/>
                    </a:lnTo>
                    <a:lnTo>
                      <a:pt x="166" y="164"/>
                    </a:lnTo>
                    <a:lnTo>
                      <a:pt x="172" y="162"/>
                    </a:lnTo>
                    <a:lnTo>
                      <a:pt x="176" y="162"/>
                    </a:lnTo>
                    <a:lnTo>
                      <a:pt x="180" y="162"/>
                    </a:lnTo>
                    <a:lnTo>
                      <a:pt x="182" y="162"/>
                    </a:lnTo>
                    <a:lnTo>
                      <a:pt x="184" y="162"/>
                    </a:lnTo>
                    <a:lnTo>
                      <a:pt x="186" y="162"/>
                    </a:lnTo>
                    <a:lnTo>
                      <a:pt x="186" y="162"/>
                    </a:lnTo>
                    <a:lnTo>
                      <a:pt x="190" y="164"/>
                    </a:lnTo>
                    <a:lnTo>
                      <a:pt x="192" y="166"/>
                    </a:lnTo>
                    <a:lnTo>
                      <a:pt x="194" y="166"/>
                    </a:lnTo>
                    <a:lnTo>
                      <a:pt x="196" y="166"/>
                    </a:lnTo>
                    <a:lnTo>
                      <a:pt x="196" y="164"/>
                    </a:lnTo>
                    <a:lnTo>
                      <a:pt x="198" y="162"/>
                    </a:lnTo>
                    <a:lnTo>
                      <a:pt x="198" y="158"/>
                    </a:lnTo>
                    <a:lnTo>
                      <a:pt x="198" y="158"/>
                    </a:lnTo>
                    <a:lnTo>
                      <a:pt x="198" y="156"/>
                    </a:lnTo>
                    <a:lnTo>
                      <a:pt x="198" y="152"/>
                    </a:lnTo>
                    <a:lnTo>
                      <a:pt x="198" y="150"/>
                    </a:lnTo>
                    <a:lnTo>
                      <a:pt x="198" y="148"/>
                    </a:lnTo>
                    <a:lnTo>
                      <a:pt x="198" y="148"/>
                    </a:lnTo>
                    <a:lnTo>
                      <a:pt x="198" y="146"/>
                    </a:lnTo>
                    <a:lnTo>
                      <a:pt x="200" y="144"/>
                    </a:lnTo>
                    <a:lnTo>
                      <a:pt x="202" y="142"/>
                    </a:lnTo>
                    <a:lnTo>
                      <a:pt x="202" y="140"/>
                    </a:lnTo>
                    <a:lnTo>
                      <a:pt x="202" y="140"/>
                    </a:lnTo>
                    <a:lnTo>
                      <a:pt x="202" y="138"/>
                    </a:lnTo>
                    <a:lnTo>
                      <a:pt x="202" y="136"/>
                    </a:lnTo>
                    <a:lnTo>
                      <a:pt x="202" y="134"/>
                    </a:lnTo>
                    <a:lnTo>
                      <a:pt x="200" y="132"/>
                    </a:lnTo>
                    <a:lnTo>
                      <a:pt x="200" y="128"/>
                    </a:lnTo>
                    <a:lnTo>
                      <a:pt x="198" y="128"/>
                    </a:lnTo>
                    <a:lnTo>
                      <a:pt x="196" y="126"/>
                    </a:lnTo>
                    <a:lnTo>
                      <a:pt x="194" y="124"/>
                    </a:lnTo>
                    <a:lnTo>
                      <a:pt x="194" y="124"/>
                    </a:lnTo>
                    <a:lnTo>
                      <a:pt x="192" y="124"/>
                    </a:lnTo>
                    <a:lnTo>
                      <a:pt x="188" y="122"/>
                    </a:lnTo>
                    <a:lnTo>
                      <a:pt x="188" y="122"/>
                    </a:lnTo>
                    <a:lnTo>
                      <a:pt x="188" y="120"/>
                    </a:lnTo>
                    <a:lnTo>
                      <a:pt x="188" y="120"/>
                    </a:lnTo>
                    <a:lnTo>
                      <a:pt x="188" y="116"/>
                    </a:lnTo>
                    <a:lnTo>
                      <a:pt x="188" y="116"/>
                    </a:lnTo>
                    <a:lnTo>
                      <a:pt x="188" y="116"/>
                    </a:lnTo>
                    <a:lnTo>
                      <a:pt x="190" y="112"/>
                    </a:lnTo>
                    <a:lnTo>
                      <a:pt x="190" y="110"/>
                    </a:lnTo>
                    <a:lnTo>
                      <a:pt x="190" y="110"/>
                    </a:lnTo>
                    <a:lnTo>
                      <a:pt x="190" y="108"/>
                    </a:lnTo>
                    <a:lnTo>
                      <a:pt x="190" y="108"/>
                    </a:lnTo>
                    <a:lnTo>
                      <a:pt x="190" y="108"/>
                    </a:lnTo>
                    <a:lnTo>
                      <a:pt x="190" y="106"/>
                    </a:lnTo>
                    <a:lnTo>
                      <a:pt x="188" y="106"/>
                    </a:lnTo>
                    <a:lnTo>
                      <a:pt x="186" y="104"/>
                    </a:lnTo>
                    <a:lnTo>
                      <a:pt x="184" y="104"/>
                    </a:lnTo>
                    <a:lnTo>
                      <a:pt x="184" y="104"/>
                    </a:lnTo>
                    <a:lnTo>
                      <a:pt x="182" y="104"/>
                    </a:lnTo>
                    <a:lnTo>
                      <a:pt x="180" y="104"/>
                    </a:lnTo>
                    <a:lnTo>
                      <a:pt x="178" y="104"/>
                    </a:lnTo>
                    <a:lnTo>
                      <a:pt x="176" y="102"/>
                    </a:lnTo>
                    <a:lnTo>
                      <a:pt x="176" y="102"/>
                    </a:lnTo>
                    <a:lnTo>
                      <a:pt x="170" y="104"/>
                    </a:lnTo>
                    <a:lnTo>
                      <a:pt x="166" y="104"/>
                    </a:lnTo>
                    <a:lnTo>
                      <a:pt x="164" y="104"/>
                    </a:lnTo>
                    <a:lnTo>
                      <a:pt x="162" y="104"/>
                    </a:lnTo>
                    <a:lnTo>
                      <a:pt x="160" y="102"/>
                    </a:lnTo>
                    <a:lnTo>
                      <a:pt x="158" y="100"/>
                    </a:lnTo>
                    <a:lnTo>
                      <a:pt x="158" y="100"/>
                    </a:lnTo>
                    <a:lnTo>
                      <a:pt x="156" y="94"/>
                    </a:lnTo>
                    <a:lnTo>
                      <a:pt x="154" y="90"/>
                    </a:lnTo>
                    <a:lnTo>
                      <a:pt x="154" y="86"/>
                    </a:lnTo>
                    <a:lnTo>
                      <a:pt x="154" y="82"/>
                    </a:lnTo>
                    <a:lnTo>
                      <a:pt x="154" y="82"/>
                    </a:lnTo>
                    <a:lnTo>
                      <a:pt x="154" y="76"/>
                    </a:lnTo>
                    <a:lnTo>
                      <a:pt x="154" y="74"/>
                    </a:lnTo>
                    <a:lnTo>
                      <a:pt x="152" y="72"/>
                    </a:lnTo>
                    <a:lnTo>
                      <a:pt x="152" y="70"/>
                    </a:lnTo>
                    <a:lnTo>
                      <a:pt x="150" y="66"/>
                    </a:lnTo>
                    <a:lnTo>
                      <a:pt x="150" y="64"/>
                    </a:lnTo>
                    <a:lnTo>
                      <a:pt x="148" y="62"/>
                    </a:lnTo>
                    <a:lnTo>
                      <a:pt x="148" y="62"/>
                    </a:lnTo>
                    <a:lnTo>
                      <a:pt x="146" y="62"/>
                    </a:lnTo>
                    <a:lnTo>
                      <a:pt x="144" y="60"/>
                    </a:lnTo>
                    <a:lnTo>
                      <a:pt x="142" y="60"/>
                    </a:lnTo>
                    <a:lnTo>
                      <a:pt x="140" y="60"/>
                    </a:lnTo>
                    <a:lnTo>
                      <a:pt x="134" y="58"/>
                    </a:lnTo>
                    <a:lnTo>
                      <a:pt x="130" y="58"/>
                    </a:lnTo>
                    <a:lnTo>
                      <a:pt x="130" y="58"/>
                    </a:lnTo>
                    <a:lnTo>
                      <a:pt x="124" y="58"/>
                    </a:lnTo>
                    <a:lnTo>
                      <a:pt x="122" y="56"/>
                    </a:lnTo>
                    <a:lnTo>
                      <a:pt x="120" y="56"/>
                    </a:lnTo>
                    <a:lnTo>
                      <a:pt x="120" y="56"/>
                    </a:lnTo>
                    <a:lnTo>
                      <a:pt x="118" y="54"/>
                    </a:lnTo>
                    <a:lnTo>
                      <a:pt x="116" y="52"/>
                    </a:lnTo>
                    <a:lnTo>
                      <a:pt x="116" y="50"/>
                    </a:lnTo>
                    <a:lnTo>
                      <a:pt x="114" y="50"/>
                    </a:lnTo>
                    <a:lnTo>
                      <a:pt x="114" y="50"/>
                    </a:lnTo>
                    <a:lnTo>
                      <a:pt x="110" y="48"/>
                    </a:lnTo>
                    <a:lnTo>
                      <a:pt x="108" y="48"/>
                    </a:lnTo>
                    <a:lnTo>
                      <a:pt x="106" y="48"/>
                    </a:lnTo>
                    <a:lnTo>
                      <a:pt x="104" y="48"/>
                    </a:lnTo>
                    <a:lnTo>
                      <a:pt x="104" y="48"/>
                    </a:lnTo>
                    <a:lnTo>
                      <a:pt x="102" y="46"/>
                    </a:lnTo>
                    <a:lnTo>
                      <a:pt x="100" y="46"/>
                    </a:lnTo>
                    <a:lnTo>
                      <a:pt x="96" y="44"/>
                    </a:lnTo>
                    <a:lnTo>
                      <a:pt x="96" y="44"/>
                    </a:lnTo>
                    <a:lnTo>
                      <a:pt x="94" y="42"/>
                    </a:lnTo>
                    <a:lnTo>
                      <a:pt x="92" y="42"/>
                    </a:lnTo>
                    <a:lnTo>
                      <a:pt x="88" y="42"/>
                    </a:lnTo>
                    <a:lnTo>
                      <a:pt x="86" y="42"/>
                    </a:lnTo>
                    <a:lnTo>
                      <a:pt x="84" y="42"/>
                    </a:lnTo>
                    <a:lnTo>
                      <a:pt x="82" y="40"/>
                    </a:lnTo>
                    <a:lnTo>
                      <a:pt x="80" y="38"/>
                    </a:lnTo>
                    <a:lnTo>
                      <a:pt x="80" y="38"/>
                    </a:lnTo>
                    <a:lnTo>
                      <a:pt x="78" y="34"/>
                    </a:lnTo>
                    <a:lnTo>
                      <a:pt x="74" y="30"/>
                    </a:lnTo>
                    <a:lnTo>
                      <a:pt x="72" y="26"/>
                    </a:lnTo>
                    <a:lnTo>
                      <a:pt x="70" y="22"/>
                    </a:lnTo>
                    <a:lnTo>
                      <a:pt x="70" y="20"/>
                    </a:lnTo>
                    <a:lnTo>
                      <a:pt x="70" y="20"/>
                    </a:lnTo>
                    <a:lnTo>
                      <a:pt x="70" y="18"/>
                    </a:lnTo>
                    <a:lnTo>
                      <a:pt x="70" y="16"/>
                    </a:lnTo>
                    <a:lnTo>
                      <a:pt x="70" y="10"/>
                    </a:lnTo>
                    <a:lnTo>
                      <a:pt x="70" y="10"/>
                    </a:lnTo>
                    <a:lnTo>
                      <a:pt x="70" y="8"/>
                    </a:lnTo>
                    <a:lnTo>
                      <a:pt x="68" y="6"/>
                    </a:lnTo>
                    <a:lnTo>
                      <a:pt x="66" y="4"/>
                    </a:lnTo>
                    <a:lnTo>
                      <a:pt x="66" y="4"/>
                    </a:lnTo>
                    <a:lnTo>
                      <a:pt x="64" y="2"/>
                    </a:lnTo>
                    <a:lnTo>
                      <a:pt x="62" y="2"/>
                    </a:lnTo>
                    <a:lnTo>
                      <a:pt x="60" y="0"/>
                    </a:lnTo>
                    <a:lnTo>
                      <a:pt x="58" y="0"/>
                    </a:lnTo>
                    <a:lnTo>
                      <a:pt x="56" y="2"/>
                    </a:lnTo>
                    <a:lnTo>
                      <a:pt x="54" y="2"/>
                    </a:lnTo>
                    <a:lnTo>
                      <a:pt x="48" y="4"/>
                    </a:lnTo>
                    <a:lnTo>
                      <a:pt x="44" y="6"/>
                    </a:lnTo>
                    <a:lnTo>
                      <a:pt x="40" y="10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26" y="16"/>
                    </a:lnTo>
                    <a:lnTo>
                      <a:pt x="24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0" y="18"/>
                    </a:lnTo>
                    <a:lnTo>
                      <a:pt x="18" y="18"/>
                    </a:lnTo>
                    <a:lnTo>
                      <a:pt x="14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8" y="18"/>
                    </a:lnTo>
                    <a:lnTo>
                      <a:pt x="6" y="18"/>
                    </a:lnTo>
                    <a:lnTo>
                      <a:pt x="2" y="20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4"/>
                    </a:lnTo>
                    <a:lnTo>
                      <a:pt x="4" y="26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10" y="34"/>
                    </a:lnTo>
                    <a:lnTo>
                      <a:pt x="12" y="38"/>
                    </a:lnTo>
                    <a:lnTo>
                      <a:pt x="14" y="40"/>
                    </a:lnTo>
                    <a:lnTo>
                      <a:pt x="16" y="42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8"/>
                    </a:lnTo>
                    <a:lnTo>
                      <a:pt x="16" y="50"/>
                    </a:lnTo>
                    <a:lnTo>
                      <a:pt x="16" y="52"/>
                    </a:lnTo>
                    <a:lnTo>
                      <a:pt x="14" y="54"/>
                    </a:lnTo>
                    <a:lnTo>
                      <a:pt x="12" y="58"/>
                    </a:lnTo>
                    <a:lnTo>
                      <a:pt x="12" y="62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6"/>
                    </a:lnTo>
                    <a:lnTo>
                      <a:pt x="14" y="68"/>
                    </a:lnTo>
                    <a:lnTo>
                      <a:pt x="14" y="70"/>
                    </a:lnTo>
                    <a:lnTo>
                      <a:pt x="16" y="74"/>
                    </a:lnTo>
                    <a:lnTo>
                      <a:pt x="16" y="74"/>
                    </a:lnTo>
                    <a:lnTo>
                      <a:pt x="16" y="76"/>
                    </a:lnTo>
                    <a:lnTo>
                      <a:pt x="14" y="78"/>
                    </a:lnTo>
                    <a:lnTo>
                      <a:pt x="14" y="82"/>
                    </a:lnTo>
                    <a:lnTo>
                      <a:pt x="14" y="82"/>
                    </a:lnTo>
                    <a:lnTo>
                      <a:pt x="12" y="86"/>
                    </a:lnTo>
                    <a:lnTo>
                      <a:pt x="12" y="88"/>
                    </a:lnTo>
                    <a:lnTo>
                      <a:pt x="12" y="90"/>
                    </a:lnTo>
                    <a:lnTo>
                      <a:pt x="14" y="92"/>
                    </a:lnTo>
                    <a:lnTo>
                      <a:pt x="16" y="96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8" y="104"/>
                    </a:lnTo>
                    <a:lnTo>
                      <a:pt x="18" y="108"/>
                    </a:lnTo>
                    <a:lnTo>
                      <a:pt x="20" y="114"/>
                    </a:lnTo>
                    <a:lnTo>
                      <a:pt x="18" y="120"/>
                    </a:lnTo>
                    <a:lnTo>
                      <a:pt x="18" y="120"/>
                    </a:lnTo>
                    <a:lnTo>
                      <a:pt x="18" y="124"/>
                    </a:lnTo>
                    <a:lnTo>
                      <a:pt x="16" y="128"/>
                    </a:lnTo>
                    <a:lnTo>
                      <a:pt x="14" y="132"/>
                    </a:lnTo>
                    <a:lnTo>
                      <a:pt x="12" y="136"/>
                    </a:lnTo>
                    <a:lnTo>
                      <a:pt x="12" y="136"/>
                    </a:lnTo>
                    <a:lnTo>
                      <a:pt x="16" y="140"/>
                    </a:lnTo>
                    <a:lnTo>
                      <a:pt x="18" y="142"/>
                    </a:lnTo>
                    <a:lnTo>
                      <a:pt x="18" y="144"/>
                    </a:lnTo>
                    <a:lnTo>
                      <a:pt x="18" y="144"/>
                    </a:lnTo>
                    <a:lnTo>
                      <a:pt x="18" y="144"/>
                    </a:lnTo>
                    <a:lnTo>
                      <a:pt x="20" y="148"/>
                    </a:lnTo>
                    <a:lnTo>
                      <a:pt x="20" y="150"/>
                    </a:lnTo>
                    <a:lnTo>
                      <a:pt x="20" y="152"/>
                    </a:lnTo>
                    <a:lnTo>
                      <a:pt x="20" y="154"/>
                    </a:lnTo>
                    <a:lnTo>
                      <a:pt x="20" y="154"/>
                    </a:lnTo>
                    <a:lnTo>
                      <a:pt x="20" y="156"/>
                    </a:lnTo>
                    <a:lnTo>
                      <a:pt x="20" y="158"/>
                    </a:lnTo>
                    <a:lnTo>
                      <a:pt x="24" y="160"/>
                    </a:lnTo>
                    <a:lnTo>
                      <a:pt x="24" y="160"/>
                    </a:lnTo>
                    <a:lnTo>
                      <a:pt x="26" y="162"/>
                    </a:lnTo>
                    <a:lnTo>
                      <a:pt x="28" y="164"/>
                    </a:lnTo>
                    <a:lnTo>
                      <a:pt x="28" y="166"/>
                    </a:lnTo>
                    <a:lnTo>
                      <a:pt x="28" y="168"/>
                    </a:lnTo>
                    <a:lnTo>
                      <a:pt x="26" y="172"/>
                    </a:lnTo>
                    <a:lnTo>
                      <a:pt x="26" y="174"/>
                    </a:lnTo>
                    <a:lnTo>
                      <a:pt x="26" y="176"/>
                    </a:lnTo>
                    <a:lnTo>
                      <a:pt x="26" y="176"/>
                    </a:lnTo>
                    <a:lnTo>
                      <a:pt x="26" y="178"/>
                    </a:lnTo>
                    <a:lnTo>
                      <a:pt x="26" y="180"/>
                    </a:lnTo>
                    <a:lnTo>
                      <a:pt x="28" y="184"/>
                    </a:lnTo>
                    <a:lnTo>
                      <a:pt x="28" y="184"/>
                    </a:lnTo>
                    <a:lnTo>
                      <a:pt x="30" y="190"/>
                    </a:lnTo>
                    <a:lnTo>
                      <a:pt x="32" y="194"/>
                    </a:lnTo>
                    <a:lnTo>
                      <a:pt x="32" y="194"/>
                    </a:lnTo>
                    <a:lnTo>
                      <a:pt x="32" y="198"/>
                    </a:lnTo>
                    <a:lnTo>
                      <a:pt x="34" y="200"/>
                    </a:lnTo>
                    <a:lnTo>
                      <a:pt x="36" y="202"/>
                    </a:lnTo>
                    <a:lnTo>
                      <a:pt x="40" y="206"/>
                    </a:lnTo>
                    <a:lnTo>
                      <a:pt x="42" y="210"/>
                    </a:lnTo>
                    <a:lnTo>
                      <a:pt x="42" y="210"/>
                    </a:lnTo>
                    <a:lnTo>
                      <a:pt x="44" y="214"/>
                    </a:lnTo>
                    <a:lnTo>
                      <a:pt x="46" y="220"/>
                    </a:lnTo>
                    <a:lnTo>
                      <a:pt x="46" y="222"/>
                    </a:lnTo>
                    <a:lnTo>
                      <a:pt x="46" y="224"/>
                    </a:lnTo>
                    <a:lnTo>
                      <a:pt x="48" y="226"/>
                    </a:lnTo>
                    <a:lnTo>
                      <a:pt x="50" y="226"/>
                    </a:lnTo>
                    <a:lnTo>
                      <a:pt x="50" y="226"/>
                    </a:lnTo>
                    <a:lnTo>
                      <a:pt x="52" y="228"/>
                    </a:lnTo>
                    <a:lnTo>
                      <a:pt x="54" y="230"/>
                    </a:lnTo>
                    <a:lnTo>
                      <a:pt x="58" y="230"/>
                    </a:lnTo>
                    <a:lnTo>
                      <a:pt x="60" y="230"/>
                    </a:lnTo>
                    <a:lnTo>
                      <a:pt x="60" y="230"/>
                    </a:lnTo>
                    <a:lnTo>
                      <a:pt x="62" y="226"/>
                    </a:lnTo>
                    <a:lnTo>
                      <a:pt x="62" y="226"/>
                    </a:lnTo>
                    <a:lnTo>
                      <a:pt x="64" y="224"/>
                    </a:lnTo>
                    <a:lnTo>
                      <a:pt x="66" y="224"/>
                    </a:lnTo>
                    <a:lnTo>
                      <a:pt x="70" y="220"/>
                    </a:lnTo>
                    <a:lnTo>
                      <a:pt x="70" y="220"/>
                    </a:lnTo>
                    <a:lnTo>
                      <a:pt x="70" y="220"/>
                    </a:lnTo>
                    <a:lnTo>
                      <a:pt x="70" y="220"/>
                    </a:lnTo>
                    <a:lnTo>
                      <a:pt x="70" y="22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60" name="Freeform 280"/>
              <p:cNvSpPr>
                <a:spLocks/>
              </p:cNvSpPr>
              <p:nvPr/>
            </p:nvSpPr>
            <p:spPr bwMode="auto">
              <a:xfrm>
                <a:off x="1539" y="2746"/>
                <a:ext cx="620" cy="644"/>
              </a:xfrm>
              <a:custGeom>
                <a:avLst/>
                <a:gdLst>
                  <a:gd name="T0" fmla="*/ 572 w 620"/>
                  <a:gd name="T1" fmla="*/ 162 h 644"/>
                  <a:gd name="T2" fmla="*/ 504 w 620"/>
                  <a:gd name="T3" fmla="*/ 138 h 644"/>
                  <a:gd name="T4" fmla="*/ 474 w 620"/>
                  <a:gd name="T5" fmla="*/ 136 h 644"/>
                  <a:gd name="T6" fmla="*/ 460 w 620"/>
                  <a:gd name="T7" fmla="*/ 118 h 644"/>
                  <a:gd name="T8" fmla="*/ 424 w 620"/>
                  <a:gd name="T9" fmla="*/ 104 h 644"/>
                  <a:gd name="T10" fmla="*/ 390 w 620"/>
                  <a:gd name="T11" fmla="*/ 124 h 644"/>
                  <a:gd name="T12" fmla="*/ 402 w 620"/>
                  <a:gd name="T13" fmla="*/ 98 h 644"/>
                  <a:gd name="T14" fmla="*/ 362 w 620"/>
                  <a:gd name="T15" fmla="*/ 100 h 644"/>
                  <a:gd name="T16" fmla="*/ 340 w 620"/>
                  <a:gd name="T17" fmla="*/ 112 h 644"/>
                  <a:gd name="T18" fmla="*/ 368 w 620"/>
                  <a:gd name="T19" fmla="*/ 84 h 644"/>
                  <a:gd name="T20" fmla="*/ 380 w 620"/>
                  <a:gd name="T21" fmla="*/ 64 h 644"/>
                  <a:gd name="T22" fmla="*/ 364 w 620"/>
                  <a:gd name="T23" fmla="*/ 26 h 644"/>
                  <a:gd name="T24" fmla="*/ 340 w 620"/>
                  <a:gd name="T25" fmla="*/ 36 h 644"/>
                  <a:gd name="T26" fmla="*/ 308 w 620"/>
                  <a:gd name="T27" fmla="*/ 50 h 644"/>
                  <a:gd name="T28" fmla="*/ 282 w 620"/>
                  <a:gd name="T29" fmla="*/ 54 h 644"/>
                  <a:gd name="T30" fmla="*/ 246 w 620"/>
                  <a:gd name="T31" fmla="*/ 70 h 644"/>
                  <a:gd name="T32" fmla="*/ 218 w 620"/>
                  <a:gd name="T33" fmla="*/ 36 h 644"/>
                  <a:gd name="T34" fmla="*/ 218 w 620"/>
                  <a:gd name="T35" fmla="*/ 6 h 644"/>
                  <a:gd name="T36" fmla="*/ 196 w 620"/>
                  <a:gd name="T37" fmla="*/ 16 h 644"/>
                  <a:gd name="T38" fmla="*/ 158 w 620"/>
                  <a:gd name="T39" fmla="*/ 14 h 644"/>
                  <a:gd name="T40" fmla="*/ 156 w 620"/>
                  <a:gd name="T41" fmla="*/ 28 h 644"/>
                  <a:gd name="T42" fmla="*/ 166 w 620"/>
                  <a:gd name="T43" fmla="*/ 50 h 644"/>
                  <a:gd name="T44" fmla="*/ 130 w 620"/>
                  <a:gd name="T45" fmla="*/ 80 h 644"/>
                  <a:gd name="T46" fmla="*/ 104 w 620"/>
                  <a:gd name="T47" fmla="*/ 68 h 644"/>
                  <a:gd name="T48" fmla="*/ 74 w 620"/>
                  <a:gd name="T49" fmla="*/ 58 h 644"/>
                  <a:gd name="T50" fmla="*/ 60 w 620"/>
                  <a:gd name="T51" fmla="*/ 86 h 644"/>
                  <a:gd name="T52" fmla="*/ 64 w 620"/>
                  <a:gd name="T53" fmla="*/ 144 h 644"/>
                  <a:gd name="T54" fmla="*/ 52 w 620"/>
                  <a:gd name="T55" fmla="*/ 154 h 644"/>
                  <a:gd name="T56" fmla="*/ 8 w 620"/>
                  <a:gd name="T57" fmla="*/ 178 h 644"/>
                  <a:gd name="T58" fmla="*/ 0 w 620"/>
                  <a:gd name="T59" fmla="*/ 220 h 644"/>
                  <a:gd name="T60" fmla="*/ 24 w 620"/>
                  <a:gd name="T61" fmla="*/ 258 h 644"/>
                  <a:gd name="T62" fmla="*/ 54 w 620"/>
                  <a:gd name="T63" fmla="*/ 266 h 644"/>
                  <a:gd name="T64" fmla="*/ 86 w 620"/>
                  <a:gd name="T65" fmla="*/ 276 h 644"/>
                  <a:gd name="T66" fmla="*/ 138 w 620"/>
                  <a:gd name="T67" fmla="*/ 268 h 644"/>
                  <a:gd name="T68" fmla="*/ 170 w 620"/>
                  <a:gd name="T69" fmla="*/ 304 h 644"/>
                  <a:gd name="T70" fmla="*/ 214 w 620"/>
                  <a:gd name="T71" fmla="*/ 320 h 644"/>
                  <a:gd name="T72" fmla="*/ 244 w 620"/>
                  <a:gd name="T73" fmla="*/ 360 h 644"/>
                  <a:gd name="T74" fmla="*/ 256 w 620"/>
                  <a:gd name="T75" fmla="*/ 380 h 644"/>
                  <a:gd name="T76" fmla="*/ 266 w 620"/>
                  <a:gd name="T77" fmla="*/ 414 h 644"/>
                  <a:gd name="T78" fmla="*/ 272 w 620"/>
                  <a:gd name="T79" fmla="*/ 462 h 644"/>
                  <a:gd name="T80" fmla="*/ 318 w 620"/>
                  <a:gd name="T81" fmla="*/ 488 h 644"/>
                  <a:gd name="T82" fmla="*/ 344 w 620"/>
                  <a:gd name="T83" fmla="*/ 534 h 644"/>
                  <a:gd name="T84" fmla="*/ 324 w 620"/>
                  <a:gd name="T85" fmla="*/ 566 h 644"/>
                  <a:gd name="T86" fmla="*/ 304 w 620"/>
                  <a:gd name="T87" fmla="*/ 600 h 644"/>
                  <a:gd name="T88" fmla="*/ 330 w 620"/>
                  <a:gd name="T89" fmla="*/ 618 h 644"/>
                  <a:gd name="T90" fmla="*/ 366 w 620"/>
                  <a:gd name="T91" fmla="*/ 640 h 644"/>
                  <a:gd name="T92" fmla="*/ 390 w 620"/>
                  <a:gd name="T93" fmla="*/ 624 h 644"/>
                  <a:gd name="T94" fmla="*/ 402 w 620"/>
                  <a:gd name="T95" fmla="*/ 606 h 644"/>
                  <a:gd name="T96" fmla="*/ 392 w 620"/>
                  <a:gd name="T97" fmla="*/ 630 h 644"/>
                  <a:gd name="T98" fmla="*/ 408 w 620"/>
                  <a:gd name="T99" fmla="*/ 606 h 644"/>
                  <a:gd name="T100" fmla="*/ 426 w 620"/>
                  <a:gd name="T101" fmla="*/ 562 h 644"/>
                  <a:gd name="T102" fmla="*/ 424 w 620"/>
                  <a:gd name="T103" fmla="*/ 532 h 644"/>
                  <a:gd name="T104" fmla="*/ 450 w 620"/>
                  <a:gd name="T105" fmla="*/ 498 h 644"/>
                  <a:gd name="T106" fmla="*/ 490 w 620"/>
                  <a:gd name="T107" fmla="*/ 474 h 644"/>
                  <a:gd name="T108" fmla="*/ 528 w 620"/>
                  <a:gd name="T109" fmla="*/ 464 h 644"/>
                  <a:gd name="T110" fmla="*/ 534 w 620"/>
                  <a:gd name="T111" fmla="*/ 442 h 644"/>
                  <a:gd name="T112" fmla="*/ 550 w 620"/>
                  <a:gd name="T113" fmla="*/ 410 h 644"/>
                  <a:gd name="T114" fmla="*/ 558 w 620"/>
                  <a:gd name="T115" fmla="*/ 358 h 644"/>
                  <a:gd name="T116" fmla="*/ 552 w 620"/>
                  <a:gd name="T117" fmla="*/ 304 h 644"/>
                  <a:gd name="T118" fmla="*/ 572 w 620"/>
                  <a:gd name="T119" fmla="*/ 288 h 644"/>
                  <a:gd name="T120" fmla="*/ 616 w 620"/>
                  <a:gd name="T121" fmla="*/ 244 h 644"/>
                  <a:gd name="T122" fmla="*/ 618 w 620"/>
                  <a:gd name="T123" fmla="*/ 176 h 6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20" h="644">
                    <a:moveTo>
                      <a:pt x="618" y="176"/>
                    </a:moveTo>
                    <a:lnTo>
                      <a:pt x="618" y="176"/>
                    </a:lnTo>
                    <a:lnTo>
                      <a:pt x="618" y="176"/>
                    </a:lnTo>
                    <a:lnTo>
                      <a:pt x="616" y="174"/>
                    </a:lnTo>
                    <a:lnTo>
                      <a:pt x="614" y="172"/>
                    </a:lnTo>
                    <a:lnTo>
                      <a:pt x="610" y="172"/>
                    </a:lnTo>
                    <a:lnTo>
                      <a:pt x="608" y="170"/>
                    </a:lnTo>
                    <a:lnTo>
                      <a:pt x="608" y="170"/>
                    </a:lnTo>
                    <a:lnTo>
                      <a:pt x="606" y="170"/>
                    </a:lnTo>
                    <a:lnTo>
                      <a:pt x="604" y="170"/>
                    </a:lnTo>
                    <a:lnTo>
                      <a:pt x="602" y="170"/>
                    </a:lnTo>
                    <a:lnTo>
                      <a:pt x="602" y="170"/>
                    </a:lnTo>
                    <a:lnTo>
                      <a:pt x="598" y="170"/>
                    </a:lnTo>
                    <a:lnTo>
                      <a:pt x="596" y="170"/>
                    </a:lnTo>
                    <a:lnTo>
                      <a:pt x="592" y="170"/>
                    </a:lnTo>
                    <a:lnTo>
                      <a:pt x="592" y="170"/>
                    </a:lnTo>
                    <a:lnTo>
                      <a:pt x="588" y="170"/>
                    </a:lnTo>
                    <a:lnTo>
                      <a:pt x="582" y="170"/>
                    </a:lnTo>
                    <a:lnTo>
                      <a:pt x="580" y="168"/>
                    </a:lnTo>
                    <a:lnTo>
                      <a:pt x="576" y="166"/>
                    </a:lnTo>
                    <a:lnTo>
                      <a:pt x="572" y="162"/>
                    </a:lnTo>
                    <a:lnTo>
                      <a:pt x="568" y="156"/>
                    </a:lnTo>
                    <a:lnTo>
                      <a:pt x="568" y="156"/>
                    </a:lnTo>
                    <a:lnTo>
                      <a:pt x="562" y="152"/>
                    </a:lnTo>
                    <a:lnTo>
                      <a:pt x="558" y="150"/>
                    </a:lnTo>
                    <a:lnTo>
                      <a:pt x="546" y="144"/>
                    </a:lnTo>
                    <a:lnTo>
                      <a:pt x="546" y="144"/>
                    </a:lnTo>
                    <a:lnTo>
                      <a:pt x="546" y="142"/>
                    </a:lnTo>
                    <a:lnTo>
                      <a:pt x="542" y="140"/>
                    </a:lnTo>
                    <a:lnTo>
                      <a:pt x="536" y="138"/>
                    </a:lnTo>
                    <a:lnTo>
                      <a:pt x="532" y="138"/>
                    </a:lnTo>
                    <a:lnTo>
                      <a:pt x="526" y="136"/>
                    </a:lnTo>
                    <a:lnTo>
                      <a:pt x="526" y="136"/>
                    </a:lnTo>
                    <a:lnTo>
                      <a:pt x="520" y="134"/>
                    </a:lnTo>
                    <a:lnTo>
                      <a:pt x="518" y="134"/>
                    </a:lnTo>
                    <a:lnTo>
                      <a:pt x="516" y="134"/>
                    </a:lnTo>
                    <a:lnTo>
                      <a:pt x="516" y="134"/>
                    </a:lnTo>
                    <a:lnTo>
                      <a:pt x="512" y="134"/>
                    </a:lnTo>
                    <a:lnTo>
                      <a:pt x="510" y="136"/>
                    </a:lnTo>
                    <a:lnTo>
                      <a:pt x="508" y="138"/>
                    </a:lnTo>
                    <a:lnTo>
                      <a:pt x="504" y="138"/>
                    </a:lnTo>
                    <a:lnTo>
                      <a:pt x="504" y="138"/>
                    </a:lnTo>
                    <a:lnTo>
                      <a:pt x="504" y="140"/>
                    </a:lnTo>
                    <a:lnTo>
                      <a:pt x="502" y="140"/>
                    </a:lnTo>
                    <a:lnTo>
                      <a:pt x="502" y="138"/>
                    </a:lnTo>
                    <a:lnTo>
                      <a:pt x="500" y="138"/>
                    </a:lnTo>
                    <a:lnTo>
                      <a:pt x="500" y="138"/>
                    </a:lnTo>
                    <a:lnTo>
                      <a:pt x="498" y="136"/>
                    </a:lnTo>
                    <a:lnTo>
                      <a:pt x="496" y="134"/>
                    </a:lnTo>
                    <a:lnTo>
                      <a:pt x="496" y="134"/>
                    </a:lnTo>
                    <a:lnTo>
                      <a:pt x="494" y="134"/>
                    </a:lnTo>
                    <a:lnTo>
                      <a:pt x="492" y="134"/>
                    </a:lnTo>
                    <a:lnTo>
                      <a:pt x="488" y="132"/>
                    </a:lnTo>
                    <a:lnTo>
                      <a:pt x="488" y="132"/>
                    </a:lnTo>
                    <a:lnTo>
                      <a:pt x="484" y="132"/>
                    </a:lnTo>
                    <a:lnTo>
                      <a:pt x="482" y="132"/>
                    </a:lnTo>
                    <a:lnTo>
                      <a:pt x="478" y="132"/>
                    </a:lnTo>
                    <a:lnTo>
                      <a:pt x="476" y="134"/>
                    </a:lnTo>
                    <a:lnTo>
                      <a:pt x="476" y="134"/>
                    </a:lnTo>
                    <a:lnTo>
                      <a:pt x="474" y="134"/>
                    </a:lnTo>
                    <a:lnTo>
                      <a:pt x="474" y="136"/>
                    </a:lnTo>
                    <a:lnTo>
                      <a:pt x="474" y="136"/>
                    </a:lnTo>
                    <a:lnTo>
                      <a:pt x="474" y="136"/>
                    </a:lnTo>
                    <a:lnTo>
                      <a:pt x="472" y="134"/>
                    </a:lnTo>
                    <a:lnTo>
                      <a:pt x="472" y="134"/>
                    </a:lnTo>
                    <a:lnTo>
                      <a:pt x="472" y="134"/>
                    </a:lnTo>
                    <a:lnTo>
                      <a:pt x="470" y="132"/>
                    </a:lnTo>
                    <a:lnTo>
                      <a:pt x="470" y="134"/>
                    </a:lnTo>
                    <a:lnTo>
                      <a:pt x="470" y="134"/>
                    </a:lnTo>
                    <a:lnTo>
                      <a:pt x="468" y="134"/>
                    </a:lnTo>
                    <a:lnTo>
                      <a:pt x="466" y="134"/>
                    </a:lnTo>
                    <a:lnTo>
                      <a:pt x="466" y="134"/>
                    </a:lnTo>
                    <a:lnTo>
                      <a:pt x="466" y="134"/>
                    </a:lnTo>
                    <a:lnTo>
                      <a:pt x="464" y="132"/>
                    </a:lnTo>
                    <a:lnTo>
                      <a:pt x="464" y="132"/>
                    </a:lnTo>
                    <a:lnTo>
                      <a:pt x="464" y="130"/>
                    </a:lnTo>
                    <a:lnTo>
                      <a:pt x="464" y="130"/>
                    </a:lnTo>
                    <a:lnTo>
                      <a:pt x="464" y="126"/>
                    </a:lnTo>
                    <a:lnTo>
                      <a:pt x="464" y="126"/>
                    </a:lnTo>
                    <a:lnTo>
                      <a:pt x="464" y="126"/>
                    </a:lnTo>
                    <a:lnTo>
                      <a:pt x="464" y="124"/>
                    </a:lnTo>
                    <a:lnTo>
                      <a:pt x="462" y="120"/>
                    </a:lnTo>
                    <a:lnTo>
                      <a:pt x="462" y="120"/>
                    </a:lnTo>
                    <a:lnTo>
                      <a:pt x="460" y="118"/>
                    </a:lnTo>
                    <a:lnTo>
                      <a:pt x="458" y="118"/>
                    </a:lnTo>
                    <a:lnTo>
                      <a:pt x="456" y="116"/>
                    </a:lnTo>
                    <a:lnTo>
                      <a:pt x="454" y="116"/>
                    </a:lnTo>
                    <a:lnTo>
                      <a:pt x="450" y="114"/>
                    </a:lnTo>
                    <a:lnTo>
                      <a:pt x="446" y="112"/>
                    </a:lnTo>
                    <a:lnTo>
                      <a:pt x="446" y="112"/>
                    </a:lnTo>
                    <a:lnTo>
                      <a:pt x="444" y="110"/>
                    </a:lnTo>
                    <a:lnTo>
                      <a:pt x="444" y="110"/>
                    </a:lnTo>
                    <a:lnTo>
                      <a:pt x="440" y="110"/>
                    </a:lnTo>
                    <a:lnTo>
                      <a:pt x="440" y="110"/>
                    </a:lnTo>
                    <a:lnTo>
                      <a:pt x="438" y="110"/>
                    </a:lnTo>
                    <a:lnTo>
                      <a:pt x="438" y="110"/>
                    </a:lnTo>
                    <a:lnTo>
                      <a:pt x="434" y="108"/>
                    </a:lnTo>
                    <a:lnTo>
                      <a:pt x="434" y="108"/>
                    </a:lnTo>
                    <a:lnTo>
                      <a:pt x="432" y="106"/>
                    </a:lnTo>
                    <a:lnTo>
                      <a:pt x="430" y="104"/>
                    </a:lnTo>
                    <a:lnTo>
                      <a:pt x="428" y="104"/>
                    </a:lnTo>
                    <a:lnTo>
                      <a:pt x="426" y="104"/>
                    </a:lnTo>
                    <a:lnTo>
                      <a:pt x="426" y="104"/>
                    </a:lnTo>
                    <a:lnTo>
                      <a:pt x="426" y="104"/>
                    </a:lnTo>
                    <a:lnTo>
                      <a:pt x="424" y="104"/>
                    </a:lnTo>
                    <a:lnTo>
                      <a:pt x="422" y="104"/>
                    </a:lnTo>
                    <a:lnTo>
                      <a:pt x="420" y="102"/>
                    </a:lnTo>
                    <a:lnTo>
                      <a:pt x="420" y="102"/>
                    </a:lnTo>
                    <a:lnTo>
                      <a:pt x="418" y="102"/>
                    </a:lnTo>
                    <a:lnTo>
                      <a:pt x="416" y="102"/>
                    </a:lnTo>
                    <a:lnTo>
                      <a:pt x="414" y="102"/>
                    </a:lnTo>
                    <a:lnTo>
                      <a:pt x="414" y="102"/>
                    </a:lnTo>
                    <a:lnTo>
                      <a:pt x="410" y="104"/>
                    </a:lnTo>
                    <a:lnTo>
                      <a:pt x="408" y="104"/>
                    </a:lnTo>
                    <a:lnTo>
                      <a:pt x="406" y="106"/>
                    </a:lnTo>
                    <a:lnTo>
                      <a:pt x="404" y="108"/>
                    </a:lnTo>
                    <a:lnTo>
                      <a:pt x="402" y="110"/>
                    </a:lnTo>
                    <a:lnTo>
                      <a:pt x="400" y="112"/>
                    </a:lnTo>
                    <a:lnTo>
                      <a:pt x="398" y="114"/>
                    </a:lnTo>
                    <a:lnTo>
                      <a:pt x="398" y="116"/>
                    </a:lnTo>
                    <a:lnTo>
                      <a:pt x="398" y="116"/>
                    </a:lnTo>
                    <a:lnTo>
                      <a:pt x="396" y="118"/>
                    </a:lnTo>
                    <a:lnTo>
                      <a:pt x="394" y="120"/>
                    </a:lnTo>
                    <a:lnTo>
                      <a:pt x="392" y="122"/>
                    </a:lnTo>
                    <a:lnTo>
                      <a:pt x="390" y="124"/>
                    </a:lnTo>
                    <a:lnTo>
                      <a:pt x="390" y="124"/>
                    </a:lnTo>
                    <a:lnTo>
                      <a:pt x="390" y="124"/>
                    </a:lnTo>
                    <a:lnTo>
                      <a:pt x="388" y="124"/>
                    </a:lnTo>
                    <a:lnTo>
                      <a:pt x="388" y="122"/>
                    </a:lnTo>
                    <a:lnTo>
                      <a:pt x="388" y="122"/>
                    </a:lnTo>
                    <a:lnTo>
                      <a:pt x="388" y="120"/>
                    </a:lnTo>
                    <a:lnTo>
                      <a:pt x="388" y="118"/>
                    </a:lnTo>
                    <a:lnTo>
                      <a:pt x="388" y="118"/>
                    </a:lnTo>
                    <a:lnTo>
                      <a:pt x="388" y="118"/>
                    </a:lnTo>
                    <a:lnTo>
                      <a:pt x="390" y="116"/>
                    </a:lnTo>
                    <a:lnTo>
                      <a:pt x="392" y="116"/>
                    </a:lnTo>
                    <a:lnTo>
                      <a:pt x="392" y="116"/>
                    </a:lnTo>
                    <a:lnTo>
                      <a:pt x="394" y="114"/>
                    </a:lnTo>
                    <a:lnTo>
                      <a:pt x="396" y="112"/>
                    </a:lnTo>
                    <a:lnTo>
                      <a:pt x="400" y="106"/>
                    </a:lnTo>
                    <a:lnTo>
                      <a:pt x="400" y="106"/>
                    </a:lnTo>
                    <a:lnTo>
                      <a:pt x="402" y="104"/>
                    </a:lnTo>
                    <a:lnTo>
                      <a:pt x="402" y="102"/>
                    </a:lnTo>
                    <a:lnTo>
                      <a:pt x="402" y="102"/>
                    </a:lnTo>
                    <a:lnTo>
                      <a:pt x="404" y="100"/>
                    </a:lnTo>
                    <a:lnTo>
                      <a:pt x="402" y="100"/>
                    </a:lnTo>
                    <a:lnTo>
                      <a:pt x="402" y="98"/>
                    </a:lnTo>
                    <a:lnTo>
                      <a:pt x="402" y="98"/>
                    </a:lnTo>
                    <a:lnTo>
                      <a:pt x="402" y="96"/>
                    </a:lnTo>
                    <a:lnTo>
                      <a:pt x="400" y="94"/>
                    </a:lnTo>
                    <a:lnTo>
                      <a:pt x="398" y="92"/>
                    </a:lnTo>
                    <a:lnTo>
                      <a:pt x="396" y="92"/>
                    </a:lnTo>
                    <a:lnTo>
                      <a:pt x="396" y="92"/>
                    </a:lnTo>
                    <a:lnTo>
                      <a:pt x="388" y="92"/>
                    </a:lnTo>
                    <a:lnTo>
                      <a:pt x="380" y="90"/>
                    </a:lnTo>
                    <a:lnTo>
                      <a:pt x="380" y="90"/>
                    </a:lnTo>
                    <a:lnTo>
                      <a:pt x="378" y="90"/>
                    </a:lnTo>
                    <a:lnTo>
                      <a:pt x="376" y="90"/>
                    </a:lnTo>
                    <a:lnTo>
                      <a:pt x="372" y="92"/>
                    </a:lnTo>
                    <a:lnTo>
                      <a:pt x="370" y="92"/>
                    </a:lnTo>
                    <a:lnTo>
                      <a:pt x="370" y="92"/>
                    </a:lnTo>
                    <a:lnTo>
                      <a:pt x="368" y="94"/>
                    </a:lnTo>
                    <a:lnTo>
                      <a:pt x="366" y="96"/>
                    </a:lnTo>
                    <a:lnTo>
                      <a:pt x="366" y="98"/>
                    </a:lnTo>
                    <a:lnTo>
                      <a:pt x="366" y="98"/>
                    </a:lnTo>
                    <a:lnTo>
                      <a:pt x="364" y="98"/>
                    </a:lnTo>
                    <a:lnTo>
                      <a:pt x="364" y="100"/>
                    </a:lnTo>
                    <a:lnTo>
                      <a:pt x="362" y="100"/>
                    </a:lnTo>
                    <a:lnTo>
                      <a:pt x="362" y="100"/>
                    </a:lnTo>
                    <a:lnTo>
                      <a:pt x="360" y="100"/>
                    </a:lnTo>
                    <a:lnTo>
                      <a:pt x="358" y="102"/>
                    </a:lnTo>
                    <a:lnTo>
                      <a:pt x="358" y="102"/>
                    </a:lnTo>
                    <a:lnTo>
                      <a:pt x="358" y="102"/>
                    </a:lnTo>
                    <a:lnTo>
                      <a:pt x="356" y="104"/>
                    </a:lnTo>
                    <a:lnTo>
                      <a:pt x="356" y="106"/>
                    </a:lnTo>
                    <a:lnTo>
                      <a:pt x="354" y="106"/>
                    </a:lnTo>
                    <a:lnTo>
                      <a:pt x="354" y="106"/>
                    </a:lnTo>
                    <a:lnTo>
                      <a:pt x="352" y="108"/>
                    </a:lnTo>
                    <a:lnTo>
                      <a:pt x="350" y="110"/>
                    </a:lnTo>
                    <a:lnTo>
                      <a:pt x="350" y="110"/>
                    </a:lnTo>
                    <a:lnTo>
                      <a:pt x="348" y="110"/>
                    </a:lnTo>
                    <a:lnTo>
                      <a:pt x="348" y="110"/>
                    </a:lnTo>
                    <a:lnTo>
                      <a:pt x="344" y="112"/>
                    </a:lnTo>
                    <a:lnTo>
                      <a:pt x="342" y="112"/>
                    </a:lnTo>
                    <a:lnTo>
                      <a:pt x="342" y="112"/>
                    </a:lnTo>
                    <a:lnTo>
                      <a:pt x="342" y="114"/>
                    </a:lnTo>
                    <a:lnTo>
                      <a:pt x="340" y="114"/>
                    </a:lnTo>
                    <a:lnTo>
                      <a:pt x="340" y="112"/>
                    </a:lnTo>
                    <a:lnTo>
                      <a:pt x="340" y="112"/>
                    </a:lnTo>
                    <a:lnTo>
                      <a:pt x="340" y="112"/>
                    </a:lnTo>
                    <a:lnTo>
                      <a:pt x="340" y="110"/>
                    </a:lnTo>
                    <a:lnTo>
                      <a:pt x="340" y="110"/>
                    </a:lnTo>
                    <a:lnTo>
                      <a:pt x="342" y="108"/>
                    </a:lnTo>
                    <a:lnTo>
                      <a:pt x="348" y="106"/>
                    </a:lnTo>
                    <a:lnTo>
                      <a:pt x="348" y="106"/>
                    </a:lnTo>
                    <a:lnTo>
                      <a:pt x="350" y="104"/>
                    </a:lnTo>
                    <a:lnTo>
                      <a:pt x="352" y="102"/>
                    </a:lnTo>
                    <a:lnTo>
                      <a:pt x="354" y="100"/>
                    </a:lnTo>
                    <a:lnTo>
                      <a:pt x="356" y="100"/>
                    </a:lnTo>
                    <a:lnTo>
                      <a:pt x="358" y="98"/>
                    </a:lnTo>
                    <a:lnTo>
                      <a:pt x="358" y="98"/>
                    </a:lnTo>
                    <a:lnTo>
                      <a:pt x="358" y="96"/>
                    </a:lnTo>
                    <a:lnTo>
                      <a:pt x="360" y="94"/>
                    </a:lnTo>
                    <a:lnTo>
                      <a:pt x="360" y="90"/>
                    </a:lnTo>
                    <a:lnTo>
                      <a:pt x="362" y="88"/>
                    </a:lnTo>
                    <a:lnTo>
                      <a:pt x="362" y="88"/>
                    </a:lnTo>
                    <a:lnTo>
                      <a:pt x="364" y="86"/>
                    </a:lnTo>
                    <a:lnTo>
                      <a:pt x="364" y="86"/>
                    </a:lnTo>
                    <a:lnTo>
                      <a:pt x="366" y="86"/>
                    </a:lnTo>
                    <a:lnTo>
                      <a:pt x="368" y="84"/>
                    </a:lnTo>
                    <a:lnTo>
                      <a:pt x="368" y="84"/>
                    </a:lnTo>
                    <a:lnTo>
                      <a:pt x="370" y="84"/>
                    </a:lnTo>
                    <a:lnTo>
                      <a:pt x="370" y="82"/>
                    </a:lnTo>
                    <a:lnTo>
                      <a:pt x="372" y="78"/>
                    </a:lnTo>
                    <a:lnTo>
                      <a:pt x="372" y="78"/>
                    </a:lnTo>
                    <a:lnTo>
                      <a:pt x="372" y="76"/>
                    </a:lnTo>
                    <a:lnTo>
                      <a:pt x="372" y="76"/>
                    </a:lnTo>
                    <a:lnTo>
                      <a:pt x="374" y="74"/>
                    </a:lnTo>
                    <a:lnTo>
                      <a:pt x="374" y="74"/>
                    </a:lnTo>
                    <a:lnTo>
                      <a:pt x="374" y="74"/>
                    </a:lnTo>
                    <a:lnTo>
                      <a:pt x="374" y="74"/>
                    </a:lnTo>
                    <a:lnTo>
                      <a:pt x="376" y="74"/>
                    </a:lnTo>
                    <a:lnTo>
                      <a:pt x="376" y="74"/>
                    </a:lnTo>
                    <a:lnTo>
                      <a:pt x="378" y="74"/>
                    </a:lnTo>
                    <a:lnTo>
                      <a:pt x="378" y="74"/>
                    </a:lnTo>
                    <a:lnTo>
                      <a:pt x="378" y="74"/>
                    </a:lnTo>
                    <a:lnTo>
                      <a:pt x="378" y="74"/>
                    </a:lnTo>
                    <a:lnTo>
                      <a:pt x="378" y="74"/>
                    </a:lnTo>
                    <a:lnTo>
                      <a:pt x="378" y="70"/>
                    </a:lnTo>
                    <a:lnTo>
                      <a:pt x="380" y="64"/>
                    </a:lnTo>
                    <a:lnTo>
                      <a:pt x="380" y="64"/>
                    </a:lnTo>
                    <a:lnTo>
                      <a:pt x="380" y="62"/>
                    </a:lnTo>
                    <a:lnTo>
                      <a:pt x="380" y="60"/>
                    </a:lnTo>
                    <a:lnTo>
                      <a:pt x="378" y="58"/>
                    </a:lnTo>
                    <a:lnTo>
                      <a:pt x="378" y="54"/>
                    </a:lnTo>
                    <a:lnTo>
                      <a:pt x="376" y="52"/>
                    </a:lnTo>
                    <a:lnTo>
                      <a:pt x="376" y="52"/>
                    </a:lnTo>
                    <a:lnTo>
                      <a:pt x="374" y="50"/>
                    </a:lnTo>
                    <a:lnTo>
                      <a:pt x="370" y="48"/>
                    </a:lnTo>
                    <a:lnTo>
                      <a:pt x="368" y="46"/>
                    </a:lnTo>
                    <a:lnTo>
                      <a:pt x="366" y="44"/>
                    </a:lnTo>
                    <a:lnTo>
                      <a:pt x="366" y="44"/>
                    </a:lnTo>
                    <a:lnTo>
                      <a:pt x="366" y="42"/>
                    </a:lnTo>
                    <a:lnTo>
                      <a:pt x="364" y="38"/>
                    </a:lnTo>
                    <a:lnTo>
                      <a:pt x="364" y="36"/>
                    </a:lnTo>
                    <a:lnTo>
                      <a:pt x="364" y="32"/>
                    </a:lnTo>
                    <a:lnTo>
                      <a:pt x="364" y="32"/>
                    </a:lnTo>
                    <a:lnTo>
                      <a:pt x="366" y="30"/>
                    </a:lnTo>
                    <a:lnTo>
                      <a:pt x="366" y="30"/>
                    </a:lnTo>
                    <a:lnTo>
                      <a:pt x="366" y="28"/>
                    </a:lnTo>
                    <a:lnTo>
                      <a:pt x="366" y="28"/>
                    </a:lnTo>
                    <a:lnTo>
                      <a:pt x="364" y="26"/>
                    </a:lnTo>
                    <a:lnTo>
                      <a:pt x="362" y="24"/>
                    </a:lnTo>
                    <a:lnTo>
                      <a:pt x="362" y="24"/>
                    </a:lnTo>
                    <a:lnTo>
                      <a:pt x="362" y="22"/>
                    </a:lnTo>
                    <a:lnTo>
                      <a:pt x="360" y="20"/>
                    </a:lnTo>
                    <a:lnTo>
                      <a:pt x="358" y="18"/>
                    </a:lnTo>
                    <a:lnTo>
                      <a:pt x="356" y="16"/>
                    </a:lnTo>
                    <a:lnTo>
                      <a:pt x="356" y="16"/>
                    </a:lnTo>
                    <a:lnTo>
                      <a:pt x="354" y="14"/>
                    </a:lnTo>
                    <a:lnTo>
                      <a:pt x="354" y="14"/>
                    </a:lnTo>
                    <a:lnTo>
                      <a:pt x="354" y="16"/>
                    </a:lnTo>
                    <a:lnTo>
                      <a:pt x="354" y="16"/>
                    </a:lnTo>
                    <a:lnTo>
                      <a:pt x="352" y="18"/>
                    </a:lnTo>
                    <a:lnTo>
                      <a:pt x="350" y="18"/>
                    </a:lnTo>
                    <a:lnTo>
                      <a:pt x="344" y="22"/>
                    </a:lnTo>
                    <a:lnTo>
                      <a:pt x="342" y="24"/>
                    </a:lnTo>
                    <a:lnTo>
                      <a:pt x="340" y="26"/>
                    </a:lnTo>
                    <a:lnTo>
                      <a:pt x="340" y="30"/>
                    </a:lnTo>
                    <a:lnTo>
                      <a:pt x="340" y="30"/>
                    </a:lnTo>
                    <a:lnTo>
                      <a:pt x="340" y="30"/>
                    </a:lnTo>
                    <a:lnTo>
                      <a:pt x="340" y="32"/>
                    </a:lnTo>
                    <a:lnTo>
                      <a:pt x="340" y="36"/>
                    </a:lnTo>
                    <a:lnTo>
                      <a:pt x="340" y="40"/>
                    </a:lnTo>
                    <a:lnTo>
                      <a:pt x="340" y="42"/>
                    </a:lnTo>
                    <a:lnTo>
                      <a:pt x="340" y="46"/>
                    </a:lnTo>
                    <a:lnTo>
                      <a:pt x="338" y="48"/>
                    </a:lnTo>
                    <a:lnTo>
                      <a:pt x="336" y="50"/>
                    </a:lnTo>
                    <a:lnTo>
                      <a:pt x="336" y="50"/>
                    </a:lnTo>
                    <a:lnTo>
                      <a:pt x="334" y="50"/>
                    </a:lnTo>
                    <a:lnTo>
                      <a:pt x="332" y="52"/>
                    </a:lnTo>
                    <a:lnTo>
                      <a:pt x="330" y="52"/>
                    </a:lnTo>
                    <a:lnTo>
                      <a:pt x="328" y="54"/>
                    </a:lnTo>
                    <a:lnTo>
                      <a:pt x="328" y="54"/>
                    </a:lnTo>
                    <a:lnTo>
                      <a:pt x="326" y="52"/>
                    </a:lnTo>
                    <a:lnTo>
                      <a:pt x="324" y="52"/>
                    </a:lnTo>
                    <a:lnTo>
                      <a:pt x="320" y="52"/>
                    </a:lnTo>
                    <a:lnTo>
                      <a:pt x="318" y="50"/>
                    </a:lnTo>
                    <a:lnTo>
                      <a:pt x="318" y="50"/>
                    </a:lnTo>
                    <a:lnTo>
                      <a:pt x="316" y="50"/>
                    </a:lnTo>
                    <a:lnTo>
                      <a:pt x="314" y="52"/>
                    </a:lnTo>
                    <a:lnTo>
                      <a:pt x="310" y="52"/>
                    </a:lnTo>
                    <a:lnTo>
                      <a:pt x="310" y="52"/>
                    </a:lnTo>
                    <a:lnTo>
                      <a:pt x="308" y="50"/>
                    </a:lnTo>
                    <a:lnTo>
                      <a:pt x="308" y="50"/>
                    </a:lnTo>
                    <a:lnTo>
                      <a:pt x="308" y="50"/>
                    </a:lnTo>
                    <a:lnTo>
                      <a:pt x="308" y="50"/>
                    </a:lnTo>
                    <a:lnTo>
                      <a:pt x="306" y="48"/>
                    </a:lnTo>
                    <a:lnTo>
                      <a:pt x="306" y="48"/>
                    </a:lnTo>
                    <a:lnTo>
                      <a:pt x="306" y="48"/>
                    </a:lnTo>
                    <a:lnTo>
                      <a:pt x="304" y="46"/>
                    </a:lnTo>
                    <a:lnTo>
                      <a:pt x="304" y="46"/>
                    </a:lnTo>
                    <a:lnTo>
                      <a:pt x="304" y="46"/>
                    </a:lnTo>
                    <a:lnTo>
                      <a:pt x="304" y="46"/>
                    </a:lnTo>
                    <a:lnTo>
                      <a:pt x="304" y="46"/>
                    </a:lnTo>
                    <a:lnTo>
                      <a:pt x="300" y="48"/>
                    </a:lnTo>
                    <a:lnTo>
                      <a:pt x="298" y="48"/>
                    </a:lnTo>
                    <a:lnTo>
                      <a:pt x="294" y="48"/>
                    </a:lnTo>
                    <a:lnTo>
                      <a:pt x="294" y="48"/>
                    </a:lnTo>
                    <a:lnTo>
                      <a:pt x="288" y="50"/>
                    </a:lnTo>
                    <a:lnTo>
                      <a:pt x="286" y="50"/>
                    </a:lnTo>
                    <a:lnTo>
                      <a:pt x="284" y="50"/>
                    </a:lnTo>
                    <a:lnTo>
                      <a:pt x="284" y="50"/>
                    </a:lnTo>
                    <a:lnTo>
                      <a:pt x="282" y="52"/>
                    </a:lnTo>
                    <a:lnTo>
                      <a:pt x="282" y="54"/>
                    </a:lnTo>
                    <a:lnTo>
                      <a:pt x="280" y="54"/>
                    </a:lnTo>
                    <a:lnTo>
                      <a:pt x="280" y="56"/>
                    </a:lnTo>
                    <a:lnTo>
                      <a:pt x="278" y="56"/>
                    </a:lnTo>
                    <a:lnTo>
                      <a:pt x="276" y="56"/>
                    </a:lnTo>
                    <a:lnTo>
                      <a:pt x="270" y="56"/>
                    </a:lnTo>
                    <a:lnTo>
                      <a:pt x="270" y="56"/>
                    </a:lnTo>
                    <a:lnTo>
                      <a:pt x="270" y="58"/>
                    </a:lnTo>
                    <a:lnTo>
                      <a:pt x="268" y="58"/>
                    </a:lnTo>
                    <a:lnTo>
                      <a:pt x="266" y="60"/>
                    </a:lnTo>
                    <a:lnTo>
                      <a:pt x="262" y="62"/>
                    </a:lnTo>
                    <a:lnTo>
                      <a:pt x="260" y="62"/>
                    </a:lnTo>
                    <a:lnTo>
                      <a:pt x="260" y="62"/>
                    </a:lnTo>
                    <a:lnTo>
                      <a:pt x="256" y="62"/>
                    </a:lnTo>
                    <a:lnTo>
                      <a:pt x="252" y="62"/>
                    </a:lnTo>
                    <a:lnTo>
                      <a:pt x="250" y="64"/>
                    </a:lnTo>
                    <a:lnTo>
                      <a:pt x="250" y="64"/>
                    </a:lnTo>
                    <a:lnTo>
                      <a:pt x="250" y="64"/>
                    </a:lnTo>
                    <a:lnTo>
                      <a:pt x="248" y="64"/>
                    </a:lnTo>
                    <a:lnTo>
                      <a:pt x="248" y="68"/>
                    </a:lnTo>
                    <a:lnTo>
                      <a:pt x="246" y="70"/>
                    </a:lnTo>
                    <a:lnTo>
                      <a:pt x="246" y="70"/>
                    </a:lnTo>
                    <a:lnTo>
                      <a:pt x="244" y="70"/>
                    </a:lnTo>
                    <a:lnTo>
                      <a:pt x="244" y="70"/>
                    </a:lnTo>
                    <a:lnTo>
                      <a:pt x="242" y="72"/>
                    </a:lnTo>
                    <a:lnTo>
                      <a:pt x="240" y="70"/>
                    </a:lnTo>
                    <a:lnTo>
                      <a:pt x="238" y="70"/>
                    </a:lnTo>
                    <a:lnTo>
                      <a:pt x="234" y="68"/>
                    </a:lnTo>
                    <a:lnTo>
                      <a:pt x="234" y="68"/>
                    </a:lnTo>
                    <a:lnTo>
                      <a:pt x="230" y="66"/>
                    </a:lnTo>
                    <a:lnTo>
                      <a:pt x="228" y="62"/>
                    </a:lnTo>
                    <a:lnTo>
                      <a:pt x="228" y="62"/>
                    </a:lnTo>
                    <a:lnTo>
                      <a:pt x="226" y="60"/>
                    </a:lnTo>
                    <a:lnTo>
                      <a:pt x="226" y="58"/>
                    </a:lnTo>
                    <a:lnTo>
                      <a:pt x="224" y="54"/>
                    </a:lnTo>
                    <a:lnTo>
                      <a:pt x="224" y="54"/>
                    </a:lnTo>
                    <a:lnTo>
                      <a:pt x="220" y="48"/>
                    </a:lnTo>
                    <a:lnTo>
                      <a:pt x="220" y="46"/>
                    </a:lnTo>
                    <a:lnTo>
                      <a:pt x="220" y="44"/>
                    </a:lnTo>
                    <a:lnTo>
                      <a:pt x="220" y="44"/>
                    </a:lnTo>
                    <a:lnTo>
                      <a:pt x="218" y="40"/>
                    </a:lnTo>
                    <a:lnTo>
                      <a:pt x="218" y="38"/>
                    </a:lnTo>
                    <a:lnTo>
                      <a:pt x="218" y="36"/>
                    </a:lnTo>
                    <a:lnTo>
                      <a:pt x="218" y="32"/>
                    </a:lnTo>
                    <a:lnTo>
                      <a:pt x="218" y="32"/>
                    </a:lnTo>
                    <a:lnTo>
                      <a:pt x="220" y="30"/>
                    </a:lnTo>
                    <a:lnTo>
                      <a:pt x="220" y="28"/>
                    </a:lnTo>
                    <a:lnTo>
                      <a:pt x="222" y="26"/>
                    </a:lnTo>
                    <a:lnTo>
                      <a:pt x="224" y="24"/>
                    </a:lnTo>
                    <a:lnTo>
                      <a:pt x="224" y="24"/>
                    </a:lnTo>
                    <a:lnTo>
                      <a:pt x="224" y="22"/>
                    </a:lnTo>
                    <a:lnTo>
                      <a:pt x="224" y="18"/>
                    </a:lnTo>
                    <a:lnTo>
                      <a:pt x="224" y="16"/>
                    </a:lnTo>
                    <a:lnTo>
                      <a:pt x="222" y="14"/>
                    </a:lnTo>
                    <a:lnTo>
                      <a:pt x="222" y="14"/>
                    </a:lnTo>
                    <a:lnTo>
                      <a:pt x="222" y="14"/>
                    </a:lnTo>
                    <a:lnTo>
                      <a:pt x="220" y="12"/>
                    </a:lnTo>
                    <a:lnTo>
                      <a:pt x="220" y="12"/>
                    </a:lnTo>
                    <a:lnTo>
                      <a:pt x="218" y="12"/>
                    </a:lnTo>
                    <a:lnTo>
                      <a:pt x="218" y="12"/>
                    </a:lnTo>
                    <a:lnTo>
                      <a:pt x="218" y="10"/>
                    </a:lnTo>
                    <a:lnTo>
                      <a:pt x="218" y="8"/>
                    </a:lnTo>
                    <a:lnTo>
                      <a:pt x="218" y="6"/>
                    </a:lnTo>
                    <a:lnTo>
                      <a:pt x="218" y="6"/>
                    </a:lnTo>
                    <a:lnTo>
                      <a:pt x="218" y="6"/>
                    </a:lnTo>
                    <a:lnTo>
                      <a:pt x="216" y="4"/>
                    </a:lnTo>
                    <a:lnTo>
                      <a:pt x="216" y="2"/>
                    </a:lnTo>
                    <a:lnTo>
                      <a:pt x="216" y="2"/>
                    </a:lnTo>
                    <a:lnTo>
                      <a:pt x="214" y="0"/>
                    </a:lnTo>
                    <a:lnTo>
                      <a:pt x="212" y="0"/>
                    </a:lnTo>
                    <a:lnTo>
                      <a:pt x="210" y="0"/>
                    </a:lnTo>
                    <a:lnTo>
                      <a:pt x="210" y="0"/>
                    </a:lnTo>
                    <a:lnTo>
                      <a:pt x="210" y="2"/>
                    </a:lnTo>
                    <a:lnTo>
                      <a:pt x="210" y="4"/>
                    </a:lnTo>
                    <a:lnTo>
                      <a:pt x="210" y="4"/>
                    </a:lnTo>
                    <a:lnTo>
                      <a:pt x="210" y="6"/>
                    </a:lnTo>
                    <a:lnTo>
                      <a:pt x="210" y="8"/>
                    </a:lnTo>
                    <a:lnTo>
                      <a:pt x="208" y="10"/>
                    </a:lnTo>
                    <a:lnTo>
                      <a:pt x="206" y="12"/>
                    </a:lnTo>
                    <a:lnTo>
                      <a:pt x="204" y="14"/>
                    </a:lnTo>
                    <a:lnTo>
                      <a:pt x="202" y="14"/>
                    </a:lnTo>
                    <a:lnTo>
                      <a:pt x="200" y="16"/>
                    </a:lnTo>
                    <a:lnTo>
                      <a:pt x="198" y="16"/>
                    </a:lnTo>
                    <a:lnTo>
                      <a:pt x="198" y="16"/>
                    </a:lnTo>
                    <a:lnTo>
                      <a:pt x="196" y="16"/>
                    </a:lnTo>
                    <a:lnTo>
                      <a:pt x="194" y="16"/>
                    </a:lnTo>
                    <a:lnTo>
                      <a:pt x="192" y="16"/>
                    </a:lnTo>
                    <a:lnTo>
                      <a:pt x="190" y="18"/>
                    </a:lnTo>
                    <a:lnTo>
                      <a:pt x="190" y="18"/>
                    </a:lnTo>
                    <a:lnTo>
                      <a:pt x="188" y="22"/>
                    </a:lnTo>
                    <a:lnTo>
                      <a:pt x="188" y="24"/>
                    </a:lnTo>
                    <a:lnTo>
                      <a:pt x="186" y="26"/>
                    </a:lnTo>
                    <a:lnTo>
                      <a:pt x="186" y="26"/>
                    </a:lnTo>
                    <a:lnTo>
                      <a:pt x="184" y="26"/>
                    </a:lnTo>
                    <a:lnTo>
                      <a:pt x="184" y="26"/>
                    </a:lnTo>
                    <a:lnTo>
                      <a:pt x="182" y="28"/>
                    </a:lnTo>
                    <a:lnTo>
                      <a:pt x="180" y="28"/>
                    </a:lnTo>
                    <a:lnTo>
                      <a:pt x="174" y="26"/>
                    </a:lnTo>
                    <a:lnTo>
                      <a:pt x="168" y="26"/>
                    </a:lnTo>
                    <a:lnTo>
                      <a:pt x="164" y="24"/>
                    </a:lnTo>
                    <a:lnTo>
                      <a:pt x="164" y="24"/>
                    </a:lnTo>
                    <a:lnTo>
                      <a:pt x="162" y="24"/>
                    </a:lnTo>
                    <a:lnTo>
                      <a:pt x="162" y="22"/>
                    </a:lnTo>
                    <a:lnTo>
                      <a:pt x="160" y="18"/>
                    </a:lnTo>
                    <a:lnTo>
                      <a:pt x="158" y="16"/>
                    </a:lnTo>
                    <a:lnTo>
                      <a:pt x="158" y="14"/>
                    </a:lnTo>
                    <a:lnTo>
                      <a:pt x="156" y="14"/>
                    </a:lnTo>
                    <a:lnTo>
                      <a:pt x="154" y="14"/>
                    </a:lnTo>
                    <a:lnTo>
                      <a:pt x="154" y="14"/>
                    </a:lnTo>
                    <a:lnTo>
                      <a:pt x="154" y="14"/>
                    </a:lnTo>
                    <a:lnTo>
                      <a:pt x="152" y="14"/>
                    </a:lnTo>
                    <a:lnTo>
                      <a:pt x="152" y="16"/>
                    </a:lnTo>
                    <a:lnTo>
                      <a:pt x="150" y="16"/>
                    </a:lnTo>
                    <a:lnTo>
                      <a:pt x="150" y="16"/>
                    </a:lnTo>
                    <a:lnTo>
                      <a:pt x="148" y="18"/>
                    </a:lnTo>
                    <a:lnTo>
                      <a:pt x="148" y="20"/>
                    </a:lnTo>
                    <a:lnTo>
                      <a:pt x="148" y="20"/>
                    </a:lnTo>
                    <a:lnTo>
                      <a:pt x="148" y="22"/>
                    </a:lnTo>
                    <a:lnTo>
                      <a:pt x="148" y="22"/>
                    </a:lnTo>
                    <a:lnTo>
                      <a:pt x="150" y="24"/>
                    </a:lnTo>
                    <a:lnTo>
                      <a:pt x="150" y="24"/>
                    </a:lnTo>
                    <a:lnTo>
                      <a:pt x="152" y="26"/>
                    </a:lnTo>
                    <a:lnTo>
                      <a:pt x="154" y="26"/>
                    </a:lnTo>
                    <a:lnTo>
                      <a:pt x="156" y="26"/>
                    </a:lnTo>
                    <a:lnTo>
                      <a:pt x="156" y="28"/>
                    </a:lnTo>
                    <a:lnTo>
                      <a:pt x="156" y="28"/>
                    </a:lnTo>
                    <a:lnTo>
                      <a:pt x="156" y="28"/>
                    </a:lnTo>
                    <a:lnTo>
                      <a:pt x="156" y="30"/>
                    </a:lnTo>
                    <a:lnTo>
                      <a:pt x="156" y="30"/>
                    </a:lnTo>
                    <a:lnTo>
                      <a:pt x="156" y="30"/>
                    </a:lnTo>
                    <a:lnTo>
                      <a:pt x="156" y="32"/>
                    </a:lnTo>
                    <a:lnTo>
                      <a:pt x="154" y="36"/>
                    </a:lnTo>
                    <a:lnTo>
                      <a:pt x="152" y="36"/>
                    </a:lnTo>
                    <a:lnTo>
                      <a:pt x="150" y="38"/>
                    </a:lnTo>
                    <a:lnTo>
                      <a:pt x="150" y="40"/>
                    </a:lnTo>
                    <a:lnTo>
                      <a:pt x="148" y="42"/>
                    </a:lnTo>
                    <a:lnTo>
                      <a:pt x="150" y="44"/>
                    </a:lnTo>
                    <a:lnTo>
                      <a:pt x="150" y="44"/>
                    </a:lnTo>
                    <a:lnTo>
                      <a:pt x="150" y="44"/>
                    </a:lnTo>
                    <a:lnTo>
                      <a:pt x="150" y="46"/>
                    </a:lnTo>
                    <a:lnTo>
                      <a:pt x="152" y="46"/>
                    </a:lnTo>
                    <a:lnTo>
                      <a:pt x="152" y="46"/>
                    </a:lnTo>
                    <a:lnTo>
                      <a:pt x="154" y="48"/>
                    </a:lnTo>
                    <a:lnTo>
                      <a:pt x="156" y="48"/>
                    </a:lnTo>
                    <a:lnTo>
                      <a:pt x="162" y="48"/>
                    </a:lnTo>
                    <a:lnTo>
                      <a:pt x="164" y="48"/>
                    </a:lnTo>
                    <a:lnTo>
                      <a:pt x="166" y="50"/>
                    </a:lnTo>
                    <a:lnTo>
                      <a:pt x="166" y="50"/>
                    </a:lnTo>
                    <a:lnTo>
                      <a:pt x="166" y="50"/>
                    </a:lnTo>
                    <a:lnTo>
                      <a:pt x="168" y="52"/>
                    </a:lnTo>
                    <a:lnTo>
                      <a:pt x="168" y="52"/>
                    </a:lnTo>
                    <a:lnTo>
                      <a:pt x="168" y="54"/>
                    </a:lnTo>
                    <a:lnTo>
                      <a:pt x="166" y="54"/>
                    </a:lnTo>
                    <a:lnTo>
                      <a:pt x="164" y="56"/>
                    </a:lnTo>
                    <a:lnTo>
                      <a:pt x="162" y="58"/>
                    </a:lnTo>
                    <a:lnTo>
                      <a:pt x="160" y="60"/>
                    </a:lnTo>
                    <a:lnTo>
                      <a:pt x="156" y="62"/>
                    </a:lnTo>
                    <a:lnTo>
                      <a:pt x="156" y="62"/>
                    </a:lnTo>
                    <a:lnTo>
                      <a:pt x="152" y="64"/>
                    </a:lnTo>
                    <a:lnTo>
                      <a:pt x="148" y="66"/>
                    </a:lnTo>
                    <a:lnTo>
                      <a:pt x="144" y="68"/>
                    </a:lnTo>
                    <a:lnTo>
                      <a:pt x="142" y="72"/>
                    </a:lnTo>
                    <a:lnTo>
                      <a:pt x="142" y="72"/>
                    </a:lnTo>
                    <a:lnTo>
                      <a:pt x="138" y="76"/>
                    </a:lnTo>
                    <a:lnTo>
                      <a:pt x="138" y="76"/>
                    </a:lnTo>
                    <a:lnTo>
                      <a:pt x="136" y="78"/>
                    </a:lnTo>
                    <a:lnTo>
                      <a:pt x="134" y="78"/>
                    </a:lnTo>
                    <a:lnTo>
                      <a:pt x="132" y="78"/>
                    </a:lnTo>
                    <a:lnTo>
                      <a:pt x="130" y="80"/>
                    </a:lnTo>
                    <a:lnTo>
                      <a:pt x="128" y="80"/>
                    </a:lnTo>
                    <a:lnTo>
                      <a:pt x="128" y="80"/>
                    </a:lnTo>
                    <a:lnTo>
                      <a:pt x="124" y="78"/>
                    </a:lnTo>
                    <a:lnTo>
                      <a:pt x="122" y="78"/>
                    </a:lnTo>
                    <a:lnTo>
                      <a:pt x="120" y="78"/>
                    </a:lnTo>
                    <a:lnTo>
                      <a:pt x="118" y="76"/>
                    </a:lnTo>
                    <a:lnTo>
                      <a:pt x="118" y="76"/>
                    </a:lnTo>
                    <a:lnTo>
                      <a:pt x="116" y="76"/>
                    </a:lnTo>
                    <a:lnTo>
                      <a:pt x="116" y="74"/>
                    </a:lnTo>
                    <a:lnTo>
                      <a:pt x="116" y="72"/>
                    </a:lnTo>
                    <a:lnTo>
                      <a:pt x="114" y="70"/>
                    </a:lnTo>
                    <a:lnTo>
                      <a:pt x="114" y="70"/>
                    </a:lnTo>
                    <a:lnTo>
                      <a:pt x="114" y="70"/>
                    </a:lnTo>
                    <a:lnTo>
                      <a:pt x="112" y="70"/>
                    </a:lnTo>
                    <a:lnTo>
                      <a:pt x="110" y="72"/>
                    </a:lnTo>
                    <a:lnTo>
                      <a:pt x="110" y="70"/>
                    </a:lnTo>
                    <a:lnTo>
                      <a:pt x="108" y="70"/>
                    </a:lnTo>
                    <a:lnTo>
                      <a:pt x="104" y="70"/>
                    </a:lnTo>
                    <a:lnTo>
                      <a:pt x="104" y="70"/>
                    </a:lnTo>
                    <a:lnTo>
                      <a:pt x="104" y="70"/>
                    </a:lnTo>
                    <a:lnTo>
                      <a:pt x="104" y="68"/>
                    </a:lnTo>
                    <a:lnTo>
                      <a:pt x="104" y="66"/>
                    </a:lnTo>
                    <a:lnTo>
                      <a:pt x="104" y="64"/>
                    </a:lnTo>
                    <a:lnTo>
                      <a:pt x="104" y="62"/>
                    </a:lnTo>
                    <a:lnTo>
                      <a:pt x="104" y="62"/>
                    </a:lnTo>
                    <a:lnTo>
                      <a:pt x="102" y="60"/>
                    </a:lnTo>
                    <a:lnTo>
                      <a:pt x="102" y="60"/>
                    </a:lnTo>
                    <a:lnTo>
                      <a:pt x="102" y="58"/>
                    </a:lnTo>
                    <a:lnTo>
                      <a:pt x="100" y="56"/>
                    </a:lnTo>
                    <a:lnTo>
                      <a:pt x="96" y="56"/>
                    </a:lnTo>
                    <a:lnTo>
                      <a:pt x="94" y="54"/>
                    </a:lnTo>
                    <a:lnTo>
                      <a:pt x="94" y="54"/>
                    </a:lnTo>
                    <a:lnTo>
                      <a:pt x="90" y="52"/>
                    </a:lnTo>
                    <a:lnTo>
                      <a:pt x="90" y="52"/>
                    </a:lnTo>
                    <a:lnTo>
                      <a:pt x="90" y="54"/>
                    </a:lnTo>
                    <a:lnTo>
                      <a:pt x="88" y="54"/>
                    </a:lnTo>
                    <a:lnTo>
                      <a:pt x="88" y="54"/>
                    </a:lnTo>
                    <a:lnTo>
                      <a:pt x="86" y="56"/>
                    </a:lnTo>
                    <a:lnTo>
                      <a:pt x="86" y="56"/>
                    </a:lnTo>
                    <a:lnTo>
                      <a:pt x="84" y="56"/>
                    </a:lnTo>
                    <a:lnTo>
                      <a:pt x="82" y="58"/>
                    </a:lnTo>
                    <a:lnTo>
                      <a:pt x="74" y="58"/>
                    </a:lnTo>
                    <a:lnTo>
                      <a:pt x="70" y="58"/>
                    </a:lnTo>
                    <a:lnTo>
                      <a:pt x="68" y="58"/>
                    </a:lnTo>
                    <a:lnTo>
                      <a:pt x="66" y="60"/>
                    </a:lnTo>
                    <a:lnTo>
                      <a:pt x="64" y="60"/>
                    </a:lnTo>
                    <a:lnTo>
                      <a:pt x="64" y="62"/>
                    </a:lnTo>
                    <a:lnTo>
                      <a:pt x="64" y="62"/>
                    </a:lnTo>
                    <a:lnTo>
                      <a:pt x="64" y="62"/>
                    </a:lnTo>
                    <a:lnTo>
                      <a:pt x="62" y="64"/>
                    </a:lnTo>
                    <a:lnTo>
                      <a:pt x="62" y="66"/>
                    </a:lnTo>
                    <a:lnTo>
                      <a:pt x="62" y="68"/>
                    </a:lnTo>
                    <a:lnTo>
                      <a:pt x="62" y="70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6"/>
                    </a:lnTo>
                    <a:lnTo>
                      <a:pt x="64" y="78"/>
                    </a:lnTo>
                    <a:lnTo>
                      <a:pt x="64" y="78"/>
                    </a:lnTo>
                    <a:lnTo>
                      <a:pt x="64" y="80"/>
                    </a:lnTo>
                    <a:lnTo>
                      <a:pt x="64" y="80"/>
                    </a:lnTo>
                    <a:lnTo>
                      <a:pt x="62" y="82"/>
                    </a:lnTo>
                    <a:lnTo>
                      <a:pt x="62" y="82"/>
                    </a:lnTo>
                    <a:lnTo>
                      <a:pt x="60" y="86"/>
                    </a:lnTo>
                    <a:lnTo>
                      <a:pt x="58" y="88"/>
                    </a:lnTo>
                    <a:lnTo>
                      <a:pt x="58" y="90"/>
                    </a:lnTo>
                    <a:lnTo>
                      <a:pt x="60" y="92"/>
                    </a:lnTo>
                    <a:lnTo>
                      <a:pt x="60" y="94"/>
                    </a:lnTo>
                    <a:lnTo>
                      <a:pt x="62" y="96"/>
                    </a:lnTo>
                    <a:lnTo>
                      <a:pt x="64" y="98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6" y="102"/>
                    </a:lnTo>
                    <a:lnTo>
                      <a:pt x="66" y="106"/>
                    </a:lnTo>
                    <a:lnTo>
                      <a:pt x="66" y="108"/>
                    </a:lnTo>
                    <a:lnTo>
                      <a:pt x="66" y="112"/>
                    </a:lnTo>
                    <a:lnTo>
                      <a:pt x="66" y="116"/>
                    </a:lnTo>
                    <a:lnTo>
                      <a:pt x="64" y="118"/>
                    </a:lnTo>
                    <a:lnTo>
                      <a:pt x="64" y="124"/>
                    </a:lnTo>
                    <a:lnTo>
                      <a:pt x="64" y="124"/>
                    </a:lnTo>
                    <a:lnTo>
                      <a:pt x="62" y="126"/>
                    </a:lnTo>
                    <a:lnTo>
                      <a:pt x="62" y="130"/>
                    </a:lnTo>
                    <a:lnTo>
                      <a:pt x="62" y="134"/>
                    </a:lnTo>
                    <a:lnTo>
                      <a:pt x="62" y="138"/>
                    </a:lnTo>
                    <a:lnTo>
                      <a:pt x="64" y="144"/>
                    </a:lnTo>
                    <a:lnTo>
                      <a:pt x="64" y="148"/>
                    </a:lnTo>
                    <a:lnTo>
                      <a:pt x="64" y="150"/>
                    </a:lnTo>
                    <a:lnTo>
                      <a:pt x="64" y="150"/>
                    </a:lnTo>
                    <a:lnTo>
                      <a:pt x="64" y="154"/>
                    </a:lnTo>
                    <a:lnTo>
                      <a:pt x="64" y="158"/>
                    </a:lnTo>
                    <a:lnTo>
                      <a:pt x="64" y="158"/>
                    </a:lnTo>
                    <a:lnTo>
                      <a:pt x="62" y="160"/>
                    </a:lnTo>
                    <a:lnTo>
                      <a:pt x="62" y="162"/>
                    </a:lnTo>
                    <a:lnTo>
                      <a:pt x="60" y="162"/>
                    </a:lnTo>
                    <a:lnTo>
                      <a:pt x="60" y="162"/>
                    </a:lnTo>
                    <a:lnTo>
                      <a:pt x="58" y="164"/>
                    </a:lnTo>
                    <a:lnTo>
                      <a:pt x="56" y="164"/>
                    </a:lnTo>
                    <a:lnTo>
                      <a:pt x="56" y="164"/>
                    </a:lnTo>
                    <a:lnTo>
                      <a:pt x="54" y="162"/>
                    </a:lnTo>
                    <a:lnTo>
                      <a:pt x="54" y="162"/>
                    </a:lnTo>
                    <a:lnTo>
                      <a:pt x="52" y="160"/>
                    </a:lnTo>
                    <a:lnTo>
                      <a:pt x="52" y="158"/>
                    </a:lnTo>
                    <a:lnTo>
                      <a:pt x="52" y="158"/>
                    </a:lnTo>
                    <a:lnTo>
                      <a:pt x="52" y="156"/>
                    </a:lnTo>
                    <a:lnTo>
                      <a:pt x="52" y="154"/>
                    </a:lnTo>
                    <a:lnTo>
                      <a:pt x="52" y="154"/>
                    </a:lnTo>
                    <a:lnTo>
                      <a:pt x="50" y="154"/>
                    </a:lnTo>
                    <a:lnTo>
                      <a:pt x="48" y="156"/>
                    </a:lnTo>
                    <a:lnTo>
                      <a:pt x="44" y="158"/>
                    </a:lnTo>
                    <a:lnTo>
                      <a:pt x="40" y="164"/>
                    </a:lnTo>
                    <a:lnTo>
                      <a:pt x="40" y="164"/>
                    </a:lnTo>
                    <a:lnTo>
                      <a:pt x="38" y="166"/>
                    </a:lnTo>
                    <a:lnTo>
                      <a:pt x="36" y="166"/>
                    </a:lnTo>
                    <a:lnTo>
                      <a:pt x="34" y="166"/>
                    </a:lnTo>
                    <a:lnTo>
                      <a:pt x="32" y="166"/>
                    </a:lnTo>
                    <a:lnTo>
                      <a:pt x="30" y="166"/>
                    </a:lnTo>
                    <a:lnTo>
                      <a:pt x="28" y="166"/>
                    </a:lnTo>
                    <a:lnTo>
                      <a:pt x="26" y="166"/>
                    </a:lnTo>
                    <a:lnTo>
                      <a:pt x="24" y="168"/>
                    </a:lnTo>
                    <a:lnTo>
                      <a:pt x="24" y="168"/>
                    </a:lnTo>
                    <a:lnTo>
                      <a:pt x="20" y="172"/>
                    </a:lnTo>
                    <a:lnTo>
                      <a:pt x="18" y="172"/>
                    </a:lnTo>
                    <a:lnTo>
                      <a:pt x="16" y="174"/>
                    </a:lnTo>
                    <a:lnTo>
                      <a:pt x="16" y="174"/>
                    </a:lnTo>
                    <a:lnTo>
                      <a:pt x="12" y="174"/>
                    </a:lnTo>
                    <a:lnTo>
                      <a:pt x="10" y="176"/>
                    </a:lnTo>
                    <a:lnTo>
                      <a:pt x="8" y="178"/>
                    </a:lnTo>
                    <a:lnTo>
                      <a:pt x="8" y="178"/>
                    </a:lnTo>
                    <a:lnTo>
                      <a:pt x="8" y="180"/>
                    </a:lnTo>
                    <a:lnTo>
                      <a:pt x="6" y="182"/>
                    </a:lnTo>
                    <a:lnTo>
                      <a:pt x="6" y="184"/>
                    </a:lnTo>
                    <a:lnTo>
                      <a:pt x="6" y="186"/>
                    </a:lnTo>
                    <a:lnTo>
                      <a:pt x="8" y="192"/>
                    </a:lnTo>
                    <a:lnTo>
                      <a:pt x="8" y="196"/>
                    </a:lnTo>
                    <a:lnTo>
                      <a:pt x="8" y="196"/>
                    </a:lnTo>
                    <a:lnTo>
                      <a:pt x="10" y="198"/>
                    </a:lnTo>
                    <a:lnTo>
                      <a:pt x="8" y="198"/>
                    </a:lnTo>
                    <a:lnTo>
                      <a:pt x="8" y="198"/>
                    </a:lnTo>
                    <a:lnTo>
                      <a:pt x="8" y="200"/>
                    </a:lnTo>
                    <a:lnTo>
                      <a:pt x="4" y="202"/>
                    </a:lnTo>
                    <a:lnTo>
                      <a:pt x="4" y="202"/>
                    </a:lnTo>
                    <a:lnTo>
                      <a:pt x="4" y="204"/>
                    </a:lnTo>
                    <a:lnTo>
                      <a:pt x="2" y="206"/>
                    </a:lnTo>
                    <a:lnTo>
                      <a:pt x="2" y="208"/>
                    </a:lnTo>
                    <a:lnTo>
                      <a:pt x="0" y="210"/>
                    </a:lnTo>
                    <a:lnTo>
                      <a:pt x="0" y="210"/>
                    </a:lnTo>
                    <a:lnTo>
                      <a:pt x="0" y="214"/>
                    </a:lnTo>
                    <a:lnTo>
                      <a:pt x="0" y="220"/>
                    </a:lnTo>
                    <a:lnTo>
                      <a:pt x="0" y="222"/>
                    </a:lnTo>
                    <a:lnTo>
                      <a:pt x="0" y="224"/>
                    </a:lnTo>
                    <a:lnTo>
                      <a:pt x="2" y="226"/>
                    </a:lnTo>
                    <a:lnTo>
                      <a:pt x="2" y="228"/>
                    </a:lnTo>
                    <a:lnTo>
                      <a:pt x="2" y="228"/>
                    </a:lnTo>
                    <a:lnTo>
                      <a:pt x="4" y="230"/>
                    </a:lnTo>
                    <a:lnTo>
                      <a:pt x="6" y="232"/>
                    </a:lnTo>
                    <a:lnTo>
                      <a:pt x="10" y="234"/>
                    </a:lnTo>
                    <a:lnTo>
                      <a:pt x="12" y="238"/>
                    </a:lnTo>
                    <a:lnTo>
                      <a:pt x="14" y="238"/>
                    </a:lnTo>
                    <a:lnTo>
                      <a:pt x="16" y="240"/>
                    </a:lnTo>
                    <a:lnTo>
                      <a:pt x="16" y="240"/>
                    </a:lnTo>
                    <a:lnTo>
                      <a:pt x="16" y="242"/>
                    </a:lnTo>
                    <a:lnTo>
                      <a:pt x="16" y="244"/>
                    </a:lnTo>
                    <a:lnTo>
                      <a:pt x="18" y="248"/>
                    </a:lnTo>
                    <a:lnTo>
                      <a:pt x="18" y="250"/>
                    </a:lnTo>
                    <a:lnTo>
                      <a:pt x="18" y="252"/>
                    </a:lnTo>
                    <a:lnTo>
                      <a:pt x="20" y="254"/>
                    </a:lnTo>
                    <a:lnTo>
                      <a:pt x="22" y="256"/>
                    </a:lnTo>
                    <a:lnTo>
                      <a:pt x="22" y="256"/>
                    </a:lnTo>
                    <a:lnTo>
                      <a:pt x="24" y="258"/>
                    </a:lnTo>
                    <a:lnTo>
                      <a:pt x="26" y="258"/>
                    </a:lnTo>
                    <a:lnTo>
                      <a:pt x="28" y="260"/>
                    </a:lnTo>
                    <a:lnTo>
                      <a:pt x="30" y="260"/>
                    </a:lnTo>
                    <a:lnTo>
                      <a:pt x="32" y="260"/>
                    </a:lnTo>
                    <a:lnTo>
                      <a:pt x="34" y="260"/>
                    </a:lnTo>
                    <a:lnTo>
                      <a:pt x="36" y="260"/>
                    </a:lnTo>
                    <a:lnTo>
                      <a:pt x="38" y="258"/>
                    </a:lnTo>
                    <a:lnTo>
                      <a:pt x="38" y="258"/>
                    </a:lnTo>
                    <a:lnTo>
                      <a:pt x="42" y="256"/>
                    </a:lnTo>
                    <a:lnTo>
                      <a:pt x="46" y="254"/>
                    </a:lnTo>
                    <a:lnTo>
                      <a:pt x="48" y="254"/>
                    </a:lnTo>
                    <a:lnTo>
                      <a:pt x="50" y="254"/>
                    </a:lnTo>
                    <a:lnTo>
                      <a:pt x="52" y="256"/>
                    </a:lnTo>
                    <a:lnTo>
                      <a:pt x="54" y="258"/>
                    </a:lnTo>
                    <a:lnTo>
                      <a:pt x="54" y="258"/>
                    </a:lnTo>
                    <a:lnTo>
                      <a:pt x="54" y="258"/>
                    </a:lnTo>
                    <a:lnTo>
                      <a:pt x="56" y="260"/>
                    </a:lnTo>
                    <a:lnTo>
                      <a:pt x="56" y="260"/>
                    </a:lnTo>
                    <a:lnTo>
                      <a:pt x="56" y="262"/>
                    </a:lnTo>
                    <a:lnTo>
                      <a:pt x="56" y="264"/>
                    </a:lnTo>
                    <a:lnTo>
                      <a:pt x="54" y="266"/>
                    </a:lnTo>
                    <a:lnTo>
                      <a:pt x="54" y="266"/>
                    </a:lnTo>
                    <a:lnTo>
                      <a:pt x="54" y="268"/>
                    </a:lnTo>
                    <a:lnTo>
                      <a:pt x="54" y="270"/>
                    </a:lnTo>
                    <a:lnTo>
                      <a:pt x="54" y="270"/>
                    </a:lnTo>
                    <a:lnTo>
                      <a:pt x="54" y="272"/>
                    </a:lnTo>
                    <a:lnTo>
                      <a:pt x="54" y="272"/>
                    </a:lnTo>
                    <a:lnTo>
                      <a:pt x="56" y="274"/>
                    </a:lnTo>
                    <a:lnTo>
                      <a:pt x="58" y="276"/>
                    </a:lnTo>
                    <a:lnTo>
                      <a:pt x="60" y="276"/>
                    </a:lnTo>
                    <a:lnTo>
                      <a:pt x="64" y="278"/>
                    </a:lnTo>
                    <a:lnTo>
                      <a:pt x="66" y="278"/>
                    </a:lnTo>
                    <a:lnTo>
                      <a:pt x="66" y="278"/>
                    </a:lnTo>
                    <a:lnTo>
                      <a:pt x="68" y="280"/>
                    </a:lnTo>
                    <a:lnTo>
                      <a:pt x="68" y="280"/>
                    </a:lnTo>
                    <a:lnTo>
                      <a:pt x="70" y="278"/>
                    </a:lnTo>
                    <a:lnTo>
                      <a:pt x="74" y="276"/>
                    </a:lnTo>
                    <a:lnTo>
                      <a:pt x="76" y="276"/>
                    </a:lnTo>
                    <a:lnTo>
                      <a:pt x="80" y="276"/>
                    </a:lnTo>
                    <a:lnTo>
                      <a:pt x="80" y="276"/>
                    </a:lnTo>
                    <a:lnTo>
                      <a:pt x="82" y="276"/>
                    </a:lnTo>
                    <a:lnTo>
                      <a:pt x="86" y="276"/>
                    </a:lnTo>
                    <a:lnTo>
                      <a:pt x="88" y="276"/>
                    </a:lnTo>
                    <a:lnTo>
                      <a:pt x="90" y="276"/>
                    </a:lnTo>
                    <a:lnTo>
                      <a:pt x="90" y="276"/>
                    </a:lnTo>
                    <a:lnTo>
                      <a:pt x="92" y="276"/>
                    </a:lnTo>
                    <a:lnTo>
                      <a:pt x="94" y="274"/>
                    </a:lnTo>
                    <a:lnTo>
                      <a:pt x="98" y="272"/>
                    </a:lnTo>
                    <a:lnTo>
                      <a:pt x="98" y="272"/>
                    </a:lnTo>
                    <a:lnTo>
                      <a:pt x="108" y="268"/>
                    </a:lnTo>
                    <a:lnTo>
                      <a:pt x="112" y="264"/>
                    </a:lnTo>
                    <a:lnTo>
                      <a:pt x="116" y="262"/>
                    </a:lnTo>
                    <a:lnTo>
                      <a:pt x="122" y="260"/>
                    </a:lnTo>
                    <a:lnTo>
                      <a:pt x="124" y="260"/>
                    </a:lnTo>
                    <a:lnTo>
                      <a:pt x="126" y="258"/>
                    </a:lnTo>
                    <a:lnTo>
                      <a:pt x="128" y="258"/>
                    </a:lnTo>
                    <a:lnTo>
                      <a:pt x="130" y="260"/>
                    </a:lnTo>
                    <a:lnTo>
                      <a:pt x="132" y="260"/>
                    </a:lnTo>
                    <a:lnTo>
                      <a:pt x="134" y="262"/>
                    </a:lnTo>
                    <a:lnTo>
                      <a:pt x="134" y="262"/>
                    </a:lnTo>
                    <a:lnTo>
                      <a:pt x="136" y="264"/>
                    </a:lnTo>
                    <a:lnTo>
                      <a:pt x="138" y="266"/>
                    </a:lnTo>
                    <a:lnTo>
                      <a:pt x="138" y="268"/>
                    </a:lnTo>
                    <a:lnTo>
                      <a:pt x="138" y="268"/>
                    </a:lnTo>
                    <a:lnTo>
                      <a:pt x="138" y="274"/>
                    </a:lnTo>
                    <a:lnTo>
                      <a:pt x="138" y="276"/>
                    </a:lnTo>
                    <a:lnTo>
                      <a:pt x="138" y="278"/>
                    </a:lnTo>
                    <a:lnTo>
                      <a:pt x="138" y="278"/>
                    </a:lnTo>
                    <a:lnTo>
                      <a:pt x="138" y="280"/>
                    </a:lnTo>
                    <a:lnTo>
                      <a:pt x="140" y="284"/>
                    </a:lnTo>
                    <a:lnTo>
                      <a:pt x="142" y="288"/>
                    </a:lnTo>
                    <a:lnTo>
                      <a:pt x="146" y="292"/>
                    </a:lnTo>
                    <a:lnTo>
                      <a:pt x="148" y="296"/>
                    </a:lnTo>
                    <a:lnTo>
                      <a:pt x="148" y="296"/>
                    </a:lnTo>
                    <a:lnTo>
                      <a:pt x="150" y="298"/>
                    </a:lnTo>
                    <a:lnTo>
                      <a:pt x="152" y="300"/>
                    </a:lnTo>
                    <a:lnTo>
                      <a:pt x="154" y="300"/>
                    </a:lnTo>
                    <a:lnTo>
                      <a:pt x="156" y="300"/>
                    </a:lnTo>
                    <a:lnTo>
                      <a:pt x="160" y="300"/>
                    </a:lnTo>
                    <a:lnTo>
                      <a:pt x="162" y="300"/>
                    </a:lnTo>
                    <a:lnTo>
                      <a:pt x="164" y="302"/>
                    </a:lnTo>
                    <a:lnTo>
                      <a:pt x="164" y="302"/>
                    </a:lnTo>
                    <a:lnTo>
                      <a:pt x="168" y="304"/>
                    </a:lnTo>
                    <a:lnTo>
                      <a:pt x="170" y="304"/>
                    </a:lnTo>
                    <a:lnTo>
                      <a:pt x="172" y="306"/>
                    </a:lnTo>
                    <a:lnTo>
                      <a:pt x="172" y="306"/>
                    </a:lnTo>
                    <a:lnTo>
                      <a:pt x="174" y="306"/>
                    </a:lnTo>
                    <a:lnTo>
                      <a:pt x="176" y="306"/>
                    </a:lnTo>
                    <a:lnTo>
                      <a:pt x="178" y="306"/>
                    </a:lnTo>
                    <a:lnTo>
                      <a:pt x="182" y="308"/>
                    </a:lnTo>
                    <a:lnTo>
                      <a:pt x="182" y="308"/>
                    </a:lnTo>
                    <a:lnTo>
                      <a:pt x="184" y="308"/>
                    </a:lnTo>
                    <a:lnTo>
                      <a:pt x="184" y="310"/>
                    </a:lnTo>
                    <a:lnTo>
                      <a:pt x="186" y="312"/>
                    </a:lnTo>
                    <a:lnTo>
                      <a:pt x="188" y="314"/>
                    </a:lnTo>
                    <a:lnTo>
                      <a:pt x="188" y="314"/>
                    </a:lnTo>
                    <a:lnTo>
                      <a:pt x="190" y="314"/>
                    </a:lnTo>
                    <a:lnTo>
                      <a:pt x="192" y="316"/>
                    </a:lnTo>
                    <a:lnTo>
                      <a:pt x="198" y="316"/>
                    </a:lnTo>
                    <a:lnTo>
                      <a:pt x="198" y="316"/>
                    </a:lnTo>
                    <a:lnTo>
                      <a:pt x="202" y="316"/>
                    </a:lnTo>
                    <a:lnTo>
                      <a:pt x="208" y="318"/>
                    </a:lnTo>
                    <a:lnTo>
                      <a:pt x="210" y="318"/>
                    </a:lnTo>
                    <a:lnTo>
                      <a:pt x="212" y="318"/>
                    </a:lnTo>
                    <a:lnTo>
                      <a:pt x="214" y="320"/>
                    </a:lnTo>
                    <a:lnTo>
                      <a:pt x="216" y="320"/>
                    </a:lnTo>
                    <a:lnTo>
                      <a:pt x="216" y="320"/>
                    </a:lnTo>
                    <a:lnTo>
                      <a:pt x="218" y="322"/>
                    </a:lnTo>
                    <a:lnTo>
                      <a:pt x="218" y="324"/>
                    </a:lnTo>
                    <a:lnTo>
                      <a:pt x="220" y="328"/>
                    </a:lnTo>
                    <a:lnTo>
                      <a:pt x="220" y="330"/>
                    </a:lnTo>
                    <a:lnTo>
                      <a:pt x="222" y="332"/>
                    </a:lnTo>
                    <a:lnTo>
                      <a:pt x="222" y="334"/>
                    </a:lnTo>
                    <a:lnTo>
                      <a:pt x="222" y="340"/>
                    </a:lnTo>
                    <a:lnTo>
                      <a:pt x="222" y="340"/>
                    </a:lnTo>
                    <a:lnTo>
                      <a:pt x="222" y="344"/>
                    </a:lnTo>
                    <a:lnTo>
                      <a:pt x="222" y="348"/>
                    </a:lnTo>
                    <a:lnTo>
                      <a:pt x="224" y="352"/>
                    </a:lnTo>
                    <a:lnTo>
                      <a:pt x="226" y="358"/>
                    </a:lnTo>
                    <a:lnTo>
                      <a:pt x="226" y="358"/>
                    </a:lnTo>
                    <a:lnTo>
                      <a:pt x="228" y="360"/>
                    </a:lnTo>
                    <a:lnTo>
                      <a:pt x="230" y="362"/>
                    </a:lnTo>
                    <a:lnTo>
                      <a:pt x="232" y="362"/>
                    </a:lnTo>
                    <a:lnTo>
                      <a:pt x="234" y="362"/>
                    </a:lnTo>
                    <a:lnTo>
                      <a:pt x="238" y="362"/>
                    </a:lnTo>
                    <a:lnTo>
                      <a:pt x="244" y="360"/>
                    </a:lnTo>
                    <a:lnTo>
                      <a:pt x="244" y="360"/>
                    </a:lnTo>
                    <a:lnTo>
                      <a:pt x="246" y="362"/>
                    </a:lnTo>
                    <a:lnTo>
                      <a:pt x="248" y="362"/>
                    </a:lnTo>
                    <a:lnTo>
                      <a:pt x="250" y="362"/>
                    </a:lnTo>
                    <a:lnTo>
                      <a:pt x="252" y="362"/>
                    </a:lnTo>
                    <a:lnTo>
                      <a:pt x="252" y="362"/>
                    </a:lnTo>
                    <a:lnTo>
                      <a:pt x="254" y="362"/>
                    </a:lnTo>
                    <a:lnTo>
                      <a:pt x="256" y="364"/>
                    </a:lnTo>
                    <a:lnTo>
                      <a:pt x="258" y="364"/>
                    </a:lnTo>
                    <a:lnTo>
                      <a:pt x="258" y="366"/>
                    </a:lnTo>
                    <a:lnTo>
                      <a:pt x="258" y="366"/>
                    </a:lnTo>
                    <a:lnTo>
                      <a:pt x="258" y="366"/>
                    </a:lnTo>
                    <a:lnTo>
                      <a:pt x="258" y="368"/>
                    </a:lnTo>
                    <a:lnTo>
                      <a:pt x="258" y="368"/>
                    </a:lnTo>
                    <a:lnTo>
                      <a:pt x="258" y="370"/>
                    </a:lnTo>
                    <a:lnTo>
                      <a:pt x="256" y="374"/>
                    </a:lnTo>
                    <a:lnTo>
                      <a:pt x="256" y="374"/>
                    </a:lnTo>
                    <a:lnTo>
                      <a:pt x="256" y="374"/>
                    </a:lnTo>
                    <a:lnTo>
                      <a:pt x="256" y="378"/>
                    </a:lnTo>
                    <a:lnTo>
                      <a:pt x="256" y="378"/>
                    </a:lnTo>
                    <a:lnTo>
                      <a:pt x="256" y="380"/>
                    </a:lnTo>
                    <a:lnTo>
                      <a:pt x="256" y="380"/>
                    </a:lnTo>
                    <a:lnTo>
                      <a:pt x="260" y="382"/>
                    </a:lnTo>
                    <a:lnTo>
                      <a:pt x="262" y="382"/>
                    </a:lnTo>
                    <a:lnTo>
                      <a:pt x="262" y="382"/>
                    </a:lnTo>
                    <a:lnTo>
                      <a:pt x="264" y="384"/>
                    </a:lnTo>
                    <a:lnTo>
                      <a:pt x="266" y="386"/>
                    </a:lnTo>
                    <a:lnTo>
                      <a:pt x="268" y="386"/>
                    </a:lnTo>
                    <a:lnTo>
                      <a:pt x="268" y="390"/>
                    </a:lnTo>
                    <a:lnTo>
                      <a:pt x="270" y="392"/>
                    </a:lnTo>
                    <a:lnTo>
                      <a:pt x="270" y="394"/>
                    </a:lnTo>
                    <a:lnTo>
                      <a:pt x="270" y="396"/>
                    </a:lnTo>
                    <a:lnTo>
                      <a:pt x="270" y="398"/>
                    </a:lnTo>
                    <a:lnTo>
                      <a:pt x="270" y="398"/>
                    </a:lnTo>
                    <a:lnTo>
                      <a:pt x="270" y="400"/>
                    </a:lnTo>
                    <a:lnTo>
                      <a:pt x="268" y="402"/>
                    </a:lnTo>
                    <a:lnTo>
                      <a:pt x="266" y="404"/>
                    </a:lnTo>
                    <a:lnTo>
                      <a:pt x="266" y="406"/>
                    </a:lnTo>
                    <a:lnTo>
                      <a:pt x="266" y="406"/>
                    </a:lnTo>
                    <a:lnTo>
                      <a:pt x="266" y="408"/>
                    </a:lnTo>
                    <a:lnTo>
                      <a:pt x="266" y="410"/>
                    </a:lnTo>
                    <a:lnTo>
                      <a:pt x="266" y="414"/>
                    </a:lnTo>
                    <a:lnTo>
                      <a:pt x="266" y="416"/>
                    </a:lnTo>
                    <a:lnTo>
                      <a:pt x="266" y="416"/>
                    </a:lnTo>
                    <a:lnTo>
                      <a:pt x="266" y="420"/>
                    </a:lnTo>
                    <a:lnTo>
                      <a:pt x="264" y="422"/>
                    </a:lnTo>
                    <a:lnTo>
                      <a:pt x="264" y="424"/>
                    </a:lnTo>
                    <a:lnTo>
                      <a:pt x="262" y="424"/>
                    </a:lnTo>
                    <a:lnTo>
                      <a:pt x="262" y="424"/>
                    </a:lnTo>
                    <a:lnTo>
                      <a:pt x="264" y="430"/>
                    </a:lnTo>
                    <a:lnTo>
                      <a:pt x="268" y="434"/>
                    </a:lnTo>
                    <a:lnTo>
                      <a:pt x="268" y="434"/>
                    </a:lnTo>
                    <a:lnTo>
                      <a:pt x="270" y="438"/>
                    </a:lnTo>
                    <a:lnTo>
                      <a:pt x="272" y="442"/>
                    </a:lnTo>
                    <a:lnTo>
                      <a:pt x="272" y="444"/>
                    </a:lnTo>
                    <a:lnTo>
                      <a:pt x="274" y="446"/>
                    </a:lnTo>
                    <a:lnTo>
                      <a:pt x="274" y="450"/>
                    </a:lnTo>
                    <a:lnTo>
                      <a:pt x="274" y="452"/>
                    </a:lnTo>
                    <a:lnTo>
                      <a:pt x="274" y="452"/>
                    </a:lnTo>
                    <a:lnTo>
                      <a:pt x="272" y="458"/>
                    </a:lnTo>
                    <a:lnTo>
                      <a:pt x="272" y="458"/>
                    </a:lnTo>
                    <a:lnTo>
                      <a:pt x="272" y="460"/>
                    </a:lnTo>
                    <a:lnTo>
                      <a:pt x="272" y="462"/>
                    </a:lnTo>
                    <a:lnTo>
                      <a:pt x="274" y="464"/>
                    </a:lnTo>
                    <a:lnTo>
                      <a:pt x="276" y="466"/>
                    </a:lnTo>
                    <a:lnTo>
                      <a:pt x="278" y="466"/>
                    </a:lnTo>
                    <a:lnTo>
                      <a:pt x="278" y="466"/>
                    </a:lnTo>
                    <a:lnTo>
                      <a:pt x="288" y="468"/>
                    </a:lnTo>
                    <a:lnTo>
                      <a:pt x="292" y="470"/>
                    </a:lnTo>
                    <a:lnTo>
                      <a:pt x="298" y="470"/>
                    </a:lnTo>
                    <a:lnTo>
                      <a:pt x="298" y="470"/>
                    </a:lnTo>
                    <a:lnTo>
                      <a:pt x="300" y="470"/>
                    </a:lnTo>
                    <a:lnTo>
                      <a:pt x="304" y="470"/>
                    </a:lnTo>
                    <a:lnTo>
                      <a:pt x="304" y="470"/>
                    </a:lnTo>
                    <a:lnTo>
                      <a:pt x="306" y="470"/>
                    </a:lnTo>
                    <a:lnTo>
                      <a:pt x="308" y="472"/>
                    </a:lnTo>
                    <a:lnTo>
                      <a:pt x="310" y="474"/>
                    </a:lnTo>
                    <a:lnTo>
                      <a:pt x="310" y="476"/>
                    </a:lnTo>
                    <a:lnTo>
                      <a:pt x="312" y="478"/>
                    </a:lnTo>
                    <a:lnTo>
                      <a:pt x="312" y="478"/>
                    </a:lnTo>
                    <a:lnTo>
                      <a:pt x="314" y="482"/>
                    </a:lnTo>
                    <a:lnTo>
                      <a:pt x="314" y="486"/>
                    </a:lnTo>
                    <a:lnTo>
                      <a:pt x="316" y="488"/>
                    </a:lnTo>
                    <a:lnTo>
                      <a:pt x="318" y="488"/>
                    </a:lnTo>
                    <a:lnTo>
                      <a:pt x="318" y="490"/>
                    </a:lnTo>
                    <a:lnTo>
                      <a:pt x="322" y="492"/>
                    </a:lnTo>
                    <a:lnTo>
                      <a:pt x="322" y="492"/>
                    </a:lnTo>
                    <a:lnTo>
                      <a:pt x="324" y="492"/>
                    </a:lnTo>
                    <a:lnTo>
                      <a:pt x="328" y="494"/>
                    </a:lnTo>
                    <a:lnTo>
                      <a:pt x="330" y="496"/>
                    </a:lnTo>
                    <a:lnTo>
                      <a:pt x="330" y="496"/>
                    </a:lnTo>
                    <a:lnTo>
                      <a:pt x="332" y="498"/>
                    </a:lnTo>
                    <a:lnTo>
                      <a:pt x="334" y="500"/>
                    </a:lnTo>
                    <a:lnTo>
                      <a:pt x="334" y="500"/>
                    </a:lnTo>
                    <a:lnTo>
                      <a:pt x="334" y="502"/>
                    </a:lnTo>
                    <a:lnTo>
                      <a:pt x="334" y="504"/>
                    </a:lnTo>
                    <a:lnTo>
                      <a:pt x="334" y="508"/>
                    </a:lnTo>
                    <a:lnTo>
                      <a:pt x="334" y="512"/>
                    </a:lnTo>
                    <a:lnTo>
                      <a:pt x="334" y="514"/>
                    </a:lnTo>
                    <a:lnTo>
                      <a:pt x="336" y="516"/>
                    </a:lnTo>
                    <a:lnTo>
                      <a:pt x="336" y="518"/>
                    </a:lnTo>
                    <a:lnTo>
                      <a:pt x="336" y="518"/>
                    </a:lnTo>
                    <a:lnTo>
                      <a:pt x="342" y="526"/>
                    </a:lnTo>
                    <a:lnTo>
                      <a:pt x="344" y="530"/>
                    </a:lnTo>
                    <a:lnTo>
                      <a:pt x="344" y="534"/>
                    </a:lnTo>
                    <a:lnTo>
                      <a:pt x="344" y="534"/>
                    </a:lnTo>
                    <a:lnTo>
                      <a:pt x="348" y="538"/>
                    </a:lnTo>
                    <a:lnTo>
                      <a:pt x="348" y="540"/>
                    </a:lnTo>
                    <a:lnTo>
                      <a:pt x="348" y="542"/>
                    </a:lnTo>
                    <a:lnTo>
                      <a:pt x="348" y="546"/>
                    </a:lnTo>
                    <a:lnTo>
                      <a:pt x="348" y="548"/>
                    </a:lnTo>
                    <a:lnTo>
                      <a:pt x="348" y="550"/>
                    </a:lnTo>
                    <a:lnTo>
                      <a:pt x="344" y="552"/>
                    </a:lnTo>
                    <a:lnTo>
                      <a:pt x="344" y="552"/>
                    </a:lnTo>
                    <a:lnTo>
                      <a:pt x="342" y="552"/>
                    </a:lnTo>
                    <a:lnTo>
                      <a:pt x="340" y="554"/>
                    </a:lnTo>
                    <a:lnTo>
                      <a:pt x="336" y="554"/>
                    </a:lnTo>
                    <a:lnTo>
                      <a:pt x="336" y="554"/>
                    </a:lnTo>
                    <a:lnTo>
                      <a:pt x="334" y="554"/>
                    </a:lnTo>
                    <a:lnTo>
                      <a:pt x="332" y="556"/>
                    </a:lnTo>
                    <a:lnTo>
                      <a:pt x="330" y="560"/>
                    </a:lnTo>
                    <a:lnTo>
                      <a:pt x="330" y="560"/>
                    </a:lnTo>
                    <a:lnTo>
                      <a:pt x="328" y="562"/>
                    </a:lnTo>
                    <a:lnTo>
                      <a:pt x="328" y="564"/>
                    </a:lnTo>
                    <a:lnTo>
                      <a:pt x="326" y="566"/>
                    </a:lnTo>
                    <a:lnTo>
                      <a:pt x="324" y="566"/>
                    </a:lnTo>
                    <a:lnTo>
                      <a:pt x="322" y="568"/>
                    </a:lnTo>
                    <a:lnTo>
                      <a:pt x="320" y="570"/>
                    </a:lnTo>
                    <a:lnTo>
                      <a:pt x="318" y="570"/>
                    </a:lnTo>
                    <a:lnTo>
                      <a:pt x="318" y="574"/>
                    </a:lnTo>
                    <a:lnTo>
                      <a:pt x="318" y="574"/>
                    </a:lnTo>
                    <a:lnTo>
                      <a:pt x="318" y="574"/>
                    </a:lnTo>
                    <a:lnTo>
                      <a:pt x="318" y="576"/>
                    </a:lnTo>
                    <a:lnTo>
                      <a:pt x="318" y="576"/>
                    </a:lnTo>
                    <a:lnTo>
                      <a:pt x="318" y="578"/>
                    </a:lnTo>
                    <a:lnTo>
                      <a:pt x="318" y="578"/>
                    </a:lnTo>
                    <a:lnTo>
                      <a:pt x="316" y="578"/>
                    </a:lnTo>
                    <a:lnTo>
                      <a:pt x="316" y="580"/>
                    </a:lnTo>
                    <a:lnTo>
                      <a:pt x="312" y="582"/>
                    </a:lnTo>
                    <a:lnTo>
                      <a:pt x="312" y="582"/>
                    </a:lnTo>
                    <a:lnTo>
                      <a:pt x="310" y="584"/>
                    </a:lnTo>
                    <a:lnTo>
                      <a:pt x="310" y="586"/>
                    </a:lnTo>
                    <a:lnTo>
                      <a:pt x="310" y="588"/>
                    </a:lnTo>
                    <a:lnTo>
                      <a:pt x="308" y="590"/>
                    </a:lnTo>
                    <a:lnTo>
                      <a:pt x="308" y="590"/>
                    </a:lnTo>
                    <a:lnTo>
                      <a:pt x="306" y="596"/>
                    </a:lnTo>
                    <a:lnTo>
                      <a:pt x="304" y="600"/>
                    </a:lnTo>
                    <a:lnTo>
                      <a:pt x="304" y="600"/>
                    </a:lnTo>
                    <a:lnTo>
                      <a:pt x="302" y="604"/>
                    </a:lnTo>
                    <a:lnTo>
                      <a:pt x="300" y="606"/>
                    </a:lnTo>
                    <a:lnTo>
                      <a:pt x="300" y="608"/>
                    </a:lnTo>
                    <a:lnTo>
                      <a:pt x="300" y="608"/>
                    </a:lnTo>
                    <a:lnTo>
                      <a:pt x="302" y="608"/>
                    </a:lnTo>
                    <a:lnTo>
                      <a:pt x="304" y="606"/>
                    </a:lnTo>
                    <a:lnTo>
                      <a:pt x="306" y="606"/>
                    </a:lnTo>
                    <a:lnTo>
                      <a:pt x="310" y="606"/>
                    </a:lnTo>
                    <a:lnTo>
                      <a:pt x="310" y="606"/>
                    </a:lnTo>
                    <a:lnTo>
                      <a:pt x="310" y="606"/>
                    </a:lnTo>
                    <a:lnTo>
                      <a:pt x="312" y="608"/>
                    </a:lnTo>
                    <a:lnTo>
                      <a:pt x="316" y="612"/>
                    </a:lnTo>
                    <a:lnTo>
                      <a:pt x="316" y="612"/>
                    </a:lnTo>
                    <a:lnTo>
                      <a:pt x="320" y="614"/>
                    </a:lnTo>
                    <a:lnTo>
                      <a:pt x="322" y="618"/>
                    </a:lnTo>
                    <a:lnTo>
                      <a:pt x="322" y="618"/>
                    </a:lnTo>
                    <a:lnTo>
                      <a:pt x="324" y="618"/>
                    </a:lnTo>
                    <a:lnTo>
                      <a:pt x="326" y="618"/>
                    </a:lnTo>
                    <a:lnTo>
                      <a:pt x="328" y="618"/>
                    </a:lnTo>
                    <a:lnTo>
                      <a:pt x="330" y="618"/>
                    </a:lnTo>
                    <a:lnTo>
                      <a:pt x="332" y="620"/>
                    </a:lnTo>
                    <a:lnTo>
                      <a:pt x="332" y="620"/>
                    </a:lnTo>
                    <a:lnTo>
                      <a:pt x="332" y="620"/>
                    </a:lnTo>
                    <a:lnTo>
                      <a:pt x="334" y="622"/>
                    </a:lnTo>
                    <a:lnTo>
                      <a:pt x="334" y="624"/>
                    </a:lnTo>
                    <a:lnTo>
                      <a:pt x="336" y="624"/>
                    </a:lnTo>
                    <a:lnTo>
                      <a:pt x="338" y="626"/>
                    </a:lnTo>
                    <a:lnTo>
                      <a:pt x="338" y="626"/>
                    </a:lnTo>
                    <a:lnTo>
                      <a:pt x="340" y="628"/>
                    </a:lnTo>
                    <a:lnTo>
                      <a:pt x="342" y="628"/>
                    </a:lnTo>
                    <a:lnTo>
                      <a:pt x="348" y="630"/>
                    </a:lnTo>
                    <a:lnTo>
                      <a:pt x="348" y="630"/>
                    </a:lnTo>
                    <a:lnTo>
                      <a:pt x="350" y="630"/>
                    </a:lnTo>
                    <a:lnTo>
                      <a:pt x="350" y="632"/>
                    </a:lnTo>
                    <a:lnTo>
                      <a:pt x="354" y="634"/>
                    </a:lnTo>
                    <a:lnTo>
                      <a:pt x="354" y="634"/>
                    </a:lnTo>
                    <a:lnTo>
                      <a:pt x="356" y="636"/>
                    </a:lnTo>
                    <a:lnTo>
                      <a:pt x="358" y="638"/>
                    </a:lnTo>
                    <a:lnTo>
                      <a:pt x="362" y="640"/>
                    </a:lnTo>
                    <a:lnTo>
                      <a:pt x="362" y="640"/>
                    </a:lnTo>
                    <a:lnTo>
                      <a:pt x="366" y="640"/>
                    </a:lnTo>
                    <a:lnTo>
                      <a:pt x="370" y="642"/>
                    </a:lnTo>
                    <a:lnTo>
                      <a:pt x="376" y="642"/>
                    </a:lnTo>
                    <a:lnTo>
                      <a:pt x="380" y="644"/>
                    </a:lnTo>
                    <a:lnTo>
                      <a:pt x="380" y="644"/>
                    </a:lnTo>
                    <a:lnTo>
                      <a:pt x="380" y="642"/>
                    </a:lnTo>
                    <a:lnTo>
                      <a:pt x="380" y="642"/>
                    </a:lnTo>
                    <a:lnTo>
                      <a:pt x="380" y="640"/>
                    </a:lnTo>
                    <a:lnTo>
                      <a:pt x="382" y="638"/>
                    </a:lnTo>
                    <a:lnTo>
                      <a:pt x="382" y="638"/>
                    </a:lnTo>
                    <a:lnTo>
                      <a:pt x="382" y="636"/>
                    </a:lnTo>
                    <a:lnTo>
                      <a:pt x="382" y="636"/>
                    </a:lnTo>
                    <a:lnTo>
                      <a:pt x="384" y="634"/>
                    </a:lnTo>
                    <a:lnTo>
                      <a:pt x="384" y="634"/>
                    </a:lnTo>
                    <a:lnTo>
                      <a:pt x="384" y="630"/>
                    </a:lnTo>
                    <a:lnTo>
                      <a:pt x="384" y="630"/>
                    </a:lnTo>
                    <a:lnTo>
                      <a:pt x="386" y="628"/>
                    </a:lnTo>
                    <a:lnTo>
                      <a:pt x="386" y="628"/>
                    </a:lnTo>
                    <a:lnTo>
                      <a:pt x="388" y="626"/>
                    </a:lnTo>
                    <a:lnTo>
                      <a:pt x="388" y="626"/>
                    </a:lnTo>
                    <a:lnTo>
                      <a:pt x="390" y="624"/>
                    </a:lnTo>
                    <a:lnTo>
                      <a:pt x="390" y="624"/>
                    </a:lnTo>
                    <a:lnTo>
                      <a:pt x="392" y="622"/>
                    </a:lnTo>
                    <a:lnTo>
                      <a:pt x="392" y="620"/>
                    </a:lnTo>
                    <a:lnTo>
                      <a:pt x="394" y="616"/>
                    </a:lnTo>
                    <a:lnTo>
                      <a:pt x="394" y="610"/>
                    </a:lnTo>
                    <a:lnTo>
                      <a:pt x="394" y="610"/>
                    </a:lnTo>
                    <a:lnTo>
                      <a:pt x="394" y="606"/>
                    </a:lnTo>
                    <a:lnTo>
                      <a:pt x="394" y="604"/>
                    </a:lnTo>
                    <a:lnTo>
                      <a:pt x="394" y="604"/>
                    </a:lnTo>
                    <a:lnTo>
                      <a:pt x="394" y="604"/>
                    </a:lnTo>
                    <a:lnTo>
                      <a:pt x="394" y="604"/>
                    </a:lnTo>
                    <a:lnTo>
                      <a:pt x="396" y="602"/>
                    </a:lnTo>
                    <a:lnTo>
                      <a:pt x="396" y="602"/>
                    </a:lnTo>
                    <a:lnTo>
                      <a:pt x="398" y="602"/>
                    </a:lnTo>
                    <a:lnTo>
                      <a:pt x="398" y="604"/>
                    </a:lnTo>
                    <a:lnTo>
                      <a:pt x="398" y="606"/>
                    </a:lnTo>
                    <a:lnTo>
                      <a:pt x="398" y="606"/>
                    </a:lnTo>
                    <a:lnTo>
                      <a:pt x="398" y="606"/>
                    </a:lnTo>
                    <a:lnTo>
                      <a:pt x="398" y="606"/>
                    </a:lnTo>
                    <a:lnTo>
                      <a:pt x="400" y="608"/>
                    </a:lnTo>
                    <a:lnTo>
                      <a:pt x="400" y="606"/>
                    </a:lnTo>
                    <a:lnTo>
                      <a:pt x="402" y="606"/>
                    </a:lnTo>
                    <a:lnTo>
                      <a:pt x="402" y="606"/>
                    </a:lnTo>
                    <a:lnTo>
                      <a:pt x="402" y="606"/>
                    </a:lnTo>
                    <a:lnTo>
                      <a:pt x="402" y="606"/>
                    </a:lnTo>
                    <a:lnTo>
                      <a:pt x="402" y="608"/>
                    </a:lnTo>
                    <a:lnTo>
                      <a:pt x="402" y="608"/>
                    </a:lnTo>
                    <a:lnTo>
                      <a:pt x="402" y="608"/>
                    </a:lnTo>
                    <a:lnTo>
                      <a:pt x="402" y="610"/>
                    </a:lnTo>
                    <a:lnTo>
                      <a:pt x="402" y="612"/>
                    </a:lnTo>
                    <a:lnTo>
                      <a:pt x="402" y="612"/>
                    </a:lnTo>
                    <a:lnTo>
                      <a:pt x="402" y="614"/>
                    </a:lnTo>
                    <a:lnTo>
                      <a:pt x="400" y="616"/>
                    </a:lnTo>
                    <a:lnTo>
                      <a:pt x="400" y="618"/>
                    </a:lnTo>
                    <a:lnTo>
                      <a:pt x="400" y="620"/>
                    </a:lnTo>
                    <a:lnTo>
                      <a:pt x="400" y="620"/>
                    </a:lnTo>
                    <a:lnTo>
                      <a:pt x="398" y="622"/>
                    </a:lnTo>
                    <a:lnTo>
                      <a:pt x="396" y="624"/>
                    </a:lnTo>
                    <a:lnTo>
                      <a:pt x="396" y="624"/>
                    </a:lnTo>
                    <a:lnTo>
                      <a:pt x="394" y="626"/>
                    </a:lnTo>
                    <a:lnTo>
                      <a:pt x="394" y="626"/>
                    </a:lnTo>
                    <a:lnTo>
                      <a:pt x="392" y="630"/>
                    </a:lnTo>
                    <a:lnTo>
                      <a:pt x="392" y="630"/>
                    </a:lnTo>
                    <a:lnTo>
                      <a:pt x="392" y="634"/>
                    </a:lnTo>
                    <a:lnTo>
                      <a:pt x="392" y="634"/>
                    </a:lnTo>
                    <a:lnTo>
                      <a:pt x="392" y="632"/>
                    </a:lnTo>
                    <a:lnTo>
                      <a:pt x="394" y="632"/>
                    </a:lnTo>
                    <a:lnTo>
                      <a:pt x="396" y="630"/>
                    </a:lnTo>
                    <a:lnTo>
                      <a:pt x="396" y="628"/>
                    </a:lnTo>
                    <a:lnTo>
                      <a:pt x="396" y="628"/>
                    </a:lnTo>
                    <a:lnTo>
                      <a:pt x="398" y="624"/>
                    </a:lnTo>
                    <a:lnTo>
                      <a:pt x="402" y="622"/>
                    </a:lnTo>
                    <a:lnTo>
                      <a:pt x="402" y="622"/>
                    </a:lnTo>
                    <a:lnTo>
                      <a:pt x="402" y="620"/>
                    </a:lnTo>
                    <a:lnTo>
                      <a:pt x="404" y="618"/>
                    </a:lnTo>
                    <a:lnTo>
                      <a:pt x="404" y="616"/>
                    </a:lnTo>
                    <a:lnTo>
                      <a:pt x="404" y="616"/>
                    </a:lnTo>
                    <a:lnTo>
                      <a:pt x="404" y="614"/>
                    </a:lnTo>
                    <a:lnTo>
                      <a:pt x="404" y="612"/>
                    </a:lnTo>
                    <a:lnTo>
                      <a:pt x="404" y="610"/>
                    </a:lnTo>
                    <a:lnTo>
                      <a:pt x="404" y="610"/>
                    </a:lnTo>
                    <a:lnTo>
                      <a:pt x="406" y="608"/>
                    </a:lnTo>
                    <a:lnTo>
                      <a:pt x="406" y="608"/>
                    </a:lnTo>
                    <a:lnTo>
                      <a:pt x="408" y="606"/>
                    </a:lnTo>
                    <a:lnTo>
                      <a:pt x="408" y="604"/>
                    </a:lnTo>
                    <a:lnTo>
                      <a:pt x="408" y="604"/>
                    </a:lnTo>
                    <a:lnTo>
                      <a:pt x="408" y="604"/>
                    </a:lnTo>
                    <a:lnTo>
                      <a:pt x="410" y="602"/>
                    </a:lnTo>
                    <a:lnTo>
                      <a:pt x="410" y="600"/>
                    </a:lnTo>
                    <a:lnTo>
                      <a:pt x="410" y="600"/>
                    </a:lnTo>
                    <a:lnTo>
                      <a:pt x="410" y="600"/>
                    </a:lnTo>
                    <a:lnTo>
                      <a:pt x="414" y="592"/>
                    </a:lnTo>
                    <a:lnTo>
                      <a:pt x="416" y="590"/>
                    </a:lnTo>
                    <a:lnTo>
                      <a:pt x="418" y="586"/>
                    </a:lnTo>
                    <a:lnTo>
                      <a:pt x="418" y="586"/>
                    </a:lnTo>
                    <a:lnTo>
                      <a:pt x="418" y="582"/>
                    </a:lnTo>
                    <a:lnTo>
                      <a:pt x="420" y="580"/>
                    </a:lnTo>
                    <a:lnTo>
                      <a:pt x="424" y="574"/>
                    </a:lnTo>
                    <a:lnTo>
                      <a:pt x="424" y="574"/>
                    </a:lnTo>
                    <a:lnTo>
                      <a:pt x="426" y="572"/>
                    </a:lnTo>
                    <a:lnTo>
                      <a:pt x="426" y="568"/>
                    </a:lnTo>
                    <a:lnTo>
                      <a:pt x="426" y="566"/>
                    </a:lnTo>
                    <a:lnTo>
                      <a:pt x="426" y="566"/>
                    </a:lnTo>
                    <a:lnTo>
                      <a:pt x="426" y="564"/>
                    </a:lnTo>
                    <a:lnTo>
                      <a:pt x="426" y="562"/>
                    </a:lnTo>
                    <a:lnTo>
                      <a:pt x="426" y="562"/>
                    </a:lnTo>
                    <a:lnTo>
                      <a:pt x="424" y="560"/>
                    </a:lnTo>
                    <a:lnTo>
                      <a:pt x="422" y="558"/>
                    </a:lnTo>
                    <a:lnTo>
                      <a:pt x="422" y="556"/>
                    </a:lnTo>
                    <a:lnTo>
                      <a:pt x="422" y="556"/>
                    </a:lnTo>
                    <a:lnTo>
                      <a:pt x="424" y="554"/>
                    </a:lnTo>
                    <a:lnTo>
                      <a:pt x="424" y="554"/>
                    </a:lnTo>
                    <a:lnTo>
                      <a:pt x="424" y="554"/>
                    </a:lnTo>
                    <a:lnTo>
                      <a:pt x="426" y="552"/>
                    </a:lnTo>
                    <a:lnTo>
                      <a:pt x="426" y="550"/>
                    </a:lnTo>
                    <a:lnTo>
                      <a:pt x="426" y="550"/>
                    </a:lnTo>
                    <a:lnTo>
                      <a:pt x="426" y="550"/>
                    </a:lnTo>
                    <a:lnTo>
                      <a:pt x="426" y="548"/>
                    </a:lnTo>
                    <a:lnTo>
                      <a:pt x="426" y="546"/>
                    </a:lnTo>
                    <a:lnTo>
                      <a:pt x="426" y="544"/>
                    </a:lnTo>
                    <a:lnTo>
                      <a:pt x="426" y="544"/>
                    </a:lnTo>
                    <a:lnTo>
                      <a:pt x="424" y="540"/>
                    </a:lnTo>
                    <a:lnTo>
                      <a:pt x="424" y="538"/>
                    </a:lnTo>
                    <a:lnTo>
                      <a:pt x="424" y="534"/>
                    </a:lnTo>
                    <a:lnTo>
                      <a:pt x="424" y="534"/>
                    </a:lnTo>
                    <a:lnTo>
                      <a:pt x="424" y="532"/>
                    </a:lnTo>
                    <a:lnTo>
                      <a:pt x="424" y="532"/>
                    </a:lnTo>
                    <a:lnTo>
                      <a:pt x="422" y="530"/>
                    </a:lnTo>
                    <a:lnTo>
                      <a:pt x="422" y="528"/>
                    </a:lnTo>
                    <a:lnTo>
                      <a:pt x="422" y="528"/>
                    </a:lnTo>
                    <a:lnTo>
                      <a:pt x="422" y="528"/>
                    </a:lnTo>
                    <a:lnTo>
                      <a:pt x="422" y="526"/>
                    </a:lnTo>
                    <a:lnTo>
                      <a:pt x="424" y="524"/>
                    </a:lnTo>
                    <a:lnTo>
                      <a:pt x="426" y="520"/>
                    </a:lnTo>
                    <a:lnTo>
                      <a:pt x="430" y="516"/>
                    </a:lnTo>
                    <a:lnTo>
                      <a:pt x="430" y="516"/>
                    </a:lnTo>
                    <a:lnTo>
                      <a:pt x="432" y="514"/>
                    </a:lnTo>
                    <a:lnTo>
                      <a:pt x="434" y="512"/>
                    </a:lnTo>
                    <a:lnTo>
                      <a:pt x="434" y="512"/>
                    </a:lnTo>
                    <a:lnTo>
                      <a:pt x="436" y="510"/>
                    </a:lnTo>
                    <a:lnTo>
                      <a:pt x="438" y="508"/>
                    </a:lnTo>
                    <a:lnTo>
                      <a:pt x="438" y="508"/>
                    </a:lnTo>
                    <a:lnTo>
                      <a:pt x="440" y="506"/>
                    </a:lnTo>
                    <a:lnTo>
                      <a:pt x="444" y="504"/>
                    </a:lnTo>
                    <a:lnTo>
                      <a:pt x="448" y="500"/>
                    </a:lnTo>
                    <a:lnTo>
                      <a:pt x="448" y="500"/>
                    </a:lnTo>
                    <a:lnTo>
                      <a:pt x="450" y="498"/>
                    </a:lnTo>
                    <a:lnTo>
                      <a:pt x="452" y="496"/>
                    </a:lnTo>
                    <a:lnTo>
                      <a:pt x="454" y="494"/>
                    </a:lnTo>
                    <a:lnTo>
                      <a:pt x="458" y="492"/>
                    </a:lnTo>
                    <a:lnTo>
                      <a:pt x="458" y="492"/>
                    </a:lnTo>
                    <a:lnTo>
                      <a:pt x="460" y="490"/>
                    </a:lnTo>
                    <a:lnTo>
                      <a:pt x="464" y="490"/>
                    </a:lnTo>
                    <a:lnTo>
                      <a:pt x="466" y="490"/>
                    </a:lnTo>
                    <a:lnTo>
                      <a:pt x="470" y="490"/>
                    </a:lnTo>
                    <a:lnTo>
                      <a:pt x="470" y="490"/>
                    </a:lnTo>
                    <a:lnTo>
                      <a:pt x="472" y="488"/>
                    </a:lnTo>
                    <a:lnTo>
                      <a:pt x="474" y="486"/>
                    </a:lnTo>
                    <a:lnTo>
                      <a:pt x="478" y="482"/>
                    </a:lnTo>
                    <a:lnTo>
                      <a:pt x="478" y="482"/>
                    </a:lnTo>
                    <a:lnTo>
                      <a:pt x="480" y="480"/>
                    </a:lnTo>
                    <a:lnTo>
                      <a:pt x="482" y="478"/>
                    </a:lnTo>
                    <a:lnTo>
                      <a:pt x="484" y="476"/>
                    </a:lnTo>
                    <a:lnTo>
                      <a:pt x="486" y="474"/>
                    </a:lnTo>
                    <a:lnTo>
                      <a:pt x="488" y="474"/>
                    </a:lnTo>
                    <a:lnTo>
                      <a:pt x="488" y="474"/>
                    </a:lnTo>
                    <a:lnTo>
                      <a:pt x="488" y="474"/>
                    </a:lnTo>
                    <a:lnTo>
                      <a:pt x="490" y="474"/>
                    </a:lnTo>
                    <a:lnTo>
                      <a:pt x="494" y="476"/>
                    </a:lnTo>
                    <a:lnTo>
                      <a:pt x="496" y="476"/>
                    </a:lnTo>
                    <a:lnTo>
                      <a:pt x="498" y="476"/>
                    </a:lnTo>
                    <a:lnTo>
                      <a:pt x="498" y="476"/>
                    </a:lnTo>
                    <a:lnTo>
                      <a:pt x="498" y="476"/>
                    </a:lnTo>
                    <a:lnTo>
                      <a:pt x="502" y="476"/>
                    </a:lnTo>
                    <a:lnTo>
                      <a:pt x="506" y="474"/>
                    </a:lnTo>
                    <a:lnTo>
                      <a:pt x="506" y="474"/>
                    </a:lnTo>
                    <a:lnTo>
                      <a:pt x="506" y="474"/>
                    </a:lnTo>
                    <a:lnTo>
                      <a:pt x="508" y="474"/>
                    </a:lnTo>
                    <a:lnTo>
                      <a:pt x="510" y="474"/>
                    </a:lnTo>
                    <a:lnTo>
                      <a:pt x="512" y="474"/>
                    </a:lnTo>
                    <a:lnTo>
                      <a:pt x="512" y="474"/>
                    </a:lnTo>
                    <a:lnTo>
                      <a:pt x="514" y="474"/>
                    </a:lnTo>
                    <a:lnTo>
                      <a:pt x="516" y="472"/>
                    </a:lnTo>
                    <a:lnTo>
                      <a:pt x="518" y="470"/>
                    </a:lnTo>
                    <a:lnTo>
                      <a:pt x="518" y="470"/>
                    </a:lnTo>
                    <a:lnTo>
                      <a:pt x="522" y="468"/>
                    </a:lnTo>
                    <a:lnTo>
                      <a:pt x="522" y="466"/>
                    </a:lnTo>
                    <a:lnTo>
                      <a:pt x="526" y="464"/>
                    </a:lnTo>
                    <a:lnTo>
                      <a:pt x="528" y="464"/>
                    </a:lnTo>
                    <a:lnTo>
                      <a:pt x="528" y="464"/>
                    </a:lnTo>
                    <a:lnTo>
                      <a:pt x="532" y="462"/>
                    </a:lnTo>
                    <a:lnTo>
                      <a:pt x="532" y="462"/>
                    </a:lnTo>
                    <a:lnTo>
                      <a:pt x="532" y="460"/>
                    </a:lnTo>
                    <a:lnTo>
                      <a:pt x="532" y="460"/>
                    </a:lnTo>
                    <a:lnTo>
                      <a:pt x="532" y="460"/>
                    </a:lnTo>
                    <a:lnTo>
                      <a:pt x="532" y="458"/>
                    </a:lnTo>
                    <a:lnTo>
                      <a:pt x="530" y="458"/>
                    </a:lnTo>
                    <a:lnTo>
                      <a:pt x="528" y="454"/>
                    </a:lnTo>
                    <a:lnTo>
                      <a:pt x="528" y="454"/>
                    </a:lnTo>
                    <a:lnTo>
                      <a:pt x="528" y="452"/>
                    </a:lnTo>
                    <a:lnTo>
                      <a:pt x="528" y="452"/>
                    </a:lnTo>
                    <a:lnTo>
                      <a:pt x="528" y="450"/>
                    </a:lnTo>
                    <a:lnTo>
                      <a:pt x="528" y="450"/>
                    </a:lnTo>
                    <a:lnTo>
                      <a:pt x="530" y="448"/>
                    </a:lnTo>
                    <a:lnTo>
                      <a:pt x="532" y="446"/>
                    </a:lnTo>
                    <a:lnTo>
                      <a:pt x="534" y="446"/>
                    </a:lnTo>
                    <a:lnTo>
                      <a:pt x="534" y="446"/>
                    </a:lnTo>
                    <a:lnTo>
                      <a:pt x="534" y="444"/>
                    </a:lnTo>
                    <a:lnTo>
                      <a:pt x="534" y="442"/>
                    </a:lnTo>
                    <a:lnTo>
                      <a:pt x="534" y="442"/>
                    </a:lnTo>
                    <a:lnTo>
                      <a:pt x="534" y="440"/>
                    </a:lnTo>
                    <a:lnTo>
                      <a:pt x="534" y="440"/>
                    </a:lnTo>
                    <a:lnTo>
                      <a:pt x="534" y="438"/>
                    </a:lnTo>
                    <a:lnTo>
                      <a:pt x="536" y="436"/>
                    </a:lnTo>
                    <a:lnTo>
                      <a:pt x="538" y="434"/>
                    </a:lnTo>
                    <a:lnTo>
                      <a:pt x="538" y="434"/>
                    </a:lnTo>
                    <a:lnTo>
                      <a:pt x="540" y="432"/>
                    </a:lnTo>
                    <a:lnTo>
                      <a:pt x="540" y="430"/>
                    </a:lnTo>
                    <a:lnTo>
                      <a:pt x="540" y="430"/>
                    </a:lnTo>
                    <a:lnTo>
                      <a:pt x="542" y="426"/>
                    </a:lnTo>
                    <a:lnTo>
                      <a:pt x="546" y="424"/>
                    </a:lnTo>
                    <a:lnTo>
                      <a:pt x="546" y="424"/>
                    </a:lnTo>
                    <a:lnTo>
                      <a:pt x="546" y="422"/>
                    </a:lnTo>
                    <a:lnTo>
                      <a:pt x="548" y="418"/>
                    </a:lnTo>
                    <a:lnTo>
                      <a:pt x="548" y="418"/>
                    </a:lnTo>
                    <a:lnTo>
                      <a:pt x="548" y="418"/>
                    </a:lnTo>
                    <a:lnTo>
                      <a:pt x="548" y="416"/>
                    </a:lnTo>
                    <a:lnTo>
                      <a:pt x="548" y="414"/>
                    </a:lnTo>
                    <a:lnTo>
                      <a:pt x="548" y="412"/>
                    </a:lnTo>
                    <a:lnTo>
                      <a:pt x="548" y="412"/>
                    </a:lnTo>
                    <a:lnTo>
                      <a:pt x="550" y="410"/>
                    </a:lnTo>
                    <a:lnTo>
                      <a:pt x="550" y="410"/>
                    </a:lnTo>
                    <a:lnTo>
                      <a:pt x="550" y="408"/>
                    </a:lnTo>
                    <a:lnTo>
                      <a:pt x="550" y="408"/>
                    </a:lnTo>
                    <a:lnTo>
                      <a:pt x="550" y="404"/>
                    </a:lnTo>
                    <a:lnTo>
                      <a:pt x="550" y="402"/>
                    </a:lnTo>
                    <a:lnTo>
                      <a:pt x="550" y="402"/>
                    </a:lnTo>
                    <a:lnTo>
                      <a:pt x="550" y="400"/>
                    </a:lnTo>
                    <a:lnTo>
                      <a:pt x="552" y="398"/>
                    </a:lnTo>
                    <a:lnTo>
                      <a:pt x="552" y="394"/>
                    </a:lnTo>
                    <a:lnTo>
                      <a:pt x="552" y="394"/>
                    </a:lnTo>
                    <a:lnTo>
                      <a:pt x="552" y="388"/>
                    </a:lnTo>
                    <a:lnTo>
                      <a:pt x="552" y="386"/>
                    </a:lnTo>
                    <a:lnTo>
                      <a:pt x="554" y="382"/>
                    </a:lnTo>
                    <a:lnTo>
                      <a:pt x="554" y="382"/>
                    </a:lnTo>
                    <a:lnTo>
                      <a:pt x="554" y="378"/>
                    </a:lnTo>
                    <a:lnTo>
                      <a:pt x="556" y="374"/>
                    </a:lnTo>
                    <a:lnTo>
                      <a:pt x="556" y="370"/>
                    </a:lnTo>
                    <a:lnTo>
                      <a:pt x="558" y="366"/>
                    </a:lnTo>
                    <a:lnTo>
                      <a:pt x="558" y="366"/>
                    </a:lnTo>
                    <a:lnTo>
                      <a:pt x="558" y="362"/>
                    </a:lnTo>
                    <a:lnTo>
                      <a:pt x="558" y="358"/>
                    </a:lnTo>
                    <a:lnTo>
                      <a:pt x="556" y="350"/>
                    </a:lnTo>
                    <a:lnTo>
                      <a:pt x="556" y="350"/>
                    </a:lnTo>
                    <a:lnTo>
                      <a:pt x="556" y="340"/>
                    </a:lnTo>
                    <a:lnTo>
                      <a:pt x="556" y="330"/>
                    </a:lnTo>
                    <a:lnTo>
                      <a:pt x="556" y="330"/>
                    </a:lnTo>
                    <a:lnTo>
                      <a:pt x="556" y="328"/>
                    </a:lnTo>
                    <a:lnTo>
                      <a:pt x="556" y="326"/>
                    </a:lnTo>
                    <a:lnTo>
                      <a:pt x="554" y="322"/>
                    </a:lnTo>
                    <a:lnTo>
                      <a:pt x="554" y="322"/>
                    </a:lnTo>
                    <a:lnTo>
                      <a:pt x="554" y="320"/>
                    </a:lnTo>
                    <a:lnTo>
                      <a:pt x="554" y="318"/>
                    </a:lnTo>
                    <a:lnTo>
                      <a:pt x="554" y="316"/>
                    </a:lnTo>
                    <a:lnTo>
                      <a:pt x="554" y="316"/>
                    </a:lnTo>
                    <a:lnTo>
                      <a:pt x="556" y="312"/>
                    </a:lnTo>
                    <a:lnTo>
                      <a:pt x="556" y="310"/>
                    </a:lnTo>
                    <a:lnTo>
                      <a:pt x="556" y="308"/>
                    </a:lnTo>
                    <a:lnTo>
                      <a:pt x="556" y="308"/>
                    </a:lnTo>
                    <a:lnTo>
                      <a:pt x="556" y="306"/>
                    </a:lnTo>
                    <a:lnTo>
                      <a:pt x="554" y="306"/>
                    </a:lnTo>
                    <a:lnTo>
                      <a:pt x="552" y="304"/>
                    </a:lnTo>
                    <a:lnTo>
                      <a:pt x="552" y="304"/>
                    </a:lnTo>
                    <a:lnTo>
                      <a:pt x="552" y="302"/>
                    </a:lnTo>
                    <a:lnTo>
                      <a:pt x="550" y="300"/>
                    </a:lnTo>
                    <a:lnTo>
                      <a:pt x="550" y="298"/>
                    </a:lnTo>
                    <a:lnTo>
                      <a:pt x="550" y="296"/>
                    </a:lnTo>
                    <a:lnTo>
                      <a:pt x="550" y="296"/>
                    </a:lnTo>
                    <a:lnTo>
                      <a:pt x="550" y="296"/>
                    </a:lnTo>
                    <a:lnTo>
                      <a:pt x="552" y="296"/>
                    </a:lnTo>
                    <a:lnTo>
                      <a:pt x="552" y="296"/>
                    </a:lnTo>
                    <a:lnTo>
                      <a:pt x="554" y="298"/>
                    </a:lnTo>
                    <a:lnTo>
                      <a:pt x="554" y="300"/>
                    </a:lnTo>
                    <a:lnTo>
                      <a:pt x="554" y="300"/>
                    </a:lnTo>
                    <a:lnTo>
                      <a:pt x="556" y="300"/>
                    </a:lnTo>
                    <a:lnTo>
                      <a:pt x="556" y="300"/>
                    </a:lnTo>
                    <a:lnTo>
                      <a:pt x="560" y="300"/>
                    </a:lnTo>
                    <a:lnTo>
                      <a:pt x="560" y="300"/>
                    </a:lnTo>
                    <a:lnTo>
                      <a:pt x="562" y="298"/>
                    </a:lnTo>
                    <a:lnTo>
                      <a:pt x="566" y="296"/>
                    </a:lnTo>
                    <a:lnTo>
                      <a:pt x="568" y="292"/>
                    </a:lnTo>
                    <a:lnTo>
                      <a:pt x="570" y="292"/>
                    </a:lnTo>
                    <a:lnTo>
                      <a:pt x="570" y="292"/>
                    </a:lnTo>
                    <a:lnTo>
                      <a:pt x="572" y="288"/>
                    </a:lnTo>
                    <a:lnTo>
                      <a:pt x="574" y="284"/>
                    </a:lnTo>
                    <a:lnTo>
                      <a:pt x="576" y="282"/>
                    </a:lnTo>
                    <a:lnTo>
                      <a:pt x="578" y="278"/>
                    </a:lnTo>
                    <a:lnTo>
                      <a:pt x="578" y="278"/>
                    </a:lnTo>
                    <a:lnTo>
                      <a:pt x="582" y="276"/>
                    </a:lnTo>
                    <a:lnTo>
                      <a:pt x="584" y="274"/>
                    </a:lnTo>
                    <a:lnTo>
                      <a:pt x="584" y="274"/>
                    </a:lnTo>
                    <a:lnTo>
                      <a:pt x="584" y="274"/>
                    </a:lnTo>
                    <a:lnTo>
                      <a:pt x="588" y="270"/>
                    </a:lnTo>
                    <a:lnTo>
                      <a:pt x="590" y="268"/>
                    </a:lnTo>
                    <a:lnTo>
                      <a:pt x="590" y="268"/>
                    </a:lnTo>
                    <a:lnTo>
                      <a:pt x="598" y="260"/>
                    </a:lnTo>
                    <a:lnTo>
                      <a:pt x="598" y="260"/>
                    </a:lnTo>
                    <a:lnTo>
                      <a:pt x="604" y="256"/>
                    </a:lnTo>
                    <a:lnTo>
                      <a:pt x="604" y="256"/>
                    </a:lnTo>
                    <a:lnTo>
                      <a:pt x="606" y="252"/>
                    </a:lnTo>
                    <a:lnTo>
                      <a:pt x="610" y="250"/>
                    </a:lnTo>
                    <a:lnTo>
                      <a:pt x="612" y="248"/>
                    </a:lnTo>
                    <a:lnTo>
                      <a:pt x="614" y="246"/>
                    </a:lnTo>
                    <a:lnTo>
                      <a:pt x="616" y="244"/>
                    </a:lnTo>
                    <a:lnTo>
                      <a:pt x="616" y="244"/>
                    </a:lnTo>
                    <a:lnTo>
                      <a:pt x="616" y="242"/>
                    </a:lnTo>
                    <a:lnTo>
                      <a:pt x="618" y="240"/>
                    </a:lnTo>
                    <a:lnTo>
                      <a:pt x="618" y="240"/>
                    </a:lnTo>
                    <a:lnTo>
                      <a:pt x="618" y="236"/>
                    </a:lnTo>
                    <a:lnTo>
                      <a:pt x="620" y="234"/>
                    </a:lnTo>
                    <a:lnTo>
                      <a:pt x="620" y="234"/>
                    </a:lnTo>
                    <a:lnTo>
                      <a:pt x="620" y="230"/>
                    </a:lnTo>
                    <a:lnTo>
                      <a:pt x="620" y="226"/>
                    </a:lnTo>
                    <a:lnTo>
                      <a:pt x="620" y="220"/>
                    </a:lnTo>
                    <a:lnTo>
                      <a:pt x="620" y="204"/>
                    </a:lnTo>
                    <a:lnTo>
                      <a:pt x="620" y="204"/>
                    </a:lnTo>
                    <a:lnTo>
                      <a:pt x="620" y="198"/>
                    </a:lnTo>
                    <a:lnTo>
                      <a:pt x="620" y="190"/>
                    </a:lnTo>
                    <a:lnTo>
                      <a:pt x="620" y="186"/>
                    </a:lnTo>
                    <a:lnTo>
                      <a:pt x="620" y="182"/>
                    </a:lnTo>
                    <a:lnTo>
                      <a:pt x="620" y="180"/>
                    </a:lnTo>
                    <a:lnTo>
                      <a:pt x="618" y="176"/>
                    </a:lnTo>
                    <a:lnTo>
                      <a:pt x="618" y="176"/>
                    </a:lnTo>
                    <a:lnTo>
                      <a:pt x="618" y="176"/>
                    </a:lnTo>
                    <a:lnTo>
                      <a:pt x="618" y="176"/>
                    </a:lnTo>
                    <a:lnTo>
                      <a:pt x="618" y="17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61" name="Freeform 282"/>
              <p:cNvSpPr>
                <a:spLocks/>
              </p:cNvSpPr>
              <p:nvPr/>
            </p:nvSpPr>
            <p:spPr bwMode="auto">
              <a:xfrm>
                <a:off x="1831" y="3352"/>
                <a:ext cx="92" cy="88"/>
              </a:xfrm>
              <a:custGeom>
                <a:avLst/>
                <a:gdLst>
                  <a:gd name="T0" fmla="*/ 88 w 92"/>
                  <a:gd name="T1" fmla="*/ 40 h 88"/>
                  <a:gd name="T2" fmla="*/ 84 w 92"/>
                  <a:gd name="T3" fmla="*/ 36 h 88"/>
                  <a:gd name="T4" fmla="*/ 70 w 92"/>
                  <a:gd name="T5" fmla="*/ 34 h 88"/>
                  <a:gd name="T6" fmla="*/ 64 w 92"/>
                  <a:gd name="T7" fmla="*/ 30 h 88"/>
                  <a:gd name="T8" fmla="*/ 58 w 92"/>
                  <a:gd name="T9" fmla="*/ 26 h 88"/>
                  <a:gd name="T10" fmla="*/ 56 w 92"/>
                  <a:gd name="T11" fmla="*/ 24 h 88"/>
                  <a:gd name="T12" fmla="*/ 46 w 92"/>
                  <a:gd name="T13" fmla="*/ 20 h 88"/>
                  <a:gd name="T14" fmla="*/ 42 w 92"/>
                  <a:gd name="T15" fmla="*/ 18 h 88"/>
                  <a:gd name="T16" fmla="*/ 40 w 92"/>
                  <a:gd name="T17" fmla="*/ 14 h 88"/>
                  <a:gd name="T18" fmla="*/ 36 w 92"/>
                  <a:gd name="T19" fmla="*/ 12 h 88"/>
                  <a:gd name="T20" fmla="*/ 30 w 92"/>
                  <a:gd name="T21" fmla="*/ 12 h 88"/>
                  <a:gd name="T22" fmla="*/ 24 w 92"/>
                  <a:gd name="T23" fmla="*/ 6 h 88"/>
                  <a:gd name="T24" fmla="*/ 18 w 92"/>
                  <a:gd name="T25" fmla="*/ 0 h 88"/>
                  <a:gd name="T26" fmla="*/ 14 w 92"/>
                  <a:gd name="T27" fmla="*/ 0 h 88"/>
                  <a:gd name="T28" fmla="*/ 8 w 92"/>
                  <a:gd name="T29" fmla="*/ 2 h 88"/>
                  <a:gd name="T30" fmla="*/ 8 w 92"/>
                  <a:gd name="T31" fmla="*/ 0 h 88"/>
                  <a:gd name="T32" fmla="*/ 4 w 92"/>
                  <a:gd name="T33" fmla="*/ 2 h 88"/>
                  <a:gd name="T34" fmla="*/ 0 w 92"/>
                  <a:gd name="T35" fmla="*/ 10 h 88"/>
                  <a:gd name="T36" fmla="*/ 0 w 92"/>
                  <a:gd name="T37" fmla="*/ 22 h 88"/>
                  <a:gd name="T38" fmla="*/ 2 w 92"/>
                  <a:gd name="T39" fmla="*/ 32 h 88"/>
                  <a:gd name="T40" fmla="*/ 4 w 92"/>
                  <a:gd name="T41" fmla="*/ 38 h 88"/>
                  <a:gd name="T42" fmla="*/ 6 w 92"/>
                  <a:gd name="T43" fmla="*/ 48 h 88"/>
                  <a:gd name="T44" fmla="*/ 6 w 92"/>
                  <a:gd name="T45" fmla="*/ 54 h 88"/>
                  <a:gd name="T46" fmla="*/ 4 w 92"/>
                  <a:gd name="T47" fmla="*/ 64 h 88"/>
                  <a:gd name="T48" fmla="*/ 4 w 92"/>
                  <a:gd name="T49" fmla="*/ 68 h 88"/>
                  <a:gd name="T50" fmla="*/ 6 w 92"/>
                  <a:gd name="T51" fmla="*/ 78 h 88"/>
                  <a:gd name="T52" fmla="*/ 8 w 92"/>
                  <a:gd name="T53" fmla="*/ 78 h 88"/>
                  <a:gd name="T54" fmla="*/ 12 w 92"/>
                  <a:gd name="T55" fmla="*/ 82 h 88"/>
                  <a:gd name="T56" fmla="*/ 14 w 92"/>
                  <a:gd name="T57" fmla="*/ 82 h 88"/>
                  <a:gd name="T58" fmla="*/ 16 w 92"/>
                  <a:gd name="T59" fmla="*/ 84 h 88"/>
                  <a:gd name="T60" fmla="*/ 18 w 92"/>
                  <a:gd name="T61" fmla="*/ 84 h 88"/>
                  <a:gd name="T62" fmla="*/ 22 w 92"/>
                  <a:gd name="T63" fmla="*/ 82 h 88"/>
                  <a:gd name="T64" fmla="*/ 26 w 92"/>
                  <a:gd name="T65" fmla="*/ 82 h 88"/>
                  <a:gd name="T66" fmla="*/ 30 w 92"/>
                  <a:gd name="T67" fmla="*/ 86 h 88"/>
                  <a:gd name="T68" fmla="*/ 38 w 92"/>
                  <a:gd name="T69" fmla="*/ 88 h 88"/>
                  <a:gd name="T70" fmla="*/ 42 w 92"/>
                  <a:gd name="T71" fmla="*/ 86 h 88"/>
                  <a:gd name="T72" fmla="*/ 44 w 92"/>
                  <a:gd name="T73" fmla="*/ 86 h 88"/>
                  <a:gd name="T74" fmla="*/ 48 w 92"/>
                  <a:gd name="T75" fmla="*/ 88 h 88"/>
                  <a:gd name="T76" fmla="*/ 56 w 92"/>
                  <a:gd name="T77" fmla="*/ 88 h 88"/>
                  <a:gd name="T78" fmla="*/ 58 w 92"/>
                  <a:gd name="T79" fmla="*/ 86 h 88"/>
                  <a:gd name="T80" fmla="*/ 62 w 92"/>
                  <a:gd name="T81" fmla="*/ 84 h 88"/>
                  <a:gd name="T82" fmla="*/ 64 w 92"/>
                  <a:gd name="T83" fmla="*/ 84 h 88"/>
                  <a:gd name="T84" fmla="*/ 70 w 92"/>
                  <a:gd name="T85" fmla="*/ 84 h 88"/>
                  <a:gd name="T86" fmla="*/ 72 w 92"/>
                  <a:gd name="T87" fmla="*/ 82 h 88"/>
                  <a:gd name="T88" fmla="*/ 72 w 92"/>
                  <a:gd name="T89" fmla="*/ 78 h 88"/>
                  <a:gd name="T90" fmla="*/ 74 w 92"/>
                  <a:gd name="T91" fmla="*/ 76 h 88"/>
                  <a:gd name="T92" fmla="*/ 78 w 92"/>
                  <a:gd name="T93" fmla="*/ 72 h 88"/>
                  <a:gd name="T94" fmla="*/ 82 w 92"/>
                  <a:gd name="T95" fmla="*/ 66 h 88"/>
                  <a:gd name="T96" fmla="*/ 86 w 92"/>
                  <a:gd name="T97" fmla="*/ 60 h 88"/>
                  <a:gd name="T98" fmla="*/ 88 w 92"/>
                  <a:gd name="T99" fmla="*/ 58 h 88"/>
                  <a:gd name="T100" fmla="*/ 90 w 92"/>
                  <a:gd name="T101" fmla="*/ 54 h 88"/>
                  <a:gd name="T102" fmla="*/ 92 w 92"/>
                  <a:gd name="T103" fmla="*/ 50 h 88"/>
                  <a:gd name="T104" fmla="*/ 92 w 92"/>
                  <a:gd name="T105" fmla="*/ 46 h 88"/>
                  <a:gd name="T106" fmla="*/ 88 w 92"/>
                  <a:gd name="T107" fmla="*/ 42 h 88"/>
                  <a:gd name="T108" fmla="*/ 88 w 92"/>
                  <a:gd name="T109" fmla="*/ 42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92" h="88">
                    <a:moveTo>
                      <a:pt x="88" y="42"/>
                    </a:moveTo>
                    <a:lnTo>
                      <a:pt x="88" y="42"/>
                    </a:lnTo>
                    <a:lnTo>
                      <a:pt x="88" y="40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4" y="36"/>
                    </a:lnTo>
                    <a:lnTo>
                      <a:pt x="78" y="36"/>
                    </a:lnTo>
                    <a:lnTo>
                      <a:pt x="74" y="34"/>
                    </a:lnTo>
                    <a:lnTo>
                      <a:pt x="70" y="34"/>
                    </a:lnTo>
                    <a:lnTo>
                      <a:pt x="70" y="34"/>
                    </a:lnTo>
                    <a:lnTo>
                      <a:pt x="66" y="32"/>
                    </a:lnTo>
                    <a:lnTo>
                      <a:pt x="64" y="30"/>
                    </a:lnTo>
                    <a:lnTo>
                      <a:pt x="62" y="28"/>
                    </a:lnTo>
                    <a:lnTo>
                      <a:pt x="62" y="28"/>
                    </a:lnTo>
                    <a:lnTo>
                      <a:pt x="58" y="26"/>
                    </a:lnTo>
                    <a:lnTo>
                      <a:pt x="58" y="24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0" y="22"/>
                    </a:lnTo>
                    <a:lnTo>
                      <a:pt x="48" y="22"/>
                    </a:lnTo>
                    <a:lnTo>
                      <a:pt x="46" y="20"/>
                    </a:lnTo>
                    <a:lnTo>
                      <a:pt x="46" y="20"/>
                    </a:lnTo>
                    <a:lnTo>
                      <a:pt x="44" y="18"/>
                    </a:lnTo>
                    <a:lnTo>
                      <a:pt x="42" y="18"/>
                    </a:lnTo>
                    <a:lnTo>
                      <a:pt x="42" y="16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38" y="12"/>
                    </a:lnTo>
                    <a:lnTo>
                      <a:pt x="36" y="12"/>
                    </a:lnTo>
                    <a:lnTo>
                      <a:pt x="34" y="12"/>
                    </a:lnTo>
                    <a:lnTo>
                      <a:pt x="32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28" y="8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0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0" y="2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8"/>
                    </a:lnTo>
                    <a:lnTo>
                      <a:pt x="2" y="32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4" y="38"/>
                    </a:lnTo>
                    <a:lnTo>
                      <a:pt x="4" y="42"/>
                    </a:lnTo>
                    <a:lnTo>
                      <a:pt x="6" y="48"/>
                    </a:lnTo>
                    <a:lnTo>
                      <a:pt x="6" y="48"/>
                    </a:lnTo>
                    <a:lnTo>
                      <a:pt x="6" y="50"/>
                    </a:lnTo>
                    <a:lnTo>
                      <a:pt x="6" y="52"/>
                    </a:lnTo>
                    <a:lnTo>
                      <a:pt x="6" y="54"/>
                    </a:lnTo>
                    <a:lnTo>
                      <a:pt x="6" y="56"/>
                    </a:lnTo>
                    <a:lnTo>
                      <a:pt x="4" y="60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6"/>
                    </a:lnTo>
                    <a:lnTo>
                      <a:pt x="4" y="68"/>
                    </a:lnTo>
                    <a:lnTo>
                      <a:pt x="6" y="74"/>
                    </a:lnTo>
                    <a:lnTo>
                      <a:pt x="6" y="74"/>
                    </a:lnTo>
                    <a:lnTo>
                      <a:pt x="6" y="78"/>
                    </a:lnTo>
                    <a:lnTo>
                      <a:pt x="6" y="78"/>
                    </a:lnTo>
                    <a:lnTo>
                      <a:pt x="6" y="78"/>
                    </a:lnTo>
                    <a:lnTo>
                      <a:pt x="8" y="78"/>
                    </a:lnTo>
                    <a:lnTo>
                      <a:pt x="10" y="78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4" y="82"/>
                    </a:lnTo>
                    <a:lnTo>
                      <a:pt x="14" y="82"/>
                    </a:lnTo>
                    <a:lnTo>
                      <a:pt x="14" y="82"/>
                    </a:lnTo>
                    <a:lnTo>
                      <a:pt x="14" y="84"/>
                    </a:lnTo>
                    <a:lnTo>
                      <a:pt x="16" y="84"/>
                    </a:lnTo>
                    <a:lnTo>
                      <a:pt x="16" y="84"/>
                    </a:lnTo>
                    <a:lnTo>
                      <a:pt x="16" y="84"/>
                    </a:lnTo>
                    <a:lnTo>
                      <a:pt x="18" y="84"/>
                    </a:lnTo>
                    <a:lnTo>
                      <a:pt x="20" y="84"/>
                    </a:lnTo>
                    <a:lnTo>
                      <a:pt x="20" y="84"/>
                    </a:lnTo>
                    <a:lnTo>
                      <a:pt x="22" y="82"/>
                    </a:lnTo>
                    <a:lnTo>
                      <a:pt x="24" y="82"/>
                    </a:lnTo>
                    <a:lnTo>
                      <a:pt x="24" y="82"/>
                    </a:lnTo>
                    <a:lnTo>
                      <a:pt x="26" y="82"/>
                    </a:lnTo>
                    <a:lnTo>
                      <a:pt x="28" y="84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34" y="88"/>
                    </a:lnTo>
                    <a:lnTo>
                      <a:pt x="36" y="88"/>
                    </a:lnTo>
                    <a:lnTo>
                      <a:pt x="38" y="88"/>
                    </a:lnTo>
                    <a:lnTo>
                      <a:pt x="40" y="86"/>
                    </a:lnTo>
                    <a:lnTo>
                      <a:pt x="40" y="86"/>
                    </a:lnTo>
                    <a:lnTo>
                      <a:pt x="42" y="86"/>
                    </a:lnTo>
                    <a:lnTo>
                      <a:pt x="42" y="84"/>
                    </a:lnTo>
                    <a:lnTo>
                      <a:pt x="44" y="84"/>
                    </a:lnTo>
                    <a:lnTo>
                      <a:pt x="44" y="86"/>
                    </a:lnTo>
                    <a:lnTo>
                      <a:pt x="44" y="86"/>
                    </a:lnTo>
                    <a:lnTo>
                      <a:pt x="46" y="88"/>
                    </a:lnTo>
                    <a:lnTo>
                      <a:pt x="48" y="88"/>
                    </a:lnTo>
                    <a:lnTo>
                      <a:pt x="50" y="88"/>
                    </a:lnTo>
                    <a:lnTo>
                      <a:pt x="50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8" y="86"/>
                    </a:lnTo>
                    <a:lnTo>
                      <a:pt x="58" y="86"/>
                    </a:lnTo>
                    <a:lnTo>
                      <a:pt x="60" y="84"/>
                    </a:lnTo>
                    <a:lnTo>
                      <a:pt x="62" y="84"/>
                    </a:lnTo>
                    <a:lnTo>
                      <a:pt x="62" y="84"/>
                    </a:lnTo>
                    <a:lnTo>
                      <a:pt x="62" y="84"/>
                    </a:lnTo>
                    <a:lnTo>
                      <a:pt x="62" y="84"/>
                    </a:lnTo>
                    <a:lnTo>
                      <a:pt x="64" y="84"/>
                    </a:lnTo>
                    <a:lnTo>
                      <a:pt x="68" y="84"/>
                    </a:lnTo>
                    <a:lnTo>
                      <a:pt x="68" y="84"/>
                    </a:lnTo>
                    <a:lnTo>
                      <a:pt x="70" y="84"/>
                    </a:lnTo>
                    <a:lnTo>
                      <a:pt x="72" y="84"/>
                    </a:lnTo>
                    <a:lnTo>
                      <a:pt x="72" y="82"/>
                    </a:lnTo>
                    <a:lnTo>
                      <a:pt x="72" y="82"/>
                    </a:lnTo>
                    <a:lnTo>
                      <a:pt x="72" y="80"/>
                    </a:lnTo>
                    <a:lnTo>
                      <a:pt x="72" y="80"/>
                    </a:lnTo>
                    <a:lnTo>
                      <a:pt x="72" y="78"/>
                    </a:lnTo>
                    <a:lnTo>
                      <a:pt x="72" y="76"/>
                    </a:lnTo>
                    <a:lnTo>
                      <a:pt x="72" y="76"/>
                    </a:lnTo>
                    <a:lnTo>
                      <a:pt x="74" y="76"/>
                    </a:lnTo>
                    <a:lnTo>
                      <a:pt x="76" y="74"/>
                    </a:lnTo>
                    <a:lnTo>
                      <a:pt x="78" y="72"/>
                    </a:lnTo>
                    <a:lnTo>
                      <a:pt x="78" y="72"/>
                    </a:lnTo>
                    <a:lnTo>
                      <a:pt x="78" y="70"/>
                    </a:lnTo>
                    <a:lnTo>
                      <a:pt x="80" y="68"/>
                    </a:lnTo>
                    <a:lnTo>
                      <a:pt x="82" y="66"/>
                    </a:lnTo>
                    <a:lnTo>
                      <a:pt x="82" y="62"/>
                    </a:lnTo>
                    <a:lnTo>
                      <a:pt x="84" y="60"/>
                    </a:lnTo>
                    <a:lnTo>
                      <a:pt x="86" y="60"/>
                    </a:lnTo>
                    <a:lnTo>
                      <a:pt x="86" y="60"/>
                    </a:lnTo>
                    <a:lnTo>
                      <a:pt x="86" y="58"/>
                    </a:lnTo>
                    <a:lnTo>
                      <a:pt x="88" y="58"/>
                    </a:lnTo>
                    <a:lnTo>
                      <a:pt x="88" y="58"/>
                    </a:lnTo>
                    <a:lnTo>
                      <a:pt x="90" y="56"/>
                    </a:lnTo>
                    <a:lnTo>
                      <a:pt x="90" y="54"/>
                    </a:lnTo>
                    <a:lnTo>
                      <a:pt x="92" y="52"/>
                    </a:lnTo>
                    <a:lnTo>
                      <a:pt x="92" y="50"/>
                    </a:lnTo>
                    <a:lnTo>
                      <a:pt x="92" y="50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46"/>
                    </a:lnTo>
                    <a:lnTo>
                      <a:pt x="90" y="44"/>
                    </a:lnTo>
                    <a:lnTo>
                      <a:pt x="90" y="42"/>
                    </a:lnTo>
                    <a:lnTo>
                      <a:pt x="88" y="42"/>
                    </a:lnTo>
                    <a:lnTo>
                      <a:pt x="88" y="42"/>
                    </a:lnTo>
                    <a:lnTo>
                      <a:pt x="88" y="42"/>
                    </a:lnTo>
                    <a:lnTo>
                      <a:pt x="88" y="42"/>
                    </a:lnTo>
                    <a:lnTo>
                      <a:pt x="88" y="4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62" name="Freeform 284"/>
              <p:cNvSpPr>
                <a:spLocks/>
              </p:cNvSpPr>
              <p:nvPr/>
            </p:nvSpPr>
            <p:spPr bwMode="auto">
              <a:xfrm>
                <a:off x="1733" y="3166"/>
                <a:ext cx="144" cy="138"/>
              </a:xfrm>
              <a:custGeom>
                <a:avLst/>
                <a:gdLst>
                  <a:gd name="T0" fmla="*/ 4 w 144"/>
                  <a:gd name="T1" fmla="*/ 50 h 138"/>
                  <a:gd name="T2" fmla="*/ 8 w 144"/>
                  <a:gd name="T3" fmla="*/ 52 h 138"/>
                  <a:gd name="T4" fmla="*/ 8 w 144"/>
                  <a:gd name="T5" fmla="*/ 58 h 138"/>
                  <a:gd name="T6" fmla="*/ 10 w 144"/>
                  <a:gd name="T7" fmla="*/ 58 h 138"/>
                  <a:gd name="T8" fmla="*/ 16 w 144"/>
                  <a:gd name="T9" fmla="*/ 58 h 138"/>
                  <a:gd name="T10" fmla="*/ 22 w 144"/>
                  <a:gd name="T11" fmla="*/ 64 h 138"/>
                  <a:gd name="T12" fmla="*/ 26 w 144"/>
                  <a:gd name="T13" fmla="*/ 68 h 138"/>
                  <a:gd name="T14" fmla="*/ 32 w 144"/>
                  <a:gd name="T15" fmla="*/ 74 h 138"/>
                  <a:gd name="T16" fmla="*/ 36 w 144"/>
                  <a:gd name="T17" fmla="*/ 78 h 138"/>
                  <a:gd name="T18" fmla="*/ 42 w 144"/>
                  <a:gd name="T19" fmla="*/ 80 h 138"/>
                  <a:gd name="T20" fmla="*/ 48 w 144"/>
                  <a:gd name="T21" fmla="*/ 82 h 138"/>
                  <a:gd name="T22" fmla="*/ 54 w 144"/>
                  <a:gd name="T23" fmla="*/ 80 h 138"/>
                  <a:gd name="T24" fmla="*/ 60 w 144"/>
                  <a:gd name="T25" fmla="*/ 82 h 138"/>
                  <a:gd name="T26" fmla="*/ 78 w 144"/>
                  <a:gd name="T27" fmla="*/ 90 h 138"/>
                  <a:gd name="T28" fmla="*/ 88 w 144"/>
                  <a:gd name="T29" fmla="*/ 94 h 138"/>
                  <a:gd name="T30" fmla="*/ 90 w 144"/>
                  <a:gd name="T31" fmla="*/ 98 h 138"/>
                  <a:gd name="T32" fmla="*/ 86 w 144"/>
                  <a:gd name="T33" fmla="*/ 110 h 138"/>
                  <a:gd name="T34" fmla="*/ 84 w 144"/>
                  <a:gd name="T35" fmla="*/ 120 h 138"/>
                  <a:gd name="T36" fmla="*/ 84 w 144"/>
                  <a:gd name="T37" fmla="*/ 132 h 138"/>
                  <a:gd name="T38" fmla="*/ 86 w 144"/>
                  <a:gd name="T39" fmla="*/ 136 h 138"/>
                  <a:gd name="T40" fmla="*/ 96 w 144"/>
                  <a:gd name="T41" fmla="*/ 138 h 138"/>
                  <a:gd name="T42" fmla="*/ 102 w 144"/>
                  <a:gd name="T43" fmla="*/ 138 h 138"/>
                  <a:gd name="T44" fmla="*/ 116 w 144"/>
                  <a:gd name="T45" fmla="*/ 136 h 138"/>
                  <a:gd name="T46" fmla="*/ 124 w 144"/>
                  <a:gd name="T47" fmla="*/ 134 h 138"/>
                  <a:gd name="T48" fmla="*/ 126 w 144"/>
                  <a:gd name="T49" fmla="*/ 130 h 138"/>
                  <a:gd name="T50" fmla="*/ 132 w 144"/>
                  <a:gd name="T51" fmla="*/ 124 h 138"/>
                  <a:gd name="T52" fmla="*/ 138 w 144"/>
                  <a:gd name="T53" fmla="*/ 116 h 138"/>
                  <a:gd name="T54" fmla="*/ 142 w 144"/>
                  <a:gd name="T55" fmla="*/ 110 h 138"/>
                  <a:gd name="T56" fmla="*/ 142 w 144"/>
                  <a:gd name="T57" fmla="*/ 102 h 138"/>
                  <a:gd name="T58" fmla="*/ 142 w 144"/>
                  <a:gd name="T59" fmla="*/ 98 h 138"/>
                  <a:gd name="T60" fmla="*/ 140 w 144"/>
                  <a:gd name="T61" fmla="*/ 88 h 138"/>
                  <a:gd name="T62" fmla="*/ 140 w 144"/>
                  <a:gd name="T63" fmla="*/ 80 h 138"/>
                  <a:gd name="T64" fmla="*/ 134 w 144"/>
                  <a:gd name="T65" fmla="*/ 74 h 138"/>
                  <a:gd name="T66" fmla="*/ 124 w 144"/>
                  <a:gd name="T67" fmla="*/ 70 h 138"/>
                  <a:gd name="T68" fmla="*/ 120 w 144"/>
                  <a:gd name="T69" fmla="*/ 62 h 138"/>
                  <a:gd name="T70" fmla="*/ 116 w 144"/>
                  <a:gd name="T71" fmla="*/ 54 h 138"/>
                  <a:gd name="T72" fmla="*/ 110 w 144"/>
                  <a:gd name="T73" fmla="*/ 50 h 138"/>
                  <a:gd name="T74" fmla="*/ 98 w 144"/>
                  <a:gd name="T75" fmla="*/ 50 h 138"/>
                  <a:gd name="T76" fmla="*/ 82 w 144"/>
                  <a:gd name="T77" fmla="*/ 46 h 138"/>
                  <a:gd name="T78" fmla="*/ 78 w 144"/>
                  <a:gd name="T79" fmla="*/ 38 h 138"/>
                  <a:gd name="T80" fmla="*/ 80 w 144"/>
                  <a:gd name="T81" fmla="*/ 30 h 138"/>
                  <a:gd name="T82" fmla="*/ 76 w 144"/>
                  <a:gd name="T83" fmla="*/ 18 h 138"/>
                  <a:gd name="T84" fmla="*/ 68 w 144"/>
                  <a:gd name="T85" fmla="*/ 4 h 138"/>
                  <a:gd name="T86" fmla="*/ 60 w 144"/>
                  <a:gd name="T87" fmla="*/ 0 h 138"/>
                  <a:gd name="T88" fmla="*/ 54 w 144"/>
                  <a:gd name="T89" fmla="*/ 0 h 138"/>
                  <a:gd name="T90" fmla="*/ 40 w 144"/>
                  <a:gd name="T91" fmla="*/ 2 h 138"/>
                  <a:gd name="T92" fmla="*/ 20 w 144"/>
                  <a:gd name="T93" fmla="*/ 6 h 138"/>
                  <a:gd name="T94" fmla="*/ 14 w 144"/>
                  <a:gd name="T95" fmla="*/ 10 h 138"/>
                  <a:gd name="T96" fmla="*/ 12 w 144"/>
                  <a:gd name="T97" fmla="*/ 16 h 138"/>
                  <a:gd name="T98" fmla="*/ 10 w 144"/>
                  <a:gd name="T99" fmla="*/ 32 h 138"/>
                  <a:gd name="T100" fmla="*/ 8 w 144"/>
                  <a:gd name="T101" fmla="*/ 42 h 138"/>
                  <a:gd name="T102" fmla="*/ 2 w 144"/>
                  <a:gd name="T103" fmla="*/ 48 h 138"/>
                  <a:gd name="T104" fmla="*/ 2 w 144"/>
                  <a:gd name="T105" fmla="*/ 5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44" h="138">
                    <a:moveTo>
                      <a:pt x="2" y="50"/>
                    </a:moveTo>
                    <a:lnTo>
                      <a:pt x="2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4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8"/>
                    </a:lnTo>
                    <a:lnTo>
                      <a:pt x="10" y="58"/>
                    </a:lnTo>
                    <a:lnTo>
                      <a:pt x="10" y="58"/>
                    </a:lnTo>
                    <a:lnTo>
                      <a:pt x="10" y="58"/>
                    </a:lnTo>
                    <a:lnTo>
                      <a:pt x="10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4" y="58"/>
                    </a:lnTo>
                    <a:lnTo>
                      <a:pt x="16" y="58"/>
                    </a:lnTo>
                    <a:lnTo>
                      <a:pt x="16" y="58"/>
                    </a:lnTo>
                    <a:lnTo>
                      <a:pt x="16" y="60"/>
                    </a:lnTo>
                    <a:lnTo>
                      <a:pt x="20" y="62"/>
                    </a:lnTo>
                    <a:lnTo>
                      <a:pt x="22" y="64"/>
                    </a:lnTo>
                    <a:lnTo>
                      <a:pt x="22" y="66"/>
                    </a:lnTo>
                    <a:lnTo>
                      <a:pt x="22" y="66"/>
                    </a:lnTo>
                    <a:lnTo>
                      <a:pt x="24" y="68"/>
                    </a:lnTo>
                    <a:lnTo>
                      <a:pt x="26" y="68"/>
                    </a:lnTo>
                    <a:lnTo>
                      <a:pt x="28" y="70"/>
                    </a:lnTo>
                    <a:lnTo>
                      <a:pt x="28" y="70"/>
                    </a:lnTo>
                    <a:lnTo>
                      <a:pt x="30" y="72"/>
                    </a:lnTo>
                    <a:lnTo>
                      <a:pt x="32" y="74"/>
                    </a:lnTo>
                    <a:lnTo>
                      <a:pt x="32" y="76"/>
                    </a:lnTo>
                    <a:lnTo>
                      <a:pt x="34" y="78"/>
                    </a:lnTo>
                    <a:lnTo>
                      <a:pt x="34" y="78"/>
                    </a:lnTo>
                    <a:lnTo>
                      <a:pt x="36" y="78"/>
                    </a:lnTo>
                    <a:lnTo>
                      <a:pt x="38" y="78"/>
                    </a:lnTo>
                    <a:lnTo>
                      <a:pt x="40" y="78"/>
                    </a:lnTo>
                    <a:lnTo>
                      <a:pt x="40" y="78"/>
                    </a:lnTo>
                    <a:lnTo>
                      <a:pt x="42" y="80"/>
                    </a:lnTo>
                    <a:lnTo>
                      <a:pt x="44" y="80"/>
                    </a:lnTo>
                    <a:lnTo>
                      <a:pt x="46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50" y="82"/>
                    </a:lnTo>
                    <a:lnTo>
                      <a:pt x="52" y="82"/>
                    </a:lnTo>
                    <a:lnTo>
                      <a:pt x="52" y="80"/>
                    </a:lnTo>
                    <a:lnTo>
                      <a:pt x="54" y="80"/>
                    </a:lnTo>
                    <a:lnTo>
                      <a:pt x="54" y="80"/>
                    </a:lnTo>
                    <a:lnTo>
                      <a:pt x="56" y="80"/>
                    </a:lnTo>
                    <a:lnTo>
                      <a:pt x="58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6" y="86"/>
                    </a:lnTo>
                    <a:lnTo>
                      <a:pt x="72" y="88"/>
                    </a:lnTo>
                    <a:lnTo>
                      <a:pt x="78" y="90"/>
                    </a:lnTo>
                    <a:lnTo>
                      <a:pt x="86" y="92"/>
                    </a:lnTo>
                    <a:lnTo>
                      <a:pt x="86" y="92"/>
                    </a:lnTo>
                    <a:lnTo>
                      <a:pt x="86" y="94"/>
                    </a:lnTo>
                    <a:lnTo>
                      <a:pt x="88" y="94"/>
                    </a:lnTo>
                    <a:lnTo>
                      <a:pt x="88" y="94"/>
                    </a:lnTo>
                    <a:lnTo>
                      <a:pt x="90" y="96"/>
                    </a:lnTo>
                    <a:lnTo>
                      <a:pt x="90" y="98"/>
                    </a:lnTo>
                    <a:lnTo>
                      <a:pt x="90" y="98"/>
                    </a:lnTo>
                    <a:lnTo>
                      <a:pt x="88" y="102"/>
                    </a:lnTo>
                    <a:lnTo>
                      <a:pt x="88" y="106"/>
                    </a:lnTo>
                    <a:lnTo>
                      <a:pt x="86" y="108"/>
                    </a:lnTo>
                    <a:lnTo>
                      <a:pt x="86" y="110"/>
                    </a:lnTo>
                    <a:lnTo>
                      <a:pt x="84" y="114"/>
                    </a:lnTo>
                    <a:lnTo>
                      <a:pt x="84" y="114"/>
                    </a:lnTo>
                    <a:lnTo>
                      <a:pt x="84" y="116"/>
                    </a:lnTo>
                    <a:lnTo>
                      <a:pt x="84" y="120"/>
                    </a:lnTo>
                    <a:lnTo>
                      <a:pt x="84" y="128"/>
                    </a:lnTo>
                    <a:lnTo>
                      <a:pt x="84" y="128"/>
                    </a:lnTo>
                    <a:lnTo>
                      <a:pt x="84" y="130"/>
                    </a:lnTo>
                    <a:lnTo>
                      <a:pt x="84" y="132"/>
                    </a:lnTo>
                    <a:lnTo>
                      <a:pt x="84" y="134"/>
                    </a:lnTo>
                    <a:lnTo>
                      <a:pt x="84" y="134"/>
                    </a:lnTo>
                    <a:lnTo>
                      <a:pt x="84" y="134"/>
                    </a:lnTo>
                    <a:lnTo>
                      <a:pt x="86" y="136"/>
                    </a:lnTo>
                    <a:lnTo>
                      <a:pt x="88" y="136"/>
                    </a:lnTo>
                    <a:lnTo>
                      <a:pt x="88" y="136"/>
                    </a:lnTo>
                    <a:lnTo>
                      <a:pt x="88" y="136"/>
                    </a:lnTo>
                    <a:lnTo>
                      <a:pt x="96" y="138"/>
                    </a:lnTo>
                    <a:lnTo>
                      <a:pt x="98" y="138"/>
                    </a:lnTo>
                    <a:lnTo>
                      <a:pt x="100" y="138"/>
                    </a:lnTo>
                    <a:lnTo>
                      <a:pt x="102" y="138"/>
                    </a:lnTo>
                    <a:lnTo>
                      <a:pt x="102" y="138"/>
                    </a:lnTo>
                    <a:lnTo>
                      <a:pt x="106" y="136"/>
                    </a:lnTo>
                    <a:lnTo>
                      <a:pt x="110" y="136"/>
                    </a:lnTo>
                    <a:lnTo>
                      <a:pt x="116" y="136"/>
                    </a:lnTo>
                    <a:lnTo>
                      <a:pt x="116" y="136"/>
                    </a:lnTo>
                    <a:lnTo>
                      <a:pt x="120" y="136"/>
                    </a:lnTo>
                    <a:lnTo>
                      <a:pt x="122" y="136"/>
                    </a:lnTo>
                    <a:lnTo>
                      <a:pt x="122" y="134"/>
                    </a:lnTo>
                    <a:lnTo>
                      <a:pt x="124" y="134"/>
                    </a:lnTo>
                    <a:lnTo>
                      <a:pt x="124" y="134"/>
                    </a:lnTo>
                    <a:lnTo>
                      <a:pt x="124" y="132"/>
                    </a:lnTo>
                    <a:lnTo>
                      <a:pt x="126" y="130"/>
                    </a:lnTo>
                    <a:lnTo>
                      <a:pt x="126" y="130"/>
                    </a:lnTo>
                    <a:lnTo>
                      <a:pt x="126" y="130"/>
                    </a:lnTo>
                    <a:lnTo>
                      <a:pt x="126" y="128"/>
                    </a:lnTo>
                    <a:lnTo>
                      <a:pt x="128" y="126"/>
                    </a:lnTo>
                    <a:lnTo>
                      <a:pt x="132" y="124"/>
                    </a:lnTo>
                    <a:lnTo>
                      <a:pt x="134" y="120"/>
                    </a:lnTo>
                    <a:lnTo>
                      <a:pt x="134" y="120"/>
                    </a:lnTo>
                    <a:lnTo>
                      <a:pt x="136" y="118"/>
                    </a:lnTo>
                    <a:lnTo>
                      <a:pt x="138" y="116"/>
                    </a:lnTo>
                    <a:lnTo>
                      <a:pt x="140" y="114"/>
                    </a:lnTo>
                    <a:lnTo>
                      <a:pt x="142" y="114"/>
                    </a:lnTo>
                    <a:lnTo>
                      <a:pt x="142" y="112"/>
                    </a:lnTo>
                    <a:lnTo>
                      <a:pt x="142" y="110"/>
                    </a:lnTo>
                    <a:lnTo>
                      <a:pt x="142" y="110"/>
                    </a:lnTo>
                    <a:lnTo>
                      <a:pt x="144" y="108"/>
                    </a:lnTo>
                    <a:lnTo>
                      <a:pt x="142" y="104"/>
                    </a:lnTo>
                    <a:lnTo>
                      <a:pt x="142" y="102"/>
                    </a:lnTo>
                    <a:lnTo>
                      <a:pt x="144" y="100"/>
                    </a:lnTo>
                    <a:lnTo>
                      <a:pt x="144" y="100"/>
                    </a:lnTo>
                    <a:lnTo>
                      <a:pt x="142" y="98"/>
                    </a:lnTo>
                    <a:lnTo>
                      <a:pt x="142" y="98"/>
                    </a:lnTo>
                    <a:lnTo>
                      <a:pt x="142" y="96"/>
                    </a:lnTo>
                    <a:lnTo>
                      <a:pt x="140" y="94"/>
                    </a:lnTo>
                    <a:lnTo>
                      <a:pt x="140" y="92"/>
                    </a:lnTo>
                    <a:lnTo>
                      <a:pt x="140" y="88"/>
                    </a:lnTo>
                    <a:lnTo>
                      <a:pt x="140" y="84"/>
                    </a:lnTo>
                    <a:lnTo>
                      <a:pt x="140" y="82"/>
                    </a:lnTo>
                    <a:lnTo>
                      <a:pt x="140" y="80"/>
                    </a:lnTo>
                    <a:lnTo>
                      <a:pt x="140" y="80"/>
                    </a:lnTo>
                    <a:lnTo>
                      <a:pt x="138" y="78"/>
                    </a:lnTo>
                    <a:lnTo>
                      <a:pt x="136" y="76"/>
                    </a:lnTo>
                    <a:lnTo>
                      <a:pt x="136" y="76"/>
                    </a:lnTo>
                    <a:lnTo>
                      <a:pt x="134" y="74"/>
                    </a:lnTo>
                    <a:lnTo>
                      <a:pt x="130" y="72"/>
                    </a:lnTo>
                    <a:lnTo>
                      <a:pt x="128" y="72"/>
                    </a:lnTo>
                    <a:lnTo>
                      <a:pt x="128" y="72"/>
                    </a:lnTo>
                    <a:lnTo>
                      <a:pt x="124" y="70"/>
                    </a:lnTo>
                    <a:lnTo>
                      <a:pt x="124" y="68"/>
                    </a:lnTo>
                    <a:lnTo>
                      <a:pt x="122" y="68"/>
                    </a:lnTo>
                    <a:lnTo>
                      <a:pt x="120" y="66"/>
                    </a:lnTo>
                    <a:lnTo>
                      <a:pt x="120" y="62"/>
                    </a:lnTo>
                    <a:lnTo>
                      <a:pt x="118" y="58"/>
                    </a:lnTo>
                    <a:lnTo>
                      <a:pt x="118" y="58"/>
                    </a:lnTo>
                    <a:lnTo>
                      <a:pt x="116" y="56"/>
                    </a:lnTo>
                    <a:lnTo>
                      <a:pt x="116" y="54"/>
                    </a:lnTo>
                    <a:lnTo>
                      <a:pt x="114" y="52"/>
                    </a:lnTo>
                    <a:lnTo>
                      <a:pt x="112" y="50"/>
                    </a:lnTo>
                    <a:lnTo>
                      <a:pt x="110" y="50"/>
                    </a:lnTo>
                    <a:lnTo>
                      <a:pt x="110" y="50"/>
                    </a:lnTo>
                    <a:lnTo>
                      <a:pt x="106" y="50"/>
                    </a:lnTo>
                    <a:lnTo>
                      <a:pt x="104" y="50"/>
                    </a:lnTo>
                    <a:lnTo>
                      <a:pt x="104" y="50"/>
                    </a:lnTo>
                    <a:lnTo>
                      <a:pt x="98" y="50"/>
                    </a:lnTo>
                    <a:lnTo>
                      <a:pt x="94" y="48"/>
                    </a:lnTo>
                    <a:lnTo>
                      <a:pt x="84" y="46"/>
                    </a:lnTo>
                    <a:lnTo>
                      <a:pt x="84" y="46"/>
                    </a:lnTo>
                    <a:lnTo>
                      <a:pt x="82" y="46"/>
                    </a:lnTo>
                    <a:lnTo>
                      <a:pt x="80" y="44"/>
                    </a:lnTo>
                    <a:lnTo>
                      <a:pt x="78" y="42"/>
                    </a:lnTo>
                    <a:lnTo>
                      <a:pt x="78" y="40"/>
                    </a:lnTo>
                    <a:lnTo>
                      <a:pt x="78" y="38"/>
                    </a:lnTo>
                    <a:lnTo>
                      <a:pt x="78" y="38"/>
                    </a:lnTo>
                    <a:lnTo>
                      <a:pt x="80" y="32"/>
                    </a:lnTo>
                    <a:lnTo>
                      <a:pt x="80" y="32"/>
                    </a:lnTo>
                    <a:lnTo>
                      <a:pt x="80" y="30"/>
                    </a:lnTo>
                    <a:lnTo>
                      <a:pt x="80" y="26"/>
                    </a:lnTo>
                    <a:lnTo>
                      <a:pt x="78" y="24"/>
                    </a:lnTo>
                    <a:lnTo>
                      <a:pt x="78" y="22"/>
                    </a:lnTo>
                    <a:lnTo>
                      <a:pt x="76" y="18"/>
                    </a:lnTo>
                    <a:lnTo>
                      <a:pt x="74" y="14"/>
                    </a:lnTo>
                    <a:lnTo>
                      <a:pt x="74" y="14"/>
                    </a:lnTo>
                    <a:lnTo>
                      <a:pt x="70" y="10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6" y="4"/>
                    </a:lnTo>
                    <a:lnTo>
                      <a:pt x="64" y="2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58" y="0"/>
                    </a:lnTo>
                    <a:lnTo>
                      <a:pt x="56" y="0"/>
                    </a:lnTo>
                    <a:lnTo>
                      <a:pt x="54" y="0"/>
                    </a:lnTo>
                    <a:lnTo>
                      <a:pt x="50" y="0"/>
                    </a:lnTo>
                    <a:lnTo>
                      <a:pt x="46" y="0"/>
                    </a:lnTo>
                    <a:lnTo>
                      <a:pt x="40" y="2"/>
                    </a:lnTo>
                    <a:lnTo>
                      <a:pt x="40" y="2"/>
                    </a:lnTo>
                    <a:lnTo>
                      <a:pt x="36" y="2"/>
                    </a:lnTo>
                    <a:lnTo>
                      <a:pt x="30" y="4"/>
                    </a:lnTo>
                    <a:lnTo>
                      <a:pt x="26" y="4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18" y="6"/>
                    </a:lnTo>
                    <a:lnTo>
                      <a:pt x="16" y="8"/>
                    </a:lnTo>
                    <a:lnTo>
                      <a:pt x="14" y="10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4"/>
                    </a:lnTo>
                    <a:lnTo>
                      <a:pt x="12" y="16"/>
                    </a:lnTo>
                    <a:lnTo>
                      <a:pt x="12" y="22"/>
                    </a:lnTo>
                    <a:lnTo>
                      <a:pt x="12" y="26"/>
                    </a:lnTo>
                    <a:lnTo>
                      <a:pt x="10" y="28"/>
                    </a:lnTo>
                    <a:lnTo>
                      <a:pt x="10" y="32"/>
                    </a:lnTo>
                    <a:lnTo>
                      <a:pt x="10" y="32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42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4" y="48"/>
                    </a:lnTo>
                    <a:lnTo>
                      <a:pt x="2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2" y="50"/>
                    </a:lnTo>
                    <a:lnTo>
                      <a:pt x="2" y="50"/>
                    </a:lnTo>
                    <a:lnTo>
                      <a:pt x="2" y="50"/>
                    </a:lnTo>
                    <a:lnTo>
                      <a:pt x="2" y="50"/>
                    </a:lnTo>
                    <a:lnTo>
                      <a:pt x="2" y="5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63" name="Freeform 286"/>
              <p:cNvSpPr>
                <a:spLocks/>
              </p:cNvSpPr>
              <p:nvPr/>
            </p:nvSpPr>
            <p:spPr bwMode="auto">
              <a:xfrm>
                <a:off x="1773" y="3822"/>
                <a:ext cx="54" cy="42"/>
              </a:xfrm>
              <a:custGeom>
                <a:avLst/>
                <a:gdLst>
                  <a:gd name="T0" fmla="*/ 54 w 54"/>
                  <a:gd name="T1" fmla="*/ 30 h 42"/>
                  <a:gd name="T2" fmla="*/ 54 w 54"/>
                  <a:gd name="T3" fmla="*/ 28 h 42"/>
                  <a:gd name="T4" fmla="*/ 52 w 54"/>
                  <a:gd name="T5" fmla="*/ 28 h 42"/>
                  <a:gd name="T6" fmla="*/ 48 w 54"/>
                  <a:gd name="T7" fmla="*/ 28 h 42"/>
                  <a:gd name="T8" fmla="*/ 46 w 54"/>
                  <a:gd name="T9" fmla="*/ 28 h 42"/>
                  <a:gd name="T10" fmla="*/ 44 w 54"/>
                  <a:gd name="T11" fmla="*/ 28 h 42"/>
                  <a:gd name="T12" fmla="*/ 42 w 54"/>
                  <a:gd name="T13" fmla="*/ 28 h 42"/>
                  <a:gd name="T14" fmla="*/ 40 w 54"/>
                  <a:gd name="T15" fmla="*/ 26 h 42"/>
                  <a:gd name="T16" fmla="*/ 38 w 54"/>
                  <a:gd name="T17" fmla="*/ 26 h 42"/>
                  <a:gd name="T18" fmla="*/ 36 w 54"/>
                  <a:gd name="T19" fmla="*/ 24 h 42"/>
                  <a:gd name="T20" fmla="*/ 36 w 54"/>
                  <a:gd name="T21" fmla="*/ 24 h 42"/>
                  <a:gd name="T22" fmla="*/ 34 w 54"/>
                  <a:gd name="T23" fmla="*/ 22 h 42"/>
                  <a:gd name="T24" fmla="*/ 32 w 54"/>
                  <a:gd name="T25" fmla="*/ 22 h 42"/>
                  <a:gd name="T26" fmla="*/ 32 w 54"/>
                  <a:gd name="T27" fmla="*/ 22 h 42"/>
                  <a:gd name="T28" fmla="*/ 28 w 54"/>
                  <a:gd name="T29" fmla="*/ 22 h 42"/>
                  <a:gd name="T30" fmla="*/ 28 w 54"/>
                  <a:gd name="T31" fmla="*/ 22 h 42"/>
                  <a:gd name="T32" fmla="*/ 24 w 54"/>
                  <a:gd name="T33" fmla="*/ 22 h 42"/>
                  <a:gd name="T34" fmla="*/ 24 w 54"/>
                  <a:gd name="T35" fmla="*/ 20 h 42"/>
                  <a:gd name="T36" fmla="*/ 18 w 54"/>
                  <a:gd name="T37" fmla="*/ 14 h 42"/>
                  <a:gd name="T38" fmla="*/ 12 w 54"/>
                  <a:gd name="T39" fmla="*/ 8 h 42"/>
                  <a:gd name="T40" fmla="*/ 8 w 54"/>
                  <a:gd name="T41" fmla="*/ 4 h 42"/>
                  <a:gd name="T42" fmla="*/ 4 w 54"/>
                  <a:gd name="T43" fmla="*/ 2 h 42"/>
                  <a:gd name="T44" fmla="*/ 2 w 54"/>
                  <a:gd name="T45" fmla="*/ 2 h 42"/>
                  <a:gd name="T46" fmla="*/ 0 w 54"/>
                  <a:gd name="T47" fmla="*/ 0 h 42"/>
                  <a:gd name="T48" fmla="*/ 0 w 54"/>
                  <a:gd name="T49" fmla="*/ 0 h 42"/>
                  <a:gd name="T50" fmla="*/ 0 w 54"/>
                  <a:gd name="T51" fmla="*/ 6 h 42"/>
                  <a:gd name="T52" fmla="*/ 2 w 54"/>
                  <a:gd name="T53" fmla="*/ 12 h 42"/>
                  <a:gd name="T54" fmla="*/ 4 w 54"/>
                  <a:gd name="T55" fmla="*/ 18 h 42"/>
                  <a:gd name="T56" fmla="*/ 6 w 54"/>
                  <a:gd name="T57" fmla="*/ 22 h 42"/>
                  <a:gd name="T58" fmla="*/ 10 w 54"/>
                  <a:gd name="T59" fmla="*/ 26 h 42"/>
                  <a:gd name="T60" fmla="*/ 12 w 54"/>
                  <a:gd name="T61" fmla="*/ 30 h 42"/>
                  <a:gd name="T62" fmla="*/ 12 w 54"/>
                  <a:gd name="T63" fmla="*/ 32 h 42"/>
                  <a:gd name="T64" fmla="*/ 10 w 54"/>
                  <a:gd name="T65" fmla="*/ 34 h 42"/>
                  <a:gd name="T66" fmla="*/ 10 w 54"/>
                  <a:gd name="T67" fmla="*/ 40 h 42"/>
                  <a:gd name="T68" fmla="*/ 10 w 54"/>
                  <a:gd name="T69" fmla="*/ 42 h 42"/>
                  <a:gd name="T70" fmla="*/ 12 w 54"/>
                  <a:gd name="T71" fmla="*/ 42 h 42"/>
                  <a:gd name="T72" fmla="*/ 14 w 54"/>
                  <a:gd name="T73" fmla="*/ 40 h 42"/>
                  <a:gd name="T74" fmla="*/ 16 w 54"/>
                  <a:gd name="T75" fmla="*/ 40 h 42"/>
                  <a:gd name="T76" fmla="*/ 20 w 54"/>
                  <a:gd name="T77" fmla="*/ 40 h 42"/>
                  <a:gd name="T78" fmla="*/ 22 w 54"/>
                  <a:gd name="T79" fmla="*/ 38 h 42"/>
                  <a:gd name="T80" fmla="*/ 28 w 54"/>
                  <a:gd name="T81" fmla="*/ 38 h 42"/>
                  <a:gd name="T82" fmla="*/ 30 w 54"/>
                  <a:gd name="T83" fmla="*/ 38 h 42"/>
                  <a:gd name="T84" fmla="*/ 32 w 54"/>
                  <a:gd name="T85" fmla="*/ 38 h 42"/>
                  <a:gd name="T86" fmla="*/ 34 w 54"/>
                  <a:gd name="T87" fmla="*/ 38 h 42"/>
                  <a:gd name="T88" fmla="*/ 38 w 54"/>
                  <a:gd name="T89" fmla="*/ 38 h 42"/>
                  <a:gd name="T90" fmla="*/ 38 w 54"/>
                  <a:gd name="T91" fmla="*/ 38 h 42"/>
                  <a:gd name="T92" fmla="*/ 40 w 54"/>
                  <a:gd name="T93" fmla="*/ 36 h 42"/>
                  <a:gd name="T94" fmla="*/ 42 w 54"/>
                  <a:gd name="T95" fmla="*/ 36 h 42"/>
                  <a:gd name="T96" fmla="*/ 44 w 54"/>
                  <a:gd name="T97" fmla="*/ 36 h 42"/>
                  <a:gd name="T98" fmla="*/ 48 w 54"/>
                  <a:gd name="T99" fmla="*/ 36 h 42"/>
                  <a:gd name="T100" fmla="*/ 50 w 54"/>
                  <a:gd name="T101" fmla="*/ 36 h 42"/>
                  <a:gd name="T102" fmla="*/ 52 w 54"/>
                  <a:gd name="T103" fmla="*/ 36 h 42"/>
                  <a:gd name="T104" fmla="*/ 54 w 54"/>
                  <a:gd name="T105" fmla="*/ 34 h 42"/>
                  <a:gd name="T106" fmla="*/ 54 w 54"/>
                  <a:gd name="T107" fmla="*/ 30 h 42"/>
                  <a:gd name="T108" fmla="*/ 54 w 54"/>
                  <a:gd name="T109" fmla="*/ 30 h 42"/>
                  <a:gd name="T110" fmla="*/ 54 w 54"/>
                  <a:gd name="T111" fmla="*/ 3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54" h="42">
                    <a:moveTo>
                      <a:pt x="54" y="30"/>
                    </a:moveTo>
                    <a:lnTo>
                      <a:pt x="54" y="30"/>
                    </a:lnTo>
                    <a:lnTo>
                      <a:pt x="54" y="30"/>
                    </a:lnTo>
                    <a:lnTo>
                      <a:pt x="54" y="28"/>
                    </a:lnTo>
                    <a:lnTo>
                      <a:pt x="52" y="28"/>
                    </a:lnTo>
                    <a:lnTo>
                      <a:pt x="52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6" y="28"/>
                    </a:lnTo>
                    <a:lnTo>
                      <a:pt x="46" y="28"/>
                    </a:lnTo>
                    <a:lnTo>
                      <a:pt x="44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0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4" y="24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0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6" y="22"/>
                    </a:lnTo>
                    <a:lnTo>
                      <a:pt x="24" y="22"/>
                    </a:lnTo>
                    <a:lnTo>
                      <a:pt x="24" y="20"/>
                    </a:lnTo>
                    <a:lnTo>
                      <a:pt x="24" y="20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6" y="12"/>
                    </a:lnTo>
                    <a:lnTo>
                      <a:pt x="12" y="8"/>
                    </a:lnTo>
                    <a:lnTo>
                      <a:pt x="10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8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8" y="24"/>
                    </a:lnTo>
                    <a:lnTo>
                      <a:pt x="10" y="26"/>
                    </a:lnTo>
                    <a:lnTo>
                      <a:pt x="10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0" y="34"/>
                    </a:lnTo>
                    <a:lnTo>
                      <a:pt x="10" y="38"/>
                    </a:lnTo>
                    <a:lnTo>
                      <a:pt x="10" y="40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4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8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2" y="38"/>
                    </a:lnTo>
                    <a:lnTo>
                      <a:pt x="28" y="38"/>
                    </a:lnTo>
                    <a:lnTo>
                      <a:pt x="28" y="38"/>
                    </a:lnTo>
                    <a:lnTo>
                      <a:pt x="28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2" y="38"/>
                    </a:lnTo>
                    <a:lnTo>
                      <a:pt x="34" y="38"/>
                    </a:lnTo>
                    <a:lnTo>
                      <a:pt x="34" y="38"/>
                    </a:lnTo>
                    <a:lnTo>
                      <a:pt x="36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2" y="36"/>
                    </a:lnTo>
                    <a:lnTo>
                      <a:pt x="42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6" y="38"/>
                    </a:lnTo>
                    <a:lnTo>
                      <a:pt x="48" y="36"/>
                    </a:lnTo>
                    <a:lnTo>
                      <a:pt x="48" y="36"/>
                    </a:lnTo>
                    <a:lnTo>
                      <a:pt x="50" y="36"/>
                    </a:lnTo>
                    <a:lnTo>
                      <a:pt x="52" y="36"/>
                    </a:lnTo>
                    <a:lnTo>
                      <a:pt x="52" y="36"/>
                    </a:lnTo>
                    <a:lnTo>
                      <a:pt x="54" y="34"/>
                    </a:lnTo>
                    <a:lnTo>
                      <a:pt x="54" y="34"/>
                    </a:lnTo>
                    <a:lnTo>
                      <a:pt x="54" y="32"/>
                    </a:lnTo>
                    <a:lnTo>
                      <a:pt x="54" y="30"/>
                    </a:lnTo>
                    <a:lnTo>
                      <a:pt x="54" y="30"/>
                    </a:lnTo>
                    <a:lnTo>
                      <a:pt x="54" y="30"/>
                    </a:lnTo>
                    <a:lnTo>
                      <a:pt x="54" y="30"/>
                    </a:lnTo>
                    <a:lnTo>
                      <a:pt x="54" y="3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64" name="Freeform 288"/>
              <p:cNvSpPr>
                <a:spLocks/>
              </p:cNvSpPr>
              <p:nvPr/>
            </p:nvSpPr>
            <p:spPr bwMode="auto">
              <a:xfrm>
                <a:off x="1643" y="3214"/>
                <a:ext cx="244" cy="592"/>
              </a:xfrm>
              <a:custGeom>
                <a:avLst/>
                <a:gdLst>
                  <a:gd name="T0" fmla="*/ 232 w 244"/>
                  <a:gd name="T1" fmla="*/ 66 h 592"/>
                  <a:gd name="T2" fmla="*/ 214 w 244"/>
                  <a:gd name="T3" fmla="*/ 86 h 592"/>
                  <a:gd name="T4" fmla="*/ 178 w 244"/>
                  <a:gd name="T5" fmla="*/ 88 h 592"/>
                  <a:gd name="T6" fmla="*/ 176 w 244"/>
                  <a:gd name="T7" fmla="*/ 62 h 592"/>
                  <a:gd name="T8" fmla="*/ 156 w 244"/>
                  <a:gd name="T9" fmla="*/ 38 h 592"/>
                  <a:gd name="T10" fmla="*/ 132 w 244"/>
                  <a:gd name="T11" fmla="*/ 32 h 592"/>
                  <a:gd name="T12" fmla="*/ 112 w 244"/>
                  <a:gd name="T13" fmla="*/ 18 h 592"/>
                  <a:gd name="T14" fmla="*/ 98 w 244"/>
                  <a:gd name="T15" fmla="*/ 10 h 592"/>
                  <a:gd name="T16" fmla="*/ 90 w 244"/>
                  <a:gd name="T17" fmla="*/ 2 h 592"/>
                  <a:gd name="T18" fmla="*/ 68 w 244"/>
                  <a:gd name="T19" fmla="*/ 16 h 592"/>
                  <a:gd name="T20" fmla="*/ 44 w 244"/>
                  <a:gd name="T21" fmla="*/ 0 h 592"/>
                  <a:gd name="T22" fmla="*/ 24 w 244"/>
                  <a:gd name="T23" fmla="*/ 20 h 592"/>
                  <a:gd name="T24" fmla="*/ 22 w 244"/>
                  <a:gd name="T25" fmla="*/ 46 h 592"/>
                  <a:gd name="T26" fmla="*/ 18 w 244"/>
                  <a:gd name="T27" fmla="*/ 78 h 592"/>
                  <a:gd name="T28" fmla="*/ 0 w 244"/>
                  <a:gd name="T29" fmla="*/ 154 h 592"/>
                  <a:gd name="T30" fmla="*/ 12 w 244"/>
                  <a:gd name="T31" fmla="*/ 200 h 592"/>
                  <a:gd name="T32" fmla="*/ 18 w 244"/>
                  <a:gd name="T33" fmla="*/ 224 h 592"/>
                  <a:gd name="T34" fmla="*/ 16 w 244"/>
                  <a:gd name="T35" fmla="*/ 252 h 592"/>
                  <a:gd name="T36" fmla="*/ 14 w 244"/>
                  <a:gd name="T37" fmla="*/ 286 h 592"/>
                  <a:gd name="T38" fmla="*/ 24 w 244"/>
                  <a:gd name="T39" fmla="*/ 312 h 592"/>
                  <a:gd name="T40" fmla="*/ 20 w 244"/>
                  <a:gd name="T41" fmla="*/ 336 h 592"/>
                  <a:gd name="T42" fmla="*/ 24 w 244"/>
                  <a:gd name="T43" fmla="*/ 370 h 592"/>
                  <a:gd name="T44" fmla="*/ 36 w 244"/>
                  <a:gd name="T45" fmla="*/ 414 h 592"/>
                  <a:gd name="T46" fmla="*/ 48 w 244"/>
                  <a:gd name="T47" fmla="*/ 436 h 592"/>
                  <a:gd name="T48" fmla="*/ 48 w 244"/>
                  <a:gd name="T49" fmla="*/ 450 h 592"/>
                  <a:gd name="T50" fmla="*/ 56 w 244"/>
                  <a:gd name="T51" fmla="*/ 472 h 592"/>
                  <a:gd name="T52" fmla="*/ 52 w 244"/>
                  <a:gd name="T53" fmla="*/ 516 h 592"/>
                  <a:gd name="T54" fmla="*/ 54 w 244"/>
                  <a:gd name="T55" fmla="*/ 538 h 592"/>
                  <a:gd name="T56" fmla="*/ 58 w 244"/>
                  <a:gd name="T57" fmla="*/ 560 h 592"/>
                  <a:gd name="T58" fmla="*/ 74 w 244"/>
                  <a:gd name="T59" fmla="*/ 580 h 592"/>
                  <a:gd name="T60" fmla="*/ 114 w 244"/>
                  <a:gd name="T61" fmla="*/ 592 h 592"/>
                  <a:gd name="T62" fmla="*/ 114 w 244"/>
                  <a:gd name="T63" fmla="*/ 582 h 592"/>
                  <a:gd name="T64" fmla="*/ 106 w 244"/>
                  <a:gd name="T65" fmla="*/ 548 h 592"/>
                  <a:gd name="T66" fmla="*/ 110 w 244"/>
                  <a:gd name="T67" fmla="*/ 544 h 592"/>
                  <a:gd name="T68" fmla="*/ 122 w 244"/>
                  <a:gd name="T69" fmla="*/ 534 h 592"/>
                  <a:gd name="T70" fmla="*/ 120 w 244"/>
                  <a:gd name="T71" fmla="*/ 516 h 592"/>
                  <a:gd name="T72" fmla="*/ 136 w 244"/>
                  <a:gd name="T73" fmla="*/ 494 h 592"/>
                  <a:gd name="T74" fmla="*/ 136 w 244"/>
                  <a:gd name="T75" fmla="*/ 478 h 592"/>
                  <a:gd name="T76" fmla="*/ 108 w 244"/>
                  <a:gd name="T77" fmla="*/ 456 h 592"/>
                  <a:gd name="T78" fmla="*/ 122 w 244"/>
                  <a:gd name="T79" fmla="*/ 438 h 592"/>
                  <a:gd name="T80" fmla="*/ 126 w 244"/>
                  <a:gd name="T81" fmla="*/ 416 h 592"/>
                  <a:gd name="T82" fmla="*/ 134 w 244"/>
                  <a:gd name="T83" fmla="*/ 392 h 592"/>
                  <a:gd name="T84" fmla="*/ 134 w 244"/>
                  <a:gd name="T85" fmla="*/ 382 h 592"/>
                  <a:gd name="T86" fmla="*/ 142 w 244"/>
                  <a:gd name="T87" fmla="*/ 374 h 592"/>
                  <a:gd name="T88" fmla="*/ 132 w 244"/>
                  <a:gd name="T89" fmla="*/ 372 h 592"/>
                  <a:gd name="T90" fmla="*/ 120 w 244"/>
                  <a:gd name="T91" fmla="*/ 362 h 592"/>
                  <a:gd name="T92" fmla="*/ 122 w 244"/>
                  <a:gd name="T93" fmla="*/ 352 h 592"/>
                  <a:gd name="T94" fmla="*/ 146 w 244"/>
                  <a:gd name="T95" fmla="*/ 354 h 592"/>
                  <a:gd name="T96" fmla="*/ 156 w 244"/>
                  <a:gd name="T97" fmla="*/ 332 h 592"/>
                  <a:gd name="T98" fmla="*/ 156 w 244"/>
                  <a:gd name="T99" fmla="*/ 310 h 592"/>
                  <a:gd name="T100" fmla="*/ 194 w 244"/>
                  <a:gd name="T101" fmla="*/ 302 h 592"/>
                  <a:gd name="T102" fmla="*/ 218 w 244"/>
                  <a:gd name="T103" fmla="*/ 278 h 592"/>
                  <a:gd name="T104" fmla="*/ 224 w 244"/>
                  <a:gd name="T105" fmla="*/ 262 h 592"/>
                  <a:gd name="T106" fmla="*/ 218 w 244"/>
                  <a:gd name="T107" fmla="*/ 254 h 592"/>
                  <a:gd name="T108" fmla="*/ 206 w 244"/>
                  <a:gd name="T109" fmla="*/ 230 h 592"/>
                  <a:gd name="T110" fmla="*/ 192 w 244"/>
                  <a:gd name="T111" fmla="*/ 206 h 592"/>
                  <a:gd name="T112" fmla="*/ 190 w 244"/>
                  <a:gd name="T113" fmla="*/ 174 h 592"/>
                  <a:gd name="T114" fmla="*/ 196 w 244"/>
                  <a:gd name="T115" fmla="*/ 138 h 592"/>
                  <a:gd name="T116" fmla="*/ 212 w 244"/>
                  <a:gd name="T117" fmla="*/ 110 h 592"/>
                  <a:gd name="T118" fmla="*/ 224 w 244"/>
                  <a:gd name="T119" fmla="*/ 94 h 592"/>
                  <a:gd name="T120" fmla="*/ 244 w 244"/>
                  <a:gd name="T121" fmla="*/ 74 h 5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44" h="592">
                    <a:moveTo>
                      <a:pt x="240" y="66"/>
                    </a:moveTo>
                    <a:lnTo>
                      <a:pt x="240" y="66"/>
                    </a:lnTo>
                    <a:lnTo>
                      <a:pt x="240" y="62"/>
                    </a:lnTo>
                    <a:lnTo>
                      <a:pt x="238" y="58"/>
                    </a:lnTo>
                    <a:lnTo>
                      <a:pt x="236" y="54"/>
                    </a:lnTo>
                    <a:lnTo>
                      <a:pt x="234" y="52"/>
                    </a:lnTo>
                    <a:lnTo>
                      <a:pt x="234" y="52"/>
                    </a:lnTo>
                    <a:lnTo>
                      <a:pt x="232" y="54"/>
                    </a:lnTo>
                    <a:lnTo>
                      <a:pt x="232" y="56"/>
                    </a:lnTo>
                    <a:lnTo>
                      <a:pt x="234" y="60"/>
                    </a:lnTo>
                    <a:lnTo>
                      <a:pt x="232" y="62"/>
                    </a:lnTo>
                    <a:lnTo>
                      <a:pt x="232" y="62"/>
                    </a:lnTo>
                    <a:lnTo>
                      <a:pt x="232" y="64"/>
                    </a:lnTo>
                    <a:lnTo>
                      <a:pt x="232" y="66"/>
                    </a:lnTo>
                    <a:lnTo>
                      <a:pt x="230" y="66"/>
                    </a:lnTo>
                    <a:lnTo>
                      <a:pt x="228" y="68"/>
                    </a:lnTo>
                    <a:lnTo>
                      <a:pt x="226" y="70"/>
                    </a:lnTo>
                    <a:lnTo>
                      <a:pt x="224" y="72"/>
                    </a:lnTo>
                    <a:lnTo>
                      <a:pt x="224" y="72"/>
                    </a:lnTo>
                    <a:lnTo>
                      <a:pt x="222" y="76"/>
                    </a:lnTo>
                    <a:lnTo>
                      <a:pt x="218" y="78"/>
                    </a:lnTo>
                    <a:lnTo>
                      <a:pt x="216" y="80"/>
                    </a:lnTo>
                    <a:lnTo>
                      <a:pt x="216" y="82"/>
                    </a:lnTo>
                    <a:lnTo>
                      <a:pt x="216" y="82"/>
                    </a:lnTo>
                    <a:lnTo>
                      <a:pt x="216" y="82"/>
                    </a:lnTo>
                    <a:lnTo>
                      <a:pt x="214" y="84"/>
                    </a:lnTo>
                    <a:lnTo>
                      <a:pt x="214" y="86"/>
                    </a:lnTo>
                    <a:lnTo>
                      <a:pt x="214" y="86"/>
                    </a:lnTo>
                    <a:lnTo>
                      <a:pt x="212" y="86"/>
                    </a:lnTo>
                    <a:lnTo>
                      <a:pt x="212" y="88"/>
                    </a:lnTo>
                    <a:lnTo>
                      <a:pt x="210" y="88"/>
                    </a:lnTo>
                    <a:lnTo>
                      <a:pt x="206" y="88"/>
                    </a:lnTo>
                    <a:lnTo>
                      <a:pt x="206" y="88"/>
                    </a:lnTo>
                    <a:lnTo>
                      <a:pt x="200" y="88"/>
                    </a:lnTo>
                    <a:lnTo>
                      <a:pt x="196" y="88"/>
                    </a:lnTo>
                    <a:lnTo>
                      <a:pt x="192" y="90"/>
                    </a:lnTo>
                    <a:lnTo>
                      <a:pt x="192" y="90"/>
                    </a:lnTo>
                    <a:lnTo>
                      <a:pt x="190" y="90"/>
                    </a:lnTo>
                    <a:lnTo>
                      <a:pt x="188" y="90"/>
                    </a:lnTo>
                    <a:lnTo>
                      <a:pt x="186" y="90"/>
                    </a:lnTo>
                    <a:lnTo>
                      <a:pt x="178" y="88"/>
                    </a:lnTo>
                    <a:lnTo>
                      <a:pt x="178" y="88"/>
                    </a:lnTo>
                    <a:lnTo>
                      <a:pt x="178" y="88"/>
                    </a:lnTo>
                    <a:lnTo>
                      <a:pt x="176" y="88"/>
                    </a:lnTo>
                    <a:lnTo>
                      <a:pt x="174" y="86"/>
                    </a:lnTo>
                    <a:lnTo>
                      <a:pt x="174" y="86"/>
                    </a:lnTo>
                    <a:lnTo>
                      <a:pt x="174" y="86"/>
                    </a:lnTo>
                    <a:lnTo>
                      <a:pt x="174" y="84"/>
                    </a:lnTo>
                    <a:lnTo>
                      <a:pt x="174" y="82"/>
                    </a:lnTo>
                    <a:lnTo>
                      <a:pt x="174" y="80"/>
                    </a:lnTo>
                    <a:lnTo>
                      <a:pt x="174" y="80"/>
                    </a:lnTo>
                    <a:lnTo>
                      <a:pt x="174" y="72"/>
                    </a:lnTo>
                    <a:lnTo>
                      <a:pt x="174" y="68"/>
                    </a:lnTo>
                    <a:lnTo>
                      <a:pt x="174" y="66"/>
                    </a:lnTo>
                    <a:lnTo>
                      <a:pt x="174" y="66"/>
                    </a:lnTo>
                    <a:lnTo>
                      <a:pt x="176" y="62"/>
                    </a:lnTo>
                    <a:lnTo>
                      <a:pt x="176" y="60"/>
                    </a:lnTo>
                    <a:lnTo>
                      <a:pt x="178" y="58"/>
                    </a:lnTo>
                    <a:lnTo>
                      <a:pt x="178" y="54"/>
                    </a:lnTo>
                    <a:lnTo>
                      <a:pt x="180" y="50"/>
                    </a:lnTo>
                    <a:lnTo>
                      <a:pt x="180" y="50"/>
                    </a:lnTo>
                    <a:lnTo>
                      <a:pt x="180" y="48"/>
                    </a:lnTo>
                    <a:lnTo>
                      <a:pt x="178" y="46"/>
                    </a:lnTo>
                    <a:lnTo>
                      <a:pt x="178" y="46"/>
                    </a:lnTo>
                    <a:lnTo>
                      <a:pt x="176" y="46"/>
                    </a:lnTo>
                    <a:lnTo>
                      <a:pt x="176" y="44"/>
                    </a:lnTo>
                    <a:lnTo>
                      <a:pt x="176" y="44"/>
                    </a:lnTo>
                    <a:lnTo>
                      <a:pt x="168" y="42"/>
                    </a:lnTo>
                    <a:lnTo>
                      <a:pt x="162" y="40"/>
                    </a:lnTo>
                    <a:lnTo>
                      <a:pt x="156" y="38"/>
                    </a:lnTo>
                    <a:lnTo>
                      <a:pt x="150" y="34"/>
                    </a:lnTo>
                    <a:lnTo>
                      <a:pt x="150" y="34"/>
                    </a:lnTo>
                    <a:lnTo>
                      <a:pt x="148" y="34"/>
                    </a:lnTo>
                    <a:lnTo>
                      <a:pt x="146" y="32"/>
                    </a:lnTo>
                    <a:lnTo>
                      <a:pt x="144" y="32"/>
                    </a:lnTo>
                    <a:lnTo>
                      <a:pt x="144" y="32"/>
                    </a:lnTo>
                    <a:lnTo>
                      <a:pt x="142" y="32"/>
                    </a:lnTo>
                    <a:lnTo>
                      <a:pt x="142" y="34"/>
                    </a:lnTo>
                    <a:lnTo>
                      <a:pt x="140" y="34"/>
                    </a:lnTo>
                    <a:lnTo>
                      <a:pt x="138" y="34"/>
                    </a:lnTo>
                    <a:lnTo>
                      <a:pt x="138" y="34"/>
                    </a:lnTo>
                    <a:lnTo>
                      <a:pt x="136" y="34"/>
                    </a:lnTo>
                    <a:lnTo>
                      <a:pt x="134" y="32"/>
                    </a:lnTo>
                    <a:lnTo>
                      <a:pt x="132" y="32"/>
                    </a:lnTo>
                    <a:lnTo>
                      <a:pt x="130" y="30"/>
                    </a:lnTo>
                    <a:lnTo>
                      <a:pt x="130" y="30"/>
                    </a:lnTo>
                    <a:lnTo>
                      <a:pt x="128" y="30"/>
                    </a:lnTo>
                    <a:lnTo>
                      <a:pt x="126" y="30"/>
                    </a:lnTo>
                    <a:lnTo>
                      <a:pt x="124" y="30"/>
                    </a:lnTo>
                    <a:lnTo>
                      <a:pt x="124" y="30"/>
                    </a:lnTo>
                    <a:lnTo>
                      <a:pt x="122" y="28"/>
                    </a:lnTo>
                    <a:lnTo>
                      <a:pt x="122" y="26"/>
                    </a:lnTo>
                    <a:lnTo>
                      <a:pt x="120" y="24"/>
                    </a:lnTo>
                    <a:lnTo>
                      <a:pt x="118" y="22"/>
                    </a:lnTo>
                    <a:lnTo>
                      <a:pt x="118" y="22"/>
                    </a:lnTo>
                    <a:lnTo>
                      <a:pt x="116" y="20"/>
                    </a:lnTo>
                    <a:lnTo>
                      <a:pt x="114" y="20"/>
                    </a:lnTo>
                    <a:lnTo>
                      <a:pt x="112" y="18"/>
                    </a:lnTo>
                    <a:lnTo>
                      <a:pt x="112" y="18"/>
                    </a:lnTo>
                    <a:lnTo>
                      <a:pt x="112" y="16"/>
                    </a:lnTo>
                    <a:lnTo>
                      <a:pt x="110" y="14"/>
                    </a:lnTo>
                    <a:lnTo>
                      <a:pt x="106" y="12"/>
                    </a:lnTo>
                    <a:lnTo>
                      <a:pt x="106" y="10"/>
                    </a:lnTo>
                    <a:lnTo>
                      <a:pt x="106" y="10"/>
                    </a:lnTo>
                    <a:lnTo>
                      <a:pt x="104" y="10"/>
                    </a:lnTo>
                    <a:lnTo>
                      <a:pt x="102" y="10"/>
                    </a:lnTo>
                    <a:lnTo>
                      <a:pt x="102" y="10"/>
                    </a:lnTo>
                    <a:lnTo>
                      <a:pt x="100" y="10"/>
                    </a:lnTo>
                    <a:lnTo>
                      <a:pt x="100" y="10"/>
                    </a:lnTo>
                    <a:lnTo>
                      <a:pt x="100" y="10"/>
                    </a:lnTo>
                    <a:lnTo>
                      <a:pt x="100" y="10"/>
                    </a:lnTo>
                    <a:lnTo>
                      <a:pt x="98" y="10"/>
                    </a:lnTo>
                    <a:lnTo>
                      <a:pt x="98" y="8"/>
                    </a:lnTo>
                    <a:lnTo>
                      <a:pt x="98" y="8"/>
                    </a:lnTo>
                    <a:lnTo>
                      <a:pt x="98" y="6"/>
                    </a:lnTo>
                    <a:lnTo>
                      <a:pt x="98" y="4"/>
                    </a:lnTo>
                    <a:lnTo>
                      <a:pt x="98" y="4"/>
                    </a:lnTo>
                    <a:lnTo>
                      <a:pt x="96" y="4"/>
                    </a:lnTo>
                    <a:lnTo>
                      <a:pt x="96" y="4"/>
                    </a:lnTo>
                    <a:lnTo>
                      <a:pt x="94" y="2"/>
                    </a:lnTo>
                    <a:lnTo>
                      <a:pt x="94" y="2"/>
                    </a:lnTo>
                    <a:lnTo>
                      <a:pt x="92" y="2"/>
                    </a:lnTo>
                    <a:lnTo>
                      <a:pt x="92" y="2"/>
                    </a:lnTo>
                    <a:lnTo>
                      <a:pt x="90" y="0"/>
                    </a:lnTo>
                    <a:lnTo>
                      <a:pt x="90" y="0"/>
                    </a:lnTo>
                    <a:lnTo>
                      <a:pt x="90" y="2"/>
                    </a:lnTo>
                    <a:lnTo>
                      <a:pt x="90" y="2"/>
                    </a:lnTo>
                    <a:lnTo>
                      <a:pt x="86" y="0"/>
                    </a:lnTo>
                    <a:lnTo>
                      <a:pt x="82" y="0"/>
                    </a:lnTo>
                    <a:lnTo>
                      <a:pt x="82" y="2"/>
                    </a:lnTo>
                    <a:lnTo>
                      <a:pt x="80" y="2"/>
                    </a:lnTo>
                    <a:lnTo>
                      <a:pt x="78" y="2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4" y="8"/>
                    </a:lnTo>
                    <a:lnTo>
                      <a:pt x="72" y="10"/>
                    </a:lnTo>
                    <a:lnTo>
                      <a:pt x="70" y="14"/>
                    </a:lnTo>
                    <a:lnTo>
                      <a:pt x="68" y="14"/>
                    </a:lnTo>
                    <a:lnTo>
                      <a:pt x="68" y="16"/>
                    </a:lnTo>
                    <a:lnTo>
                      <a:pt x="68" y="16"/>
                    </a:lnTo>
                    <a:lnTo>
                      <a:pt x="66" y="14"/>
                    </a:lnTo>
                    <a:lnTo>
                      <a:pt x="66" y="12"/>
                    </a:lnTo>
                    <a:lnTo>
                      <a:pt x="64" y="8"/>
                    </a:lnTo>
                    <a:lnTo>
                      <a:pt x="64" y="6"/>
                    </a:lnTo>
                    <a:lnTo>
                      <a:pt x="64" y="4"/>
                    </a:lnTo>
                    <a:lnTo>
                      <a:pt x="62" y="2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58" y="0"/>
                    </a:lnTo>
                    <a:lnTo>
                      <a:pt x="58" y="0"/>
                    </a:lnTo>
                    <a:lnTo>
                      <a:pt x="56" y="0"/>
                    </a:lnTo>
                    <a:lnTo>
                      <a:pt x="52" y="0"/>
                    </a:lnTo>
                    <a:lnTo>
                      <a:pt x="48" y="0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42" y="2"/>
                    </a:lnTo>
                    <a:lnTo>
                      <a:pt x="40" y="2"/>
                    </a:lnTo>
                    <a:lnTo>
                      <a:pt x="38" y="2"/>
                    </a:lnTo>
                    <a:lnTo>
                      <a:pt x="36" y="4"/>
                    </a:lnTo>
                    <a:lnTo>
                      <a:pt x="34" y="8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0" y="14"/>
                    </a:lnTo>
                    <a:lnTo>
                      <a:pt x="28" y="14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4" y="20"/>
                    </a:lnTo>
                    <a:lnTo>
                      <a:pt x="24" y="20"/>
                    </a:lnTo>
                    <a:lnTo>
                      <a:pt x="28" y="22"/>
                    </a:lnTo>
                    <a:lnTo>
                      <a:pt x="28" y="24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8"/>
                    </a:lnTo>
                    <a:lnTo>
                      <a:pt x="32" y="30"/>
                    </a:lnTo>
                    <a:lnTo>
                      <a:pt x="32" y="32"/>
                    </a:lnTo>
                    <a:lnTo>
                      <a:pt x="30" y="34"/>
                    </a:lnTo>
                    <a:lnTo>
                      <a:pt x="30" y="36"/>
                    </a:lnTo>
                    <a:lnTo>
                      <a:pt x="28" y="38"/>
                    </a:lnTo>
                    <a:lnTo>
                      <a:pt x="28" y="40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2" y="46"/>
                    </a:lnTo>
                    <a:lnTo>
                      <a:pt x="18" y="48"/>
                    </a:lnTo>
                    <a:lnTo>
                      <a:pt x="16" y="50"/>
                    </a:lnTo>
                    <a:lnTo>
                      <a:pt x="14" y="52"/>
                    </a:lnTo>
                    <a:lnTo>
                      <a:pt x="12" y="54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60"/>
                    </a:lnTo>
                    <a:lnTo>
                      <a:pt x="12" y="62"/>
                    </a:lnTo>
                    <a:lnTo>
                      <a:pt x="12" y="64"/>
                    </a:lnTo>
                    <a:lnTo>
                      <a:pt x="12" y="66"/>
                    </a:lnTo>
                    <a:lnTo>
                      <a:pt x="14" y="70"/>
                    </a:lnTo>
                    <a:lnTo>
                      <a:pt x="16" y="76"/>
                    </a:lnTo>
                    <a:lnTo>
                      <a:pt x="16" y="76"/>
                    </a:lnTo>
                    <a:lnTo>
                      <a:pt x="18" y="78"/>
                    </a:lnTo>
                    <a:lnTo>
                      <a:pt x="18" y="80"/>
                    </a:lnTo>
                    <a:lnTo>
                      <a:pt x="18" y="86"/>
                    </a:lnTo>
                    <a:lnTo>
                      <a:pt x="18" y="88"/>
                    </a:lnTo>
                    <a:lnTo>
                      <a:pt x="16" y="94"/>
                    </a:lnTo>
                    <a:lnTo>
                      <a:pt x="16" y="98"/>
                    </a:lnTo>
                    <a:lnTo>
                      <a:pt x="14" y="104"/>
                    </a:lnTo>
                    <a:lnTo>
                      <a:pt x="10" y="112"/>
                    </a:lnTo>
                    <a:lnTo>
                      <a:pt x="10" y="112"/>
                    </a:lnTo>
                    <a:lnTo>
                      <a:pt x="8" y="118"/>
                    </a:lnTo>
                    <a:lnTo>
                      <a:pt x="6" y="122"/>
                    </a:lnTo>
                    <a:lnTo>
                      <a:pt x="6" y="128"/>
                    </a:lnTo>
                    <a:lnTo>
                      <a:pt x="4" y="132"/>
                    </a:lnTo>
                    <a:lnTo>
                      <a:pt x="0" y="142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64"/>
                    </a:lnTo>
                    <a:lnTo>
                      <a:pt x="0" y="168"/>
                    </a:lnTo>
                    <a:lnTo>
                      <a:pt x="0" y="174"/>
                    </a:lnTo>
                    <a:lnTo>
                      <a:pt x="0" y="174"/>
                    </a:lnTo>
                    <a:lnTo>
                      <a:pt x="4" y="176"/>
                    </a:lnTo>
                    <a:lnTo>
                      <a:pt x="4" y="178"/>
                    </a:lnTo>
                    <a:lnTo>
                      <a:pt x="6" y="182"/>
                    </a:lnTo>
                    <a:lnTo>
                      <a:pt x="6" y="182"/>
                    </a:lnTo>
                    <a:lnTo>
                      <a:pt x="8" y="186"/>
                    </a:lnTo>
                    <a:lnTo>
                      <a:pt x="10" y="192"/>
                    </a:lnTo>
                    <a:lnTo>
                      <a:pt x="10" y="192"/>
                    </a:lnTo>
                    <a:lnTo>
                      <a:pt x="10" y="198"/>
                    </a:lnTo>
                    <a:lnTo>
                      <a:pt x="12" y="200"/>
                    </a:lnTo>
                    <a:lnTo>
                      <a:pt x="12" y="204"/>
                    </a:lnTo>
                    <a:lnTo>
                      <a:pt x="12" y="204"/>
                    </a:lnTo>
                    <a:lnTo>
                      <a:pt x="14" y="204"/>
                    </a:lnTo>
                    <a:lnTo>
                      <a:pt x="16" y="206"/>
                    </a:lnTo>
                    <a:lnTo>
                      <a:pt x="18" y="208"/>
                    </a:lnTo>
                    <a:lnTo>
                      <a:pt x="18" y="210"/>
                    </a:lnTo>
                    <a:lnTo>
                      <a:pt x="20" y="210"/>
                    </a:lnTo>
                    <a:lnTo>
                      <a:pt x="20" y="210"/>
                    </a:lnTo>
                    <a:lnTo>
                      <a:pt x="20" y="214"/>
                    </a:lnTo>
                    <a:lnTo>
                      <a:pt x="18" y="216"/>
                    </a:lnTo>
                    <a:lnTo>
                      <a:pt x="18" y="218"/>
                    </a:lnTo>
                    <a:lnTo>
                      <a:pt x="18" y="220"/>
                    </a:lnTo>
                    <a:lnTo>
                      <a:pt x="18" y="220"/>
                    </a:lnTo>
                    <a:lnTo>
                      <a:pt x="18" y="224"/>
                    </a:lnTo>
                    <a:lnTo>
                      <a:pt x="18" y="226"/>
                    </a:lnTo>
                    <a:lnTo>
                      <a:pt x="20" y="228"/>
                    </a:lnTo>
                    <a:lnTo>
                      <a:pt x="22" y="228"/>
                    </a:lnTo>
                    <a:lnTo>
                      <a:pt x="22" y="228"/>
                    </a:lnTo>
                    <a:lnTo>
                      <a:pt x="22" y="230"/>
                    </a:lnTo>
                    <a:lnTo>
                      <a:pt x="22" y="234"/>
                    </a:lnTo>
                    <a:lnTo>
                      <a:pt x="22" y="236"/>
                    </a:lnTo>
                    <a:lnTo>
                      <a:pt x="22" y="238"/>
                    </a:lnTo>
                    <a:lnTo>
                      <a:pt x="20" y="242"/>
                    </a:lnTo>
                    <a:lnTo>
                      <a:pt x="18" y="244"/>
                    </a:lnTo>
                    <a:lnTo>
                      <a:pt x="18" y="246"/>
                    </a:lnTo>
                    <a:lnTo>
                      <a:pt x="18" y="246"/>
                    </a:lnTo>
                    <a:lnTo>
                      <a:pt x="16" y="248"/>
                    </a:lnTo>
                    <a:lnTo>
                      <a:pt x="16" y="252"/>
                    </a:lnTo>
                    <a:lnTo>
                      <a:pt x="16" y="252"/>
                    </a:lnTo>
                    <a:lnTo>
                      <a:pt x="16" y="256"/>
                    </a:lnTo>
                    <a:lnTo>
                      <a:pt x="16" y="256"/>
                    </a:lnTo>
                    <a:lnTo>
                      <a:pt x="16" y="258"/>
                    </a:lnTo>
                    <a:lnTo>
                      <a:pt x="18" y="262"/>
                    </a:lnTo>
                    <a:lnTo>
                      <a:pt x="18" y="264"/>
                    </a:lnTo>
                    <a:lnTo>
                      <a:pt x="18" y="266"/>
                    </a:lnTo>
                    <a:lnTo>
                      <a:pt x="18" y="266"/>
                    </a:lnTo>
                    <a:lnTo>
                      <a:pt x="18" y="268"/>
                    </a:lnTo>
                    <a:lnTo>
                      <a:pt x="18" y="272"/>
                    </a:lnTo>
                    <a:lnTo>
                      <a:pt x="16" y="276"/>
                    </a:lnTo>
                    <a:lnTo>
                      <a:pt x="14" y="280"/>
                    </a:lnTo>
                    <a:lnTo>
                      <a:pt x="14" y="282"/>
                    </a:lnTo>
                    <a:lnTo>
                      <a:pt x="14" y="286"/>
                    </a:lnTo>
                    <a:lnTo>
                      <a:pt x="14" y="286"/>
                    </a:lnTo>
                    <a:lnTo>
                      <a:pt x="14" y="288"/>
                    </a:lnTo>
                    <a:lnTo>
                      <a:pt x="14" y="290"/>
                    </a:lnTo>
                    <a:lnTo>
                      <a:pt x="16" y="292"/>
                    </a:lnTo>
                    <a:lnTo>
                      <a:pt x="16" y="294"/>
                    </a:lnTo>
                    <a:lnTo>
                      <a:pt x="20" y="298"/>
                    </a:lnTo>
                    <a:lnTo>
                      <a:pt x="22" y="300"/>
                    </a:lnTo>
                    <a:lnTo>
                      <a:pt x="22" y="302"/>
                    </a:lnTo>
                    <a:lnTo>
                      <a:pt x="22" y="302"/>
                    </a:lnTo>
                    <a:lnTo>
                      <a:pt x="24" y="304"/>
                    </a:lnTo>
                    <a:lnTo>
                      <a:pt x="24" y="306"/>
                    </a:lnTo>
                    <a:lnTo>
                      <a:pt x="24" y="310"/>
                    </a:lnTo>
                    <a:lnTo>
                      <a:pt x="24" y="312"/>
                    </a:lnTo>
                    <a:lnTo>
                      <a:pt x="24" y="312"/>
                    </a:lnTo>
                    <a:lnTo>
                      <a:pt x="24" y="312"/>
                    </a:lnTo>
                    <a:lnTo>
                      <a:pt x="22" y="314"/>
                    </a:lnTo>
                    <a:lnTo>
                      <a:pt x="20" y="314"/>
                    </a:lnTo>
                    <a:lnTo>
                      <a:pt x="18" y="316"/>
                    </a:lnTo>
                    <a:lnTo>
                      <a:pt x="16" y="318"/>
                    </a:lnTo>
                    <a:lnTo>
                      <a:pt x="16" y="318"/>
                    </a:lnTo>
                    <a:lnTo>
                      <a:pt x="16" y="318"/>
                    </a:lnTo>
                    <a:lnTo>
                      <a:pt x="16" y="320"/>
                    </a:lnTo>
                    <a:lnTo>
                      <a:pt x="14" y="322"/>
                    </a:lnTo>
                    <a:lnTo>
                      <a:pt x="16" y="324"/>
                    </a:lnTo>
                    <a:lnTo>
                      <a:pt x="16" y="326"/>
                    </a:lnTo>
                    <a:lnTo>
                      <a:pt x="18" y="330"/>
                    </a:lnTo>
                    <a:lnTo>
                      <a:pt x="20" y="332"/>
                    </a:lnTo>
                    <a:lnTo>
                      <a:pt x="20" y="336"/>
                    </a:lnTo>
                    <a:lnTo>
                      <a:pt x="20" y="336"/>
                    </a:lnTo>
                    <a:lnTo>
                      <a:pt x="20" y="338"/>
                    </a:lnTo>
                    <a:lnTo>
                      <a:pt x="20" y="340"/>
                    </a:lnTo>
                    <a:lnTo>
                      <a:pt x="20" y="346"/>
                    </a:lnTo>
                    <a:lnTo>
                      <a:pt x="18" y="350"/>
                    </a:lnTo>
                    <a:lnTo>
                      <a:pt x="18" y="352"/>
                    </a:lnTo>
                    <a:lnTo>
                      <a:pt x="18" y="356"/>
                    </a:lnTo>
                    <a:lnTo>
                      <a:pt x="18" y="356"/>
                    </a:lnTo>
                    <a:lnTo>
                      <a:pt x="18" y="360"/>
                    </a:lnTo>
                    <a:lnTo>
                      <a:pt x="20" y="364"/>
                    </a:lnTo>
                    <a:lnTo>
                      <a:pt x="20" y="366"/>
                    </a:lnTo>
                    <a:lnTo>
                      <a:pt x="20" y="366"/>
                    </a:lnTo>
                    <a:lnTo>
                      <a:pt x="24" y="370"/>
                    </a:lnTo>
                    <a:lnTo>
                      <a:pt x="24" y="370"/>
                    </a:lnTo>
                    <a:lnTo>
                      <a:pt x="26" y="372"/>
                    </a:lnTo>
                    <a:lnTo>
                      <a:pt x="26" y="372"/>
                    </a:lnTo>
                    <a:lnTo>
                      <a:pt x="26" y="374"/>
                    </a:lnTo>
                    <a:lnTo>
                      <a:pt x="26" y="378"/>
                    </a:lnTo>
                    <a:lnTo>
                      <a:pt x="28" y="382"/>
                    </a:lnTo>
                    <a:lnTo>
                      <a:pt x="28" y="388"/>
                    </a:lnTo>
                    <a:lnTo>
                      <a:pt x="28" y="394"/>
                    </a:lnTo>
                    <a:lnTo>
                      <a:pt x="28" y="394"/>
                    </a:lnTo>
                    <a:lnTo>
                      <a:pt x="30" y="396"/>
                    </a:lnTo>
                    <a:lnTo>
                      <a:pt x="32" y="402"/>
                    </a:lnTo>
                    <a:lnTo>
                      <a:pt x="34" y="406"/>
                    </a:lnTo>
                    <a:lnTo>
                      <a:pt x="36" y="410"/>
                    </a:lnTo>
                    <a:lnTo>
                      <a:pt x="36" y="410"/>
                    </a:lnTo>
                    <a:lnTo>
                      <a:pt x="36" y="414"/>
                    </a:lnTo>
                    <a:lnTo>
                      <a:pt x="38" y="418"/>
                    </a:lnTo>
                    <a:lnTo>
                      <a:pt x="40" y="426"/>
                    </a:lnTo>
                    <a:lnTo>
                      <a:pt x="40" y="426"/>
                    </a:lnTo>
                    <a:lnTo>
                      <a:pt x="40" y="432"/>
                    </a:lnTo>
                    <a:lnTo>
                      <a:pt x="40" y="434"/>
                    </a:lnTo>
                    <a:lnTo>
                      <a:pt x="40" y="436"/>
                    </a:lnTo>
                    <a:lnTo>
                      <a:pt x="42" y="436"/>
                    </a:lnTo>
                    <a:lnTo>
                      <a:pt x="42" y="436"/>
                    </a:lnTo>
                    <a:lnTo>
                      <a:pt x="42" y="436"/>
                    </a:lnTo>
                    <a:lnTo>
                      <a:pt x="44" y="436"/>
                    </a:lnTo>
                    <a:lnTo>
                      <a:pt x="46" y="436"/>
                    </a:lnTo>
                    <a:lnTo>
                      <a:pt x="48" y="436"/>
                    </a:lnTo>
                    <a:lnTo>
                      <a:pt x="48" y="436"/>
                    </a:lnTo>
                    <a:lnTo>
                      <a:pt x="48" y="436"/>
                    </a:lnTo>
                    <a:lnTo>
                      <a:pt x="50" y="438"/>
                    </a:lnTo>
                    <a:lnTo>
                      <a:pt x="50" y="438"/>
                    </a:lnTo>
                    <a:lnTo>
                      <a:pt x="50" y="438"/>
                    </a:lnTo>
                    <a:lnTo>
                      <a:pt x="50" y="440"/>
                    </a:lnTo>
                    <a:lnTo>
                      <a:pt x="48" y="440"/>
                    </a:lnTo>
                    <a:lnTo>
                      <a:pt x="48" y="442"/>
                    </a:lnTo>
                    <a:lnTo>
                      <a:pt x="46" y="442"/>
                    </a:lnTo>
                    <a:lnTo>
                      <a:pt x="46" y="442"/>
                    </a:lnTo>
                    <a:lnTo>
                      <a:pt x="44" y="444"/>
                    </a:lnTo>
                    <a:lnTo>
                      <a:pt x="44" y="444"/>
                    </a:lnTo>
                    <a:lnTo>
                      <a:pt x="44" y="446"/>
                    </a:lnTo>
                    <a:lnTo>
                      <a:pt x="44" y="446"/>
                    </a:lnTo>
                    <a:lnTo>
                      <a:pt x="46" y="448"/>
                    </a:lnTo>
                    <a:lnTo>
                      <a:pt x="48" y="450"/>
                    </a:lnTo>
                    <a:lnTo>
                      <a:pt x="48" y="452"/>
                    </a:lnTo>
                    <a:lnTo>
                      <a:pt x="48" y="452"/>
                    </a:lnTo>
                    <a:lnTo>
                      <a:pt x="48" y="454"/>
                    </a:lnTo>
                    <a:lnTo>
                      <a:pt x="48" y="456"/>
                    </a:lnTo>
                    <a:lnTo>
                      <a:pt x="48" y="458"/>
                    </a:lnTo>
                    <a:lnTo>
                      <a:pt x="50" y="462"/>
                    </a:lnTo>
                    <a:lnTo>
                      <a:pt x="50" y="462"/>
                    </a:lnTo>
                    <a:lnTo>
                      <a:pt x="52" y="464"/>
                    </a:lnTo>
                    <a:lnTo>
                      <a:pt x="54" y="466"/>
                    </a:lnTo>
                    <a:lnTo>
                      <a:pt x="54" y="466"/>
                    </a:lnTo>
                    <a:lnTo>
                      <a:pt x="56" y="468"/>
                    </a:lnTo>
                    <a:lnTo>
                      <a:pt x="56" y="468"/>
                    </a:lnTo>
                    <a:lnTo>
                      <a:pt x="56" y="468"/>
                    </a:lnTo>
                    <a:lnTo>
                      <a:pt x="56" y="472"/>
                    </a:lnTo>
                    <a:lnTo>
                      <a:pt x="56" y="474"/>
                    </a:lnTo>
                    <a:lnTo>
                      <a:pt x="54" y="480"/>
                    </a:lnTo>
                    <a:lnTo>
                      <a:pt x="54" y="480"/>
                    </a:lnTo>
                    <a:lnTo>
                      <a:pt x="52" y="484"/>
                    </a:lnTo>
                    <a:lnTo>
                      <a:pt x="52" y="490"/>
                    </a:lnTo>
                    <a:lnTo>
                      <a:pt x="52" y="494"/>
                    </a:lnTo>
                    <a:lnTo>
                      <a:pt x="52" y="498"/>
                    </a:lnTo>
                    <a:lnTo>
                      <a:pt x="52" y="498"/>
                    </a:lnTo>
                    <a:lnTo>
                      <a:pt x="52" y="504"/>
                    </a:lnTo>
                    <a:lnTo>
                      <a:pt x="54" y="510"/>
                    </a:lnTo>
                    <a:lnTo>
                      <a:pt x="54" y="510"/>
                    </a:lnTo>
                    <a:lnTo>
                      <a:pt x="52" y="512"/>
                    </a:lnTo>
                    <a:lnTo>
                      <a:pt x="52" y="514"/>
                    </a:lnTo>
                    <a:lnTo>
                      <a:pt x="52" y="516"/>
                    </a:lnTo>
                    <a:lnTo>
                      <a:pt x="50" y="518"/>
                    </a:lnTo>
                    <a:lnTo>
                      <a:pt x="50" y="518"/>
                    </a:lnTo>
                    <a:lnTo>
                      <a:pt x="50" y="520"/>
                    </a:lnTo>
                    <a:lnTo>
                      <a:pt x="52" y="522"/>
                    </a:lnTo>
                    <a:lnTo>
                      <a:pt x="52" y="524"/>
                    </a:lnTo>
                    <a:lnTo>
                      <a:pt x="52" y="528"/>
                    </a:lnTo>
                    <a:lnTo>
                      <a:pt x="52" y="528"/>
                    </a:lnTo>
                    <a:lnTo>
                      <a:pt x="52" y="530"/>
                    </a:lnTo>
                    <a:lnTo>
                      <a:pt x="52" y="532"/>
                    </a:lnTo>
                    <a:lnTo>
                      <a:pt x="52" y="534"/>
                    </a:lnTo>
                    <a:lnTo>
                      <a:pt x="52" y="536"/>
                    </a:lnTo>
                    <a:lnTo>
                      <a:pt x="52" y="538"/>
                    </a:lnTo>
                    <a:lnTo>
                      <a:pt x="52" y="538"/>
                    </a:lnTo>
                    <a:lnTo>
                      <a:pt x="54" y="538"/>
                    </a:lnTo>
                    <a:lnTo>
                      <a:pt x="56" y="540"/>
                    </a:lnTo>
                    <a:lnTo>
                      <a:pt x="58" y="540"/>
                    </a:lnTo>
                    <a:lnTo>
                      <a:pt x="58" y="542"/>
                    </a:lnTo>
                    <a:lnTo>
                      <a:pt x="58" y="544"/>
                    </a:lnTo>
                    <a:lnTo>
                      <a:pt x="58" y="544"/>
                    </a:lnTo>
                    <a:lnTo>
                      <a:pt x="58" y="546"/>
                    </a:lnTo>
                    <a:lnTo>
                      <a:pt x="58" y="548"/>
                    </a:lnTo>
                    <a:lnTo>
                      <a:pt x="60" y="550"/>
                    </a:lnTo>
                    <a:lnTo>
                      <a:pt x="58" y="554"/>
                    </a:lnTo>
                    <a:lnTo>
                      <a:pt x="58" y="554"/>
                    </a:lnTo>
                    <a:lnTo>
                      <a:pt x="58" y="556"/>
                    </a:lnTo>
                    <a:lnTo>
                      <a:pt x="58" y="558"/>
                    </a:lnTo>
                    <a:lnTo>
                      <a:pt x="58" y="560"/>
                    </a:lnTo>
                    <a:lnTo>
                      <a:pt x="58" y="560"/>
                    </a:lnTo>
                    <a:lnTo>
                      <a:pt x="58" y="562"/>
                    </a:lnTo>
                    <a:lnTo>
                      <a:pt x="60" y="562"/>
                    </a:lnTo>
                    <a:lnTo>
                      <a:pt x="60" y="562"/>
                    </a:lnTo>
                    <a:lnTo>
                      <a:pt x="62" y="564"/>
                    </a:lnTo>
                    <a:lnTo>
                      <a:pt x="64" y="564"/>
                    </a:lnTo>
                    <a:lnTo>
                      <a:pt x="66" y="564"/>
                    </a:lnTo>
                    <a:lnTo>
                      <a:pt x="66" y="566"/>
                    </a:lnTo>
                    <a:lnTo>
                      <a:pt x="68" y="566"/>
                    </a:lnTo>
                    <a:lnTo>
                      <a:pt x="68" y="566"/>
                    </a:lnTo>
                    <a:lnTo>
                      <a:pt x="68" y="568"/>
                    </a:lnTo>
                    <a:lnTo>
                      <a:pt x="70" y="572"/>
                    </a:lnTo>
                    <a:lnTo>
                      <a:pt x="72" y="576"/>
                    </a:lnTo>
                    <a:lnTo>
                      <a:pt x="72" y="578"/>
                    </a:lnTo>
                    <a:lnTo>
                      <a:pt x="74" y="580"/>
                    </a:lnTo>
                    <a:lnTo>
                      <a:pt x="74" y="582"/>
                    </a:lnTo>
                    <a:lnTo>
                      <a:pt x="78" y="584"/>
                    </a:lnTo>
                    <a:lnTo>
                      <a:pt x="78" y="584"/>
                    </a:lnTo>
                    <a:lnTo>
                      <a:pt x="82" y="584"/>
                    </a:lnTo>
                    <a:lnTo>
                      <a:pt x="86" y="586"/>
                    </a:lnTo>
                    <a:lnTo>
                      <a:pt x="92" y="586"/>
                    </a:lnTo>
                    <a:lnTo>
                      <a:pt x="96" y="586"/>
                    </a:lnTo>
                    <a:lnTo>
                      <a:pt x="96" y="586"/>
                    </a:lnTo>
                    <a:lnTo>
                      <a:pt x="100" y="586"/>
                    </a:lnTo>
                    <a:lnTo>
                      <a:pt x="106" y="588"/>
                    </a:lnTo>
                    <a:lnTo>
                      <a:pt x="108" y="590"/>
                    </a:lnTo>
                    <a:lnTo>
                      <a:pt x="112" y="592"/>
                    </a:lnTo>
                    <a:lnTo>
                      <a:pt x="112" y="592"/>
                    </a:lnTo>
                    <a:lnTo>
                      <a:pt x="114" y="592"/>
                    </a:lnTo>
                    <a:lnTo>
                      <a:pt x="114" y="592"/>
                    </a:lnTo>
                    <a:lnTo>
                      <a:pt x="116" y="590"/>
                    </a:lnTo>
                    <a:lnTo>
                      <a:pt x="116" y="590"/>
                    </a:lnTo>
                    <a:lnTo>
                      <a:pt x="118" y="590"/>
                    </a:lnTo>
                    <a:lnTo>
                      <a:pt x="120" y="590"/>
                    </a:lnTo>
                    <a:lnTo>
                      <a:pt x="120" y="590"/>
                    </a:lnTo>
                    <a:lnTo>
                      <a:pt x="122" y="590"/>
                    </a:lnTo>
                    <a:lnTo>
                      <a:pt x="122" y="590"/>
                    </a:lnTo>
                    <a:lnTo>
                      <a:pt x="122" y="588"/>
                    </a:lnTo>
                    <a:lnTo>
                      <a:pt x="122" y="588"/>
                    </a:lnTo>
                    <a:lnTo>
                      <a:pt x="120" y="586"/>
                    </a:lnTo>
                    <a:lnTo>
                      <a:pt x="118" y="586"/>
                    </a:lnTo>
                    <a:lnTo>
                      <a:pt x="118" y="586"/>
                    </a:lnTo>
                    <a:lnTo>
                      <a:pt x="114" y="582"/>
                    </a:lnTo>
                    <a:lnTo>
                      <a:pt x="112" y="580"/>
                    </a:lnTo>
                    <a:lnTo>
                      <a:pt x="110" y="574"/>
                    </a:lnTo>
                    <a:lnTo>
                      <a:pt x="110" y="574"/>
                    </a:lnTo>
                    <a:lnTo>
                      <a:pt x="108" y="570"/>
                    </a:lnTo>
                    <a:lnTo>
                      <a:pt x="106" y="568"/>
                    </a:lnTo>
                    <a:lnTo>
                      <a:pt x="104" y="560"/>
                    </a:lnTo>
                    <a:lnTo>
                      <a:pt x="104" y="560"/>
                    </a:lnTo>
                    <a:lnTo>
                      <a:pt x="104" y="558"/>
                    </a:lnTo>
                    <a:lnTo>
                      <a:pt x="104" y="558"/>
                    </a:lnTo>
                    <a:lnTo>
                      <a:pt x="106" y="554"/>
                    </a:lnTo>
                    <a:lnTo>
                      <a:pt x="106" y="554"/>
                    </a:lnTo>
                    <a:lnTo>
                      <a:pt x="106" y="552"/>
                    </a:lnTo>
                    <a:lnTo>
                      <a:pt x="106" y="550"/>
                    </a:lnTo>
                    <a:lnTo>
                      <a:pt x="106" y="548"/>
                    </a:lnTo>
                    <a:lnTo>
                      <a:pt x="106" y="548"/>
                    </a:lnTo>
                    <a:lnTo>
                      <a:pt x="106" y="546"/>
                    </a:lnTo>
                    <a:lnTo>
                      <a:pt x="106" y="544"/>
                    </a:lnTo>
                    <a:lnTo>
                      <a:pt x="106" y="542"/>
                    </a:lnTo>
                    <a:lnTo>
                      <a:pt x="106" y="542"/>
                    </a:lnTo>
                    <a:lnTo>
                      <a:pt x="106" y="542"/>
                    </a:lnTo>
                    <a:lnTo>
                      <a:pt x="106" y="540"/>
                    </a:lnTo>
                    <a:lnTo>
                      <a:pt x="106" y="540"/>
                    </a:lnTo>
                    <a:lnTo>
                      <a:pt x="106" y="540"/>
                    </a:lnTo>
                    <a:lnTo>
                      <a:pt x="108" y="540"/>
                    </a:lnTo>
                    <a:lnTo>
                      <a:pt x="108" y="542"/>
                    </a:lnTo>
                    <a:lnTo>
                      <a:pt x="110" y="544"/>
                    </a:lnTo>
                    <a:lnTo>
                      <a:pt x="110" y="544"/>
                    </a:lnTo>
                    <a:lnTo>
                      <a:pt x="110" y="544"/>
                    </a:lnTo>
                    <a:lnTo>
                      <a:pt x="110" y="546"/>
                    </a:lnTo>
                    <a:lnTo>
                      <a:pt x="112" y="546"/>
                    </a:lnTo>
                    <a:lnTo>
                      <a:pt x="114" y="546"/>
                    </a:lnTo>
                    <a:lnTo>
                      <a:pt x="114" y="546"/>
                    </a:lnTo>
                    <a:lnTo>
                      <a:pt x="114" y="546"/>
                    </a:lnTo>
                    <a:lnTo>
                      <a:pt x="116" y="546"/>
                    </a:lnTo>
                    <a:lnTo>
                      <a:pt x="116" y="544"/>
                    </a:lnTo>
                    <a:lnTo>
                      <a:pt x="118" y="544"/>
                    </a:lnTo>
                    <a:lnTo>
                      <a:pt x="118" y="544"/>
                    </a:lnTo>
                    <a:lnTo>
                      <a:pt x="120" y="542"/>
                    </a:lnTo>
                    <a:lnTo>
                      <a:pt x="122" y="538"/>
                    </a:lnTo>
                    <a:lnTo>
                      <a:pt x="122" y="536"/>
                    </a:lnTo>
                    <a:lnTo>
                      <a:pt x="122" y="534"/>
                    </a:lnTo>
                    <a:lnTo>
                      <a:pt x="122" y="534"/>
                    </a:lnTo>
                    <a:lnTo>
                      <a:pt x="122" y="530"/>
                    </a:lnTo>
                    <a:lnTo>
                      <a:pt x="120" y="528"/>
                    </a:lnTo>
                    <a:lnTo>
                      <a:pt x="120" y="528"/>
                    </a:lnTo>
                    <a:lnTo>
                      <a:pt x="118" y="526"/>
                    </a:lnTo>
                    <a:lnTo>
                      <a:pt x="118" y="524"/>
                    </a:lnTo>
                    <a:lnTo>
                      <a:pt x="118" y="522"/>
                    </a:lnTo>
                    <a:lnTo>
                      <a:pt x="118" y="522"/>
                    </a:lnTo>
                    <a:lnTo>
                      <a:pt x="118" y="522"/>
                    </a:lnTo>
                    <a:lnTo>
                      <a:pt x="120" y="520"/>
                    </a:lnTo>
                    <a:lnTo>
                      <a:pt x="120" y="520"/>
                    </a:lnTo>
                    <a:lnTo>
                      <a:pt x="120" y="518"/>
                    </a:lnTo>
                    <a:lnTo>
                      <a:pt x="120" y="518"/>
                    </a:lnTo>
                    <a:lnTo>
                      <a:pt x="120" y="518"/>
                    </a:lnTo>
                    <a:lnTo>
                      <a:pt x="120" y="516"/>
                    </a:lnTo>
                    <a:lnTo>
                      <a:pt x="120" y="514"/>
                    </a:lnTo>
                    <a:lnTo>
                      <a:pt x="120" y="514"/>
                    </a:lnTo>
                    <a:lnTo>
                      <a:pt x="120" y="514"/>
                    </a:lnTo>
                    <a:lnTo>
                      <a:pt x="120" y="514"/>
                    </a:lnTo>
                    <a:lnTo>
                      <a:pt x="122" y="512"/>
                    </a:lnTo>
                    <a:lnTo>
                      <a:pt x="122" y="510"/>
                    </a:lnTo>
                    <a:lnTo>
                      <a:pt x="126" y="508"/>
                    </a:lnTo>
                    <a:lnTo>
                      <a:pt x="126" y="508"/>
                    </a:lnTo>
                    <a:lnTo>
                      <a:pt x="128" y="506"/>
                    </a:lnTo>
                    <a:lnTo>
                      <a:pt x="130" y="502"/>
                    </a:lnTo>
                    <a:lnTo>
                      <a:pt x="130" y="502"/>
                    </a:lnTo>
                    <a:lnTo>
                      <a:pt x="132" y="500"/>
                    </a:lnTo>
                    <a:lnTo>
                      <a:pt x="134" y="496"/>
                    </a:lnTo>
                    <a:lnTo>
                      <a:pt x="136" y="494"/>
                    </a:lnTo>
                    <a:lnTo>
                      <a:pt x="136" y="492"/>
                    </a:lnTo>
                    <a:lnTo>
                      <a:pt x="136" y="490"/>
                    </a:lnTo>
                    <a:lnTo>
                      <a:pt x="136" y="490"/>
                    </a:lnTo>
                    <a:lnTo>
                      <a:pt x="136" y="490"/>
                    </a:lnTo>
                    <a:lnTo>
                      <a:pt x="136" y="488"/>
                    </a:lnTo>
                    <a:lnTo>
                      <a:pt x="136" y="488"/>
                    </a:lnTo>
                    <a:lnTo>
                      <a:pt x="136" y="488"/>
                    </a:lnTo>
                    <a:lnTo>
                      <a:pt x="138" y="486"/>
                    </a:lnTo>
                    <a:lnTo>
                      <a:pt x="138" y="486"/>
                    </a:lnTo>
                    <a:lnTo>
                      <a:pt x="138" y="484"/>
                    </a:lnTo>
                    <a:lnTo>
                      <a:pt x="138" y="482"/>
                    </a:lnTo>
                    <a:lnTo>
                      <a:pt x="136" y="480"/>
                    </a:lnTo>
                    <a:lnTo>
                      <a:pt x="136" y="480"/>
                    </a:lnTo>
                    <a:lnTo>
                      <a:pt x="136" y="478"/>
                    </a:lnTo>
                    <a:lnTo>
                      <a:pt x="134" y="476"/>
                    </a:lnTo>
                    <a:lnTo>
                      <a:pt x="134" y="476"/>
                    </a:lnTo>
                    <a:lnTo>
                      <a:pt x="132" y="476"/>
                    </a:lnTo>
                    <a:lnTo>
                      <a:pt x="130" y="474"/>
                    </a:lnTo>
                    <a:lnTo>
                      <a:pt x="128" y="472"/>
                    </a:lnTo>
                    <a:lnTo>
                      <a:pt x="128" y="472"/>
                    </a:lnTo>
                    <a:lnTo>
                      <a:pt x="124" y="472"/>
                    </a:lnTo>
                    <a:lnTo>
                      <a:pt x="122" y="470"/>
                    </a:lnTo>
                    <a:lnTo>
                      <a:pt x="118" y="468"/>
                    </a:lnTo>
                    <a:lnTo>
                      <a:pt x="116" y="466"/>
                    </a:lnTo>
                    <a:lnTo>
                      <a:pt x="116" y="466"/>
                    </a:lnTo>
                    <a:lnTo>
                      <a:pt x="114" y="464"/>
                    </a:lnTo>
                    <a:lnTo>
                      <a:pt x="112" y="462"/>
                    </a:lnTo>
                    <a:lnTo>
                      <a:pt x="108" y="456"/>
                    </a:lnTo>
                    <a:lnTo>
                      <a:pt x="108" y="456"/>
                    </a:lnTo>
                    <a:lnTo>
                      <a:pt x="106" y="454"/>
                    </a:lnTo>
                    <a:lnTo>
                      <a:pt x="106" y="452"/>
                    </a:lnTo>
                    <a:lnTo>
                      <a:pt x="106" y="452"/>
                    </a:lnTo>
                    <a:lnTo>
                      <a:pt x="106" y="450"/>
                    </a:lnTo>
                    <a:lnTo>
                      <a:pt x="106" y="450"/>
                    </a:lnTo>
                    <a:lnTo>
                      <a:pt x="106" y="448"/>
                    </a:lnTo>
                    <a:lnTo>
                      <a:pt x="108" y="448"/>
                    </a:lnTo>
                    <a:lnTo>
                      <a:pt x="108" y="448"/>
                    </a:lnTo>
                    <a:lnTo>
                      <a:pt x="112" y="444"/>
                    </a:lnTo>
                    <a:lnTo>
                      <a:pt x="114" y="442"/>
                    </a:lnTo>
                    <a:lnTo>
                      <a:pt x="114" y="442"/>
                    </a:lnTo>
                    <a:lnTo>
                      <a:pt x="120" y="440"/>
                    </a:lnTo>
                    <a:lnTo>
                      <a:pt x="122" y="438"/>
                    </a:lnTo>
                    <a:lnTo>
                      <a:pt x="124" y="438"/>
                    </a:lnTo>
                    <a:lnTo>
                      <a:pt x="124" y="438"/>
                    </a:lnTo>
                    <a:lnTo>
                      <a:pt x="126" y="434"/>
                    </a:lnTo>
                    <a:lnTo>
                      <a:pt x="126" y="434"/>
                    </a:lnTo>
                    <a:lnTo>
                      <a:pt x="126" y="432"/>
                    </a:lnTo>
                    <a:lnTo>
                      <a:pt x="126" y="432"/>
                    </a:lnTo>
                    <a:lnTo>
                      <a:pt x="126" y="430"/>
                    </a:lnTo>
                    <a:lnTo>
                      <a:pt x="128" y="426"/>
                    </a:lnTo>
                    <a:lnTo>
                      <a:pt x="128" y="426"/>
                    </a:lnTo>
                    <a:lnTo>
                      <a:pt x="128" y="424"/>
                    </a:lnTo>
                    <a:lnTo>
                      <a:pt x="128" y="422"/>
                    </a:lnTo>
                    <a:lnTo>
                      <a:pt x="128" y="420"/>
                    </a:lnTo>
                    <a:lnTo>
                      <a:pt x="128" y="418"/>
                    </a:lnTo>
                    <a:lnTo>
                      <a:pt x="126" y="416"/>
                    </a:lnTo>
                    <a:lnTo>
                      <a:pt x="126" y="416"/>
                    </a:lnTo>
                    <a:lnTo>
                      <a:pt x="126" y="414"/>
                    </a:lnTo>
                    <a:lnTo>
                      <a:pt x="126" y="410"/>
                    </a:lnTo>
                    <a:lnTo>
                      <a:pt x="126" y="406"/>
                    </a:lnTo>
                    <a:lnTo>
                      <a:pt x="126" y="402"/>
                    </a:lnTo>
                    <a:lnTo>
                      <a:pt x="126" y="402"/>
                    </a:lnTo>
                    <a:lnTo>
                      <a:pt x="126" y="400"/>
                    </a:lnTo>
                    <a:lnTo>
                      <a:pt x="128" y="400"/>
                    </a:lnTo>
                    <a:lnTo>
                      <a:pt x="130" y="398"/>
                    </a:lnTo>
                    <a:lnTo>
                      <a:pt x="130" y="396"/>
                    </a:lnTo>
                    <a:lnTo>
                      <a:pt x="132" y="394"/>
                    </a:lnTo>
                    <a:lnTo>
                      <a:pt x="132" y="394"/>
                    </a:lnTo>
                    <a:lnTo>
                      <a:pt x="134" y="394"/>
                    </a:lnTo>
                    <a:lnTo>
                      <a:pt x="134" y="392"/>
                    </a:lnTo>
                    <a:lnTo>
                      <a:pt x="134" y="392"/>
                    </a:lnTo>
                    <a:lnTo>
                      <a:pt x="134" y="390"/>
                    </a:lnTo>
                    <a:lnTo>
                      <a:pt x="134" y="390"/>
                    </a:lnTo>
                    <a:lnTo>
                      <a:pt x="134" y="388"/>
                    </a:lnTo>
                    <a:lnTo>
                      <a:pt x="132" y="388"/>
                    </a:lnTo>
                    <a:lnTo>
                      <a:pt x="132" y="386"/>
                    </a:lnTo>
                    <a:lnTo>
                      <a:pt x="132" y="386"/>
                    </a:lnTo>
                    <a:lnTo>
                      <a:pt x="132" y="386"/>
                    </a:lnTo>
                    <a:lnTo>
                      <a:pt x="130" y="384"/>
                    </a:lnTo>
                    <a:lnTo>
                      <a:pt x="130" y="384"/>
                    </a:lnTo>
                    <a:lnTo>
                      <a:pt x="130" y="382"/>
                    </a:lnTo>
                    <a:lnTo>
                      <a:pt x="132" y="382"/>
                    </a:lnTo>
                    <a:lnTo>
                      <a:pt x="132" y="382"/>
                    </a:lnTo>
                    <a:lnTo>
                      <a:pt x="134" y="382"/>
                    </a:lnTo>
                    <a:lnTo>
                      <a:pt x="134" y="382"/>
                    </a:lnTo>
                    <a:lnTo>
                      <a:pt x="136" y="382"/>
                    </a:lnTo>
                    <a:lnTo>
                      <a:pt x="136" y="382"/>
                    </a:lnTo>
                    <a:lnTo>
                      <a:pt x="138" y="384"/>
                    </a:lnTo>
                    <a:lnTo>
                      <a:pt x="140" y="386"/>
                    </a:lnTo>
                    <a:lnTo>
                      <a:pt x="140" y="386"/>
                    </a:lnTo>
                    <a:lnTo>
                      <a:pt x="140" y="386"/>
                    </a:lnTo>
                    <a:lnTo>
                      <a:pt x="142" y="384"/>
                    </a:lnTo>
                    <a:lnTo>
                      <a:pt x="142" y="384"/>
                    </a:lnTo>
                    <a:lnTo>
                      <a:pt x="142" y="382"/>
                    </a:lnTo>
                    <a:lnTo>
                      <a:pt x="142" y="380"/>
                    </a:lnTo>
                    <a:lnTo>
                      <a:pt x="142" y="380"/>
                    </a:lnTo>
                    <a:lnTo>
                      <a:pt x="142" y="378"/>
                    </a:lnTo>
                    <a:lnTo>
                      <a:pt x="142" y="374"/>
                    </a:lnTo>
                    <a:lnTo>
                      <a:pt x="140" y="372"/>
                    </a:lnTo>
                    <a:lnTo>
                      <a:pt x="140" y="372"/>
                    </a:lnTo>
                    <a:lnTo>
                      <a:pt x="138" y="372"/>
                    </a:lnTo>
                    <a:lnTo>
                      <a:pt x="138" y="372"/>
                    </a:lnTo>
                    <a:lnTo>
                      <a:pt x="138" y="372"/>
                    </a:lnTo>
                    <a:lnTo>
                      <a:pt x="136" y="372"/>
                    </a:lnTo>
                    <a:lnTo>
                      <a:pt x="136" y="374"/>
                    </a:lnTo>
                    <a:lnTo>
                      <a:pt x="134" y="374"/>
                    </a:lnTo>
                    <a:lnTo>
                      <a:pt x="134" y="374"/>
                    </a:lnTo>
                    <a:lnTo>
                      <a:pt x="134" y="374"/>
                    </a:lnTo>
                    <a:lnTo>
                      <a:pt x="134" y="374"/>
                    </a:lnTo>
                    <a:lnTo>
                      <a:pt x="132" y="374"/>
                    </a:lnTo>
                    <a:lnTo>
                      <a:pt x="132" y="374"/>
                    </a:lnTo>
                    <a:lnTo>
                      <a:pt x="132" y="372"/>
                    </a:lnTo>
                    <a:lnTo>
                      <a:pt x="132" y="372"/>
                    </a:lnTo>
                    <a:lnTo>
                      <a:pt x="130" y="372"/>
                    </a:lnTo>
                    <a:lnTo>
                      <a:pt x="130" y="372"/>
                    </a:lnTo>
                    <a:lnTo>
                      <a:pt x="130" y="372"/>
                    </a:lnTo>
                    <a:lnTo>
                      <a:pt x="128" y="372"/>
                    </a:lnTo>
                    <a:lnTo>
                      <a:pt x="126" y="370"/>
                    </a:lnTo>
                    <a:lnTo>
                      <a:pt x="124" y="370"/>
                    </a:lnTo>
                    <a:lnTo>
                      <a:pt x="122" y="370"/>
                    </a:lnTo>
                    <a:lnTo>
                      <a:pt x="122" y="368"/>
                    </a:lnTo>
                    <a:lnTo>
                      <a:pt x="122" y="368"/>
                    </a:lnTo>
                    <a:lnTo>
                      <a:pt x="122" y="368"/>
                    </a:lnTo>
                    <a:lnTo>
                      <a:pt x="122" y="364"/>
                    </a:lnTo>
                    <a:lnTo>
                      <a:pt x="122" y="364"/>
                    </a:lnTo>
                    <a:lnTo>
                      <a:pt x="120" y="362"/>
                    </a:lnTo>
                    <a:lnTo>
                      <a:pt x="120" y="362"/>
                    </a:lnTo>
                    <a:lnTo>
                      <a:pt x="118" y="360"/>
                    </a:lnTo>
                    <a:lnTo>
                      <a:pt x="118" y="358"/>
                    </a:lnTo>
                    <a:lnTo>
                      <a:pt x="118" y="356"/>
                    </a:lnTo>
                    <a:lnTo>
                      <a:pt x="118" y="356"/>
                    </a:lnTo>
                    <a:lnTo>
                      <a:pt x="116" y="356"/>
                    </a:lnTo>
                    <a:lnTo>
                      <a:pt x="116" y="354"/>
                    </a:lnTo>
                    <a:lnTo>
                      <a:pt x="118" y="352"/>
                    </a:lnTo>
                    <a:lnTo>
                      <a:pt x="118" y="352"/>
                    </a:lnTo>
                    <a:lnTo>
                      <a:pt x="118" y="352"/>
                    </a:lnTo>
                    <a:lnTo>
                      <a:pt x="120" y="352"/>
                    </a:lnTo>
                    <a:lnTo>
                      <a:pt x="122" y="352"/>
                    </a:lnTo>
                    <a:lnTo>
                      <a:pt x="122" y="352"/>
                    </a:lnTo>
                    <a:lnTo>
                      <a:pt x="122" y="352"/>
                    </a:lnTo>
                    <a:lnTo>
                      <a:pt x="124" y="352"/>
                    </a:lnTo>
                    <a:lnTo>
                      <a:pt x="126" y="352"/>
                    </a:lnTo>
                    <a:lnTo>
                      <a:pt x="128" y="352"/>
                    </a:lnTo>
                    <a:lnTo>
                      <a:pt x="130" y="350"/>
                    </a:lnTo>
                    <a:lnTo>
                      <a:pt x="130" y="350"/>
                    </a:lnTo>
                    <a:lnTo>
                      <a:pt x="132" y="350"/>
                    </a:lnTo>
                    <a:lnTo>
                      <a:pt x="132" y="350"/>
                    </a:lnTo>
                    <a:lnTo>
                      <a:pt x="134" y="350"/>
                    </a:lnTo>
                    <a:lnTo>
                      <a:pt x="136" y="352"/>
                    </a:lnTo>
                    <a:lnTo>
                      <a:pt x="140" y="352"/>
                    </a:lnTo>
                    <a:lnTo>
                      <a:pt x="140" y="354"/>
                    </a:lnTo>
                    <a:lnTo>
                      <a:pt x="142" y="354"/>
                    </a:lnTo>
                    <a:lnTo>
                      <a:pt x="144" y="354"/>
                    </a:lnTo>
                    <a:lnTo>
                      <a:pt x="146" y="354"/>
                    </a:lnTo>
                    <a:lnTo>
                      <a:pt x="146" y="354"/>
                    </a:lnTo>
                    <a:lnTo>
                      <a:pt x="148" y="354"/>
                    </a:lnTo>
                    <a:lnTo>
                      <a:pt x="150" y="352"/>
                    </a:lnTo>
                    <a:lnTo>
                      <a:pt x="152" y="350"/>
                    </a:lnTo>
                    <a:lnTo>
                      <a:pt x="156" y="348"/>
                    </a:lnTo>
                    <a:lnTo>
                      <a:pt x="158" y="346"/>
                    </a:lnTo>
                    <a:lnTo>
                      <a:pt x="158" y="346"/>
                    </a:lnTo>
                    <a:lnTo>
                      <a:pt x="158" y="344"/>
                    </a:lnTo>
                    <a:lnTo>
                      <a:pt x="158" y="342"/>
                    </a:lnTo>
                    <a:lnTo>
                      <a:pt x="158" y="342"/>
                    </a:lnTo>
                    <a:lnTo>
                      <a:pt x="158" y="340"/>
                    </a:lnTo>
                    <a:lnTo>
                      <a:pt x="158" y="336"/>
                    </a:lnTo>
                    <a:lnTo>
                      <a:pt x="156" y="332"/>
                    </a:lnTo>
                    <a:lnTo>
                      <a:pt x="156" y="332"/>
                    </a:lnTo>
                    <a:lnTo>
                      <a:pt x="156" y="330"/>
                    </a:lnTo>
                    <a:lnTo>
                      <a:pt x="156" y="328"/>
                    </a:lnTo>
                    <a:lnTo>
                      <a:pt x="156" y="326"/>
                    </a:lnTo>
                    <a:lnTo>
                      <a:pt x="156" y="324"/>
                    </a:lnTo>
                    <a:lnTo>
                      <a:pt x="156" y="324"/>
                    </a:lnTo>
                    <a:lnTo>
                      <a:pt x="158" y="322"/>
                    </a:lnTo>
                    <a:lnTo>
                      <a:pt x="158" y="320"/>
                    </a:lnTo>
                    <a:lnTo>
                      <a:pt x="158" y="318"/>
                    </a:lnTo>
                    <a:lnTo>
                      <a:pt x="158" y="318"/>
                    </a:lnTo>
                    <a:lnTo>
                      <a:pt x="156" y="314"/>
                    </a:lnTo>
                    <a:lnTo>
                      <a:pt x="156" y="314"/>
                    </a:lnTo>
                    <a:lnTo>
                      <a:pt x="156" y="312"/>
                    </a:lnTo>
                    <a:lnTo>
                      <a:pt x="156" y="312"/>
                    </a:lnTo>
                    <a:lnTo>
                      <a:pt x="156" y="310"/>
                    </a:lnTo>
                    <a:lnTo>
                      <a:pt x="158" y="310"/>
                    </a:lnTo>
                    <a:lnTo>
                      <a:pt x="158" y="308"/>
                    </a:lnTo>
                    <a:lnTo>
                      <a:pt x="160" y="308"/>
                    </a:lnTo>
                    <a:lnTo>
                      <a:pt x="164" y="308"/>
                    </a:lnTo>
                    <a:lnTo>
                      <a:pt x="166" y="308"/>
                    </a:lnTo>
                    <a:lnTo>
                      <a:pt x="166" y="308"/>
                    </a:lnTo>
                    <a:lnTo>
                      <a:pt x="170" y="308"/>
                    </a:lnTo>
                    <a:lnTo>
                      <a:pt x="174" y="306"/>
                    </a:lnTo>
                    <a:lnTo>
                      <a:pt x="174" y="306"/>
                    </a:lnTo>
                    <a:lnTo>
                      <a:pt x="180" y="304"/>
                    </a:lnTo>
                    <a:lnTo>
                      <a:pt x="184" y="304"/>
                    </a:lnTo>
                    <a:lnTo>
                      <a:pt x="184" y="304"/>
                    </a:lnTo>
                    <a:lnTo>
                      <a:pt x="190" y="302"/>
                    </a:lnTo>
                    <a:lnTo>
                      <a:pt x="194" y="302"/>
                    </a:lnTo>
                    <a:lnTo>
                      <a:pt x="194" y="302"/>
                    </a:lnTo>
                    <a:lnTo>
                      <a:pt x="196" y="300"/>
                    </a:lnTo>
                    <a:lnTo>
                      <a:pt x="200" y="298"/>
                    </a:lnTo>
                    <a:lnTo>
                      <a:pt x="200" y="298"/>
                    </a:lnTo>
                    <a:lnTo>
                      <a:pt x="204" y="296"/>
                    </a:lnTo>
                    <a:lnTo>
                      <a:pt x="208" y="294"/>
                    </a:lnTo>
                    <a:lnTo>
                      <a:pt x="210" y="294"/>
                    </a:lnTo>
                    <a:lnTo>
                      <a:pt x="212" y="292"/>
                    </a:lnTo>
                    <a:lnTo>
                      <a:pt x="214" y="290"/>
                    </a:lnTo>
                    <a:lnTo>
                      <a:pt x="216" y="288"/>
                    </a:lnTo>
                    <a:lnTo>
                      <a:pt x="216" y="288"/>
                    </a:lnTo>
                    <a:lnTo>
                      <a:pt x="216" y="286"/>
                    </a:lnTo>
                    <a:lnTo>
                      <a:pt x="216" y="284"/>
                    </a:lnTo>
                    <a:lnTo>
                      <a:pt x="218" y="278"/>
                    </a:lnTo>
                    <a:lnTo>
                      <a:pt x="218" y="278"/>
                    </a:lnTo>
                    <a:lnTo>
                      <a:pt x="218" y="278"/>
                    </a:lnTo>
                    <a:lnTo>
                      <a:pt x="218" y="276"/>
                    </a:lnTo>
                    <a:lnTo>
                      <a:pt x="220" y="276"/>
                    </a:lnTo>
                    <a:lnTo>
                      <a:pt x="220" y="276"/>
                    </a:lnTo>
                    <a:lnTo>
                      <a:pt x="222" y="274"/>
                    </a:lnTo>
                    <a:lnTo>
                      <a:pt x="222" y="272"/>
                    </a:lnTo>
                    <a:lnTo>
                      <a:pt x="222" y="272"/>
                    </a:lnTo>
                    <a:lnTo>
                      <a:pt x="224" y="270"/>
                    </a:lnTo>
                    <a:lnTo>
                      <a:pt x="226" y="266"/>
                    </a:lnTo>
                    <a:lnTo>
                      <a:pt x="226" y="264"/>
                    </a:lnTo>
                    <a:lnTo>
                      <a:pt x="226" y="264"/>
                    </a:lnTo>
                    <a:lnTo>
                      <a:pt x="226" y="262"/>
                    </a:lnTo>
                    <a:lnTo>
                      <a:pt x="224" y="262"/>
                    </a:lnTo>
                    <a:lnTo>
                      <a:pt x="224" y="260"/>
                    </a:lnTo>
                    <a:lnTo>
                      <a:pt x="224" y="258"/>
                    </a:lnTo>
                    <a:lnTo>
                      <a:pt x="224" y="258"/>
                    </a:lnTo>
                    <a:lnTo>
                      <a:pt x="224" y="256"/>
                    </a:lnTo>
                    <a:lnTo>
                      <a:pt x="224" y="254"/>
                    </a:lnTo>
                    <a:lnTo>
                      <a:pt x="224" y="254"/>
                    </a:lnTo>
                    <a:lnTo>
                      <a:pt x="224" y="254"/>
                    </a:lnTo>
                    <a:lnTo>
                      <a:pt x="224" y="254"/>
                    </a:lnTo>
                    <a:lnTo>
                      <a:pt x="224" y="254"/>
                    </a:lnTo>
                    <a:lnTo>
                      <a:pt x="222" y="254"/>
                    </a:lnTo>
                    <a:lnTo>
                      <a:pt x="222" y="254"/>
                    </a:lnTo>
                    <a:lnTo>
                      <a:pt x="220" y="254"/>
                    </a:lnTo>
                    <a:lnTo>
                      <a:pt x="218" y="254"/>
                    </a:lnTo>
                    <a:lnTo>
                      <a:pt x="218" y="254"/>
                    </a:lnTo>
                    <a:lnTo>
                      <a:pt x="218" y="252"/>
                    </a:lnTo>
                    <a:lnTo>
                      <a:pt x="216" y="252"/>
                    </a:lnTo>
                    <a:lnTo>
                      <a:pt x="214" y="252"/>
                    </a:lnTo>
                    <a:lnTo>
                      <a:pt x="214" y="250"/>
                    </a:lnTo>
                    <a:lnTo>
                      <a:pt x="212" y="248"/>
                    </a:lnTo>
                    <a:lnTo>
                      <a:pt x="212" y="244"/>
                    </a:lnTo>
                    <a:lnTo>
                      <a:pt x="212" y="244"/>
                    </a:lnTo>
                    <a:lnTo>
                      <a:pt x="212" y="242"/>
                    </a:lnTo>
                    <a:lnTo>
                      <a:pt x="212" y="238"/>
                    </a:lnTo>
                    <a:lnTo>
                      <a:pt x="210" y="234"/>
                    </a:lnTo>
                    <a:lnTo>
                      <a:pt x="208" y="234"/>
                    </a:lnTo>
                    <a:lnTo>
                      <a:pt x="208" y="232"/>
                    </a:lnTo>
                    <a:lnTo>
                      <a:pt x="208" y="232"/>
                    </a:lnTo>
                    <a:lnTo>
                      <a:pt x="206" y="230"/>
                    </a:lnTo>
                    <a:lnTo>
                      <a:pt x="204" y="228"/>
                    </a:lnTo>
                    <a:lnTo>
                      <a:pt x="200" y="228"/>
                    </a:lnTo>
                    <a:lnTo>
                      <a:pt x="196" y="226"/>
                    </a:lnTo>
                    <a:lnTo>
                      <a:pt x="196" y="224"/>
                    </a:lnTo>
                    <a:lnTo>
                      <a:pt x="194" y="222"/>
                    </a:lnTo>
                    <a:lnTo>
                      <a:pt x="194" y="220"/>
                    </a:lnTo>
                    <a:lnTo>
                      <a:pt x="194" y="218"/>
                    </a:lnTo>
                    <a:lnTo>
                      <a:pt x="194" y="218"/>
                    </a:lnTo>
                    <a:lnTo>
                      <a:pt x="194" y="216"/>
                    </a:lnTo>
                    <a:lnTo>
                      <a:pt x="194" y="216"/>
                    </a:lnTo>
                    <a:lnTo>
                      <a:pt x="194" y="216"/>
                    </a:lnTo>
                    <a:lnTo>
                      <a:pt x="194" y="212"/>
                    </a:lnTo>
                    <a:lnTo>
                      <a:pt x="194" y="212"/>
                    </a:lnTo>
                    <a:lnTo>
                      <a:pt x="192" y="206"/>
                    </a:lnTo>
                    <a:lnTo>
                      <a:pt x="192" y="204"/>
                    </a:lnTo>
                    <a:lnTo>
                      <a:pt x="192" y="202"/>
                    </a:lnTo>
                    <a:lnTo>
                      <a:pt x="192" y="202"/>
                    </a:lnTo>
                    <a:lnTo>
                      <a:pt x="192" y="198"/>
                    </a:lnTo>
                    <a:lnTo>
                      <a:pt x="194" y="194"/>
                    </a:lnTo>
                    <a:lnTo>
                      <a:pt x="194" y="192"/>
                    </a:lnTo>
                    <a:lnTo>
                      <a:pt x="194" y="190"/>
                    </a:lnTo>
                    <a:lnTo>
                      <a:pt x="194" y="188"/>
                    </a:lnTo>
                    <a:lnTo>
                      <a:pt x="194" y="186"/>
                    </a:lnTo>
                    <a:lnTo>
                      <a:pt x="194" y="186"/>
                    </a:lnTo>
                    <a:lnTo>
                      <a:pt x="192" y="180"/>
                    </a:lnTo>
                    <a:lnTo>
                      <a:pt x="192" y="176"/>
                    </a:lnTo>
                    <a:lnTo>
                      <a:pt x="190" y="174"/>
                    </a:lnTo>
                    <a:lnTo>
                      <a:pt x="190" y="174"/>
                    </a:lnTo>
                    <a:lnTo>
                      <a:pt x="190" y="170"/>
                    </a:lnTo>
                    <a:lnTo>
                      <a:pt x="188" y="166"/>
                    </a:lnTo>
                    <a:lnTo>
                      <a:pt x="188" y="160"/>
                    </a:lnTo>
                    <a:lnTo>
                      <a:pt x="188" y="160"/>
                    </a:lnTo>
                    <a:lnTo>
                      <a:pt x="188" y="154"/>
                    </a:lnTo>
                    <a:lnTo>
                      <a:pt x="188" y="150"/>
                    </a:lnTo>
                    <a:lnTo>
                      <a:pt x="188" y="148"/>
                    </a:lnTo>
                    <a:lnTo>
                      <a:pt x="190" y="144"/>
                    </a:lnTo>
                    <a:lnTo>
                      <a:pt x="190" y="142"/>
                    </a:lnTo>
                    <a:lnTo>
                      <a:pt x="192" y="140"/>
                    </a:lnTo>
                    <a:lnTo>
                      <a:pt x="192" y="140"/>
                    </a:lnTo>
                    <a:lnTo>
                      <a:pt x="194" y="140"/>
                    </a:lnTo>
                    <a:lnTo>
                      <a:pt x="196" y="138"/>
                    </a:lnTo>
                    <a:lnTo>
                      <a:pt x="196" y="138"/>
                    </a:lnTo>
                    <a:lnTo>
                      <a:pt x="196" y="136"/>
                    </a:lnTo>
                    <a:lnTo>
                      <a:pt x="198" y="134"/>
                    </a:lnTo>
                    <a:lnTo>
                      <a:pt x="200" y="132"/>
                    </a:lnTo>
                    <a:lnTo>
                      <a:pt x="200" y="132"/>
                    </a:lnTo>
                    <a:lnTo>
                      <a:pt x="202" y="128"/>
                    </a:lnTo>
                    <a:lnTo>
                      <a:pt x="204" y="122"/>
                    </a:lnTo>
                    <a:lnTo>
                      <a:pt x="204" y="122"/>
                    </a:lnTo>
                    <a:lnTo>
                      <a:pt x="206" y="120"/>
                    </a:lnTo>
                    <a:lnTo>
                      <a:pt x="206" y="118"/>
                    </a:lnTo>
                    <a:lnTo>
                      <a:pt x="206" y="116"/>
                    </a:lnTo>
                    <a:lnTo>
                      <a:pt x="208" y="114"/>
                    </a:lnTo>
                    <a:lnTo>
                      <a:pt x="208" y="114"/>
                    </a:lnTo>
                    <a:lnTo>
                      <a:pt x="212" y="112"/>
                    </a:lnTo>
                    <a:lnTo>
                      <a:pt x="212" y="110"/>
                    </a:lnTo>
                    <a:lnTo>
                      <a:pt x="214" y="110"/>
                    </a:lnTo>
                    <a:lnTo>
                      <a:pt x="214" y="110"/>
                    </a:lnTo>
                    <a:lnTo>
                      <a:pt x="214" y="108"/>
                    </a:lnTo>
                    <a:lnTo>
                      <a:pt x="214" y="108"/>
                    </a:lnTo>
                    <a:lnTo>
                      <a:pt x="214" y="106"/>
                    </a:lnTo>
                    <a:lnTo>
                      <a:pt x="214" y="106"/>
                    </a:lnTo>
                    <a:lnTo>
                      <a:pt x="214" y="106"/>
                    </a:lnTo>
                    <a:lnTo>
                      <a:pt x="214" y="102"/>
                    </a:lnTo>
                    <a:lnTo>
                      <a:pt x="216" y="102"/>
                    </a:lnTo>
                    <a:lnTo>
                      <a:pt x="218" y="100"/>
                    </a:lnTo>
                    <a:lnTo>
                      <a:pt x="220" y="98"/>
                    </a:lnTo>
                    <a:lnTo>
                      <a:pt x="222" y="98"/>
                    </a:lnTo>
                    <a:lnTo>
                      <a:pt x="224" y="96"/>
                    </a:lnTo>
                    <a:lnTo>
                      <a:pt x="224" y="94"/>
                    </a:lnTo>
                    <a:lnTo>
                      <a:pt x="226" y="92"/>
                    </a:lnTo>
                    <a:lnTo>
                      <a:pt x="226" y="92"/>
                    </a:lnTo>
                    <a:lnTo>
                      <a:pt x="228" y="88"/>
                    </a:lnTo>
                    <a:lnTo>
                      <a:pt x="230" y="86"/>
                    </a:lnTo>
                    <a:lnTo>
                      <a:pt x="232" y="86"/>
                    </a:lnTo>
                    <a:lnTo>
                      <a:pt x="232" y="86"/>
                    </a:lnTo>
                    <a:lnTo>
                      <a:pt x="236" y="86"/>
                    </a:lnTo>
                    <a:lnTo>
                      <a:pt x="238" y="84"/>
                    </a:lnTo>
                    <a:lnTo>
                      <a:pt x="240" y="84"/>
                    </a:lnTo>
                    <a:lnTo>
                      <a:pt x="240" y="84"/>
                    </a:lnTo>
                    <a:lnTo>
                      <a:pt x="244" y="82"/>
                    </a:lnTo>
                    <a:lnTo>
                      <a:pt x="244" y="80"/>
                    </a:lnTo>
                    <a:lnTo>
                      <a:pt x="244" y="78"/>
                    </a:lnTo>
                    <a:lnTo>
                      <a:pt x="244" y="74"/>
                    </a:lnTo>
                    <a:lnTo>
                      <a:pt x="244" y="72"/>
                    </a:lnTo>
                    <a:lnTo>
                      <a:pt x="244" y="70"/>
                    </a:lnTo>
                    <a:lnTo>
                      <a:pt x="240" y="66"/>
                    </a:lnTo>
                    <a:lnTo>
                      <a:pt x="240" y="66"/>
                    </a:lnTo>
                    <a:lnTo>
                      <a:pt x="240" y="66"/>
                    </a:lnTo>
                    <a:lnTo>
                      <a:pt x="240" y="66"/>
                    </a:lnTo>
                    <a:lnTo>
                      <a:pt x="240" y="6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65" name="Freeform 290"/>
              <p:cNvSpPr>
                <a:spLocks/>
              </p:cNvSpPr>
              <p:nvPr/>
            </p:nvSpPr>
            <p:spPr bwMode="auto">
              <a:xfrm>
                <a:off x="5097" y="3778"/>
                <a:ext cx="176" cy="140"/>
              </a:xfrm>
              <a:custGeom>
                <a:avLst/>
                <a:gdLst>
                  <a:gd name="T0" fmla="*/ 140 w 176"/>
                  <a:gd name="T1" fmla="*/ 14 h 140"/>
                  <a:gd name="T2" fmla="*/ 132 w 176"/>
                  <a:gd name="T3" fmla="*/ 24 h 140"/>
                  <a:gd name="T4" fmla="*/ 112 w 176"/>
                  <a:gd name="T5" fmla="*/ 44 h 140"/>
                  <a:gd name="T6" fmla="*/ 96 w 176"/>
                  <a:gd name="T7" fmla="*/ 52 h 140"/>
                  <a:gd name="T8" fmla="*/ 86 w 176"/>
                  <a:gd name="T9" fmla="*/ 60 h 140"/>
                  <a:gd name="T10" fmla="*/ 72 w 176"/>
                  <a:gd name="T11" fmla="*/ 68 h 140"/>
                  <a:gd name="T12" fmla="*/ 56 w 176"/>
                  <a:gd name="T13" fmla="*/ 74 h 140"/>
                  <a:gd name="T14" fmla="*/ 38 w 176"/>
                  <a:gd name="T15" fmla="*/ 82 h 140"/>
                  <a:gd name="T16" fmla="*/ 30 w 176"/>
                  <a:gd name="T17" fmla="*/ 92 h 140"/>
                  <a:gd name="T18" fmla="*/ 26 w 176"/>
                  <a:gd name="T19" fmla="*/ 92 h 140"/>
                  <a:gd name="T20" fmla="*/ 20 w 176"/>
                  <a:gd name="T21" fmla="*/ 96 h 140"/>
                  <a:gd name="T22" fmla="*/ 10 w 176"/>
                  <a:gd name="T23" fmla="*/ 104 h 140"/>
                  <a:gd name="T24" fmla="*/ 0 w 176"/>
                  <a:gd name="T25" fmla="*/ 108 h 140"/>
                  <a:gd name="T26" fmla="*/ 2 w 176"/>
                  <a:gd name="T27" fmla="*/ 112 h 140"/>
                  <a:gd name="T28" fmla="*/ 2 w 176"/>
                  <a:gd name="T29" fmla="*/ 118 h 140"/>
                  <a:gd name="T30" fmla="*/ 8 w 176"/>
                  <a:gd name="T31" fmla="*/ 120 h 140"/>
                  <a:gd name="T32" fmla="*/ 12 w 176"/>
                  <a:gd name="T33" fmla="*/ 124 h 140"/>
                  <a:gd name="T34" fmla="*/ 18 w 176"/>
                  <a:gd name="T35" fmla="*/ 126 h 140"/>
                  <a:gd name="T36" fmla="*/ 24 w 176"/>
                  <a:gd name="T37" fmla="*/ 130 h 140"/>
                  <a:gd name="T38" fmla="*/ 28 w 176"/>
                  <a:gd name="T39" fmla="*/ 134 h 140"/>
                  <a:gd name="T40" fmla="*/ 34 w 176"/>
                  <a:gd name="T41" fmla="*/ 136 h 140"/>
                  <a:gd name="T42" fmla="*/ 44 w 176"/>
                  <a:gd name="T43" fmla="*/ 140 h 140"/>
                  <a:gd name="T44" fmla="*/ 48 w 176"/>
                  <a:gd name="T45" fmla="*/ 132 h 140"/>
                  <a:gd name="T46" fmla="*/ 54 w 176"/>
                  <a:gd name="T47" fmla="*/ 132 h 140"/>
                  <a:gd name="T48" fmla="*/ 62 w 176"/>
                  <a:gd name="T49" fmla="*/ 128 h 140"/>
                  <a:gd name="T50" fmla="*/ 68 w 176"/>
                  <a:gd name="T51" fmla="*/ 122 h 140"/>
                  <a:gd name="T52" fmla="*/ 72 w 176"/>
                  <a:gd name="T53" fmla="*/ 116 h 140"/>
                  <a:gd name="T54" fmla="*/ 76 w 176"/>
                  <a:gd name="T55" fmla="*/ 112 h 140"/>
                  <a:gd name="T56" fmla="*/ 80 w 176"/>
                  <a:gd name="T57" fmla="*/ 102 h 140"/>
                  <a:gd name="T58" fmla="*/ 86 w 176"/>
                  <a:gd name="T59" fmla="*/ 100 h 140"/>
                  <a:gd name="T60" fmla="*/ 94 w 176"/>
                  <a:gd name="T61" fmla="*/ 92 h 140"/>
                  <a:gd name="T62" fmla="*/ 94 w 176"/>
                  <a:gd name="T63" fmla="*/ 90 h 140"/>
                  <a:gd name="T64" fmla="*/ 96 w 176"/>
                  <a:gd name="T65" fmla="*/ 90 h 140"/>
                  <a:gd name="T66" fmla="*/ 102 w 176"/>
                  <a:gd name="T67" fmla="*/ 90 h 140"/>
                  <a:gd name="T68" fmla="*/ 106 w 176"/>
                  <a:gd name="T69" fmla="*/ 86 h 140"/>
                  <a:gd name="T70" fmla="*/ 112 w 176"/>
                  <a:gd name="T71" fmla="*/ 92 h 140"/>
                  <a:gd name="T72" fmla="*/ 120 w 176"/>
                  <a:gd name="T73" fmla="*/ 90 h 140"/>
                  <a:gd name="T74" fmla="*/ 120 w 176"/>
                  <a:gd name="T75" fmla="*/ 82 h 140"/>
                  <a:gd name="T76" fmla="*/ 120 w 176"/>
                  <a:gd name="T77" fmla="*/ 78 h 140"/>
                  <a:gd name="T78" fmla="*/ 126 w 176"/>
                  <a:gd name="T79" fmla="*/ 68 h 140"/>
                  <a:gd name="T80" fmla="*/ 136 w 176"/>
                  <a:gd name="T81" fmla="*/ 62 h 140"/>
                  <a:gd name="T82" fmla="*/ 144 w 176"/>
                  <a:gd name="T83" fmla="*/ 56 h 140"/>
                  <a:gd name="T84" fmla="*/ 154 w 176"/>
                  <a:gd name="T85" fmla="*/ 50 h 140"/>
                  <a:gd name="T86" fmla="*/ 160 w 176"/>
                  <a:gd name="T87" fmla="*/ 42 h 140"/>
                  <a:gd name="T88" fmla="*/ 168 w 176"/>
                  <a:gd name="T89" fmla="*/ 38 h 140"/>
                  <a:gd name="T90" fmla="*/ 174 w 176"/>
                  <a:gd name="T91" fmla="*/ 30 h 140"/>
                  <a:gd name="T92" fmla="*/ 174 w 176"/>
                  <a:gd name="T93" fmla="*/ 14 h 140"/>
                  <a:gd name="T94" fmla="*/ 170 w 176"/>
                  <a:gd name="T95" fmla="*/ 18 h 140"/>
                  <a:gd name="T96" fmla="*/ 164 w 176"/>
                  <a:gd name="T97" fmla="*/ 22 h 140"/>
                  <a:gd name="T98" fmla="*/ 162 w 176"/>
                  <a:gd name="T99" fmla="*/ 18 h 140"/>
                  <a:gd name="T100" fmla="*/ 164 w 176"/>
                  <a:gd name="T101" fmla="*/ 12 h 140"/>
                  <a:gd name="T102" fmla="*/ 160 w 176"/>
                  <a:gd name="T103" fmla="*/ 12 h 140"/>
                  <a:gd name="T104" fmla="*/ 158 w 176"/>
                  <a:gd name="T105" fmla="*/ 2 h 140"/>
                  <a:gd name="T106" fmla="*/ 154 w 176"/>
                  <a:gd name="T107" fmla="*/ 2 h 140"/>
                  <a:gd name="T108" fmla="*/ 150 w 176"/>
                  <a:gd name="T109" fmla="*/ 8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76" h="140">
                    <a:moveTo>
                      <a:pt x="150" y="8"/>
                    </a:moveTo>
                    <a:lnTo>
                      <a:pt x="150" y="8"/>
                    </a:lnTo>
                    <a:lnTo>
                      <a:pt x="146" y="10"/>
                    </a:lnTo>
                    <a:lnTo>
                      <a:pt x="144" y="10"/>
                    </a:lnTo>
                    <a:lnTo>
                      <a:pt x="140" y="14"/>
                    </a:lnTo>
                    <a:lnTo>
                      <a:pt x="140" y="14"/>
                    </a:lnTo>
                    <a:lnTo>
                      <a:pt x="138" y="14"/>
                    </a:lnTo>
                    <a:lnTo>
                      <a:pt x="138" y="18"/>
                    </a:lnTo>
                    <a:lnTo>
                      <a:pt x="136" y="22"/>
                    </a:lnTo>
                    <a:lnTo>
                      <a:pt x="136" y="22"/>
                    </a:lnTo>
                    <a:lnTo>
                      <a:pt x="134" y="22"/>
                    </a:lnTo>
                    <a:lnTo>
                      <a:pt x="132" y="24"/>
                    </a:lnTo>
                    <a:lnTo>
                      <a:pt x="130" y="26"/>
                    </a:lnTo>
                    <a:lnTo>
                      <a:pt x="128" y="28"/>
                    </a:lnTo>
                    <a:lnTo>
                      <a:pt x="128" y="28"/>
                    </a:lnTo>
                    <a:lnTo>
                      <a:pt x="122" y="32"/>
                    </a:lnTo>
                    <a:lnTo>
                      <a:pt x="120" y="36"/>
                    </a:lnTo>
                    <a:lnTo>
                      <a:pt x="112" y="44"/>
                    </a:lnTo>
                    <a:lnTo>
                      <a:pt x="112" y="44"/>
                    </a:lnTo>
                    <a:lnTo>
                      <a:pt x="110" y="44"/>
                    </a:lnTo>
                    <a:lnTo>
                      <a:pt x="106" y="46"/>
                    </a:lnTo>
                    <a:lnTo>
                      <a:pt x="102" y="48"/>
                    </a:lnTo>
                    <a:lnTo>
                      <a:pt x="96" y="50"/>
                    </a:lnTo>
                    <a:lnTo>
                      <a:pt x="96" y="52"/>
                    </a:lnTo>
                    <a:lnTo>
                      <a:pt x="94" y="52"/>
                    </a:lnTo>
                    <a:lnTo>
                      <a:pt x="94" y="52"/>
                    </a:lnTo>
                    <a:lnTo>
                      <a:pt x="90" y="54"/>
                    </a:lnTo>
                    <a:lnTo>
                      <a:pt x="88" y="56"/>
                    </a:lnTo>
                    <a:lnTo>
                      <a:pt x="86" y="60"/>
                    </a:lnTo>
                    <a:lnTo>
                      <a:pt x="86" y="60"/>
                    </a:lnTo>
                    <a:lnTo>
                      <a:pt x="82" y="64"/>
                    </a:lnTo>
                    <a:lnTo>
                      <a:pt x="80" y="66"/>
                    </a:lnTo>
                    <a:lnTo>
                      <a:pt x="78" y="68"/>
                    </a:lnTo>
                    <a:lnTo>
                      <a:pt x="78" y="68"/>
                    </a:lnTo>
                    <a:lnTo>
                      <a:pt x="74" y="68"/>
                    </a:lnTo>
                    <a:lnTo>
                      <a:pt x="72" y="68"/>
                    </a:lnTo>
                    <a:lnTo>
                      <a:pt x="66" y="70"/>
                    </a:lnTo>
                    <a:lnTo>
                      <a:pt x="66" y="70"/>
                    </a:lnTo>
                    <a:lnTo>
                      <a:pt x="64" y="70"/>
                    </a:lnTo>
                    <a:lnTo>
                      <a:pt x="62" y="70"/>
                    </a:lnTo>
                    <a:lnTo>
                      <a:pt x="58" y="72"/>
                    </a:lnTo>
                    <a:lnTo>
                      <a:pt x="56" y="74"/>
                    </a:lnTo>
                    <a:lnTo>
                      <a:pt x="56" y="74"/>
                    </a:lnTo>
                    <a:lnTo>
                      <a:pt x="52" y="76"/>
                    </a:lnTo>
                    <a:lnTo>
                      <a:pt x="48" y="78"/>
                    </a:lnTo>
                    <a:lnTo>
                      <a:pt x="44" y="80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6" y="84"/>
                    </a:lnTo>
                    <a:lnTo>
                      <a:pt x="34" y="84"/>
                    </a:lnTo>
                    <a:lnTo>
                      <a:pt x="32" y="86"/>
                    </a:lnTo>
                    <a:lnTo>
                      <a:pt x="30" y="90"/>
                    </a:lnTo>
                    <a:lnTo>
                      <a:pt x="30" y="90"/>
                    </a:lnTo>
                    <a:lnTo>
                      <a:pt x="30" y="92"/>
                    </a:lnTo>
                    <a:lnTo>
                      <a:pt x="28" y="92"/>
                    </a:lnTo>
                    <a:lnTo>
                      <a:pt x="28" y="92"/>
                    </a:lnTo>
                    <a:lnTo>
                      <a:pt x="28" y="92"/>
                    </a:lnTo>
                    <a:lnTo>
                      <a:pt x="28" y="94"/>
                    </a:lnTo>
                    <a:lnTo>
                      <a:pt x="26" y="92"/>
                    </a:lnTo>
                    <a:lnTo>
                      <a:pt x="26" y="92"/>
                    </a:lnTo>
                    <a:lnTo>
                      <a:pt x="24" y="92"/>
                    </a:lnTo>
                    <a:lnTo>
                      <a:pt x="24" y="92"/>
                    </a:lnTo>
                    <a:lnTo>
                      <a:pt x="24" y="94"/>
                    </a:lnTo>
                    <a:lnTo>
                      <a:pt x="22" y="94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16" y="102"/>
                    </a:lnTo>
                    <a:lnTo>
                      <a:pt x="16" y="102"/>
                    </a:lnTo>
                    <a:lnTo>
                      <a:pt x="12" y="102"/>
                    </a:lnTo>
                    <a:lnTo>
                      <a:pt x="12" y="104"/>
                    </a:lnTo>
                    <a:lnTo>
                      <a:pt x="10" y="104"/>
                    </a:lnTo>
                    <a:lnTo>
                      <a:pt x="10" y="104"/>
                    </a:lnTo>
                    <a:lnTo>
                      <a:pt x="6" y="104"/>
                    </a:lnTo>
                    <a:lnTo>
                      <a:pt x="4" y="104"/>
                    </a:lnTo>
                    <a:lnTo>
                      <a:pt x="2" y="106"/>
                    </a:lnTo>
                    <a:lnTo>
                      <a:pt x="2" y="106"/>
                    </a:lnTo>
                    <a:lnTo>
                      <a:pt x="0" y="108"/>
                    </a:lnTo>
                    <a:lnTo>
                      <a:pt x="0" y="108"/>
                    </a:lnTo>
                    <a:lnTo>
                      <a:pt x="0" y="108"/>
                    </a:lnTo>
                    <a:lnTo>
                      <a:pt x="0" y="110"/>
                    </a:lnTo>
                    <a:lnTo>
                      <a:pt x="0" y="110"/>
                    </a:lnTo>
                    <a:lnTo>
                      <a:pt x="0" y="112"/>
                    </a:lnTo>
                    <a:lnTo>
                      <a:pt x="2" y="112"/>
                    </a:lnTo>
                    <a:lnTo>
                      <a:pt x="2" y="112"/>
                    </a:lnTo>
                    <a:lnTo>
                      <a:pt x="2" y="114"/>
                    </a:lnTo>
                    <a:lnTo>
                      <a:pt x="2" y="114"/>
                    </a:lnTo>
                    <a:lnTo>
                      <a:pt x="2" y="116"/>
                    </a:lnTo>
                    <a:lnTo>
                      <a:pt x="2" y="116"/>
                    </a:lnTo>
                    <a:lnTo>
                      <a:pt x="2" y="116"/>
                    </a:lnTo>
                    <a:lnTo>
                      <a:pt x="2" y="118"/>
                    </a:lnTo>
                    <a:lnTo>
                      <a:pt x="2" y="118"/>
                    </a:lnTo>
                    <a:lnTo>
                      <a:pt x="4" y="120"/>
                    </a:lnTo>
                    <a:lnTo>
                      <a:pt x="4" y="120"/>
                    </a:lnTo>
                    <a:lnTo>
                      <a:pt x="6" y="120"/>
                    </a:lnTo>
                    <a:lnTo>
                      <a:pt x="8" y="120"/>
                    </a:lnTo>
                    <a:lnTo>
                      <a:pt x="8" y="120"/>
                    </a:lnTo>
                    <a:lnTo>
                      <a:pt x="10" y="120"/>
                    </a:lnTo>
                    <a:lnTo>
                      <a:pt x="10" y="120"/>
                    </a:lnTo>
                    <a:lnTo>
                      <a:pt x="10" y="122"/>
                    </a:lnTo>
                    <a:lnTo>
                      <a:pt x="10" y="122"/>
                    </a:lnTo>
                    <a:lnTo>
                      <a:pt x="12" y="122"/>
                    </a:lnTo>
                    <a:lnTo>
                      <a:pt x="12" y="124"/>
                    </a:lnTo>
                    <a:lnTo>
                      <a:pt x="12" y="124"/>
                    </a:lnTo>
                    <a:lnTo>
                      <a:pt x="14" y="124"/>
                    </a:lnTo>
                    <a:lnTo>
                      <a:pt x="16" y="124"/>
                    </a:lnTo>
                    <a:lnTo>
                      <a:pt x="18" y="124"/>
                    </a:lnTo>
                    <a:lnTo>
                      <a:pt x="18" y="124"/>
                    </a:lnTo>
                    <a:lnTo>
                      <a:pt x="18" y="126"/>
                    </a:lnTo>
                    <a:lnTo>
                      <a:pt x="20" y="128"/>
                    </a:lnTo>
                    <a:lnTo>
                      <a:pt x="20" y="128"/>
                    </a:lnTo>
                    <a:lnTo>
                      <a:pt x="20" y="128"/>
                    </a:lnTo>
                    <a:lnTo>
                      <a:pt x="22" y="128"/>
                    </a:lnTo>
                    <a:lnTo>
                      <a:pt x="24" y="128"/>
                    </a:lnTo>
                    <a:lnTo>
                      <a:pt x="24" y="130"/>
                    </a:lnTo>
                    <a:lnTo>
                      <a:pt x="24" y="130"/>
                    </a:lnTo>
                    <a:lnTo>
                      <a:pt x="24" y="132"/>
                    </a:lnTo>
                    <a:lnTo>
                      <a:pt x="24" y="134"/>
                    </a:lnTo>
                    <a:lnTo>
                      <a:pt x="26" y="134"/>
                    </a:lnTo>
                    <a:lnTo>
                      <a:pt x="26" y="134"/>
                    </a:lnTo>
                    <a:lnTo>
                      <a:pt x="28" y="134"/>
                    </a:lnTo>
                    <a:lnTo>
                      <a:pt x="28" y="134"/>
                    </a:lnTo>
                    <a:lnTo>
                      <a:pt x="30" y="134"/>
                    </a:lnTo>
                    <a:lnTo>
                      <a:pt x="32" y="134"/>
                    </a:lnTo>
                    <a:lnTo>
                      <a:pt x="32" y="134"/>
                    </a:lnTo>
                    <a:lnTo>
                      <a:pt x="32" y="136"/>
                    </a:lnTo>
                    <a:lnTo>
                      <a:pt x="34" y="136"/>
                    </a:lnTo>
                    <a:lnTo>
                      <a:pt x="34" y="138"/>
                    </a:lnTo>
                    <a:lnTo>
                      <a:pt x="36" y="138"/>
                    </a:lnTo>
                    <a:lnTo>
                      <a:pt x="36" y="138"/>
                    </a:lnTo>
                    <a:lnTo>
                      <a:pt x="38" y="140"/>
                    </a:lnTo>
                    <a:lnTo>
                      <a:pt x="42" y="140"/>
                    </a:lnTo>
                    <a:lnTo>
                      <a:pt x="44" y="140"/>
                    </a:lnTo>
                    <a:lnTo>
                      <a:pt x="46" y="138"/>
                    </a:lnTo>
                    <a:lnTo>
                      <a:pt x="46" y="138"/>
                    </a:lnTo>
                    <a:lnTo>
                      <a:pt x="46" y="138"/>
                    </a:lnTo>
                    <a:lnTo>
                      <a:pt x="48" y="138"/>
                    </a:lnTo>
                    <a:lnTo>
                      <a:pt x="48" y="136"/>
                    </a:lnTo>
                    <a:lnTo>
                      <a:pt x="48" y="132"/>
                    </a:lnTo>
                    <a:lnTo>
                      <a:pt x="48" y="132"/>
                    </a:lnTo>
                    <a:lnTo>
                      <a:pt x="48" y="130"/>
                    </a:lnTo>
                    <a:lnTo>
                      <a:pt x="50" y="130"/>
                    </a:lnTo>
                    <a:lnTo>
                      <a:pt x="52" y="130"/>
                    </a:lnTo>
                    <a:lnTo>
                      <a:pt x="52" y="130"/>
                    </a:lnTo>
                    <a:lnTo>
                      <a:pt x="54" y="132"/>
                    </a:lnTo>
                    <a:lnTo>
                      <a:pt x="56" y="132"/>
                    </a:lnTo>
                    <a:lnTo>
                      <a:pt x="56" y="132"/>
                    </a:lnTo>
                    <a:lnTo>
                      <a:pt x="56" y="132"/>
                    </a:lnTo>
                    <a:lnTo>
                      <a:pt x="58" y="132"/>
                    </a:lnTo>
                    <a:lnTo>
                      <a:pt x="60" y="130"/>
                    </a:lnTo>
                    <a:lnTo>
                      <a:pt x="62" y="128"/>
                    </a:lnTo>
                    <a:lnTo>
                      <a:pt x="62" y="128"/>
                    </a:lnTo>
                    <a:lnTo>
                      <a:pt x="64" y="126"/>
                    </a:lnTo>
                    <a:lnTo>
                      <a:pt x="66" y="124"/>
                    </a:lnTo>
                    <a:lnTo>
                      <a:pt x="66" y="124"/>
                    </a:lnTo>
                    <a:lnTo>
                      <a:pt x="66" y="124"/>
                    </a:lnTo>
                    <a:lnTo>
                      <a:pt x="68" y="122"/>
                    </a:lnTo>
                    <a:lnTo>
                      <a:pt x="68" y="122"/>
                    </a:lnTo>
                    <a:lnTo>
                      <a:pt x="68" y="118"/>
                    </a:lnTo>
                    <a:lnTo>
                      <a:pt x="68" y="118"/>
                    </a:lnTo>
                    <a:lnTo>
                      <a:pt x="68" y="118"/>
                    </a:lnTo>
                    <a:lnTo>
                      <a:pt x="70" y="116"/>
                    </a:lnTo>
                    <a:lnTo>
                      <a:pt x="72" y="116"/>
                    </a:lnTo>
                    <a:lnTo>
                      <a:pt x="72" y="114"/>
                    </a:lnTo>
                    <a:lnTo>
                      <a:pt x="72" y="114"/>
                    </a:lnTo>
                    <a:lnTo>
                      <a:pt x="74" y="114"/>
                    </a:lnTo>
                    <a:lnTo>
                      <a:pt x="74" y="114"/>
                    </a:lnTo>
                    <a:lnTo>
                      <a:pt x="76" y="112"/>
                    </a:lnTo>
                    <a:lnTo>
                      <a:pt x="76" y="112"/>
                    </a:lnTo>
                    <a:lnTo>
                      <a:pt x="76" y="112"/>
                    </a:lnTo>
                    <a:lnTo>
                      <a:pt x="76" y="108"/>
                    </a:lnTo>
                    <a:lnTo>
                      <a:pt x="78" y="106"/>
                    </a:lnTo>
                    <a:lnTo>
                      <a:pt x="78" y="104"/>
                    </a:lnTo>
                    <a:lnTo>
                      <a:pt x="80" y="104"/>
                    </a:lnTo>
                    <a:lnTo>
                      <a:pt x="80" y="102"/>
                    </a:lnTo>
                    <a:lnTo>
                      <a:pt x="82" y="102"/>
                    </a:lnTo>
                    <a:lnTo>
                      <a:pt x="82" y="102"/>
                    </a:lnTo>
                    <a:lnTo>
                      <a:pt x="84" y="102"/>
                    </a:lnTo>
                    <a:lnTo>
                      <a:pt x="86" y="100"/>
                    </a:lnTo>
                    <a:lnTo>
                      <a:pt x="86" y="100"/>
                    </a:lnTo>
                    <a:lnTo>
                      <a:pt x="86" y="100"/>
                    </a:lnTo>
                    <a:lnTo>
                      <a:pt x="88" y="96"/>
                    </a:lnTo>
                    <a:lnTo>
                      <a:pt x="90" y="96"/>
                    </a:lnTo>
                    <a:lnTo>
                      <a:pt x="90" y="94"/>
                    </a:lnTo>
                    <a:lnTo>
                      <a:pt x="90" y="94"/>
                    </a:lnTo>
                    <a:lnTo>
                      <a:pt x="92" y="92"/>
                    </a:lnTo>
                    <a:lnTo>
                      <a:pt x="94" y="92"/>
                    </a:lnTo>
                    <a:lnTo>
                      <a:pt x="96" y="92"/>
                    </a:lnTo>
                    <a:lnTo>
                      <a:pt x="96" y="92"/>
                    </a:lnTo>
                    <a:lnTo>
                      <a:pt x="96" y="92"/>
                    </a:lnTo>
                    <a:lnTo>
                      <a:pt x="96" y="92"/>
                    </a:lnTo>
                    <a:lnTo>
                      <a:pt x="94" y="90"/>
                    </a:lnTo>
                    <a:lnTo>
                      <a:pt x="94" y="90"/>
                    </a:lnTo>
                    <a:lnTo>
                      <a:pt x="94" y="88"/>
                    </a:lnTo>
                    <a:lnTo>
                      <a:pt x="96" y="88"/>
                    </a:lnTo>
                    <a:lnTo>
                      <a:pt x="96" y="88"/>
                    </a:lnTo>
                    <a:lnTo>
                      <a:pt x="96" y="88"/>
                    </a:lnTo>
                    <a:lnTo>
                      <a:pt x="96" y="88"/>
                    </a:lnTo>
                    <a:lnTo>
                      <a:pt x="96" y="90"/>
                    </a:lnTo>
                    <a:lnTo>
                      <a:pt x="98" y="90"/>
                    </a:lnTo>
                    <a:lnTo>
                      <a:pt x="98" y="92"/>
                    </a:lnTo>
                    <a:lnTo>
                      <a:pt x="98" y="92"/>
                    </a:lnTo>
                    <a:lnTo>
                      <a:pt x="100" y="92"/>
                    </a:lnTo>
                    <a:lnTo>
                      <a:pt x="102" y="90"/>
                    </a:lnTo>
                    <a:lnTo>
                      <a:pt x="102" y="90"/>
                    </a:lnTo>
                    <a:lnTo>
                      <a:pt x="102" y="88"/>
                    </a:lnTo>
                    <a:lnTo>
                      <a:pt x="102" y="88"/>
                    </a:lnTo>
                    <a:lnTo>
                      <a:pt x="104" y="86"/>
                    </a:lnTo>
                    <a:lnTo>
                      <a:pt x="104" y="86"/>
                    </a:lnTo>
                    <a:lnTo>
                      <a:pt x="106" y="86"/>
                    </a:lnTo>
                    <a:lnTo>
                      <a:pt x="106" y="86"/>
                    </a:lnTo>
                    <a:lnTo>
                      <a:pt x="106" y="86"/>
                    </a:lnTo>
                    <a:lnTo>
                      <a:pt x="108" y="86"/>
                    </a:lnTo>
                    <a:lnTo>
                      <a:pt x="110" y="88"/>
                    </a:lnTo>
                    <a:lnTo>
                      <a:pt x="110" y="88"/>
                    </a:lnTo>
                    <a:lnTo>
                      <a:pt x="112" y="90"/>
                    </a:lnTo>
                    <a:lnTo>
                      <a:pt x="112" y="92"/>
                    </a:lnTo>
                    <a:lnTo>
                      <a:pt x="114" y="92"/>
                    </a:lnTo>
                    <a:lnTo>
                      <a:pt x="116" y="92"/>
                    </a:lnTo>
                    <a:lnTo>
                      <a:pt x="116" y="92"/>
                    </a:lnTo>
                    <a:lnTo>
                      <a:pt x="118" y="92"/>
                    </a:lnTo>
                    <a:lnTo>
                      <a:pt x="118" y="92"/>
                    </a:lnTo>
                    <a:lnTo>
                      <a:pt x="120" y="90"/>
                    </a:lnTo>
                    <a:lnTo>
                      <a:pt x="120" y="88"/>
                    </a:lnTo>
                    <a:lnTo>
                      <a:pt x="120" y="86"/>
                    </a:lnTo>
                    <a:lnTo>
                      <a:pt x="122" y="84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0"/>
                    </a:lnTo>
                    <a:lnTo>
                      <a:pt x="120" y="78"/>
                    </a:lnTo>
                    <a:lnTo>
                      <a:pt x="120" y="78"/>
                    </a:lnTo>
                    <a:lnTo>
                      <a:pt x="120" y="78"/>
                    </a:lnTo>
                    <a:lnTo>
                      <a:pt x="120" y="76"/>
                    </a:lnTo>
                    <a:lnTo>
                      <a:pt x="122" y="74"/>
                    </a:lnTo>
                    <a:lnTo>
                      <a:pt x="122" y="74"/>
                    </a:lnTo>
                    <a:lnTo>
                      <a:pt x="124" y="72"/>
                    </a:lnTo>
                    <a:lnTo>
                      <a:pt x="126" y="70"/>
                    </a:lnTo>
                    <a:lnTo>
                      <a:pt x="126" y="68"/>
                    </a:lnTo>
                    <a:lnTo>
                      <a:pt x="128" y="66"/>
                    </a:lnTo>
                    <a:lnTo>
                      <a:pt x="128" y="66"/>
                    </a:lnTo>
                    <a:lnTo>
                      <a:pt x="128" y="66"/>
                    </a:lnTo>
                    <a:lnTo>
                      <a:pt x="130" y="64"/>
                    </a:lnTo>
                    <a:lnTo>
                      <a:pt x="134" y="64"/>
                    </a:lnTo>
                    <a:lnTo>
                      <a:pt x="136" y="62"/>
                    </a:lnTo>
                    <a:lnTo>
                      <a:pt x="140" y="60"/>
                    </a:lnTo>
                    <a:lnTo>
                      <a:pt x="140" y="60"/>
                    </a:lnTo>
                    <a:lnTo>
                      <a:pt x="140" y="60"/>
                    </a:lnTo>
                    <a:lnTo>
                      <a:pt x="142" y="58"/>
                    </a:lnTo>
                    <a:lnTo>
                      <a:pt x="144" y="56"/>
                    </a:lnTo>
                    <a:lnTo>
                      <a:pt x="144" y="56"/>
                    </a:lnTo>
                    <a:lnTo>
                      <a:pt x="144" y="54"/>
                    </a:lnTo>
                    <a:lnTo>
                      <a:pt x="150" y="52"/>
                    </a:lnTo>
                    <a:lnTo>
                      <a:pt x="150" y="52"/>
                    </a:lnTo>
                    <a:lnTo>
                      <a:pt x="152" y="52"/>
                    </a:lnTo>
                    <a:lnTo>
                      <a:pt x="154" y="52"/>
                    </a:lnTo>
                    <a:lnTo>
                      <a:pt x="154" y="50"/>
                    </a:lnTo>
                    <a:lnTo>
                      <a:pt x="154" y="50"/>
                    </a:lnTo>
                    <a:lnTo>
                      <a:pt x="156" y="50"/>
                    </a:lnTo>
                    <a:lnTo>
                      <a:pt x="156" y="48"/>
                    </a:lnTo>
                    <a:lnTo>
                      <a:pt x="158" y="46"/>
                    </a:lnTo>
                    <a:lnTo>
                      <a:pt x="158" y="46"/>
                    </a:lnTo>
                    <a:lnTo>
                      <a:pt x="160" y="42"/>
                    </a:lnTo>
                    <a:lnTo>
                      <a:pt x="162" y="40"/>
                    </a:lnTo>
                    <a:lnTo>
                      <a:pt x="164" y="38"/>
                    </a:lnTo>
                    <a:lnTo>
                      <a:pt x="164" y="38"/>
                    </a:lnTo>
                    <a:lnTo>
                      <a:pt x="166" y="38"/>
                    </a:lnTo>
                    <a:lnTo>
                      <a:pt x="168" y="38"/>
                    </a:lnTo>
                    <a:lnTo>
                      <a:pt x="168" y="38"/>
                    </a:lnTo>
                    <a:lnTo>
                      <a:pt x="168" y="38"/>
                    </a:lnTo>
                    <a:lnTo>
                      <a:pt x="170" y="36"/>
                    </a:lnTo>
                    <a:lnTo>
                      <a:pt x="170" y="36"/>
                    </a:lnTo>
                    <a:lnTo>
                      <a:pt x="172" y="34"/>
                    </a:lnTo>
                    <a:lnTo>
                      <a:pt x="172" y="34"/>
                    </a:lnTo>
                    <a:lnTo>
                      <a:pt x="174" y="30"/>
                    </a:lnTo>
                    <a:lnTo>
                      <a:pt x="174" y="28"/>
                    </a:lnTo>
                    <a:lnTo>
                      <a:pt x="176" y="26"/>
                    </a:lnTo>
                    <a:lnTo>
                      <a:pt x="174" y="24"/>
                    </a:lnTo>
                    <a:lnTo>
                      <a:pt x="174" y="24"/>
                    </a:lnTo>
                    <a:lnTo>
                      <a:pt x="174" y="18"/>
                    </a:lnTo>
                    <a:lnTo>
                      <a:pt x="174" y="14"/>
                    </a:lnTo>
                    <a:lnTo>
                      <a:pt x="174" y="14"/>
                    </a:lnTo>
                    <a:lnTo>
                      <a:pt x="172" y="14"/>
                    </a:lnTo>
                    <a:lnTo>
                      <a:pt x="172" y="14"/>
                    </a:lnTo>
                    <a:lnTo>
                      <a:pt x="172" y="14"/>
                    </a:lnTo>
                    <a:lnTo>
                      <a:pt x="170" y="14"/>
                    </a:lnTo>
                    <a:lnTo>
                      <a:pt x="170" y="18"/>
                    </a:lnTo>
                    <a:lnTo>
                      <a:pt x="168" y="20"/>
                    </a:lnTo>
                    <a:lnTo>
                      <a:pt x="168" y="22"/>
                    </a:lnTo>
                    <a:lnTo>
                      <a:pt x="168" y="22"/>
                    </a:lnTo>
                    <a:lnTo>
                      <a:pt x="166" y="22"/>
                    </a:lnTo>
                    <a:lnTo>
                      <a:pt x="166" y="22"/>
                    </a:lnTo>
                    <a:lnTo>
                      <a:pt x="164" y="22"/>
                    </a:lnTo>
                    <a:lnTo>
                      <a:pt x="164" y="22"/>
                    </a:lnTo>
                    <a:lnTo>
                      <a:pt x="162" y="22"/>
                    </a:lnTo>
                    <a:lnTo>
                      <a:pt x="162" y="20"/>
                    </a:lnTo>
                    <a:lnTo>
                      <a:pt x="162" y="20"/>
                    </a:lnTo>
                    <a:lnTo>
                      <a:pt x="162" y="18"/>
                    </a:lnTo>
                    <a:lnTo>
                      <a:pt x="162" y="18"/>
                    </a:lnTo>
                    <a:lnTo>
                      <a:pt x="162" y="16"/>
                    </a:lnTo>
                    <a:lnTo>
                      <a:pt x="164" y="14"/>
                    </a:lnTo>
                    <a:lnTo>
                      <a:pt x="166" y="14"/>
                    </a:lnTo>
                    <a:lnTo>
                      <a:pt x="166" y="12"/>
                    </a:lnTo>
                    <a:lnTo>
                      <a:pt x="164" y="12"/>
                    </a:lnTo>
                    <a:lnTo>
                      <a:pt x="164" y="12"/>
                    </a:lnTo>
                    <a:lnTo>
                      <a:pt x="164" y="10"/>
                    </a:lnTo>
                    <a:lnTo>
                      <a:pt x="164" y="10"/>
                    </a:lnTo>
                    <a:lnTo>
                      <a:pt x="164" y="10"/>
                    </a:lnTo>
                    <a:lnTo>
                      <a:pt x="162" y="10"/>
                    </a:lnTo>
                    <a:lnTo>
                      <a:pt x="160" y="10"/>
                    </a:lnTo>
                    <a:lnTo>
                      <a:pt x="160" y="12"/>
                    </a:lnTo>
                    <a:lnTo>
                      <a:pt x="160" y="12"/>
                    </a:lnTo>
                    <a:lnTo>
                      <a:pt x="158" y="12"/>
                    </a:lnTo>
                    <a:lnTo>
                      <a:pt x="158" y="10"/>
                    </a:lnTo>
                    <a:lnTo>
                      <a:pt x="158" y="8"/>
                    </a:lnTo>
                    <a:lnTo>
                      <a:pt x="158" y="4"/>
                    </a:lnTo>
                    <a:lnTo>
                      <a:pt x="158" y="2"/>
                    </a:lnTo>
                    <a:lnTo>
                      <a:pt x="158" y="2"/>
                    </a:lnTo>
                    <a:lnTo>
                      <a:pt x="156" y="0"/>
                    </a:lnTo>
                    <a:lnTo>
                      <a:pt x="156" y="0"/>
                    </a:lnTo>
                    <a:lnTo>
                      <a:pt x="156" y="0"/>
                    </a:lnTo>
                    <a:lnTo>
                      <a:pt x="154" y="0"/>
                    </a:lnTo>
                    <a:lnTo>
                      <a:pt x="154" y="2"/>
                    </a:lnTo>
                    <a:lnTo>
                      <a:pt x="150" y="4"/>
                    </a:lnTo>
                    <a:lnTo>
                      <a:pt x="150" y="8"/>
                    </a:lnTo>
                    <a:lnTo>
                      <a:pt x="150" y="8"/>
                    </a:lnTo>
                    <a:lnTo>
                      <a:pt x="150" y="8"/>
                    </a:lnTo>
                    <a:lnTo>
                      <a:pt x="150" y="8"/>
                    </a:lnTo>
                    <a:lnTo>
                      <a:pt x="150" y="8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66" name="Freeform 292"/>
              <p:cNvSpPr>
                <a:spLocks/>
              </p:cNvSpPr>
              <p:nvPr/>
            </p:nvSpPr>
            <p:spPr bwMode="auto">
              <a:xfrm>
                <a:off x="5277" y="3628"/>
                <a:ext cx="100" cy="186"/>
              </a:xfrm>
              <a:custGeom>
                <a:avLst/>
                <a:gdLst>
                  <a:gd name="T0" fmla="*/ 42 w 100"/>
                  <a:gd name="T1" fmla="*/ 22 h 186"/>
                  <a:gd name="T2" fmla="*/ 44 w 100"/>
                  <a:gd name="T3" fmla="*/ 30 h 186"/>
                  <a:gd name="T4" fmla="*/ 44 w 100"/>
                  <a:gd name="T5" fmla="*/ 36 h 186"/>
                  <a:gd name="T6" fmla="*/ 46 w 100"/>
                  <a:gd name="T7" fmla="*/ 42 h 186"/>
                  <a:gd name="T8" fmla="*/ 46 w 100"/>
                  <a:gd name="T9" fmla="*/ 48 h 186"/>
                  <a:gd name="T10" fmla="*/ 48 w 100"/>
                  <a:gd name="T11" fmla="*/ 56 h 186"/>
                  <a:gd name="T12" fmla="*/ 52 w 100"/>
                  <a:gd name="T13" fmla="*/ 64 h 186"/>
                  <a:gd name="T14" fmla="*/ 46 w 100"/>
                  <a:gd name="T15" fmla="*/ 68 h 186"/>
                  <a:gd name="T16" fmla="*/ 46 w 100"/>
                  <a:gd name="T17" fmla="*/ 74 h 186"/>
                  <a:gd name="T18" fmla="*/ 44 w 100"/>
                  <a:gd name="T19" fmla="*/ 76 h 186"/>
                  <a:gd name="T20" fmla="*/ 40 w 100"/>
                  <a:gd name="T21" fmla="*/ 88 h 186"/>
                  <a:gd name="T22" fmla="*/ 42 w 100"/>
                  <a:gd name="T23" fmla="*/ 96 h 186"/>
                  <a:gd name="T24" fmla="*/ 38 w 100"/>
                  <a:gd name="T25" fmla="*/ 96 h 186"/>
                  <a:gd name="T26" fmla="*/ 30 w 100"/>
                  <a:gd name="T27" fmla="*/ 100 h 186"/>
                  <a:gd name="T28" fmla="*/ 16 w 100"/>
                  <a:gd name="T29" fmla="*/ 114 h 186"/>
                  <a:gd name="T30" fmla="*/ 8 w 100"/>
                  <a:gd name="T31" fmla="*/ 120 h 186"/>
                  <a:gd name="T32" fmla="*/ 8 w 100"/>
                  <a:gd name="T33" fmla="*/ 132 h 186"/>
                  <a:gd name="T34" fmla="*/ 8 w 100"/>
                  <a:gd name="T35" fmla="*/ 142 h 186"/>
                  <a:gd name="T36" fmla="*/ 14 w 100"/>
                  <a:gd name="T37" fmla="*/ 142 h 186"/>
                  <a:gd name="T38" fmla="*/ 16 w 100"/>
                  <a:gd name="T39" fmla="*/ 150 h 186"/>
                  <a:gd name="T40" fmla="*/ 14 w 100"/>
                  <a:gd name="T41" fmla="*/ 170 h 186"/>
                  <a:gd name="T42" fmla="*/ 4 w 100"/>
                  <a:gd name="T43" fmla="*/ 172 h 186"/>
                  <a:gd name="T44" fmla="*/ 0 w 100"/>
                  <a:gd name="T45" fmla="*/ 176 h 186"/>
                  <a:gd name="T46" fmla="*/ 6 w 100"/>
                  <a:gd name="T47" fmla="*/ 184 h 186"/>
                  <a:gd name="T48" fmla="*/ 10 w 100"/>
                  <a:gd name="T49" fmla="*/ 186 h 186"/>
                  <a:gd name="T50" fmla="*/ 20 w 100"/>
                  <a:gd name="T51" fmla="*/ 174 h 186"/>
                  <a:gd name="T52" fmla="*/ 38 w 100"/>
                  <a:gd name="T53" fmla="*/ 162 h 186"/>
                  <a:gd name="T54" fmla="*/ 48 w 100"/>
                  <a:gd name="T55" fmla="*/ 152 h 186"/>
                  <a:gd name="T56" fmla="*/ 54 w 100"/>
                  <a:gd name="T57" fmla="*/ 148 h 186"/>
                  <a:gd name="T58" fmla="*/ 58 w 100"/>
                  <a:gd name="T59" fmla="*/ 136 h 186"/>
                  <a:gd name="T60" fmla="*/ 64 w 100"/>
                  <a:gd name="T61" fmla="*/ 134 h 186"/>
                  <a:gd name="T62" fmla="*/ 74 w 100"/>
                  <a:gd name="T63" fmla="*/ 136 h 186"/>
                  <a:gd name="T64" fmla="*/ 76 w 100"/>
                  <a:gd name="T65" fmla="*/ 126 h 186"/>
                  <a:gd name="T66" fmla="*/ 84 w 100"/>
                  <a:gd name="T67" fmla="*/ 122 h 186"/>
                  <a:gd name="T68" fmla="*/ 88 w 100"/>
                  <a:gd name="T69" fmla="*/ 112 h 186"/>
                  <a:gd name="T70" fmla="*/ 98 w 100"/>
                  <a:gd name="T71" fmla="*/ 108 h 186"/>
                  <a:gd name="T72" fmla="*/ 100 w 100"/>
                  <a:gd name="T73" fmla="*/ 98 h 186"/>
                  <a:gd name="T74" fmla="*/ 98 w 100"/>
                  <a:gd name="T75" fmla="*/ 92 h 186"/>
                  <a:gd name="T76" fmla="*/ 88 w 100"/>
                  <a:gd name="T77" fmla="*/ 94 h 186"/>
                  <a:gd name="T78" fmla="*/ 76 w 100"/>
                  <a:gd name="T79" fmla="*/ 100 h 186"/>
                  <a:gd name="T80" fmla="*/ 72 w 100"/>
                  <a:gd name="T81" fmla="*/ 96 h 186"/>
                  <a:gd name="T82" fmla="*/ 70 w 100"/>
                  <a:gd name="T83" fmla="*/ 76 h 186"/>
                  <a:gd name="T84" fmla="*/ 72 w 100"/>
                  <a:gd name="T85" fmla="*/ 64 h 186"/>
                  <a:gd name="T86" fmla="*/ 72 w 100"/>
                  <a:gd name="T87" fmla="*/ 54 h 186"/>
                  <a:gd name="T88" fmla="*/ 68 w 100"/>
                  <a:gd name="T89" fmla="*/ 52 h 186"/>
                  <a:gd name="T90" fmla="*/ 64 w 100"/>
                  <a:gd name="T91" fmla="*/ 64 h 186"/>
                  <a:gd name="T92" fmla="*/ 62 w 100"/>
                  <a:gd name="T93" fmla="*/ 66 h 186"/>
                  <a:gd name="T94" fmla="*/ 58 w 100"/>
                  <a:gd name="T95" fmla="*/ 58 h 186"/>
                  <a:gd name="T96" fmla="*/ 60 w 100"/>
                  <a:gd name="T97" fmla="*/ 52 h 186"/>
                  <a:gd name="T98" fmla="*/ 62 w 100"/>
                  <a:gd name="T99" fmla="*/ 42 h 186"/>
                  <a:gd name="T100" fmla="*/ 64 w 100"/>
                  <a:gd name="T101" fmla="*/ 32 h 186"/>
                  <a:gd name="T102" fmla="*/ 58 w 100"/>
                  <a:gd name="T103" fmla="*/ 22 h 186"/>
                  <a:gd name="T104" fmla="*/ 54 w 100"/>
                  <a:gd name="T105" fmla="*/ 18 h 186"/>
                  <a:gd name="T106" fmla="*/ 48 w 100"/>
                  <a:gd name="T107" fmla="*/ 12 h 186"/>
                  <a:gd name="T108" fmla="*/ 46 w 100"/>
                  <a:gd name="T109" fmla="*/ 4 h 186"/>
                  <a:gd name="T110" fmla="*/ 46 w 100"/>
                  <a:gd name="T111" fmla="*/ 0 h 186"/>
                  <a:gd name="T112" fmla="*/ 42 w 100"/>
                  <a:gd name="T113" fmla="*/ 8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00" h="186">
                    <a:moveTo>
                      <a:pt x="42" y="10"/>
                    </a:moveTo>
                    <a:lnTo>
                      <a:pt x="42" y="10"/>
                    </a:lnTo>
                    <a:lnTo>
                      <a:pt x="42" y="14"/>
                    </a:lnTo>
                    <a:lnTo>
                      <a:pt x="42" y="16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6" y="30"/>
                    </a:lnTo>
                    <a:lnTo>
                      <a:pt x="46" y="32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6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6" y="40"/>
                    </a:lnTo>
                    <a:lnTo>
                      <a:pt x="46" y="40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8" y="44"/>
                    </a:lnTo>
                    <a:lnTo>
                      <a:pt x="48" y="44"/>
                    </a:lnTo>
                    <a:lnTo>
                      <a:pt x="48" y="44"/>
                    </a:lnTo>
                    <a:lnTo>
                      <a:pt x="46" y="46"/>
                    </a:lnTo>
                    <a:lnTo>
                      <a:pt x="46" y="46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8" y="50"/>
                    </a:lnTo>
                    <a:lnTo>
                      <a:pt x="48" y="50"/>
                    </a:lnTo>
                    <a:lnTo>
                      <a:pt x="48" y="52"/>
                    </a:lnTo>
                    <a:lnTo>
                      <a:pt x="48" y="56"/>
                    </a:lnTo>
                    <a:lnTo>
                      <a:pt x="48" y="56"/>
                    </a:lnTo>
                    <a:lnTo>
                      <a:pt x="48" y="58"/>
                    </a:lnTo>
                    <a:lnTo>
                      <a:pt x="48" y="58"/>
                    </a:lnTo>
                    <a:lnTo>
                      <a:pt x="50" y="60"/>
                    </a:lnTo>
                    <a:lnTo>
                      <a:pt x="50" y="60"/>
                    </a:lnTo>
                    <a:lnTo>
                      <a:pt x="52" y="62"/>
                    </a:lnTo>
                    <a:lnTo>
                      <a:pt x="52" y="64"/>
                    </a:lnTo>
                    <a:lnTo>
                      <a:pt x="50" y="64"/>
                    </a:lnTo>
                    <a:lnTo>
                      <a:pt x="50" y="66"/>
                    </a:lnTo>
                    <a:lnTo>
                      <a:pt x="50" y="66"/>
                    </a:lnTo>
                    <a:lnTo>
                      <a:pt x="48" y="66"/>
                    </a:lnTo>
                    <a:lnTo>
                      <a:pt x="46" y="66"/>
                    </a:lnTo>
                    <a:lnTo>
                      <a:pt x="46" y="68"/>
                    </a:lnTo>
                    <a:lnTo>
                      <a:pt x="46" y="68"/>
                    </a:lnTo>
                    <a:lnTo>
                      <a:pt x="46" y="68"/>
                    </a:lnTo>
                    <a:lnTo>
                      <a:pt x="46" y="72"/>
                    </a:lnTo>
                    <a:lnTo>
                      <a:pt x="46" y="74"/>
                    </a:lnTo>
                    <a:lnTo>
                      <a:pt x="46" y="74"/>
                    </a:lnTo>
                    <a:lnTo>
                      <a:pt x="46" y="74"/>
                    </a:lnTo>
                    <a:lnTo>
                      <a:pt x="46" y="74"/>
                    </a:lnTo>
                    <a:lnTo>
                      <a:pt x="46" y="76"/>
                    </a:lnTo>
                    <a:lnTo>
                      <a:pt x="46" y="76"/>
                    </a:lnTo>
                    <a:lnTo>
                      <a:pt x="46" y="76"/>
                    </a:lnTo>
                    <a:lnTo>
                      <a:pt x="44" y="76"/>
                    </a:lnTo>
                    <a:lnTo>
                      <a:pt x="44" y="76"/>
                    </a:lnTo>
                    <a:lnTo>
                      <a:pt x="42" y="80"/>
                    </a:lnTo>
                    <a:lnTo>
                      <a:pt x="42" y="82"/>
                    </a:lnTo>
                    <a:lnTo>
                      <a:pt x="42" y="82"/>
                    </a:lnTo>
                    <a:lnTo>
                      <a:pt x="42" y="82"/>
                    </a:lnTo>
                    <a:lnTo>
                      <a:pt x="40" y="84"/>
                    </a:lnTo>
                    <a:lnTo>
                      <a:pt x="40" y="88"/>
                    </a:lnTo>
                    <a:lnTo>
                      <a:pt x="42" y="90"/>
                    </a:lnTo>
                    <a:lnTo>
                      <a:pt x="42" y="92"/>
                    </a:lnTo>
                    <a:lnTo>
                      <a:pt x="42" y="92"/>
                    </a:lnTo>
                    <a:lnTo>
                      <a:pt x="44" y="94"/>
                    </a:lnTo>
                    <a:lnTo>
                      <a:pt x="44" y="96"/>
                    </a:lnTo>
                    <a:lnTo>
                      <a:pt x="42" y="96"/>
                    </a:lnTo>
                    <a:lnTo>
                      <a:pt x="42" y="96"/>
                    </a:lnTo>
                    <a:lnTo>
                      <a:pt x="42" y="98"/>
                    </a:lnTo>
                    <a:lnTo>
                      <a:pt x="40" y="98"/>
                    </a:lnTo>
                    <a:lnTo>
                      <a:pt x="38" y="98"/>
                    </a:lnTo>
                    <a:lnTo>
                      <a:pt x="38" y="98"/>
                    </a:lnTo>
                    <a:lnTo>
                      <a:pt x="38" y="96"/>
                    </a:lnTo>
                    <a:lnTo>
                      <a:pt x="36" y="96"/>
                    </a:lnTo>
                    <a:lnTo>
                      <a:pt x="34" y="98"/>
                    </a:lnTo>
                    <a:lnTo>
                      <a:pt x="34" y="98"/>
                    </a:lnTo>
                    <a:lnTo>
                      <a:pt x="32" y="98"/>
                    </a:lnTo>
                    <a:lnTo>
                      <a:pt x="30" y="100"/>
                    </a:lnTo>
                    <a:lnTo>
                      <a:pt x="30" y="100"/>
                    </a:lnTo>
                    <a:lnTo>
                      <a:pt x="28" y="102"/>
                    </a:lnTo>
                    <a:lnTo>
                      <a:pt x="26" y="104"/>
                    </a:lnTo>
                    <a:lnTo>
                      <a:pt x="24" y="108"/>
                    </a:lnTo>
                    <a:lnTo>
                      <a:pt x="20" y="112"/>
                    </a:lnTo>
                    <a:lnTo>
                      <a:pt x="18" y="112"/>
                    </a:lnTo>
                    <a:lnTo>
                      <a:pt x="16" y="114"/>
                    </a:lnTo>
                    <a:lnTo>
                      <a:pt x="16" y="114"/>
                    </a:lnTo>
                    <a:lnTo>
                      <a:pt x="14" y="116"/>
                    </a:lnTo>
                    <a:lnTo>
                      <a:pt x="12" y="116"/>
                    </a:lnTo>
                    <a:lnTo>
                      <a:pt x="8" y="118"/>
                    </a:lnTo>
                    <a:lnTo>
                      <a:pt x="8" y="120"/>
                    </a:lnTo>
                    <a:lnTo>
                      <a:pt x="8" y="120"/>
                    </a:lnTo>
                    <a:lnTo>
                      <a:pt x="8" y="120"/>
                    </a:lnTo>
                    <a:lnTo>
                      <a:pt x="6" y="122"/>
                    </a:lnTo>
                    <a:lnTo>
                      <a:pt x="6" y="124"/>
                    </a:lnTo>
                    <a:lnTo>
                      <a:pt x="6" y="126"/>
                    </a:lnTo>
                    <a:lnTo>
                      <a:pt x="8" y="128"/>
                    </a:lnTo>
                    <a:lnTo>
                      <a:pt x="8" y="132"/>
                    </a:lnTo>
                    <a:lnTo>
                      <a:pt x="8" y="132"/>
                    </a:lnTo>
                    <a:lnTo>
                      <a:pt x="8" y="138"/>
                    </a:lnTo>
                    <a:lnTo>
                      <a:pt x="8" y="138"/>
                    </a:lnTo>
                    <a:lnTo>
                      <a:pt x="8" y="140"/>
                    </a:lnTo>
                    <a:lnTo>
                      <a:pt x="8" y="142"/>
                    </a:lnTo>
                    <a:lnTo>
                      <a:pt x="8" y="142"/>
                    </a:lnTo>
                    <a:lnTo>
                      <a:pt x="10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4" y="142"/>
                    </a:lnTo>
                    <a:lnTo>
                      <a:pt x="14" y="142"/>
                    </a:lnTo>
                    <a:lnTo>
                      <a:pt x="14" y="142"/>
                    </a:lnTo>
                    <a:lnTo>
                      <a:pt x="16" y="144"/>
                    </a:lnTo>
                    <a:lnTo>
                      <a:pt x="16" y="144"/>
                    </a:lnTo>
                    <a:lnTo>
                      <a:pt x="16" y="146"/>
                    </a:lnTo>
                    <a:lnTo>
                      <a:pt x="16" y="148"/>
                    </a:lnTo>
                    <a:lnTo>
                      <a:pt x="16" y="150"/>
                    </a:lnTo>
                    <a:lnTo>
                      <a:pt x="16" y="150"/>
                    </a:lnTo>
                    <a:lnTo>
                      <a:pt x="16" y="156"/>
                    </a:lnTo>
                    <a:lnTo>
                      <a:pt x="16" y="162"/>
                    </a:lnTo>
                    <a:lnTo>
                      <a:pt x="16" y="162"/>
                    </a:lnTo>
                    <a:lnTo>
                      <a:pt x="16" y="164"/>
                    </a:lnTo>
                    <a:lnTo>
                      <a:pt x="14" y="168"/>
                    </a:lnTo>
                    <a:lnTo>
                      <a:pt x="14" y="170"/>
                    </a:lnTo>
                    <a:lnTo>
                      <a:pt x="12" y="170"/>
                    </a:lnTo>
                    <a:lnTo>
                      <a:pt x="12" y="170"/>
                    </a:lnTo>
                    <a:lnTo>
                      <a:pt x="12" y="170"/>
                    </a:lnTo>
                    <a:lnTo>
                      <a:pt x="8" y="172"/>
                    </a:lnTo>
                    <a:lnTo>
                      <a:pt x="6" y="172"/>
                    </a:lnTo>
                    <a:lnTo>
                      <a:pt x="4" y="172"/>
                    </a:lnTo>
                    <a:lnTo>
                      <a:pt x="2" y="172"/>
                    </a:lnTo>
                    <a:lnTo>
                      <a:pt x="2" y="172"/>
                    </a:lnTo>
                    <a:lnTo>
                      <a:pt x="0" y="174"/>
                    </a:lnTo>
                    <a:lnTo>
                      <a:pt x="0" y="174"/>
                    </a:lnTo>
                    <a:lnTo>
                      <a:pt x="0" y="176"/>
                    </a:lnTo>
                    <a:lnTo>
                      <a:pt x="0" y="176"/>
                    </a:lnTo>
                    <a:lnTo>
                      <a:pt x="2" y="180"/>
                    </a:lnTo>
                    <a:lnTo>
                      <a:pt x="4" y="182"/>
                    </a:lnTo>
                    <a:lnTo>
                      <a:pt x="4" y="182"/>
                    </a:lnTo>
                    <a:lnTo>
                      <a:pt x="6" y="184"/>
                    </a:lnTo>
                    <a:lnTo>
                      <a:pt x="6" y="184"/>
                    </a:lnTo>
                    <a:lnTo>
                      <a:pt x="6" y="184"/>
                    </a:lnTo>
                    <a:lnTo>
                      <a:pt x="6" y="186"/>
                    </a:lnTo>
                    <a:lnTo>
                      <a:pt x="6" y="186"/>
                    </a:lnTo>
                    <a:lnTo>
                      <a:pt x="8" y="186"/>
                    </a:lnTo>
                    <a:lnTo>
                      <a:pt x="8" y="186"/>
                    </a:lnTo>
                    <a:lnTo>
                      <a:pt x="10" y="186"/>
                    </a:lnTo>
                    <a:lnTo>
                      <a:pt x="10" y="186"/>
                    </a:lnTo>
                    <a:lnTo>
                      <a:pt x="12" y="184"/>
                    </a:lnTo>
                    <a:lnTo>
                      <a:pt x="14" y="184"/>
                    </a:lnTo>
                    <a:lnTo>
                      <a:pt x="14" y="182"/>
                    </a:lnTo>
                    <a:lnTo>
                      <a:pt x="18" y="176"/>
                    </a:lnTo>
                    <a:lnTo>
                      <a:pt x="18" y="176"/>
                    </a:lnTo>
                    <a:lnTo>
                      <a:pt x="20" y="174"/>
                    </a:lnTo>
                    <a:lnTo>
                      <a:pt x="24" y="172"/>
                    </a:lnTo>
                    <a:lnTo>
                      <a:pt x="28" y="168"/>
                    </a:lnTo>
                    <a:lnTo>
                      <a:pt x="28" y="168"/>
                    </a:lnTo>
                    <a:lnTo>
                      <a:pt x="30" y="166"/>
                    </a:lnTo>
                    <a:lnTo>
                      <a:pt x="32" y="164"/>
                    </a:lnTo>
                    <a:lnTo>
                      <a:pt x="38" y="162"/>
                    </a:lnTo>
                    <a:lnTo>
                      <a:pt x="40" y="160"/>
                    </a:lnTo>
                    <a:lnTo>
                      <a:pt x="42" y="158"/>
                    </a:lnTo>
                    <a:lnTo>
                      <a:pt x="44" y="156"/>
                    </a:lnTo>
                    <a:lnTo>
                      <a:pt x="44" y="156"/>
                    </a:lnTo>
                    <a:lnTo>
                      <a:pt x="46" y="154"/>
                    </a:lnTo>
                    <a:lnTo>
                      <a:pt x="48" y="152"/>
                    </a:lnTo>
                    <a:lnTo>
                      <a:pt x="48" y="152"/>
                    </a:lnTo>
                    <a:lnTo>
                      <a:pt x="50" y="150"/>
                    </a:lnTo>
                    <a:lnTo>
                      <a:pt x="52" y="148"/>
                    </a:lnTo>
                    <a:lnTo>
                      <a:pt x="52" y="148"/>
                    </a:lnTo>
                    <a:lnTo>
                      <a:pt x="52" y="148"/>
                    </a:lnTo>
                    <a:lnTo>
                      <a:pt x="54" y="148"/>
                    </a:lnTo>
                    <a:lnTo>
                      <a:pt x="54" y="146"/>
                    </a:lnTo>
                    <a:lnTo>
                      <a:pt x="56" y="140"/>
                    </a:lnTo>
                    <a:lnTo>
                      <a:pt x="56" y="140"/>
                    </a:lnTo>
                    <a:lnTo>
                      <a:pt x="56" y="138"/>
                    </a:lnTo>
                    <a:lnTo>
                      <a:pt x="56" y="138"/>
                    </a:lnTo>
                    <a:lnTo>
                      <a:pt x="58" y="136"/>
                    </a:lnTo>
                    <a:lnTo>
                      <a:pt x="60" y="134"/>
                    </a:lnTo>
                    <a:lnTo>
                      <a:pt x="62" y="132"/>
                    </a:lnTo>
                    <a:lnTo>
                      <a:pt x="62" y="132"/>
                    </a:lnTo>
                    <a:lnTo>
                      <a:pt x="62" y="132"/>
                    </a:lnTo>
                    <a:lnTo>
                      <a:pt x="64" y="132"/>
                    </a:lnTo>
                    <a:lnTo>
                      <a:pt x="64" y="134"/>
                    </a:lnTo>
                    <a:lnTo>
                      <a:pt x="68" y="134"/>
                    </a:lnTo>
                    <a:lnTo>
                      <a:pt x="70" y="136"/>
                    </a:lnTo>
                    <a:lnTo>
                      <a:pt x="72" y="136"/>
                    </a:lnTo>
                    <a:lnTo>
                      <a:pt x="72" y="136"/>
                    </a:lnTo>
                    <a:lnTo>
                      <a:pt x="74" y="136"/>
                    </a:lnTo>
                    <a:lnTo>
                      <a:pt x="74" y="136"/>
                    </a:lnTo>
                    <a:lnTo>
                      <a:pt x="76" y="134"/>
                    </a:lnTo>
                    <a:lnTo>
                      <a:pt x="76" y="134"/>
                    </a:lnTo>
                    <a:lnTo>
                      <a:pt x="76" y="130"/>
                    </a:lnTo>
                    <a:lnTo>
                      <a:pt x="76" y="128"/>
                    </a:lnTo>
                    <a:lnTo>
                      <a:pt x="76" y="128"/>
                    </a:lnTo>
                    <a:lnTo>
                      <a:pt x="76" y="126"/>
                    </a:lnTo>
                    <a:lnTo>
                      <a:pt x="78" y="126"/>
                    </a:lnTo>
                    <a:lnTo>
                      <a:pt x="78" y="124"/>
                    </a:lnTo>
                    <a:lnTo>
                      <a:pt x="80" y="124"/>
                    </a:lnTo>
                    <a:lnTo>
                      <a:pt x="82" y="124"/>
                    </a:lnTo>
                    <a:lnTo>
                      <a:pt x="84" y="122"/>
                    </a:lnTo>
                    <a:lnTo>
                      <a:pt x="84" y="122"/>
                    </a:lnTo>
                    <a:lnTo>
                      <a:pt x="86" y="122"/>
                    </a:lnTo>
                    <a:lnTo>
                      <a:pt x="86" y="120"/>
                    </a:lnTo>
                    <a:lnTo>
                      <a:pt x="86" y="118"/>
                    </a:lnTo>
                    <a:lnTo>
                      <a:pt x="86" y="114"/>
                    </a:lnTo>
                    <a:lnTo>
                      <a:pt x="88" y="114"/>
                    </a:lnTo>
                    <a:lnTo>
                      <a:pt x="88" y="112"/>
                    </a:lnTo>
                    <a:lnTo>
                      <a:pt x="88" y="112"/>
                    </a:lnTo>
                    <a:lnTo>
                      <a:pt x="90" y="112"/>
                    </a:lnTo>
                    <a:lnTo>
                      <a:pt x="94" y="110"/>
                    </a:lnTo>
                    <a:lnTo>
                      <a:pt x="96" y="110"/>
                    </a:lnTo>
                    <a:lnTo>
                      <a:pt x="96" y="108"/>
                    </a:lnTo>
                    <a:lnTo>
                      <a:pt x="98" y="108"/>
                    </a:lnTo>
                    <a:lnTo>
                      <a:pt x="98" y="108"/>
                    </a:lnTo>
                    <a:lnTo>
                      <a:pt x="98" y="106"/>
                    </a:lnTo>
                    <a:lnTo>
                      <a:pt x="98" y="106"/>
                    </a:lnTo>
                    <a:lnTo>
                      <a:pt x="100" y="102"/>
                    </a:lnTo>
                    <a:lnTo>
                      <a:pt x="100" y="100"/>
                    </a:lnTo>
                    <a:lnTo>
                      <a:pt x="100" y="98"/>
                    </a:lnTo>
                    <a:lnTo>
                      <a:pt x="100" y="98"/>
                    </a:lnTo>
                    <a:lnTo>
                      <a:pt x="100" y="94"/>
                    </a:lnTo>
                    <a:lnTo>
                      <a:pt x="100" y="94"/>
                    </a:lnTo>
                    <a:lnTo>
                      <a:pt x="100" y="92"/>
                    </a:lnTo>
                    <a:lnTo>
                      <a:pt x="100" y="92"/>
                    </a:lnTo>
                    <a:lnTo>
                      <a:pt x="98" y="92"/>
                    </a:lnTo>
                    <a:lnTo>
                      <a:pt x="98" y="92"/>
                    </a:lnTo>
                    <a:lnTo>
                      <a:pt x="94" y="92"/>
                    </a:lnTo>
                    <a:lnTo>
                      <a:pt x="94" y="92"/>
                    </a:lnTo>
                    <a:lnTo>
                      <a:pt x="92" y="92"/>
                    </a:lnTo>
                    <a:lnTo>
                      <a:pt x="90" y="94"/>
                    </a:lnTo>
                    <a:lnTo>
                      <a:pt x="88" y="94"/>
                    </a:lnTo>
                    <a:lnTo>
                      <a:pt x="86" y="96"/>
                    </a:lnTo>
                    <a:lnTo>
                      <a:pt x="86" y="96"/>
                    </a:lnTo>
                    <a:lnTo>
                      <a:pt x="84" y="96"/>
                    </a:lnTo>
                    <a:lnTo>
                      <a:pt x="80" y="98"/>
                    </a:lnTo>
                    <a:lnTo>
                      <a:pt x="78" y="98"/>
                    </a:lnTo>
                    <a:lnTo>
                      <a:pt x="76" y="100"/>
                    </a:lnTo>
                    <a:lnTo>
                      <a:pt x="76" y="100"/>
                    </a:lnTo>
                    <a:lnTo>
                      <a:pt x="76" y="100"/>
                    </a:lnTo>
                    <a:lnTo>
                      <a:pt x="74" y="98"/>
                    </a:lnTo>
                    <a:lnTo>
                      <a:pt x="72" y="98"/>
                    </a:lnTo>
                    <a:lnTo>
                      <a:pt x="72" y="96"/>
                    </a:lnTo>
                    <a:lnTo>
                      <a:pt x="72" y="96"/>
                    </a:lnTo>
                    <a:lnTo>
                      <a:pt x="70" y="92"/>
                    </a:lnTo>
                    <a:lnTo>
                      <a:pt x="70" y="90"/>
                    </a:lnTo>
                    <a:lnTo>
                      <a:pt x="70" y="86"/>
                    </a:lnTo>
                    <a:lnTo>
                      <a:pt x="70" y="82"/>
                    </a:lnTo>
                    <a:lnTo>
                      <a:pt x="70" y="76"/>
                    </a:lnTo>
                    <a:lnTo>
                      <a:pt x="70" y="76"/>
                    </a:lnTo>
                    <a:lnTo>
                      <a:pt x="70" y="72"/>
                    </a:lnTo>
                    <a:lnTo>
                      <a:pt x="70" y="70"/>
                    </a:lnTo>
                    <a:lnTo>
                      <a:pt x="70" y="68"/>
                    </a:lnTo>
                    <a:lnTo>
                      <a:pt x="70" y="68"/>
                    </a:lnTo>
                    <a:lnTo>
                      <a:pt x="70" y="66"/>
                    </a:lnTo>
                    <a:lnTo>
                      <a:pt x="72" y="64"/>
                    </a:lnTo>
                    <a:lnTo>
                      <a:pt x="72" y="60"/>
                    </a:lnTo>
                    <a:lnTo>
                      <a:pt x="74" y="60"/>
                    </a:lnTo>
                    <a:lnTo>
                      <a:pt x="72" y="58"/>
                    </a:lnTo>
                    <a:lnTo>
                      <a:pt x="72" y="58"/>
                    </a:lnTo>
                    <a:lnTo>
                      <a:pt x="72" y="56"/>
                    </a:lnTo>
                    <a:lnTo>
                      <a:pt x="72" y="54"/>
                    </a:lnTo>
                    <a:lnTo>
                      <a:pt x="72" y="54"/>
                    </a:lnTo>
                    <a:lnTo>
                      <a:pt x="70" y="52"/>
                    </a:lnTo>
                    <a:lnTo>
                      <a:pt x="70" y="52"/>
                    </a:lnTo>
                    <a:lnTo>
                      <a:pt x="68" y="52"/>
                    </a:lnTo>
                    <a:lnTo>
                      <a:pt x="68" y="52"/>
                    </a:lnTo>
                    <a:lnTo>
                      <a:pt x="68" y="52"/>
                    </a:lnTo>
                    <a:lnTo>
                      <a:pt x="66" y="52"/>
                    </a:lnTo>
                    <a:lnTo>
                      <a:pt x="66" y="56"/>
                    </a:lnTo>
                    <a:lnTo>
                      <a:pt x="66" y="60"/>
                    </a:lnTo>
                    <a:lnTo>
                      <a:pt x="66" y="60"/>
                    </a:lnTo>
                    <a:lnTo>
                      <a:pt x="66" y="62"/>
                    </a:lnTo>
                    <a:lnTo>
                      <a:pt x="64" y="64"/>
                    </a:lnTo>
                    <a:lnTo>
                      <a:pt x="64" y="66"/>
                    </a:lnTo>
                    <a:lnTo>
                      <a:pt x="64" y="68"/>
                    </a:lnTo>
                    <a:lnTo>
                      <a:pt x="62" y="68"/>
                    </a:lnTo>
                    <a:lnTo>
                      <a:pt x="62" y="66"/>
                    </a:lnTo>
                    <a:lnTo>
                      <a:pt x="62" y="66"/>
                    </a:lnTo>
                    <a:lnTo>
                      <a:pt x="62" y="66"/>
                    </a:lnTo>
                    <a:lnTo>
                      <a:pt x="62" y="64"/>
                    </a:lnTo>
                    <a:lnTo>
                      <a:pt x="60" y="62"/>
                    </a:lnTo>
                    <a:lnTo>
                      <a:pt x="60" y="62"/>
                    </a:lnTo>
                    <a:lnTo>
                      <a:pt x="60" y="60"/>
                    </a:lnTo>
                    <a:lnTo>
                      <a:pt x="58" y="58"/>
                    </a:lnTo>
                    <a:lnTo>
                      <a:pt x="58" y="58"/>
                    </a:lnTo>
                    <a:lnTo>
                      <a:pt x="56" y="56"/>
                    </a:lnTo>
                    <a:lnTo>
                      <a:pt x="56" y="56"/>
                    </a:lnTo>
                    <a:lnTo>
                      <a:pt x="56" y="54"/>
                    </a:lnTo>
                    <a:lnTo>
                      <a:pt x="56" y="54"/>
                    </a:lnTo>
                    <a:lnTo>
                      <a:pt x="58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0"/>
                    </a:lnTo>
                    <a:lnTo>
                      <a:pt x="62" y="50"/>
                    </a:lnTo>
                    <a:lnTo>
                      <a:pt x="62" y="48"/>
                    </a:lnTo>
                    <a:lnTo>
                      <a:pt x="62" y="44"/>
                    </a:lnTo>
                    <a:lnTo>
                      <a:pt x="62" y="42"/>
                    </a:lnTo>
                    <a:lnTo>
                      <a:pt x="62" y="42"/>
                    </a:lnTo>
                    <a:lnTo>
                      <a:pt x="62" y="40"/>
                    </a:lnTo>
                    <a:lnTo>
                      <a:pt x="62" y="38"/>
                    </a:lnTo>
                    <a:lnTo>
                      <a:pt x="64" y="36"/>
                    </a:lnTo>
                    <a:lnTo>
                      <a:pt x="64" y="32"/>
                    </a:lnTo>
                    <a:lnTo>
                      <a:pt x="64" y="32"/>
                    </a:lnTo>
                    <a:lnTo>
                      <a:pt x="64" y="30"/>
                    </a:lnTo>
                    <a:lnTo>
                      <a:pt x="62" y="28"/>
                    </a:lnTo>
                    <a:lnTo>
                      <a:pt x="62" y="28"/>
                    </a:lnTo>
                    <a:lnTo>
                      <a:pt x="60" y="26"/>
                    </a:lnTo>
                    <a:lnTo>
                      <a:pt x="58" y="24"/>
                    </a:lnTo>
                    <a:lnTo>
                      <a:pt x="58" y="22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54" y="18"/>
                    </a:lnTo>
                    <a:lnTo>
                      <a:pt x="54" y="18"/>
                    </a:lnTo>
                    <a:lnTo>
                      <a:pt x="54" y="16"/>
                    </a:lnTo>
                    <a:lnTo>
                      <a:pt x="54" y="16"/>
                    </a:lnTo>
                    <a:lnTo>
                      <a:pt x="52" y="14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48" y="12"/>
                    </a:lnTo>
                    <a:lnTo>
                      <a:pt x="48" y="10"/>
                    </a:lnTo>
                    <a:lnTo>
                      <a:pt x="46" y="8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2"/>
                    </a:lnTo>
                    <a:lnTo>
                      <a:pt x="48" y="2"/>
                    </a:lnTo>
                    <a:lnTo>
                      <a:pt x="46" y="2"/>
                    </a:lnTo>
                    <a:lnTo>
                      <a:pt x="46" y="2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44" y="2"/>
                    </a:lnTo>
                    <a:lnTo>
                      <a:pt x="44" y="2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2" y="1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67" name="Freeform 296"/>
              <p:cNvSpPr>
                <a:spLocks/>
              </p:cNvSpPr>
              <p:nvPr/>
            </p:nvSpPr>
            <p:spPr bwMode="auto">
              <a:xfrm>
                <a:off x="5125" y="3926"/>
                <a:ext cx="16" cy="18"/>
              </a:xfrm>
              <a:custGeom>
                <a:avLst/>
                <a:gdLst>
                  <a:gd name="T0" fmla="*/ 6 w 16"/>
                  <a:gd name="T1" fmla="*/ 2 h 18"/>
                  <a:gd name="T2" fmla="*/ 6 w 16"/>
                  <a:gd name="T3" fmla="*/ 2 h 18"/>
                  <a:gd name="T4" fmla="*/ 4 w 16"/>
                  <a:gd name="T5" fmla="*/ 4 h 18"/>
                  <a:gd name="T6" fmla="*/ 4 w 16"/>
                  <a:gd name="T7" fmla="*/ 4 h 18"/>
                  <a:gd name="T8" fmla="*/ 6 w 16"/>
                  <a:gd name="T9" fmla="*/ 4 h 18"/>
                  <a:gd name="T10" fmla="*/ 6 w 16"/>
                  <a:gd name="T11" fmla="*/ 6 h 18"/>
                  <a:gd name="T12" fmla="*/ 6 w 16"/>
                  <a:gd name="T13" fmla="*/ 6 h 18"/>
                  <a:gd name="T14" fmla="*/ 6 w 16"/>
                  <a:gd name="T15" fmla="*/ 6 h 18"/>
                  <a:gd name="T16" fmla="*/ 6 w 16"/>
                  <a:gd name="T17" fmla="*/ 8 h 18"/>
                  <a:gd name="T18" fmla="*/ 6 w 16"/>
                  <a:gd name="T19" fmla="*/ 10 h 18"/>
                  <a:gd name="T20" fmla="*/ 4 w 16"/>
                  <a:gd name="T21" fmla="*/ 12 h 18"/>
                  <a:gd name="T22" fmla="*/ 4 w 16"/>
                  <a:gd name="T23" fmla="*/ 12 h 18"/>
                  <a:gd name="T24" fmla="*/ 2 w 16"/>
                  <a:gd name="T25" fmla="*/ 14 h 18"/>
                  <a:gd name="T26" fmla="*/ 2 w 16"/>
                  <a:gd name="T27" fmla="*/ 14 h 18"/>
                  <a:gd name="T28" fmla="*/ 0 w 16"/>
                  <a:gd name="T29" fmla="*/ 16 h 18"/>
                  <a:gd name="T30" fmla="*/ 0 w 16"/>
                  <a:gd name="T31" fmla="*/ 16 h 18"/>
                  <a:gd name="T32" fmla="*/ 0 w 16"/>
                  <a:gd name="T33" fmla="*/ 16 h 18"/>
                  <a:gd name="T34" fmla="*/ 0 w 16"/>
                  <a:gd name="T35" fmla="*/ 16 h 18"/>
                  <a:gd name="T36" fmla="*/ 0 w 16"/>
                  <a:gd name="T37" fmla="*/ 18 h 18"/>
                  <a:gd name="T38" fmla="*/ 2 w 16"/>
                  <a:gd name="T39" fmla="*/ 18 h 18"/>
                  <a:gd name="T40" fmla="*/ 2 w 16"/>
                  <a:gd name="T41" fmla="*/ 18 h 18"/>
                  <a:gd name="T42" fmla="*/ 2 w 16"/>
                  <a:gd name="T43" fmla="*/ 18 h 18"/>
                  <a:gd name="T44" fmla="*/ 2 w 16"/>
                  <a:gd name="T45" fmla="*/ 18 h 18"/>
                  <a:gd name="T46" fmla="*/ 4 w 16"/>
                  <a:gd name="T47" fmla="*/ 16 h 18"/>
                  <a:gd name="T48" fmla="*/ 4 w 16"/>
                  <a:gd name="T49" fmla="*/ 16 h 18"/>
                  <a:gd name="T50" fmla="*/ 6 w 16"/>
                  <a:gd name="T51" fmla="*/ 14 h 18"/>
                  <a:gd name="T52" fmla="*/ 6 w 16"/>
                  <a:gd name="T53" fmla="*/ 14 h 18"/>
                  <a:gd name="T54" fmla="*/ 8 w 16"/>
                  <a:gd name="T55" fmla="*/ 12 h 18"/>
                  <a:gd name="T56" fmla="*/ 12 w 16"/>
                  <a:gd name="T57" fmla="*/ 12 h 18"/>
                  <a:gd name="T58" fmla="*/ 12 w 16"/>
                  <a:gd name="T59" fmla="*/ 12 h 18"/>
                  <a:gd name="T60" fmla="*/ 14 w 16"/>
                  <a:gd name="T61" fmla="*/ 10 h 18"/>
                  <a:gd name="T62" fmla="*/ 14 w 16"/>
                  <a:gd name="T63" fmla="*/ 10 h 18"/>
                  <a:gd name="T64" fmla="*/ 14 w 16"/>
                  <a:gd name="T65" fmla="*/ 10 h 18"/>
                  <a:gd name="T66" fmla="*/ 16 w 16"/>
                  <a:gd name="T67" fmla="*/ 10 h 18"/>
                  <a:gd name="T68" fmla="*/ 16 w 16"/>
                  <a:gd name="T69" fmla="*/ 8 h 18"/>
                  <a:gd name="T70" fmla="*/ 16 w 16"/>
                  <a:gd name="T71" fmla="*/ 8 h 18"/>
                  <a:gd name="T72" fmla="*/ 16 w 16"/>
                  <a:gd name="T73" fmla="*/ 8 h 18"/>
                  <a:gd name="T74" fmla="*/ 16 w 16"/>
                  <a:gd name="T75" fmla="*/ 6 h 18"/>
                  <a:gd name="T76" fmla="*/ 16 w 16"/>
                  <a:gd name="T77" fmla="*/ 4 h 18"/>
                  <a:gd name="T78" fmla="*/ 16 w 16"/>
                  <a:gd name="T79" fmla="*/ 4 h 18"/>
                  <a:gd name="T80" fmla="*/ 16 w 16"/>
                  <a:gd name="T81" fmla="*/ 2 h 18"/>
                  <a:gd name="T82" fmla="*/ 16 w 16"/>
                  <a:gd name="T83" fmla="*/ 2 h 18"/>
                  <a:gd name="T84" fmla="*/ 16 w 16"/>
                  <a:gd name="T85" fmla="*/ 2 h 18"/>
                  <a:gd name="T86" fmla="*/ 16 w 16"/>
                  <a:gd name="T87" fmla="*/ 0 h 18"/>
                  <a:gd name="T88" fmla="*/ 14 w 16"/>
                  <a:gd name="T89" fmla="*/ 0 h 18"/>
                  <a:gd name="T90" fmla="*/ 12 w 16"/>
                  <a:gd name="T91" fmla="*/ 0 h 18"/>
                  <a:gd name="T92" fmla="*/ 8 w 16"/>
                  <a:gd name="T93" fmla="*/ 0 h 18"/>
                  <a:gd name="T94" fmla="*/ 8 w 16"/>
                  <a:gd name="T95" fmla="*/ 2 h 18"/>
                  <a:gd name="T96" fmla="*/ 6 w 16"/>
                  <a:gd name="T97" fmla="*/ 2 h 18"/>
                  <a:gd name="T98" fmla="*/ 6 w 16"/>
                  <a:gd name="T99" fmla="*/ 2 h 18"/>
                  <a:gd name="T100" fmla="*/ 6 w 16"/>
                  <a:gd name="T101" fmla="*/ 2 h 18"/>
                  <a:gd name="T102" fmla="*/ 6 w 16"/>
                  <a:gd name="T103" fmla="*/ 2 h 18"/>
                  <a:gd name="T104" fmla="*/ 6 w 16"/>
                  <a:gd name="T105" fmla="*/ 2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6" h="18">
                    <a:moveTo>
                      <a:pt x="6" y="2"/>
                    </a:moveTo>
                    <a:lnTo>
                      <a:pt x="6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8"/>
                    </a:lnTo>
                    <a:lnTo>
                      <a:pt x="6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8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6" y="10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6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8" y="0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68" name="Freeform 298"/>
              <p:cNvSpPr>
                <a:spLocks/>
              </p:cNvSpPr>
              <p:nvPr/>
            </p:nvSpPr>
            <p:spPr bwMode="auto">
              <a:xfrm>
                <a:off x="4431" y="3056"/>
                <a:ext cx="646" cy="618"/>
              </a:xfrm>
              <a:custGeom>
                <a:avLst/>
                <a:gdLst>
                  <a:gd name="T0" fmla="*/ 328 w 646"/>
                  <a:gd name="T1" fmla="*/ 62 h 618"/>
                  <a:gd name="T2" fmla="*/ 318 w 646"/>
                  <a:gd name="T3" fmla="*/ 76 h 618"/>
                  <a:gd name="T4" fmla="*/ 304 w 646"/>
                  <a:gd name="T5" fmla="*/ 86 h 618"/>
                  <a:gd name="T6" fmla="*/ 300 w 646"/>
                  <a:gd name="T7" fmla="*/ 50 h 618"/>
                  <a:gd name="T8" fmla="*/ 282 w 646"/>
                  <a:gd name="T9" fmla="*/ 52 h 618"/>
                  <a:gd name="T10" fmla="*/ 272 w 646"/>
                  <a:gd name="T11" fmla="*/ 64 h 618"/>
                  <a:gd name="T12" fmla="*/ 258 w 646"/>
                  <a:gd name="T13" fmla="*/ 84 h 618"/>
                  <a:gd name="T14" fmla="*/ 250 w 646"/>
                  <a:gd name="T15" fmla="*/ 92 h 618"/>
                  <a:gd name="T16" fmla="*/ 228 w 646"/>
                  <a:gd name="T17" fmla="*/ 100 h 618"/>
                  <a:gd name="T18" fmla="*/ 224 w 646"/>
                  <a:gd name="T19" fmla="*/ 110 h 618"/>
                  <a:gd name="T20" fmla="*/ 204 w 646"/>
                  <a:gd name="T21" fmla="*/ 114 h 618"/>
                  <a:gd name="T22" fmla="*/ 174 w 646"/>
                  <a:gd name="T23" fmla="*/ 160 h 618"/>
                  <a:gd name="T24" fmla="*/ 118 w 646"/>
                  <a:gd name="T25" fmla="*/ 166 h 618"/>
                  <a:gd name="T26" fmla="*/ 74 w 646"/>
                  <a:gd name="T27" fmla="*/ 188 h 618"/>
                  <a:gd name="T28" fmla="*/ 54 w 646"/>
                  <a:gd name="T29" fmla="*/ 200 h 618"/>
                  <a:gd name="T30" fmla="*/ 38 w 646"/>
                  <a:gd name="T31" fmla="*/ 242 h 618"/>
                  <a:gd name="T32" fmla="*/ 32 w 646"/>
                  <a:gd name="T33" fmla="*/ 264 h 618"/>
                  <a:gd name="T34" fmla="*/ 30 w 646"/>
                  <a:gd name="T35" fmla="*/ 298 h 618"/>
                  <a:gd name="T36" fmla="*/ 32 w 646"/>
                  <a:gd name="T37" fmla="*/ 342 h 618"/>
                  <a:gd name="T38" fmla="*/ 32 w 646"/>
                  <a:gd name="T39" fmla="*/ 396 h 618"/>
                  <a:gd name="T40" fmla="*/ 2 w 646"/>
                  <a:gd name="T41" fmla="*/ 434 h 618"/>
                  <a:gd name="T42" fmla="*/ 40 w 646"/>
                  <a:gd name="T43" fmla="*/ 462 h 618"/>
                  <a:gd name="T44" fmla="*/ 66 w 646"/>
                  <a:gd name="T45" fmla="*/ 454 h 618"/>
                  <a:gd name="T46" fmla="*/ 108 w 646"/>
                  <a:gd name="T47" fmla="*/ 446 h 618"/>
                  <a:gd name="T48" fmla="*/ 146 w 646"/>
                  <a:gd name="T49" fmla="*/ 444 h 618"/>
                  <a:gd name="T50" fmla="*/ 202 w 646"/>
                  <a:gd name="T51" fmla="*/ 424 h 618"/>
                  <a:gd name="T52" fmla="*/ 272 w 646"/>
                  <a:gd name="T53" fmla="*/ 412 h 618"/>
                  <a:gd name="T54" fmla="*/ 302 w 646"/>
                  <a:gd name="T55" fmla="*/ 440 h 618"/>
                  <a:gd name="T56" fmla="*/ 306 w 646"/>
                  <a:gd name="T57" fmla="*/ 464 h 618"/>
                  <a:gd name="T58" fmla="*/ 308 w 646"/>
                  <a:gd name="T59" fmla="*/ 498 h 618"/>
                  <a:gd name="T60" fmla="*/ 342 w 646"/>
                  <a:gd name="T61" fmla="*/ 474 h 618"/>
                  <a:gd name="T62" fmla="*/ 370 w 646"/>
                  <a:gd name="T63" fmla="*/ 454 h 618"/>
                  <a:gd name="T64" fmla="*/ 342 w 646"/>
                  <a:gd name="T65" fmla="*/ 490 h 618"/>
                  <a:gd name="T66" fmla="*/ 348 w 646"/>
                  <a:gd name="T67" fmla="*/ 500 h 618"/>
                  <a:gd name="T68" fmla="*/ 354 w 646"/>
                  <a:gd name="T69" fmla="*/ 522 h 618"/>
                  <a:gd name="T70" fmla="*/ 354 w 646"/>
                  <a:gd name="T71" fmla="*/ 556 h 618"/>
                  <a:gd name="T72" fmla="*/ 392 w 646"/>
                  <a:gd name="T73" fmla="*/ 602 h 618"/>
                  <a:gd name="T74" fmla="*/ 426 w 646"/>
                  <a:gd name="T75" fmla="*/ 604 h 618"/>
                  <a:gd name="T76" fmla="*/ 466 w 646"/>
                  <a:gd name="T77" fmla="*/ 602 h 618"/>
                  <a:gd name="T78" fmla="*/ 508 w 646"/>
                  <a:gd name="T79" fmla="*/ 580 h 618"/>
                  <a:gd name="T80" fmla="*/ 540 w 646"/>
                  <a:gd name="T81" fmla="*/ 534 h 618"/>
                  <a:gd name="T82" fmla="*/ 570 w 646"/>
                  <a:gd name="T83" fmla="*/ 490 h 618"/>
                  <a:gd name="T84" fmla="*/ 618 w 646"/>
                  <a:gd name="T85" fmla="*/ 434 h 618"/>
                  <a:gd name="T86" fmla="*/ 646 w 646"/>
                  <a:gd name="T87" fmla="*/ 334 h 618"/>
                  <a:gd name="T88" fmla="*/ 632 w 646"/>
                  <a:gd name="T89" fmla="*/ 300 h 618"/>
                  <a:gd name="T90" fmla="*/ 632 w 646"/>
                  <a:gd name="T91" fmla="*/ 268 h 618"/>
                  <a:gd name="T92" fmla="*/ 614 w 646"/>
                  <a:gd name="T93" fmla="*/ 250 h 618"/>
                  <a:gd name="T94" fmla="*/ 594 w 646"/>
                  <a:gd name="T95" fmla="*/ 194 h 618"/>
                  <a:gd name="T96" fmla="*/ 584 w 646"/>
                  <a:gd name="T97" fmla="*/ 144 h 618"/>
                  <a:gd name="T98" fmla="*/ 572 w 646"/>
                  <a:gd name="T99" fmla="*/ 80 h 618"/>
                  <a:gd name="T100" fmla="*/ 560 w 646"/>
                  <a:gd name="T101" fmla="*/ 32 h 618"/>
                  <a:gd name="T102" fmla="*/ 550 w 646"/>
                  <a:gd name="T103" fmla="*/ 4 h 618"/>
                  <a:gd name="T104" fmla="*/ 526 w 646"/>
                  <a:gd name="T105" fmla="*/ 44 h 618"/>
                  <a:gd name="T106" fmla="*/ 504 w 646"/>
                  <a:gd name="T107" fmla="*/ 126 h 618"/>
                  <a:gd name="T108" fmla="*/ 456 w 646"/>
                  <a:gd name="T109" fmla="*/ 122 h 618"/>
                  <a:gd name="T110" fmla="*/ 432 w 646"/>
                  <a:gd name="T111" fmla="*/ 70 h 618"/>
                  <a:gd name="T112" fmla="*/ 458 w 646"/>
                  <a:gd name="T113" fmla="*/ 36 h 618"/>
                  <a:gd name="T114" fmla="*/ 436 w 646"/>
                  <a:gd name="T115" fmla="*/ 24 h 618"/>
                  <a:gd name="T116" fmla="*/ 398 w 646"/>
                  <a:gd name="T117" fmla="*/ 12 h 618"/>
                  <a:gd name="T118" fmla="*/ 374 w 646"/>
                  <a:gd name="T119" fmla="*/ 6 h 618"/>
                  <a:gd name="T120" fmla="*/ 384 w 646"/>
                  <a:gd name="T121" fmla="*/ 22 h 6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46" h="618">
                    <a:moveTo>
                      <a:pt x="344" y="32"/>
                    </a:moveTo>
                    <a:lnTo>
                      <a:pt x="344" y="32"/>
                    </a:lnTo>
                    <a:lnTo>
                      <a:pt x="344" y="36"/>
                    </a:lnTo>
                    <a:lnTo>
                      <a:pt x="344" y="40"/>
                    </a:lnTo>
                    <a:lnTo>
                      <a:pt x="344" y="42"/>
                    </a:lnTo>
                    <a:lnTo>
                      <a:pt x="344" y="42"/>
                    </a:lnTo>
                    <a:lnTo>
                      <a:pt x="344" y="42"/>
                    </a:lnTo>
                    <a:lnTo>
                      <a:pt x="344" y="44"/>
                    </a:lnTo>
                    <a:lnTo>
                      <a:pt x="346" y="44"/>
                    </a:lnTo>
                    <a:lnTo>
                      <a:pt x="348" y="46"/>
                    </a:lnTo>
                    <a:lnTo>
                      <a:pt x="350" y="48"/>
                    </a:lnTo>
                    <a:lnTo>
                      <a:pt x="350" y="48"/>
                    </a:lnTo>
                    <a:lnTo>
                      <a:pt x="348" y="48"/>
                    </a:lnTo>
                    <a:lnTo>
                      <a:pt x="348" y="48"/>
                    </a:lnTo>
                    <a:lnTo>
                      <a:pt x="346" y="48"/>
                    </a:lnTo>
                    <a:lnTo>
                      <a:pt x="344" y="48"/>
                    </a:lnTo>
                    <a:lnTo>
                      <a:pt x="344" y="48"/>
                    </a:lnTo>
                    <a:lnTo>
                      <a:pt x="344" y="48"/>
                    </a:lnTo>
                    <a:lnTo>
                      <a:pt x="342" y="48"/>
                    </a:lnTo>
                    <a:lnTo>
                      <a:pt x="340" y="48"/>
                    </a:lnTo>
                    <a:lnTo>
                      <a:pt x="338" y="50"/>
                    </a:lnTo>
                    <a:lnTo>
                      <a:pt x="338" y="50"/>
                    </a:lnTo>
                    <a:lnTo>
                      <a:pt x="336" y="52"/>
                    </a:lnTo>
                    <a:lnTo>
                      <a:pt x="330" y="52"/>
                    </a:lnTo>
                    <a:lnTo>
                      <a:pt x="328" y="56"/>
                    </a:lnTo>
                    <a:lnTo>
                      <a:pt x="328" y="58"/>
                    </a:lnTo>
                    <a:lnTo>
                      <a:pt x="328" y="58"/>
                    </a:lnTo>
                    <a:lnTo>
                      <a:pt x="328" y="58"/>
                    </a:lnTo>
                    <a:lnTo>
                      <a:pt x="328" y="62"/>
                    </a:lnTo>
                    <a:lnTo>
                      <a:pt x="328" y="64"/>
                    </a:lnTo>
                    <a:lnTo>
                      <a:pt x="328" y="64"/>
                    </a:lnTo>
                    <a:lnTo>
                      <a:pt x="328" y="66"/>
                    </a:lnTo>
                    <a:lnTo>
                      <a:pt x="328" y="68"/>
                    </a:lnTo>
                    <a:lnTo>
                      <a:pt x="328" y="70"/>
                    </a:lnTo>
                    <a:lnTo>
                      <a:pt x="328" y="70"/>
                    </a:lnTo>
                    <a:lnTo>
                      <a:pt x="328" y="70"/>
                    </a:lnTo>
                    <a:lnTo>
                      <a:pt x="332" y="76"/>
                    </a:lnTo>
                    <a:lnTo>
                      <a:pt x="332" y="78"/>
                    </a:lnTo>
                    <a:lnTo>
                      <a:pt x="336" y="80"/>
                    </a:lnTo>
                    <a:lnTo>
                      <a:pt x="336" y="80"/>
                    </a:lnTo>
                    <a:lnTo>
                      <a:pt x="332" y="80"/>
                    </a:lnTo>
                    <a:lnTo>
                      <a:pt x="330" y="80"/>
                    </a:lnTo>
                    <a:lnTo>
                      <a:pt x="330" y="80"/>
                    </a:lnTo>
                    <a:lnTo>
                      <a:pt x="328" y="80"/>
                    </a:lnTo>
                    <a:lnTo>
                      <a:pt x="326" y="78"/>
                    </a:lnTo>
                    <a:lnTo>
                      <a:pt x="326" y="78"/>
                    </a:lnTo>
                    <a:lnTo>
                      <a:pt x="326" y="78"/>
                    </a:lnTo>
                    <a:lnTo>
                      <a:pt x="324" y="78"/>
                    </a:lnTo>
                    <a:lnTo>
                      <a:pt x="324" y="80"/>
                    </a:lnTo>
                    <a:lnTo>
                      <a:pt x="324" y="80"/>
                    </a:lnTo>
                    <a:lnTo>
                      <a:pt x="324" y="80"/>
                    </a:lnTo>
                    <a:lnTo>
                      <a:pt x="324" y="82"/>
                    </a:lnTo>
                    <a:lnTo>
                      <a:pt x="324" y="82"/>
                    </a:lnTo>
                    <a:lnTo>
                      <a:pt x="322" y="82"/>
                    </a:lnTo>
                    <a:lnTo>
                      <a:pt x="322" y="82"/>
                    </a:lnTo>
                    <a:lnTo>
                      <a:pt x="320" y="80"/>
                    </a:lnTo>
                    <a:lnTo>
                      <a:pt x="320" y="78"/>
                    </a:lnTo>
                    <a:lnTo>
                      <a:pt x="318" y="76"/>
                    </a:lnTo>
                    <a:lnTo>
                      <a:pt x="318" y="76"/>
                    </a:lnTo>
                    <a:lnTo>
                      <a:pt x="316" y="76"/>
                    </a:lnTo>
                    <a:lnTo>
                      <a:pt x="314" y="74"/>
                    </a:lnTo>
                    <a:lnTo>
                      <a:pt x="314" y="74"/>
                    </a:lnTo>
                    <a:lnTo>
                      <a:pt x="312" y="76"/>
                    </a:lnTo>
                    <a:lnTo>
                      <a:pt x="312" y="76"/>
                    </a:lnTo>
                    <a:lnTo>
                      <a:pt x="312" y="76"/>
                    </a:lnTo>
                    <a:lnTo>
                      <a:pt x="312" y="76"/>
                    </a:lnTo>
                    <a:lnTo>
                      <a:pt x="312" y="80"/>
                    </a:lnTo>
                    <a:lnTo>
                      <a:pt x="312" y="82"/>
                    </a:lnTo>
                    <a:lnTo>
                      <a:pt x="312" y="82"/>
                    </a:lnTo>
                    <a:lnTo>
                      <a:pt x="312" y="82"/>
                    </a:lnTo>
                    <a:lnTo>
                      <a:pt x="312" y="82"/>
                    </a:lnTo>
                    <a:lnTo>
                      <a:pt x="310" y="82"/>
                    </a:lnTo>
                    <a:lnTo>
                      <a:pt x="310" y="82"/>
                    </a:lnTo>
                    <a:lnTo>
                      <a:pt x="308" y="84"/>
                    </a:lnTo>
                    <a:lnTo>
                      <a:pt x="308" y="84"/>
                    </a:lnTo>
                    <a:lnTo>
                      <a:pt x="308" y="84"/>
                    </a:lnTo>
                    <a:lnTo>
                      <a:pt x="308" y="84"/>
                    </a:lnTo>
                    <a:lnTo>
                      <a:pt x="308" y="86"/>
                    </a:lnTo>
                    <a:lnTo>
                      <a:pt x="308" y="86"/>
                    </a:lnTo>
                    <a:lnTo>
                      <a:pt x="308" y="88"/>
                    </a:lnTo>
                    <a:lnTo>
                      <a:pt x="306" y="88"/>
                    </a:lnTo>
                    <a:lnTo>
                      <a:pt x="304" y="88"/>
                    </a:lnTo>
                    <a:lnTo>
                      <a:pt x="304" y="88"/>
                    </a:lnTo>
                    <a:lnTo>
                      <a:pt x="304" y="88"/>
                    </a:lnTo>
                    <a:lnTo>
                      <a:pt x="304" y="88"/>
                    </a:lnTo>
                    <a:lnTo>
                      <a:pt x="304" y="86"/>
                    </a:lnTo>
                    <a:lnTo>
                      <a:pt x="304" y="86"/>
                    </a:lnTo>
                    <a:lnTo>
                      <a:pt x="304" y="86"/>
                    </a:lnTo>
                    <a:lnTo>
                      <a:pt x="304" y="84"/>
                    </a:lnTo>
                    <a:lnTo>
                      <a:pt x="304" y="82"/>
                    </a:lnTo>
                    <a:lnTo>
                      <a:pt x="304" y="82"/>
                    </a:lnTo>
                    <a:lnTo>
                      <a:pt x="306" y="78"/>
                    </a:lnTo>
                    <a:lnTo>
                      <a:pt x="306" y="78"/>
                    </a:lnTo>
                    <a:lnTo>
                      <a:pt x="308" y="76"/>
                    </a:lnTo>
                    <a:lnTo>
                      <a:pt x="310" y="74"/>
                    </a:lnTo>
                    <a:lnTo>
                      <a:pt x="310" y="72"/>
                    </a:lnTo>
                    <a:lnTo>
                      <a:pt x="310" y="72"/>
                    </a:lnTo>
                    <a:lnTo>
                      <a:pt x="310" y="72"/>
                    </a:lnTo>
                    <a:lnTo>
                      <a:pt x="310" y="70"/>
                    </a:lnTo>
                    <a:lnTo>
                      <a:pt x="308" y="66"/>
                    </a:lnTo>
                    <a:lnTo>
                      <a:pt x="308" y="66"/>
                    </a:lnTo>
                    <a:lnTo>
                      <a:pt x="306" y="64"/>
                    </a:lnTo>
                    <a:lnTo>
                      <a:pt x="304" y="64"/>
                    </a:lnTo>
                    <a:lnTo>
                      <a:pt x="302" y="62"/>
                    </a:lnTo>
                    <a:lnTo>
                      <a:pt x="302" y="62"/>
                    </a:lnTo>
                    <a:lnTo>
                      <a:pt x="302" y="60"/>
                    </a:lnTo>
                    <a:lnTo>
                      <a:pt x="300" y="58"/>
                    </a:lnTo>
                    <a:lnTo>
                      <a:pt x="300" y="56"/>
                    </a:lnTo>
                    <a:lnTo>
                      <a:pt x="300" y="56"/>
                    </a:lnTo>
                    <a:lnTo>
                      <a:pt x="300" y="54"/>
                    </a:lnTo>
                    <a:lnTo>
                      <a:pt x="298" y="54"/>
                    </a:lnTo>
                    <a:lnTo>
                      <a:pt x="300" y="52"/>
                    </a:lnTo>
                    <a:lnTo>
                      <a:pt x="300" y="52"/>
                    </a:lnTo>
                    <a:lnTo>
                      <a:pt x="300" y="52"/>
                    </a:lnTo>
                    <a:lnTo>
                      <a:pt x="300" y="52"/>
                    </a:lnTo>
                    <a:lnTo>
                      <a:pt x="300" y="50"/>
                    </a:lnTo>
                    <a:lnTo>
                      <a:pt x="300" y="50"/>
                    </a:lnTo>
                    <a:lnTo>
                      <a:pt x="300" y="48"/>
                    </a:lnTo>
                    <a:lnTo>
                      <a:pt x="298" y="48"/>
                    </a:lnTo>
                    <a:lnTo>
                      <a:pt x="298" y="46"/>
                    </a:lnTo>
                    <a:lnTo>
                      <a:pt x="296" y="46"/>
                    </a:lnTo>
                    <a:lnTo>
                      <a:pt x="296" y="46"/>
                    </a:lnTo>
                    <a:lnTo>
                      <a:pt x="294" y="44"/>
                    </a:lnTo>
                    <a:lnTo>
                      <a:pt x="292" y="44"/>
                    </a:lnTo>
                    <a:lnTo>
                      <a:pt x="292" y="44"/>
                    </a:lnTo>
                    <a:lnTo>
                      <a:pt x="290" y="46"/>
                    </a:lnTo>
                    <a:lnTo>
                      <a:pt x="290" y="46"/>
                    </a:lnTo>
                    <a:lnTo>
                      <a:pt x="288" y="46"/>
                    </a:lnTo>
                    <a:lnTo>
                      <a:pt x="288" y="46"/>
                    </a:lnTo>
                    <a:lnTo>
                      <a:pt x="288" y="48"/>
                    </a:lnTo>
                    <a:lnTo>
                      <a:pt x="288" y="48"/>
                    </a:lnTo>
                    <a:lnTo>
                      <a:pt x="288" y="48"/>
                    </a:lnTo>
                    <a:lnTo>
                      <a:pt x="288" y="48"/>
                    </a:lnTo>
                    <a:lnTo>
                      <a:pt x="288" y="50"/>
                    </a:lnTo>
                    <a:lnTo>
                      <a:pt x="290" y="50"/>
                    </a:lnTo>
                    <a:lnTo>
                      <a:pt x="290" y="50"/>
                    </a:lnTo>
                    <a:lnTo>
                      <a:pt x="290" y="52"/>
                    </a:lnTo>
                    <a:lnTo>
                      <a:pt x="288" y="52"/>
                    </a:lnTo>
                    <a:lnTo>
                      <a:pt x="286" y="52"/>
                    </a:lnTo>
                    <a:lnTo>
                      <a:pt x="286" y="52"/>
                    </a:lnTo>
                    <a:lnTo>
                      <a:pt x="286" y="50"/>
                    </a:lnTo>
                    <a:lnTo>
                      <a:pt x="284" y="52"/>
                    </a:lnTo>
                    <a:lnTo>
                      <a:pt x="284" y="52"/>
                    </a:lnTo>
                    <a:lnTo>
                      <a:pt x="282" y="52"/>
                    </a:lnTo>
                    <a:lnTo>
                      <a:pt x="282" y="52"/>
                    </a:lnTo>
                    <a:lnTo>
                      <a:pt x="282" y="52"/>
                    </a:lnTo>
                    <a:lnTo>
                      <a:pt x="282" y="52"/>
                    </a:lnTo>
                    <a:lnTo>
                      <a:pt x="282" y="54"/>
                    </a:lnTo>
                    <a:lnTo>
                      <a:pt x="282" y="56"/>
                    </a:lnTo>
                    <a:lnTo>
                      <a:pt x="282" y="56"/>
                    </a:lnTo>
                    <a:lnTo>
                      <a:pt x="282" y="56"/>
                    </a:lnTo>
                    <a:lnTo>
                      <a:pt x="282" y="56"/>
                    </a:lnTo>
                    <a:lnTo>
                      <a:pt x="280" y="56"/>
                    </a:lnTo>
                    <a:lnTo>
                      <a:pt x="280" y="54"/>
                    </a:lnTo>
                    <a:lnTo>
                      <a:pt x="280" y="54"/>
                    </a:lnTo>
                    <a:lnTo>
                      <a:pt x="278" y="56"/>
                    </a:lnTo>
                    <a:lnTo>
                      <a:pt x="278" y="56"/>
                    </a:lnTo>
                    <a:lnTo>
                      <a:pt x="278" y="56"/>
                    </a:lnTo>
                    <a:lnTo>
                      <a:pt x="276" y="58"/>
                    </a:lnTo>
                    <a:lnTo>
                      <a:pt x="276" y="58"/>
                    </a:lnTo>
                    <a:lnTo>
                      <a:pt x="276" y="60"/>
                    </a:lnTo>
                    <a:lnTo>
                      <a:pt x="276" y="60"/>
                    </a:lnTo>
                    <a:lnTo>
                      <a:pt x="276" y="62"/>
                    </a:lnTo>
                    <a:lnTo>
                      <a:pt x="276" y="64"/>
                    </a:lnTo>
                    <a:lnTo>
                      <a:pt x="274" y="68"/>
                    </a:lnTo>
                    <a:lnTo>
                      <a:pt x="274" y="68"/>
                    </a:lnTo>
                    <a:lnTo>
                      <a:pt x="272" y="70"/>
                    </a:lnTo>
                    <a:lnTo>
                      <a:pt x="272" y="70"/>
                    </a:lnTo>
                    <a:lnTo>
                      <a:pt x="270" y="70"/>
                    </a:lnTo>
                    <a:lnTo>
                      <a:pt x="270" y="70"/>
                    </a:lnTo>
                    <a:lnTo>
                      <a:pt x="270" y="70"/>
                    </a:lnTo>
                    <a:lnTo>
                      <a:pt x="270" y="68"/>
                    </a:lnTo>
                    <a:lnTo>
                      <a:pt x="272" y="66"/>
                    </a:lnTo>
                    <a:lnTo>
                      <a:pt x="272" y="64"/>
                    </a:lnTo>
                    <a:lnTo>
                      <a:pt x="272" y="62"/>
                    </a:lnTo>
                    <a:lnTo>
                      <a:pt x="272" y="62"/>
                    </a:lnTo>
                    <a:lnTo>
                      <a:pt x="272" y="62"/>
                    </a:lnTo>
                    <a:lnTo>
                      <a:pt x="272" y="62"/>
                    </a:lnTo>
                    <a:lnTo>
                      <a:pt x="270" y="62"/>
                    </a:lnTo>
                    <a:lnTo>
                      <a:pt x="268" y="64"/>
                    </a:lnTo>
                    <a:lnTo>
                      <a:pt x="268" y="66"/>
                    </a:lnTo>
                    <a:lnTo>
                      <a:pt x="268" y="66"/>
                    </a:lnTo>
                    <a:lnTo>
                      <a:pt x="266" y="66"/>
                    </a:lnTo>
                    <a:lnTo>
                      <a:pt x="266" y="68"/>
                    </a:lnTo>
                    <a:lnTo>
                      <a:pt x="266" y="68"/>
                    </a:lnTo>
                    <a:lnTo>
                      <a:pt x="264" y="68"/>
                    </a:lnTo>
                    <a:lnTo>
                      <a:pt x="262" y="68"/>
                    </a:lnTo>
                    <a:lnTo>
                      <a:pt x="262" y="68"/>
                    </a:lnTo>
                    <a:lnTo>
                      <a:pt x="260" y="68"/>
                    </a:lnTo>
                    <a:lnTo>
                      <a:pt x="260" y="68"/>
                    </a:lnTo>
                    <a:lnTo>
                      <a:pt x="260" y="70"/>
                    </a:lnTo>
                    <a:lnTo>
                      <a:pt x="258" y="70"/>
                    </a:lnTo>
                    <a:lnTo>
                      <a:pt x="258" y="70"/>
                    </a:lnTo>
                    <a:lnTo>
                      <a:pt x="258" y="72"/>
                    </a:lnTo>
                    <a:lnTo>
                      <a:pt x="258" y="74"/>
                    </a:lnTo>
                    <a:lnTo>
                      <a:pt x="260" y="78"/>
                    </a:lnTo>
                    <a:lnTo>
                      <a:pt x="260" y="78"/>
                    </a:lnTo>
                    <a:lnTo>
                      <a:pt x="260" y="80"/>
                    </a:lnTo>
                    <a:lnTo>
                      <a:pt x="260" y="82"/>
                    </a:lnTo>
                    <a:lnTo>
                      <a:pt x="260" y="82"/>
                    </a:lnTo>
                    <a:lnTo>
                      <a:pt x="260" y="84"/>
                    </a:lnTo>
                    <a:lnTo>
                      <a:pt x="260" y="84"/>
                    </a:lnTo>
                    <a:lnTo>
                      <a:pt x="258" y="84"/>
                    </a:lnTo>
                    <a:lnTo>
                      <a:pt x="258" y="84"/>
                    </a:lnTo>
                    <a:lnTo>
                      <a:pt x="258" y="82"/>
                    </a:lnTo>
                    <a:lnTo>
                      <a:pt x="256" y="82"/>
                    </a:lnTo>
                    <a:lnTo>
                      <a:pt x="256" y="80"/>
                    </a:lnTo>
                    <a:lnTo>
                      <a:pt x="256" y="76"/>
                    </a:lnTo>
                    <a:lnTo>
                      <a:pt x="254" y="76"/>
                    </a:lnTo>
                    <a:lnTo>
                      <a:pt x="254" y="76"/>
                    </a:lnTo>
                    <a:lnTo>
                      <a:pt x="254" y="74"/>
                    </a:lnTo>
                    <a:lnTo>
                      <a:pt x="252" y="74"/>
                    </a:lnTo>
                    <a:lnTo>
                      <a:pt x="252" y="74"/>
                    </a:lnTo>
                    <a:lnTo>
                      <a:pt x="252" y="76"/>
                    </a:lnTo>
                    <a:lnTo>
                      <a:pt x="252" y="76"/>
                    </a:lnTo>
                    <a:lnTo>
                      <a:pt x="250" y="78"/>
                    </a:lnTo>
                    <a:lnTo>
                      <a:pt x="250" y="78"/>
                    </a:lnTo>
                    <a:lnTo>
                      <a:pt x="248" y="80"/>
                    </a:lnTo>
                    <a:lnTo>
                      <a:pt x="248" y="82"/>
                    </a:lnTo>
                    <a:lnTo>
                      <a:pt x="248" y="82"/>
                    </a:lnTo>
                    <a:lnTo>
                      <a:pt x="246" y="82"/>
                    </a:lnTo>
                    <a:lnTo>
                      <a:pt x="246" y="84"/>
                    </a:lnTo>
                    <a:lnTo>
                      <a:pt x="246" y="84"/>
                    </a:lnTo>
                    <a:lnTo>
                      <a:pt x="246" y="84"/>
                    </a:lnTo>
                    <a:lnTo>
                      <a:pt x="246" y="86"/>
                    </a:lnTo>
                    <a:lnTo>
                      <a:pt x="246" y="88"/>
                    </a:lnTo>
                    <a:lnTo>
                      <a:pt x="246" y="88"/>
                    </a:lnTo>
                    <a:lnTo>
                      <a:pt x="246" y="90"/>
                    </a:lnTo>
                    <a:lnTo>
                      <a:pt x="248" y="92"/>
                    </a:lnTo>
                    <a:lnTo>
                      <a:pt x="248" y="92"/>
                    </a:lnTo>
                    <a:lnTo>
                      <a:pt x="248" y="92"/>
                    </a:lnTo>
                    <a:lnTo>
                      <a:pt x="250" y="92"/>
                    </a:lnTo>
                    <a:lnTo>
                      <a:pt x="252" y="94"/>
                    </a:lnTo>
                    <a:lnTo>
                      <a:pt x="254" y="94"/>
                    </a:lnTo>
                    <a:lnTo>
                      <a:pt x="254" y="94"/>
                    </a:lnTo>
                    <a:lnTo>
                      <a:pt x="254" y="94"/>
                    </a:lnTo>
                    <a:lnTo>
                      <a:pt x="254" y="94"/>
                    </a:lnTo>
                    <a:lnTo>
                      <a:pt x="254" y="96"/>
                    </a:lnTo>
                    <a:lnTo>
                      <a:pt x="254" y="96"/>
                    </a:lnTo>
                    <a:lnTo>
                      <a:pt x="252" y="96"/>
                    </a:lnTo>
                    <a:lnTo>
                      <a:pt x="250" y="98"/>
                    </a:lnTo>
                    <a:lnTo>
                      <a:pt x="248" y="98"/>
                    </a:lnTo>
                    <a:lnTo>
                      <a:pt x="248" y="98"/>
                    </a:lnTo>
                    <a:lnTo>
                      <a:pt x="246" y="98"/>
                    </a:lnTo>
                    <a:lnTo>
                      <a:pt x="244" y="98"/>
                    </a:lnTo>
                    <a:lnTo>
                      <a:pt x="244" y="98"/>
                    </a:lnTo>
                    <a:lnTo>
                      <a:pt x="240" y="98"/>
                    </a:lnTo>
                    <a:lnTo>
                      <a:pt x="240" y="98"/>
                    </a:lnTo>
                    <a:lnTo>
                      <a:pt x="238" y="98"/>
                    </a:lnTo>
                    <a:lnTo>
                      <a:pt x="238" y="98"/>
                    </a:lnTo>
                    <a:lnTo>
                      <a:pt x="236" y="96"/>
                    </a:lnTo>
                    <a:lnTo>
                      <a:pt x="234" y="94"/>
                    </a:lnTo>
                    <a:lnTo>
                      <a:pt x="232" y="92"/>
                    </a:lnTo>
                    <a:lnTo>
                      <a:pt x="232" y="92"/>
                    </a:lnTo>
                    <a:lnTo>
                      <a:pt x="232" y="92"/>
                    </a:lnTo>
                    <a:lnTo>
                      <a:pt x="232" y="92"/>
                    </a:lnTo>
                    <a:lnTo>
                      <a:pt x="230" y="94"/>
                    </a:lnTo>
                    <a:lnTo>
                      <a:pt x="228" y="96"/>
                    </a:lnTo>
                    <a:lnTo>
                      <a:pt x="228" y="98"/>
                    </a:lnTo>
                    <a:lnTo>
                      <a:pt x="228" y="98"/>
                    </a:lnTo>
                    <a:lnTo>
                      <a:pt x="228" y="100"/>
                    </a:lnTo>
                    <a:lnTo>
                      <a:pt x="230" y="100"/>
                    </a:lnTo>
                    <a:lnTo>
                      <a:pt x="230" y="102"/>
                    </a:lnTo>
                    <a:lnTo>
                      <a:pt x="232" y="104"/>
                    </a:lnTo>
                    <a:lnTo>
                      <a:pt x="232" y="104"/>
                    </a:lnTo>
                    <a:lnTo>
                      <a:pt x="232" y="106"/>
                    </a:lnTo>
                    <a:lnTo>
                      <a:pt x="232" y="108"/>
                    </a:lnTo>
                    <a:lnTo>
                      <a:pt x="230" y="112"/>
                    </a:lnTo>
                    <a:lnTo>
                      <a:pt x="230" y="112"/>
                    </a:lnTo>
                    <a:lnTo>
                      <a:pt x="230" y="116"/>
                    </a:lnTo>
                    <a:lnTo>
                      <a:pt x="230" y="118"/>
                    </a:lnTo>
                    <a:lnTo>
                      <a:pt x="228" y="122"/>
                    </a:lnTo>
                    <a:lnTo>
                      <a:pt x="228" y="122"/>
                    </a:lnTo>
                    <a:lnTo>
                      <a:pt x="230" y="124"/>
                    </a:lnTo>
                    <a:lnTo>
                      <a:pt x="228" y="126"/>
                    </a:lnTo>
                    <a:lnTo>
                      <a:pt x="228" y="126"/>
                    </a:lnTo>
                    <a:lnTo>
                      <a:pt x="228" y="126"/>
                    </a:lnTo>
                    <a:lnTo>
                      <a:pt x="228" y="126"/>
                    </a:lnTo>
                    <a:lnTo>
                      <a:pt x="228" y="126"/>
                    </a:lnTo>
                    <a:lnTo>
                      <a:pt x="228" y="126"/>
                    </a:lnTo>
                    <a:lnTo>
                      <a:pt x="228" y="126"/>
                    </a:lnTo>
                    <a:lnTo>
                      <a:pt x="228" y="124"/>
                    </a:lnTo>
                    <a:lnTo>
                      <a:pt x="228" y="124"/>
                    </a:lnTo>
                    <a:lnTo>
                      <a:pt x="228" y="124"/>
                    </a:lnTo>
                    <a:lnTo>
                      <a:pt x="228" y="120"/>
                    </a:lnTo>
                    <a:lnTo>
                      <a:pt x="226" y="118"/>
                    </a:lnTo>
                    <a:lnTo>
                      <a:pt x="226" y="118"/>
                    </a:lnTo>
                    <a:lnTo>
                      <a:pt x="226" y="114"/>
                    </a:lnTo>
                    <a:lnTo>
                      <a:pt x="224" y="110"/>
                    </a:lnTo>
                    <a:lnTo>
                      <a:pt x="224" y="110"/>
                    </a:lnTo>
                    <a:lnTo>
                      <a:pt x="224" y="108"/>
                    </a:lnTo>
                    <a:lnTo>
                      <a:pt x="224" y="106"/>
                    </a:lnTo>
                    <a:lnTo>
                      <a:pt x="222" y="104"/>
                    </a:lnTo>
                    <a:lnTo>
                      <a:pt x="222" y="102"/>
                    </a:lnTo>
                    <a:lnTo>
                      <a:pt x="222" y="102"/>
                    </a:lnTo>
                    <a:lnTo>
                      <a:pt x="222" y="102"/>
                    </a:lnTo>
                    <a:lnTo>
                      <a:pt x="224" y="100"/>
                    </a:lnTo>
                    <a:lnTo>
                      <a:pt x="224" y="98"/>
                    </a:lnTo>
                    <a:lnTo>
                      <a:pt x="224" y="98"/>
                    </a:lnTo>
                    <a:lnTo>
                      <a:pt x="224" y="96"/>
                    </a:lnTo>
                    <a:lnTo>
                      <a:pt x="224" y="96"/>
                    </a:lnTo>
                    <a:lnTo>
                      <a:pt x="222" y="96"/>
                    </a:lnTo>
                    <a:lnTo>
                      <a:pt x="220" y="94"/>
                    </a:lnTo>
                    <a:lnTo>
                      <a:pt x="218" y="96"/>
                    </a:lnTo>
                    <a:lnTo>
                      <a:pt x="218" y="96"/>
                    </a:lnTo>
                    <a:lnTo>
                      <a:pt x="216" y="96"/>
                    </a:lnTo>
                    <a:lnTo>
                      <a:pt x="216" y="96"/>
                    </a:lnTo>
                    <a:lnTo>
                      <a:pt x="216" y="98"/>
                    </a:lnTo>
                    <a:lnTo>
                      <a:pt x="216" y="100"/>
                    </a:lnTo>
                    <a:lnTo>
                      <a:pt x="214" y="100"/>
                    </a:lnTo>
                    <a:lnTo>
                      <a:pt x="214" y="102"/>
                    </a:lnTo>
                    <a:lnTo>
                      <a:pt x="214" y="102"/>
                    </a:lnTo>
                    <a:lnTo>
                      <a:pt x="212" y="102"/>
                    </a:lnTo>
                    <a:lnTo>
                      <a:pt x="212" y="104"/>
                    </a:lnTo>
                    <a:lnTo>
                      <a:pt x="212" y="104"/>
                    </a:lnTo>
                    <a:lnTo>
                      <a:pt x="208" y="106"/>
                    </a:lnTo>
                    <a:lnTo>
                      <a:pt x="208" y="106"/>
                    </a:lnTo>
                    <a:lnTo>
                      <a:pt x="206" y="110"/>
                    </a:lnTo>
                    <a:lnTo>
                      <a:pt x="204" y="114"/>
                    </a:lnTo>
                    <a:lnTo>
                      <a:pt x="204" y="114"/>
                    </a:lnTo>
                    <a:lnTo>
                      <a:pt x="202" y="116"/>
                    </a:lnTo>
                    <a:lnTo>
                      <a:pt x="202" y="118"/>
                    </a:lnTo>
                    <a:lnTo>
                      <a:pt x="200" y="120"/>
                    </a:lnTo>
                    <a:lnTo>
                      <a:pt x="200" y="120"/>
                    </a:lnTo>
                    <a:lnTo>
                      <a:pt x="200" y="124"/>
                    </a:lnTo>
                    <a:lnTo>
                      <a:pt x="200" y="126"/>
                    </a:lnTo>
                    <a:lnTo>
                      <a:pt x="200" y="126"/>
                    </a:lnTo>
                    <a:lnTo>
                      <a:pt x="200" y="128"/>
                    </a:lnTo>
                    <a:lnTo>
                      <a:pt x="202" y="130"/>
                    </a:lnTo>
                    <a:lnTo>
                      <a:pt x="202" y="132"/>
                    </a:lnTo>
                    <a:lnTo>
                      <a:pt x="202" y="136"/>
                    </a:lnTo>
                    <a:lnTo>
                      <a:pt x="202" y="136"/>
                    </a:lnTo>
                    <a:lnTo>
                      <a:pt x="202" y="138"/>
                    </a:lnTo>
                    <a:lnTo>
                      <a:pt x="202" y="138"/>
                    </a:lnTo>
                    <a:lnTo>
                      <a:pt x="202" y="138"/>
                    </a:lnTo>
                    <a:lnTo>
                      <a:pt x="202" y="138"/>
                    </a:lnTo>
                    <a:lnTo>
                      <a:pt x="196" y="142"/>
                    </a:lnTo>
                    <a:lnTo>
                      <a:pt x="196" y="142"/>
                    </a:lnTo>
                    <a:lnTo>
                      <a:pt x="192" y="144"/>
                    </a:lnTo>
                    <a:lnTo>
                      <a:pt x="190" y="144"/>
                    </a:lnTo>
                    <a:lnTo>
                      <a:pt x="188" y="146"/>
                    </a:lnTo>
                    <a:lnTo>
                      <a:pt x="188" y="146"/>
                    </a:lnTo>
                    <a:lnTo>
                      <a:pt x="188" y="148"/>
                    </a:lnTo>
                    <a:lnTo>
                      <a:pt x="186" y="150"/>
                    </a:lnTo>
                    <a:lnTo>
                      <a:pt x="186" y="150"/>
                    </a:lnTo>
                    <a:lnTo>
                      <a:pt x="180" y="156"/>
                    </a:lnTo>
                    <a:lnTo>
                      <a:pt x="178" y="158"/>
                    </a:lnTo>
                    <a:lnTo>
                      <a:pt x="174" y="160"/>
                    </a:lnTo>
                    <a:lnTo>
                      <a:pt x="174" y="160"/>
                    </a:lnTo>
                    <a:lnTo>
                      <a:pt x="172" y="160"/>
                    </a:lnTo>
                    <a:lnTo>
                      <a:pt x="170" y="162"/>
                    </a:lnTo>
                    <a:lnTo>
                      <a:pt x="168" y="162"/>
                    </a:lnTo>
                    <a:lnTo>
                      <a:pt x="166" y="162"/>
                    </a:lnTo>
                    <a:lnTo>
                      <a:pt x="166" y="162"/>
                    </a:lnTo>
                    <a:lnTo>
                      <a:pt x="160" y="164"/>
                    </a:lnTo>
                    <a:lnTo>
                      <a:pt x="158" y="164"/>
                    </a:lnTo>
                    <a:lnTo>
                      <a:pt x="156" y="162"/>
                    </a:lnTo>
                    <a:lnTo>
                      <a:pt x="156" y="162"/>
                    </a:lnTo>
                    <a:lnTo>
                      <a:pt x="152" y="162"/>
                    </a:lnTo>
                    <a:lnTo>
                      <a:pt x="146" y="160"/>
                    </a:lnTo>
                    <a:lnTo>
                      <a:pt x="146" y="160"/>
                    </a:lnTo>
                    <a:lnTo>
                      <a:pt x="144" y="160"/>
                    </a:lnTo>
                    <a:lnTo>
                      <a:pt x="142" y="160"/>
                    </a:lnTo>
                    <a:lnTo>
                      <a:pt x="140" y="160"/>
                    </a:lnTo>
                    <a:lnTo>
                      <a:pt x="138" y="162"/>
                    </a:lnTo>
                    <a:lnTo>
                      <a:pt x="138" y="162"/>
                    </a:lnTo>
                    <a:lnTo>
                      <a:pt x="136" y="162"/>
                    </a:lnTo>
                    <a:lnTo>
                      <a:pt x="134" y="164"/>
                    </a:lnTo>
                    <a:lnTo>
                      <a:pt x="132" y="164"/>
                    </a:lnTo>
                    <a:lnTo>
                      <a:pt x="130" y="164"/>
                    </a:lnTo>
                    <a:lnTo>
                      <a:pt x="130" y="164"/>
                    </a:lnTo>
                    <a:lnTo>
                      <a:pt x="124" y="164"/>
                    </a:lnTo>
                    <a:lnTo>
                      <a:pt x="122" y="166"/>
                    </a:lnTo>
                    <a:lnTo>
                      <a:pt x="120" y="166"/>
                    </a:lnTo>
                    <a:lnTo>
                      <a:pt x="120" y="166"/>
                    </a:lnTo>
                    <a:lnTo>
                      <a:pt x="120" y="166"/>
                    </a:lnTo>
                    <a:lnTo>
                      <a:pt x="118" y="166"/>
                    </a:lnTo>
                    <a:lnTo>
                      <a:pt x="118" y="168"/>
                    </a:lnTo>
                    <a:lnTo>
                      <a:pt x="116" y="168"/>
                    </a:lnTo>
                    <a:lnTo>
                      <a:pt x="112" y="168"/>
                    </a:lnTo>
                    <a:lnTo>
                      <a:pt x="112" y="170"/>
                    </a:lnTo>
                    <a:lnTo>
                      <a:pt x="112" y="170"/>
                    </a:lnTo>
                    <a:lnTo>
                      <a:pt x="112" y="170"/>
                    </a:lnTo>
                    <a:lnTo>
                      <a:pt x="110" y="172"/>
                    </a:lnTo>
                    <a:lnTo>
                      <a:pt x="110" y="172"/>
                    </a:lnTo>
                    <a:lnTo>
                      <a:pt x="108" y="172"/>
                    </a:lnTo>
                    <a:lnTo>
                      <a:pt x="108" y="172"/>
                    </a:lnTo>
                    <a:lnTo>
                      <a:pt x="108" y="172"/>
                    </a:lnTo>
                    <a:lnTo>
                      <a:pt x="106" y="172"/>
                    </a:lnTo>
                    <a:lnTo>
                      <a:pt x="104" y="172"/>
                    </a:lnTo>
                    <a:lnTo>
                      <a:pt x="104" y="172"/>
                    </a:lnTo>
                    <a:lnTo>
                      <a:pt x="102" y="172"/>
                    </a:lnTo>
                    <a:lnTo>
                      <a:pt x="98" y="174"/>
                    </a:lnTo>
                    <a:lnTo>
                      <a:pt x="96" y="174"/>
                    </a:lnTo>
                    <a:lnTo>
                      <a:pt x="92" y="176"/>
                    </a:lnTo>
                    <a:lnTo>
                      <a:pt x="92" y="176"/>
                    </a:lnTo>
                    <a:lnTo>
                      <a:pt x="88" y="178"/>
                    </a:lnTo>
                    <a:lnTo>
                      <a:pt x="86" y="182"/>
                    </a:lnTo>
                    <a:lnTo>
                      <a:pt x="86" y="182"/>
                    </a:lnTo>
                    <a:lnTo>
                      <a:pt x="84" y="184"/>
                    </a:lnTo>
                    <a:lnTo>
                      <a:pt x="82" y="184"/>
                    </a:lnTo>
                    <a:lnTo>
                      <a:pt x="78" y="186"/>
                    </a:lnTo>
                    <a:lnTo>
                      <a:pt x="76" y="186"/>
                    </a:lnTo>
                    <a:lnTo>
                      <a:pt x="76" y="186"/>
                    </a:lnTo>
                    <a:lnTo>
                      <a:pt x="76" y="186"/>
                    </a:lnTo>
                    <a:lnTo>
                      <a:pt x="74" y="188"/>
                    </a:lnTo>
                    <a:lnTo>
                      <a:pt x="70" y="190"/>
                    </a:lnTo>
                    <a:lnTo>
                      <a:pt x="70" y="190"/>
                    </a:lnTo>
                    <a:lnTo>
                      <a:pt x="68" y="192"/>
                    </a:lnTo>
                    <a:lnTo>
                      <a:pt x="64" y="194"/>
                    </a:lnTo>
                    <a:lnTo>
                      <a:pt x="64" y="194"/>
                    </a:lnTo>
                    <a:lnTo>
                      <a:pt x="62" y="196"/>
                    </a:lnTo>
                    <a:lnTo>
                      <a:pt x="62" y="196"/>
                    </a:lnTo>
                    <a:lnTo>
                      <a:pt x="62" y="200"/>
                    </a:lnTo>
                    <a:lnTo>
                      <a:pt x="60" y="204"/>
                    </a:lnTo>
                    <a:lnTo>
                      <a:pt x="58" y="204"/>
                    </a:lnTo>
                    <a:lnTo>
                      <a:pt x="58" y="206"/>
                    </a:lnTo>
                    <a:lnTo>
                      <a:pt x="58" y="206"/>
                    </a:lnTo>
                    <a:lnTo>
                      <a:pt x="58" y="204"/>
                    </a:lnTo>
                    <a:lnTo>
                      <a:pt x="58" y="202"/>
                    </a:lnTo>
                    <a:lnTo>
                      <a:pt x="60" y="196"/>
                    </a:lnTo>
                    <a:lnTo>
                      <a:pt x="60" y="194"/>
                    </a:lnTo>
                    <a:lnTo>
                      <a:pt x="62" y="192"/>
                    </a:lnTo>
                    <a:lnTo>
                      <a:pt x="62" y="190"/>
                    </a:lnTo>
                    <a:lnTo>
                      <a:pt x="62" y="190"/>
                    </a:lnTo>
                    <a:lnTo>
                      <a:pt x="60" y="190"/>
                    </a:lnTo>
                    <a:lnTo>
                      <a:pt x="60" y="190"/>
                    </a:lnTo>
                    <a:lnTo>
                      <a:pt x="58" y="190"/>
                    </a:lnTo>
                    <a:lnTo>
                      <a:pt x="58" y="192"/>
                    </a:lnTo>
                    <a:lnTo>
                      <a:pt x="56" y="194"/>
                    </a:lnTo>
                    <a:lnTo>
                      <a:pt x="54" y="196"/>
                    </a:lnTo>
                    <a:lnTo>
                      <a:pt x="54" y="196"/>
                    </a:lnTo>
                    <a:lnTo>
                      <a:pt x="54" y="196"/>
                    </a:lnTo>
                    <a:lnTo>
                      <a:pt x="54" y="198"/>
                    </a:lnTo>
                    <a:lnTo>
                      <a:pt x="54" y="200"/>
                    </a:lnTo>
                    <a:lnTo>
                      <a:pt x="54" y="202"/>
                    </a:lnTo>
                    <a:lnTo>
                      <a:pt x="54" y="202"/>
                    </a:lnTo>
                    <a:lnTo>
                      <a:pt x="54" y="202"/>
                    </a:lnTo>
                    <a:lnTo>
                      <a:pt x="52" y="204"/>
                    </a:lnTo>
                    <a:lnTo>
                      <a:pt x="50" y="206"/>
                    </a:lnTo>
                    <a:lnTo>
                      <a:pt x="50" y="206"/>
                    </a:lnTo>
                    <a:lnTo>
                      <a:pt x="46" y="210"/>
                    </a:lnTo>
                    <a:lnTo>
                      <a:pt x="46" y="212"/>
                    </a:lnTo>
                    <a:lnTo>
                      <a:pt x="44" y="216"/>
                    </a:lnTo>
                    <a:lnTo>
                      <a:pt x="44" y="216"/>
                    </a:lnTo>
                    <a:lnTo>
                      <a:pt x="44" y="218"/>
                    </a:lnTo>
                    <a:lnTo>
                      <a:pt x="44" y="220"/>
                    </a:lnTo>
                    <a:lnTo>
                      <a:pt x="44" y="220"/>
                    </a:lnTo>
                    <a:lnTo>
                      <a:pt x="44" y="224"/>
                    </a:lnTo>
                    <a:lnTo>
                      <a:pt x="44" y="224"/>
                    </a:lnTo>
                    <a:lnTo>
                      <a:pt x="44" y="226"/>
                    </a:lnTo>
                    <a:lnTo>
                      <a:pt x="44" y="228"/>
                    </a:lnTo>
                    <a:lnTo>
                      <a:pt x="44" y="228"/>
                    </a:lnTo>
                    <a:lnTo>
                      <a:pt x="44" y="230"/>
                    </a:lnTo>
                    <a:lnTo>
                      <a:pt x="44" y="230"/>
                    </a:lnTo>
                    <a:lnTo>
                      <a:pt x="44" y="232"/>
                    </a:lnTo>
                    <a:lnTo>
                      <a:pt x="42" y="232"/>
                    </a:lnTo>
                    <a:lnTo>
                      <a:pt x="42" y="232"/>
                    </a:lnTo>
                    <a:lnTo>
                      <a:pt x="40" y="234"/>
                    </a:lnTo>
                    <a:lnTo>
                      <a:pt x="40" y="236"/>
                    </a:lnTo>
                    <a:lnTo>
                      <a:pt x="40" y="236"/>
                    </a:lnTo>
                    <a:lnTo>
                      <a:pt x="38" y="238"/>
                    </a:lnTo>
                    <a:lnTo>
                      <a:pt x="38" y="240"/>
                    </a:lnTo>
                    <a:lnTo>
                      <a:pt x="38" y="242"/>
                    </a:lnTo>
                    <a:lnTo>
                      <a:pt x="36" y="246"/>
                    </a:lnTo>
                    <a:lnTo>
                      <a:pt x="38" y="248"/>
                    </a:lnTo>
                    <a:lnTo>
                      <a:pt x="38" y="248"/>
                    </a:lnTo>
                    <a:lnTo>
                      <a:pt x="38" y="254"/>
                    </a:lnTo>
                    <a:lnTo>
                      <a:pt x="38" y="260"/>
                    </a:lnTo>
                    <a:lnTo>
                      <a:pt x="38" y="260"/>
                    </a:lnTo>
                    <a:lnTo>
                      <a:pt x="38" y="262"/>
                    </a:lnTo>
                    <a:lnTo>
                      <a:pt x="38" y="264"/>
                    </a:lnTo>
                    <a:lnTo>
                      <a:pt x="40" y="268"/>
                    </a:lnTo>
                    <a:lnTo>
                      <a:pt x="40" y="268"/>
                    </a:lnTo>
                    <a:lnTo>
                      <a:pt x="40" y="274"/>
                    </a:lnTo>
                    <a:lnTo>
                      <a:pt x="42" y="276"/>
                    </a:lnTo>
                    <a:lnTo>
                      <a:pt x="42" y="278"/>
                    </a:lnTo>
                    <a:lnTo>
                      <a:pt x="40" y="280"/>
                    </a:lnTo>
                    <a:lnTo>
                      <a:pt x="40" y="280"/>
                    </a:lnTo>
                    <a:lnTo>
                      <a:pt x="40" y="280"/>
                    </a:lnTo>
                    <a:lnTo>
                      <a:pt x="40" y="280"/>
                    </a:lnTo>
                    <a:lnTo>
                      <a:pt x="40" y="280"/>
                    </a:lnTo>
                    <a:lnTo>
                      <a:pt x="38" y="280"/>
                    </a:lnTo>
                    <a:lnTo>
                      <a:pt x="38" y="278"/>
                    </a:lnTo>
                    <a:lnTo>
                      <a:pt x="38" y="276"/>
                    </a:lnTo>
                    <a:lnTo>
                      <a:pt x="38" y="274"/>
                    </a:lnTo>
                    <a:lnTo>
                      <a:pt x="38" y="270"/>
                    </a:lnTo>
                    <a:lnTo>
                      <a:pt x="36" y="268"/>
                    </a:lnTo>
                    <a:lnTo>
                      <a:pt x="36" y="266"/>
                    </a:lnTo>
                    <a:lnTo>
                      <a:pt x="36" y="266"/>
                    </a:lnTo>
                    <a:lnTo>
                      <a:pt x="34" y="266"/>
                    </a:lnTo>
                    <a:lnTo>
                      <a:pt x="34" y="264"/>
                    </a:lnTo>
                    <a:lnTo>
                      <a:pt x="32" y="264"/>
                    </a:lnTo>
                    <a:lnTo>
                      <a:pt x="32" y="264"/>
                    </a:lnTo>
                    <a:lnTo>
                      <a:pt x="32" y="264"/>
                    </a:lnTo>
                    <a:lnTo>
                      <a:pt x="30" y="264"/>
                    </a:lnTo>
                    <a:lnTo>
                      <a:pt x="30" y="264"/>
                    </a:lnTo>
                    <a:lnTo>
                      <a:pt x="30" y="266"/>
                    </a:lnTo>
                    <a:lnTo>
                      <a:pt x="30" y="266"/>
                    </a:lnTo>
                    <a:lnTo>
                      <a:pt x="30" y="268"/>
                    </a:lnTo>
                    <a:lnTo>
                      <a:pt x="30" y="268"/>
                    </a:lnTo>
                    <a:lnTo>
                      <a:pt x="32" y="270"/>
                    </a:lnTo>
                    <a:lnTo>
                      <a:pt x="32" y="272"/>
                    </a:lnTo>
                    <a:lnTo>
                      <a:pt x="32" y="272"/>
                    </a:lnTo>
                    <a:lnTo>
                      <a:pt x="32" y="272"/>
                    </a:lnTo>
                    <a:lnTo>
                      <a:pt x="32" y="272"/>
                    </a:lnTo>
                    <a:lnTo>
                      <a:pt x="32" y="272"/>
                    </a:lnTo>
                    <a:lnTo>
                      <a:pt x="30" y="272"/>
                    </a:lnTo>
                    <a:lnTo>
                      <a:pt x="28" y="270"/>
                    </a:lnTo>
                    <a:lnTo>
                      <a:pt x="28" y="268"/>
                    </a:lnTo>
                    <a:lnTo>
                      <a:pt x="28" y="268"/>
                    </a:lnTo>
                    <a:lnTo>
                      <a:pt x="26" y="268"/>
                    </a:lnTo>
                    <a:lnTo>
                      <a:pt x="26" y="270"/>
                    </a:lnTo>
                    <a:lnTo>
                      <a:pt x="26" y="270"/>
                    </a:lnTo>
                    <a:lnTo>
                      <a:pt x="24" y="270"/>
                    </a:lnTo>
                    <a:lnTo>
                      <a:pt x="24" y="274"/>
                    </a:lnTo>
                    <a:lnTo>
                      <a:pt x="24" y="278"/>
                    </a:lnTo>
                    <a:lnTo>
                      <a:pt x="26" y="284"/>
                    </a:lnTo>
                    <a:lnTo>
                      <a:pt x="26" y="288"/>
                    </a:lnTo>
                    <a:lnTo>
                      <a:pt x="26" y="288"/>
                    </a:lnTo>
                    <a:lnTo>
                      <a:pt x="28" y="292"/>
                    </a:lnTo>
                    <a:lnTo>
                      <a:pt x="30" y="298"/>
                    </a:lnTo>
                    <a:lnTo>
                      <a:pt x="30" y="298"/>
                    </a:lnTo>
                    <a:lnTo>
                      <a:pt x="30" y="300"/>
                    </a:lnTo>
                    <a:lnTo>
                      <a:pt x="30" y="302"/>
                    </a:lnTo>
                    <a:lnTo>
                      <a:pt x="30" y="304"/>
                    </a:lnTo>
                    <a:lnTo>
                      <a:pt x="30" y="304"/>
                    </a:lnTo>
                    <a:lnTo>
                      <a:pt x="30" y="304"/>
                    </a:lnTo>
                    <a:lnTo>
                      <a:pt x="30" y="306"/>
                    </a:lnTo>
                    <a:lnTo>
                      <a:pt x="28" y="306"/>
                    </a:lnTo>
                    <a:lnTo>
                      <a:pt x="28" y="308"/>
                    </a:lnTo>
                    <a:lnTo>
                      <a:pt x="28" y="308"/>
                    </a:lnTo>
                    <a:lnTo>
                      <a:pt x="28" y="310"/>
                    </a:lnTo>
                    <a:lnTo>
                      <a:pt x="28" y="312"/>
                    </a:lnTo>
                    <a:lnTo>
                      <a:pt x="28" y="314"/>
                    </a:lnTo>
                    <a:lnTo>
                      <a:pt x="28" y="316"/>
                    </a:lnTo>
                    <a:lnTo>
                      <a:pt x="28" y="316"/>
                    </a:lnTo>
                    <a:lnTo>
                      <a:pt x="28" y="318"/>
                    </a:lnTo>
                    <a:lnTo>
                      <a:pt x="30" y="320"/>
                    </a:lnTo>
                    <a:lnTo>
                      <a:pt x="32" y="322"/>
                    </a:lnTo>
                    <a:lnTo>
                      <a:pt x="32" y="326"/>
                    </a:lnTo>
                    <a:lnTo>
                      <a:pt x="32" y="326"/>
                    </a:lnTo>
                    <a:lnTo>
                      <a:pt x="32" y="328"/>
                    </a:lnTo>
                    <a:lnTo>
                      <a:pt x="32" y="330"/>
                    </a:lnTo>
                    <a:lnTo>
                      <a:pt x="32" y="330"/>
                    </a:lnTo>
                    <a:lnTo>
                      <a:pt x="34" y="332"/>
                    </a:lnTo>
                    <a:lnTo>
                      <a:pt x="34" y="336"/>
                    </a:lnTo>
                    <a:lnTo>
                      <a:pt x="34" y="336"/>
                    </a:lnTo>
                    <a:lnTo>
                      <a:pt x="34" y="338"/>
                    </a:lnTo>
                    <a:lnTo>
                      <a:pt x="32" y="340"/>
                    </a:lnTo>
                    <a:lnTo>
                      <a:pt x="32" y="342"/>
                    </a:lnTo>
                    <a:lnTo>
                      <a:pt x="32" y="344"/>
                    </a:lnTo>
                    <a:lnTo>
                      <a:pt x="32" y="344"/>
                    </a:lnTo>
                    <a:lnTo>
                      <a:pt x="30" y="354"/>
                    </a:lnTo>
                    <a:lnTo>
                      <a:pt x="30" y="354"/>
                    </a:lnTo>
                    <a:lnTo>
                      <a:pt x="30" y="358"/>
                    </a:lnTo>
                    <a:lnTo>
                      <a:pt x="32" y="360"/>
                    </a:lnTo>
                    <a:lnTo>
                      <a:pt x="30" y="362"/>
                    </a:lnTo>
                    <a:lnTo>
                      <a:pt x="30" y="362"/>
                    </a:lnTo>
                    <a:lnTo>
                      <a:pt x="30" y="362"/>
                    </a:lnTo>
                    <a:lnTo>
                      <a:pt x="30" y="364"/>
                    </a:lnTo>
                    <a:lnTo>
                      <a:pt x="28" y="366"/>
                    </a:lnTo>
                    <a:lnTo>
                      <a:pt x="28" y="366"/>
                    </a:lnTo>
                    <a:lnTo>
                      <a:pt x="28" y="368"/>
                    </a:lnTo>
                    <a:lnTo>
                      <a:pt x="28" y="372"/>
                    </a:lnTo>
                    <a:lnTo>
                      <a:pt x="26" y="378"/>
                    </a:lnTo>
                    <a:lnTo>
                      <a:pt x="26" y="378"/>
                    </a:lnTo>
                    <a:lnTo>
                      <a:pt x="26" y="380"/>
                    </a:lnTo>
                    <a:lnTo>
                      <a:pt x="28" y="380"/>
                    </a:lnTo>
                    <a:lnTo>
                      <a:pt x="28" y="382"/>
                    </a:lnTo>
                    <a:lnTo>
                      <a:pt x="30" y="384"/>
                    </a:lnTo>
                    <a:lnTo>
                      <a:pt x="32" y="386"/>
                    </a:lnTo>
                    <a:lnTo>
                      <a:pt x="32" y="386"/>
                    </a:lnTo>
                    <a:lnTo>
                      <a:pt x="34" y="388"/>
                    </a:lnTo>
                    <a:lnTo>
                      <a:pt x="34" y="388"/>
                    </a:lnTo>
                    <a:lnTo>
                      <a:pt x="34" y="390"/>
                    </a:lnTo>
                    <a:lnTo>
                      <a:pt x="34" y="390"/>
                    </a:lnTo>
                    <a:lnTo>
                      <a:pt x="34" y="392"/>
                    </a:lnTo>
                    <a:lnTo>
                      <a:pt x="32" y="396"/>
                    </a:lnTo>
                    <a:lnTo>
                      <a:pt x="32" y="396"/>
                    </a:lnTo>
                    <a:lnTo>
                      <a:pt x="32" y="396"/>
                    </a:lnTo>
                    <a:lnTo>
                      <a:pt x="32" y="398"/>
                    </a:lnTo>
                    <a:lnTo>
                      <a:pt x="32" y="398"/>
                    </a:lnTo>
                    <a:lnTo>
                      <a:pt x="30" y="400"/>
                    </a:lnTo>
                    <a:lnTo>
                      <a:pt x="30" y="400"/>
                    </a:lnTo>
                    <a:lnTo>
                      <a:pt x="30" y="402"/>
                    </a:lnTo>
                    <a:lnTo>
                      <a:pt x="28" y="404"/>
                    </a:lnTo>
                    <a:lnTo>
                      <a:pt x="28" y="404"/>
                    </a:lnTo>
                    <a:lnTo>
                      <a:pt x="26" y="406"/>
                    </a:lnTo>
                    <a:lnTo>
                      <a:pt x="24" y="408"/>
                    </a:lnTo>
                    <a:lnTo>
                      <a:pt x="24" y="410"/>
                    </a:lnTo>
                    <a:lnTo>
                      <a:pt x="22" y="414"/>
                    </a:lnTo>
                    <a:lnTo>
                      <a:pt x="22" y="414"/>
                    </a:lnTo>
                    <a:lnTo>
                      <a:pt x="22" y="420"/>
                    </a:lnTo>
                    <a:lnTo>
                      <a:pt x="22" y="422"/>
                    </a:lnTo>
                    <a:lnTo>
                      <a:pt x="20" y="424"/>
                    </a:lnTo>
                    <a:lnTo>
                      <a:pt x="20" y="426"/>
                    </a:lnTo>
                    <a:lnTo>
                      <a:pt x="18" y="428"/>
                    </a:lnTo>
                    <a:lnTo>
                      <a:pt x="16" y="430"/>
                    </a:lnTo>
                    <a:lnTo>
                      <a:pt x="14" y="432"/>
                    </a:lnTo>
                    <a:lnTo>
                      <a:pt x="14" y="432"/>
                    </a:lnTo>
                    <a:lnTo>
                      <a:pt x="12" y="432"/>
                    </a:lnTo>
                    <a:lnTo>
                      <a:pt x="10" y="432"/>
                    </a:lnTo>
                    <a:lnTo>
                      <a:pt x="8" y="432"/>
                    </a:lnTo>
                    <a:lnTo>
                      <a:pt x="6" y="432"/>
                    </a:lnTo>
                    <a:lnTo>
                      <a:pt x="4" y="432"/>
                    </a:lnTo>
                    <a:lnTo>
                      <a:pt x="4" y="432"/>
                    </a:lnTo>
                    <a:lnTo>
                      <a:pt x="4" y="432"/>
                    </a:lnTo>
                    <a:lnTo>
                      <a:pt x="2" y="434"/>
                    </a:lnTo>
                    <a:lnTo>
                      <a:pt x="2" y="436"/>
                    </a:lnTo>
                    <a:lnTo>
                      <a:pt x="0" y="438"/>
                    </a:lnTo>
                    <a:lnTo>
                      <a:pt x="0" y="438"/>
                    </a:lnTo>
                    <a:lnTo>
                      <a:pt x="0" y="440"/>
                    </a:lnTo>
                    <a:lnTo>
                      <a:pt x="0" y="440"/>
                    </a:lnTo>
                    <a:lnTo>
                      <a:pt x="2" y="442"/>
                    </a:lnTo>
                    <a:lnTo>
                      <a:pt x="2" y="442"/>
                    </a:lnTo>
                    <a:lnTo>
                      <a:pt x="2" y="442"/>
                    </a:lnTo>
                    <a:lnTo>
                      <a:pt x="6" y="442"/>
                    </a:lnTo>
                    <a:lnTo>
                      <a:pt x="8" y="444"/>
                    </a:lnTo>
                    <a:lnTo>
                      <a:pt x="12" y="448"/>
                    </a:lnTo>
                    <a:lnTo>
                      <a:pt x="12" y="448"/>
                    </a:lnTo>
                    <a:lnTo>
                      <a:pt x="14" y="452"/>
                    </a:lnTo>
                    <a:lnTo>
                      <a:pt x="16" y="454"/>
                    </a:lnTo>
                    <a:lnTo>
                      <a:pt x="18" y="456"/>
                    </a:lnTo>
                    <a:lnTo>
                      <a:pt x="18" y="456"/>
                    </a:lnTo>
                    <a:lnTo>
                      <a:pt x="20" y="456"/>
                    </a:lnTo>
                    <a:lnTo>
                      <a:pt x="22" y="456"/>
                    </a:lnTo>
                    <a:lnTo>
                      <a:pt x="22" y="456"/>
                    </a:lnTo>
                    <a:lnTo>
                      <a:pt x="24" y="458"/>
                    </a:lnTo>
                    <a:lnTo>
                      <a:pt x="26" y="458"/>
                    </a:lnTo>
                    <a:lnTo>
                      <a:pt x="26" y="458"/>
                    </a:lnTo>
                    <a:lnTo>
                      <a:pt x="28" y="458"/>
                    </a:lnTo>
                    <a:lnTo>
                      <a:pt x="30" y="460"/>
                    </a:lnTo>
                    <a:lnTo>
                      <a:pt x="34" y="462"/>
                    </a:lnTo>
                    <a:lnTo>
                      <a:pt x="34" y="462"/>
                    </a:lnTo>
                    <a:lnTo>
                      <a:pt x="38" y="462"/>
                    </a:lnTo>
                    <a:lnTo>
                      <a:pt x="38" y="462"/>
                    </a:lnTo>
                    <a:lnTo>
                      <a:pt x="40" y="462"/>
                    </a:lnTo>
                    <a:lnTo>
                      <a:pt x="40" y="462"/>
                    </a:lnTo>
                    <a:lnTo>
                      <a:pt x="42" y="462"/>
                    </a:lnTo>
                    <a:lnTo>
                      <a:pt x="42" y="460"/>
                    </a:lnTo>
                    <a:lnTo>
                      <a:pt x="44" y="460"/>
                    </a:lnTo>
                    <a:lnTo>
                      <a:pt x="44" y="460"/>
                    </a:lnTo>
                    <a:lnTo>
                      <a:pt x="46" y="462"/>
                    </a:lnTo>
                    <a:lnTo>
                      <a:pt x="48" y="462"/>
                    </a:lnTo>
                    <a:lnTo>
                      <a:pt x="48" y="460"/>
                    </a:lnTo>
                    <a:lnTo>
                      <a:pt x="48" y="460"/>
                    </a:lnTo>
                    <a:lnTo>
                      <a:pt x="50" y="460"/>
                    </a:lnTo>
                    <a:lnTo>
                      <a:pt x="50" y="458"/>
                    </a:lnTo>
                    <a:lnTo>
                      <a:pt x="52" y="458"/>
                    </a:lnTo>
                    <a:lnTo>
                      <a:pt x="52" y="458"/>
                    </a:lnTo>
                    <a:lnTo>
                      <a:pt x="52" y="458"/>
                    </a:lnTo>
                    <a:lnTo>
                      <a:pt x="54" y="458"/>
                    </a:lnTo>
                    <a:lnTo>
                      <a:pt x="56" y="458"/>
                    </a:lnTo>
                    <a:lnTo>
                      <a:pt x="56" y="458"/>
                    </a:lnTo>
                    <a:lnTo>
                      <a:pt x="58" y="458"/>
                    </a:lnTo>
                    <a:lnTo>
                      <a:pt x="58" y="458"/>
                    </a:lnTo>
                    <a:lnTo>
                      <a:pt x="58" y="458"/>
                    </a:lnTo>
                    <a:lnTo>
                      <a:pt x="60" y="458"/>
                    </a:lnTo>
                    <a:lnTo>
                      <a:pt x="60" y="456"/>
                    </a:lnTo>
                    <a:lnTo>
                      <a:pt x="62" y="456"/>
                    </a:lnTo>
                    <a:lnTo>
                      <a:pt x="62" y="456"/>
                    </a:lnTo>
                    <a:lnTo>
                      <a:pt x="62" y="454"/>
                    </a:lnTo>
                    <a:lnTo>
                      <a:pt x="62" y="456"/>
                    </a:lnTo>
                    <a:lnTo>
                      <a:pt x="64" y="456"/>
                    </a:lnTo>
                    <a:lnTo>
                      <a:pt x="66" y="454"/>
                    </a:lnTo>
                    <a:lnTo>
                      <a:pt x="66" y="454"/>
                    </a:lnTo>
                    <a:lnTo>
                      <a:pt x="66" y="454"/>
                    </a:lnTo>
                    <a:lnTo>
                      <a:pt x="68" y="454"/>
                    </a:lnTo>
                    <a:lnTo>
                      <a:pt x="70" y="452"/>
                    </a:lnTo>
                    <a:lnTo>
                      <a:pt x="70" y="452"/>
                    </a:lnTo>
                    <a:lnTo>
                      <a:pt x="70" y="450"/>
                    </a:lnTo>
                    <a:lnTo>
                      <a:pt x="72" y="450"/>
                    </a:lnTo>
                    <a:lnTo>
                      <a:pt x="72" y="448"/>
                    </a:lnTo>
                    <a:lnTo>
                      <a:pt x="72" y="448"/>
                    </a:lnTo>
                    <a:lnTo>
                      <a:pt x="76" y="448"/>
                    </a:lnTo>
                    <a:lnTo>
                      <a:pt x="78" y="448"/>
                    </a:lnTo>
                    <a:lnTo>
                      <a:pt x="78" y="448"/>
                    </a:lnTo>
                    <a:lnTo>
                      <a:pt x="80" y="446"/>
                    </a:lnTo>
                    <a:lnTo>
                      <a:pt x="80" y="446"/>
                    </a:lnTo>
                    <a:lnTo>
                      <a:pt x="82" y="446"/>
                    </a:lnTo>
                    <a:lnTo>
                      <a:pt x="82" y="446"/>
                    </a:lnTo>
                    <a:lnTo>
                      <a:pt x="84" y="448"/>
                    </a:lnTo>
                    <a:lnTo>
                      <a:pt x="86" y="450"/>
                    </a:lnTo>
                    <a:lnTo>
                      <a:pt x="86" y="450"/>
                    </a:lnTo>
                    <a:lnTo>
                      <a:pt x="88" y="450"/>
                    </a:lnTo>
                    <a:lnTo>
                      <a:pt x="90" y="450"/>
                    </a:lnTo>
                    <a:lnTo>
                      <a:pt x="92" y="450"/>
                    </a:lnTo>
                    <a:lnTo>
                      <a:pt x="96" y="450"/>
                    </a:lnTo>
                    <a:lnTo>
                      <a:pt x="96" y="450"/>
                    </a:lnTo>
                    <a:lnTo>
                      <a:pt x="102" y="448"/>
                    </a:lnTo>
                    <a:lnTo>
                      <a:pt x="102" y="448"/>
                    </a:lnTo>
                    <a:lnTo>
                      <a:pt x="104" y="448"/>
                    </a:lnTo>
                    <a:lnTo>
                      <a:pt x="106" y="446"/>
                    </a:lnTo>
                    <a:lnTo>
                      <a:pt x="106" y="446"/>
                    </a:lnTo>
                    <a:lnTo>
                      <a:pt x="108" y="446"/>
                    </a:lnTo>
                    <a:lnTo>
                      <a:pt x="110" y="448"/>
                    </a:lnTo>
                    <a:lnTo>
                      <a:pt x="110" y="448"/>
                    </a:lnTo>
                    <a:lnTo>
                      <a:pt x="112" y="448"/>
                    </a:lnTo>
                    <a:lnTo>
                      <a:pt x="114" y="450"/>
                    </a:lnTo>
                    <a:lnTo>
                      <a:pt x="114" y="450"/>
                    </a:lnTo>
                    <a:lnTo>
                      <a:pt x="116" y="450"/>
                    </a:lnTo>
                    <a:lnTo>
                      <a:pt x="116" y="450"/>
                    </a:lnTo>
                    <a:lnTo>
                      <a:pt x="118" y="450"/>
                    </a:lnTo>
                    <a:lnTo>
                      <a:pt x="118" y="450"/>
                    </a:lnTo>
                    <a:lnTo>
                      <a:pt x="120" y="448"/>
                    </a:lnTo>
                    <a:lnTo>
                      <a:pt x="122" y="448"/>
                    </a:lnTo>
                    <a:lnTo>
                      <a:pt x="122" y="448"/>
                    </a:lnTo>
                    <a:lnTo>
                      <a:pt x="122" y="448"/>
                    </a:lnTo>
                    <a:lnTo>
                      <a:pt x="124" y="448"/>
                    </a:lnTo>
                    <a:lnTo>
                      <a:pt x="128" y="450"/>
                    </a:lnTo>
                    <a:lnTo>
                      <a:pt x="132" y="452"/>
                    </a:lnTo>
                    <a:lnTo>
                      <a:pt x="134" y="452"/>
                    </a:lnTo>
                    <a:lnTo>
                      <a:pt x="136" y="454"/>
                    </a:lnTo>
                    <a:lnTo>
                      <a:pt x="136" y="454"/>
                    </a:lnTo>
                    <a:lnTo>
                      <a:pt x="138" y="452"/>
                    </a:lnTo>
                    <a:lnTo>
                      <a:pt x="138" y="452"/>
                    </a:lnTo>
                    <a:lnTo>
                      <a:pt x="140" y="452"/>
                    </a:lnTo>
                    <a:lnTo>
                      <a:pt x="140" y="452"/>
                    </a:lnTo>
                    <a:lnTo>
                      <a:pt x="142" y="450"/>
                    </a:lnTo>
                    <a:lnTo>
                      <a:pt x="142" y="448"/>
                    </a:lnTo>
                    <a:lnTo>
                      <a:pt x="144" y="446"/>
                    </a:lnTo>
                    <a:lnTo>
                      <a:pt x="144" y="444"/>
                    </a:lnTo>
                    <a:lnTo>
                      <a:pt x="146" y="444"/>
                    </a:lnTo>
                    <a:lnTo>
                      <a:pt x="146" y="444"/>
                    </a:lnTo>
                    <a:lnTo>
                      <a:pt x="146" y="442"/>
                    </a:lnTo>
                    <a:lnTo>
                      <a:pt x="148" y="442"/>
                    </a:lnTo>
                    <a:lnTo>
                      <a:pt x="148" y="440"/>
                    </a:lnTo>
                    <a:lnTo>
                      <a:pt x="150" y="438"/>
                    </a:lnTo>
                    <a:lnTo>
                      <a:pt x="152" y="436"/>
                    </a:lnTo>
                    <a:lnTo>
                      <a:pt x="152" y="436"/>
                    </a:lnTo>
                    <a:lnTo>
                      <a:pt x="154" y="434"/>
                    </a:lnTo>
                    <a:lnTo>
                      <a:pt x="158" y="430"/>
                    </a:lnTo>
                    <a:lnTo>
                      <a:pt x="158" y="430"/>
                    </a:lnTo>
                    <a:lnTo>
                      <a:pt x="158" y="428"/>
                    </a:lnTo>
                    <a:lnTo>
                      <a:pt x="160" y="428"/>
                    </a:lnTo>
                    <a:lnTo>
                      <a:pt x="160" y="428"/>
                    </a:lnTo>
                    <a:lnTo>
                      <a:pt x="166" y="428"/>
                    </a:lnTo>
                    <a:lnTo>
                      <a:pt x="166" y="428"/>
                    </a:lnTo>
                    <a:lnTo>
                      <a:pt x="168" y="428"/>
                    </a:lnTo>
                    <a:lnTo>
                      <a:pt x="170" y="426"/>
                    </a:lnTo>
                    <a:lnTo>
                      <a:pt x="172" y="426"/>
                    </a:lnTo>
                    <a:lnTo>
                      <a:pt x="176" y="426"/>
                    </a:lnTo>
                    <a:lnTo>
                      <a:pt x="176" y="426"/>
                    </a:lnTo>
                    <a:lnTo>
                      <a:pt x="180" y="426"/>
                    </a:lnTo>
                    <a:lnTo>
                      <a:pt x="186" y="424"/>
                    </a:lnTo>
                    <a:lnTo>
                      <a:pt x="186" y="424"/>
                    </a:lnTo>
                    <a:lnTo>
                      <a:pt x="188" y="422"/>
                    </a:lnTo>
                    <a:lnTo>
                      <a:pt x="192" y="422"/>
                    </a:lnTo>
                    <a:lnTo>
                      <a:pt x="194" y="420"/>
                    </a:lnTo>
                    <a:lnTo>
                      <a:pt x="196" y="420"/>
                    </a:lnTo>
                    <a:lnTo>
                      <a:pt x="198" y="422"/>
                    </a:lnTo>
                    <a:lnTo>
                      <a:pt x="198" y="422"/>
                    </a:lnTo>
                    <a:lnTo>
                      <a:pt x="202" y="424"/>
                    </a:lnTo>
                    <a:lnTo>
                      <a:pt x="204" y="424"/>
                    </a:lnTo>
                    <a:lnTo>
                      <a:pt x="206" y="424"/>
                    </a:lnTo>
                    <a:lnTo>
                      <a:pt x="208" y="424"/>
                    </a:lnTo>
                    <a:lnTo>
                      <a:pt x="208" y="424"/>
                    </a:lnTo>
                    <a:lnTo>
                      <a:pt x="210" y="424"/>
                    </a:lnTo>
                    <a:lnTo>
                      <a:pt x="212" y="424"/>
                    </a:lnTo>
                    <a:lnTo>
                      <a:pt x="214" y="422"/>
                    </a:lnTo>
                    <a:lnTo>
                      <a:pt x="218" y="422"/>
                    </a:lnTo>
                    <a:lnTo>
                      <a:pt x="218" y="422"/>
                    </a:lnTo>
                    <a:lnTo>
                      <a:pt x="224" y="420"/>
                    </a:lnTo>
                    <a:lnTo>
                      <a:pt x="228" y="418"/>
                    </a:lnTo>
                    <a:lnTo>
                      <a:pt x="228" y="418"/>
                    </a:lnTo>
                    <a:lnTo>
                      <a:pt x="232" y="418"/>
                    </a:lnTo>
                    <a:lnTo>
                      <a:pt x="234" y="416"/>
                    </a:lnTo>
                    <a:lnTo>
                      <a:pt x="236" y="416"/>
                    </a:lnTo>
                    <a:lnTo>
                      <a:pt x="240" y="414"/>
                    </a:lnTo>
                    <a:lnTo>
                      <a:pt x="240" y="414"/>
                    </a:lnTo>
                    <a:lnTo>
                      <a:pt x="246" y="414"/>
                    </a:lnTo>
                    <a:lnTo>
                      <a:pt x="252" y="414"/>
                    </a:lnTo>
                    <a:lnTo>
                      <a:pt x="252" y="414"/>
                    </a:lnTo>
                    <a:lnTo>
                      <a:pt x="258" y="416"/>
                    </a:lnTo>
                    <a:lnTo>
                      <a:pt x="262" y="416"/>
                    </a:lnTo>
                    <a:lnTo>
                      <a:pt x="266" y="416"/>
                    </a:lnTo>
                    <a:lnTo>
                      <a:pt x="266" y="416"/>
                    </a:lnTo>
                    <a:lnTo>
                      <a:pt x="266" y="416"/>
                    </a:lnTo>
                    <a:lnTo>
                      <a:pt x="268" y="414"/>
                    </a:lnTo>
                    <a:lnTo>
                      <a:pt x="270" y="414"/>
                    </a:lnTo>
                    <a:lnTo>
                      <a:pt x="270" y="412"/>
                    </a:lnTo>
                    <a:lnTo>
                      <a:pt x="272" y="412"/>
                    </a:lnTo>
                    <a:lnTo>
                      <a:pt x="274" y="412"/>
                    </a:lnTo>
                    <a:lnTo>
                      <a:pt x="274" y="414"/>
                    </a:lnTo>
                    <a:lnTo>
                      <a:pt x="274" y="414"/>
                    </a:lnTo>
                    <a:lnTo>
                      <a:pt x="276" y="416"/>
                    </a:lnTo>
                    <a:lnTo>
                      <a:pt x="278" y="418"/>
                    </a:lnTo>
                    <a:lnTo>
                      <a:pt x="278" y="422"/>
                    </a:lnTo>
                    <a:lnTo>
                      <a:pt x="280" y="424"/>
                    </a:lnTo>
                    <a:lnTo>
                      <a:pt x="280" y="424"/>
                    </a:lnTo>
                    <a:lnTo>
                      <a:pt x="284" y="426"/>
                    </a:lnTo>
                    <a:lnTo>
                      <a:pt x="286" y="428"/>
                    </a:lnTo>
                    <a:lnTo>
                      <a:pt x="288" y="428"/>
                    </a:lnTo>
                    <a:lnTo>
                      <a:pt x="288" y="428"/>
                    </a:lnTo>
                    <a:lnTo>
                      <a:pt x="288" y="428"/>
                    </a:lnTo>
                    <a:lnTo>
                      <a:pt x="290" y="428"/>
                    </a:lnTo>
                    <a:lnTo>
                      <a:pt x="290" y="428"/>
                    </a:lnTo>
                    <a:lnTo>
                      <a:pt x="292" y="428"/>
                    </a:lnTo>
                    <a:lnTo>
                      <a:pt x="292" y="428"/>
                    </a:lnTo>
                    <a:lnTo>
                      <a:pt x="292" y="430"/>
                    </a:lnTo>
                    <a:lnTo>
                      <a:pt x="294" y="430"/>
                    </a:lnTo>
                    <a:lnTo>
                      <a:pt x="294" y="434"/>
                    </a:lnTo>
                    <a:lnTo>
                      <a:pt x="294" y="434"/>
                    </a:lnTo>
                    <a:lnTo>
                      <a:pt x="294" y="434"/>
                    </a:lnTo>
                    <a:lnTo>
                      <a:pt x="296" y="434"/>
                    </a:lnTo>
                    <a:lnTo>
                      <a:pt x="298" y="436"/>
                    </a:lnTo>
                    <a:lnTo>
                      <a:pt x="300" y="436"/>
                    </a:lnTo>
                    <a:lnTo>
                      <a:pt x="300" y="438"/>
                    </a:lnTo>
                    <a:lnTo>
                      <a:pt x="302" y="438"/>
                    </a:lnTo>
                    <a:lnTo>
                      <a:pt x="302" y="438"/>
                    </a:lnTo>
                    <a:lnTo>
                      <a:pt x="302" y="440"/>
                    </a:lnTo>
                    <a:lnTo>
                      <a:pt x="302" y="440"/>
                    </a:lnTo>
                    <a:lnTo>
                      <a:pt x="302" y="440"/>
                    </a:lnTo>
                    <a:lnTo>
                      <a:pt x="304" y="442"/>
                    </a:lnTo>
                    <a:lnTo>
                      <a:pt x="304" y="442"/>
                    </a:lnTo>
                    <a:lnTo>
                      <a:pt x="304" y="442"/>
                    </a:lnTo>
                    <a:lnTo>
                      <a:pt x="304" y="446"/>
                    </a:lnTo>
                    <a:lnTo>
                      <a:pt x="304" y="446"/>
                    </a:lnTo>
                    <a:lnTo>
                      <a:pt x="304" y="448"/>
                    </a:lnTo>
                    <a:lnTo>
                      <a:pt x="304" y="448"/>
                    </a:lnTo>
                    <a:lnTo>
                      <a:pt x="304" y="450"/>
                    </a:lnTo>
                    <a:lnTo>
                      <a:pt x="302" y="450"/>
                    </a:lnTo>
                    <a:lnTo>
                      <a:pt x="300" y="452"/>
                    </a:lnTo>
                    <a:lnTo>
                      <a:pt x="300" y="454"/>
                    </a:lnTo>
                    <a:lnTo>
                      <a:pt x="300" y="454"/>
                    </a:lnTo>
                    <a:lnTo>
                      <a:pt x="298" y="456"/>
                    </a:lnTo>
                    <a:lnTo>
                      <a:pt x="300" y="458"/>
                    </a:lnTo>
                    <a:lnTo>
                      <a:pt x="300" y="458"/>
                    </a:lnTo>
                    <a:lnTo>
                      <a:pt x="302" y="460"/>
                    </a:lnTo>
                    <a:lnTo>
                      <a:pt x="302" y="460"/>
                    </a:lnTo>
                    <a:lnTo>
                      <a:pt x="302" y="462"/>
                    </a:lnTo>
                    <a:lnTo>
                      <a:pt x="302" y="462"/>
                    </a:lnTo>
                    <a:lnTo>
                      <a:pt x="304" y="462"/>
                    </a:lnTo>
                    <a:lnTo>
                      <a:pt x="304" y="462"/>
                    </a:lnTo>
                    <a:lnTo>
                      <a:pt x="304" y="462"/>
                    </a:lnTo>
                    <a:lnTo>
                      <a:pt x="304" y="462"/>
                    </a:lnTo>
                    <a:lnTo>
                      <a:pt x="306" y="462"/>
                    </a:lnTo>
                    <a:lnTo>
                      <a:pt x="306" y="462"/>
                    </a:lnTo>
                    <a:lnTo>
                      <a:pt x="306" y="462"/>
                    </a:lnTo>
                    <a:lnTo>
                      <a:pt x="306" y="464"/>
                    </a:lnTo>
                    <a:lnTo>
                      <a:pt x="306" y="466"/>
                    </a:lnTo>
                    <a:lnTo>
                      <a:pt x="306" y="468"/>
                    </a:lnTo>
                    <a:lnTo>
                      <a:pt x="306" y="470"/>
                    </a:lnTo>
                    <a:lnTo>
                      <a:pt x="306" y="470"/>
                    </a:lnTo>
                    <a:lnTo>
                      <a:pt x="308" y="476"/>
                    </a:lnTo>
                    <a:lnTo>
                      <a:pt x="310" y="478"/>
                    </a:lnTo>
                    <a:lnTo>
                      <a:pt x="310" y="480"/>
                    </a:lnTo>
                    <a:lnTo>
                      <a:pt x="310" y="480"/>
                    </a:lnTo>
                    <a:lnTo>
                      <a:pt x="310" y="484"/>
                    </a:lnTo>
                    <a:lnTo>
                      <a:pt x="310" y="488"/>
                    </a:lnTo>
                    <a:lnTo>
                      <a:pt x="310" y="488"/>
                    </a:lnTo>
                    <a:lnTo>
                      <a:pt x="310" y="490"/>
                    </a:lnTo>
                    <a:lnTo>
                      <a:pt x="310" y="490"/>
                    </a:lnTo>
                    <a:lnTo>
                      <a:pt x="308" y="490"/>
                    </a:lnTo>
                    <a:lnTo>
                      <a:pt x="308" y="490"/>
                    </a:lnTo>
                    <a:lnTo>
                      <a:pt x="304" y="490"/>
                    </a:lnTo>
                    <a:lnTo>
                      <a:pt x="304" y="490"/>
                    </a:lnTo>
                    <a:lnTo>
                      <a:pt x="304" y="490"/>
                    </a:lnTo>
                    <a:lnTo>
                      <a:pt x="304" y="490"/>
                    </a:lnTo>
                    <a:lnTo>
                      <a:pt x="302" y="490"/>
                    </a:lnTo>
                    <a:lnTo>
                      <a:pt x="302" y="490"/>
                    </a:lnTo>
                    <a:lnTo>
                      <a:pt x="302" y="492"/>
                    </a:lnTo>
                    <a:lnTo>
                      <a:pt x="304" y="494"/>
                    </a:lnTo>
                    <a:lnTo>
                      <a:pt x="304" y="496"/>
                    </a:lnTo>
                    <a:lnTo>
                      <a:pt x="304" y="496"/>
                    </a:lnTo>
                    <a:lnTo>
                      <a:pt x="304" y="496"/>
                    </a:lnTo>
                    <a:lnTo>
                      <a:pt x="304" y="496"/>
                    </a:lnTo>
                    <a:lnTo>
                      <a:pt x="306" y="496"/>
                    </a:lnTo>
                    <a:lnTo>
                      <a:pt x="308" y="498"/>
                    </a:lnTo>
                    <a:lnTo>
                      <a:pt x="308" y="498"/>
                    </a:lnTo>
                    <a:lnTo>
                      <a:pt x="308" y="498"/>
                    </a:lnTo>
                    <a:lnTo>
                      <a:pt x="310" y="498"/>
                    </a:lnTo>
                    <a:lnTo>
                      <a:pt x="310" y="498"/>
                    </a:lnTo>
                    <a:lnTo>
                      <a:pt x="312" y="502"/>
                    </a:lnTo>
                    <a:lnTo>
                      <a:pt x="312" y="502"/>
                    </a:lnTo>
                    <a:lnTo>
                      <a:pt x="314" y="502"/>
                    </a:lnTo>
                    <a:lnTo>
                      <a:pt x="316" y="502"/>
                    </a:lnTo>
                    <a:lnTo>
                      <a:pt x="316" y="502"/>
                    </a:lnTo>
                    <a:lnTo>
                      <a:pt x="316" y="502"/>
                    </a:lnTo>
                    <a:lnTo>
                      <a:pt x="316" y="500"/>
                    </a:lnTo>
                    <a:lnTo>
                      <a:pt x="316" y="500"/>
                    </a:lnTo>
                    <a:lnTo>
                      <a:pt x="316" y="496"/>
                    </a:lnTo>
                    <a:lnTo>
                      <a:pt x="316" y="496"/>
                    </a:lnTo>
                    <a:lnTo>
                      <a:pt x="316" y="494"/>
                    </a:lnTo>
                    <a:lnTo>
                      <a:pt x="318" y="492"/>
                    </a:lnTo>
                    <a:lnTo>
                      <a:pt x="318" y="492"/>
                    </a:lnTo>
                    <a:lnTo>
                      <a:pt x="320" y="490"/>
                    </a:lnTo>
                    <a:lnTo>
                      <a:pt x="322" y="488"/>
                    </a:lnTo>
                    <a:lnTo>
                      <a:pt x="324" y="486"/>
                    </a:lnTo>
                    <a:lnTo>
                      <a:pt x="326" y="484"/>
                    </a:lnTo>
                    <a:lnTo>
                      <a:pt x="326" y="484"/>
                    </a:lnTo>
                    <a:lnTo>
                      <a:pt x="330" y="482"/>
                    </a:lnTo>
                    <a:lnTo>
                      <a:pt x="330" y="482"/>
                    </a:lnTo>
                    <a:lnTo>
                      <a:pt x="332" y="480"/>
                    </a:lnTo>
                    <a:lnTo>
                      <a:pt x="336" y="478"/>
                    </a:lnTo>
                    <a:lnTo>
                      <a:pt x="336" y="478"/>
                    </a:lnTo>
                    <a:lnTo>
                      <a:pt x="340" y="476"/>
                    </a:lnTo>
                    <a:lnTo>
                      <a:pt x="342" y="474"/>
                    </a:lnTo>
                    <a:lnTo>
                      <a:pt x="344" y="472"/>
                    </a:lnTo>
                    <a:lnTo>
                      <a:pt x="344" y="472"/>
                    </a:lnTo>
                    <a:lnTo>
                      <a:pt x="344" y="472"/>
                    </a:lnTo>
                    <a:lnTo>
                      <a:pt x="346" y="472"/>
                    </a:lnTo>
                    <a:lnTo>
                      <a:pt x="348" y="472"/>
                    </a:lnTo>
                    <a:lnTo>
                      <a:pt x="348" y="472"/>
                    </a:lnTo>
                    <a:lnTo>
                      <a:pt x="348" y="472"/>
                    </a:lnTo>
                    <a:lnTo>
                      <a:pt x="350" y="470"/>
                    </a:lnTo>
                    <a:lnTo>
                      <a:pt x="350" y="470"/>
                    </a:lnTo>
                    <a:lnTo>
                      <a:pt x="350" y="468"/>
                    </a:lnTo>
                    <a:lnTo>
                      <a:pt x="350" y="468"/>
                    </a:lnTo>
                    <a:lnTo>
                      <a:pt x="352" y="464"/>
                    </a:lnTo>
                    <a:lnTo>
                      <a:pt x="352" y="462"/>
                    </a:lnTo>
                    <a:lnTo>
                      <a:pt x="354" y="460"/>
                    </a:lnTo>
                    <a:lnTo>
                      <a:pt x="356" y="460"/>
                    </a:lnTo>
                    <a:lnTo>
                      <a:pt x="356" y="458"/>
                    </a:lnTo>
                    <a:lnTo>
                      <a:pt x="356" y="458"/>
                    </a:lnTo>
                    <a:lnTo>
                      <a:pt x="358" y="458"/>
                    </a:lnTo>
                    <a:lnTo>
                      <a:pt x="362" y="458"/>
                    </a:lnTo>
                    <a:lnTo>
                      <a:pt x="364" y="458"/>
                    </a:lnTo>
                    <a:lnTo>
                      <a:pt x="364" y="456"/>
                    </a:lnTo>
                    <a:lnTo>
                      <a:pt x="364" y="456"/>
                    </a:lnTo>
                    <a:lnTo>
                      <a:pt x="366" y="452"/>
                    </a:lnTo>
                    <a:lnTo>
                      <a:pt x="368" y="450"/>
                    </a:lnTo>
                    <a:lnTo>
                      <a:pt x="368" y="450"/>
                    </a:lnTo>
                    <a:lnTo>
                      <a:pt x="368" y="450"/>
                    </a:lnTo>
                    <a:lnTo>
                      <a:pt x="370" y="452"/>
                    </a:lnTo>
                    <a:lnTo>
                      <a:pt x="370" y="452"/>
                    </a:lnTo>
                    <a:lnTo>
                      <a:pt x="370" y="454"/>
                    </a:lnTo>
                    <a:lnTo>
                      <a:pt x="368" y="458"/>
                    </a:lnTo>
                    <a:lnTo>
                      <a:pt x="368" y="458"/>
                    </a:lnTo>
                    <a:lnTo>
                      <a:pt x="368" y="458"/>
                    </a:lnTo>
                    <a:lnTo>
                      <a:pt x="366" y="462"/>
                    </a:lnTo>
                    <a:lnTo>
                      <a:pt x="364" y="464"/>
                    </a:lnTo>
                    <a:lnTo>
                      <a:pt x="362" y="466"/>
                    </a:lnTo>
                    <a:lnTo>
                      <a:pt x="362" y="466"/>
                    </a:lnTo>
                    <a:lnTo>
                      <a:pt x="360" y="468"/>
                    </a:lnTo>
                    <a:lnTo>
                      <a:pt x="360" y="468"/>
                    </a:lnTo>
                    <a:lnTo>
                      <a:pt x="358" y="468"/>
                    </a:lnTo>
                    <a:lnTo>
                      <a:pt x="356" y="468"/>
                    </a:lnTo>
                    <a:lnTo>
                      <a:pt x="356" y="468"/>
                    </a:lnTo>
                    <a:lnTo>
                      <a:pt x="354" y="466"/>
                    </a:lnTo>
                    <a:lnTo>
                      <a:pt x="354" y="466"/>
                    </a:lnTo>
                    <a:lnTo>
                      <a:pt x="354" y="468"/>
                    </a:lnTo>
                    <a:lnTo>
                      <a:pt x="354" y="468"/>
                    </a:lnTo>
                    <a:lnTo>
                      <a:pt x="354" y="470"/>
                    </a:lnTo>
                    <a:lnTo>
                      <a:pt x="354" y="472"/>
                    </a:lnTo>
                    <a:lnTo>
                      <a:pt x="354" y="474"/>
                    </a:lnTo>
                    <a:lnTo>
                      <a:pt x="354" y="476"/>
                    </a:lnTo>
                    <a:lnTo>
                      <a:pt x="354" y="478"/>
                    </a:lnTo>
                    <a:lnTo>
                      <a:pt x="354" y="478"/>
                    </a:lnTo>
                    <a:lnTo>
                      <a:pt x="354" y="480"/>
                    </a:lnTo>
                    <a:lnTo>
                      <a:pt x="354" y="480"/>
                    </a:lnTo>
                    <a:lnTo>
                      <a:pt x="352" y="482"/>
                    </a:lnTo>
                    <a:lnTo>
                      <a:pt x="348" y="484"/>
                    </a:lnTo>
                    <a:lnTo>
                      <a:pt x="348" y="484"/>
                    </a:lnTo>
                    <a:lnTo>
                      <a:pt x="344" y="488"/>
                    </a:lnTo>
                    <a:lnTo>
                      <a:pt x="342" y="490"/>
                    </a:lnTo>
                    <a:lnTo>
                      <a:pt x="342" y="490"/>
                    </a:lnTo>
                    <a:lnTo>
                      <a:pt x="342" y="490"/>
                    </a:lnTo>
                    <a:lnTo>
                      <a:pt x="340" y="494"/>
                    </a:lnTo>
                    <a:lnTo>
                      <a:pt x="338" y="496"/>
                    </a:lnTo>
                    <a:lnTo>
                      <a:pt x="338" y="500"/>
                    </a:lnTo>
                    <a:lnTo>
                      <a:pt x="336" y="502"/>
                    </a:lnTo>
                    <a:lnTo>
                      <a:pt x="336" y="502"/>
                    </a:lnTo>
                    <a:lnTo>
                      <a:pt x="332" y="502"/>
                    </a:lnTo>
                    <a:lnTo>
                      <a:pt x="330" y="504"/>
                    </a:lnTo>
                    <a:lnTo>
                      <a:pt x="328" y="506"/>
                    </a:lnTo>
                    <a:lnTo>
                      <a:pt x="326" y="506"/>
                    </a:lnTo>
                    <a:lnTo>
                      <a:pt x="326" y="506"/>
                    </a:lnTo>
                    <a:lnTo>
                      <a:pt x="326" y="506"/>
                    </a:lnTo>
                    <a:lnTo>
                      <a:pt x="326" y="508"/>
                    </a:lnTo>
                    <a:lnTo>
                      <a:pt x="326" y="508"/>
                    </a:lnTo>
                    <a:lnTo>
                      <a:pt x="326" y="508"/>
                    </a:lnTo>
                    <a:lnTo>
                      <a:pt x="328" y="508"/>
                    </a:lnTo>
                    <a:lnTo>
                      <a:pt x="330" y="508"/>
                    </a:lnTo>
                    <a:lnTo>
                      <a:pt x="330" y="508"/>
                    </a:lnTo>
                    <a:lnTo>
                      <a:pt x="336" y="510"/>
                    </a:lnTo>
                    <a:lnTo>
                      <a:pt x="338" y="508"/>
                    </a:lnTo>
                    <a:lnTo>
                      <a:pt x="338" y="508"/>
                    </a:lnTo>
                    <a:lnTo>
                      <a:pt x="340" y="508"/>
                    </a:lnTo>
                    <a:lnTo>
                      <a:pt x="342" y="506"/>
                    </a:lnTo>
                    <a:lnTo>
                      <a:pt x="342" y="506"/>
                    </a:lnTo>
                    <a:lnTo>
                      <a:pt x="344" y="506"/>
                    </a:lnTo>
                    <a:lnTo>
                      <a:pt x="346" y="504"/>
                    </a:lnTo>
                    <a:lnTo>
                      <a:pt x="346" y="502"/>
                    </a:lnTo>
                    <a:lnTo>
                      <a:pt x="348" y="500"/>
                    </a:lnTo>
                    <a:lnTo>
                      <a:pt x="348" y="500"/>
                    </a:lnTo>
                    <a:lnTo>
                      <a:pt x="350" y="498"/>
                    </a:lnTo>
                    <a:lnTo>
                      <a:pt x="350" y="496"/>
                    </a:lnTo>
                    <a:lnTo>
                      <a:pt x="354" y="494"/>
                    </a:lnTo>
                    <a:lnTo>
                      <a:pt x="354" y="494"/>
                    </a:lnTo>
                    <a:lnTo>
                      <a:pt x="354" y="496"/>
                    </a:lnTo>
                    <a:lnTo>
                      <a:pt x="354" y="500"/>
                    </a:lnTo>
                    <a:lnTo>
                      <a:pt x="354" y="500"/>
                    </a:lnTo>
                    <a:lnTo>
                      <a:pt x="354" y="502"/>
                    </a:lnTo>
                    <a:lnTo>
                      <a:pt x="354" y="504"/>
                    </a:lnTo>
                    <a:lnTo>
                      <a:pt x="354" y="504"/>
                    </a:lnTo>
                    <a:lnTo>
                      <a:pt x="354" y="504"/>
                    </a:lnTo>
                    <a:lnTo>
                      <a:pt x="354" y="506"/>
                    </a:lnTo>
                    <a:lnTo>
                      <a:pt x="354" y="506"/>
                    </a:lnTo>
                    <a:lnTo>
                      <a:pt x="352" y="508"/>
                    </a:lnTo>
                    <a:lnTo>
                      <a:pt x="350" y="510"/>
                    </a:lnTo>
                    <a:lnTo>
                      <a:pt x="348" y="512"/>
                    </a:lnTo>
                    <a:lnTo>
                      <a:pt x="348" y="512"/>
                    </a:lnTo>
                    <a:lnTo>
                      <a:pt x="348" y="512"/>
                    </a:lnTo>
                    <a:lnTo>
                      <a:pt x="348" y="514"/>
                    </a:lnTo>
                    <a:lnTo>
                      <a:pt x="346" y="516"/>
                    </a:lnTo>
                    <a:lnTo>
                      <a:pt x="346" y="516"/>
                    </a:lnTo>
                    <a:lnTo>
                      <a:pt x="348" y="516"/>
                    </a:lnTo>
                    <a:lnTo>
                      <a:pt x="348" y="518"/>
                    </a:lnTo>
                    <a:lnTo>
                      <a:pt x="350" y="520"/>
                    </a:lnTo>
                    <a:lnTo>
                      <a:pt x="350" y="520"/>
                    </a:lnTo>
                    <a:lnTo>
                      <a:pt x="352" y="520"/>
                    </a:lnTo>
                    <a:lnTo>
                      <a:pt x="354" y="522"/>
                    </a:lnTo>
                    <a:lnTo>
                      <a:pt x="354" y="522"/>
                    </a:lnTo>
                    <a:lnTo>
                      <a:pt x="356" y="522"/>
                    </a:lnTo>
                    <a:lnTo>
                      <a:pt x="358" y="522"/>
                    </a:lnTo>
                    <a:lnTo>
                      <a:pt x="358" y="522"/>
                    </a:lnTo>
                    <a:lnTo>
                      <a:pt x="358" y="522"/>
                    </a:lnTo>
                    <a:lnTo>
                      <a:pt x="360" y="524"/>
                    </a:lnTo>
                    <a:lnTo>
                      <a:pt x="360" y="524"/>
                    </a:lnTo>
                    <a:lnTo>
                      <a:pt x="360" y="526"/>
                    </a:lnTo>
                    <a:lnTo>
                      <a:pt x="360" y="526"/>
                    </a:lnTo>
                    <a:lnTo>
                      <a:pt x="358" y="526"/>
                    </a:lnTo>
                    <a:lnTo>
                      <a:pt x="356" y="528"/>
                    </a:lnTo>
                    <a:lnTo>
                      <a:pt x="356" y="528"/>
                    </a:lnTo>
                    <a:lnTo>
                      <a:pt x="354" y="530"/>
                    </a:lnTo>
                    <a:lnTo>
                      <a:pt x="354" y="530"/>
                    </a:lnTo>
                    <a:lnTo>
                      <a:pt x="354" y="532"/>
                    </a:lnTo>
                    <a:lnTo>
                      <a:pt x="356" y="532"/>
                    </a:lnTo>
                    <a:lnTo>
                      <a:pt x="358" y="536"/>
                    </a:lnTo>
                    <a:lnTo>
                      <a:pt x="358" y="536"/>
                    </a:lnTo>
                    <a:lnTo>
                      <a:pt x="358" y="540"/>
                    </a:lnTo>
                    <a:lnTo>
                      <a:pt x="360" y="542"/>
                    </a:lnTo>
                    <a:lnTo>
                      <a:pt x="360" y="544"/>
                    </a:lnTo>
                    <a:lnTo>
                      <a:pt x="360" y="548"/>
                    </a:lnTo>
                    <a:lnTo>
                      <a:pt x="360" y="550"/>
                    </a:lnTo>
                    <a:lnTo>
                      <a:pt x="358" y="552"/>
                    </a:lnTo>
                    <a:lnTo>
                      <a:pt x="358" y="552"/>
                    </a:lnTo>
                    <a:lnTo>
                      <a:pt x="358" y="552"/>
                    </a:lnTo>
                    <a:lnTo>
                      <a:pt x="358" y="552"/>
                    </a:lnTo>
                    <a:lnTo>
                      <a:pt x="356" y="554"/>
                    </a:lnTo>
                    <a:lnTo>
                      <a:pt x="356" y="554"/>
                    </a:lnTo>
                    <a:lnTo>
                      <a:pt x="354" y="556"/>
                    </a:lnTo>
                    <a:lnTo>
                      <a:pt x="354" y="558"/>
                    </a:lnTo>
                    <a:lnTo>
                      <a:pt x="354" y="558"/>
                    </a:lnTo>
                    <a:lnTo>
                      <a:pt x="352" y="562"/>
                    </a:lnTo>
                    <a:lnTo>
                      <a:pt x="352" y="564"/>
                    </a:lnTo>
                    <a:lnTo>
                      <a:pt x="352" y="570"/>
                    </a:lnTo>
                    <a:lnTo>
                      <a:pt x="352" y="570"/>
                    </a:lnTo>
                    <a:lnTo>
                      <a:pt x="354" y="574"/>
                    </a:lnTo>
                    <a:lnTo>
                      <a:pt x="354" y="576"/>
                    </a:lnTo>
                    <a:lnTo>
                      <a:pt x="356" y="578"/>
                    </a:lnTo>
                    <a:lnTo>
                      <a:pt x="358" y="578"/>
                    </a:lnTo>
                    <a:lnTo>
                      <a:pt x="362" y="582"/>
                    </a:lnTo>
                    <a:lnTo>
                      <a:pt x="364" y="584"/>
                    </a:lnTo>
                    <a:lnTo>
                      <a:pt x="366" y="588"/>
                    </a:lnTo>
                    <a:lnTo>
                      <a:pt x="366" y="588"/>
                    </a:lnTo>
                    <a:lnTo>
                      <a:pt x="366" y="590"/>
                    </a:lnTo>
                    <a:lnTo>
                      <a:pt x="370" y="590"/>
                    </a:lnTo>
                    <a:lnTo>
                      <a:pt x="372" y="592"/>
                    </a:lnTo>
                    <a:lnTo>
                      <a:pt x="374" y="592"/>
                    </a:lnTo>
                    <a:lnTo>
                      <a:pt x="374" y="592"/>
                    </a:lnTo>
                    <a:lnTo>
                      <a:pt x="376" y="592"/>
                    </a:lnTo>
                    <a:lnTo>
                      <a:pt x="378" y="592"/>
                    </a:lnTo>
                    <a:lnTo>
                      <a:pt x="382" y="594"/>
                    </a:lnTo>
                    <a:lnTo>
                      <a:pt x="382" y="594"/>
                    </a:lnTo>
                    <a:lnTo>
                      <a:pt x="384" y="594"/>
                    </a:lnTo>
                    <a:lnTo>
                      <a:pt x="384" y="594"/>
                    </a:lnTo>
                    <a:lnTo>
                      <a:pt x="386" y="596"/>
                    </a:lnTo>
                    <a:lnTo>
                      <a:pt x="388" y="598"/>
                    </a:lnTo>
                    <a:lnTo>
                      <a:pt x="392" y="602"/>
                    </a:lnTo>
                    <a:lnTo>
                      <a:pt x="392" y="602"/>
                    </a:lnTo>
                    <a:lnTo>
                      <a:pt x="394" y="602"/>
                    </a:lnTo>
                    <a:lnTo>
                      <a:pt x="396" y="604"/>
                    </a:lnTo>
                    <a:lnTo>
                      <a:pt x="398" y="604"/>
                    </a:lnTo>
                    <a:lnTo>
                      <a:pt x="400" y="604"/>
                    </a:lnTo>
                    <a:lnTo>
                      <a:pt x="400" y="604"/>
                    </a:lnTo>
                    <a:lnTo>
                      <a:pt x="402" y="604"/>
                    </a:lnTo>
                    <a:lnTo>
                      <a:pt x="404" y="602"/>
                    </a:lnTo>
                    <a:lnTo>
                      <a:pt x="408" y="600"/>
                    </a:lnTo>
                    <a:lnTo>
                      <a:pt x="408" y="600"/>
                    </a:lnTo>
                    <a:lnTo>
                      <a:pt x="414" y="600"/>
                    </a:lnTo>
                    <a:lnTo>
                      <a:pt x="418" y="598"/>
                    </a:lnTo>
                    <a:lnTo>
                      <a:pt x="418" y="598"/>
                    </a:lnTo>
                    <a:lnTo>
                      <a:pt x="422" y="598"/>
                    </a:lnTo>
                    <a:lnTo>
                      <a:pt x="422" y="598"/>
                    </a:lnTo>
                    <a:lnTo>
                      <a:pt x="424" y="598"/>
                    </a:lnTo>
                    <a:lnTo>
                      <a:pt x="424" y="598"/>
                    </a:lnTo>
                    <a:lnTo>
                      <a:pt x="426" y="600"/>
                    </a:lnTo>
                    <a:lnTo>
                      <a:pt x="426" y="600"/>
                    </a:lnTo>
                    <a:lnTo>
                      <a:pt x="426" y="600"/>
                    </a:lnTo>
                    <a:lnTo>
                      <a:pt x="426" y="600"/>
                    </a:lnTo>
                    <a:lnTo>
                      <a:pt x="428" y="600"/>
                    </a:lnTo>
                    <a:lnTo>
                      <a:pt x="428" y="600"/>
                    </a:lnTo>
                    <a:lnTo>
                      <a:pt x="428" y="600"/>
                    </a:lnTo>
                    <a:lnTo>
                      <a:pt x="428" y="600"/>
                    </a:lnTo>
                    <a:lnTo>
                      <a:pt x="428" y="602"/>
                    </a:lnTo>
                    <a:lnTo>
                      <a:pt x="428" y="602"/>
                    </a:lnTo>
                    <a:lnTo>
                      <a:pt x="428" y="604"/>
                    </a:lnTo>
                    <a:lnTo>
                      <a:pt x="428" y="604"/>
                    </a:lnTo>
                    <a:lnTo>
                      <a:pt x="426" y="604"/>
                    </a:lnTo>
                    <a:lnTo>
                      <a:pt x="428" y="606"/>
                    </a:lnTo>
                    <a:lnTo>
                      <a:pt x="430" y="606"/>
                    </a:lnTo>
                    <a:lnTo>
                      <a:pt x="430" y="606"/>
                    </a:lnTo>
                    <a:lnTo>
                      <a:pt x="430" y="608"/>
                    </a:lnTo>
                    <a:lnTo>
                      <a:pt x="430" y="608"/>
                    </a:lnTo>
                    <a:lnTo>
                      <a:pt x="432" y="612"/>
                    </a:lnTo>
                    <a:lnTo>
                      <a:pt x="432" y="614"/>
                    </a:lnTo>
                    <a:lnTo>
                      <a:pt x="434" y="616"/>
                    </a:lnTo>
                    <a:lnTo>
                      <a:pt x="434" y="616"/>
                    </a:lnTo>
                    <a:lnTo>
                      <a:pt x="434" y="618"/>
                    </a:lnTo>
                    <a:lnTo>
                      <a:pt x="436" y="618"/>
                    </a:lnTo>
                    <a:lnTo>
                      <a:pt x="436" y="618"/>
                    </a:lnTo>
                    <a:lnTo>
                      <a:pt x="438" y="618"/>
                    </a:lnTo>
                    <a:lnTo>
                      <a:pt x="438" y="618"/>
                    </a:lnTo>
                    <a:lnTo>
                      <a:pt x="442" y="616"/>
                    </a:lnTo>
                    <a:lnTo>
                      <a:pt x="442" y="616"/>
                    </a:lnTo>
                    <a:lnTo>
                      <a:pt x="442" y="614"/>
                    </a:lnTo>
                    <a:lnTo>
                      <a:pt x="444" y="614"/>
                    </a:lnTo>
                    <a:lnTo>
                      <a:pt x="446" y="614"/>
                    </a:lnTo>
                    <a:lnTo>
                      <a:pt x="448" y="612"/>
                    </a:lnTo>
                    <a:lnTo>
                      <a:pt x="450" y="612"/>
                    </a:lnTo>
                    <a:lnTo>
                      <a:pt x="450" y="612"/>
                    </a:lnTo>
                    <a:lnTo>
                      <a:pt x="452" y="610"/>
                    </a:lnTo>
                    <a:lnTo>
                      <a:pt x="454" y="608"/>
                    </a:lnTo>
                    <a:lnTo>
                      <a:pt x="460" y="606"/>
                    </a:lnTo>
                    <a:lnTo>
                      <a:pt x="460" y="606"/>
                    </a:lnTo>
                    <a:lnTo>
                      <a:pt x="464" y="604"/>
                    </a:lnTo>
                    <a:lnTo>
                      <a:pt x="466" y="602"/>
                    </a:lnTo>
                    <a:lnTo>
                      <a:pt x="466" y="602"/>
                    </a:lnTo>
                    <a:lnTo>
                      <a:pt x="468" y="600"/>
                    </a:lnTo>
                    <a:lnTo>
                      <a:pt x="470" y="600"/>
                    </a:lnTo>
                    <a:lnTo>
                      <a:pt x="470" y="600"/>
                    </a:lnTo>
                    <a:lnTo>
                      <a:pt x="470" y="600"/>
                    </a:lnTo>
                    <a:lnTo>
                      <a:pt x="470" y="598"/>
                    </a:lnTo>
                    <a:lnTo>
                      <a:pt x="470" y="598"/>
                    </a:lnTo>
                    <a:lnTo>
                      <a:pt x="472" y="596"/>
                    </a:lnTo>
                    <a:lnTo>
                      <a:pt x="472" y="596"/>
                    </a:lnTo>
                    <a:lnTo>
                      <a:pt x="472" y="596"/>
                    </a:lnTo>
                    <a:lnTo>
                      <a:pt x="474" y="596"/>
                    </a:lnTo>
                    <a:lnTo>
                      <a:pt x="474" y="594"/>
                    </a:lnTo>
                    <a:lnTo>
                      <a:pt x="476" y="594"/>
                    </a:lnTo>
                    <a:lnTo>
                      <a:pt x="476" y="594"/>
                    </a:lnTo>
                    <a:lnTo>
                      <a:pt x="480" y="596"/>
                    </a:lnTo>
                    <a:lnTo>
                      <a:pt x="482" y="596"/>
                    </a:lnTo>
                    <a:lnTo>
                      <a:pt x="484" y="596"/>
                    </a:lnTo>
                    <a:lnTo>
                      <a:pt x="486" y="596"/>
                    </a:lnTo>
                    <a:lnTo>
                      <a:pt x="486" y="596"/>
                    </a:lnTo>
                    <a:lnTo>
                      <a:pt x="492" y="596"/>
                    </a:lnTo>
                    <a:lnTo>
                      <a:pt x="494" y="596"/>
                    </a:lnTo>
                    <a:lnTo>
                      <a:pt x="496" y="596"/>
                    </a:lnTo>
                    <a:lnTo>
                      <a:pt x="496" y="596"/>
                    </a:lnTo>
                    <a:lnTo>
                      <a:pt x="498" y="594"/>
                    </a:lnTo>
                    <a:lnTo>
                      <a:pt x="500" y="594"/>
                    </a:lnTo>
                    <a:lnTo>
                      <a:pt x="504" y="590"/>
                    </a:lnTo>
                    <a:lnTo>
                      <a:pt x="504" y="590"/>
                    </a:lnTo>
                    <a:lnTo>
                      <a:pt x="506" y="588"/>
                    </a:lnTo>
                    <a:lnTo>
                      <a:pt x="506" y="586"/>
                    </a:lnTo>
                    <a:lnTo>
                      <a:pt x="508" y="580"/>
                    </a:lnTo>
                    <a:lnTo>
                      <a:pt x="508" y="580"/>
                    </a:lnTo>
                    <a:lnTo>
                      <a:pt x="510" y="578"/>
                    </a:lnTo>
                    <a:lnTo>
                      <a:pt x="510" y="576"/>
                    </a:lnTo>
                    <a:lnTo>
                      <a:pt x="514" y="572"/>
                    </a:lnTo>
                    <a:lnTo>
                      <a:pt x="514" y="572"/>
                    </a:lnTo>
                    <a:lnTo>
                      <a:pt x="516" y="568"/>
                    </a:lnTo>
                    <a:lnTo>
                      <a:pt x="518" y="566"/>
                    </a:lnTo>
                    <a:lnTo>
                      <a:pt x="520" y="564"/>
                    </a:lnTo>
                    <a:lnTo>
                      <a:pt x="520" y="564"/>
                    </a:lnTo>
                    <a:lnTo>
                      <a:pt x="522" y="562"/>
                    </a:lnTo>
                    <a:lnTo>
                      <a:pt x="522" y="562"/>
                    </a:lnTo>
                    <a:lnTo>
                      <a:pt x="524" y="560"/>
                    </a:lnTo>
                    <a:lnTo>
                      <a:pt x="524" y="560"/>
                    </a:lnTo>
                    <a:lnTo>
                      <a:pt x="524" y="558"/>
                    </a:lnTo>
                    <a:lnTo>
                      <a:pt x="524" y="558"/>
                    </a:lnTo>
                    <a:lnTo>
                      <a:pt x="524" y="554"/>
                    </a:lnTo>
                    <a:lnTo>
                      <a:pt x="524" y="554"/>
                    </a:lnTo>
                    <a:lnTo>
                      <a:pt x="524" y="554"/>
                    </a:lnTo>
                    <a:lnTo>
                      <a:pt x="526" y="552"/>
                    </a:lnTo>
                    <a:lnTo>
                      <a:pt x="528" y="552"/>
                    </a:lnTo>
                    <a:lnTo>
                      <a:pt x="530" y="550"/>
                    </a:lnTo>
                    <a:lnTo>
                      <a:pt x="532" y="548"/>
                    </a:lnTo>
                    <a:lnTo>
                      <a:pt x="532" y="548"/>
                    </a:lnTo>
                    <a:lnTo>
                      <a:pt x="536" y="546"/>
                    </a:lnTo>
                    <a:lnTo>
                      <a:pt x="538" y="544"/>
                    </a:lnTo>
                    <a:lnTo>
                      <a:pt x="540" y="540"/>
                    </a:lnTo>
                    <a:lnTo>
                      <a:pt x="540" y="538"/>
                    </a:lnTo>
                    <a:lnTo>
                      <a:pt x="540" y="538"/>
                    </a:lnTo>
                    <a:lnTo>
                      <a:pt x="540" y="534"/>
                    </a:lnTo>
                    <a:lnTo>
                      <a:pt x="540" y="532"/>
                    </a:lnTo>
                    <a:lnTo>
                      <a:pt x="540" y="532"/>
                    </a:lnTo>
                    <a:lnTo>
                      <a:pt x="542" y="530"/>
                    </a:lnTo>
                    <a:lnTo>
                      <a:pt x="542" y="530"/>
                    </a:lnTo>
                    <a:lnTo>
                      <a:pt x="544" y="528"/>
                    </a:lnTo>
                    <a:lnTo>
                      <a:pt x="544" y="528"/>
                    </a:lnTo>
                    <a:lnTo>
                      <a:pt x="546" y="522"/>
                    </a:lnTo>
                    <a:lnTo>
                      <a:pt x="548" y="520"/>
                    </a:lnTo>
                    <a:lnTo>
                      <a:pt x="550" y="518"/>
                    </a:lnTo>
                    <a:lnTo>
                      <a:pt x="550" y="518"/>
                    </a:lnTo>
                    <a:lnTo>
                      <a:pt x="552" y="516"/>
                    </a:lnTo>
                    <a:lnTo>
                      <a:pt x="556" y="512"/>
                    </a:lnTo>
                    <a:lnTo>
                      <a:pt x="556" y="512"/>
                    </a:lnTo>
                    <a:lnTo>
                      <a:pt x="558" y="512"/>
                    </a:lnTo>
                    <a:lnTo>
                      <a:pt x="558" y="510"/>
                    </a:lnTo>
                    <a:lnTo>
                      <a:pt x="560" y="508"/>
                    </a:lnTo>
                    <a:lnTo>
                      <a:pt x="560" y="508"/>
                    </a:lnTo>
                    <a:lnTo>
                      <a:pt x="562" y="506"/>
                    </a:lnTo>
                    <a:lnTo>
                      <a:pt x="564" y="504"/>
                    </a:lnTo>
                    <a:lnTo>
                      <a:pt x="566" y="502"/>
                    </a:lnTo>
                    <a:lnTo>
                      <a:pt x="568" y="500"/>
                    </a:lnTo>
                    <a:lnTo>
                      <a:pt x="568" y="500"/>
                    </a:lnTo>
                    <a:lnTo>
                      <a:pt x="568" y="498"/>
                    </a:lnTo>
                    <a:lnTo>
                      <a:pt x="568" y="498"/>
                    </a:lnTo>
                    <a:lnTo>
                      <a:pt x="568" y="496"/>
                    </a:lnTo>
                    <a:lnTo>
                      <a:pt x="570" y="494"/>
                    </a:lnTo>
                    <a:lnTo>
                      <a:pt x="570" y="492"/>
                    </a:lnTo>
                    <a:lnTo>
                      <a:pt x="570" y="490"/>
                    </a:lnTo>
                    <a:lnTo>
                      <a:pt x="570" y="490"/>
                    </a:lnTo>
                    <a:lnTo>
                      <a:pt x="572" y="490"/>
                    </a:lnTo>
                    <a:lnTo>
                      <a:pt x="576" y="490"/>
                    </a:lnTo>
                    <a:lnTo>
                      <a:pt x="578" y="488"/>
                    </a:lnTo>
                    <a:lnTo>
                      <a:pt x="580" y="488"/>
                    </a:lnTo>
                    <a:lnTo>
                      <a:pt x="582" y="488"/>
                    </a:lnTo>
                    <a:lnTo>
                      <a:pt x="584" y="488"/>
                    </a:lnTo>
                    <a:lnTo>
                      <a:pt x="584" y="488"/>
                    </a:lnTo>
                    <a:lnTo>
                      <a:pt x="586" y="486"/>
                    </a:lnTo>
                    <a:lnTo>
                      <a:pt x="586" y="484"/>
                    </a:lnTo>
                    <a:lnTo>
                      <a:pt x="588" y="482"/>
                    </a:lnTo>
                    <a:lnTo>
                      <a:pt x="590" y="480"/>
                    </a:lnTo>
                    <a:lnTo>
                      <a:pt x="590" y="480"/>
                    </a:lnTo>
                    <a:lnTo>
                      <a:pt x="594" y="478"/>
                    </a:lnTo>
                    <a:lnTo>
                      <a:pt x="596" y="474"/>
                    </a:lnTo>
                    <a:lnTo>
                      <a:pt x="600" y="466"/>
                    </a:lnTo>
                    <a:lnTo>
                      <a:pt x="600" y="466"/>
                    </a:lnTo>
                    <a:lnTo>
                      <a:pt x="604" y="462"/>
                    </a:lnTo>
                    <a:lnTo>
                      <a:pt x="606" y="458"/>
                    </a:lnTo>
                    <a:lnTo>
                      <a:pt x="608" y="456"/>
                    </a:lnTo>
                    <a:lnTo>
                      <a:pt x="608" y="456"/>
                    </a:lnTo>
                    <a:lnTo>
                      <a:pt x="610" y="454"/>
                    </a:lnTo>
                    <a:lnTo>
                      <a:pt x="610" y="450"/>
                    </a:lnTo>
                    <a:lnTo>
                      <a:pt x="610" y="448"/>
                    </a:lnTo>
                    <a:lnTo>
                      <a:pt x="612" y="444"/>
                    </a:lnTo>
                    <a:lnTo>
                      <a:pt x="612" y="444"/>
                    </a:lnTo>
                    <a:lnTo>
                      <a:pt x="614" y="442"/>
                    </a:lnTo>
                    <a:lnTo>
                      <a:pt x="614" y="440"/>
                    </a:lnTo>
                    <a:lnTo>
                      <a:pt x="616" y="438"/>
                    </a:lnTo>
                    <a:lnTo>
                      <a:pt x="618" y="434"/>
                    </a:lnTo>
                    <a:lnTo>
                      <a:pt x="618" y="434"/>
                    </a:lnTo>
                    <a:lnTo>
                      <a:pt x="624" y="426"/>
                    </a:lnTo>
                    <a:lnTo>
                      <a:pt x="628" y="420"/>
                    </a:lnTo>
                    <a:lnTo>
                      <a:pt x="630" y="414"/>
                    </a:lnTo>
                    <a:lnTo>
                      <a:pt x="630" y="414"/>
                    </a:lnTo>
                    <a:lnTo>
                      <a:pt x="634" y="410"/>
                    </a:lnTo>
                    <a:lnTo>
                      <a:pt x="636" y="404"/>
                    </a:lnTo>
                    <a:lnTo>
                      <a:pt x="636" y="404"/>
                    </a:lnTo>
                    <a:lnTo>
                      <a:pt x="636" y="400"/>
                    </a:lnTo>
                    <a:lnTo>
                      <a:pt x="636" y="398"/>
                    </a:lnTo>
                    <a:lnTo>
                      <a:pt x="636" y="392"/>
                    </a:lnTo>
                    <a:lnTo>
                      <a:pt x="636" y="392"/>
                    </a:lnTo>
                    <a:lnTo>
                      <a:pt x="636" y="386"/>
                    </a:lnTo>
                    <a:lnTo>
                      <a:pt x="638" y="382"/>
                    </a:lnTo>
                    <a:lnTo>
                      <a:pt x="638" y="380"/>
                    </a:lnTo>
                    <a:lnTo>
                      <a:pt x="638" y="380"/>
                    </a:lnTo>
                    <a:lnTo>
                      <a:pt x="640" y="372"/>
                    </a:lnTo>
                    <a:lnTo>
                      <a:pt x="642" y="366"/>
                    </a:lnTo>
                    <a:lnTo>
                      <a:pt x="642" y="366"/>
                    </a:lnTo>
                    <a:lnTo>
                      <a:pt x="642" y="364"/>
                    </a:lnTo>
                    <a:lnTo>
                      <a:pt x="644" y="362"/>
                    </a:lnTo>
                    <a:lnTo>
                      <a:pt x="644" y="358"/>
                    </a:lnTo>
                    <a:lnTo>
                      <a:pt x="644" y="354"/>
                    </a:lnTo>
                    <a:lnTo>
                      <a:pt x="644" y="350"/>
                    </a:lnTo>
                    <a:lnTo>
                      <a:pt x="644" y="350"/>
                    </a:lnTo>
                    <a:lnTo>
                      <a:pt x="646" y="344"/>
                    </a:lnTo>
                    <a:lnTo>
                      <a:pt x="646" y="338"/>
                    </a:lnTo>
                    <a:lnTo>
                      <a:pt x="646" y="338"/>
                    </a:lnTo>
                    <a:lnTo>
                      <a:pt x="646" y="334"/>
                    </a:lnTo>
                    <a:lnTo>
                      <a:pt x="646" y="332"/>
                    </a:lnTo>
                    <a:lnTo>
                      <a:pt x="646" y="330"/>
                    </a:lnTo>
                    <a:lnTo>
                      <a:pt x="646" y="330"/>
                    </a:lnTo>
                    <a:lnTo>
                      <a:pt x="644" y="330"/>
                    </a:lnTo>
                    <a:lnTo>
                      <a:pt x="644" y="328"/>
                    </a:lnTo>
                    <a:lnTo>
                      <a:pt x="642" y="328"/>
                    </a:lnTo>
                    <a:lnTo>
                      <a:pt x="642" y="328"/>
                    </a:lnTo>
                    <a:lnTo>
                      <a:pt x="642" y="328"/>
                    </a:lnTo>
                    <a:lnTo>
                      <a:pt x="642" y="326"/>
                    </a:lnTo>
                    <a:lnTo>
                      <a:pt x="642" y="324"/>
                    </a:lnTo>
                    <a:lnTo>
                      <a:pt x="642" y="322"/>
                    </a:lnTo>
                    <a:lnTo>
                      <a:pt x="642" y="322"/>
                    </a:lnTo>
                    <a:lnTo>
                      <a:pt x="642" y="318"/>
                    </a:lnTo>
                    <a:lnTo>
                      <a:pt x="642" y="316"/>
                    </a:lnTo>
                    <a:lnTo>
                      <a:pt x="642" y="314"/>
                    </a:lnTo>
                    <a:lnTo>
                      <a:pt x="640" y="310"/>
                    </a:lnTo>
                    <a:lnTo>
                      <a:pt x="640" y="310"/>
                    </a:lnTo>
                    <a:lnTo>
                      <a:pt x="640" y="308"/>
                    </a:lnTo>
                    <a:lnTo>
                      <a:pt x="640" y="306"/>
                    </a:lnTo>
                    <a:lnTo>
                      <a:pt x="640" y="306"/>
                    </a:lnTo>
                    <a:lnTo>
                      <a:pt x="640" y="306"/>
                    </a:lnTo>
                    <a:lnTo>
                      <a:pt x="638" y="306"/>
                    </a:lnTo>
                    <a:lnTo>
                      <a:pt x="638" y="304"/>
                    </a:lnTo>
                    <a:lnTo>
                      <a:pt x="636" y="304"/>
                    </a:lnTo>
                    <a:lnTo>
                      <a:pt x="636" y="304"/>
                    </a:lnTo>
                    <a:lnTo>
                      <a:pt x="634" y="302"/>
                    </a:lnTo>
                    <a:lnTo>
                      <a:pt x="632" y="300"/>
                    </a:lnTo>
                    <a:lnTo>
                      <a:pt x="632" y="300"/>
                    </a:lnTo>
                    <a:lnTo>
                      <a:pt x="632" y="300"/>
                    </a:lnTo>
                    <a:lnTo>
                      <a:pt x="630" y="298"/>
                    </a:lnTo>
                    <a:lnTo>
                      <a:pt x="632" y="298"/>
                    </a:lnTo>
                    <a:lnTo>
                      <a:pt x="632" y="296"/>
                    </a:lnTo>
                    <a:lnTo>
                      <a:pt x="632" y="294"/>
                    </a:lnTo>
                    <a:lnTo>
                      <a:pt x="632" y="294"/>
                    </a:lnTo>
                    <a:lnTo>
                      <a:pt x="632" y="294"/>
                    </a:lnTo>
                    <a:lnTo>
                      <a:pt x="630" y="292"/>
                    </a:lnTo>
                    <a:lnTo>
                      <a:pt x="630" y="292"/>
                    </a:lnTo>
                    <a:lnTo>
                      <a:pt x="628" y="290"/>
                    </a:lnTo>
                    <a:lnTo>
                      <a:pt x="628" y="290"/>
                    </a:lnTo>
                    <a:lnTo>
                      <a:pt x="628" y="290"/>
                    </a:lnTo>
                    <a:lnTo>
                      <a:pt x="628" y="288"/>
                    </a:lnTo>
                    <a:lnTo>
                      <a:pt x="628" y="288"/>
                    </a:lnTo>
                    <a:lnTo>
                      <a:pt x="628" y="286"/>
                    </a:lnTo>
                    <a:lnTo>
                      <a:pt x="628" y="286"/>
                    </a:lnTo>
                    <a:lnTo>
                      <a:pt x="626" y="284"/>
                    </a:lnTo>
                    <a:lnTo>
                      <a:pt x="626" y="282"/>
                    </a:lnTo>
                    <a:lnTo>
                      <a:pt x="626" y="280"/>
                    </a:lnTo>
                    <a:lnTo>
                      <a:pt x="626" y="280"/>
                    </a:lnTo>
                    <a:lnTo>
                      <a:pt x="626" y="278"/>
                    </a:lnTo>
                    <a:lnTo>
                      <a:pt x="626" y="276"/>
                    </a:lnTo>
                    <a:lnTo>
                      <a:pt x="626" y="276"/>
                    </a:lnTo>
                    <a:lnTo>
                      <a:pt x="628" y="276"/>
                    </a:lnTo>
                    <a:lnTo>
                      <a:pt x="630" y="274"/>
                    </a:lnTo>
                    <a:lnTo>
                      <a:pt x="632" y="272"/>
                    </a:lnTo>
                    <a:lnTo>
                      <a:pt x="632" y="272"/>
                    </a:lnTo>
                    <a:lnTo>
                      <a:pt x="632" y="270"/>
                    </a:lnTo>
                    <a:lnTo>
                      <a:pt x="632" y="268"/>
                    </a:lnTo>
                    <a:lnTo>
                      <a:pt x="632" y="268"/>
                    </a:lnTo>
                    <a:lnTo>
                      <a:pt x="632" y="268"/>
                    </a:lnTo>
                    <a:lnTo>
                      <a:pt x="630" y="266"/>
                    </a:lnTo>
                    <a:lnTo>
                      <a:pt x="628" y="264"/>
                    </a:lnTo>
                    <a:lnTo>
                      <a:pt x="628" y="264"/>
                    </a:lnTo>
                    <a:lnTo>
                      <a:pt x="626" y="264"/>
                    </a:lnTo>
                    <a:lnTo>
                      <a:pt x="626" y="262"/>
                    </a:lnTo>
                    <a:lnTo>
                      <a:pt x="626" y="258"/>
                    </a:lnTo>
                    <a:lnTo>
                      <a:pt x="626" y="258"/>
                    </a:lnTo>
                    <a:lnTo>
                      <a:pt x="624" y="258"/>
                    </a:lnTo>
                    <a:lnTo>
                      <a:pt x="624" y="256"/>
                    </a:lnTo>
                    <a:lnTo>
                      <a:pt x="622" y="254"/>
                    </a:lnTo>
                    <a:lnTo>
                      <a:pt x="622" y="254"/>
                    </a:lnTo>
                    <a:lnTo>
                      <a:pt x="620" y="254"/>
                    </a:lnTo>
                    <a:lnTo>
                      <a:pt x="620" y="254"/>
                    </a:lnTo>
                    <a:lnTo>
                      <a:pt x="620" y="254"/>
                    </a:lnTo>
                    <a:lnTo>
                      <a:pt x="618" y="254"/>
                    </a:lnTo>
                    <a:lnTo>
                      <a:pt x="618" y="254"/>
                    </a:lnTo>
                    <a:lnTo>
                      <a:pt x="618" y="256"/>
                    </a:lnTo>
                    <a:lnTo>
                      <a:pt x="618" y="258"/>
                    </a:lnTo>
                    <a:lnTo>
                      <a:pt x="618" y="260"/>
                    </a:lnTo>
                    <a:lnTo>
                      <a:pt x="618" y="260"/>
                    </a:lnTo>
                    <a:lnTo>
                      <a:pt x="616" y="260"/>
                    </a:lnTo>
                    <a:lnTo>
                      <a:pt x="616" y="260"/>
                    </a:lnTo>
                    <a:lnTo>
                      <a:pt x="614" y="260"/>
                    </a:lnTo>
                    <a:lnTo>
                      <a:pt x="614" y="258"/>
                    </a:lnTo>
                    <a:lnTo>
                      <a:pt x="614" y="256"/>
                    </a:lnTo>
                    <a:lnTo>
                      <a:pt x="614" y="254"/>
                    </a:lnTo>
                    <a:lnTo>
                      <a:pt x="614" y="254"/>
                    </a:lnTo>
                    <a:lnTo>
                      <a:pt x="614" y="250"/>
                    </a:lnTo>
                    <a:lnTo>
                      <a:pt x="616" y="248"/>
                    </a:lnTo>
                    <a:lnTo>
                      <a:pt x="618" y="244"/>
                    </a:lnTo>
                    <a:lnTo>
                      <a:pt x="618" y="244"/>
                    </a:lnTo>
                    <a:lnTo>
                      <a:pt x="618" y="242"/>
                    </a:lnTo>
                    <a:lnTo>
                      <a:pt x="618" y="240"/>
                    </a:lnTo>
                    <a:lnTo>
                      <a:pt x="618" y="240"/>
                    </a:lnTo>
                    <a:lnTo>
                      <a:pt x="616" y="238"/>
                    </a:lnTo>
                    <a:lnTo>
                      <a:pt x="616" y="236"/>
                    </a:lnTo>
                    <a:lnTo>
                      <a:pt x="614" y="234"/>
                    </a:lnTo>
                    <a:lnTo>
                      <a:pt x="614" y="234"/>
                    </a:lnTo>
                    <a:lnTo>
                      <a:pt x="612" y="230"/>
                    </a:lnTo>
                    <a:lnTo>
                      <a:pt x="612" y="228"/>
                    </a:lnTo>
                    <a:lnTo>
                      <a:pt x="612" y="226"/>
                    </a:lnTo>
                    <a:lnTo>
                      <a:pt x="612" y="224"/>
                    </a:lnTo>
                    <a:lnTo>
                      <a:pt x="612" y="218"/>
                    </a:lnTo>
                    <a:lnTo>
                      <a:pt x="612" y="212"/>
                    </a:lnTo>
                    <a:lnTo>
                      <a:pt x="612" y="212"/>
                    </a:lnTo>
                    <a:lnTo>
                      <a:pt x="612" y="212"/>
                    </a:lnTo>
                    <a:lnTo>
                      <a:pt x="610" y="210"/>
                    </a:lnTo>
                    <a:lnTo>
                      <a:pt x="608" y="208"/>
                    </a:lnTo>
                    <a:lnTo>
                      <a:pt x="608" y="208"/>
                    </a:lnTo>
                    <a:lnTo>
                      <a:pt x="606" y="206"/>
                    </a:lnTo>
                    <a:lnTo>
                      <a:pt x="604" y="202"/>
                    </a:lnTo>
                    <a:lnTo>
                      <a:pt x="598" y="200"/>
                    </a:lnTo>
                    <a:lnTo>
                      <a:pt x="598" y="200"/>
                    </a:lnTo>
                    <a:lnTo>
                      <a:pt x="596" y="196"/>
                    </a:lnTo>
                    <a:lnTo>
                      <a:pt x="594" y="196"/>
                    </a:lnTo>
                    <a:lnTo>
                      <a:pt x="594" y="196"/>
                    </a:lnTo>
                    <a:lnTo>
                      <a:pt x="594" y="194"/>
                    </a:lnTo>
                    <a:lnTo>
                      <a:pt x="594" y="194"/>
                    </a:lnTo>
                    <a:lnTo>
                      <a:pt x="594" y="194"/>
                    </a:lnTo>
                    <a:lnTo>
                      <a:pt x="592" y="194"/>
                    </a:lnTo>
                    <a:lnTo>
                      <a:pt x="590" y="194"/>
                    </a:lnTo>
                    <a:lnTo>
                      <a:pt x="590" y="194"/>
                    </a:lnTo>
                    <a:lnTo>
                      <a:pt x="590" y="194"/>
                    </a:lnTo>
                    <a:lnTo>
                      <a:pt x="590" y="192"/>
                    </a:lnTo>
                    <a:lnTo>
                      <a:pt x="588" y="190"/>
                    </a:lnTo>
                    <a:lnTo>
                      <a:pt x="588" y="190"/>
                    </a:lnTo>
                    <a:lnTo>
                      <a:pt x="586" y="186"/>
                    </a:lnTo>
                    <a:lnTo>
                      <a:pt x="584" y="184"/>
                    </a:lnTo>
                    <a:lnTo>
                      <a:pt x="584" y="184"/>
                    </a:lnTo>
                    <a:lnTo>
                      <a:pt x="582" y="182"/>
                    </a:lnTo>
                    <a:lnTo>
                      <a:pt x="582" y="180"/>
                    </a:lnTo>
                    <a:lnTo>
                      <a:pt x="582" y="178"/>
                    </a:lnTo>
                    <a:lnTo>
                      <a:pt x="582" y="174"/>
                    </a:lnTo>
                    <a:lnTo>
                      <a:pt x="582" y="172"/>
                    </a:lnTo>
                    <a:lnTo>
                      <a:pt x="582" y="172"/>
                    </a:lnTo>
                    <a:lnTo>
                      <a:pt x="582" y="168"/>
                    </a:lnTo>
                    <a:lnTo>
                      <a:pt x="582" y="166"/>
                    </a:lnTo>
                    <a:lnTo>
                      <a:pt x="582" y="166"/>
                    </a:lnTo>
                    <a:lnTo>
                      <a:pt x="584" y="162"/>
                    </a:lnTo>
                    <a:lnTo>
                      <a:pt x="584" y="160"/>
                    </a:lnTo>
                    <a:lnTo>
                      <a:pt x="586" y="160"/>
                    </a:lnTo>
                    <a:lnTo>
                      <a:pt x="586" y="160"/>
                    </a:lnTo>
                    <a:lnTo>
                      <a:pt x="586" y="156"/>
                    </a:lnTo>
                    <a:lnTo>
                      <a:pt x="586" y="150"/>
                    </a:lnTo>
                    <a:lnTo>
                      <a:pt x="586" y="148"/>
                    </a:lnTo>
                    <a:lnTo>
                      <a:pt x="584" y="144"/>
                    </a:lnTo>
                    <a:lnTo>
                      <a:pt x="584" y="144"/>
                    </a:lnTo>
                    <a:lnTo>
                      <a:pt x="584" y="140"/>
                    </a:lnTo>
                    <a:lnTo>
                      <a:pt x="584" y="138"/>
                    </a:lnTo>
                    <a:lnTo>
                      <a:pt x="584" y="138"/>
                    </a:lnTo>
                    <a:lnTo>
                      <a:pt x="584" y="134"/>
                    </a:lnTo>
                    <a:lnTo>
                      <a:pt x="584" y="128"/>
                    </a:lnTo>
                    <a:lnTo>
                      <a:pt x="584" y="128"/>
                    </a:lnTo>
                    <a:lnTo>
                      <a:pt x="582" y="124"/>
                    </a:lnTo>
                    <a:lnTo>
                      <a:pt x="582" y="118"/>
                    </a:lnTo>
                    <a:lnTo>
                      <a:pt x="582" y="118"/>
                    </a:lnTo>
                    <a:lnTo>
                      <a:pt x="582" y="114"/>
                    </a:lnTo>
                    <a:lnTo>
                      <a:pt x="582" y="110"/>
                    </a:lnTo>
                    <a:lnTo>
                      <a:pt x="582" y="108"/>
                    </a:lnTo>
                    <a:lnTo>
                      <a:pt x="582" y="108"/>
                    </a:lnTo>
                    <a:lnTo>
                      <a:pt x="582" y="106"/>
                    </a:lnTo>
                    <a:lnTo>
                      <a:pt x="582" y="106"/>
                    </a:lnTo>
                    <a:lnTo>
                      <a:pt x="584" y="102"/>
                    </a:lnTo>
                    <a:lnTo>
                      <a:pt x="584" y="102"/>
                    </a:lnTo>
                    <a:lnTo>
                      <a:pt x="584" y="100"/>
                    </a:lnTo>
                    <a:lnTo>
                      <a:pt x="584" y="96"/>
                    </a:lnTo>
                    <a:lnTo>
                      <a:pt x="584" y="92"/>
                    </a:lnTo>
                    <a:lnTo>
                      <a:pt x="584" y="88"/>
                    </a:lnTo>
                    <a:lnTo>
                      <a:pt x="584" y="88"/>
                    </a:lnTo>
                    <a:lnTo>
                      <a:pt x="584" y="88"/>
                    </a:lnTo>
                    <a:lnTo>
                      <a:pt x="582" y="86"/>
                    </a:lnTo>
                    <a:lnTo>
                      <a:pt x="580" y="84"/>
                    </a:lnTo>
                    <a:lnTo>
                      <a:pt x="576" y="82"/>
                    </a:lnTo>
                    <a:lnTo>
                      <a:pt x="572" y="80"/>
                    </a:lnTo>
                    <a:lnTo>
                      <a:pt x="572" y="80"/>
                    </a:lnTo>
                    <a:lnTo>
                      <a:pt x="570" y="78"/>
                    </a:lnTo>
                    <a:lnTo>
                      <a:pt x="568" y="76"/>
                    </a:lnTo>
                    <a:lnTo>
                      <a:pt x="566" y="76"/>
                    </a:lnTo>
                    <a:lnTo>
                      <a:pt x="566" y="76"/>
                    </a:lnTo>
                    <a:lnTo>
                      <a:pt x="564" y="76"/>
                    </a:lnTo>
                    <a:lnTo>
                      <a:pt x="564" y="78"/>
                    </a:lnTo>
                    <a:lnTo>
                      <a:pt x="564" y="78"/>
                    </a:lnTo>
                    <a:lnTo>
                      <a:pt x="562" y="78"/>
                    </a:lnTo>
                    <a:lnTo>
                      <a:pt x="562" y="78"/>
                    </a:lnTo>
                    <a:lnTo>
                      <a:pt x="562" y="76"/>
                    </a:lnTo>
                    <a:lnTo>
                      <a:pt x="562" y="76"/>
                    </a:lnTo>
                    <a:lnTo>
                      <a:pt x="562" y="72"/>
                    </a:lnTo>
                    <a:lnTo>
                      <a:pt x="562" y="72"/>
                    </a:lnTo>
                    <a:lnTo>
                      <a:pt x="562" y="68"/>
                    </a:lnTo>
                    <a:lnTo>
                      <a:pt x="562" y="64"/>
                    </a:lnTo>
                    <a:lnTo>
                      <a:pt x="562" y="64"/>
                    </a:lnTo>
                    <a:lnTo>
                      <a:pt x="562" y="62"/>
                    </a:lnTo>
                    <a:lnTo>
                      <a:pt x="562" y="60"/>
                    </a:lnTo>
                    <a:lnTo>
                      <a:pt x="560" y="56"/>
                    </a:lnTo>
                    <a:lnTo>
                      <a:pt x="560" y="52"/>
                    </a:lnTo>
                    <a:lnTo>
                      <a:pt x="560" y="50"/>
                    </a:lnTo>
                    <a:lnTo>
                      <a:pt x="560" y="50"/>
                    </a:lnTo>
                    <a:lnTo>
                      <a:pt x="558" y="46"/>
                    </a:lnTo>
                    <a:lnTo>
                      <a:pt x="558" y="42"/>
                    </a:lnTo>
                    <a:lnTo>
                      <a:pt x="560" y="40"/>
                    </a:lnTo>
                    <a:lnTo>
                      <a:pt x="560" y="40"/>
                    </a:lnTo>
                    <a:lnTo>
                      <a:pt x="560" y="36"/>
                    </a:lnTo>
                    <a:lnTo>
                      <a:pt x="560" y="34"/>
                    </a:lnTo>
                    <a:lnTo>
                      <a:pt x="560" y="32"/>
                    </a:lnTo>
                    <a:lnTo>
                      <a:pt x="558" y="30"/>
                    </a:lnTo>
                    <a:lnTo>
                      <a:pt x="558" y="30"/>
                    </a:lnTo>
                    <a:lnTo>
                      <a:pt x="556" y="28"/>
                    </a:lnTo>
                    <a:lnTo>
                      <a:pt x="556" y="26"/>
                    </a:lnTo>
                    <a:lnTo>
                      <a:pt x="554" y="24"/>
                    </a:lnTo>
                    <a:lnTo>
                      <a:pt x="554" y="22"/>
                    </a:lnTo>
                    <a:lnTo>
                      <a:pt x="556" y="22"/>
                    </a:lnTo>
                    <a:lnTo>
                      <a:pt x="556" y="20"/>
                    </a:lnTo>
                    <a:lnTo>
                      <a:pt x="556" y="20"/>
                    </a:lnTo>
                    <a:lnTo>
                      <a:pt x="558" y="18"/>
                    </a:lnTo>
                    <a:lnTo>
                      <a:pt x="558" y="16"/>
                    </a:lnTo>
                    <a:lnTo>
                      <a:pt x="558" y="14"/>
                    </a:lnTo>
                    <a:lnTo>
                      <a:pt x="558" y="12"/>
                    </a:lnTo>
                    <a:lnTo>
                      <a:pt x="558" y="12"/>
                    </a:lnTo>
                    <a:lnTo>
                      <a:pt x="558" y="12"/>
                    </a:lnTo>
                    <a:lnTo>
                      <a:pt x="556" y="10"/>
                    </a:lnTo>
                    <a:lnTo>
                      <a:pt x="554" y="10"/>
                    </a:lnTo>
                    <a:lnTo>
                      <a:pt x="554" y="10"/>
                    </a:lnTo>
                    <a:lnTo>
                      <a:pt x="552" y="8"/>
                    </a:lnTo>
                    <a:lnTo>
                      <a:pt x="552" y="8"/>
                    </a:lnTo>
                    <a:lnTo>
                      <a:pt x="552" y="8"/>
                    </a:lnTo>
                    <a:lnTo>
                      <a:pt x="552" y="8"/>
                    </a:lnTo>
                    <a:lnTo>
                      <a:pt x="552" y="8"/>
                    </a:lnTo>
                    <a:lnTo>
                      <a:pt x="552" y="6"/>
                    </a:lnTo>
                    <a:lnTo>
                      <a:pt x="552" y="6"/>
                    </a:lnTo>
                    <a:lnTo>
                      <a:pt x="552" y="6"/>
                    </a:lnTo>
                    <a:lnTo>
                      <a:pt x="552" y="6"/>
                    </a:lnTo>
                    <a:lnTo>
                      <a:pt x="552" y="6"/>
                    </a:lnTo>
                    <a:lnTo>
                      <a:pt x="550" y="4"/>
                    </a:lnTo>
                    <a:lnTo>
                      <a:pt x="548" y="4"/>
                    </a:lnTo>
                    <a:lnTo>
                      <a:pt x="548" y="4"/>
                    </a:lnTo>
                    <a:lnTo>
                      <a:pt x="546" y="4"/>
                    </a:lnTo>
                    <a:lnTo>
                      <a:pt x="544" y="6"/>
                    </a:lnTo>
                    <a:lnTo>
                      <a:pt x="544" y="6"/>
                    </a:lnTo>
                    <a:lnTo>
                      <a:pt x="544" y="6"/>
                    </a:lnTo>
                    <a:lnTo>
                      <a:pt x="544" y="6"/>
                    </a:lnTo>
                    <a:lnTo>
                      <a:pt x="544" y="8"/>
                    </a:lnTo>
                    <a:lnTo>
                      <a:pt x="542" y="10"/>
                    </a:lnTo>
                    <a:lnTo>
                      <a:pt x="542" y="10"/>
                    </a:lnTo>
                    <a:lnTo>
                      <a:pt x="542" y="12"/>
                    </a:lnTo>
                    <a:lnTo>
                      <a:pt x="542" y="12"/>
                    </a:lnTo>
                    <a:lnTo>
                      <a:pt x="540" y="14"/>
                    </a:lnTo>
                    <a:lnTo>
                      <a:pt x="538" y="16"/>
                    </a:lnTo>
                    <a:lnTo>
                      <a:pt x="536" y="18"/>
                    </a:lnTo>
                    <a:lnTo>
                      <a:pt x="536" y="18"/>
                    </a:lnTo>
                    <a:lnTo>
                      <a:pt x="536" y="18"/>
                    </a:lnTo>
                    <a:lnTo>
                      <a:pt x="536" y="22"/>
                    </a:lnTo>
                    <a:lnTo>
                      <a:pt x="538" y="24"/>
                    </a:lnTo>
                    <a:lnTo>
                      <a:pt x="538" y="28"/>
                    </a:lnTo>
                    <a:lnTo>
                      <a:pt x="536" y="30"/>
                    </a:lnTo>
                    <a:lnTo>
                      <a:pt x="536" y="30"/>
                    </a:lnTo>
                    <a:lnTo>
                      <a:pt x="536" y="32"/>
                    </a:lnTo>
                    <a:lnTo>
                      <a:pt x="536" y="32"/>
                    </a:lnTo>
                    <a:lnTo>
                      <a:pt x="534" y="36"/>
                    </a:lnTo>
                    <a:lnTo>
                      <a:pt x="534" y="36"/>
                    </a:lnTo>
                    <a:lnTo>
                      <a:pt x="528" y="42"/>
                    </a:lnTo>
                    <a:lnTo>
                      <a:pt x="528" y="42"/>
                    </a:lnTo>
                    <a:lnTo>
                      <a:pt x="526" y="44"/>
                    </a:lnTo>
                    <a:lnTo>
                      <a:pt x="526" y="46"/>
                    </a:lnTo>
                    <a:lnTo>
                      <a:pt x="526" y="48"/>
                    </a:lnTo>
                    <a:lnTo>
                      <a:pt x="526" y="48"/>
                    </a:lnTo>
                    <a:lnTo>
                      <a:pt x="526" y="48"/>
                    </a:lnTo>
                    <a:lnTo>
                      <a:pt x="526" y="50"/>
                    </a:lnTo>
                    <a:lnTo>
                      <a:pt x="528" y="52"/>
                    </a:lnTo>
                    <a:lnTo>
                      <a:pt x="528" y="52"/>
                    </a:lnTo>
                    <a:lnTo>
                      <a:pt x="528" y="52"/>
                    </a:lnTo>
                    <a:lnTo>
                      <a:pt x="528" y="52"/>
                    </a:lnTo>
                    <a:lnTo>
                      <a:pt x="528" y="54"/>
                    </a:lnTo>
                    <a:lnTo>
                      <a:pt x="526" y="56"/>
                    </a:lnTo>
                    <a:lnTo>
                      <a:pt x="526" y="56"/>
                    </a:lnTo>
                    <a:lnTo>
                      <a:pt x="524" y="60"/>
                    </a:lnTo>
                    <a:lnTo>
                      <a:pt x="524" y="60"/>
                    </a:lnTo>
                    <a:lnTo>
                      <a:pt x="522" y="64"/>
                    </a:lnTo>
                    <a:lnTo>
                      <a:pt x="522" y="66"/>
                    </a:lnTo>
                    <a:lnTo>
                      <a:pt x="520" y="72"/>
                    </a:lnTo>
                    <a:lnTo>
                      <a:pt x="520" y="84"/>
                    </a:lnTo>
                    <a:lnTo>
                      <a:pt x="520" y="84"/>
                    </a:lnTo>
                    <a:lnTo>
                      <a:pt x="518" y="90"/>
                    </a:lnTo>
                    <a:lnTo>
                      <a:pt x="518" y="96"/>
                    </a:lnTo>
                    <a:lnTo>
                      <a:pt x="514" y="108"/>
                    </a:lnTo>
                    <a:lnTo>
                      <a:pt x="514" y="108"/>
                    </a:lnTo>
                    <a:lnTo>
                      <a:pt x="512" y="112"/>
                    </a:lnTo>
                    <a:lnTo>
                      <a:pt x="512" y="114"/>
                    </a:lnTo>
                    <a:lnTo>
                      <a:pt x="508" y="122"/>
                    </a:lnTo>
                    <a:lnTo>
                      <a:pt x="508" y="122"/>
                    </a:lnTo>
                    <a:lnTo>
                      <a:pt x="506" y="124"/>
                    </a:lnTo>
                    <a:lnTo>
                      <a:pt x="504" y="126"/>
                    </a:lnTo>
                    <a:lnTo>
                      <a:pt x="502" y="130"/>
                    </a:lnTo>
                    <a:lnTo>
                      <a:pt x="502" y="130"/>
                    </a:lnTo>
                    <a:lnTo>
                      <a:pt x="500" y="136"/>
                    </a:lnTo>
                    <a:lnTo>
                      <a:pt x="498" y="138"/>
                    </a:lnTo>
                    <a:lnTo>
                      <a:pt x="496" y="140"/>
                    </a:lnTo>
                    <a:lnTo>
                      <a:pt x="496" y="142"/>
                    </a:lnTo>
                    <a:lnTo>
                      <a:pt x="494" y="144"/>
                    </a:lnTo>
                    <a:lnTo>
                      <a:pt x="492" y="146"/>
                    </a:lnTo>
                    <a:lnTo>
                      <a:pt x="488" y="146"/>
                    </a:lnTo>
                    <a:lnTo>
                      <a:pt x="488" y="146"/>
                    </a:lnTo>
                    <a:lnTo>
                      <a:pt x="484" y="148"/>
                    </a:lnTo>
                    <a:lnTo>
                      <a:pt x="480" y="148"/>
                    </a:lnTo>
                    <a:lnTo>
                      <a:pt x="478" y="148"/>
                    </a:lnTo>
                    <a:lnTo>
                      <a:pt x="478" y="148"/>
                    </a:lnTo>
                    <a:lnTo>
                      <a:pt x="478" y="148"/>
                    </a:lnTo>
                    <a:lnTo>
                      <a:pt x="476" y="146"/>
                    </a:lnTo>
                    <a:lnTo>
                      <a:pt x="476" y="144"/>
                    </a:lnTo>
                    <a:lnTo>
                      <a:pt x="476" y="142"/>
                    </a:lnTo>
                    <a:lnTo>
                      <a:pt x="474" y="140"/>
                    </a:lnTo>
                    <a:lnTo>
                      <a:pt x="474" y="140"/>
                    </a:lnTo>
                    <a:lnTo>
                      <a:pt x="472" y="136"/>
                    </a:lnTo>
                    <a:lnTo>
                      <a:pt x="470" y="134"/>
                    </a:lnTo>
                    <a:lnTo>
                      <a:pt x="470" y="130"/>
                    </a:lnTo>
                    <a:lnTo>
                      <a:pt x="470" y="130"/>
                    </a:lnTo>
                    <a:lnTo>
                      <a:pt x="468" y="128"/>
                    </a:lnTo>
                    <a:lnTo>
                      <a:pt x="466" y="128"/>
                    </a:lnTo>
                    <a:lnTo>
                      <a:pt x="460" y="124"/>
                    </a:lnTo>
                    <a:lnTo>
                      <a:pt x="460" y="124"/>
                    </a:lnTo>
                    <a:lnTo>
                      <a:pt x="456" y="122"/>
                    </a:lnTo>
                    <a:lnTo>
                      <a:pt x="452" y="120"/>
                    </a:lnTo>
                    <a:lnTo>
                      <a:pt x="448" y="116"/>
                    </a:lnTo>
                    <a:lnTo>
                      <a:pt x="446" y="114"/>
                    </a:lnTo>
                    <a:lnTo>
                      <a:pt x="444" y="110"/>
                    </a:lnTo>
                    <a:lnTo>
                      <a:pt x="444" y="110"/>
                    </a:lnTo>
                    <a:lnTo>
                      <a:pt x="440" y="102"/>
                    </a:lnTo>
                    <a:lnTo>
                      <a:pt x="440" y="102"/>
                    </a:lnTo>
                    <a:lnTo>
                      <a:pt x="438" y="100"/>
                    </a:lnTo>
                    <a:lnTo>
                      <a:pt x="436" y="98"/>
                    </a:lnTo>
                    <a:lnTo>
                      <a:pt x="436" y="98"/>
                    </a:lnTo>
                    <a:lnTo>
                      <a:pt x="436" y="98"/>
                    </a:lnTo>
                    <a:lnTo>
                      <a:pt x="434" y="96"/>
                    </a:lnTo>
                    <a:lnTo>
                      <a:pt x="432" y="94"/>
                    </a:lnTo>
                    <a:lnTo>
                      <a:pt x="432" y="94"/>
                    </a:lnTo>
                    <a:lnTo>
                      <a:pt x="430" y="92"/>
                    </a:lnTo>
                    <a:lnTo>
                      <a:pt x="430" y="90"/>
                    </a:lnTo>
                    <a:lnTo>
                      <a:pt x="428" y="86"/>
                    </a:lnTo>
                    <a:lnTo>
                      <a:pt x="428" y="86"/>
                    </a:lnTo>
                    <a:lnTo>
                      <a:pt x="426" y="84"/>
                    </a:lnTo>
                    <a:lnTo>
                      <a:pt x="426" y="82"/>
                    </a:lnTo>
                    <a:lnTo>
                      <a:pt x="428" y="80"/>
                    </a:lnTo>
                    <a:lnTo>
                      <a:pt x="428" y="78"/>
                    </a:lnTo>
                    <a:lnTo>
                      <a:pt x="428" y="78"/>
                    </a:lnTo>
                    <a:lnTo>
                      <a:pt x="430" y="76"/>
                    </a:lnTo>
                    <a:lnTo>
                      <a:pt x="430" y="74"/>
                    </a:lnTo>
                    <a:lnTo>
                      <a:pt x="430" y="72"/>
                    </a:lnTo>
                    <a:lnTo>
                      <a:pt x="432" y="70"/>
                    </a:lnTo>
                    <a:lnTo>
                      <a:pt x="432" y="70"/>
                    </a:lnTo>
                    <a:lnTo>
                      <a:pt x="432" y="70"/>
                    </a:lnTo>
                    <a:lnTo>
                      <a:pt x="434" y="68"/>
                    </a:lnTo>
                    <a:lnTo>
                      <a:pt x="436" y="66"/>
                    </a:lnTo>
                    <a:lnTo>
                      <a:pt x="438" y="66"/>
                    </a:lnTo>
                    <a:lnTo>
                      <a:pt x="438" y="64"/>
                    </a:lnTo>
                    <a:lnTo>
                      <a:pt x="438" y="64"/>
                    </a:lnTo>
                    <a:lnTo>
                      <a:pt x="438" y="62"/>
                    </a:lnTo>
                    <a:lnTo>
                      <a:pt x="438" y="62"/>
                    </a:lnTo>
                    <a:lnTo>
                      <a:pt x="438" y="58"/>
                    </a:lnTo>
                    <a:lnTo>
                      <a:pt x="438" y="56"/>
                    </a:lnTo>
                    <a:lnTo>
                      <a:pt x="438" y="54"/>
                    </a:lnTo>
                    <a:lnTo>
                      <a:pt x="440" y="52"/>
                    </a:lnTo>
                    <a:lnTo>
                      <a:pt x="440" y="52"/>
                    </a:lnTo>
                    <a:lnTo>
                      <a:pt x="442" y="52"/>
                    </a:lnTo>
                    <a:lnTo>
                      <a:pt x="442" y="52"/>
                    </a:lnTo>
                    <a:lnTo>
                      <a:pt x="444" y="52"/>
                    </a:lnTo>
                    <a:lnTo>
                      <a:pt x="444" y="52"/>
                    </a:lnTo>
                    <a:lnTo>
                      <a:pt x="446" y="52"/>
                    </a:lnTo>
                    <a:lnTo>
                      <a:pt x="446" y="52"/>
                    </a:lnTo>
                    <a:lnTo>
                      <a:pt x="448" y="52"/>
                    </a:lnTo>
                    <a:lnTo>
                      <a:pt x="448" y="50"/>
                    </a:lnTo>
                    <a:lnTo>
                      <a:pt x="450" y="48"/>
                    </a:lnTo>
                    <a:lnTo>
                      <a:pt x="450" y="46"/>
                    </a:lnTo>
                    <a:lnTo>
                      <a:pt x="450" y="46"/>
                    </a:lnTo>
                    <a:lnTo>
                      <a:pt x="450" y="42"/>
                    </a:lnTo>
                    <a:lnTo>
                      <a:pt x="452" y="40"/>
                    </a:lnTo>
                    <a:lnTo>
                      <a:pt x="452" y="38"/>
                    </a:lnTo>
                    <a:lnTo>
                      <a:pt x="456" y="38"/>
                    </a:lnTo>
                    <a:lnTo>
                      <a:pt x="456" y="38"/>
                    </a:lnTo>
                    <a:lnTo>
                      <a:pt x="458" y="36"/>
                    </a:lnTo>
                    <a:lnTo>
                      <a:pt x="458" y="36"/>
                    </a:lnTo>
                    <a:lnTo>
                      <a:pt x="460" y="34"/>
                    </a:lnTo>
                    <a:lnTo>
                      <a:pt x="460" y="34"/>
                    </a:lnTo>
                    <a:lnTo>
                      <a:pt x="460" y="34"/>
                    </a:lnTo>
                    <a:lnTo>
                      <a:pt x="460" y="32"/>
                    </a:lnTo>
                    <a:lnTo>
                      <a:pt x="458" y="30"/>
                    </a:lnTo>
                    <a:lnTo>
                      <a:pt x="458" y="30"/>
                    </a:lnTo>
                    <a:lnTo>
                      <a:pt x="458" y="28"/>
                    </a:lnTo>
                    <a:lnTo>
                      <a:pt x="456" y="26"/>
                    </a:lnTo>
                    <a:lnTo>
                      <a:pt x="454" y="24"/>
                    </a:lnTo>
                    <a:lnTo>
                      <a:pt x="452" y="22"/>
                    </a:lnTo>
                    <a:lnTo>
                      <a:pt x="452" y="22"/>
                    </a:lnTo>
                    <a:lnTo>
                      <a:pt x="450" y="22"/>
                    </a:lnTo>
                    <a:lnTo>
                      <a:pt x="450" y="22"/>
                    </a:lnTo>
                    <a:lnTo>
                      <a:pt x="448" y="24"/>
                    </a:lnTo>
                    <a:lnTo>
                      <a:pt x="446" y="24"/>
                    </a:lnTo>
                    <a:lnTo>
                      <a:pt x="444" y="26"/>
                    </a:lnTo>
                    <a:lnTo>
                      <a:pt x="444" y="26"/>
                    </a:lnTo>
                    <a:lnTo>
                      <a:pt x="444" y="28"/>
                    </a:lnTo>
                    <a:lnTo>
                      <a:pt x="442" y="28"/>
                    </a:lnTo>
                    <a:lnTo>
                      <a:pt x="442" y="28"/>
                    </a:lnTo>
                    <a:lnTo>
                      <a:pt x="442" y="28"/>
                    </a:lnTo>
                    <a:lnTo>
                      <a:pt x="440" y="28"/>
                    </a:lnTo>
                    <a:lnTo>
                      <a:pt x="440" y="28"/>
                    </a:lnTo>
                    <a:lnTo>
                      <a:pt x="438" y="28"/>
                    </a:lnTo>
                    <a:lnTo>
                      <a:pt x="438" y="28"/>
                    </a:lnTo>
                    <a:lnTo>
                      <a:pt x="438" y="26"/>
                    </a:lnTo>
                    <a:lnTo>
                      <a:pt x="438" y="26"/>
                    </a:lnTo>
                    <a:lnTo>
                      <a:pt x="436" y="24"/>
                    </a:lnTo>
                    <a:lnTo>
                      <a:pt x="434" y="24"/>
                    </a:lnTo>
                    <a:lnTo>
                      <a:pt x="434" y="24"/>
                    </a:lnTo>
                    <a:lnTo>
                      <a:pt x="434" y="24"/>
                    </a:lnTo>
                    <a:lnTo>
                      <a:pt x="432" y="24"/>
                    </a:lnTo>
                    <a:lnTo>
                      <a:pt x="432" y="26"/>
                    </a:lnTo>
                    <a:lnTo>
                      <a:pt x="430" y="26"/>
                    </a:lnTo>
                    <a:lnTo>
                      <a:pt x="430" y="26"/>
                    </a:lnTo>
                    <a:lnTo>
                      <a:pt x="430" y="28"/>
                    </a:lnTo>
                    <a:lnTo>
                      <a:pt x="428" y="28"/>
                    </a:lnTo>
                    <a:lnTo>
                      <a:pt x="428" y="28"/>
                    </a:lnTo>
                    <a:lnTo>
                      <a:pt x="426" y="26"/>
                    </a:lnTo>
                    <a:lnTo>
                      <a:pt x="426" y="26"/>
                    </a:lnTo>
                    <a:lnTo>
                      <a:pt x="426" y="24"/>
                    </a:lnTo>
                    <a:lnTo>
                      <a:pt x="424" y="24"/>
                    </a:lnTo>
                    <a:lnTo>
                      <a:pt x="424" y="24"/>
                    </a:lnTo>
                    <a:lnTo>
                      <a:pt x="420" y="22"/>
                    </a:lnTo>
                    <a:lnTo>
                      <a:pt x="418" y="22"/>
                    </a:lnTo>
                    <a:lnTo>
                      <a:pt x="416" y="20"/>
                    </a:lnTo>
                    <a:lnTo>
                      <a:pt x="416" y="20"/>
                    </a:lnTo>
                    <a:lnTo>
                      <a:pt x="412" y="16"/>
                    </a:lnTo>
                    <a:lnTo>
                      <a:pt x="410" y="16"/>
                    </a:lnTo>
                    <a:lnTo>
                      <a:pt x="408" y="14"/>
                    </a:lnTo>
                    <a:lnTo>
                      <a:pt x="408" y="14"/>
                    </a:lnTo>
                    <a:lnTo>
                      <a:pt x="404" y="14"/>
                    </a:lnTo>
                    <a:lnTo>
                      <a:pt x="402" y="14"/>
                    </a:lnTo>
                    <a:lnTo>
                      <a:pt x="400" y="14"/>
                    </a:lnTo>
                    <a:lnTo>
                      <a:pt x="398" y="12"/>
                    </a:lnTo>
                    <a:lnTo>
                      <a:pt x="398" y="12"/>
                    </a:lnTo>
                    <a:lnTo>
                      <a:pt x="398" y="12"/>
                    </a:lnTo>
                    <a:lnTo>
                      <a:pt x="396" y="10"/>
                    </a:lnTo>
                    <a:lnTo>
                      <a:pt x="396" y="8"/>
                    </a:lnTo>
                    <a:lnTo>
                      <a:pt x="394" y="6"/>
                    </a:lnTo>
                    <a:lnTo>
                      <a:pt x="394" y="6"/>
                    </a:lnTo>
                    <a:lnTo>
                      <a:pt x="392" y="2"/>
                    </a:lnTo>
                    <a:lnTo>
                      <a:pt x="392" y="2"/>
                    </a:lnTo>
                    <a:lnTo>
                      <a:pt x="390" y="2"/>
                    </a:lnTo>
                    <a:lnTo>
                      <a:pt x="390" y="2"/>
                    </a:lnTo>
                    <a:lnTo>
                      <a:pt x="390" y="2"/>
                    </a:lnTo>
                    <a:lnTo>
                      <a:pt x="388" y="4"/>
                    </a:lnTo>
                    <a:lnTo>
                      <a:pt x="388" y="4"/>
                    </a:lnTo>
                    <a:lnTo>
                      <a:pt x="386" y="4"/>
                    </a:lnTo>
                    <a:lnTo>
                      <a:pt x="386" y="4"/>
                    </a:lnTo>
                    <a:lnTo>
                      <a:pt x="386" y="4"/>
                    </a:lnTo>
                    <a:lnTo>
                      <a:pt x="384" y="4"/>
                    </a:lnTo>
                    <a:lnTo>
                      <a:pt x="384" y="2"/>
                    </a:lnTo>
                    <a:lnTo>
                      <a:pt x="384" y="2"/>
                    </a:lnTo>
                    <a:lnTo>
                      <a:pt x="380" y="0"/>
                    </a:lnTo>
                    <a:lnTo>
                      <a:pt x="378" y="0"/>
                    </a:lnTo>
                    <a:lnTo>
                      <a:pt x="378" y="0"/>
                    </a:lnTo>
                    <a:lnTo>
                      <a:pt x="378" y="0"/>
                    </a:lnTo>
                    <a:lnTo>
                      <a:pt x="378" y="2"/>
                    </a:lnTo>
                    <a:lnTo>
                      <a:pt x="378" y="2"/>
                    </a:lnTo>
                    <a:lnTo>
                      <a:pt x="376" y="4"/>
                    </a:lnTo>
                    <a:lnTo>
                      <a:pt x="376" y="4"/>
                    </a:lnTo>
                    <a:lnTo>
                      <a:pt x="374" y="6"/>
                    </a:lnTo>
                    <a:lnTo>
                      <a:pt x="374" y="6"/>
                    </a:lnTo>
                    <a:lnTo>
                      <a:pt x="374" y="6"/>
                    </a:lnTo>
                    <a:lnTo>
                      <a:pt x="374" y="6"/>
                    </a:lnTo>
                    <a:lnTo>
                      <a:pt x="374" y="6"/>
                    </a:lnTo>
                    <a:lnTo>
                      <a:pt x="372" y="6"/>
                    </a:lnTo>
                    <a:lnTo>
                      <a:pt x="372" y="6"/>
                    </a:lnTo>
                    <a:lnTo>
                      <a:pt x="372" y="8"/>
                    </a:lnTo>
                    <a:lnTo>
                      <a:pt x="374" y="8"/>
                    </a:lnTo>
                    <a:lnTo>
                      <a:pt x="374" y="10"/>
                    </a:lnTo>
                    <a:lnTo>
                      <a:pt x="378" y="10"/>
                    </a:lnTo>
                    <a:lnTo>
                      <a:pt x="378" y="12"/>
                    </a:lnTo>
                    <a:lnTo>
                      <a:pt x="378" y="12"/>
                    </a:lnTo>
                    <a:lnTo>
                      <a:pt x="380" y="14"/>
                    </a:lnTo>
                    <a:lnTo>
                      <a:pt x="382" y="14"/>
                    </a:lnTo>
                    <a:lnTo>
                      <a:pt x="384" y="14"/>
                    </a:lnTo>
                    <a:lnTo>
                      <a:pt x="388" y="14"/>
                    </a:lnTo>
                    <a:lnTo>
                      <a:pt x="388" y="14"/>
                    </a:lnTo>
                    <a:lnTo>
                      <a:pt x="390" y="12"/>
                    </a:lnTo>
                    <a:lnTo>
                      <a:pt x="390" y="12"/>
                    </a:lnTo>
                    <a:lnTo>
                      <a:pt x="392" y="14"/>
                    </a:lnTo>
                    <a:lnTo>
                      <a:pt x="392" y="14"/>
                    </a:lnTo>
                    <a:lnTo>
                      <a:pt x="392" y="14"/>
                    </a:lnTo>
                    <a:lnTo>
                      <a:pt x="394" y="14"/>
                    </a:lnTo>
                    <a:lnTo>
                      <a:pt x="394" y="16"/>
                    </a:lnTo>
                    <a:lnTo>
                      <a:pt x="392" y="16"/>
                    </a:lnTo>
                    <a:lnTo>
                      <a:pt x="392" y="16"/>
                    </a:lnTo>
                    <a:lnTo>
                      <a:pt x="392" y="18"/>
                    </a:lnTo>
                    <a:lnTo>
                      <a:pt x="390" y="18"/>
                    </a:lnTo>
                    <a:lnTo>
                      <a:pt x="388" y="20"/>
                    </a:lnTo>
                    <a:lnTo>
                      <a:pt x="388" y="20"/>
                    </a:lnTo>
                    <a:lnTo>
                      <a:pt x="386" y="20"/>
                    </a:lnTo>
                    <a:lnTo>
                      <a:pt x="384" y="22"/>
                    </a:lnTo>
                    <a:lnTo>
                      <a:pt x="382" y="22"/>
                    </a:lnTo>
                    <a:lnTo>
                      <a:pt x="382" y="22"/>
                    </a:lnTo>
                    <a:lnTo>
                      <a:pt x="380" y="22"/>
                    </a:lnTo>
                    <a:lnTo>
                      <a:pt x="378" y="22"/>
                    </a:lnTo>
                    <a:lnTo>
                      <a:pt x="376" y="22"/>
                    </a:lnTo>
                    <a:lnTo>
                      <a:pt x="376" y="22"/>
                    </a:lnTo>
                    <a:lnTo>
                      <a:pt x="372" y="20"/>
                    </a:lnTo>
                    <a:lnTo>
                      <a:pt x="368" y="20"/>
                    </a:lnTo>
                    <a:lnTo>
                      <a:pt x="368" y="20"/>
                    </a:lnTo>
                    <a:lnTo>
                      <a:pt x="366" y="20"/>
                    </a:lnTo>
                    <a:lnTo>
                      <a:pt x="364" y="20"/>
                    </a:lnTo>
                    <a:lnTo>
                      <a:pt x="362" y="22"/>
                    </a:lnTo>
                    <a:lnTo>
                      <a:pt x="360" y="22"/>
                    </a:lnTo>
                    <a:lnTo>
                      <a:pt x="360" y="22"/>
                    </a:lnTo>
                    <a:lnTo>
                      <a:pt x="356" y="26"/>
                    </a:lnTo>
                    <a:lnTo>
                      <a:pt x="352" y="28"/>
                    </a:lnTo>
                    <a:lnTo>
                      <a:pt x="352" y="28"/>
                    </a:lnTo>
                    <a:lnTo>
                      <a:pt x="350" y="28"/>
                    </a:lnTo>
                    <a:lnTo>
                      <a:pt x="348" y="30"/>
                    </a:lnTo>
                    <a:lnTo>
                      <a:pt x="346" y="30"/>
                    </a:lnTo>
                    <a:lnTo>
                      <a:pt x="344" y="32"/>
                    </a:lnTo>
                    <a:lnTo>
                      <a:pt x="344" y="32"/>
                    </a:lnTo>
                    <a:lnTo>
                      <a:pt x="344" y="32"/>
                    </a:lnTo>
                    <a:lnTo>
                      <a:pt x="344" y="32"/>
                    </a:lnTo>
                    <a:lnTo>
                      <a:pt x="344" y="3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69" name="Freeform 301"/>
              <p:cNvSpPr>
                <a:spLocks/>
              </p:cNvSpPr>
              <p:nvPr/>
            </p:nvSpPr>
            <p:spPr bwMode="auto">
              <a:xfrm>
                <a:off x="4875" y="3122"/>
                <a:ext cx="8" cy="10"/>
              </a:xfrm>
              <a:custGeom>
                <a:avLst/>
                <a:gdLst>
                  <a:gd name="T0" fmla="*/ 0 w 8"/>
                  <a:gd name="T1" fmla="*/ 6 h 10"/>
                  <a:gd name="T2" fmla="*/ 0 w 8"/>
                  <a:gd name="T3" fmla="*/ 6 h 10"/>
                  <a:gd name="T4" fmla="*/ 0 w 8"/>
                  <a:gd name="T5" fmla="*/ 6 h 10"/>
                  <a:gd name="T6" fmla="*/ 2 w 8"/>
                  <a:gd name="T7" fmla="*/ 8 h 10"/>
                  <a:gd name="T8" fmla="*/ 2 w 8"/>
                  <a:gd name="T9" fmla="*/ 8 h 10"/>
                  <a:gd name="T10" fmla="*/ 4 w 8"/>
                  <a:gd name="T11" fmla="*/ 10 h 10"/>
                  <a:gd name="T12" fmla="*/ 4 w 8"/>
                  <a:gd name="T13" fmla="*/ 10 h 10"/>
                  <a:gd name="T14" fmla="*/ 6 w 8"/>
                  <a:gd name="T15" fmla="*/ 10 h 10"/>
                  <a:gd name="T16" fmla="*/ 8 w 8"/>
                  <a:gd name="T17" fmla="*/ 10 h 10"/>
                  <a:gd name="T18" fmla="*/ 8 w 8"/>
                  <a:gd name="T19" fmla="*/ 10 h 10"/>
                  <a:gd name="T20" fmla="*/ 8 w 8"/>
                  <a:gd name="T21" fmla="*/ 8 h 10"/>
                  <a:gd name="T22" fmla="*/ 6 w 8"/>
                  <a:gd name="T23" fmla="*/ 8 h 10"/>
                  <a:gd name="T24" fmla="*/ 6 w 8"/>
                  <a:gd name="T25" fmla="*/ 6 h 10"/>
                  <a:gd name="T26" fmla="*/ 6 w 8"/>
                  <a:gd name="T27" fmla="*/ 6 h 10"/>
                  <a:gd name="T28" fmla="*/ 6 w 8"/>
                  <a:gd name="T29" fmla="*/ 6 h 10"/>
                  <a:gd name="T30" fmla="*/ 6 w 8"/>
                  <a:gd name="T31" fmla="*/ 4 h 10"/>
                  <a:gd name="T32" fmla="*/ 6 w 8"/>
                  <a:gd name="T33" fmla="*/ 4 h 10"/>
                  <a:gd name="T34" fmla="*/ 6 w 8"/>
                  <a:gd name="T35" fmla="*/ 2 h 10"/>
                  <a:gd name="T36" fmla="*/ 6 w 8"/>
                  <a:gd name="T37" fmla="*/ 2 h 10"/>
                  <a:gd name="T38" fmla="*/ 6 w 8"/>
                  <a:gd name="T39" fmla="*/ 0 h 10"/>
                  <a:gd name="T40" fmla="*/ 6 w 8"/>
                  <a:gd name="T41" fmla="*/ 0 h 10"/>
                  <a:gd name="T42" fmla="*/ 4 w 8"/>
                  <a:gd name="T43" fmla="*/ 0 h 10"/>
                  <a:gd name="T44" fmla="*/ 4 w 8"/>
                  <a:gd name="T45" fmla="*/ 0 h 10"/>
                  <a:gd name="T46" fmla="*/ 2 w 8"/>
                  <a:gd name="T47" fmla="*/ 0 h 10"/>
                  <a:gd name="T48" fmla="*/ 0 w 8"/>
                  <a:gd name="T49" fmla="*/ 2 h 10"/>
                  <a:gd name="T50" fmla="*/ 0 w 8"/>
                  <a:gd name="T51" fmla="*/ 2 h 10"/>
                  <a:gd name="T52" fmla="*/ 0 w 8"/>
                  <a:gd name="T53" fmla="*/ 4 h 10"/>
                  <a:gd name="T54" fmla="*/ 0 w 8"/>
                  <a:gd name="T55" fmla="*/ 6 h 10"/>
                  <a:gd name="T56" fmla="*/ 0 w 8"/>
                  <a:gd name="T57" fmla="*/ 6 h 10"/>
                  <a:gd name="T58" fmla="*/ 0 w 8"/>
                  <a:gd name="T59" fmla="*/ 6 h 10"/>
                  <a:gd name="T60" fmla="*/ 0 w 8"/>
                  <a:gd name="T61" fmla="*/ 6 h 10"/>
                  <a:gd name="T62" fmla="*/ 0 w 8"/>
                  <a:gd name="T63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8" h="10">
                    <a:moveTo>
                      <a:pt x="0" y="6"/>
                    </a:move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8"/>
                    </a:lnTo>
                    <a:lnTo>
                      <a:pt x="6" y="8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70" name="Freeform 302"/>
              <p:cNvSpPr>
                <a:spLocks/>
              </p:cNvSpPr>
              <p:nvPr/>
            </p:nvSpPr>
            <p:spPr bwMode="auto">
              <a:xfrm>
                <a:off x="4779" y="3058"/>
                <a:ext cx="22" cy="16"/>
              </a:xfrm>
              <a:custGeom>
                <a:avLst/>
                <a:gdLst>
                  <a:gd name="T0" fmla="*/ 12 w 22"/>
                  <a:gd name="T1" fmla="*/ 4 h 16"/>
                  <a:gd name="T2" fmla="*/ 8 w 22"/>
                  <a:gd name="T3" fmla="*/ 2 h 16"/>
                  <a:gd name="T4" fmla="*/ 8 w 22"/>
                  <a:gd name="T5" fmla="*/ 2 h 16"/>
                  <a:gd name="T6" fmla="*/ 6 w 22"/>
                  <a:gd name="T7" fmla="*/ 4 h 16"/>
                  <a:gd name="T8" fmla="*/ 6 w 22"/>
                  <a:gd name="T9" fmla="*/ 6 h 16"/>
                  <a:gd name="T10" fmla="*/ 4 w 22"/>
                  <a:gd name="T11" fmla="*/ 6 h 16"/>
                  <a:gd name="T12" fmla="*/ 2 w 22"/>
                  <a:gd name="T13" fmla="*/ 8 h 16"/>
                  <a:gd name="T14" fmla="*/ 2 w 22"/>
                  <a:gd name="T15" fmla="*/ 10 h 16"/>
                  <a:gd name="T16" fmla="*/ 0 w 22"/>
                  <a:gd name="T17" fmla="*/ 12 h 16"/>
                  <a:gd name="T18" fmla="*/ 0 w 22"/>
                  <a:gd name="T19" fmla="*/ 12 h 16"/>
                  <a:gd name="T20" fmla="*/ 2 w 22"/>
                  <a:gd name="T21" fmla="*/ 14 h 16"/>
                  <a:gd name="T22" fmla="*/ 4 w 22"/>
                  <a:gd name="T23" fmla="*/ 16 h 16"/>
                  <a:gd name="T24" fmla="*/ 6 w 22"/>
                  <a:gd name="T25" fmla="*/ 14 h 16"/>
                  <a:gd name="T26" fmla="*/ 8 w 22"/>
                  <a:gd name="T27" fmla="*/ 14 h 16"/>
                  <a:gd name="T28" fmla="*/ 10 w 22"/>
                  <a:gd name="T29" fmla="*/ 14 h 16"/>
                  <a:gd name="T30" fmla="*/ 12 w 22"/>
                  <a:gd name="T31" fmla="*/ 16 h 16"/>
                  <a:gd name="T32" fmla="*/ 14 w 22"/>
                  <a:gd name="T33" fmla="*/ 16 h 16"/>
                  <a:gd name="T34" fmla="*/ 18 w 22"/>
                  <a:gd name="T35" fmla="*/ 16 h 16"/>
                  <a:gd name="T36" fmla="*/ 20 w 22"/>
                  <a:gd name="T37" fmla="*/ 16 h 16"/>
                  <a:gd name="T38" fmla="*/ 20 w 22"/>
                  <a:gd name="T39" fmla="*/ 14 h 16"/>
                  <a:gd name="T40" fmla="*/ 20 w 22"/>
                  <a:gd name="T41" fmla="*/ 12 h 16"/>
                  <a:gd name="T42" fmla="*/ 20 w 22"/>
                  <a:gd name="T43" fmla="*/ 10 h 16"/>
                  <a:gd name="T44" fmla="*/ 22 w 22"/>
                  <a:gd name="T45" fmla="*/ 8 h 16"/>
                  <a:gd name="T46" fmla="*/ 22 w 22"/>
                  <a:gd name="T47" fmla="*/ 6 h 16"/>
                  <a:gd name="T48" fmla="*/ 22 w 22"/>
                  <a:gd name="T49" fmla="*/ 4 h 16"/>
                  <a:gd name="T50" fmla="*/ 20 w 22"/>
                  <a:gd name="T51" fmla="*/ 2 h 16"/>
                  <a:gd name="T52" fmla="*/ 20 w 22"/>
                  <a:gd name="T53" fmla="*/ 0 h 16"/>
                  <a:gd name="T54" fmla="*/ 18 w 22"/>
                  <a:gd name="T55" fmla="*/ 0 h 16"/>
                  <a:gd name="T56" fmla="*/ 16 w 22"/>
                  <a:gd name="T57" fmla="*/ 0 h 16"/>
                  <a:gd name="T58" fmla="*/ 16 w 22"/>
                  <a:gd name="T59" fmla="*/ 2 h 16"/>
                  <a:gd name="T60" fmla="*/ 14 w 22"/>
                  <a:gd name="T61" fmla="*/ 4 h 16"/>
                  <a:gd name="T62" fmla="*/ 12 w 22"/>
                  <a:gd name="T63" fmla="*/ 4 h 16"/>
                  <a:gd name="T64" fmla="*/ 12 w 22"/>
                  <a:gd name="T65" fmla="*/ 4 h 16"/>
                  <a:gd name="T66" fmla="*/ 12 w 22"/>
                  <a:gd name="T67" fmla="*/ 4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2" h="16">
                    <a:moveTo>
                      <a:pt x="12" y="4"/>
                    </a:moveTo>
                    <a:lnTo>
                      <a:pt x="12" y="4"/>
                    </a:lnTo>
                    <a:lnTo>
                      <a:pt x="10" y="2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10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6" y="16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4" y="16"/>
                    </a:lnTo>
                    <a:lnTo>
                      <a:pt x="16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20" y="16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2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71" name="Freeform 305"/>
              <p:cNvSpPr>
                <a:spLocks/>
              </p:cNvSpPr>
              <p:nvPr/>
            </p:nvSpPr>
            <p:spPr bwMode="auto">
              <a:xfrm>
                <a:off x="4455" y="3312"/>
                <a:ext cx="6" cy="10"/>
              </a:xfrm>
              <a:custGeom>
                <a:avLst/>
                <a:gdLst>
                  <a:gd name="T0" fmla="*/ 2 w 6"/>
                  <a:gd name="T1" fmla="*/ 10 h 10"/>
                  <a:gd name="T2" fmla="*/ 2 w 6"/>
                  <a:gd name="T3" fmla="*/ 10 h 10"/>
                  <a:gd name="T4" fmla="*/ 2 w 6"/>
                  <a:gd name="T5" fmla="*/ 10 h 10"/>
                  <a:gd name="T6" fmla="*/ 2 w 6"/>
                  <a:gd name="T7" fmla="*/ 8 h 10"/>
                  <a:gd name="T8" fmla="*/ 4 w 6"/>
                  <a:gd name="T9" fmla="*/ 8 h 10"/>
                  <a:gd name="T10" fmla="*/ 4 w 6"/>
                  <a:gd name="T11" fmla="*/ 6 h 10"/>
                  <a:gd name="T12" fmla="*/ 6 w 6"/>
                  <a:gd name="T13" fmla="*/ 6 h 10"/>
                  <a:gd name="T14" fmla="*/ 6 w 6"/>
                  <a:gd name="T15" fmla="*/ 6 h 10"/>
                  <a:gd name="T16" fmla="*/ 6 w 6"/>
                  <a:gd name="T17" fmla="*/ 4 h 10"/>
                  <a:gd name="T18" fmla="*/ 4 w 6"/>
                  <a:gd name="T19" fmla="*/ 4 h 10"/>
                  <a:gd name="T20" fmla="*/ 4 w 6"/>
                  <a:gd name="T21" fmla="*/ 2 h 10"/>
                  <a:gd name="T22" fmla="*/ 4 w 6"/>
                  <a:gd name="T23" fmla="*/ 2 h 10"/>
                  <a:gd name="T24" fmla="*/ 2 w 6"/>
                  <a:gd name="T25" fmla="*/ 2 h 10"/>
                  <a:gd name="T26" fmla="*/ 2 w 6"/>
                  <a:gd name="T27" fmla="*/ 0 h 10"/>
                  <a:gd name="T28" fmla="*/ 2 w 6"/>
                  <a:gd name="T29" fmla="*/ 2 h 10"/>
                  <a:gd name="T30" fmla="*/ 0 w 6"/>
                  <a:gd name="T31" fmla="*/ 2 h 10"/>
                  <a:gd name="T32" fmla="*/ 0 w 6"/>
                  <a:gd name="T33" fmla="*/ 2 h 10"/>
                  <a:gd name="T34" fmla="*/ 0 w 6"/>
                  <a:gd name="T35" fmla="*/ 4 h 10"/>
                  <a:gd name="T36" fmla="*/ 0 w 6"/>
                  <a:gd name="T37" fmla="*/ 6 h 10"/>
                  <a:gd name="T38" fmla="*/ 0 w 6"/>
                  <a:gd name="T39" fmla="*/ 8 h 10"/>
                  <a:gd name="T40" fmla="*/ 0 w 6"/>
                  <a:gd name="T41" fmla="*/ 8 h 10"/>
                  <a:gd name="T42" fmla="*/ 2 w 6"/>
                  <a:gd name="T43" fmla="*/ 10 h 10"/>
                  <a:gd name="T44" fmla="*/ 2 w 6"/>
                  <a:gd name="T45" fmla="*/ 10 h 10"/>
                  <a:gd name="T46" fmla="*/ 2 w 6"/>
                  <a:gd name="T47" fmla="*/ 10 h 10"/>
                  <a:gd name="T48" fmla="*/ 2 w 6"/>
                  <a:gd name="T49" fmla="*/ 10 h 10"/>
                  <a:gd name="T50" fmla="*/ 2 w 6"/>
                  <a:gd name="T51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" h="10">
                    <a:moveTo>
                      <a:pt x="2" y="10"/>
                    </a:moveTo>
                    <a:lnTo>
                      <a:pt x="2" y="10"/>
                    </a:lnTo>
                    <a:lnTo>
                      <a:pt x="2" y="10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1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72" name="Freeform 307"/>
              <p:cNvSpPr>
                <a:spLocks/>
              </p:cNvSpPr>
              <p:nvPr/>
            </p:nvSpPr>
            <p:spPr bwMode="auto">
              <a:xfrm>
                <a:off x="4567" y="3516"/>
                <a:ext cx="4" cy="4"/>
              </a:xfrm>
              <a:custGeom>
                <a:avLst/>
                <a:gdLst>
                  <a:gd name="T0" fmla="*/ 0 w 4"/>
                  <a:gd name="T1" fmla="*/ 2 h 4"/>
                  <a:gd name="T2" fmla="*/ 0 w 4"/>
                  <a:gd name="T3" fmla="*/ 2 h 4"/>
                  <a:gd name="T4" fmla="*/ 0 w 4"/>
                  <a:gd name="T5" fmla="*/ 2 h 4"/>
                  <a:gd name="T6" fmla="*/ 0 w 4"/>
                  <a:gd name="T7" fmla="*/ 4 h 4"/>
                  <a:gd name="T8" fmla="*/ 0 w 4"/>
                  <a:gd name="T9" fmla="*/ 4 h 4"/>
                  <a:gd name="T10" fmla="*/ 0 w 4"/>
                  <a:gd name="T11" fmla="*/ 4 h 4"/>
                  <a:gd name="T12" fmla="*/ 2 w 4"/>
                  <a:gd name="T13" fmla="*/ 4 h 4"/>
                  <a:gd name="T14" fmla="*/ 2 w 4"/>
                  <a:gd name="T15" fmla="*/ 4 h 4"/>
                  <a:gd name="T16" fmla="*/ 4 w 4"/>
                  <a:gd name="T17" fmla="*/ 2 h 4"/>
                  <a:gd name="T18" fmla="*/ 4 w 4"/>
                  <a:gd name="T19" fmla="*/ 2 h 4"/>
                  <a:gd name="T20" fmla="*/ 4 w 4"/>
                  <a:gd name="T21" fmla="*/ 2 h 4"/>
                  <a:gd name="T22" fmla="*/ 4 w 4"/>
                  <a:gd name="T23" fmla="*/ 2 h 4"/>
                  <a:gd name="T24" fmla="*/ 4 w 4"/>
                  <a:gd name="T25" fmla="*/ 0 h 4"/>
                  <a:gd name="T26" fmla="*/ 4 w 4"/>
                  <a:gd name="T27" fmla="*/ 0 h 4"/>
                  <a:gd name="T28" fmla="*/ 2 w 4"/>
                  <a:gd name="T29" fmla="*/ 0 h 4"/>
                  <a:gd name="T30" fmla="*/ 2 w 4"/>
                  <a:gd name="T31" fmla="*/ 0 h 4"/>
                  <a:gd name="T32" fmla="*/ 0 w 4"/>
                  <a:gd name="T33" fmla="*/ 2 h 4"/>
                  <a:gd name="T34" fmla="*/ 0 w 4"/>
                  <a:gd name="T35" fmla="*/ 2 h 4"/>
                  <a:gd name="T36" fmla="*/ 0 w 4"/>
                  <a:gd name="T37" fmla="*/ 2 h 4"/>
                  <a:gd name="T38" fmla="*/ 0 w 4"/>
                  <a:gd name="T39" fmla="*/ 2 h 4"/>
                  <a:gd name="T40" fmla="*/ 0 w 4"/>
                  <a:gd name="T41" fmla="*/ 2 h 4"/>
                  <a:gd name="T42" fmla="*/ 0 w 4"/>
                  <a:gd name="T43" fmla="*/ 2 h 4"/>
                  <a:gd name="T44" fmla="*/ 0 w 4"/>
                  <a:gd name="T45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" h="4">
                    <a:moveTo>
                      <a:pt x="0" y="2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73" name="Freeform 308"/>
              <p:cNvSpPr>
                <a:spLocks/>
              </p:cNvSpPr>
              <p:nvPr/>
            </p:nvSpPr>
            <p:spPr bwMode="auto">
              <a:xfrm>
                <a:off x="4571" y="3508"/>
                <a:ext cx="6" cy="4"/>
              </a:xfrm>
              <a:custGeom>
                <a:avLst/>
                <a:gdLst>
                  <a:gd name="T0" fmla="*/ 6 w 6"/>
                  <a:gd name="T1" fmla="*/ 0 h 4"/>
                  <a:gd name="T2" fmla="*/ 6 w 6"/>
                  <a:gd name="T3" fmla="*/ 0 h 4"/>
                  <a:gd name="T4" fmla="*/ 6 w 6"/>
                  <a:gd name="T5" fmla="*/ 0 h 4"/>
                  <a:gd name="T6" fmla="*/ 6 w 6"/>
                  <a:gd name="T7" fmla="*/ 0 h 4"/>
                  <a:gd name="T8" fmla="*/ 4 w 6"/>
                  <a:gd name="T9" fmla="*/ 0 h 4"/>
                  <a:gd name="T10" fmla="*/ 4 w 6"/>
                  <a:gd name="T11" fmla="*/ 2 h 4"/>
                  <a:gd name="T12" fmla="*/ 2 w 6"/>
                  <a:gd name="T13" fmla="*/ 2 h 4"/>
                  <a:gd name="T14" fmla="*/ 2 w 6"/>
                  <a:gd name="T15" fmla="*/ 2 h 4"/>
                  <a:gd name="T16" fmla="*/ 0 w 6"/>
                  <a:gd name="T17" fmla="*/ 2 h 4"/>
                  <a:gd name="T18" fmla="*/ 0 w 6"/>
                  <a:gd name="T19" fmla="*/ 2 h 4"/>
                  <a:gd name="T20" fmla="*/ 0 w 6"/>
                  <a:gd name="T21" fmla="*/ 2 h 4"/>
                  <a:gd name="T22" fmla="*/ 0 w 6"/>
                  <a:gd name="T23" fmla="*/ 4 h 4"/>
                  <a:gd name="T24" fmla="*/ 0 w 6"/>
                  <a:gd name="T25" fmla="*/ 4 h 4"/>
                  <a:gd name="T26" fmla="*/ 0 w 6"/>
                  <a:gd name="T27" fmla="*/ 4 h 4"/>
                  <a:gd name="T28" fmla="*/ 0 w 6"/>
                  <a:gd name="T29" fmla="*/ 4 h 4"/>
                  <a:gd name="T30" fmla="*/ 2 w 6"/>
                  <a:gd name="T31" fmla="*/ 4 h 4"/>
                  <a:gd name="T32" fmla="*/ 4 w 6"/>
                  <a:gd name="T33" fmla="*/ 4 h 4"/>
                  <a:gd name="T34" fmla="*/ 4 w 6"/>
                  <a:gd name="T35" fmla="*/ 4 h 4"/>
                  <a:gd name="T36" fmla="*/ 6 w 6"/>
                  <a:gd name="T37" fmla="*/ 4 h 4"/>
                  <a:gd name="T38" fmla="*/ 6 w 6"/>
                  <a:gd name="T39" fmla="*/ 2 h 4"/>
                  <a:gd name="T40" fmla="*/ 6 w 6"/>
                  <a:gd name="T41" fmla="*/ 2 h 4"/>
                  <a:gd name="T42" fmla="*/ 6 w 6"/>
                  <a:gd name="T43" fmla="*/ 0 h 4"/>
                  <a:gd name="T44" fmla="*/ 6 w 6"/>
                  <a:gd name="T45" fmla="*/ 0 h 4"/>
                  <a:gd name="T46" fmla="*/ 6 w 6"/>
                  <a:gd name="T47" fmla="*/ 0 h 4"/>
                  <a:gd name="T48" fmla="*/ 6 w 6"/>
                  <a:gd name="T49" fmla="*/ 0 h 4"/>
                  <a:gd name="T50" fmla="*/ 6 w 6"/>
                  <a:gd name="T5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" h="4">
                    <a:moveTo>
                      <a:pt x="6" y="0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74" name="Freeform 309"/>
              <p:cNvSpPr>
                <a:spLocks/>
              </p:cNvSpPr>
              <p:nvPr/>
            </p:nvSpPr>
            <p:spPr bwMode="auto">
              <a:xfrm>
                <a:off x="4571" y="3508"/>
                <a:ext cx="6" cy="4"/>
              </a:xfrm>
              <a:custGeom>
                <a:avLst/>
                <a:gdLst>
                  <a:gd name="T0" fmla="*/ 6 w 6"/>
                  <a:gd name="T1" fmla="*/ 0 h 4"/>
                  <a:gd name="T2" fmla="*/ 6 w 6"/>
                  <a:gd name="T3" fmla="*/ 0 h 4"/>
                  <a:gd name="T4" fmla="*/ 6 w 6"/>
                  <a:gd name="T5" fmla="*/ 0 h 4"/>
                  <a:gd name="T6" fmla="*/ 6 w 6"/>
                  <a:gd name="T7" fmla="*/ 0 h 4"/>
                  <a:gd name="T8" fmla="*/ 4 w 6"/>
                  <a:gd name="T9" fmla="*/ 0 h 4"/>
                  <a:gd name="T10" fmla="*/ 4 w 6"/>
                  <a:gd name="T11" fmla="*/ 2 h 4"/>
                  <a:gd name="T12" fmla="*/ 2 w 6"/>
                  <a:gd name="T13" fmla="*/ 2 h 4"/>
                  <a:gd name="T14" fmla="*/ 2 w 6"/>
                  <a:gd name="T15" fmla="*/ 2 h 4"/>
                  <a:gd name="T16" fmla="*/ 0 w 6"/>
                  <a:gd name="T17" fmla="*/ 2 h 4"/>
                  <a:gd name="T18" fmla="*/ 0 w 6"/>
                  <a:gd name="T19" fmla="*/ 2 h 4"/>
                  <a:gd name="T20" fmla="*/ 0 w 6"/>
                  <a:gd name="T21" fmla="*/ 2 h 4"/>
                  <a:gd name="T22" fmla="*/ 0 w 6"/>
                  <a:gd name="T23" fmla="*/ 4 h 4"/>
                  <a:gd name="T24" fmla="*/ 0 w 6"/>
                  <a:gd name="T25" fmla="*/ 4 h 4"/>
                  <a:gd name="T26" fmla="*/ 0 w 6"/>
                  <a:gd name="T27" fmla="*/ 4 h 4"/>
                  <a:gd name="T28" fmla="*/ 0 w 6"/>
                  <a:gd name="T29" fmla="*/ 4 h 4"/>
                  <a:gd name="T30" fmla="*/ 2 w 6"/>
                  <a:gd name="T31" fmla="*/ 4 h 4"/>
                  <a:gd name="T32" fmla="*/ 4 w 6"/>
                  <a:gd name="T33" fmla="*/ 4 h 4"/>
                  <a:gd name="T34" fmla="*/ 4 w 6"/>
                  <a:gd name="T35" fmla="*/ 4 h 4"/>
                  <a:gd name="T36" fmla="*/ 6 w 6"/>
                  <a:gd name="T37" fmla="*/ 4 h 4"/>
                  <a:gd name="T38" fmla="*/ 6 w 6"/>
                  <a:gd name="T39" fmla="*/ 2 h 4"/>
                  <a:gd name="T40" fmla="*/ 6 w 6"/>
                  <a:gd name="T41" fmla="*/ 2 h 4"/>
                  <a:gd name="T42" fmla="*/ 6 w 6"/>
                  <a:gd name="T43" fmla="*/ 0 h 4"/>
                  <a:gd name="T44" fmla="*/ 6 w 6"/>
                  <a:gd name="T45" fmla="*/ 0 h 4"/>
                  <a:gd name="T46" fmla="*/ 6 w 6"/>
                  <a:gd name="T47" fmla="*/ 0 h 4"/>
                  <a:gd name="T48" fmla="*/ 6 w 6"/>
                  <a:gd name="T49" fmla="*/ 0 h 4"/>
                  <a:gd name="T50" fmla="*/ 6 w 6"/>
                  <a:gd name="T5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" h="4">
                    <a:moveTo>
                      <a:pt x="6" y="0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75" name="Freeform 310"/>
              <p:cNvSpPr>
                <a:spLocks/>
              </p:cNvSpPr>
              <p:nvPr/>
            </p:nvSpPr>
            <p:spPr bwMode="auto">
              <a:xfrm>
                <a:off x="4561" y="3510"/>
                <a:ext cx="6" cy="4"/>
              </a:xfrm>
              <a:custGeom>
                <a:avLst/>
                <a:gdLst>
                  <a:gd name="T0" fmla="*/ 0 w 6"/>
                  <a:gd name="T1" fmla="*/ 2 h 4"/>
                  <a:gd name="T2" fmla="*/ 0 w 6"/>
                  <a:gd name="T3" fmla="*/ 2 h 4"/>
                  <a:gd name="T4" fmla="*/ 0 w 6"/>
                  <a:gd name="T5" fmla="*/ 2 h 4"/>
                  <a:gd name="T6" fmla="*/ 0 w 6"/>
                  <a:gd name="T7" fmla="*/ 2 h 4"/>
                  <a:gd name="T8" fmla="*/ 2 w 6"/>
                  <a:gd name="T9" fmla="*/ 4 h 4"/>
                  <a:gd name="T10" fmla="*/ 2 w 6"/>
                  <a:gd name="T11" fmla="*/ 4 h 4"/>
                  <a:gd name="T12" fmla="*/ 4 w 6"/>
                  <a:gd name="T13" fmla="*/ 4 h 4"/>
                  <a:gd name="T14" fmla="*/ 4 w 6"/>
                  <a:gd name="T15" fmla="*/ 4 h 4"/>
                  <a:gd name="T16" fmla="*/ 4 w 6"/>
                  <a:gd name="T17" fmla="*/ 4 h 4"/>
                  <a:gd name="T18" fmla="*/ 6 w 6"/>
                  <a:gd name="T19" fmla="*/ 4 h 4"/>
                  <a:gd name="T20" fmla="*/ 6 w 6"/>
                  <a:gd name="T21" fmla="*/ 2 h 4"/>
                  <a:gd name="T22" fmla="*/ 4 w 6"/>
                  <a:gd name="T23" fmla="*/ 2 h 4"/>
                  <a:gd name="T24" fmla="*/ 4 w 6"/>
                  <a:gd name="T25" fmla="*/ 2 h 4"/>
                  <a:gd name="T26" fmla="*/ 2 w 6"/>
                  <a:gd name="T27" fmla="*/ 0 h 4"/>
                  <a:gd name="T28" fmla="*/ 0 w 6"/>
                  <a:gd name="T29" fmla="*/ 2 h 4"/>
                  <a:gd name="T30" fmla="*/ 0 w 6"/>
                  <a:gd name="T31" fmla="*/ 2 h 4"/>
                  <a:gd name="T32" fmla="*/ 0 w 6"/>
                  <a:gd name="T33" fmla="*/ 2 h 4"/>
                  <a:gd name="T34" fmla="*/ 0 w 6"/>
                  <a:gd name="T35" fmla="*/ 2 h 4"/>
                  <a:gd name="T36" fmla="*/ 0 w 6"/>
                  <a:gd name="T37" fmla="*/ 2 h 4"/>
                  <a:gd name="T38" fmla="*/ 0 w 6"/>
                  <a:gd name="T39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6" h="4">
                    <a:moveTo>
                      <a:pt x="0" y="2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76" name="Freeform 311"/>
              <p:cNvSpPr>
                <a:spLocks/>
              </p:cNvSpPr>
              <p:nvPr/>
            </p:nvSpPr>
            <p:spPr bwMode="auto">
              <a:xfrm>
                <a:off x="4561" y="3510"/>
                <a:ext cx="6" cy="4"/>
              </a:xfrm>
              <a:custGeom>
                <a:avLst/>
                <a:gdLst>
                  <a:gd name="T0" fmla="*/ 0 w 6"/>
                  <a:gd name="T1" fmla="*/ 2 h 4"/>
                  <a:gd name="T2" fmla="*/ 0 w 6"/>
                  <a:gd name="T3" fmla="*/ 2 h 4"/>
                  <a:gd name="T4" fmla="*/ 0 w 6"/>
                  <a:gd name="T5" fmla="*/ 2 h 4"/>
                  <a:gd name="T6" fmla="*/ 0 w 6"/>
                  <a:gd name="T7" fmla="*/ 2 h 4"/>
                  <a:gd name="T8" fmla="*/ 2 w 6"/>
                  <a:gd name="T9" fmla="*/ 4 h 4"/>
                  <a:gd name="T10" fmla="*/ 2 w 6"/>
                  <a:gd name="T11" fmla="*/ 4 h 4"/>
                  <a:gd name="T12" fmla="*/ 4 w 6"/>
                  <a:gd name="T13" fmla="*/ 4 h 4"/>
                  <a:gd name="T14" fmla="*/ 4 w 6"/>
                  <a:gd name="T15" fmla="*/ 4 h 4"/>
                  <a:gd name="T16" fmla="*/ 4 w 6"/>
                  <a:gd name="T17" fmla="*/ 4 h 4"/>
                  <a:gd name="T18" fmla="*/ 6 w 6"/>
                  <a:gd name="T19" fmla="*/ 4 h 4"/>
                  <a:gd name="T20" fmla="*/ 6 w 6"/>
                  <a:gd name="T21" fmla="*/ 2 h 4"/>
                  <a:gd name="T22" fmla="*/ 4 w 6"/>
                  <a:gd name="T23" fmla="*/ 2 h 4"/>
                  <a:gd name="T24" fmla="*/ 4 w 6"/>
                  <a:gd name="T25" fmla="*/ 2 h 4"/>
                  <a:gd name="T26" fmla="*/ 2 w 6"/>
                  <a:gd name="T27" fmla="*/ 0 h 4"/>
                  <a:gd name="T28" fmla="*/ 0 w 6"/>
                  <a:gd name="T29" fmla="*/ 2 h 4"/>
                  <a:gd name="T30" fmla="*/ 0 w 6"/>
                  <a:gd name="T31" fmla="*/ 2 h 4"/>
                  <a:gd name="T32" fmla="*/ 0 w 6"/>
                  <a:gd name="T33" fmla="*/ 2 h 4"/>
                  <a:gd name="T34" fmla="*/ 0 w 6"/>
                  <a:gd name="T35" fmla="*/ 2 h 4"/>
                  <a:gd name="T36" fmla="*/ 0 w 6"/>
                  <a:gd name="T37" fmla="*/ 2 h 4"/>
                  <a:gd name="T38" fmla="*/ 0 w 6"/>
                  <a:gd name="T39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6" h="4">
                    <a:moveTo>
                      <a:pt x="0" y="2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77" name="Freeform 312"/>
              <p:cNvSpPr>
                <a:spLocks/>
              </p:cNvSpPr>
              <p:nvPr/>
            </p:nvSpPr>
            <p:spPr bwMode="auto">
              <a:xfrm>
                <a:off x="4557" y="3514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0 w 2"/>
                  <a:gd name="T3" fmla="*/ 2 h 2"/>
                  <a:gd name="T4" fmla="*/ 2 w 2"/>
                  <a:gd name="T5" fmla="*/ 2 h 2"/>
                  <a:gd name="T6" fmla="*/ 2 w 2"/>
                  <a:gd name="T7" fmla="*/ 2 h 2"/>
                  <a:gd name="T8" fmla="*/ 2 w 2"/>
                  <a:gd name="T9" fmla="*/ 2 h 2"/>
                  <a:gd name="T10" fmla="*/ 2 w 2"/>
                  <a:gd name="T11" fmla="*/ 2 h 2"/>
                  <a:gd name="T12" fmla="*/ 2 w 2"/>
                  <a:gd name="T13" fmla="*/ 2 h 2"/>
                  <a:gd name="T14" fmla="*/ 2 w 2"/>
                  <a:gd name="T15" fmla="*/ 0 h 2"/>
                  <a:gd name="T16" fmla="*/ 0 w 2"/>
                  <a:gd name="T17" fmla="*/ 0 h 2"/>
                  <a:gd name="T18" fmla="*/ 0 w 2"/>
                  <a:gd name="T19" fmla="*/ 0 h 2"/>
                  <a:gd name="T20" fmla="*/ 0 w 2"/>
                  <a:gd name="T21" fmla="*/ 0 h 2"/>
                  <a:gd name="T22" fmla="*/ 0 w 2"/>
                  <a:gd name="T23" fmla="*/ 0 h 2"/>
                  <a:gd name="T24" fmla="*/ 0 w 2"/>
                  <a:gd name="T25" fmla="*/ 0 h 2"/>
                  <a:gd name="T26" fmla="*/ 0 w 2"/>
                  <a:gd name="T27" fmla="*/ 0 h 2"/>
                  <a:gd name="T28" fmla="*/ 0 w 2"/>
                  <a:gd name="T29" fmla="*/ 2 h 2"/>
                  <a:gd name="T30" fmla="*/ 0 w 2"/>
                  <a:gd name="T31" fmla="*/ 2 h 2"/>
                  <a:gd name="T32" fmla="*/ 0 w 2"/>
                  <a:gd name="T33" fmla="*/ 2 h 2"/>
                  <a:gd name="T34" fmla="*/ 0 w 2"/>
                  <a:gd name="T35" fmla="*/ 2 h 2"/>
                  <a:gd name="T36" fmla="*/ 0 w 2"/>
                  <a:gd name="T37" fmla="*/ 2 h 2"/>
                  <a:gd name="T38" fmla="*/ 0 w 2"/>
                  <a:gd name="T39" fmla="*/ 2 h 2"/>
                  <a:gd name="T40" fmla="*/ 0 w 2"/>
                  <a:gd name="T4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78" name="Freeform 313"/>
              <p:cNvSpPr>
                <a:spLocks/>
              </p:cNvSpPr>
              <p:nvPr/>
            </p:nvSpPr>
            <p:spPr bwMode="auto">
              <a:xfrm>
                <a:off x="4557" y="3514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0 w 2"/>
                  <a:gd name="T3" fmla="*/ 2 h 2"/>
                  <a:gd name="T4" fmla="*/ 2 w 2"/>
                  <a:gd name="T5" fmla="*/ 2 h 2"/>
                  <a:gd name="T6" fmla="*/ 2 w 2"/>
                  <a:gd name="T7" fmla="*/ 2 h 2"/>
                  <a:gd name="T8" fmla="*/ 2 w 2"/>
                  <a:gd name="T9" fmla="*/ 2 h 2"/>
                  <a:gd name="T10" fmla="*/ 2 w 2"/>
                  <a:gd name="T11" fmla="*/ 2 h 2"/>
                  <a:gd name="T12" fmla="*/ 2 w 2"/>
                  <a:gd name="T13" fmla="*/ 2 h 2"/>
                  <a:gd name="T14" fmla="*/ 2 w 2"/>
                  <a:gd name="T15" fmla="*/ 0 h 2"/>
                  <a:gd name="T16" fmla="*/ 0 w 2"/>
                  <a:gd name="T17" fmla="*/ 0 h 2"/>
                  <a:gd name="T18" fmla="*/ 0 w 2"/>
                  <a:gd name="T19" fmla="*/ 0 h 2"/>
                  <a:gd name="T20" fmla="*/ 0 w 2"/>
                  <a:gd name="T21" fmla="*/ 0 h 2"/>
                  <a:gd name="T22" fmla="*/ 0 w 2"/>
                  <a:gd name="T23" fmla="*/ 0 h 2"/>
                  <a:gd name="T24" fmla="*/ 0 w 2"/>
                  <a:gd name="T25" fmla="*/ 0 h 2"/>
                  <a:gd name="T26" fmla="*/ 0 w 2"/>
                  <a:gd name="T27" fmla="*/ 0 h 2"/>
                  <a:gd name="T28" fmla="*/ 0 w 2"/>
                  <a:gd name="T29" fmla="*/ 2 h 2"/>
                  <a:gd name="T30" fmla="*/ 0 w 2"/>
                  <a:gd name="T31" fmla="*/ 2 h 2"/>
                  <a:gd name="T32" fmla="*/ 0 w 2"/>
                  <a:gd name="T33" fmla="*/ 2 h 2"/>
                  <a:gd name="T34" fmla="*/ 0 w 2"/>
                  <a:gd name="T35" fmla="*/ 2 h 2"/>
                  <a:gd name="T36" fmla="*/ 0 w 2"/>
                  <a:gd name="T37" fmla="*/ 2 h 2"/>
                  <a:gd name="T38" fmla="*/ 0 w 2"/>
                  <a:gd name="T39" fmla="*/ 2 h 2"/>
                  <a:gd name="T40" fmla="*/ 0 w 2"/>
                  <a:gd name="T4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79" name="Freeform 314"/>
              <p:cNvSpPr>
                <a:spLocks/>
              </p:cNvSpPr>
              <p:nvPr/>
            </p:nvSpPr>
            <p:spPr bwMode="auto">
              <a:xfrm>
                <a:off x="4547" y="3512"/>
                <a:ext cx="4" cy="2"/>
              </a:xfrm>
              <a:custGeom>
                <a:avLst/>
                <a:gdLst>
                  <a:gd name="T0" fmla="*/ 0 w 4"/>
                  <a:gd name="T1" fmla="*/ 2 h 2"/>
                  <a:gd name="T2" fmla="*/ 0 w 4"/>
                  <a:gd name="T3" fmla="*/ 2 h 2"/>
                  <a:gd name="T4" fmla="*/ 2 w 4"/>
                  <a:gd name="T5" fmla="*/ 2 h 2"/>
                  <a:gd name="T6" fmla="*/ 2 w 4"/>
                  <a:gd name="T7" fmla="*/ 2 h 2"/>
                  <a:gd name="T8" fmla="*/ 2 w 4"/>
                  <a:gd name="T9" fmla="*/ 2 h 2"/>
                  <a:gd name="T10" fmla="*/ 4 w 4"/>
                  <a:gd name="T11" fmla="*/ 2 h 2"/>
                  <a:gd name="T12" fmla="*/ 4 w 4"/>
                  <a:gd name="T13" fmla="*/ 2 h 2"/>
                  <a:gd name="T14" fmla="*/ 2 w 4"/>
                  <a:gd name="T15" fmla="*/ 2 h 2"/>
                  <a:gd name="T16" fmla="*/ 2 w 4"/>
                  <a:gd name="T17" fmla="*/ 0 h 2"/>
                  <a:gd name="T18" fmla="*/ 2 w 4"/>
                  <a:gd name="T19" fmla="*/ 0 h 2"/>
                  <a:gd name="T20" fmla="*/ 2 w 4"/>
                  <a:gd name="T21" fmla="*/ 0 h 2"/>
                  <a:gd name="T22" fmla="*/ 0 w 4"/>
                  <a:gd name="T23" fmla="*/ 2 h 2"/>
                  <a:gd name="T24" fmla="*/ 0 w 4"/>
                  <a:gd name="T25" fmla="*/ 2 h 2"/>
                  <a:gd name="T26" fmla="*/ 0 w 4"/>
                  <a:gd name="T27" fmla="*/ 2 h 2"/>
                  <a:gd name="T28" fmla="*/ 0 w 4"/>
                  <a:gd name="T29" fmla="*/ 2 h 2"/>
                  <a:gd name="T30" fmla="*/ 0 w 4"/>
                  <a:gd name="T31" fmla="*/ 2 h 2"/>
                  <a:gd name="T32" fmla="*/ 0 w 4"/>
                  <a:gd name="T33" fmla="*/ 2 h 2"/>
                  <a:gd name="T34" fmla="*/ 0 w 4"/>
                  <a:gd name="T3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" h="2">
                    <a:moveTo>
                      <a:pt x="0" y="2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80" name="Freeform 315"/>
              <p:cNvSpPr>
                <a:spLocks/>
              </p:cNvSpPr>
              <p:nvPr/>
            </p:nvSpPr>
            <p:spPr bwMode="auto">
              <a:xfrm>
                <a:off x="4547" y="3512"/>
                <a:ext cx="4" cy="2"/>
              </a:xfrm>
              <a:custGeom>
                <a:avLst/>
                <a:gdLst>
                  <a:gd name="T0" fmla="*/ 0 w 4"/>
                  <a:gd name="T1" fmla="*/ 2 h 2"/>
                  <a:gd name="T2" fmla="*/ 0 w 4"/>
                  <a:gd name="T3" fmla="*/ 2 h 2"/>
                  <a:gd name="T4" fmla="*/ 2 w 4"/>
                  <a:gd name="T5" fmla="*/ 2 h 2"/>
                  <a:gd name="T6" fmla="*/ 2 w 4"/>
                  <a:gd name="T7" fmla="*/ 2 h 2"/>
                  <a:gd name="T8" fmla="*/ 2 w 4"/>
                  <a:gd name="T9" fmla="*/ 2 h 2"/>
                  <a:gd name="T10" fmla="*/ 4 w 4"/>
                  <a:gd name="T11" fmla="*/ 2 h 2"/>
                  <a:gd name="T12" fmla="*/ 4 w 4"/>
                  <a:gd name="T13" fmla="*/ 2 h 2"/>
                  <a:gd name="T14" fmla="*/ 2 w 4"/>
                  <a:gd name="T15" fmla="*/ 2 h 2"/>
                  <a:gd name="T16" fmla="*/ 2 w 4"/>
                  <a:gd name="T17" fmla="*/ 0 h 2"/>
                  <a:gd name="T18" fmla="*/ 2 w 4"/>
                  <a:gd name="T19" fmla="*/ 0 h 2"/>
                  <a:gd name="T20" fmla="*/ 2 w 4"/>
                  <a:gd name="T21" fmla="*/ 0 h 2"/>
                  <a:gd name="T22" fmla="*/ 0 w 4"/>
                  <a:gd name="T23" fmla="*/ 2 h 2"/>
                  <a:gd name="T24" fmla="*/ 0 w 4"/>
                  <a:gd name="T25" fmla="*/ 2 h 2"/>
                  <a:gd name="T26" fmla="*/ 0 w 4"/>
                  <a:gd name="T27" fmla="*/ 2 h 2"/>
                  <a:gd name="T28" fmla="*/ 0 w 4"/>
                  <a:gd name="T29" fmla="*/ 2 h 2"/>
                  <a:gd name="T30" fmla="*/ 0 w 4"/>
                  <a:gd name="T31" fmla="*/ 2 h 2"/>
                  <a:gd name="T32" fmla="*/ 0 w 4"/>
                  <a:gd name="T33" fmla="*/ 2 h 2"/>
                  <a:gd name="T34" fmla="*/ 0 w 4"/>
                  <a:gd name="T3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" h="2">
                    <a:moveTo>
                      <a:pt x="0" y="2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81" name="Freeform 316"/>
              <p:cNvSpPr>
                <a:spLocks/>
              </p:cNvSpPr>
              <p:nvPr/>
            </p:nvSpPr>
            <p:spPr bwMode="auto">
              <a:xfrm>
                <a:off x="4747" y="3570"/>
                <a:ext cx="32" cy="20"/>
              </a:xfrm>
              <a:custGeom>
                <a:avLst/>
                <a:gdLst>
                  <a:gd name="T0" fmla="*/ 22 w 32"/>
                  <a:gd name="T1" fmla="*/ 2 h 20"/>
                  <a:gd name="T2" fmla="*/ 20 w 32"/>
                  <a:gd name="T3" fmla="*/ 0 h 20"/>
                  <a:gd name="T4" fmla="*/ 16 w 32"/>
                  <a:gd name="T5" fmla="*/ 0 h 20"/>
                  <a:gd name="T6" fmla="*/ 12 w 32"/>
                  <a:gd name="T7" fmla="*/ 2 h 20"/>
                  <a:gd name="T8" fmla="*/ 10 w 32"/>
                  <a:gd name="T9" fmla="*/ 2 h 20"/>
                  <a:gd name="T10" fmla="*/ 4 w 32"/>
                  <a:gd name="T11" fmla="*/ 6 h 20"/>
                  <a:gd name="T12" fmla="*/ 2 w 32"/>
                  <a:gd name="T13" fmla="*/ 6 h 20"/>
                  <a:gd name="T14" fmla="*/ 0 w 32"/>
                  <a:gd name="T15" fmla="*/ 8 h 20"/>
                  <a:gd name="T16" fmla="*/ 0 w 32"/>
                  <a:gd name="T17" fmla="*/ 10 h 20"/>
                  <a:gd name="T18" fmla="*/ 0 w 32"/>
                  <a:gd name="T19" fmla="*/ 14 h 20"/>
                  <a:gd name="T20" fmla="*/ 2 w 32"/>
                  <a:gd name="T21" fmla="*/ 16 h 20"/>
                  <a:gd name="T22" fmla="*/ 4 w 32"/>
                  <a:gd name="T23" fmla="*/ 20 h 20"/>
                  <a:gd name="T24" fmla="*/ 6 w 32"/>
                  <a:gd name="T25" fmla="*/ 20 h 20"/>
                  <a:gd name="T26" fmla="*/ 10 w 32"/>
                  <a:gd name="T27" fmla="*/ 20 h 20"/>
                  <a:gd name="T28" fmla="*/ 12 w 32"/>
                  <a:gd name="T29" fmla="*/ 18 h 20"/>
                  <a:gd name="T30" fmla="*/ 16 w 32"/>
                  <a:gd name="T31" fmla="*/ 16 h 20"/>
                  <a:gd name="T32" fmla="*/ 20 w 32"/>
                  <a:gd name="T33" fmla="*/ 16 h 20"/>
                  <a:gd name="T34" fmla="*/ 24 w 32"/>
                  <a:gd name="T35" fmla="*/ 16 h 20"/>
                  <a:gd name="T36" fmla="*/ 24 w 32"/>
                  <a:gd name="T37" fmla="*/ 14 h 20"/>
                  <a:gd name="T38" fmla="*/ 26 w 32"/>
                  <a:gd name="T39" fmla="*/ 14 h 20"/>
                  <a:gd name="T40" fmla="*/ 30 w 32"/>
                  <a:gd name="T41" fmla="*/ 14 h 20"/>
                  <a:gd name="T42" fmla="*/ 32 w 32"/>
                  <a:gd name="T43" fmla="*/ 12 h 20"/>
                  <a:gd name="T44" fmla="*/ 32 w 32"/>
                  <a:gd name="T45" fmla="*/ 12 h 20"/>
                  <a:gd name="T46" fmla="*/ 32 w 32"/>
                  <a:gd name="T47" fmla="*/ 10 h 20"/>
                  <a:gd name="T48" fmla="*/ 32 w 32"/>
                  <a:gd name="T49" fmla="*/ 10 h 20"/>
                  <a:gd name="T50" fmla="*/ 28 w 32"/>
                  <a:gd name="T51" fmla="*/ 8 h 20"/>
                  <a:gd name="T52" fmla="*/ 26 w 32"/>
                  <a:gd name="T53" fmla="*/ 8 h 20"/>
                  <a:gd name="T54" fmla="*/ 24 w 32"/>
                  <a:gd name="T55" fmla="*/ 8 h 20"/>
                  <a:gd name="T56" fmla="*/ 24 w 32"/>
                  <a:gd name="T57" fmla="*/ 6 h 20"/>
                  <a:gd name="T58" fmla="*/ 24 w 32"/>
                  <a:gd name="T59" fmla="*/ 4 h 20"/>
                  <a:gd name="T60" fmla="*/ 22 w 32"/>
                  <a:gd name="T61" fmla="*/ 2 h 20"/>
                  <a:gd name="T62" fmla="*/ 22 w 32"/>
                  <a:gd name="T63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2" h="20">
                    <a:moveTo>
                      <a:pt x="22" y="2"/>
                    </a:moveTo>
                    <a:lnTo>
                      <a:pt x="22" y="2"/>
                    </a:lnTo>
                    <a:lnTo>
                      <a:pt x="22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  <a:lnTo>
                      <a:pt x="14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8" y="4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2" y="18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6" y="20"/>
                    </a:lnTo>
                    <a:lnTo>
                      <a:pt x="8" y="20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2" y="18"/>
                    </a:lnTo>
                    <a:lnTo>
                      <a:pt x="14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0"/>
                    </a:lnTo>
                    <a:lnTo>
                      <a:pt x="32" y="10"/>
                    </a:lnTo>
                    <a:lnTo>
                      <a:pt x="32" y="10"/>
                    </a:lnTo>
                    <a:lnTo>
                      <a:pt x="30" y="8"/>
                    </a:lnTo>
                    <a:lnTo>
                      <a:pt x="28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4" y="8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82" name="Freeform 318"/>
              <p:cNvSpPr>
                <a:spLocks/>
              </p:cNvSpPr>
              <p:nvPr/>
            </p:nvSpPr>
            <p:spPr bwMode="auto">
              <a:xfrm>
                <a:off x="4815" y="3678"/>
                <a:ext cx="12" cy="16"/>
              </a:xfrm>
              <a:custGeom>
                <a:avLst/>
                <a:gdLst>
                  <a:gd name="T0" fmla="*/ 2 w 12"/>
                  <a:gd name="T1" fmla="*/ 4 h 16"/>
                  <a:gd name="T2" fmla="*/ 2 w 12"/>
                  <a:gd name="T3" fmla="*/ 4 h 16"/>
                  <a:gd name="T4" fmla="*/ 2 w 12"/>
                  <a:gd name="T5" fmla="*/ 6 h 16"/>
                  <a:gd name="T6" fmla="*/ 0 w 12"/>
                  <a:gd name="T7" fmla="*/ 10 h 16"/>
                  <a:gd name="T8" fmla="*/ 0 w 12"/>
                  <a:gd name="T9" fmla="*/ 12 h 16"/>
                  <a:gd name="T10" fmla="*/ 0 w 12"/>
                  <a:gd name="T11" fmla="*/ 16 h 16"/>
                  <a:gd name="T12" fmla="*/ 0 w 12"/>
                  <a:gd name="T13" fmla="*/ 16 h 16"/>
                  <a:gd name="T14" fmla="*/ 2 w 12"/>
                  <a:gd name="T15" fmla="*/ 16 h 16"/>
                  <a:gd name="T16" fmla="*/ 2 w 12"/>
                  <a:gd name="T17" fmla="*/ 16 h 16"/>
                  <a:gd name="T18" fmla="*/ 4 w 12"/>
                  <a:gd name="T19" fmla="*/ 14 h 16"/>
                  <a:gd name="T20" fmla="*/ 4 w 12"/>
                  <a:gd name="T21" fmla="*/ 14 h 16"/>
                  <a:gd name="T22" fmla="*/ 6 w 12"/>
                  <a:gd name="T23" fmla="*/ 12 h 16"/>
                  <a:gd name="T24" fmla="*/ 8 w 12"/>
                  <a:gd name="T25" fmla="*/ 10 h 16"/>
                  <a:gd name="T26" fmla="*/ 8 w 12"/>
                  <a:gd name="T27" fmla="*/ 10 h 16"/>
                  <a:gd name="T28" fmla="*/ 8 w 12"/>
                  <a:gd name="T29" fmla="*/ 8 h 16"/>
                  <a:gd name="T30" fmla="*/ 10 w 12"/>
                  <a:gd name="T31" fmla="*/ 6 h 16"/>
                  <a:gd name="T32" fmla="*/ 12 w 12"/>
                  <a:gd name="T33" fmla="*/ 4 h 16"/>
                  <a:gd name="T34" fmla="*/ 12 w 12"/>
                  <a:gd name="T35" fmla="*/ 2 h 16"/>
                  <a:gd name="T36" fmla="*/ 12 w 12"/>
                  <a:gd name="T37" fmla="*/ 2 h 16"/>
                  <a:gd name="T38" fmla="*/ 12 w 12"/>
                  <a:gd name="T39" fmla="*/ 2 h 16"/>
                  <a:gd name="T40" fmla="*/ 12 w 12"/>
                  <a:gd name="T41" fmla="*/ 2 h 16"/>
                  <a:gd name="T42" fmla="*/ 12 w 12"/>
                  <a:gd name="T43" fmla="*/ 2 h 16"/>
                  <a:gd name="T44" fmla="*/ 10 w 12"/>
                  <a:gd name="T45" fmla="*/ 0 h 16"/>
                  <a:gd name="T46" fmla="*/ 10 w 12"/>
                  <a:gd name="T47" fmla="*/ 0 h 16"/>
                  <a:gd name="T48" fmla="*/ 8 w 12"/>
                  <a:gd name="T49" fmla="*/ 2 h 16"/>
                  <a:gd name="T50" fmla="*/ 6 w 12"/>
                  <a:gd name="T51" fmla="*/ 2 h 16"/>
                  <a:gd name="T52" fmla="*/ 4 w 12"/>
                  <a:gd name="T53" fmla="*/ 2 h 16"/>
                  <a:gd name="T54" fmla="*/ 2 w 12"/>
                  <a:gd name="T55" fmla="*/ 4 h 16"/>
                  <a:gd name="T56" fmla="*/ 2 w 12"/>
                  <a:gd name="T57" fmla="*/ 4 h 16"/>
                  <a:gd name="T58" fmla="*/ 2 w 12"/>
                  <a:gd name="T59" fmla="*/ 4 h 16"/>
                  <a:gd name="T60" fmla="*/ 2 w 12"/>
                  <a:gd name="T61" fmla="*/ 4 h 16"/>
                  <a:gd name="T62" fmla="*/ 2 w 12"/>
                  <a:gd name="T63" fmla="*/ 4 h 16"/>
                  <a:gd name="T64" fmla="*/ 2 w 12"/>
                  <a:gd name="T65" fmla="*/ 4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2" h="16">
                    <a:moveTo>
                      <a:pt x="2" y="4"/>
                    </a:moveTo>
                    <a:lnTo>
                      <a:pt x="2" y="4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2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8"/>
                    </a:lnTo>
                    <a:lnTo>
                      <a:pt x="10" y="6"/>
                    </a:lnTo>
                    <a:lnTo>
                      <a:pt x="12" y="4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83" name="Freeform 321"/>
              <p:cNvSpPr>
                <a:spLocks/>
              </p:cNvSpPr>
              <p:nvPr/>
            </p:nvSpPr>
            <p:spPr bwMode="auto">
              <a:xfrm>
                <a:off x="4875" y="3684"/>
                <a:ext cx="8" cy="14"/>
              </a:xfrm>
              <a:custGeom>
                <a:avLst/>
                <a:gdLst>
                  <a:gd name="T0" fmla="*/ 4 w 8"/>
                  <a:gd name="T1" fmla="*/ 12 h 14"/>
                  <a:gd name="T2" fmla="*/ 4 w 8"/>
                  <a:gd name="T3" fmla="*/ 12 h 14"/>
                  <a:gd name="T4" fmla="*/ 6 w 8"/>
                  <a:gd name="T5" fmla="*/ 14 h 14"/>
                  <a:gd name="T6" fmla="*/ 8 w 8"/>
                  <a:gd name="T7" fmla="*/ 12 h 14"/>
                  <a:gd name="T8" fmla="*/ 8 w 8"/>
                  <a:gd name="T9" fmla="*/ 12 h 14"/>
                  <a:gd name="T10" fmla="*/ 8 w 8"/>
                  <a:gd name="T11" fmla="*/ 12 h 14"/>
                  <a:gd name="T12" fmla="*/ 8 w 8"/>
                  <a:gd name="T13" fmla="*/ 10 h 14"/>
                  <a:gd name="T14" fmla="*/ 8 w 8"/>
                  <a:gd name="T15" fmla="*/ 10 h 14"/>
                  <a:gd name="T16" fmla="*/ 8 w 8"/>
                  <a:gd name="T17" fmla="*/ 10 h 14"/>
                  <a:gd name="T18" fmla="*/ 8 w 8"/>
                  <a:gd name="T19" fmla="*/ 8 h 14"/>
                  <a:gd name="T20" fmla="*/ 8 w 8"/>
                  <a:gd name="T21" fmla="*/ 6 h 14"/>
                  <a:gd name="T22" fmla="*/ 6 w 8"/>
                  <a:gd name="T23" fmla="*/ 4 h 14"/>
                  <a:gd name="T24" fmla="*/ 6 w 8"/>
                  <a:gd name="T25" fmla="*/ 4 h 14"/>
                  <a:gd name="T26" fmla="*/ 6 w 8"/>
                  <a:gd name="T27" fmla="*/ 0 h 14"/>
                  <a:gd name="T28" fmla="*/ 4 w 8"/>
                  <a:gd name="T29" fmla="*/ 0 h 14"/>
                  <a:gd name="T30" fmla="*/ 4 w 8"/>
                  <a:gd name="T31" fmla="*/ 0 h 14"/>
                  <a:gd name="T32" fmla="*/ 4 w 8"/>
                  <a:gd name="T33" fmla="*/ 0 h 14"/>
                  <a:gd name="T34" fmla="*/ 4 w 8"/>
                  <a:gd name="T35" fmla="*/ 0 h 14"/>
                  <a:gd name="T36" fmla="*/ 2 w 8"/>
                  <a:gd name="T37" fmla="*/ 0 h 14"/>
                  <a:gd name="T38" fmla="*/ 2 w 8"/>
                  <a:gd name="T39" fmla="*/ 2 h 14"/>
                  <a:gd name="T40" fmla="*/ 0 w 8"/>
                  <a:gd name="T41" fmla="*/ 4 h 14"/>
                  <a:gd name="T42" fmla="*/ 0 w 8"/>
                  <a:gd name="T43" fmla="*/ 4 h 14"/>
                  <a:gd name="T44" fmla="*/ 0 w 8"/>
                  <a:gd name="T45" fmla="*/ 6 h 14"/>
                  <a:gd name="T46" fmla="*/ 0 w 8"/>
                  <a:gd name="T47" fmla="*/ 10 h 14"/>
                  <a:gd name="T48" fmla="*/ 2 w 8"/>
                  <a:gd name="T49" fmla="*/ 10 h 14"/>
                  <a:gd name="T50" fmla="*/ 2 w 8"/>
                  <a:gd name="T51" fmla="*/ 12 h 14"/>
                  <a:gd name="T52" fmla="*/ 2 w 8"/>
                  <a:gd name="T53" fmla="*/ 12 h 14"/>
                  <a:gd name="T54" fmla="*/ 4 w 8"/>
                  <a:gd name="T55" fmla="*/ 12 h 14"/>
                  <a:gd name="T56" fmla="*/ 4 w 8"/>
                  <a:gd name="T57" fmla="*/ 12 h 14"/>
                  <a:gd name="T58" fmla="*/ 4 w 8"/>
                  <a:gd name="T59" fmla="*/ 12 h 14"/>
                  <a:gd name="T60" fmla="*/ 4 w 8"/>
                  <a:gd name="T61" fmla="*/ 12 h 14"/>
                  <a:gd name="T62" fmla="*/ 4 w 8"/>
                  <a:gd name="T63" fmla="*/ 1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8" h="14">
                    <a:moveTo>
                      <a:pt x="4" y="12"/>
                    </a:moveTo>
                    <a:lnTo>
                      <a:pt x="4" y="12"/>
                    </a:lnTo>
                    <a:lnTo>
                      <a:pt x="6" y="14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8"/>
                    </a:lnTo>
                    <a:lnTo>
                      <a:pt x="8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84" name="Freeform 323"/>
              <p:cNvSpPr>
                <a:spLocks/>
              </p:cNvSpPr>
              <p:nvPr/>
            </p:nvSpPr>
            <p:spPr bwMode="auto">
              <a:xfrm>
                <a:off x="4881" y="3702"/>
                <a:ext cx="6" cy="6"/>
              </a:xfrm>
              <a:custGeom>
                <a:avLst/>
                <a:gdLst>
                  <a:gd name="T0" fmla="*/ 0 w 6"/>
                  <a:gd name="T1" fmla="*/ 6 h 6"/>
                  <a:gd name="T2" fmla="*/ 0 w 6"/>
                  <a:gd name="T3" fmla="*/ 6 h 6"/>
                  <a:gd name="T4" fmla="*/ 0 w 6"/>
                  <a:gd name="T5" fmla="*/ 6 h 6"/>
                  <a:gd name="T6" fmla="*/ 2 w 6"/>
                  <a:gd name="T7" fmla="*/ 6 h 6"/>
                  <a:gd name="T8" fmla="*/ 2 w 6"/>
                  <a:gd name="T9" fmla="*/ 6 h 6"/>
                  <a:gd name="T10" fmla="*/ 4 w 6"/>
                  <a:gd name="T11" fmla="*/ 6 h 6"/>
                  <a:gd name="T12" fmla="*/ 4 w 6"/>
                  <a:gd name="T13" fmla="*/ 4 h 6"/>
                  <a:gd name="T14" fmla="*/ 6 w 6"/>
                  <a:gd name="T15" fmla="*/ 2 h 6"/>
                  <a:gd name="T16" fmla="*/ 6 w 6"/>
                  <a:gd name="T17" fmla="*/ 2 h 6"/>
                  <a:gd name="T18" fmla="*/ 6 w 6"/>
                  <a:gd name="T19" fmla="*/ 2 h 6"/>
                  <a:gd name="T20" fmla="*/ 6 w 6"/>
                  <a:gd name="T21" fmla="*/ 2 h 6"/>
                  <a:gd name="T22" fmla="*/ 4 w 6"/>
                  <a:gd name="T23" fmla="*/ 2 h 6"/>
                  <a:gd name="T24" fmla="*/ 4 w 6"/>
                  <a:gd name="T25" fmla="*/ 0 h 6"/>
                  <a:gd name="T26" fmla="*/ 2 w 6"/>
                  <a:gd name="T27" fmla="*/ 2 h 6"/>
                  <a:gd name="T28" fmla="*/ 0 w 6"/>
                  <a:gd name="T29" fmla="*/ 2 h 6"/>
                  <a:gd name="T30" fmla="*/ 0 w 6"/>
                  <a:gd name="T31" fmla="*/ 2 h 6"/>
                  <a:gd name="T32" fmla="*/ 0 w 6"/>
                  <a:gd name="T33" fmla="*/ 4 h 6"/>
                  <a:gd name="T34" fmla="*/ 0 w 6"/>
                  <a:gd name="T35" fmla="*/ 4 h 6"/>
                  <a:gd name="T36" fmla="*/ 0 w 6"/>
                  <a:gd name="T37" fmla="*/ 6 h 6"/>
                  <a:gd name="T38" fmla="*/ 0 w 6"/>
                  <a:gd name="T39" fmla="*/ 6 h 6"/>
                  <a:gd name="T40" fmla="*/ 0 w 6"/>
                  <a:gd name="T41" fmla="*/ 6 h 6"/>
                  <a:gd name="T42" fmla="*/ 0 w 6"/>
                  <a:gd name="T43" fmla="*/ 6 h 6"/>
                  <a:gd name="T44" fmla="*/ 0 w 6"/>
                  <a:gd name="T45" fmla="*/ 6 h 6"/>
                  <a:gd name="T46" fmla="*/ 0 w 6"/>
                  <a:gd name="T4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" h="6">
                    <a:moveTo>
                      <a:pt x="0" y="6"/>
                    </a:moveTo>
                    <a:lnTo>
                      <a:pt x="0" y="6"/>
                    </a:lnTo>
                    <a:lnTo>
                      <a:pt x="0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85" name="Freeform 324"/>
              <p:cNvSpPr>
                <a:spLocks/>
              </p:cNvSpPr>
              <p:nvPr/>
            </p:nvSpPr>
            <p:spPr bwMode="auto">
              <a:xfrm>
                <a:off x="4811" y="3706"/>
                <a:ext cx="66" cy="78"/>
              </a:xfrm>
              <a:custGeom>
                <a:avLst/>
                <a:gdLst>
                  <a:gd name="T0" fmla="*/ 28 w 66"/>
                  <a:gd name="T1" fmla="*/ 10 h 78"/>
                  <a:gd name="T2" fmla="*/ 24 w 66"/>
                  <a:gd name="T3" fmla="*/ 6 h 78"/>
                  <a:gd name="T4" fmla="*/ 16 w 66"/>
                  <a:gd name="T5" fmla="*/ 4 h 78"/>
                  <a:gd name="T6" fmla="*/ 12 w 66"/>
                  <a:gd name="T7" fmla="*/ 0 h 78"/>
                  <a:gd name="T8" fmla="*/ 8 w 66"/>
                  <a:gd name="T9" fmla="*/ 2 h 78"/>
                  <a:gd name="T10" fmla="*/ 12 w 66"/>
                  <a:gd name="T11" fmla="*/ 14 h 78"/>
                  <a:gd name="T12" fmla="*/ 10 w 66"/>
                  <a:gd name="T13" fmla="*/ 18 h 78"/>
                  <a:gd name="T14" fmla="*/ 8 w 66"/>
                  <a:gd name="T15" fmla="*/ 24 h 78"/>
                  <a:gd name="T16" fmla="*/ 10 w 66"/>
                  <a:gd name="T17" fmla="*/ 32 h 78"/>
                  <a:gd name="T18" fmla="*/ 10 w 66"/>
                  <a:gd name="T19" fmla="*/ 36 h 78"/>
                  <a:gd name="T20" fmla="*/ 8 w 66"/>
                  <a:gd name="T21" fmla="*/ 40 h 78"/>
                  <a:gd name="T22" fmla="*/ 4 w 66"/>
                  <a:gd name="T23" fmla="*/ 40 h 78"/>
                  <a:gd name="T24" fmla="*/ 0 w 66"/>
                  <a:gd name="T25" fmla="*/ 40 h 78"/>
                  <a:gd name="T26" fmla="*/ 0 w 66"/>
                  <a:gd name="T27" fmla="*/ 46 h 78"/>
                  <a:gd name="T28" fmla="*/ 2 w 66"/>
                  <a:gd name="T29" fmla="*/ 58 h 78"/>
                  <a:gd name="T30" fmla="*/ 4 w 66"/>
                  <a:gd name="T31" fmla="*/ 66 h 78"/>
                  <a:gd name="T32" fmla="*/ 6 w 66"/>
                  <a:gd name="T33" fmla="*/ 66 h 78"/>
                  <a:gd name="T34" fmla="*/ 8 w 66"/>
                  <a:gd name="T35" fmla="*/ 70 h 78"/>
                  <a:gd name="T36" fmla="*/ 8 w 66"/>
                  <a:gd name="T37" fmla="*/ 76 h 78"/>
                  <a:gd name="T38" fmla="*/ 12 w 66"/>
                  <a:gd name="T39" fmla="*/ 78 h 78"/>
                  <a:gd name="T40" fmla="*/ 16 w 66"/>
                  <a:gd name="T41" fmla="*/ 74 h 78"/>
                  <a:gd name="T42" fmla="*/ 22 w 66"/>
                  <a:gd name="T43" fmla="*/ 76 h 78"/>
                  <a:gd name="T44" fmla="*/ 24 w 66"/>
                  <a:gd name="T45" fmla="*/ 76 h 78"/>
                  <a:gd name="T46" fmla="*/ 32 w 66"/>
                  <a:gd name="T47" fmla="*/ 68 h 78"/>
                  <a:gd name="T48" fmla="*/ 34 w 66"/>
                  <a:gd name="T49" fmla="*/ 66 h 78"/>
                  <a:gd name="T50" fmla="*/ 34 w 66"/>
                  <a:gd name="T51" fmla="*/ 70 h 78"/>
                  <a:gd name="T52" fmla="*/ 34 w 66"/>
                  <a:gd name="T53" fmla="*/ 74 h 78"/>
                  <a:gd name="T54" fmla="*/ 38 w 66"/>
                  <a:gd name="T55" fmla="*/ 72 h 78"/>
                  <a:gd name="T56" fmla="*/ 40 w 66"/>
                  <a:gd name="T57" fmla="*/ 66 h 78"/>
                  <a:gd name="T58" fmla="*/ 44 w 66"/>
                  <a:gd name="T59" fmla="*/ 62 h 78"/>
                  <a:gd name="T60" fmla="*/ 46 w 66"/>
                  <a:gd name="T61" fmla="*/ 60 h 78"/>
                  <a:gd name="T62" fmla="*/ 46 w 66"/>
                  <a:gd name="T63" fmla="*/ 54 h 78"/>
                  <a:gd name="T64" fmla="*/ 46 w 66"/>
                  <a:gd name="T65" fmla="*/ 50 h 78"/>
                  <a:gd name="T66" fmla="*/ 48 w 66"/>
                  <a:gd name="T67" fmla="*/ 44 h 78"/>
                  <a:gd name="T68" fmla="*/ 52 w 66"/>
                  <a:gd name="T69" fmla="*/ 44 h 78"/>
                  <a:gd name="T70" fmla="*/ 54 w 66"/>
                  <a:gd name="T71" fmla="*/ 44 h 78"/>
                  <a:gd name="T72" fmla="*/ 56 w 66"/>
                  <a:gd name="T73" fmla="*/ 40 h 78"/>
                  <a:gd name="T74" fmla="*/ 60 w 66"/>
                  <a:gd name="T75" fmla="*/ 26 h 78"/>
                  <a:gd name="T76" fmla="*/ 62 w 66"/>
                  <a:gd name="T77" fmla="*/ 20 h 78"/>
                  <a:gd name="T78" fmla="*/ 64 w 66"/>
                  <a:gd name="T79" fmla="*/ 16 h 78"/>
                  <a:gd name="T80" fmla="*/ 64 w 66"/>
                  <a:gd name="T81" fmla="*/ 8 h 78"/>
                  <a:gd name="T82" fmla="*/ 62 w 66"/>
                  <a:gd name="T83" fmla="*/ 8 h 78"/>
                  <a:gd name="T84" fmla="*/ 56 w 66"/>
                  <a:gd name="T85" fmla="*/ 12 h 78"/>
                  <a:gd name="T86" fmla="*/ 52 w 66"/>
                  <a:gd name="T87" fmla="*/ 12 h 78"/>
                  <a:gd name="T88" fmla="*/ 46 w 66"/>
                  <a:gd name="T89" fmla="*/ 12 h 78"/>
                  <a:gd name="T90" fmla="*/ 42 w 66"/>
                  <a:gd name="T91" fmla="*/ 14 h 78"/>
                  <a:gd name="T92" fmla="*/ 42 w 66"/>
                  <a:gd name="T93" fmla="*/ 16 h 78"/>
                  <a:gd name="T94" fmla="*/ 38 w 66"/>
                  <a:gd name="T95" fmla="*/ 16 h 78"/>
                  <a:gd name="T96" fmla="*/ 32 w 66"/>
                  <a:gd name="T97" fmla="*/ 12 h 78"/>
                  <a:gd name="T98" fmla="*/ 30 w 66"/>
                  <a:gd name="T99" fmla="*/ 12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66" h="78">
                    <a:moveTo>
                      <a:pt x="30" y="12"/>
                    </a:moveTo>
                    <a:lnTo>
                      <a:pt x="30" y="12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2" y="4"/>
                    </a:lnTo>
                    <a:lnTo>
                      <a:pt x="20" y="4"/>
                    </a:lnTo>
                    <a:lnTo>
                      <a:pt x="18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10" y="2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8" y="6"/>
                    </a:lnTo>
                    <a:lnTo>
                      <a:pt x="10" y="8"/>
                    </a:lnTo>
                    <a:lnTo>
                      <a:pt x="10" y="10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0" y="16"/>
                    </a:lnTo>
                    <a:lnTo>
                      <a:pt x="10" y="18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8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10" y="32"/>
                    </a:lnTo>
                    <a:lnTo>
                      <a:pt x="12" y="34"/>
                    </a:lnTo>
                    <a:lnTo>
                      <a:pt x="12" y="36"/>
                    </a:lnTo>
                    <a:lnTo>
                      <a:pt x="12" y="36"/>
                    </a:lnTo>
                    <a:lnTo>
                      <a:pt x="10" y="36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6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2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2"/>
                    </a:lnTo>
                    <a:lnTo>
                      <a:pt x="0" y="44"/>
                    </a:lnTo>
                    <a:lnTo>
                      <a:pt x="0" y="46"/>
                    </a:lnTo>
                    <a:lnTo>
                      <a:pt x="0" y="46"/>
                    </a:lnTo>
                    <a:lnTo>
                      <a:pt x="0" y="52"/>
                    </a:lnTo>
                    <a:lnTo>
                      <a:pt x="2" y="58"/>
                    </a:lnTo>
                    <a:lnTo>
                      <a:pt x="2" y="58"/>
                    </a:lnTo>
                    <a:lnTo>
                      <a:pt x="2" y="62"/>
                    </a:lnTo>
                    <a:lnTo>
                      <a:pt x="2" y="64"/>
                    </a:lnTo>
                    <a:lnTo>
                      <a:pt x="2" y="64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6" y="66"/>
                    </a:lnTo>
                    <a:lnTo>
                      <a:pt x="6" y="66"/>
                    </a:lnTo>
                    <a:lnTo>
                      <a:pt x="6" y="66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4"/>
                    </a:lnTo>
                    <a:lnTo>
                      <a:pt x="8" y="74"/>
                    </a:lnTo>
                    <a:lnTo>
                      <a:pt x="8" y="76"/>
                    </a:lnTo>
                    <a:lnTo>
                      <a:pt x="8" y="76"/>
                    </a:lnTo>
                    <a:lnTo>
                      <a:pt x="10" y="78"/>
                    </a:lnTo>
                    <a:lnTo>
                      <a:pt x="10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4" y="76"/>
                    </a:lnTo>
                    <a:lnTo>
                      <a:pt x="16" y="74"/>
                    </a:lnTo>
                    <a:lnTo>
                      <a:pt x="16" y="74"/>
                    </a:lnTo>
                    <a:lnTo>
                      <a:pt x="16" y="74"/>
                    </a:lnTo>
                    <a:lnTo>
                      <a:pt x="18" y="74"/>
                    </a:lnTo>
                    <a:lnTo>
                      <a:pt x="18" y="76"/>
                    </a:lnTo>
                    <a:lnTo>
                      <a:pt x="20" y="76"/>
                    </a:lnTo>
                    <a:lnTo>
                      <a:pt x="22" y="76"/>
                    </a:lnTo>
                    <a:lnTo>
                      <a:pt x="22" y="76"/>
                    </a:lnTo>
                    <a:lnTo>
                      <a:pt x="22" y="76"/>
                    </a:lnTo>
                    <a:lnTo>
                      <a:pt x="22" y="76"/>
                    </a:lnTo>
                    <a:lnTo>
                      <a:pt x="24" y="76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30" y="70"/>
                    </a:lnTo>
                    <a:lnTo>
                      <a:pt x="32" y="68"/>
                    </a:lnTo>
                    <a:lnTo>
                      <a:pt x="32" y="66"/>
                    </a:lnTo>
                    <a:lnTo>
                      <a:pt x="34" y="66"/>
                    </a:lnTo>
                    <a:lnTo>
                      <a:pt x="34" y="66"/>
                    </a:lnTo>
                    <a:lnTo>
                      <a:pt x="34" y="66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34" y="70"/>
                    </a:lnTo>
                    <a:lnTo>
                      <a:pt x="34" y="70"/>
                    </a:lnTo>
                    <a:lnTo>
                      <a:pt x="32" y="72"/>
                    </a:lnTo>
                    <a:lnTo>
                      <a:pt x="32" y="72"/>
                    </a:lnTo>
                    <a:lnTo>
                      <a:pt x="34" y="74"/>
                    </a:lnTo>
                    <a:lnTo>
                      <a:pt x="34" y="74"/>
                    </a:lnTo>
                    <a:lnTo>
                      <a:pt x="36" y="74"/>
                    </a:lnTo>
                    <a:lnTo>
                      <a:pt x="36" y="74"/>
                    </a:lnTo>
                    <a:lnTo>
                      <a:pt x="38" y="74"/>
                    </a:lnTo>
                    <a:lnTo>
                      <a:pt x="38" y="72"/>
                    </a:lnTo>
                    <a:lnTo>
                      <a:pt x="40" y="72"/>
                    </a:lnTo>
                    <a:lnTo>
                      <a:pt x="40" y="70"/>
                    </a:lnTo>
                    <a:lnTo>
                      <a:pt x="40" y="68"/>
                    </a:lnTo>
                    <a:lnTo>
                      <a:pt x="40" y="66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2" y="64"/>
                    </a:lnTo>
                    <a:lnTo>
                      <a:pt x="44" y="62"/>
                    </a:lnTo>
                    <a:lnTo>
                      <a:pt x="44" y="62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6" y="58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4"/>
                    </a:lnTo>
                    <a:lnTo>
                      <a:pt x="44" y="52"/>
                    </a:lnTo>
                    <a:lnTo>
                      <a:pt x="46" y="52"/>
                    </a:lnTo>
                    <a:lnTo>
                      <a:pt x="46" y="50"/>
                    </a:lnTo>
                    <a:lnTo>
                      <a:pt x="46" y="50"/>
                    </a:lnTo>
                    <a:lnTo>
                      <a:pt x="46" y="46"/>
                    </a:lnTo>
                    <a:lnTo>
                      <a:pt x="48" y="46"/>
                    </a:lnTo>
                    <a:lnTo>
                      <a:pt x="48" y="44"/>
                    </a:lnTo>
                    <a:lnTo>
                      <a:pt x="48" y="44"/>
                    </a:lnTo>
                    <a:lnTo>
                      <a:pt x="50" y="44"/>
                    </a:lnTo>
                    <a:lnTo>
                      <a:pt x="50" y="44"/>
                    </a:lnTo>
                    <a:lnTo>
                      <a:pt x="50" y="44"/>
                    </a:lnTo>
                    <a:lnTo>
                      <a:pt x="52" y="44"/>
                    </a:lnTo>
                    <a:lnTo>
                      <a:pt x="54" y="44"/>
                    </a:lnTo>
                    <a:lnTo>
                      <a:pt x="54" y="44"/>
                    </a:lnTo>
                    <a:lnTo>
                      <a:pt x="54" y="44"/>
                    </a:lnTo>
                    <a:lnTo>
                      <a:pt x="54" y="44"/>
                    </a:lnTo>
                    <a:lnTo>
                      <a:pt x="56" y="42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36"/>
                    </a:lnTo>
                    <a:lnTo>
                      <a:pt x="56" y="32"/>
                    </a:lnTo>
                    <a:lnTo>
                      <a:pt x="58" y="28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2"/>
                    </a:lnTo>
                    <a:lnTo>
                      <a:pt x="62" y="20"/>
                    </a:lnTo>
                    <a:lnTo>
                      <a:pt x="62" y="20"/>
                    </a:lnTo>
                    <a:lnTo>
                      <a:pt x="62" y="20"/>
                    </a:lnTo>
                    <a:lnTo>
                      <a:pt x="64" y="18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6" y="12"/>
                    </a:lnTo>
                    <a:lnTo>
                      <a:pt x="66" y="10"/>
                    </a:lnTo>
                    <a:lnTo>
                      <a:pt x="66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2" y="8"/>
                    </a:lnTo>
                    <a:lnTo>
                      <a:pt x="62" y="8"/>
                    </a:lnTo>
                    <a:lnTo>
                      <a:pt x="62" y="8"/>
                    </a:lnTo>
                    <a:lnTo>
                      <a:pt x="60" y="10"/>
                    </a:lnTo>
                    <a:lnTo>
                      <a:pt x="58" y="12"/>
                    </a:lnTo>
                    <a:lnTo>
                      <a:pt x="58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4" y="12"/>
                    </a:lnTo>
                    <a:lnTo>
                      <a:pt x="54" y="12"/>
                    </a:lnTo>
                    <a:lnTo>
                      <a:pt x="52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46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2" y="14"/>
                    </a:lnTo>
                    <a:lnTo>
                      <a:pt x="42" y="14"/>
                    </a:lnTo>
                    <a:lnTo>
                      <a:pt x="42" y="14"/>
                    </a:lnTo>
                    <a:lnTo>
                      <a:pt x="42" y="14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0" y="16"/>
                    </a:lnTo>
                    <a:lnTo>
                      <a:pt x="38" y="16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4" y="12"/>
                    </a:lnTo>
                    <a:lnTo>
                      <a:pt x="32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86" name="Freeform 327"/>
              <p:cNvSpPr>
                <a:spLocks/>
              </p:cNvSpPr>
              <p:nvPr/>
            </p:nvSpPr>
            <p:spPr bwMode="auto">
              <a:xfrm>
                <a:off x="4825" y="3700"/>
                <a:ext cx="8" cy="2"/>
              </a:xfrm>
              <a:custGeom>
                <a:avLst/>
                <a:gdLst>
                  <a:gd name="T0" fmla="*/ 2 w 8"/>
                  <a:gd name="T1" fmla="*/ 0 h 2"/>
                  <a:gd name="T2" fmla="*/ 2 w 8"/>
                  <a:gd name="T3" fmla="*/ 0 h 2"/>
                  <a:gd name="T4" fmla="*/ 0 w 8"/>
                  <a:gd name="T5" fmla="*/ 2 h 2"/>
                  <a:gd name="T6" fmla="*/ 2 w 8"/>
                  <a:gd name="T7" fmla="*/ 2 h 2"/>
                  <a:gd name="T8" fmla="*/ 2 w 8"/>
                  <a:gd name="T9" fmla="*/ 2 h 2"/>
                  <a:gd name="T10" fmla="*/ 2 w 8"/>
                  <a:gd name="T11" fmla="*/ 2 h 2"/>
                  <a:gd name="T12" fmla="*/ 2 w 8"/>
                  <a:gd name="T13" fmla="*/ 2 h 2"/>
                  <a:gd name="T14" fmla="*/ 4 w 8"/>
                  <a:gd name="T15" fmla="*/ 2 h 2"/>
                  <a:gd name="T16" fmla="*/ 4 w 8"/>
                  <a:gd name="T17" fmla="*/ 2 h 2"/>
                  <a:gd name="T18" fmla="*/ 4 w 8"/>
                  <a:gd name="T19" fmla="*/ 2 h 2"/>
                  <a:gd name="T20" fmla="*/ 6 w 8"/>
                  <a:gd name="T21" fmla="*/ 2 h 2"/>
                  <a:gd name="T22" fmla="*/ 8 w 8"/>
                  <a:gd name="T23" fmla="*/ 2 h 2"/>
                  <a:gd name="T24" fmla="*/ 8 w 8"/>
                  <a:gd name="T25" fmla="*/ 0 h 2"/>
                  <a:gd name="T26" fmla="*/ 8 w 8"/>
                  <a:gd name="T27" fmla="*/ 0 h 2"/>
                  <a:gd name="T28" fmla="*/ 8 w 8"/>
                  <a:gd name="T29" fmla="*/ 0 h 2"/>
                  <a:gd name="T30" fmla="*/ 6 w 8"/>
                  <a:gd name="T31" fmla="*/ 0 h 2"/>
                  <a:gd name="T32" fmla="*/ 4 w 8"/>
                  <a:gd name="T33" fmla="*/ 0 h 2"/>
                  <a:gd name="T34" fmla="*/ 2 w 8"/>
                  <a:gd name="T35" fmla="*/ 0 h 2"/>
                  <a:gd name="T36" fmla="*/ 2 w 8"/>
                  <a:gd name="T37" fmla="*/ 0 h 2"/>
                  <a:gd name="T38" fmla="*/ 2 w 8"/>
                  <a:gd name="T39" fmla="*/ 0 h 2"/>
                  <a:gd name="T40" fmla="*/ 2 w 8"/>
                  <a:gd name="T41" fmla="*/ 0 h 2"/>
                  <a:gd name="T42" fmla="*/ 2 w 8"/>
                  <a:gd name="T4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6" y="2"/>
                    </a:lnTo>
                    <a:lnTo>
                      <a:pt x="8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87" name="Freeform 328"/>
              <p:cNvSpPr>
                <a:spLocks/>
              </p:cNvSpPr>
              <p:nvPr/>
            </p:nvSpPr>
            <p:spPr bwMode="auto">
              <a:xfrm>
                <a:off x="5075" y="3364"/>
                <a:ext cx="4" cy="20"/>
              </a:xfrm>
              <a:custGeom>
                <a:avLst/>
                <a:gdLst>
                  <a:gd name="T0" fmla="*/ 0 w 4"/>
                  <a:gd name="T1" fmla="*/ 4 h 20"/>
                  <a:gd name="T2" fmla="*/ 0 w 4"/>
                  <a:gd name="T3" fmla="*/ 4 h 20"/>
                  <a:gd name="T4" fmla="*/ 0 w 4"/>
                  <a:gd name="T5" fmla="*/ 6 h 20"/>
                  <a:gd name="T6" fmla="*/ 0 w 4"/>
                  <a:gd name="T7" fmla="*/ 10 h 20"/>
                  <a:gd name="T8" fmla="*/ 0 w 4"/>
                  <a:gd name="T9" fmla="*/ 10 h 20"/>
                  <a:gd name="T10" fmla="*/ 0 w 4"/>
                  <a:gd name="T11" fmla="*/ 12 h 20"/>
                  <a:gd name="T12" fmla="*/ 0 w 4"/>
                  <a:gd name="T13" fmla="*/ 16 h 20"/>
                  <a:gd name="T14" fmla="*/ 4 w 4"/>
                  <a:gd name="T15" fmla="*/ 20 h 20"/>
                  <a:gd name="T16" fmla="*/ 4 w 4"/>
                  <a:gd name="T17" fmla="*/ 20 h 20"/>
                  <a:gd name="T18" fmla="*/ 4 w 4"/>
                  <a:gd name="T19" fmla="*/ 20 h 20"/>
                  <a:gd name="T20" fmla="*/ 4 w 4"/>
                  <a:gd name="T21" fmla="*/ 18 h 20"/>
                  <a:gd name="T22" fmla="*/ 4 w 4"/>
                  <a:gd name="T23" fmla="*/ 16 h 20"/>
                  <a:gd name="T24" fmla="*/ 4 w 4"/>
                  <a:gd name="T25" fmla="*/ 10 h 20"/>
                  <a:gd name="T26" fmla="*/ 4 w 4"/>
                  <a:gd name="T27" fmla="*/ 10 h 20"/>
                  <a:gd name="T28" fmla="*/ 4 w 4"/>
                  <a:gd name="T29" fmla="*/ 6 h 20"/>
                  <a:gd name="T30" fmla="*/ 4 w 4"/>
                  <a:gd name="T31" fmla="*/ 6 h 20"/>
                  <a:gd name="T32" fmla="*/ 4 w 4"/>
                  <a:gd name="T33" fmla="*/ 4 h 20"/>
                  <a:gd name="T34" fmla="*/ 4 w 4"/>
                  <a:gd name="T35" fmla="*/ 4 h 20"/>
                  <a:gd name="T36" fmla="*/ 4 w 4"/>
                  <a:gd name="T37" fmla="*/ 2 h 20"/>
                  <a:gd name="T38" fmla="*/ 2 w 4"/>
                  <a:gd name="T39" fmla="*/ 2 h 20"/>
                  <a:gd name="T40" fmla="*/ 2 w 4"/>
                  <a:gd name="T41" fmla="*/ 0 h 20"/>
                  <a:gd name="T42" fmla="*/ 2 w 4"/>
                  <a:gd name="T43" fmla="*/ 0 h 20"/>
                  <a:gd name="T44" fmla="*/ 0 w 4"/>
                  <a:gd name="T45" fmla="*/ 0 h 20"/>
                  <a:gd name="T46" fmla="*/ 0 w 4"/>
                  <a:gd name="T47" fmla="*/ 2 h 20"/>
                  <a:gd name="T48" fmla="*/ 0 w 4"/>
                  <a:gd name="T49" fmla="*/ 4 h 20"/>
                  <a:gd name="T50" fmla="*/ 0 w 4"/>
                  <a:gd name="T51" fmla="*/ 4 h 20"/>
                  <a:gd name="T52" fmla="*/ 0 w 4"/>
                  <a:gd name="T53" fmla="*/ 4 h 20"/>
                  <a:gd name="T54" fmla="*/ 0 w 4"/>
                  <a:gd name="T55" fmla="*/ 4 h 20"/>
                  <a:gd name="T56" fmla="*/ 0 w 4"/>
                  <a:gd name="T57" fmla="*/ 4 h 20"/>
                  <a:gd name="T58" fmla="*/ 0 w 4"/>
                  <a:gd name="T59" fmla="*/ 4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4" h="20">
                    <a:moveTo>
                      <a:pt x="0" y="4"/>
                    </a:moveTo>
                    <a:lnTo>
                      <a:pt x="0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88" name="Freeform 330"/>
              <p:cNvSpPr>
                <a:spLocks/>
              </p:cNvSpPr>
              <p:nvPr/>
            </p:nvSpPr>
            <p:spPr bwMode="auto">
              <a:xfrm>
                <a:off x="4907" y="3176"/>
                <a:ext cx="10" cy="8"/>
              </a:xfrm>
              <a:custGeom>
                <a:avLst/>
                <a:gdLst>
                  <a:gd name="T0" fmla="*/ 4 w 10"/>
                  <a:gd name="T1" fmla="*/ 8 h 8"/>
                  <a:gd name="T2" fmla="*/ 4 w 10"/>
                  <a:gd name="T3" fmla="*/ 8 h 8"/>
                  <a:gd name="T4" fmla="*/ 4 w 10"/>
                  <a:gd name="T5" fmla="*/ 8 h 8"/>
                  <a:gd name="T6" fmla="*/ 6 w 10"/>
                  <a:gd name="T7" fmla="*/ 8 h 8"/>
                  <a:gd name="T8" fmla="*/ 6 w 10"/>
                  <a:gd name="T9" fmla="*/ 8 h 8"/>
                  <a:gd name="T10" fmla="*/ 8 w 10"/>
                  <a:gd name="T11" fmla="*/ 6 h 8"/>
                  <a:gd name="T12" fmla="*/ 10 w 10"/>
                  <a:gd name="T13" fmla="*/ 6 h 8"/>
                  <a:gd name="T14" fmla="*/ 10 w 10"/>
                  <a:gd name="T15" fmla="*/ 6 h 8"/>
                  <a:gd name="T16" fmla="*/ 10 w 10"/>
                  <a:gd name="T17" fmla="*/ 4 h 8"/>
                  <a:gd name="T18" fmla="*/ 10 w 10"/>
                  <a:gd name="T19" fmla="*/ 4 h 8"/>
                  <a:gd name="T20" fmla="*/ 10 w 10"/>
                  <a:gd name="T21" fmla="*/ 2 h 8"/>
                  <a:gd name="T22" fmla="*/ 8 w 10"/>
                  <a:gd name="T23" fmla="*/ 2 h 8"/>
                  <a:gd name="T24" fmla="*/ 8 w 10"/>
                  <a:gd name="T25" fmla="*/ 2 h 8"/>
                  <a:gd name="T26" fmla="*/ 8 w 10"/>
                  <a:gd name="T27" fmla="*/ 0 h 8"/>
                  <a:gd name="T28" fmla="*/ 6 w 10"/>
                  <a:gd name="T29" fmla="*/ 0 h 8"/>
                  <a:gd name="T30" fmla="*/ 6 w 10"/>
                  <a:gd name="T31" fmla="*/ 2 h 8"/>
                  <a:gd name="T32" fmla="*/ 4 w 10"/>
                  <a:gd name="T33" fmla="*/ 2 h 8"/>
                  <a:gd name="T34" fmla="*/ 4 w 10"/>
                  <a:gd name="T35" fmla="*/ 2 h 8"/>
                  <a:gd name="T36" fmla="*/ 2 w 10"/>
                  <a:gd name="T37" fmla="*/ 4 h 8"/>
                  <a:gd name="T38" fmla="*/ 2 w 10"/>
                  <a:gd name="T39" fmla="*/ 6 h 8"/>
                  <a:gd name="T40" fmla="*/ 0 w 10"/>
                  <a:gd name="T41" fmla="*/ 6 h 8"/>
                  <a:gd name="T42" fmla="*/ 2 w 10"/>
                  <a:gd name="T43" fmla="*/ 6 h 8"/>
                  <a:gd name="T44" fmla="*/ 2 w 10"/>
                  <a:gd name="T45" fmla="*/ 8 h 8"/>
                  <a:gd name="T46" fmla="*/ 4 w 10"/>
                  <a:gd name="T47" fmla="*/ 8 h 8"/>
                  <a:gd name="T48" fmla="*/ 4 w 10"/>
                  <a:gd name="T49" fmla="*/ 8 h 8"/>
                  <a:gd name="T50" fmla="*/ 4 w 10"/>
                  <a:gd name="T51" fmla="*/ 8 h 8"/>
                  <a:gd name="T52" fmla="*/ 4 w 10"/>
                  <a:gd name="T53" fmla="*/ 8 h 8"/>
                  <a:gd name="T54" fmla="*/ 4 w 10"/>
                  <a:gd name="T5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0" h="8">
                    <a:moveTo>
                      <a:pt x="4" y="8"/>
                    </a:move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2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0" y="6"/>
                    </a:lnTo>
                    <a:lnTo>
                      <a:pt x="2" y="6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89" name="Freeform 332"/>
              <p:cNvSpPr>
                <a:spLocks/>
              </p:cNvSpPr>
              <p:nvPr/>
            </p:nvSpPr>
            <p:spPr bwMode="auto">
              <a:xfrm>
                <a:off x="2409" y="1596"/>
                <a:ext cx="138" cy="82"/>
              </a:xfrm>
              <a:custGeom>
                <a:avLst/>
                <a:gdLst>
                  <a:gd name="T0" fmla="*/ 30 w 138"/>
                  <a:gd name="T1" fmla="*/ 2 h 82"/>
                  <a:gd name="T2" fmla="*/ 20 w 138"/>
                  <a:gd name="T3" fmla="*/ 2 h 82"/>
                  <a:gd name="T4" fmla="*/ 24 w 138"/>
                  <a:gd name="T5" fmla="*/ 8 h 82"/>
                  <a:gd name="T6" fmla="*/ 26 w 138"/>
                  <a:gd name="T7" fmla="*/ 14 h 82"/>
                  <a:gd name="T8" fmla="*/ 20 w 138"/>
                  <a:gd name="T9" fmla="*/ 12 h 82"/>
                  <a:gd name="T10" fmla="*/ 12 w 138"/>
                  <a:gd name="T11" fmla="*/ 6 h 82"/>
                  <a:gd name="T12" fmla="*/ 8 w 138"/>
                  <a:gd name="T13" fmla="*/ 14 h 82"/>
                  <a:gd name="T14" fmla="*/ 12 w 138"/>
                  <a:gd name="T15" fmla="*/ 18 h 82"/>
                  <a:gd name="T16" fmla="*/ 0 w 138"/>
                  <a:gd name="T17" fmla="*/ 20 h 82"/>
                  <a:gd name="T18" fmla="*/ 4 w 138"/>
                  <a:gd name="T19" fmla="*/ 26 h 82"/>
                  <a:gd name="T20" fmla="*/ 18 w 138"/>
                  <a:gd name="T21" fmla="*/ 26 h 82"/>
                  <a:gd name="T22" fmla="*/ 28 w 138"/>
                  <a:gd name="T23" fmla="*/ 24 h 82"/>
                  <a:gd name="T24" fmla="*/ 28 w 138"/>
                  <a:gd name="T25" fmla="*/ 30 h 82"/>
                  <a:gd name="T26" fmla="*/ 32 w 138"/>
                  <a:gd name="T27" fmla="*/ 36 h 82"/>
                  <a:gd name="T28" fmla="*/ 14 w 138"/>
                  <a:gd name="T29" fmla="*/ 36 h 82"/>
                  <a:gd name="T30" fmla="*/ 6 w 138"/>
                  <a:gd name="T31" fmla="*/ 42 h 82"/>
                  <a:gd name="T32" fmla="*/ 22 w 138"/>
                  <a:gd name="T33" fmla="*/ 44 h 82"/>
                  <a:gd name="T34" fmla="*/ 26 w 138"/>
                  <a:gd name="T35" fmla="*/ 52 h 82"/>
                  <a:gd name="T36" fmla="*/ 28 w 138"/>
                  <a:gd name="T37" fmla="*/ 56 h 82"/>
                  <a:gd name="T38" fmla="*/ 16 w 138"/>
                  <a:gd name="T39" fmla="*/ 60 h 82"/>
                  <a:gd name="T40" fmla="*/ 26 w 138"/>
                  <a:gd name="T41" fmla="*/ 62 h 82"/>
                  <a:gd name="T42" fmla="*/ 36 w 138"/>
                  <a:gd name="T43" fmla="*/ 66 h 82"/>
                  <a:gd name="T44" fmla="*/ 46 w 138"/>
                  <a:gd name="T45" fmla="*/ 70 h 82"/>
                  <a:gd name="T46" fmla="*/ 66 w 138"/>
                  <a:gd name="T47" fmla="*/ 82 h 82"/>
                  <a:gd name="T48" fmla="*/ 78 w 138"/>
                  <a:gd name="T49" fmla="*/ 78 h 82"/>
                  <a:gd name="T50" fmla="*/ 88 w 138"/>
                  <a:gd name="T51" fmla="*/ 72 h 82"/>
                  <a:gd name="T52" fmla="*/ 106 w 138"/>
                  <a:gd name="T53" fmla="*/ 70 h 82"/>
                  <a:gd name="T54" fmla="*/ 118 w 138"/>
                  <a:gd name="T55" fmla="*/ 62 h 82"/>
                  <a:gd name="T56" fmla="*/ 128 w 138"/>
                  <a:gd name="T57" fmla="*/ 56 h 82"/>
                  <a:gd name="T58" fmla="*/ 136 w 138"/>
                  <a:gd name="T59" fmla="*/ 48 h 82"/>
                  <a:gd name="T60" fmla="*/ 134 w 138"/>
                  <a:gd name="T61" fmla="*/ 40 h 82"/>
                  <a:gd name="T62" fmla="*/ 138 w 138"/>
                  <a:gd name="T63" fmla="*/ 38 h 82"/>
                  <a:gd name="T64" fmla="*/ 136 w 138"/>
                  <a:gd name="T65" fmla="*/ 22 h 82"/>
                  <a:gd name="T66" fmla="*/ 132 w 138"/>
                  <a:gd name="T67" fmla="*/ 20 h 82"/>
                  <a:gd name="T68" fmla="*/ 124 w 138"/>
                  <a:gd name="T69" fmla="*/ 18 h 82"/>
                  <a:gd name="T70" fmla="*/ 128 w 138"/>
                  <a:gd name="T71" fmla="*/ 12 h 82"/>
                  <a:gd name="T72" fmla="*/ 126 w 138"/>
                  <a:gd name="T73" fmla="*/ 8 h 82"/>
                  <a:gd name="T74" fmla="*/ 128 w 138"/>
                  <a:gd name="T75" fmla="*/ 4 h 82"/>
                  <a:gd name="T76" fmla="*/ 118 w 138"/>
                  <a:gd name="T77" fmla="*/ 0 h 82"/>
                  <a:gd name="T78" fmla="*/ 110 w 138"/>
                  <a:gd name="T79" fmla="*/ 6 h 82"/>
                  <a:gd name="T80" fmla="*/ 102 w 138"/>
                  <a:gd name="T81" fmla="*/ 0 h 82"/>
                  <a:gd name="T82" fmla="*/ 94 w 138"/>
                  <a:gd name="T83" fmla="*/ 10 h 82"/>
                  <a:gd name="T84" fmla="*/ 86 w 138"/>
                  <a:gd name="T85" fmla="*/ 14 h 82"/>
                  <a:gd name="T86" fmla="*/ 78 w 138"/>
                  <a:gd name="T87" fmla="*/ 10 h 82"/>
                  <a:gd name="T88" fmla="*/ 78 w 138"/>
                  <a:gd name="T89" fmla="*/ 12 h 82"/>
                  <a:gd name="T90" fmla="*/ 76 w 138"/>
                  <a:gd name="T91" fmla="*/ 20 h 82"/>
                  <a:gd name="T92" fmla="*/ 66 w 138"/>
                  <a:gd name="T93" fmla="*/ 10 h 82"/>
                  <a:gd name="T94" fmla="*/ 60 w 138"/>
                  <a:gd name="T95" fmla="*/ 12 h 82"/>
                  <a:gd name="T96" fmla="*/ 56 w 138"/>
                  <a:gd name="T97" fmla="*/ 12 h 82"/>
                  <a:gd name="T98" fmla="*/ 50 w 138"/>
                  <a:gd name="T99" fmla="*/ 10 h 82"/>
                  <a:gd name="T100" fmla="*/ 52 w 138"/>
                  <a:gd name="T101" fmla="*/ 20 h 82"/>
                  <a:gd name="T102" fmla="*/ 48 w 138"/>
                  <a:gd name="T103" fmla="*/ 28 h 82"/>
                  <a:gd name="T104" fmla="*/ 44 w 138"/>
                  <a:gd name="T105" fmla="*/ 30 h 82"/>
                  <a:gd name="T106" fmla="*/ 38 w 138"/>
                  <a:gd name="T107" fmla="*/ 24 h 82"/>
                  <a:gd name="T108" fmla="*/ 42 w 138"/>
                  <a:gd name="T109" fmla="*/ 18 h 82"/>
                  <a:gd name="T110" fmla="*/ 40 w 138"/>
                  <a:gd name="T111" fmla="*/ 1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38" h="82">
                    <a:moveTo>
                      <a:pt x="40" y="8"/>
                    </a:moveTo>
                    <a:lnTo>
                      <a:pt x="40" y="8"/>
                    </a:lnTo>
                    <a:lnTo>
                      <a:pt x="38" y="8"/>
                    </a:lnTo>
                    <a:lnTo>
                      <a:pt x="38" y="6"/>
                    </a:lnTo>
                    <a:lnTo>
                      <a:pt x="36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0" y="2"/>
                    </a:lnTo>
                    <a:lnTo>
                      <a:pt x="28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4" y="0"/>
                    </a:lnTo>
                    <a:lnTo>
                      <a:pt x="22" y="0"/>
                    </a:lnTo>
                    <a:lnTo>
                      <a:pt x="22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2" y="4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6" y="10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4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4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8" y="12"/>
                    </a:lnTo>
                    <a:lnTo>
                      <a:pt x="8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0" y="16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20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4" y="20"/>
                    </a:lnTo>
                    <a:lnTo>
                      <a:pt x="2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2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10" y="28"/>
                    </a:lnTo>
                    <a:lnTo>
                      <a:pt x="12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6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8" y="24"/>
                    </a:lnTo>
                    <a:lnTo>
                      <a:pt x="28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28" y="30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0" y="36"/>
                    </a:lnTo>
                    <a:lnTo>
                      <a:pt x="28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0" y="36"/>
                    </a:lnTo>
                    <a:lnTo>
                      <a:pt x="16" y="36"/>
                    </a:lnTo>
                    <a:lnTo>
                      <a:pt x="14" y="36"/>
                    </a:lnTo>
                    <a:lnTo>
                      <a:pt x="10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4"/>
                    </a:lnTo>
                    <a:lnTo>
                      <a:pt x="8" y="44"/>
                    </a:lnTo>
                    <a:lnTo>
                      <a:pt x="10" y="44"/>
                    </a:lnTo>
                    <a:lnTo>
                      <a:pt x="12" y="44"/>
                    </a:lnTo>
                    <a:lnTo>
                      <a:pt x="16" y="44"/>
                    </a:lnTo>
                    <a:lnTo>
                      <a:pt x="20" y="44"/>
                    </a:lnTo>
                    <a:lnTo>
                      <a:pt x="20" y="44"/>
                    </a:lnTo>
                    <a:lnTo>
                      <a:pt x="22" y="44"/>
                    </a:lnTo>
                    <a:lnTo>
                      <a:pt x="24" y="44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48"/>
                    </a:lnTo>
                    <a:lnTo>
                      <a:pt x="26" y="50"/>
                    </a:lnTo>
                    <a:lnTo>
                      <a:pt x="26" y="52"/>
                    </a:lnTo>
                    <a:lnTo>
                      <a:pt x="28" y="52"/>
                    </a:lnTo>
                    <a:lnTo>
                      <a:pt x="28" y="52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30" y="54"/>
                    </a:lnTo>
                    <a:lnTo>
                      <a:pt x="28" y="56"/>
                    </a:lnTo>
                    <a:lnTo>
                      <a:pt x="28" y="56"/>
                    </a:lnTo>
                    <a:lnTo>
                      <a:pt x="24" y="58"/>
                    </a:lnTo>
                    <a:lnTo>
                      <a:pt x="22" y="58"/>
                    </a:lnTo>
                    <a:lnTo>
                      <a:pt x="22" y="58"/>
                    </a:lnTo>
                    <a:lnTo>
                      <a:pt x="20" y="58"/>
                    </a:lnTo>
                    <a:lnTo>
                      <a:pt x="18" y="58"/>
                    </a:lnTo>
                    <a:lnTo>
                      <a:pt x="16" y="58"/>
                    </a:lnTo>
                    <a:lnTo>
                      <a:pt x="16" y="58"/>
                    </a:lnTo>
                    <a:lnTo>
                      <a:pt x="16" y="60"/>
                    </a:lnTo>
                    <a:lnTo>
                      <a:pt x="16" y="60"/>
                    </a:lnTo>
                    <a:lnTo>
                      <a:pt x="18" y="60"/>
                    </a:lnTo>
                    <a:lnTo>
                      <a:pt x="18" y="62"/>
                    </a:lnTo>
                    <a:lnTo>
                      <a:pt x="18" y="62"/>
                    </a:lnTo>
                    <a:lnTo>
                      <a:pt x="18" y="62"/>
                    </a:lnTo>
                    <a:lnTo>
                      <a:pt x="20" y="62"/>
                    </a:lnTo>
                    <a:lnTo>
                      <a:pt x="24" y="62"/>
                    </a:lnTo>
                    <a:lnTo>
                      <a:pt x="26" y="62"/>
                    </a:lnTo>
                    <a:lnTo>
                      <a:pt x="28" y="62"/>
                    </a:lnTo>
                    <a:lnTo>
                      <a:pt x="30" y="62"/>
                    </a:lnTo>
                    <a:lnTo>
                      <a:pt x="30" y="62"/>
                    </a:lnTo>
                    <a:lnTo>
                      <a:pt x="30" y="62"/>
                    </a:lnTo>
                    <a:lnTo>
                      <a:pt x="32" y="64"/>
                    </a:lnTo>
                    <a:lnTo>
                      <a:pt x="34" y="66"/>
                    </a:lnTo>
                    <a:lnTo>
                      <a:pt x="34" y="66"/>
                    </a:lnTo>
                    <a:lnTo>
                      <a:pt x="36" y="66"/>
                    </a:lnTo>
                    <a:lnTo>
                      <a:pt x="36" y="68"/>
                    </a:lnTo>
                    <a:lnTo>
                      <a:pt x="38" y="68"/>
                    </a:lnTo>
                    <a:lnTo>
                      <a:pt x="38" y="68"/>
                    </a:lnTo>
                    <a:lnTo>
                      <a:pt x="40" y="66"/>
                    </a:lnTo>
                    <a:lnTo>
                      <a:pt x="42" y="68"/>
                    </a:lnTo>
                    <a:lnTo>
                      <a:pt x="44" y="68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50" y="72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8" y="78"/>
                    </a:lnTo>
                    <a:lnTo>
                      <a:pt x="62" y="78"/>
                    </a:lnTo>
                    <a:lnTo>
                      <a:pt x="62" y="78"/>
                    </a:lnTo>
                    <a:lnTo>
                      <a:pt x="62" y="80"/>
                    </a:lnTo>
                    <a:lnTo>
                      <a:pt x="66" y="82"/>
                    </a:lnTo>
                    <a:lnTo>
                      <a:pt x="66" y="82"/>
                    </a:lnTo>
                    <a:lnTo>
                      <a:pt x="68" y="82"/>
                    </a:lnTo>
                    <a:lnTo>
                      <a:pt x="70" y="82"/>
                    </a:lnTo>
                    <a:lnTo>
                      <a:pt x="74" y="82"/>
                    </a:lnTo>
                    <a:lnTo>
                      <a:pt x="74" y="82"/>
                    </a:lnTo>
                    <a:lnTo>
                      <a:pt x="76" y="80"/>
                    </a:lnTo>
                    <a:lnTo>
                      <a:pt x="76" y="80"/>
                    </a:lnTo>
                    <a:lnTo>
                      <a:pt x="78" y="78"/>
                    </a:lnTo>
                    <a:lnTo>
                      <a:pt x="80" y="76"/>
                    </a:lnTo>
                    <a:lnTo>
                      <a:pt x="80" y="76"/>
                    </a:lnTo>
                    <a:lnTo>
                      <a:pt x="82" y="74"/>
                    </a:lnTo>
                    <a:lnTo>
                      <a:pt x="84" y="74"/>
                    </a:lnTo>
                    <a:lnTo>
                      <a:pt x="84" y="74"/>
                    </a:lnTo>
                    <a:lnTo>
                      <a:pt x="84" y="74"/>
                    </a:lnTo>
                    <a:lnTo>
                      <a:pt x="86" y="72"/>
                    </a:lnTo>
                    <a:lnTo>
                      <a:pt x="88" y="72"/>
                    </a:lnTo>
                    <a:lnTo>
                      <a:pt x="90" y="72"/>
                    </a:lnTo>
                    <a:lnTo>
                      <a:pt x="90" y="72"/>
                    </a:lnTo>
                    <a:lnTo>
                      <a:pt x="94" y="72"/>
                    </a:lnTo>
                    <a:lnTo>
                      <a:pt x="98" y="72"/>
                    </a:lnTo>
                    <a:lnTo>
                      <a:pt x="98" y="72"/>
                    </a:lnTo>
                    <a:lnTo>
                      <a:pt x="100" y="72"/>
                    </a:lnTo>
                    <a:lnTo>
                      <a:pt x="104" y="72"/>
                    </a:lnTo>
                    <a:lnTo>
                      <a:pt x="106" y="70"/>
                    </a:lnTo>
                    <a:lnTo>
                      <a:pt x="108" y="68"/>
                    </a:lnTo>
                    <a:lnTo>
                      <a:pt x="108" y="68"/>
                    </a:lnTo>
                    <a:lnTo>
                      <a:pt x="110" y="68"/>
                    </a:lnTo>
                    <a:lnTo>
                      <a:pt x="110" y="66"/>
                    </a:lnTo>
                    <a:lnTo>
                      <a:pt x="112" y="64"/>
                    </a:lnTo>
                    <a:lnTo>
                      <a:pt x="114" y="62"/>
                    </a:lnTo>
                    <a:lnTo>
                      <a:pt x="114" y="62"/>
                    </a:lnTo>
                    <a:lnTo>
                      <a:pt x="118" y="62"/>
                    </a:lnTo>
                    <a:lnTo>
                      <a:pt x="120" y="60"/>
                    </a:lnTo>
                    <a:lnTo>
                      <a:pt x="124" y="60"/>
                    </a:lnTo>
                    <a:lnTo>
                      <a:pt x="124" y="60"/>
                    </a:lnTo>
                    <a:lnTo>
                      <a:pt x="126" y="60"/>
                    </a:lnTo>
                    <a:lnTo>
                      <a:pt x="126" y="60"/>
                    </a:lnTo>
                    <a:lnTo>
                      <a:pt x="126" y="58"/>
                    </a:lnTo>
                    <a:lnTo>
                      <a:pt x="126" y="58"/>
                    </a:lnTo>
                    <a:lnTo>
                      <a:pt x="128" y="56"/>
                    </a:lnTo>
                    <a:lnTo>
                      <a:pt x="128" y="54"/>
                    </a:lnTo>
                    <a:lnTo>
                      <a:pt x="130" y="52"/>
                    </a:lnTo>
                    <a:lnTo>
                      <a:pt x="130" y="52"/>
                    </a:lnTo>
                    <a:lnTo>
                      <a:pt x="130" y="52"/>
                    </a:lnTo>
                    <a:lnTo>
                      <a:pt x="132" y="52"/>
                    </a:lnTo>
                    <a:lnTo>
                      <a:pt x="134" y="50"/>
                    </a:lnTo>
                    <a:lnTo>
                      <a:pt x="134" y="48"/>
                    </a:lnTo>
                    <a:lnTo>
                      <a:pt x="136" y="48"/>
                    </a:lnTo>
                    <a:lnTo>
                      <a:pt x="136" y="46"/>
                    </a:lnTo>
                    <a:lnTo>
                      <a:pt x="136" y="46"/>
                    </a:lnTo>
                    <a:lnTo>
                      <a:pt x="136" y="46"/>
                    </a:lnTo>
                    <a:lnTo>
                      <a:pt x="134" y="44"/>
                    </a:lnTo>
                    <a:lnTo>
                      <a:pt x="134" y="44"/>
                    </a:lnTo>
                    <a:lnTo>
                      <a:pt x="134" y="42"/>
                    </a:lnTo>
                    <a:lnTo>
                      <a:pt x="134" y="42"/>
                    </a:lnTo>
                    <a:lnTo>
                      <a:pt x="134" y="40"/>
                    </a:lnTo>
                    <a:lnTo>
                      <a:pt x="134" y="40"/>
                    </a:lnTo>
                    <a:lnTo>
                      <a:pt x="134" y="40"/>
                    </a:lnTo>
                    <a:lnTo>
                      <a:pt x="134" y="40"/>
                    </a:lnTo>
                    <a:lnTo>
                      <a:pt x="136" y="40"/>
                    </a:lnTo>
                    <a:lnTo>
                      <a:pt x="136" y="40"/>
                    </a:lnTo>
                    <a:lnTo>
                      <a:pt x="136" y="40"/>
                    </a:lnTo>
                    <a:lnTo>
                      <a:pt x="136" y="38"/>
                    </a:lnTo>
                    <a:lnTo>
                      <a:pt x="138" y="38"/>
                    </a:lnTo>
                    <a:lnTo>
                      <a:pt x="138" y="34"/>
                    </a:lnTo>
                    <a:lnTo>
                      <a:pt x="138" y="32"/>
                    </a:lnTo>
                    <a:lnTo>
                      <a:pt x="136" y="30"/>
                    </a:lnTo>
                    <a:lnTo>
                      <a:pt x="136" y="30"/>
                    </a:lnTo>
                    <a:lnTo>
                      <a:pt x="136" y="28"/>
                    </a:lnTo>
                    <a:lnTo>
                      <a:pt x="136" y="24"/>
                    </a:lnTo>
                    <a:lnTo>
                      <a:pt x="136" y="24"/>
                    </a:lnTo>
                    <a:lnTo>
                      <a:pt x="136" y="22"/>
                    </a:lnTo>
                    <a:lnTo>
                      <a:pt x="136" y="20"/>
                    </a:lnTo>
                    <a:lnTo>
                      <a:pt x="136" y="20"/>
                    </a:lnTo>
                    <a:lnTo>
                      <a:pt x="136" y="20"/>
                    </a:lnTo>
                    <a:lnTo>
                      <a:pt x="136" y="20"/>
                    </a:lnTo>
                    <a:lnTo>
                      <a:pt x="134" y="18"/>
                    </a:lnTo>
                    <a:lnTo>
                      <a:pt x="134" y="20"/>
                    </a:lnTo>
                    <a:lnTo>
                      <a:pt x="134" y="20"/>
                    </a:lnTo>
                    <a:lnTo>
                      <a:pt x="132" y="20"/>
                    </a:lnTo>
                    <a:lnTo>
                      <a:pt x="132" y="20"/>
                    </a:lnTo>
                    <a:lnTo>
                      <a:pt x="132" y="22"/>
                    </a:lnTo>
                    <a:lnTo>
                      <a:pt x="130" y="22"/>
                    </a:lnTo>
                    <a:lnTo>
                      <a:pt x="130" y="22"/>
                    </a:lnTo>
                    <a:lnTo>
                      <a:pt x="128" y="22"/>
                    </a:lnTo>
                    <a:lnTo>
                      <a:pt x="128" y="22"/>
                    </a:lnTo>
                    <a:lnTo>
                      <a:pt x="126" y="20"/>
                    </a:lnTo>
                    <a:lnTo>
                      <a:pt x="124" y="18"/>
                    </a:lnTo>
                    <a:lnTo>
                      <a:pt x="124" y="18"/>
                    </a:lnTo>
                    <a:lnTo>
                      <a:pt x="124" y="16"/>
                    </a:lnTo>
                    <a:lnTo>
                      <a:pt x="124" y="16"/>
                    </a:lnTo>
                    <a:lnTo>
                      <a:pt x="124" y="14"/>
                    </a:lnTo>
                    <a:lnTo>
                      <a:pt x="124" y="14"/>
                    </a:lnTo>
                    <a:lnTo>
                      <a:pt x="126" y="12"/>
                    </a:lnTo>
                    <a:lnTo>
                      <a:pt x="126" y="12"/>
                    </a:lnTo>
                    <a:lnTo>
                      <a:pt x="128" y="12"/>
                    </a:lnTo>
                    <a:lnTo>
                      <a:pt x="128" y="10"/>
                    </a:lnTo>
                    <a:lnTo>
                      <a:pt x="128" y="10"/>
                    </a:lnTo>
                    <a:lnTo>
                      <a:pt x="128" y="10"/>
                    </a:lnTo>
                    <a:lnTo>
                      <a:pt x="128" y="10"/>
                    </a:lnTo>
                    <a:lnTo>
                      <a:pt x="126" y="8"/>
                    </a:lnTo>
                    <a:lnTo>
                      <a:pt x="126" y="8"/>
                    </a:lnTo>
                    <a:lnTo>
                      <a:pt x="126" y="8"/>
                    </a:lnTo>
                    <a:lnTo>
                      <a:pt x="126" y="8"/>
                    </a:lnTo>
                    <a:lnTo>
                      <a:pt x="126" y="6"/>
                    </a:lnTo>
                    <a:lnTo>
                      <a:pt x="126" y="6"/>
                    </a:lnTo>
                    <a:lnTo>
                      <a:pt x="126" y="4"/>
                    </a:lnTo>
                    <a:lnTo>
                      <a:pt x="128" y="4"/>
                    </a:lnTo>
                    <a:lnTo>
                      <a:pt x="128" y="4"/>
                    </a:lnTo>
                    <a:lnTo>
                      <a:pt x="128" y="4"/>
                    </a:lnTo>
                    <a:lnTo>
                      <a:pt x="128" y="4"/>
                    </a:lnTo>
                    <a:lnTo>
                      <a:pt x="128" y="4"/>
                    </a:lnTo>
                    <a:lnTo>
                      <a:pt x="128" y="2"/>
                    </a:lnTo>
                    <a:lnTo>
                      <a:pt x="126" y="2"/>
                    </a:lnTo>
                    <a:lnTo>
                      <a:pt x="122" y="2"/>
                    </a:lnTo>
                    <a:lnTo>
                      <a:pt x="122" y="2"/>
                    </a:lnTo>
                    <a:lnTo>
                      <a:pt x="120" y="0"/>
                    </a:lnTo>
                    <a:lnTo>
                      <a:pt x="120" y="0"/>
                    </a:lnTo>
                    <a:lnTo>
                      <a:pt x="118" y="0"/>
                    </a:lnTo>
                    <a:lnTo>
                      <a:pt x="118" y="0"/>
                    </a:lnTo>
                    <a:lnTo>
                      <a:pt x="116" y="2"/>
                    </a:lnTo>
                    <a:lnTo>
                      <a:pt x="116" y="2"/>
                    </a:lnTo>
                    <a:lnTo>
                      <a:pt x="114" y="4"/>
                    </a:lnTo>
                    <a:lnTo>
                      <a:pt x="114" y="6"/>
                    </a:lnTo>
                    <a:lnTo>
                      <a:pt x="114" y="6"/>
                    </a:lnTo>
                    <a:lnTo>
                      <a:pt x="112" y="6"/>
                    </a:lnTo>
                    <a:lnTo>
                      <a:pt x="112" y="6"/>
                    </a:lnTo>
                    <a:lnTo>
                      <a:pt x="110" y="6"/>
                    </a:lnTo>
                    <a:lnTo>
                      <a:pt x="110" y="6"/>
                    </a:lnTo>
                    <a:lnTo>
                      <a:pt x="110" y="4"/>
                    </a:lnTo>
                    <a:lnTo>
                      <a:pt x="108" y="2"/>
                    </a:lnTo>
                    <a:lnTo>
                      <a:pt x="108" y="0"/>
                    </a:lnTo>
                    <a:lnTo>
                      <a:pt x="108" y="0"/>
                    </a:lnTo>
                    <a:lnTo>
                      <a:pt x="106" y="0"/>
                    </a:lnTo>
                    <a:lnTo>
                      <a:pt x="106" y="0"/>
                    </a:lnTo>
                    <a:lnTo>
                      <a:pt x="102" y="0"/>
                    </a:lnTo>
                    <a:lnTo>
                      <a:pt x="96" y="2"/>
                    </a:lnTo>
                    <a:lnTo>
                      <a:pt x="96" y="2"/>
                    </a:lnTo>
                    <a:lnTo>
                      <a:pt x="96" y="2"/>
                    </a:lnTo>
                    <a:lnTo>
                      <a:pt x="94" y="4"/>
                    </a:lnTo>
                    <a:lnTo>
                      <a:pt x="94" y="4"/>
                    </a:lnTo>
                    <a:lnTo>
                      <a:pt x="94" y="4"/>
                    </a:lnTo>
                    <a:lnTo>
                      <a:pt x="94" y="8"/>
                    </a:lnTo>
                    <a:lnTo>
                      <a:pt x="94" y="10"/>
                    </a:lnTo>
                    <a:lnTo>
                      <a:pt x="94" y="10"/>
                    </a:lnTo>
                    <a:lnTo>
                      <a:pt x="94" y="12"/>
                    </a:lnTo>
                    <a:lnTo>
                      <a:pt x="94" y="12"/>
                    </a:lnTo>
                    <a:lnTo>
                      <a:pt x="92" y="12"/>
                    </a:lnTo>
                    <a:lnTo>
                      <a:pt x="92" y="14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86" y="14"/>
                    </a:lnTo>
                    <a:lnTo>
                      <a:pt x="86" y="14"/>
                    </a:lnTo>
                    <a:lnTo>
                      <a:pt x="86" y="12"/>
                    </a:lnTo>
                    <a:lnTo>
                      <a:pt x="86" y="12"/>
                    </a:lnTo>
                    <a:lnTo>
                      <a:pt x="84" y="10"/>
                    </a:lnTo>
                    <a:lnTo>
                      <a:pt x="84" y="10"/>
                    </a:lnTo>
                    <a:lnTo>
                      <a:pt x="82" y="10"/>
                    </a:lnTo>
                    <a:lnTo>
                      <a:pt x="80" y="10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76" y="10"/>
                    </a:lnTo>
                    <a:lnTo>
                      <a:pt x="76" y="10"/>
                    </a:lnTo>
                    <a:lnTo>
                      <a:pt x="76" y="10"/>
                    </a:lnTo>
                    <a:lnTo>
                      <a:pt x="76" y="10"/>
                    </a:lnTo>
                    <a:lnTo>
                      <a:pt x="76" y="10"/>
                    </a:lnTo>
                    <a:lnTo>
                      <a:pt x="76" y="12"/>
                    </a:lnTo>
                    <a:lnTo>
                      <a:pt x="78" y="12"/>
                    </a:lnTo>
                    <a:lnTo>
                      <a:pt x="78" y="12"/>
                    </a:lnTo>
                    <a:lnTo>
                      <a:pt x="78" y="12"/>
                    </a:lnTo>
                    <a:lnTo>
                      <a:pt x="78" y="14"/>
                    </a:lnTo>
                    <a:lnTo>
                      <a:pt x="78" y="14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6" y="20"/>
                    </a:lnTo>
                    <a:lnTo>
                      <a:pt x="76" y="20"/>
                    </a:lnTo>
                    <a:lnTo>
                      <a:pt x="76" y="18"/>
                    </a:lnTo>
                    <a:lnTo>
                      <a:pt x="74" y="16"/>
                    </a:lnTo>
                    <a:lnTo>
                      <a:pt x="72" y="14"/>
                    </a:lnTo>
                    <a:lnTo>
                      <a:pt x="72" y="14"/>
                    </a:lnTo>
                    <a:lnTo>
                      <a:pt x="70" y="12"/>
                    </a:lnTo>
                    <a:lnTo>
                      <a:pt x="68" y="12"/>
                    </a:lnTo>
                    <a:lnTo>
                      <a:pt x="66" y="10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2" y="8"/>
                    </a:lnTo>
                    <a:lnTo>
                      <a:pt x="62" y="10"/>
                    </a:lnTo>
                    <a:lnTo>
                      <a:pt x="62" y="10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2" y="16"/>
                    </a:lnTo>
                    <a:lnTo>
                      <a:pt x="62" y="16"/>
                    </a:lnTo>
                    <a:lnTo>
                      <a:pt x="60" y="14"/>
                    </a:lnTo>
                    <a:lnTo>
                      <a:pt x="58" y="12"/>
                    </a:lnTo>
                    <a:lnTo>
                      <a:pt x="58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0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4" y="8"/>
                    </a:lnTo>
                    <a:lnTo>
                      <a:pt x="52" y="8"/>
                    </a:lnTo>
                    <a:lnTo>
                      <a:pt x="50" y="10"/>
                    </a:lnTo>
                    <a:lnTo>
                      <a:pt x="50" y="10"/>
                    </a:lnTo>
                    <a:lnTo>
                      <a:pt x="50" y="10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8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0" y="24"/>
                    </a:lnTo>
                    <a:lnTo>
                      <a:pt x="50" y="24"/>
                    </a:lnTo>
                    <a:lnTo>
                      <a:pt x="48" y="24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6" y="32"/>
                    </a:lnTo>
                    <a:lnTo>
                      <a:pt x="46" y="32"/>
                    </a:lnTo>
                    <a:lnTo>
                      <a:pt x="46" y="32"/>
                    </a:lnTo>
                    <a:lnTo>
                      <a:pt x="46" y="32"/>
                    </a:lnTo>
                    <a:lnTo>
                      <a:pt x="44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0" y="28"/>
                    </a:lnTo>
                    <a:lnTo>
                      <a:pt x="40" y="28"/>
                    </a:lnTo>
                    <a:lnTo>
                      <a:pt x="40" y="28"/>
                    </a:lnTo>
                    <a:lnTo>
                      <a:pt x="38" y="26"/>
                    </a:lnTo>
                    <a:lnTo>
                      <a:pt x="38" y="24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40" y="22"/>
                    </a:lnTo>
                    <a:lnTo>
                      <a:pt x="42" y="22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0" y="18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4"/>
                    </a:lnTo>
                    <a:lnTo>
                      <a:pt x="40" y="12"/>
                    </a:lnTo>
                    <a:lnTo>
                      <a:pt x="40" y="10"/>
                    </a:lnTo>
                    <a:lnTo>
                      <a:pt x="42" y="10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90" name="Freeform 334"/>
              <p:cNvSpPr>
                <a:spLocks/>
              </p:cNvSpPr>
              <p:nvPr/>
            </p:nvSpPr>
            <p:spPr bwMode="auto">
              <a:xfrm>
                <a:off x="2835" y="1238"/>
                <a:ext cx="106" cy="86"/>
              </a:xfrm>
              <a:custGeom>
                <a:avLst/>
                <a:gdLst>
                  <a:gd name="T0" fmla="*/ 38 w 106"/>
                  <a:gd name="T1" fmla="*/ 8 h 86"/>
                  <a:gd name="T2" fmla="*/ 30 w 106"/>
                  <a:gd name="T3" fmla="*/ 4 h 86"/>
                  <a:gd name="T4" fmla="*/ 24 w 106"/>
                  <a:gd name="T5" fmla="*/ 6 h 86"/>
                  <a:gd name="T6" fmla="*/ 22 w 106"/>
                  <a:gd name="T7" fmla="*/ 12 h 86"/>
                  <a:gd name="T8" fmla="*/ 16 w 106"/>
                  <a:gd name="T9" fmla="*/ 8 h 86"/>
                  <a:gd name="T10" fmla="*/ 4 w 106"/>
                  <a:gd name="T11" fmla="*/ 10 h 86"/>
                  <a:gd name="T12" fmla="*/ 2 w 106"/>
                  <a:gd name="T13" fmla="*/ 14 h 86"/>
                  <a:gd name="T14" fmla="*/ 4 w 106"/>
                  <a:gd name="T15" fmla="*/ 18 h 86"/>
                  <a:gd name="T16" fmla="*/ 2 w 106"/>
                  <a:gd name="T17" fmla="*/ 20 h 86"/>
                  <a:gd name="T18" fmla="*/ 0 w 106"/>
                  <a:gd name="T19" fmla="*/ 30 h 86"/>
                  <a:gd name="T20" fmla="*/ 2 w 106"/>
                  <a:gd name="T21" fmla="*/ 40 h 86"/>
                  <a:gd name="T22" fmla="*/ 12 w 106"/>
                  <a:gd name="T23" fmla="*/ 36 h 86"/>
                  <a:gd name="T24" fmla="*/ 14 w 106"/>
                  <a:gd name="T25" fmla="*/ 42 h 86"/>
                  <a:gd name="T26" fmla="*/ 20 w 106"/>
                  <a:gd name="T27" fmla="*/ 46 h 86"/>
                  <a:gd name="T28" fmla="*/ 28 w 106"/>
                  <a:gd name="T29" fmla="*/ 50 h 86"/>
                  <a:gd name="T30" fmla="*/ 34 w 106"/>
                  <a:gd name="T31" fmla="*/ 54 h 86"/>
                  <a:gd name="T32" fmla="*/ 38 w 106"/>
                  <a:gd name="T33" fmla="*/ 48 h 86"/>
                  <a:gd name="T34" fmla="*/ 38 w 106"/>
                  <a:gd name="T35" fmla="*/ 40 h 86"/>
                  <a:gd name="T36" fmla="*/ 42 w 106"/>
                  <a:gd name="T37" fmla="*/ 38 h 86"/>
                  <a:gd name="T38" fmla="*/ 44 w 106"/>
                  <a:gd name="T39" fmla="*/ 40 h 86"/>
                  <a:gd name="T40" fmla="*/ 46 w 106"/>
                  <a:gd name="T41" fmla="*/ 38 h 86"/>
                  <a:gd name="T42" fmla="*/ 48 w 106"/>
                  <a:gd name="T43" fmla="*/ 32 h 86"/>
                  <a:gd name="T44" fmla="*/ 56 w 106"/>
                  <a:gd name="T45" fmla="*/ 28 h 86"/>
                  <a:gd name="T46" fmla="*/ 58 w 106"/>
                  <a:gd name="T47" fmla="*/ 32 h 86"/>
                  <a:gd name="T48" fmla="*/ 60 w 106"/>
                  <a:gd name="T49" fmla="*/ 34 h 86"/>
                  <a:gd name="T50" fmla="*/ 58 w 106"/>
                  <a:gd name="T51" fmla="*/ 40 h 86"/>
                  <a:gd name="T52" fmla="*/ 52 w 106"/>
                  <a:gd name="T53" fmla="*/ 42 h 86"/>
                  <a:gd name="T54" fmla="*/ 44 w 106"/>
                  <a:gd name="T55" fmla="*/ 52 h 86"/>
                  <a:gd name="T56" fmla="*/ 42 w 106"/>
                  <a:gd name="T57" fmla="*/ 62 h 86"/>
                  <a:gd name="T58" fmla="*/ 44 w 106"/>
                  <a:gd name="T59" fmla="*/ 64 h 86"/>
                  <a:gd name="T60" fmla="*/ 52 w 106"/>
                  <a:gd name="T61" fmla="*/ 58 h 86"/>
                  <a:gd name="T62" fmla="*/ 58 w 106"/>
                  <a:gd name="T63" fmla="*/ 58 h 86"/>
                  <a:gd name="T64" fmla="*/ 50 w 106"/>
                  <a:gd name="T65" fmla="*/ 64 h 86"/>
                  <a:gd name="T66" fmla="*/ 46 w 106"/>
                  <a:gd name="T67" fmla="*/ 76 h 86"/>
                  <a:gd name="T68" fmla="*/ 50 w 106"/>
                  <a:gd name="T69" fmla="*/ 80 h 86"/>
                  <a:gd name="T70" fmla="*/ 56 w 106"/>
                  <a:gd name="T71" fmla="*/ 86 h 86"/>
                  <a:gd name="T72" fmla="*/ 60 w 106"/>
                  <a:gd name="T73" fmla="*/ 86 h 86"/>
                  <a:gd name="T74" fmla="*/ 64 w 106"/>
                  <a:gd name="T75" fmla="*/ 78 h 86"/>
                  <a:gd name="T76" fmla="*/ 70 w 106"/>
                  <a:gd name="T77" fmla="*/ 70 h 86"/>
                  <a:gd name="T78" fmla="*/ 74 w 106"/>
                  <a:gd name="T79" fmla="*/ 64 h 86"/>
                  <a:gd name="T80" fmla="*/ 80 w 106"/>
                  <a:gd name="T81" fmla="*/ 64 h 86"/>
                  <a:gd name="T82" fmla="*/ 80 w 106"/>
                  <a:gd name="T83" fmla="*/ 54 h 86"/>
                  <a:gd name="T84" fmla="*/ 86 w 106"/>
                  <a:gd name="T85" fmla="*/ 52 h 86"/>
                  <a:gd name="T86" fmla="*/ 92 w 106"/>
                  <a:gd name="T87" fmla="*/ 42 h 86"/>
                  <a:gd name="T88" fmla="*/ 96 w 106"/>
                  <a:gd name="T89" fmla="*/ 36 h 86"/>
                  <a:gd name="T90" fmla="*/ 96 w 106"/>
                  <a:gd name="T91" fmla="*/ 30 h 86"/>
                  <a:gd name="T92" fmla="*/ 102 w 106"/>
                  <a:gd name="T93" fmla="*/ 26 h 86"/>
                  <a:gd name="T94" fmla="*/ 106 w 106"/>
                  <a:gd name="T95" fmla="*/ 20 h 86"/>
                  <a:gd name="T96" fmla="*/ 96 w 106"/>
                  <a:gd name="T97" fmla="*/ 18 h 86"/>
                  <a:gd name="T98" fmla="*/ 90 w 106"/>
                  <a:gd name="T99" fmla="*/ 12 h 86"/>
                  <a:gd name="T100" fmla="*/ 78 w 106"/>
                  <a:gd name="T101" fmla="*/ 14 h 86"/>
                  <a:gd name="T102" fmla="*/ 74 w 106"/>
                  <a:gd name="T103" fmla="*/ 8 h 86"/>
                  <a:gd name="T104" fmla="*/ 70 w 106"/>
                  <a:gd name="T105" fmla="*/ 2 h 86"/>
                  <a:gd name="T106" fmla="*/ 54 w 106"/>
                  <a:gd name="T107" fmla="*/ 0 h 86"/>
                  <a:gd name="T108" fmla="*/ 50 w 106"/>
                  <a:gd name="T109" fmla="*/ 4 h 86"/>
                  <a:gd name="T110" fmla="*/ 52 w 106"/>
                  <a:gd name="T111" fmla="*/ 12 h 86"/>
                  <a:gd name="T112" fmla="*/ 48 w 106"/>
                  <a:gd name="T113" fmla="*/ 14 h 86"/>
                  <a:gd name="T114" fmla="*/ 50 w 106"/>
                  <a:gd name="T115" fmla="*/ 20 h 86"/>
                  <a:gd name="T116" fmla="*/ 48 w 106"/>
                  <a:gd name="T117" fmla="*/ 18 h 86"/>
                  <a:gd name="T118" fmla="*/ 42 w 106"/>
                  <a:gd name="T119" fmla="*/ 10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06" h="86">
                    <a:moveTo>
                      <a:pt x="42" y="10"/>
                    </a:moveTo>
                    <a:lnTo>
                      <a:pt x="42" y="10"/>
                    </a:lnTo>
                    <a:lnTo>
                      <a:pt x="42" y="8"/>
                    </a:lnTo>
                    <a:lnTo>
                      <a:pt x="40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0" y="6"/>
                    </a:lnTo>
                    <a:lnTo>
                      <a:pt x="30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4" y="4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2" y="8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18" y="12"/>
                    </a:lnTo>
                    <a:lnTo>
                      <a:pt x="18" y="10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4" y="8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8" y="6"/>
                    </a:lnTo>
                    <a:lnTo>
                      <a:pt x="6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2" y="10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0" y="28"/>
                    </a:lnTo>
                    <a:lnTo>
                      <a:pt x="0" y="30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6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40"/>
                    </a:lnTo>
                    <a:lnTo>
                      <a:pt x="4" y="40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8" y="38"/>
                    </a:lnTo>
                    <a:lnTo>
                      <a:pt x="12" y="36"/>
                    </a:lnTo>
                    <a:lnTo>
                      <a:pt x="12" y="36"/>
                    </a:lnTo>
                    <a:lnTo>
                      <a:pt x="14" y="36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40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6" y="44"/>
                    </a:lnTo>
                    <a:lnTo>
                      <a:pt x="18" y="44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24" y="48"/>
                    </a:lnTo>
                    <a:lnTo>
                      <a:pt x="28" y="50"/>
                    </a:lnTo>
                    <a:lnTo>
                      <a:pt x="28" y="50"/>
                    </a:lnTo>
                    <a:lnTo>
                      <a:pt x="28" y="52"/>
                    </a:lnTo>
                    <a:lnTo>
                      <a:pt x="30" y="54"/>
                    </a:lnTo>
                    <a:lnTo>
                      <a:pt x="32" y="54"/>
                    </a:lnTo>
                    <a:lnTo>
                      <a:pt x="32" y="54"/>
                    </a:lnTo>
                    <a:lnTo>
                      <a:pt x="34" y="54"/>
                    </a:lnTo>
                    <a:lnTo>
                      <a:pt x="34" y="54"/>
                    </a:lnTo>
                    <a:lnTo>
                      <a:pt x="34" y="54"/>
                    </a:lnTo>
                    <a:lnTo>
                      <a:pt x="36" y="52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44"/>
                    </a:lnTo>
                    <a:lnTo>
                      <a:pt x="38" y="44"/>
                    </a:lnTo>
                    <a:lnTo>
                      <a:pt x="38" y="44"/>
                    </a:lnTo>
                    <a:lnTo>
                      <a:pt x="38" y="42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2" y="38"/>
                    </a:lnTo>
                    <a:lnTo>
                      <a:pt x="42" y="38"/>
                    </a:lnTo>
                    <a:lnTo>
                      <a:pt x="42" y="38"/>
                    </a:lnTo>
                    <a:lnTo>
                      <a:pt x="42" y="40"/>
                    </a:lnTo>
                    <a:lnTo>
                      <a:pt x="42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6" y="40"/>
                    </a:lnTo>
                    <a:lnTo>
                      <a:pt x="46" y="40"/>
                    </a:lnTo>
                    <a:lnTo>
                      <a:pt x="46" y="38"/>
                    </a:lnTo>
                    <a:lnTo>
                      <a:pt x="46" y="38"/>
                    </a:lnTo>
                    <a:lnTo>
                      <a:pt x="46" y="38"/>
                    </a:lnTo>
                    <a:lnTo>
                      <a:pt x="46" y="38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6" y="34"/>
                    </a:lnTo>
                    <a:lnTo>
                      <a:pt x="46" y="34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52" y="28"/>
                    </a:lnTo>
                    <a:lnTo>
                      <a:pt x="54" y="28"/>
                    </a:lnTo>
                    <a:lnTo>
                      <a:pt x="54" y="28"/>
                    </a:lnTo>
                    <a:lnTo>
                      <a:pt x="56" y="28"/>
                    </a:lnTo>
                    <a:lnTo>
                      <a:pt x="56" y="28"/>
                    </a:lnTo>
                    <a:lnTo>
                      <a:pt x="56" y="30"/>
                    </a:lnTo>
                    <a:lnTo>
                      <a:pt x="54" y="32"/>
                    </a:lnTo>
                    <a:lnTo>
                      <a:pt x="54" y="32"/>
                    </a:lnTo>
                    <a:lnTo>
                      <a:pt x="56" y="32"/>
                    </a:lnTo>
                    <a:lnTo>
                      <a:pt x="58" y="32"/>
                    </a:lnTo>
                    <a:lnTo>
                      <a:pt x="58" y="32"/>
                    </a:lnTo>
                    <a:lnTo>
                      <a:pt x="60" y="32"/>
                    </a:lnTo>
                    <a:lnTo>
                      <a:pt x="60" y="32"/>
                    </a:lnTo>
                    <a:lnTo>
                      <a:pt x="60" y="32"/>
                    </a:lnTo>
                    <a:lnTo>
                      <a:pt x="60" y="32"/>
                    </a:lnTo>
                    <a:lnTo>
                      <a:pt x="60" y="34"/>
                    </a:lnTo>
                    <a:lnTo>
                      <a:pt x="60" y="36"/>
                    </a:lnTo>
                    <a:lnTo>
                      <a:pt x="60" y="36"/>
                    </a:lnTo>
                    <a:lnTo>
                      <a:pt x="60" y="36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58" y="40"/>
                    </a:lnTo>
                    <a:lnTo>
                      <a:pt x="58" y="40"/>
                    </a:lnTo>
                    <a:lnTo>
                      <a:pt x="58" y="40"/>
                    </a:lnTo>
                    <a:lnTo>
                      <a:pt x="56" y="40"/>
                    </a:lnTo>
                    <a:lnTo>
                      <a:pt x="54" y="42"/>
                    </a:lnTo>
                    <a:lnTo>
                      <a:pt x="54" y="42"/>
                    </a:lnTo>
                    <a:lnTo>
                      <a:pt x="52" y="42"/>
                    </a:lnTo>
                    <a:lnTo>
                      <a:pt x="50" y="44"/>
                    </a:lnTo>
                    <a:lnTo>
                      <a:pt x="46" y="46"/>
                    </a:lnTo>
                    <a:lnTo>
                      <a:pt x="46" y="46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4" y="52"/>
                    </a:lnTo>
                    <a:lnTo>
                      <a:pt x="44" y="54"/>
                    </a:lnTo>
                    <a:lnTo>
                      <a:pt x="44" y="56"/>
                    </a:lnTo>
                    <a:lnTo>
                      <a:pt x="44" y="56"/>
                    </a:lnTo>
                    <a:lnTo>
                      <a:pt x="44" y="56"/>
                    </a:lnTo>
                    <a:lnTo>
                      <a:pt x="42" y="58"/>
                    </a:lnTo>
                    <a:lnTo>
                      <a:pt x="42" y="62"/>
                    </a:lnTo>
                    <a:lnTo>
                      <a:pt x="42" y="62"/>
                    </a:lnTo>
                    <a:lnTo>
                      <a:pt x="42" y="62"/>
                    </a:lnTo>
                    <a:lnTo>
                      <a:pt x="42" y="64"/>
                    </a:lnTo>
                    <a:lnTo>
                      <a:pt x="44" y="64"/>
                    </a:lnTo>
                    <a:lnTo>
                      <a:pt x="44" y="64"/>
                    </a:lnTo>
                    <a:lnTo>
                      <a:pt x="44" y="64"/>
                    </a:lnTo>
                    <a:lnTo>
                      <a:pt x="46" y="64"/>
                    </a:lnTo>
                    <a:lnTo>
                      <a:pt x="46" y="64"/>
                    </a:lnTo>
                    <a:lnTo>
                      <a:pt x="46" y="62"/>
                    </a:lnTo>
                    <a:lnTo>
                      <a:pt x="50" y="60"/>
                    </a:lnTo>
                    <a:lnTo>
                      <a:pt x="50" y="60"/>
                    </a:lnTo>
                    <a:lnTo>
                      <a:pt x="52" y="58"/>
                    </a:lnTo>
                    <a:lnTo>
                      <a:pt x="54" y="56"/>
                    </a:lnTo>
                    <a:lnTo>
                      <a:pt x="56" y="56"/>
                    </a:lnTo>
                    <a:lnTo>
                      <a:pt x="58" y="54"/>
                    </a:lnTo>
                    <a:lnTo>
                      <a:pt x="58" y="54"/>
                    </a:lnTo>
                    <a:lnTo>
                      <a:pt x="58" y="56"/>
                    </a:lnTo>
                    <a:lnTo>
                      <a:pt x="58" y="58"/>
                    </a:lnTo>
                    <a:lnTo>
                      <a:pt x="58" y="58"/>
                    </a:lnTo>
                    <a:lnTo>
                      <a:pt x="56" y="60"/>
                    </a:lnTo>
                    <a:lnTo>
                      <a:pt x="54" y="62"/>
                    </a:lnTo>
                    <a:lnTo>
                      <a:pt x="52" y="62"/>
                    </a:lnTo>
                    <a:lnTo>
                      <a:pt x="52" y="62"/>
                    </a:lnTo>
                    <a:lnTo>
                      <a:pt x="50" y="64"/>
                    </a:lnTo>
                    <a:lnTo>
                      <a:pt x="48" y="66"/>
                    </a:lnTo>
                    <a:lnTo>
                      <a:pt x="46" y="70"/>
                    </a:lnTo>
                    <a:lnTo>
                      <a:pt x="46" y="72"/>
                    </a:lnTo>
                    <a:lnTo>
                      <a:pt x="46" y="72"/>
                    </a:lnTo>
                    <a:lnTo>
                      <a:pt x="46" y="76"/>
                    </a:lnTo>
                    <a:lnTo>
                      <a:pt x="46" y="76"/>
                    </a:lnTo>
                    <a:lnTo>
                      <a:pt x="46" y="78"/>
                    </a:lnTo>
                    <a:lnTo>
                      <a:pt x="46" y="78"/>
                    </a:lnTo>
                    <a:lnTo>
                      <a:pt x="48" y="80"/>
                    </a:lnTo>
                    <a:lnTo>
                      <a:pt x="50" y="80"/>
                    </a:lnTo>
                    <a:lnTo>
                      <a:pt x="50" y="80"/>
                    </a:lnTo>
                    <a:lnTo>
                      <a:pt x="50" y="80"/>
                    </a:lnTo>
                    <a:lnTo>
                      <a:pt x="52" y="80"/>
                    </a:lnTo>
                    <a:lnTo>
                      <a:pt x="54" y="80"/>
                    </a:lnTo>
                    <a:lnTo>
                      <a:pt x="54" y="80"/>
                    </a:lnTo>
                    <a:lnTo>
                      <a:pt x="54" y="82"/>
                    </a:lnTo>
                    <a:lnTo>
                      <a:pt x="54" y="82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8" y="86"/>
                    </a:lnTo>
                    <a:lnTo>
                      <a:pt x="58" y="86"/>
                    </a:lnTo>
                    <a:lnTo>
                      <a:pt x="58" y="86"/>
                    </a:lnTo>
                    <a:lnTo>
                      <a:pt x="60" y="86"/>
                    </a:lnTo>
                    <a:lnTo>
                      <a:pt x="60" y="86"/>
                    </a:lnTo>
                    <a:lnTo>
                      <a:pt x="62" y="86"/>
                    </a:lnTo>
                    <a:lnTo>
                      <a:pt x="62" y="84"/>
                    </a:lnTo>
                    <a:lnTo>
                      <a:pt x="62" y="84"/>
                    </a:lnTo>
                    <a:lnTo>
                      <a:pt x="62" y="80"/>
                    </a:lnTo>
                    <a:lnTo>
                      <a:pt x="64" y="78"/>
                    </a:lnTo>
                    <a:lnTo>
                      <a:pt x="64" y="78"/>
                    </a:lnTo>
                    <a:lnTo>
                      <a:pt x="68" y="76"/>
                    </a:lnTo>
                    <a:lnTo>
                      <a:pt x="68" y="74"/>
                    </a:lnTo>
                    <a:lnTo>
                      <a:pt x="70" y="72"/>
                    </a:lnTo>
                    <a:lnTo>
                      <a:pt x="70" y="72"/>
                    </a:lnTo>
                    <a:lnTo>
                      <a:pt x="70" y="70"/>
                    </a:lnTo>
                    <a:lnTo>
                      <a:pt x="70" y="66"/>
                    </a:lnTo>
                    <a:lnTo>
                      <a:pt x="70" y="66"/>
                    </a:lnTo>
                    <a:lnTo>
                      <a:pt x="72" y="66"/>
                    </a:lnTo>
                    <a:lnTo>
                      <a:pt x="74" y="64"/>
                    </a:lnTo>
                    <a:lnTo>
                      <a:pt x="74" y="64"/>
                    </a:lnTo>
                    <a:lnTo>
                      <a:pt x="74" y="64"/>
                    </a:lnTo>
                    <a:lnTo>
                      <a:pt x="76" y="64"/>
                    </a:lnTo>
                    <a:lnTo>
                      <a:pt x="78" y="64"/>
                    </a:lnTo>
                    <a:lnTo>
                      <a:pt x="78" y="64"/>
                    </a:lnTo>
                    <a:lnTo>
                      <a:pt x="78" y="64"/>
                    </a:lnTo>
                    <a:lnTo>
                      <a:pt x="80" y="64"/>
                    </a:lnTo>
                    <a:lnTo>
                      <a:pt x="80" y="64"/>
                    </a:lnTo>
                    <a:lnTo>
                      <a:pt x="80" y="62"/>
                    </a:lnTo>
                    <a:lnTo>
                      <a:pt x="80" y="62"/>
                    </a:lnTo>
                    <a:lnTo>
                      <a:pt x="80" y="60"/>
                    </a:lnTo>
                    <a:lnTo>
                      <a:pt x="80" y="60"/>
                    </a:lnTo>
                    <a:lnTo>
                      <a:pt x="80" y="56"/>
                    </a:lnTo>
                    <a:lnTo>
                      <a:pt x="80" y="54"/>
                    </a:lnTo>
                    <a:lnTo>
                      <a:pt x="82" y="54"/>
                    </a:lnTo>
                    <a:lnTo>
                      <a:pt x="82" y="54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86" y="52"/>
                    </a:lnTo>
                    <a:lnTo>
                      <a:pt x="86" y="52"/>
                    </a:lnTo>
                    <a:lnTo>
                      <a:pt x="86" y="52"/>
                    </a:lnTo>
                    <a:lnTo>
                      <a:pt x="88" y="48"/>
                    </a:lnTo>
                    <a:lnTo>
                      <a:pt x="90" y="46"/>
                    </a:lnTo>
                    <a:lnTo>
                      <a:pt x="90" y="46"/>
                    </a:lnTo>
                    <a:lnTo>
                      <a:pt x="90" y="44"/>
                    </a:lnTo>
                    <a:lnTo>
                      <a:pt x="92" y="42"/>
                    </a:lnTo>
                    <a:lnTo>
                      <a:pt x="92" y="42"/>
                    </a:lnTo>
                    <a:lnTo>
                      <a:pt x="92" y="40"/>
                    </a:lnTo>
                    <a:lnTo>
                      <a:pt x="94" y="40"/>
                    </a:lnTo>
                    <a:lnTo>
                      <a:pt x="94" y="38"/>
                    </a:lnTo>
                    <a:lnTo>
                      <a:pt x="94" y="38"/>
                    </a:lnTo>
                    <a:lnTo>
                      <a:pt x="96" y="36"/>
                    </a:lnTo>
                    <a:lnTo>
                      <a:pt x="96" y="36"/>
                    </a:lnTo>
                    <a:lnTo>
                      <a:pt x="96" y="34"/>
                    </a:lnTo>
                    <a:lnTo>
                      <a:pt x="96" y="34"/>
                    </a:lnTo>
                    <a:lnTo>
                      <a:pt x="96" y="32"/>
                    </a:lnTo>
                    <a:lnTo>
                      <a:pt x="96" y="32"/>
                    </a:lnTo>
                    <a:lnTo>
                      <a:pt x="96" y="30"/>
                    </a:lnTo>
                    <a:lnTo>
                      <a:pt x="96" y="28"/>
                    </a:lnTo>
                    <a:lnTo>
                      <a:pt x="96" y="28"/>
                    </a:lnTo>
                    <a:lnTo>
                      <a:pt x="98" y="28"/>
                    </a:lnTo>
                    <a:lnTo>
                      <a:pt x="100" y="28"/>
                    </a:lnTo>
                    <a:lnTo>
                      <a:pt x="102" y="26"/>
                    </a:lnTo>
                    <a:lnTo>
                      <a:pt x="102" y="26"/>
                    </a:lnTo>
                    <a:lnTo>
                      <a:pt x="104" y="24"/>
                    </a:lnTo>
                    <a:lnTo>
                      <a:pt x="104" y="24"/>
                    </a:lnTo>
                    <a:lnTo>
                      <a:pt x="106" y="22"/>
                    </a:lnTo>
                    <a:lnTo>
                      <a:pt x="106" y="22"/>
                    </a:lnTo>
                    <a:lnTo>
                      <a:pt x="106" y="20"/>
                    </a:lnTo>
                    <a:lnTo>
                      <a:pt x="106" y="20"/>
                    </a:lnTo>
                    <a:lnTo>
                      <a:pt x="104" y="18"/>
                    </a:lnTo>
                    <a:lnTo>
                      <a:pt x="104" y="18"/>
                    </a:lnTo>
                    <a:lnTo>
                      <a:pt x="100" y="18"/>
                    </a:lnTo>
                    <a:lnTo>
                      <a:pt x="98" y="18"/>
                    </a:lnTo>
                    <a:lnTo>
                      <a:pt x="96" y="18"/>
                    </a:lnTo>
                    <a:lnTo>
                      <a:pt x="96" y="18"/>
                    </a:lnTo>
                    <a:lnTo>
                      <a:pt x="94" y="16"/>
                    </a:lnTo>
                    <a:lnTo>
                      <a:pt x="94" y="16"/>
                    </a:lnTo>
                    <a:lnTo>
                      <a:pt x="94" y="14"/>
                    </a:lnTo>
                    <a:lnTo>
                      <a:pt x="92" y="14"/>
                    </a:lnTo>
                    <a:lnTo>
                      <a:pt x="92" y="14"/>
                    </a:lnTo>
                    <a:lnTo>
                      <a:pt x="90" y="12"/>
                    </a:lnTo>
                    <a:lnTo>
                      <a:pt x="88" y="14"/>
                    </a:lnTo>
                    <a:lnTo>
                      <a:pt x="88" y="14"/>
                    </a:lnTo>
                    <a:lnTo>
                      <a:pt x="84" y="14"/>
                    </a:lnTo>
                    <a:lnTo>
                      <a:pt x="80" y="14"/>
                    </a:lnTo>
                    <a:lnTo>
                      <a:pt x="78" y="14"/>
                    </a:lnTo>
                    <a:lnTo>
                      <a:pt x="78" y="14"/>
                    </a:lnTo>
                    <a:lnTo>
                      <a:pt x="76" y="14"/>
                    </a:lnTo>
                    <a:lnTo>
                      <a:pt x="74" y="14"/>
                    </a:lnTo>
                    <a:lnTo>
                      <a:pt x="74" y="14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8"/>
                    </a:lnTo>
                    <a:lnTo>
                      <a:pt x="72" y="6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0" y="4"/>
                    </a:lnTo>
                    <a:lnTo>
                      <a:pt x="70" y="2"/>
                    </a:lnTo>
                    <a:lnTo>
                      <a:pt x="66" y="2"/>
                    </a:lnTo>
                    <a:lnTo>
                      <a:pt x="64" y="2"/>
                    </a:lnTo>
                    <a:lnTo>
                      <a:pt x="60" y="2"/>
                    </a:lnTo>
                    <a:lnTo>
                      <a:pt x="60" y="2"/>
                    </a:lnTo>
                    <a:lnTo>
                      <a:pt x="58" y="0"/>
                    </a:lnTo>
                    <a:lnTo>
                      <a:pt x="54" y="0"/>
                    </a:lnTo>
                    <a:lnTo>
                      <a:pt x="52" y="0"/>
                    </a:lnTo>
                    <a:lnTo>
                      <a:pt x="50" y="0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2" y="6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10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50" y="16"/>
                    </a:lnTo>
                    <a:lnTo>
                      <a:pt x="50" y="16"/>
                    </a:lnTo>
                    <a:lnTo>
                      <a:pt x="50" y="18"/>
                    </a:lnTo>
                    <a:lnTo>
                      <a:pt x="50" y="20"/>
                    </a:lnTo>
                    <a:lnTo>
                      <a:pt x="50" y="20"/>
                    </a:lnTo>
                    <a:lnTo>
                      <a:pt x="50" y="20"/>
                    </a:lnTo>
                    <a:lnTo>
                      <a:pt x="50" y="20"/>
                    </a:lnTo>
                    <a:lnTo>
                      <a:pt x="50" y="20"/>
                    </a:lnTo>
                    <a:lnTo>
                      <a:pt x="50" y="20"/>
                    </a:lnTo>
                    <a:lnTo>
                      <a:pt x="48" y="20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6" y="16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2" y="12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2" y="1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91" name="Freeform 336"/>
              <p:cNvSpPr>
                <a:spLocks/>
              </p:cNvSpPr>
              <p:nvPr/>
            </p:nvSpPr>
            <p:spPr bwMode="auto">
              <a:xfrm>
                <a:off x="2849" y="1290"/>
                <a:ext cx="18" cy="14"/>
              </a:xfrm>
              <a:custGeom>
                <a:avLst/>
                <a:gdLst>
                  <a:gd name="T0" fmla="*/ 6 w 18"/>
                  <a:gd name="T1" fmla="*/ 2 h 14"/>
                  <a:gd name="T2" fmla="*/ 6 w 18"/>
                  <a:gd name="T3" fmla="*/ 2 h 14"/>
                  <a:gd name="T4" fmla="*/ 4 w 18"/>
                  <a:gd name="T5" fmla="*/ 0 h 14"/>
                  <a:gd name="T6" fmla="*/ 2 w 18"/>
                  <a:gd name="T7" fmla="*/ 0 h 14"/>
                  <a:gd name="T8" fmla="*/ 2 w 18"/>
                  <a:gd name="T9" fmla="*/ 0 h 14"/>
                  <a:gd name="T10" fmla="*/ 2 w 18"/>
                  <a:gd name="T11" fmla="*/ 0 h 14"/>
                  <a:gd name="T12" fmla="*/ 0 w 18"/>
                  <a:gd name="T13" fmla="*/ 0 h 14"/>
                  <a:gd name="T14" fmla="*/ 0 w 18"/>
                  <a:gd name="T15" fmla="*/ 0 h 14"/>
                  <a:gd name="T16" fmla="*/ 0 w 18"/>
                  <a:gd name="T17" fmla="*/ 2 h 14"/>
                  <a:gd name="T18" fmla="*/ 0 w 18"/>
                  <a:gd name="T19" fmla="*/ 4 h 14"/>
                  <a:gd name="T20" fmla="*/ 2 w 18"/>
                  <a:gd name="T21" fmla="*/ 6 h 14"/>
                  <a:gd name="T22" fmla="*/ 4 w 18"/>
                  <a:gd name="T23" fmla="*/ 8 h 14"/>
                  <a:gd name="T24" fmla="*/ 4 w 18"/>
                  <a:gd name="T25" fmla="*/ 8 h 14"/>
                  <a:gd name="T26" fmla="*/ 4 w 18"/>
                  <a:gd name="T27" fmla="*/ 8 h 14"/>
                  <a:gd name="T28" fmla="*/ 6 w 18"/>
                  <a:gd name="T29" fmla="*/ 8 h 14"/>
                  <a:gd name="T30" fmla="*/ 8 w 18"/>
                  <a:gd name="T31" fmla="*/ 10 h 14"/>
                  <a:gd name="T32" fmla="*/ 8 w 18"/>
                  <a:gd name="T33" fmla="*/ 10 h 14"/>
                  <a:gd name="T34" fmla="*/ 12 w 18"/>
                  <a:gd name="T35" fmla="*/ 12 h 14"/>
                  <a:gd name="T36" fmla="*/ 12 w 18"/>
                  <a:gd name="T37" fmla="*/ 12 h 14"/>
                  <a:gd name="T38" fmla="*/ 14 w 18"/>
                  <a:gd name="T39" fmla="*/ 12 h 14"/>
                  <a:gd name="T40" fmla="*/ 16 w 18"/>
                  <a:gd name="T41" fmla="*/ 14 h 14"/>
                  <a:gd name="T42" fmla="*/ 18 w 18"/>
                  <a:gd name="T43" fmla="*/ 14 h 14"/>
                  <a:gd name="T44" fmla="*/ 18 w 18"/>
                  <a:gd name="T45" fmla="*/ 14 h 14"/>
                  <a:gd name="T46" fmla="*/ 18 w 18"/>
                  <a:gd name="T47" fmla="*/ 14 h 14"/>
                  <a:gd name="T48" fmla="*/ 18 w 18"/>
                  <a:gd name="T49" fmla="*/ 12 h 14"/>
                  <a:gd name="T50" fmla="*/ 18 w 18"/>
                  <a:gd name="T51" fmla="*/ 12 h 14"/>
                  <a:gd name="T52" fmla="*/ 18 w 18"/>
                  <a:gd name="T53" fmla="*/ 10 h 14"/>
                  <a:gd name="T54" fmla="*/ 16 w 18"/>
                  <a:gd name="T55" fmla="*/ 10 h 14"/>
                  <a:gd name="T56" fmla="*/ 14 w 18"/>
                  <a:gd name="T57" fmla="*/ 8 h 14"/>
                  <a:gd name="T58" fmla="*/ 12 w 18"/>
                  <a:gd name="T59" fmla="*/ 6 h 14"/>
                  <a:gd name="T60" fmla="*/ 10 w 18"/>
                  <a:gd name="T61" fmla="*/ 4 h 14"/>
                  <a:gd name="T62" fmla="*/ 6 w 18"/>
                  <a:gd name="T63" fmla="*/ 2 h 14"/>
                  <a:gd name="T64" fmla="*/ 6 w 18"/>
                  <a:gd name="T65" fmla="*/ 2 h 14"/>
                  <a:gd name="T66" fmla="*/ 6 w 18"/>
                  <a:gd name="T67" fmla="*/ 2 h 14"/>
                  <a:gd name="T68" fmla="*/ 6 w 18"/>
                  <a:gd name="T69" fmla="*/ 2 h 14"/>
                  <a:gd name="T70" fmla="*/ 6 w 18"/>
                  <a:gd name="T71" fmla="*/ 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8" h="14">
                    <a:moveTo>
                      <a:pt x="6" y="2"/>
                    </a:moveTo>
                    <a:lnTo>
                      <a:pt x="6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4" y="12"/>
                    </a:lnTo>
                    <a:lnTo>
                      <a:pt x="16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0"/>
                    </a:lnTo>
                    <a:lnTo>
                      <a:pt x="16" y="10"/>
                    </a:lnTo>
                    <a:lnTo>
                      <a:pt x="14" y="8"/>
                    </a:lnTo>
                    <a:lnTo>
                      <a:pt x="12" y="6"/>
                    </a:lnTo>
                    <a:lnTo>
                      <a:pt x="10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92" name="Freeform 338"/>
              <p:cNvSpPr>
                <a:spLocks/>
              </p:cNvSpPr>
              <p:nvPr/>
            </p:nvSpPr>
            <p:spPr bwMode="auto">
              <a:xfrm>
                <a:off x="2935" y="1264"/>
                <a:ext cx="22" cy="18"/>
              </a:xfrm>
              <a:custGeom>
                <a:avLst/>
                <a:gdLst>
                  <a:gd name="T0" fmla="*/ 10 w 22"/>
                  <a:gd name="T1" fmla="*/ 0 h 18"/>
                  <a:gd name="T2" fmla="*/ 10 w 22"/>
                  <a:gd name="T3" fmla="*/ 0 h 18"/>
                  <a:gd name="T4" fmla="*/ 8 w 22"/>
                  <a:gd name="T5" fmla="*/ 2 h 18"/>
                  <a:gd name="T6" fmla="*/ 8 w 22"/>
                  <a:gd name="T7" fmla="*/ 2 h 18"/>
                  <a:gd name="T8" fmla="*/ 6 w 22"/>
                  <a:gd name="T9" fmla="*/ 2 h 18"/>
                  <a:gd name="T10" fmla="*/ 4 w 22"/>
                  <a:gd name="T11" fmla="*/ 2 h 18"/>
                  <a:gd name="T12" fmla="*/ 4 w 22"/>
                  <a:gd name="T13" fmla="*/ 2 h 18"/>
                  <a:gd name="T14" fmla="*/ 2 w 22"/>
                  <a:gd name="T15" fmla="*/ 4 h 18"/>
                  <a:gd name="T16" fmla="*/ 2 w 22"/>
                  <a:gd name="T17" fmla="*/ 4 h 18"/>
                  <a:gd name="T18" fmla="*/ 0 w 22"/>
                  <a:gd name="T19" fmla="*/ 4 h 18"/>
                  <a:gd name="T20" fmla="*/ 0 w 22"/>
                  <a:gd name="T21" fmla="*/ 4 h 18"/>
                  <a:gd name="T22" fmla="*/ 2 w 22"/>
                  <a:gd name="T23" fmla="*/ 6 h 18"/>
                  <a:gd name="T24" fmla="*/ 2 w 22"/>
                  <a:gd name="T25" fmla="*/ 6 h 18"/>
                  <a:gd name="T26" fmla="*/ 4 w 22"/>
                  <a:gd name="T27" fmla="*/ 10 h 18"/>
                  <a:gd name="T28" fmla="*/ 6 w 22"/>
                  <a:gd name="T29" fmla="*/ 12 h 18"/>
                  <a:gd name="T30" fmla="*/ 6 w 22"/>
                  <a:gd name="T31" fmla="*/ 12 h 18"/>
                  <a:gd name="T32" fmla="*/ 6 w 22"/>
                  <a:gd name="T33" fmla="*/ 12 h 18"/>
                  <a:gd name="T34" fmla="*/ 4 w 22"/>
                  <a:gd name="T35" fmla="*/ 14 h 18"/>
                  <a:gd name="T36" fmla="*/ 4 w 22"/>
                  <a:gd name="T37" fmla="*/ 14 h 18"/>
                  <a:gd name="T38" fmla="*/ 2 w 22"/>
                  <a:gd name="T39" fmla="*/ 16 h 18"/>
                  <a:gd name="T40" fmla="*/ 2 w 22"/>
                  <a:gd name="T41" fmla="*/ 16 h 18"/>
                  <a:gd name="T42" fmla="*/ 2 w 22"/>
                  <a:gd name="T43" fmla="*/ 18 h 18"/>
                  <a:gd name="T44" fmla="*/ 2 w 22"/>
                  <a:gd name="T45" fmla="*/ 18 h 18"/>
                  <a:gd name="T46" fmla="*/ 2 w 22"/>
                  <a:gd name="T47" fmla="*/ 18 h 18"/>
                  <a:gd name="T48" fmla="*/ 2 w 22"/>
                  <a:gd name="T49" fmla="*/ 18 h 18"/>
                  <a:gd name="T50" fmla="*/ 4 w 22"/>
                  <a:gd name="T51" fmla="*/ 18 h 18"/>
                  <a:gd name="T52" fmla="*/ 6 w 22"/>
                  <a:gd name="T53" fmla="*/ 18 h 18"/>
                  <a:gd name="T54" fmla="*/ 8 w 22"/>
                  <a:gd name="T55" fmla="*/ 18 h 18"/>
                  <a:gd name="T56" fmla="*/ 8 w 22"/>
                  <a:gd name="T57" fmla="*/ 18 h 18"/>
                  <a:gd name="T58" fmla="*/ 12 w 22"/>
                  <a:gd name="T59" fmla="*/ 16 h 18"/>
                  <a:gd name="T60" fmla="*/ 14 w 22"/>
                  <a:gd name="T61" fmla="*/ 14 h 18"/>
                  <a:gd name="T62" fmla="*/ 14 w 22"/>
                  <a:gd name="T63" fmla="*/ 14 h 18"/>
                  <a:gd name="T64" fmla="*/ 16 w 22"/>
                  <a:gd name="T65" fmla="*/ 14 h 18"/>
                  <a:gd name="T66" fmla="*/ 16 w 22"/>
                  <a:gd name="T67" fmla="*/ 14 h 18"/>
                  <a:gd name="T68" fmla="*/ 20 w 22"/>
                  <a:gd name="T69" fmla="*/ 14 h 18"/>
                  <a:gd name="T70" fmla="*/ 20 w 22"/>
                  <a:gd name="T71" fmla="*/ 14 h 18"/>
                  <a:gd name="T72" fmla="*/ 20 w 22"/>
                  <a:gd name="T73" fmla="*/ 12 h 18"/>
                  <a:gd name="T74" fmla="*/ 22 w 22"/>
                  <a:gd name="T75" fmla="*/ 12 h 18"/>
                  <a:gd name="T76" fmla="*/ 22 w 22"/>
                  <a:gd name="T77" fmla="*/ 12 h 18"/>
                  <a:gd name="T78" fmla="*/ 22 w 22"/>
                  <a:gd name="T79" fmla="*/ 10 h 18"/>
                  <a:gd name="T80" fmla="*/ 22 w 22"/>
                  <a:gd name="T81" fmla="*/ 10 h 18"/>
                  <a:gd name="T82" fmla="*/ 22 w 22"/>
                  <a:gd name="T83" fmla="*/ 10 h 18"/>
                  <a:gd name="T84" fmla="*/ 22 w 22"/>
                  <a:gd name="T85" fmla="*/ 8 h 18"/>
                  <a:gd name="T86" fmla="*/ 22 w 22"/>
                  <a:gd name="T87" fmla="*/ 8 h 18"/>
                  <a:gd name="T88" fmla="*/ 20 w 22"/>
                  <a:gd name="T89" fmla="*/ 6 h 18"/>
                  <a:gd name="T90" fmla="*/ 18 w 22"/>
                  <a:gd name="T91" fmla="*/ 6 h 18"/>
                  <a:gd name="T92" fmla="*/ 18 w 22"/>
                  <a:gd name="T93" fmla="*/ 6 h 18"/>
                  <a:gd name="T94" fmla="*/ 18 w 22"/>
                  <a:gd name="T95" fmla="*/ 4 h 18"/>
                  <a:gd name="T96" fmla="*/ 16 w 22"/>
                  <a:gd name="T97" fmla="*/ 2 h 18"/>
                  <a:gd name="T98" fmla="*/ 12 w 22"/>
                  <a:gd name="T99" fmla="*/ 0 h 18"/>
                  <a:gd name="T100" fmla="*/ 12 w 22"/>
                  <a:gd name="T101" fmla="*/ 0 h 18"/>
                  <a:gd name="T102" fmla="*/ 10 w 22"/>
                  <a:gd name="T103" fmla="*/ 0 h 18"/>
                  <a:gd name="T104" fmla="*/ 10 w 22"/>
                  <a:gd name="T105" fmla="*/ 0 h 18"/>
                  <a:gd name="T106" fmla="*/ 10 w 22"/>
                  <a:gd name="T107" fmla="*/ 0 h 18"/>
                  <a:gd name="T108" fmla="*/ 10 w 22"/>
                  <a:gd name="T109" fmla="*/ 0 h 18"/>
                  <a:gd name="T110" fmla="*/ 10 w 22"/>
                  <a:gd name="T111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2" h="18">
                    <a:moveTo>
                      <a:pt x="10" y="0"/>
                    </a:moveTo>
                    <a:lnTo>
                      <a:pt x="10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4" y="18"/>
                    </a:lnTo>
                    <a:lnTo>
                      <a:pt x="6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6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0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93" name="Freeform 340"/>
              <p:cNvSpPr>
                <a:spLocks/>
              </p:cNvSpPr>
              <p:nvPr/>
            </p:nvSpPr>
            <p:spPr bwMode="auto">
              <a:xfrm>
                <a:off x="2943" y="1280"/>
                <a:ext cx="38" cy="26"/>
              </a:xfrm>
              <a:custGeom>
                <a:avLst/>
                <a:gdLst>
                  <a:gd name="T0" fmla="*/ 16 w 38"/>
                  <a:gd name="T1" fmla="*/ 2 h 26"/>
                  <a:gd name="T2" fmla="*/ 14 w 38"/>
                  <a:gd name="T3" fmla="*/ 2 h 26"/>
                  <a:gd name="T4" fmla="*/ 10 w 38"/>
                  <a:gd name="T5" fmla="*/ 4 h 26"/>
                  <a:gd name="T6" fmla="*/ 6 w 38"/>
                  <a:gd name="T7" fmla="*/ 6 h 26"/>
                  <a:gd name="T8" fmla="*/ 2 w 38"/>
                  <a:gd name="T9" fmla="*/ 8 h 26"/>
                  <a:gd name="T10" fmla="*/ 2 w 38"/>
                  <a:gd name="T11" fmla="*/ 8 h 26"/>
                  <a:gd name="T12" fmla="*/ 4 w 38"/>
                  <a:gd name="T13" fmla="*/ 12 h 26"/>
                  <a:gd name="T14" fmla="*/ 6 w 38"/>
                  <a:gd name="T15" fmla="*/ 16 h 26"/>
                  <a:gd name="T16" fmla="*/ 4 w 38"/>
                  <a:gd name="T17" fmla="*/ 16 h 26"/>
                  <a:gd name="T18" fmla="*/ 2 w 38"/>
                  <a:gd name="T19" fmla="*/ 18 h 26"/>
                  <a:gd name="T20" fmla="*/ 0 w 38"/>
                  <a:gd name="T21" fmla="*/ 20 h 26"/>
                  <a:gd name="T22" fmla="*/ 2 w 38"/>
                  <a:gd name="T23" fmla="*/ 22 h 26"/>
                  <a:gd name="T24" fmla="*/ 4 w 38"/>
                  <a:gd name="T25" fmla="*/ 22 h 26"/>
                  <a:gd name="T26" fmla="*/ 6 w 38"/>
                  <a:gd name="T27" fmla="*/ 24 h 26"/>
                  <a:gd name="T28" fmla="*/ 8 w 38"/>
                  <a:gd name="T29" fmla="*/ 22 h 26"/>
                  <a:gd name="T30" fmla="*/ 10 w 38"/>
                  <a:gd name="T31" fmla="*/ 22 h 26"/>
                  <a:gd name="T32" fmla="*/ 12 w 38"/>
                  <a:gd name="T33" fmla="*/ 20 h 26"/>
                  <a:gd name="T34" fmla="*/ 14 w 38"/>
                  <a:gd name="T35" fmla="*/ 22 h 26"/>
                  <a:gd name="T36" fmla="*/ 18 w 38"/>
                  <a:gd name="T37" fmla="*/ 24 h 26"/>
                  <a:gd name="T38" fmla="*/ 20 w 38"/>
                  <a:gd name="T39" fmla="*/ 26 h 26"/>
                  <a:gd name="T40" fmla="*/ 22 w 38"/>
                  <a:gd name="T41" fmla="*/ 26 h 26"/>
                  <a:gd name="T42" fmla="*/ 24 w 38"/>
                  <a:gd name="T43" fmla="*/ 22 h 26"/>
                  <a:gd name="T44" fmla="*/ 26 w 38"/>
                  <a:gd name="T45" fmla="*/ 20 h 26"/>
                  <a:gd name="T46" fmla="*/ 28 w 38"/>
                  <a:gd name="T47" fmla="*/ 20 h 26"/>
                  <a:gd name="T48" fmla="*/ 28 w 38"/>
                  <a:gd name="T49" fmla="*/ 20 h 26"/>
                  <a:gd name="T50" fmla="*/ 30 w 38"/>
                  <a:gd name="T51" fmla="*/ 18 h 26"/>
                  <a:gd name="T52" fmla="*/ 32 w 38"/>
                  <a:gd name="T53" fmla="*/ 16 h 26"/>
                  <a:gd name="T54" fmla="*/ 34 w 38"/>
                  <a:gd name="T55" fmla="*/ 16 h 26"/>
                  <a:gd name="T56" fmla="*/ 38 w 38"/>
                  <a:gd name="T57" fmla="*/ 14 h 26"/>
                  <a:gd name="T58" fmla="*/ 38 w 38"/>
                  <a:gd name="T59" fmla="*/ 12 h 26"/>
                  <a:gd name="T60" fmla="*/ 38 w 38"/>
                  <a:gd name="T61" fmla="*/ 10 h 26"/>
                  <a:gd name="T62" fmla="*/ 34 w 38"/>
                  <a:gd name="T63" fmla="*/ 10 h 26"/>
                  <a:gd name="T64" fmla="*/ 32 w 38"/>
                  <a:gd name="T65" fmla="*/ 8 h 26"/>
                  <a:gd name="T66" fmla="*/ 30 w 38"/>
                  <a:gd name="T67" fmla="*/ 6 h 26"/>
                  <a:gd name="T68" fmla="*/ 26 w 38"/>
                  <a:gd name="T69" fmla="*/ 2 h 26"/>
                  <a:gd name="T70" fmla="*/ 22 w 38"/>
                  <a:gd name="T71" fmla="*/ 0 h 26"/>
                  <a:gd name="T72" fmla="*/ 22 w 38"/>
                  <a:gd name="T73" fmla="*/ 0 h 26"/>
                  <a:gd name="T74" fmla="*/ 20 w 38"/>
                  <a:gd name="T75" fmla="*/ 2 h 26"/>
                  <a:gd name="T76" fmla="*/ 20 w 38"/>
                  <a:gd name="T77" fmla="*/ 2 h 26"/>
                  <a:gd name="T78" fmla="*/ 18 w 38"/>
                  <a:gd name="T79" fmla="*/ 2 h 26"/>
                  <a:gd name="T80" fmla="*/ 16 w 38"/>
                  <a:gd name="T81" fmla="*/ 2 h 26"/>
                  <a:gd name="T82" fmla="*/ 16 w 38"/>
                  <a:gd name="T83" fmla="*/ 2 h 26"/>
                  <a:gd name="T84" fmla="*/ 16 w 38"/>
                  <a:gd name="T85" fmla="*/ 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8" h="26">
                    <a:moveTo>
                      <a:pt x="16" y="2"/>
                    </a:moveTo>
                    <a:lnTo>
                      <a:pt x="16" y="2"/>
                    </a:lnTo>
                    <a:lnTo>
                      <a:pt x="16" y="2"/>
                    </a:lnTo>
                    <a:lnTo>
                      <a:pt x="14" y="2"/>
                    </a:lnTo>
                    <a:lnTo>
                      <a:pt x="12" y="2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6" y="6"/>
                    </a:lnTo>
                    <a:lnTo>
                      <a:pt x="4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10"/>
                    </a:lnTo>
                    <a:lnTo>
                      <a:pt x="4" y="12"/>
                    </a:lnTo>
                    <a:lnTo>
                      <a:pt x="6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2" y="18"/>
                    </a:lnTo>
                    <a:lnTo>
                      <a:pt x="0" y="18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4" y="22"/>
                    </a:lnTo>
                    <a:lnTo>
                      <a:pt x="6" y="24"/>
                    </a:lnTo>
                    <a:lnTo>
                      <a:pt x="6" y="24"/>
                    </a:lnTo>
                    <a:lnTo>
                      <a:pt x="6" y="24"/>
                    </a:lnTo>
                    <a:lnTo>
                      <a:pt x="8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4" y="20"/>
                    </a:lnTo>
                    <a:lnTo>
                      <a:pt x="14" y="22"/>
                    </a:lnTo>
                    <a:lnTo>
                      <a:pt x="16" y="22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2" y="26"/>
                    </a:lnTo>
                    <a:lnTo>
                      <a:pt x="22" y="24"/>
                    </a:lnTo>
                    <a:lnTo>
                      <a:pt x="24" y="22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8" y="20"/>
                    </a:lnTo>
                    <a:lnTo>
                      <a:pt x="28" y="20"/>
                    </a:lnTo>
                    <a:lnTo>
                      <a:pt x="28" y="20"/>
                    </a:lnTo>
                    <a:lnTo>
                      <a:pt x="28" y="20"/>
                    </a:lnTo>
                    <a:lnTo>
                      <a:pt x="30" y="18"/>
                    </a:lnTo>
                    <a:lnTo>
                      <a:pt x="30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4" y="16"/>
                    </a:lnTo>
                    <a:lnTo>
                      <a:pt x="36" y="16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2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6" y="10"/>
                    </a:lnTo>
                    <a:lnTo>
                      <a:pt x="34" y="10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0" y="8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26" y="2"/>
                    </a:lnTo>
                    <a:lnTo>
                      <a:pt x="24" y="2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94" name="Freeform 342"/>
              <p:cNvSpPr>
                <a:spLocks/>
              </p:cNvSpPr>
              <p:nvPr/>
            </p:nvSpPr>
            <p:spPr bwMode="auto">
              <a:xfrm>
                <a:off x="2907" y="1206"/>
                <a:ext cx="102" cy="46"/>
              </a:xfrm>
              <a:custGeom>
                <a:avLst/>
                <a:gdLst>
                  <a:gd name="T0" fmla="*/ 28 w 102"/>
                  <a:gd name="T1" fmla="*/ 4 h 46"/>
                  <a:gd name="T2" fmla="*/ 24 w 102"/>
                  <a:gd name="T3" fmla="*/ 0 h 46"/>
                  <a:gd name="T4" fmla="*/ 18 w 102"/>
                  <a:gd name="T5" fmla="*/ 2 h 46"/>
                  <a:gd name="T6" fmla="*/ 12 w 102"/>
                  <a:gd name="T7" fmla="*/ 12 h 46"/>
                  <a:gd name="T8" fmla="*/ 16 w 102"/>
                  <a:gd name="T9" fmla="*/ 16 h 46"/>
                  <a:gd name="T10" fmla="*/ 18 w 102"/>
                  <a:gd name="T11" fmla="*/ 20 h 46"/>
                  <a:gd name="T12" fmla="*/ 14 w 102"/>
                  <a:gd name="T13" fmla="*/ 22 h 46"/>
                  <a:gd name="T14" fmla="*/ 6 w 102"/>
                  <a:gd name="T15" fmla="*/ 18 h 46"/>
                  <a:gd name="T16" fmla="*/ 2 w 102"/>
                  <a:gd name="T17" fmla="*/ 20 h 46"/>
                  <a:gd name="T18" fmla="*/ 2 w 102"/>
                  <a:gd name="T19" fmla="*/ 26 h 46"/>
                  <a:gd name="T20" fmla="*/ 8 w 102"/>
                  <a:gd name="T21" fmla="*/ 30 h 46"/>
                  <a:gd name="T22" fmla="*/ 6 w 102"/>
                  <a:gd name="T23" fmla="*/ 34 h 46"/>
                  <a:gd name="T24" fmla="*/ 8 w 102"/>
                  <a:gd name="T25" fmla="*/ 42 h 46"/>
                  <a:gd name="T26" fmla="*/ 12 w 102"/>
                  <a:gd name="T27" fmla="*/ 40 h 46"/>
                  <a:gd name="T28" fmla="*/ 22 w 102"/>
                  <a:gd name="T29" fmla="*/ 34 h 46"/>
                  <a:gd name="T30" fmla="*/ 28 w 102"/>
                  <a:gd name="T31" fmla="*/ 32 h 46"/>
                  <a:gd name="T32" fmla="*/ 40 w 102"/>
                  <a:gd name="T33" fmla="*/ 30 h 46"/>
                  <a:gd name="T34" fmla="*/ 44 w 102"/>
                  <a:gd name="T35" fmla="*/ 32 h 46"/>
                  <a:gd name="T36" fmla="*/ 42 w 102"/>
                  <a:gd name="T37" fmla="*/ 36 h 46"/>
                  <a:gd name="T38" fmla="*/ 30 w 102"/>
                  <a:gd name="T39" fmla="*/ 38 h 46"/>
                  <a:gd name="T40" fmla="*/ 26 w 102"/>
                  <a:gd name="T41" fmla="*/ 40 h 46"/>
                  <a:gd name="T42" fmla="*/ 28 w 102"/>
                  <a:gd name="T43" fmla="*/ 44 h 46"/>
                  <a:gd name="T44" fmla="*/ 38 w 102"/>
                  <a:gd name="T45" fmla="*/ 42 h 46"/>
                  <a:gd name="T46" fmla="*/ 44 w 102"/>
                  <a:gd name="T47" fmla="*/ 44 h 46"/>
                  <a:gd name="T48" fmla="*/ 48 w 102"/>
                  <a:gd name="T49" fmla="*/ 46 h 46"/>
                  <a:gd name="T50" fmla="*/ 62 w 102"/>
                  <a:gd name="T51" fmla="*/ 46 h 46"/>
                  <a:gd name="T52" fmla="*/ 66 w 102"/>
                  <a:gd name="T53" fmla="*/ 42 h 46"/>
                  <a:gd name="T54" fmla="*/ 68 w 102"/>
                  <a:gd name="T55" fmla="*/ 40 h 46"/>
                  <a:gd name="T56" fmla="*/ 74 w 102"/>
                  <a:gd name="T57" fmla="*/ 42 h 46"/>
                  <a:gd name="T58" fmla="*/ 84 w 102"/>
                  <a:gd name="T59" fmla="*/ 42 h 46"/>
                  <a:gd name="T60" fmla="*/ 88 w 102"/>
                  <a:gd name="T61" fmla="*/ 38 h 46"/>
                  <a:gd name="T62" fmla="*/ 88 w 102"/>
                  <a:gd name="T63" fmla="*/ 36 h 46"/>
                  <a:gd name="T64" fmla="*/ 94 w 102"/>
                  <a:gd name="T65" fmla="*/ 34 h 46"/>
                  <a:gd name="T66" fmla="*/ 98 w 102"/>
                  <a:gd name="T67" fmla="*/ 28 h 46"/>
                  <a:gd name="T68" fmla="*/ 100 w 102"/>
                  <a:gd name="T69" fmla="*/ 22 h 46"/>
                  <a:gd name="T70" fmla="*/ 96 w 102"/>
                  <a:gd name="T71" fmla="*/ 18 h 46"/>
                  <a:gd name="T72" fmla="*/ 78 w 102"/>
                  <a:gd name="T73" fmla="*/ 10 h 46"/>
                  <a:gd name="T74" fmla="*/ 74 w 102"/>
                  <a:gd name="T75" fmla="*/ 10 h 46"/>
                  <a:gd name="T76" fmla="*/ 72 w 102"/>
                  <a:gd name="T77" fmla="*/ 16 h 46"/>
                  <a:gd name="T78" fmla="*/ 70 w 102"/>
                  <a:gd name="T79" fmla="*/ 14 h 46"/>
                  <a:gd name="T80" fmla="*/ 62 w 102"/>
                  <a:gd name="T81" fmla="*/ 12 h 46"/>
                  <a:gd name="T82" fmla="*/ 58 w 102"/>
                  <a:gd name="T83" fmla="*/ 10 h 46"/>
                  <a:gd name="T84" fmla="*/ 50 w 102"/>
                  <a:gd name="T85" fmla="*/ 6 h 46"/>
                  <a:gd name="T86" fmla="*/ 48 w 102"/>
                  <a:gd name="T87" fmla="*/ 10 h 46"/>
                  <a:gd name="T88" fmla="*/ 50 w 102"/>
                  <a:gd name="T89" fmla="*/ 20 h 46"/>
                  <a:gd name="T90" fmla="*/ 48 w 102"/>
                  <a:gd name="T91" fmla="*/ 24 h 46"/>
                  <a:gd name="T92" fmla="*/ 44 w 102"/>
                  <a:gd name="T93" fmla="*/ 20 h 46"/>
                  <a:gd name="T94" fmla="*/ 40 w 102"/>
                  <a:gd name="T95" fmla="*/ 18 h 46"/>
                  <a:gd name="T96" fmla="*/ 36 w 102"/>
                  <a:gd name="T97" fmla="*/ 16 h 46"/>
                  <a:gd name="T98" fmla="*/ 30 w 102"/>
                  <a:gd name="T99" fmla="*/ 14 h 46"/>
                  <a:gd name="T100" fmla="*/ 26 w 102"/>
                  <a:gd name="T101" fmla="*/ 8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02" h="46">
                    <a:moveTo>
                      <a:pt x="26" y="8"/>
                    </a:moveTo>
                    <a:lnTo>
                      <a:pt x="26" y="8"/>
                    </a:lnTo>
                    <a:lnTo>
                      <a:pt x="26" y="6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4" y="0"/>
                    </a:lnTo>
                    <a:lnTo>
                      <a:pt x="22" y="0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6" y="4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4" y="10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4" y="14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20" y="20"/>
                    </a:lnTo>
                    <a:lnTo>
                      <a:pt x="18" y="20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6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0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6" y="18"/>
                    </a:lnTo>
                    <a:lnTo>
                      <a:pt x="4" y="18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2" y="20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6" y="28"/>
                    </a:lnTo>
                    <a:lnTo>
                      <a:pt x="6" y="28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2"/>
                    </a:lnTo>
                    <a:lnTo>
                      <a:pt x="6" y="32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6" y="36"/>
                    </a:lnTo>
                    <a:lnTo>
                      <a:pt x="6" y="38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2" y="42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6" y="38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6" y="32"/>
                    </a:lnTo>
                    <a:lnTo>
                      <a:pt x="28" y="32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40" y="30"/>
                    </a:lnTo>
                    <a:lnTo>
                      <a:pt x="42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2" y="36"/>
                    </a:lnTo>
                    <a:lnTo>
                      <a:pt x="40" y="36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2" y="36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28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8" y="42"/>
                    </a:lnTo>
                    <a:lnTo>
                      <a:pt x="28" y="44"/>
                    </a:lnTo>
                    <a:lnTo>
                      <a:pt x="32" y="44"/>
                    </a:lnTo>
                    <a:lnTo>
                      <a:pt x="32" y="44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40" y="42"/>
                    </a:lnTo>
                    <a:lnTo>
                      <a:pt x="42" y="42"/>
                    </a:lnTo>
                    <a:lnTo>
                      <a:pt x="42" y="44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46" y="46"/>
                    </a:lnTo>
                    <a:lnTo>
                      <a:pt x="46" y="46"/>
                    </a:lnTo>
                    <a:lnTo>
                      <a:pt x="46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56" y="46"/>
                    </a:lnTo>
                    <a:lnTo>
                      <a:pt x="56" y="46"/>
                    </a:lnTo>
                    <a:lnTo>
                      <a:pt x="60" y="46"/>
                    </a:lnTo>
                    <a:lnTo>
                      <a:pt x="62" y="46"/>
                    </a:lnTo>
                    <a:lnTo>
                      <a:pt x="64" y="46"/>
                    </a:lnTo>
                    <a:lnTo>
                      <a:pt x="64" y="46"/>
                    </a:lnTo>
                    <a:lnTo>
                      <a:pt x="64" y="46"/>
                    </a:lnTo>
                    <a:lnTo>
                      <a:pt x="66" y="44"/>
                    </a:lnTo>
                    <a:lnTo>
                      <a:pt x="66" y="42"/>
                    </a:lnTo>
                    <a:lnTo>
                      <a:pt x="66" y="42"/>
                    </a:lnTo>
                    <a:lnTo>
                      <a:pt x="66" y="40"/>
                    </a:lnTo>
                    <a:lnTo>
                      <a:pt x="66" y="40"/>
                    </a:lnTo>
                    <a:lnTo>
                      <a:pt x="66" y="40"/>
                    </a:lnTo>
                    <a:lnTo>
                      <a:pt x="68" y="40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2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8" y="42"/>
                    </a:lnTo>
                    <a:lnTo>
                      <a:pt x="82" y="42"/>
                    </a:lnTo>
                    <a:lnTo>
                      <a:pt x="82" y="42"/>
                    </a:lnTo>
                    <a:lnTo>
                      <a:pt x="84" y="42"/>
                    </a:lnTo>
                    <a:lnTo>
                      <a:pt x="86" y="42"/>
                    </a:lnTo>
                    <a:lnTo>
                      <a:pt x="88" y="40"/>
                    </a:lnTo>
                    <a:lnTo>
                      <a:pt x="88" y="40"/>
                    </a:lnTo>
                    <a:lnTo>
                      <a:pt x="88" y="40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6"/>
                    </a:lnTo>
                    <a:lnTo>
                      <a:pt x="88" y="36"/>
                    </a:lnTo>
                    <a:lnTo>
                      <a:pt x="88" y="36"/>
                    </a:lnTo>
                    <a:lnTo>
                      <a:pt x="88" y="36"/>
                    </a:lnTo>
                    <a:lnTo>
                      <a:pt x="90" y="36"/>
                    </a:lnTo>
                    <a:lnTo>
                      <a:pt x="90" y="34"/>
                    </a:lnTo>
                    <a:lnTo>
                      <a:pt x="92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2"/>
                    </a:lnTo>
                    <a:lnTo>
                      <a:pt x="96" y="30"/>
                    </a:lnTo>
                    <a:lnTo>
                      <a:pt x="96" y="30"/>
                    </a:lnTo>
                    <a:lnTo>
                      <a:pt x="98" y="28"/>
                    </a:lnTo>
                    <a:lnTo>
                      <a:pt x="100" y="26"/>
                    </a:lnTo>
                    <a:lnTo>
                      <a:pt x="100" y="24"/>
                    </a:lnTo>
                    <a:lnTo>
                      <a:pt x="102" y="24"/>
                    </a:lnTo>
                    <a:lnTo>
                      <a:pt x="102" y="22"/>
                    </a:lnTo>
                    <a:lnTo>
                      <a:pt x="100" y="22"/>
                    </a:lnTo>
                    <a:lnTo>
                      <a:pt x="100" y="22"/>
                    </a:lnTo>
                    <a:lnTo>
                      <a:pt x="100" y="20"/>
                    </a:lnTo>
                    <a:lnTo>
                      <a:pt x="100" y="18"/>
                    </a:lnTo>
                    <a:lnTo>
                      <a:pt x="98" y="18"/>
                    </a:lnTo>
                    <a:lnTo>
                      <a:pt x="96" y="18"/>
                    </a:lnTo>
                    <a:lnTo>
                      <a:pt x="94" y="16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86" y="12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76" y="8"/>
                    </a:lnTo>
                    <a:lnTo>
                      <a:pt x="74" y="8"/>
                    </a:lnTo>
                    <a:lnTo>
                      <a:pt x="74" y="10"/>
                    </a:lnTo>
                    <a:lnTo>
                      <a:pt x="74" y="10"/>
                    </a:lnTo>
                    <a:lnTo>
                      <a:pt x="72" y="12"/>
                    </a:lnTo>
                    <a:lnTo>
                      <a:pt x="72" y="14"/>
                    </a:lnTo>
                    <a:lnTo>
                      <a:pt x="72" y="14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0" y="16"/>
                    </a:lnTo>
                    <a:lnTo>
                      <a:pt x="70" y="16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6" y="12"/>
                    </a:lnTo>
                    <a:lnTo>
                      <a:pt x="64" y="12"/>
                    </a:lnTo>
                    <a:lnTo>
                      <a:pt x="62" y="12"/>
                    </a:lnTo>
                    <a:lnTo>
                      <a:pt x="62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58" y="10"/>
                    </a:lnTo>
                    <a:lnTo>
                      <a:pt x="58" y="10"/>
                    </a:lnTo>
                    <a:lnTo>
                      <a:pt x="56" y="10"/>
                    </a:lnTo>
                    <a:lnTo>
                      <a:pt x="56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0" y="6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10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50" y="16"/>
                    </a:lnTo>
                    <a:lnTo>
                      <a:pt x="50" y="20"/>
                    </a:lnTo>
                    <a:lnTo>
                      <a:pt x="50" y="20"/>
                    </a:lnTo>
                    <a:lnTo>
                      <a:pt x="50" y="22"/>
                    </a:lnTo>
                    <a:lnTo>
                      <a:pt x="48" y="22"/>
                    </a:lnTo>
                    <a:lnTo>
                      <a:pt x="48" y="24"/>
                    </a:lnTo>
                    <a:lnTo>
                      <a:pt x="48" y="24"/>
                    </a:lnTo>
                    <a:lnTo>
                      <a:pt x="48" y="24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2" y="18"/>
                    </a:lnTo>
                    <a:lnTo>
                      <a:pt x="40" y="18"/>
                    </a:lnTo>
                    <a:lnTo>
                      <a:pt x="40" y="18"/>
                    </a:lnTo>
                    <a:lnTo>
                      <a:pt x="40" y="18"/>
                    </a:lnTo>
                    <a:lnTo>
                      <a:pt x="40" y="16"/>
                    </a:lnTo>
                    <a:lnTo>
                      <a:pt x="38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4" y="16"/>
                    </a:lnTo>
                    <a:lnTo>
                      <a:pt x="32" y="16"/>
                    </a:lnTo>
                    <a:lnTo>
                      <a:pt x="30" y="16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28" y="14"/>
                    </a:lnTo>
                    <a:lnTo>
                      <a:pt x="26" y="12"/>
                    </a:lnTo>
                    <a:lnTo>
                      <a:pt x="26" y="10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95" name="Freeform 344"/>
              <p:cNvSpPr>
                <a:spLocks/>
              </p:cNvSpPr>
              <p:nvPr/>
            </p:nvSpPr>
            <p:spPr bwMode="auto">
              <a:xfrm>
                <a:off x="3011" y="1250"/>
                <a:ext cx="20" cy="14"/>
              </a:xfrm>
              <a:custGeom>
                <a:avLst/>
                <a:gdLst>
                  <a:gd name="T0" fmla="*/ 2 w 20"/>
                  <a:gd name="T1" fmla="*/ 6 h 14"/>
                  <a:gd name="T2" fmla="*/ 2 w 20"/>
                  <a:gd name="T3" fmla="*/ 6 h 14"/>
                  <a:gd name="T4" fmla="*/ 0 w 20"/>
                  <a:gd name="T5" fmla="*/ 6 h 14"/>
                  <a:gd name="T6" fmla="*/ 0 w 20"/>
                  <a:gd name="T7" fmla="*/ 10 h 14"/>
                  <a:gd name="T8" fmla="*/ 0 w 20"/>
                  <a:gd name="T9" fmla="*/ 10 h 14"/>
                  <a:gd name="T10" fmla="*/ 0 w 20"/>
                  <a:gd name="T11" fmla="*/ 12 h 14"/>
                  <a:gd name="T12" fmla="*/ 0 w 20"/>
                  <a:gd name="T13" fmla="*/ 12 h 14"/>
                  <a:gd name="T14" fmla="*/ 0 w 20"/>
                  <a:gd name="T15" fmla="*/ 14 h 14"/>
                  <a:gd name="T16" fmla="*/ 0 w 20"/>
                  <a:gd name="T17" fmla="*/ 14 h 14"/>
                  <a:gd name="T18" fmla="*/ 2 w 20"/>
                  <a:gd name="T19" fmla="*/ 14 h 14"/>
                  <a:gd name="T20" fmla="*/ 4 w 20"/>
                  <a:gd name="T21" fmla="*/ 14 h 14"/>
                  <a:gd name="T22" fmla="*/ 4 w 20"/>
                  <a:gd name="T23" fmla="*/ 14 h 14"/>
                  <a:gd name="T24" fmla="*/ 6 w 20"/>
                  <a:gd name="T25" fmla="*/ 14 h 14"/>
                  <a:gd name="T26" fmla="*/ 6 w 20"/>
                  <a:gd name="T27" fmla="*/ 10 h 14"/>
                  <a:gd name="T28" fmla="*/ 8 w 20"/>
                  <a:gd name="T29" fmla="*/ 8 h 14"/>
                  <a:gd name="T30" fmla="*/ 8 w 20"/>
                  <a:gd name="T31" fmla="*/ 8 h 14"/>
                  <a:gd name="T32" fmla="*/ 10 w 20"/>
                  <a:gd name="T33" fmla="*/ 8 h 14"/>
                  <a:gd name="T34" fmla="*/ 10 w 20"/>
                  <a:gd name="T35" fmla="*/ 8 h 14"/>
                  <a:gd name="T36" fmla="*/ 14 w 20"/>
                  <a:gd name="T37" fmla="*/ 8 h 14"/>
                  <a:gd name="T38" fmla="*/ 14 w 20"/>
                  <a:gd name="T39" fmla="*/ 8 h 14"/>
                  <a:gd name="T40" fmla="*/ 14 w 20"/>
                  <a:gd name="T41" fmla="*/ 8 h 14"/>
                  <a:gd name="T42" fmla="*/ 16 w 20"/>
                  <a:gd name="T43" fmla="*/ 8 h 14"/>
                  <a:gd name="T44" fmla="*/ 18 w 20"/>
                  <a:gd name="T45" fmla="*/ 8 h 14"/>
                  <a:gd name="T46" fmla="*/ 18 w 20"/>
                  <a:gd name="T47" fmla="*/ 8 h 14"/>
                  <a:gd name="T48" fmla="*/ 18 w 20"/>
                  <a:gd name="T49" fmla="*/ 8 h 14"/>
                  <a:gd name="T50" fmla="*/ 20 w 20"/>
                  <a:gd name="T51" fmla="*/ 6 h 14"/>
                  <a:gd name="T52" fmla="*/ 20 w 20"/>
                  <a:gd name="T53" fmla="*/ 6 h 14"/>
                  <a:gd name="T54" fmla="*/ 20 w 20"/>
                  <a:gd name="T55" fmla="*/ 4 h 14"/>
                  <a:gd name="T56" fmla="*/ 18 w 20"/>
                  <a:gd name="T57" fmla="*/ 2 h 14"/>
                  <a:gd name="T58" fmla="*/ 16 w 20"/>
                  <a:gd name="T59" fmla="*/ 2 h 14"/>
                  <a:gd name="T60" fmla="*/ 16 w 20"/>
                  <a:gd name="T61" fmla="*/ 2 h 14"/>
                  <a:gd name="T62" fmla="*/ 14 w 20"/>
                  <a:gd name="T63" fmla="*/ 0 h 14"/>
                  <a:gd name="T64" fmla="*/ 14 w 20"/>
                  <a:gd name="T65" fmla="*/ 0 h 14"/>
                  <a:gd name="T66" fmla="*/ 12 w 20"/>
                  <a:gd name="T67" fmla="*/ 2 h 14"/>
                  <a:gd name="T68" fmla="*/ 12 w 20"/>
                  <a:gd name="T69" fmla="*/ 2 h 14"/>
                  <a:gd name="T70" fmla="*/ 6 w 20"/>
                  <a:gd name="T71" fmla="*/ 4 h 14"/>
                  <a:gd name="T72" fmla="*/ 2 w 20"/>
                  <a:gd name="T73" fmla="*/ 6 h 14"/>
                  <a:gd name="T74" fmla="*/ 2 w 20"/>
                  <a:gd name="T75" fmla="*/ 6 h 14"/>
                  <a:gd name="T76" fmla="*/ 2 w 20"/>
                  <a:gd name="T77" fmla="*/ 6 h 14"/>
                  <a:gd name="T78" fmla="*/ 2 w 20"/>
                  <a:gd name="T79" fmla="*/ 6 h 14"/>
                  <a:gd name="T80" fmla="*/ 2 w 20"/>
                  <a:gd name="T81" fmla="*/ 6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0" h="14">
                    <a:moveTo>
                      <a:pt x="2" y="6"/>
                    </a:moveTo>
                    <a:lnTo>
                      <a:pt x="2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4"/>
                    </a:lnTo>
                    <a:lnTo>
                      <a:pt x="6" y="10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6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4"/>
                    </a:lnTo>
                    <a:lnTo>
                      <a:pt x="18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96" name="Freeform 346"/>
              <p:cNvSpPr>
                <a:spLocks/>
              </p:cNvSpPr>
              <p:nvPr/>
            </p:nvSpPr>
            <p:spPr bwMode="auto">
              <a:xfrm>
                <a:off x="3041" y="1210"/>
                <a:ext cx="20" cy="14"/>
              </a:xfrm>
              <a:custGeom>
                <a:avLst/>
                <a:gdLst>
                  <a:gd name="T0" fmla="*/ 2 w 20"/>
                  <a:gd name="T1" fmla="*/ 10 h 14"/>
                  <a:gd name="T2" fmla="*/ 2 w 20"/>
                  <a:gd name="T3" fmla="*/ 10 h 14"/>
                  <a:gd name="T4" fmla="*/ 2 w 20"/>
                  <a:gd name="T5" fmla="*/ 12 h 14"/>
                  <a:gd name="T6" fmla="*/ 0 w 20"/>
                  <a:gd name="T7" fmla="*/ 12 h 14"/>
                  <a:gd name="T8" fmla="*/ 2 w 20"/>
                  <a:gd name="T9" fmla="*/ 14 h 14"/>
                  <a:gd name="T10" fmla="*/ 2 w 20"/>
                  <a:gd name="T11" fmla="*/ 14 h 14"/>
                  <a:gd name="T12" fmla="*/ 2 w 20"/>
                  <a:gd name="T13" fmla="*/ 14 h 14"/>
                  <a:gd name="T14" fmla="*/ 4 w 20"/>
                  <a:gd name="T15" fmla="*/ 14 h 14"/>
                  <a:gd name="T16" fmla="*/ 4 w 20"/>
                  <a:gd name="T17" fmla="*/ 14 h 14"/>
                  <a:gd name="T18" fmla="*/ 6 w 20"/>
                  <a:gd name="T19" fmla="*/ 14 h 14"/>
                  <a:gd name="T20" fmla="*/ 6 w 20"/>
                  <a:gd name="T21" fmla="*/ 14 h 14"/>
                  <a:gd name="T22" fmla="*/ 8 w 20"/>
                  <a:gd name="T23" fmla="*/ 10 h 14"/>
                  <a:gd name="T24" fmla="*/ 8 w 20"/>
                  <a:gd name="T25" fmla="*/ 10 h 14"/>
                  <a:gd name="T26" fmla="*/ 12 w 20"/>
                  <a:gd name="T27" fmla="*/ 8 h 14"/>
                  <a:gd name="T28" fmla="*/ 14 w 20"/>
                  <a:gd name="T29" fmla="*/ 8 h 14"/>
                  <a:gd name="T30" fmla="*/ 14 w 20"/>
                  <a:gd name="T31" fmla="*/ 8 h 14"/>
                  <a:gd name="T32" fmla="*/ 18 w 20"/>
                  <a:gd name="T33" fmla="*/ 6 h 14"/>
                  <a:gd name="T34" fmla="*/ 18 w 20"/>
                  <a:gd name="T35" fmla="*/ 6 h 14"/>
                  <a:gd name="T36" fmla="*/ 20 w 20"/>
                  <a:gd name="T37" fmla="*/ 4 h 14"/>
                  <a:gd name="T38" fmla="*/ 20 w 20"/>
                  <a:gd name="T39" fmla="*/ 4 h 14"/>
                  <a:gd name="T40" fmla="*/ 20 w 20"/>
                  <a:gd name="T41" fmla="*/ 2 h 14"/>
                  <a:gd name="T42" fmla="*/ 20 w 20"/>
                  <a:gd name="T43" fmla="*/ 2 h 14"/>
                  <a:gd name="T44" fmla="*/ 20 w 20"/>
                  <a:gd name="T45" fmla="*/ 0 h 14"/>
                  <a:gd name="T46" fmla="*/ 20 w 20"/>
                  <a:gd name="T47" fmla="*/ 0 h 14"/>
                  <a:gd name="T48" fmla="*/ 18 w 20"/>
                  <a:gd name="T49" fmla="*/ 0 h 14"/>
                  <a:gd name="T50" fmla="*/ 16 w 20"/>
                  <a:gd name="T51" fmla="*/ 0 h 14"/>
                  <a:gd name="T52" fmla="*/ 14 w 20"/>
                  <a:gd name="T53" fmla="*/ 0 h 14"/>
                  <a:gd name="T54" fmla="*/ 14 w 20"/>
                  <a:gd name="T55" fmla="*/ 0 h 14"/>
                  <a:gd name="T56" fmla="*/ 12 w 20"/>
                  <a:gd name="T57" fmla="*/ 0 h 14"/>
                  <a:gd name="T58" fmla="*/ 10 w 20"/>
                  <a:gd name="T59" fmla="*/ 2 h 14"/>
                  <a:gd name="T60" fmla="*/ 8 w 20"/>
                  <a:gd name="T61" fmla="*/ 4 h 14"/>
                  <a:gd name="T62" fmla="*/ 4 w 20"/>
                  <a:gd name="T63" fmla="*/ 6 h 14"/>
                  <a:gd name="T64" fmla="*/ 2 w 20"/>
                  <a:gd name="T65" fmla="*/ 10 h 14"/>
                  <a:gd name="T66" fmla="*/ 2 w 20"/>
                  <a:gd name="T67" fmla="*/ 10 h 14"/>
                  <a:gd name="T68" fmla="*/ 2 w 20"/>
                  <a:gd name="T69" fmla="*/ 10 h 14"/>
                  <a:gd name="T70" fmla="*/ 2 w 20"/>
                  <a:gd name="T71" fmla="*/ 10 h 14"/>
                  <a:gd name="T72" fmla="*/ 2 w 20"/>
                  <a:gd name="T73" fmla="*/ 1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0" h="14">
                    <a:moveTo>
                      <a:pt x="2" y="10"/>
                    </a:moveTo>
                    <a:lnTo>
                      <a:pt x="2" y="10"/>
                    </a:lnTo>
                    <a:lnTo>
                      <a:pt x="2" y="12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2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0" y="2"/>
                    </a:lnTo>
                    <a:lnTo>
                      <a:pt x="8" y="4"/>
                    </a:lnTo>
                    <a:lnTo>
                      <a:pt x="4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1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97" name="Freeform 348"/>
              <p:cNvSpPr>
                <a:spLocks/>
              </p:cNvSpPr>
              <p:nvPr/>
            </p:nvSpPr>
            <p:spPr bwMode="auto">
              <a:xfrm>
                <a:off x="2779" y="1468"/>
                <a:ext cx="302" cy="324"/>
              </a:xfrm>
              <a:custGeom>
                <a:avLst/>
                <a:gdLst>
                  <a:gd name="T0" fmla="*/ 100 w 302"/>
                  <a:gd name="T1" fmla="*/ 272 h 324"/>
                  <a:gd name="T2" fmla="*/ 104 w 302"/>
                  <a:gd name="T3" fmla="*/ 244 h 324"/>
                  <a:gd name="T4" fmla="*/ 98 w 302"/>
                  <a:gd name="T5" fmla="*/ 188 h 324"/>
                  <a:gd name="T6" fmla="*/ 118 w 302"/>
                  <a:gd name="T7" fmla="*/ 172 h 324"/>
                  <a:gd name="T8" fmla="*/ 122 w 302"/>
                  <a:gd name="T9" fmla="*/ 132 h 324"/>
                  <a:gd name="T10" fmla="*/ 140 w 302"/>
                  <a:gd name="T11" fmla="*/ 94 h 324"/>
                  <a:gd name="T12" fmla="*/ 154 w 302"/>
                  <a:gd name="T13" fmla="*/ 70 h 324"/>
                  <a:gd name="T14" fmla="*/ 182 w 302"/>
                  <a:gd name="T15" fmla="*/ 64 h 324"/>
                  <a:gd name="T16" fmla="*/ 198 w 302"/>
                  <a:gd name="T17" fmla="*/ 48 h 324"/>
                  <a:gd name="T18" fmla="*/ 242 w 302"/>
                  <a:gd name="T19" fmla="*/ 58 h 324"/>
                  <a:gd name="T20" fmla="*/ 248 w 302"/>
                  <a:gd name="T21" fmla="*/ 30 h 324"/>
                  <a:gd name="T22" fmla="*/ 276 w 302"/>
                  <a:gd name="T23" fmla="*/ 30 h 324"/>
                  <a:gd name="T24" fmla="*/ 290 w 302"/>
                  <a:gd name="T25" fmla="*/ 54 h 324"/>
                  <a:gd name="T26" fmla="*/ 294 w 302"/>
                  <a:gd name="T27" fmla="*/ 24 h 324"/>
                  <a:gd name="T28" fmla="*/ 290 w 302"/>
                  <a:gd name="T29" fmla="*/ 20 h 324"/>
                  <a:gd name="T30" fmla="*/ 288 w 302"/>
                  <a:gd name="T31" fmla="*/ 8 h 324"/>
                  <a:gd name="T32" fmla="*/ 270 w 302"/>
                  <a:gd name="T33" fmla="*/ 14 h 324"/>
                  <a:gd name="T34" fmla="*/ 264 w 302"/>
                  <a:gd name="T35" fmla="*/ 0 h 324"/>
                  <a:gd name="T36" fmla="*/ 254 w 302"/>
                  <a:gd name="T37" fmla="*/ 14 h 324"/>
                  <a:gd name="T38" fmla="*/ 246 w 302"/>
                  <a:gd name="T39" fmla="*/ 6 h 324"/>
                  <a:gd name="T40" fmla="*/ 242 w 302"/>
                  <a:gd name="T41" fmla="*/ 6 h 324"/>
                  <a:gd name="T42" fmla="*/ 226 w 302"/>
                  <a:gd name="T43" fmla="*/ 10 h 324"/>
                  <a:gd name="T44" fmla="*/ 218 w 302"/>
                  <a:gd name="T45" fmla="*/ 14 h 324"/>
                  <a:gd name="T46" fmla="*/ 222 w 302"/>
                  <a:gd name="T47" fmla="*/ 30 h 324"/>
                  <a:gd name="T48" fmla="*/ 202 w 302"/>
                  <a:gd name="T49" fmla="*/ 18 h 324"/>
                  <a:gd name="T50" fmla="*/ 196 w 302"/>
                  <a:gd name="T51" fmla="*/ 26 h 324"/>
                  <a:gd name="T52" fmla="*/ 178 w 302"/>
                  <a:gd name="T53" fmla="*/ 38 h 324"/>
                  <a:gd name="T54" fmla="*/ 168 w 302"/>
                  <a:gd name="T55" fmla="*/ 30 h 324"/>
                  <a:gd name="T56" fmla="*/ 156 w 302"/>
                  <a:gd name="T57" fmla="*/ 42 h 324"/>
                  <a:gd name="T58" fmla="*/ 144 w 302"/>
                  <a:gd name="T59" fmla="*/ 54 h 324"/>
                  <a:gd name="T60" fmla="*/ 142 w 302"/>
                  <a:gd name="T61" fmla="*/ 66 h 324"/>
                  <a:gd name="T62" fmla="*/ 132 w 302"/>
                  <a:gd name="T63" fmla="*/ 74 h 324"/>
                  <a:gd name="T64" fmla="*/ 120 w 302"/>
                  <a:gd name="T65" fmla="*/ 80 h 324"/>
                  <a:gd name="T66" fmla="*/ 122 w 302"/>
                  <a:gd name="T67" fmla="*/ 96 h 324"/>
                  <a:gd name="T68" fmla="*/ 118 w 302"/>
                  <a:gd name="T69" fmla="*/ 106 h 324"/>
                  <a:gd name="T70" fmla="*/ 108 w 302"/>
                  <a:gd name="T71" fmla="*/ 118 h 324"/>
                  <a:gd name="T72" fmla="*/ 112 w 302"/>
                  <a:gd name="T73" fmla="*/ 132 h 324"/>
                  <a:gd name="T74" fmla="*/ 102 w 302"/>
                  <a:gd name="T75" fmla="*/ 134 h 324"/>
                  <a:gd name="T76" fmla="*/ 92 w 302"/>
                  <a:gd name="T77" fmla="*/ 148 h 324"/>
                  <a:gd name="T78" fmla="*/ 84 w 302"/>
                  <a:gd name="T79" fmla="*/ 168 h 324"/>
                  <a:gd name="T80" fmla="*/ 104 w 302"/>
                  <a:gd name="T81" fmla="*/ 156 h 324"/>
                  <a:gd name="T82" fmla="*/ 108 w 302"/>
                  <a:gd name="T83" fmla="*/ 166 h 324"/>
                  <a:gd name="T84" fmla="*/ 90 w 302"/>
                  <a:gd name="T85" fmla="*/ 170 h 324"/>
                  <a:gd name="T86" fmla="*/ 76 w 302"/>
                  <a:gd name="T87" fmla="*/ 168 h 324"/>
                  <a:gd name="T88" fmla="*/ 70 w 302"/>
                  <a:gd name="T89" fmla="*/ 188 h 324"/>
                  <a:gd name="T90" fmla="*/ 44 w 302"/>
                  <a:gd name="T91" fmla="*/ 186 h 324"/>
                  <a:gd name="T92" fmla="*/ 40 w 302"/>
                  <a:gd name="T93" fmla="*/ 200 h 324"/>
                  <a:gd name="T94" fmla="*/ 30 w 302"/>
                  <a:gd name="T95" fmla="*/ 208 h 324"/>
                  <a:gd name="T96" fmla="*/ 8 w 302"/>
                  <a:gd name="T97" fmla="*/ 218 h 324"/>
                  <a:gd name="T98" fmla="*/ 26 w 302"/>
                  <a:gd name="T99" fmla="*/ 226 h 324"/>
                  <a:gd name="T100" fmla="*/ 10 w 302"/>
                  <a:gd name="T101" fmla="*/ 230 h 324"/>
                  <a:gd name="T102" fmla="*/ 0 w 302"/>
                  <a:gd name="T103" fmla="*/ 240 h 324"/>
                  <a:gd name="T104" fmla="*/ 2 w 302"/>
                  <a:gd name="T105" fmla="*/ 252 h 324"/>
                  <a:gd name="T106" fmla="*/ 10 w 302"/>
                  <a:gd name="T107" fmla="*/ 270 h 324"/>
                  <a:gd name="T108" fmla="*/ 12 w 302"/>
                  <a:gd name="T109" fmla="*/ 282 h 324"/>
                  <a:gd name="T110" fmla="*/ 14 w 302"/>
                  <a:gd name="T111" fmla="*/ 290 h 324"/>
                  <a:gd name="T112" fmla="*/ 10 w 302"/>
                  <a:gd name="T113" fmla="*/ 300 h 324"/>
                  <a:gd name="T114" fmla="*/ 30 w 302"/>
                  <a:gd name="T115" fmla="*/ 320 h 324"/>
                  <a:gd name="T116" fmla="*/ 64 w 302"/>
                  <a:gd name="T117" fmla="*/ 306 h 324"/>
                  <a:gd name="T118" fmla="*/ 78 w 302"/>
                  <a:gd name="T119" fmla="*/ 294 h 324"/>
                  <a:gd name="T120" fmla="*/ 82 w 302"/>
                  <a:gd name="T121" fmla="*/ 292 h 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02" h="324">
                    <a:moveTo>
                      <a:pt x="92" y="298"/>
                    </a:moveTo>
                    <a:lnTo>
                      <a:pt x="92" y="298"/>
                    </a:lnTo>
                    <a:lnTo>
                      <a:pt x="92" y="296"/>
                    </a:lnTo>
                    <a:lnTo>
                      <a:pt x="92" y="296"/>
                    </a:lnTo>
                    <a:lnTo>
                      <a:pt x="92" y="294"/>
                    </a:lnTo>
                    <a:lnTo>
                      <a:pt x="92" y="294"/>
                    </a:lnTo>
                    <a:lnTo>
                      <a:pt x="92" y="290"/>
                    </a:lnTo>
                    <a:lnTo>
                      <a:pt x="92" y="288"/>
                    </a:lnTo>
                    <a:lnTo>
                      <a:pt x="92" y="288"/>
                    </a:lnTo>
                    <a:lnTo>
                      <a:pt x="92" y="288"/>
                    </a:lnTo>
                    <a:lnTo>
                      <a:pt x="92" y="286"/>
                    </a:lnTo>
                    <a:lnTo>
                      <a:pt x="94" y="284"/>
                    </a:lnTo>
                    <a:lnTo>
                      <a:pt x="94" y="282"/>
                    </a:lnTo>
                    <a:lnTo>
                      <a:pt x="96" y="280"/>
                    </a:lnTo>
                    <a:lnTo>
                      <a:pt x="96" y="280"/>
                    </a:lnTo>
                    <a:lnTo>
                      <a:pt x="98" y="278"/>
                    </a:lnTo>
                    <a:lnTo>
                      <a:pt x="100" y="276"/>
                    </a:lnTo>
                    <a:lnTo>
                      <a:pt x="100" y="274"/>
                    </a:lnTo>
                    <a:lnTo>
                      <a:pt x="100" y="272"/>
                    </a:lnTo>
                    <a:lnTo>
                      <a:pt x="100" y="272"/>
                    </a:lnTo>
                    <a:lnTo>
                      <a:pt x="102" y="266"/>
                    </a:lnTo>
                    <a:lnTo>
                      <a:pt x="102" y="264"/>
                    </a:lnTo>
                    <a:lnTo>
                      <a:pt x="102" y="264"/>
                    </a:lnTo>
                    <a:lnTo>
                      <a:pt x="102" y="262"/>
                    </a:lnTo>
                    <a:lnTo>
                      <a:pt x="102" y="262"/>
                    </a:lnTo>
                    <a:lnTo>
                      <a:pt x="102" y="260"/>
                    </a:lnTo>
                    <a:lnTo>
                      <a:pt x="100" y="258"/>
                    </a:lnTo>
                    <a:lnTo>
                      <a:pt x="100" y="256"/>
                    </a:lnTo>
                    <a:lnTo>
                      <a:pt x="98" y="254"/>
                    </a:lnTo>
                    <a:lnTo>
                      <a:pt x="98" y="252"/>
                    </a:lnTo>
                    <a:lnTo>
                      <a:pt x="98" y="252"/>
                    </a:lnTo>
                    <a:lnTo>
                      <a:pt x="100" y="252"/>
                    </a:lnTo>
                    <a:lnTo>
                      <a:pt x="100" y="250"/>
                    </a:lnTo>
                    <a:lnTo>
                      <a:pt x="102" y="248"/>
                    </a:lnTo>
                    <a:lnTo>
                      <a:pt x="102" y="248"/>
                    </a:lnTo>
                    <a:lnTo>
                      <a:pt x="104" y="246"/>
                    </a:lnTo>
                    <a:lnTo>
                      <a:pt x="104" y="246"/>
                    </a:lnTo>
                    <a:lnTo>
                      <a:pt x="104" y="246"/>
                    </a:lnTo>
                    <a:lnTo>
                      <a:pt x="104" y="244"/>
                    </a:lnTo>
                    <a:lnTo>
                      <a:pt x="104" y="244"/>
                    </a:lnTo>
                    <a:lnTo>
                      <a:pt x="102" y="240"/>
                    </a:lnTo>
                    <a:lnTo>
                      <a:pt x="102" y="236"/>
                    </a:lnTo>
                    <a:lnTo>
                      <a:pt x="102" y="236"/>
                    </a:lnTo>
                    <a:lnTo>
                      <a:pt x="100" y="234"/>
                    </a:lnTo>
                    <a:lnTo>
                      <a:pt x="100" y="232"/>
                    </a:lnTo>
                    <a:lnTo>
                      <a:pt x="100" y="226"/>
                    </a:lnTo>
                    <a:lnTo>
                      <a:pt x="100" y="220"/>
                    </a:lnTo>
                    <a:lnTo>
                      <a:pt x="98" y="216"/>
                    </a:lnTo>
                    <a:lnTo>
                      <a:pt x="98" y="216"/>
                    </a:lnTo>
                    <a:lnTo>
                      <a:pt x="98" y="212"/>
                    </a:lnTo>
                    <a:lnTo>
                      <a:pt x="96" y="206"/>
                    </a:lnTo>
                    <a:lnTo>
                      <a:pt x="96" y="206"/>
                    </a:lnTo>
                    <a:lnTo>
                      <a:pt x="96" y="200"/>
                    </a:lnTo>
                    <a:lnTo>
                      <a:pt x="96" y="194"/>
                    </a:lnTo>
                    <a:lnTo>
                      <a:pt x="96" y="194"/>
                    </a:lnTo>
                    <a:lnTo>
                      <a:pt x="96" y="192"/>
                    </a:lnTo>
                    <a:lnTo>
                      <a:pt x="96" y="190"/>
                    </a:lnTo>
                    <a:lnTo>
                      <a:pt x="96" y="188"/>
                    </a:lnTo>
                    <a:lnTo>
                      <a:pt x="96" y="188"/>
                    </a:lnTo>
                    <a:lnTo>
                      <a:pt x="98" y="188"/>
                    </a:lnTo>
                    <a:lnTo>
                      <a:pt x="98" y="188"/>
                    </a:lnTo>
                    <a:lnTo>
                      <a:pt x="100" y="186"/>
                    </a:lnTo>
                    <a:lnTo>
                      <a:pt x="100" y="184"/>
                    </a:lnTo>
                    <a:lnTo>
                      <a:pt x="100" y="184"/>
                    </a:lnTo>
                    <a:lnTo>
                      <a:pt x="100" y="182"/>
                    </a:lnTo>
                    <a:lnTo>
                      <a:pt x="100" y="182"/>
                    </a:lnTo>
                    <a:lnTo>
                      <a:pt x="102" y="182"/>
                    </a:lnTo>
                    <a:lnTo>
                      <a:pt x="102" y="180"/>
                    </a:lnTo>
                    <a:lnTo>
                      <a:pt x="104" y="180"/>
                    </a:lnTo>
                    <a:lnTo>
                      <a:pt x="104" y="180"/>
                    </a:lnTo>
                    <a:lnTo>
                      <a:pt x="106" y="180"/>
                    </a:lnTo>
                    <a:lnTo>
                      <a:pt x="108" y="180"/>
                    </a:lnTo>
                    <a:lnTo>
                      <a:pt x="110" y="180"/>
                    </a:lnTo>
                    <a:lnTo>
                      <a:pt x="110" y="180"/>
                    </a:lnTo>
                    <a:lnTo>
                      <a:pt x="112" y="178"/>
                    </a:lnTo>
                    <a:lnTo>
                      <a:pt x="114" y="178"/>
                    </a:lnTo>
                    <a:lnTo>
                      <a:pt x="118" y="178"/>
                    </a:lnTo>
                    <a:lnTo>
                      <a:pt x="118" y="178"/>
                    </a:lnTo>
                    <a:lnTo>
                      <a:pt x="118" y="176"/>
                    </a:lnTo>
                    <a:lnTo>
                      <a:pt x="118" y="172"/>
                    </a:lnTo>
                    <a:lnTo>
                      <a:pt x="118" y="170"/>
                    </a:lnTo>
                    <a:lnTo>
                      <a:pt x="118" y="168"/>
                    </a:lnTo>
                    <a:lnTo>
                      <a:pt x="118" y="168"/>
                    </a:lnTo>
                    <a:lnTo>
                      <a:pt x="116" y="162"/>
                    </a:lnTo>
                    <a:lnTo>
                      <a:pt x="116" y="160"/>
                    </a:lnTo>
                    <a:lnTo>
                      <a:pt x="116" y="160"/>
                    </a:lnTo>
                    <a:lnTo>
                      <a:pt x="116" y="158"/>
                    </a:lnTo>
                    <a:lnTo>
                      <a:pt x="116" y="158"/>
                    </a:lnTo>
                    <a:lnTo>
                      <a:pt x="118" y="156"/>
                    </a:lnTo>
                    <a:lnTo>
                      <a:pt x="120" y="154"/>
                    </a:lnTo>
                    <a:lnTo>
                      <a:pt x="122" y="150"/>
                    </a:lnTo>
                    <a:lnTo>
                      <a:pt x="122" y="150"/>
                    </a:lnTo>
                    <a:lnTo>
                      <a:pt x="122" y="148"/>
                    </a:lnTo>
                    <a:lnTo>
                      <a:pt x="122" y="144"/>
                    </a:lnTo>
                    <a:lnTo>
                      <a:pt x="122" y="140"/>
                    </a:lnTo>
                    <a:lnTo>
                      <a:pt x="122" y="140"/>
                    </a:lnTo>
                    <a:lnTo>
                      <a:pt x="122" y="138"/>
                    </a:lnTo>
                    <a:lnTo>
                      <a:pt x="122" y="136"/>
                    </a:lnTo>
                    <a:lnTo>
                      <a:pt x="122" y="136"/>
                    </a:lnTo>
                    <a:lnTo>
                      <a:pt x="122" y="132"/>
                    </a:lnTo>
                    <a:lnTo>
                      <a:pt x="122" y="132"/>
                    </a:lnTo>
                    <a:lnTo>
                      <a:pt x="124" y="130"/>
                    </a:lnTo>
                    <a:lnTo>
                      <a:pt x="124" y="130"/>
                    </a:lnTo>
                    <a:lnTo>
                      <a:pt x="124" y="128"/>
                    </a:lnTo>
                    <a:lnTo>
                      <a:pt x="124" y="128"/>
                    </a:lnTo>
                    <a:lnTo>
                      <a:pt x="126" y="126"/>
                    </a:lnTo>
                    <a:lnTo>
                      <a:pt x="128" y="126"/>
                    </a:lnTo>
                    <a:lnTo>
                      <a:pt x="130" y="124"/>
                    </a:lnTo>
                    <a:lnTo>
                      <a:pt x="130" y="124"/>
                    </a:lnTo>
                    <a:lnTo>
                      <a:pt x="130" y="122"/>
                    </a:lnTo>
                    <a:lnTo>
                      <a:pt x="132" y="120"/>
                    </a:lnTo>
                    <a:lnTo>
                      <a:pt x="132" y="118"/>
                    </a:lnTo>
                    <a:lnTo>
                      <a:pt x="132" y="116"/>
                    </a:lnTo>
                    <a:lnTo>
                      <a:pt x="132" y="110"/>
                    </a:lnTo>
                    <a:lnTo>
                      <a:pt x="134" y="108"/>
                    </a:lnTo>
                    <a:lnTo>
                      <a:pt x="134" y="106"/>
                    </a:lnTo>
                    <a:lnTo>
                      <a:pt x="134" y="106"/>
                    </a:lnTo>
                    <a:lnTo>
                      <a:pt x="138" y="100"/>
                    </a:lnTo>
                    <a:lnTo>
                      <a:pt x="140" y="98"/>
                    </a:lnTo>
                    <a:lnTo>
                      <a:pt x="140" y="94"/>
                    </a:lnTo>
                    <a:lnTo>
                      <a:pt x="140" y="94"/>
                    </a:lnTo>
                    <a:lnTo>
                      <a:pt x="140" y="90"/>
                    </a:lnTo>
                    <a:lnTo>
                      <a:pt x="140" y="86"/>
                    </a:lnTo>
                    <a:lnTo>
                      <a:pt x="142" y="84"/>
                    </a:lnTo>
                    <a:lnTo>
                      <a:pt x="142" y="84"/>
                    </a:lnTo>
                    <a:lnTo>
                      <a:pt x="144" y="82"/>
                    </a:lnTo>
                    <a:lnTo>
                      <a:pt x="146" y="80"/>
                    </a:lnTo>
                    <a:lnTo>
                      <a:pt x="148" y="80"/>
                    </a:lnTo>
                    <a:lnTo>
                      <a:pt x="150" y="80"/>
                    </a:lnTo>
                    <a:lnTo>
                      <a:pt x="150" y="80"/>
                    </a:lnTo>
                    <a:lnTo>
                      <a:pt x="152" y="80"/>
                    </a:lnTo>
                    <a:lnTo>
                      <a:pt x="152" y="78"/>
                    </a:lnTo>
                    <a:lnTo>
                      <a:pt x="152" y="78"/>
                    </a:lnTo>
                    <a:lnTo>
                      <a:pt x="152" y="78"/>
                    </a:lnTo>
                    <a:lnTo>
                      <a:pt x="154" y="76"/>
                    </a:lnTo>
                    <a:lnTo>
                      <a:pt x="154" y="76"/>
                    </a:lnTo>
                    <a:lnTo>
                      <a:pt x="154" y="74"/>
                    </a:lnTo>
                    <a:lnTo>
                      <a:pt x="154" y="74"/>
                    </a:lnTo>
                    <a:lnTo>
                      <a:pt x="154" y="70"/>
                    </a:lnTo>
                    <a:lnTo>
                      <a:pt x="154" y="70"/>
                    </a:lnTo>
                    <a:lnTo>
                      <a:pt x="156" y="68"/>
                    </a:lnTo>
                    <a:lnTo>
                      <a:pt x="156" y="68"/>
                    </a:lnTo>
                    <a:lnTo>
                      <a:pt x="158" y="68"/>
                    </a:lnTo>
                    <a:lnTo>
                      <a:pt x="158" y="68"/>
                    </a:lnTo>
                    <a:lnTo>
                      <a:pt x="158" y="68"/>
                    </a:lnTo>
                    <a:lnTo>
                      <a:pt x="162" y="68"/>
                    </a:lnTo>
                    <a:lnTo>
                      <a:pt x="164" y="68"/>
                    </a:lnTo>
                    <a:lnTo>
                      <a:pt x="170" y="68"/>
                    </a:lnTo>
                    <a:lnTo>
                      <a:pt x="170" y="68"/>
                    </a:lnTo>
                    <a:lnTo>
                      <a:pt x="172" y="70"/>
                    </a:lnTo>
                    <a:lnTo>
                      <a:pt x="174" y="70"/>
                    </a:lnTo>
                    <a:lnTo>
                      <a:pt x="176" y="70"/>
                    </a:lnTo>
                    <a:lnTo>
                      <a:pt x="180" y="72"/>
                    </a:lnTo>
                    <a:lnTo>
                      <a:pt x="180" y="72"/>
                    </a:lnTo>
                    <a:lnTo>
                      <a:pt x="180" y="70"/>
                    </a:lnTo>
                    <a:lnTo>
                      <a:pt x="182" y="70"/>
                    </a:lnTo>
                    <a:lnTo>
                      <a:pt x="182" y="70"/>
                    </a:lnTo>
                    <a:lnTo>
                      <a:pt x="182" y="70"/>
                    </a:lnTo>
                    <a:lnTo>
                      <a:pt x="182" y="66"/>
                    </a:lnTo>
                    <a:lnTo>
                      <a:pt x="182" y="64"/>
                    </a:lnTo>
                    <a:lnTo>
                      <a:pt x="182" y="64"/>
                    </a:lnTo>
                    <a:lnTo>
                      <a:pt x="180" y="58"/>
                    </a:lnTo>
                    <a:lnTo>
                      <a:pt x="180" y="58"/>
                    </a:lnTo>
                    <a:lnTo>
                      <a:pt x="180" y="56"/>
                    </a:lnTo>
                    <a:lnTo>
                      <a:pt x="182" y="56"/>
                    </a:lnTo>
                    <a:lnTo>
                      <a:pt x="182" y="54"/>
                    </a:lnTo>
                    <a:lnTo>
                      <a:pt x="182" y="54"/>
                    </a:lnTo>
                    <a:lnTo>
                      <a:pt x="184" y="52"/>
                    </a:lnTo>
                    <a:lnTo>
                      <a:pt x="186" y="50"/>
                    </a:lnTo>
                    <a:lnTo>
                      <a:pt x="186" y="50"/>
                    </a:lnTo>
                    <a:lnTo>
                      <a:pt x="188" y="48"/>
                    </a:lnTo>
                    <a:lnTo>
                      <a:pt x="188" y="48"/>
                    </a:lnTo>
                    <a:lnTo>
                      <a:pt x="190" y="46"/>
                    </a:lnTo>
                    <a:lnTo>
                      <a:pt x="190" y="46"/>
                    </a:lnTo>
                    <a:lnTo>
                      <a:pt x="190" y="46"/>
                    </a:lnTo>
                    <a:lnTo>
                      <a:pt x="192" y="46"/>
                    </a:lnTo>
                    <a:lnTo>
                      <a:pt x="194" y="46"/>
                    </a:lnTo>
                    <a:lnTo>
                      <a:pt x="194" y="46"/>
                    </a:lnTo>
                    <a:lnTo>
                      <a:pt x="196" y="48"/>
                    </a:lnTo>
                    <a:lnTo>
                      <a:pt x="198" y="48"/>
                    </a:lnTo>
                    <a:lnTo>
                      <a:pt x="198" y="48"/>
                    </a:lnTo>
                    <a:lnTo>
                      <a:pt x="202" y="52"/>
                    </a:lnTo>
                    <a:lnTo>
                      <a:pt x="206" y="56"/>
                    </a:lnTo>
                    <a:lnTo>
                      <a:pt x="210" y="58"/>
                    </a:lnTo>
                    <a:lnTo>
                      <a:pt x="212" y="58"/>
                    </a:lnTo>
                    <a:lnTo>
                      <a:pt x="216" y="60"/>
                    </a:lnTo>
                    <a:lnTo>
                      <a:pt x="218" y="60"/>
                    </a:lnTo>
                    <a:lnTo>
                      <a:pt x="218" y="60"/>
                    </a:lnTo>
                    <a:lnTo>
                      <a:pt x="222" y="58"/>
                    </a:lnTo>
                    <a:lnTo>
                      <a:pt x="224" y="58"/>
                    </a:lnTo>
                    <a:lnTo>
                      <a:pt x="226" y="58"/>
                    </a:lnTo>
                    <a:lnTo>
                      <a:pt x="228" y="58"/>
                    </a:lnTo>
                    <a:lnTo>
                      <a:pt x="230" y="58"/>
                    </a:lnTo>
                    <a:lnTo>
                      <a:pt x="232" y="58"/>
                    </a:lnTo>
                    <a:lnTo>
                      <a:pt x="232" y="58"/>
                    </a:lnTo>
                    <a:lnTo>
                      <a:pt x="236" y="60"/>
                    </a:lnTo>
                    <a:lnTo>
                      <a:pt x="238" y="60"/>
                    </a:lnTo>
                    <a:lnTo>
                      <a:pt x="240" y="58"/>
                    </a:lnTo>
                    <a:lnTo>
                      <a:pt x="242" y="58"/>
                    </a:lnTo>
                    <a:lnTo>
                      <a:pt x="242" y="58"/>
                    </a:lnTo>
                    <a:lnTo>
                      <a:pt x="246" y="54"/>
                    </a:lnTo>
                    <a:lnTo>
                      <a:pt x="246" y="54"/>
                    </a:lnTo>
                    <a:lnTo>
                      <a:pt x="248" y="54"/>
                    </a:lnTo>
                    <a:lnTo>
                      <a:pt x="248" y="52"/>
                    </a:lnTo>
                    <a:lnTo>
                      <a:pt x="248" y="52"/>
                    </a:lnTo>
                    <a:lnTo>
                      <a:pt x="248" y="52"/>
                    </a:lnTo>
                    <a:lnTo>
                      <a:pt x="248" y="50"/>
                    </a:lnTo>
                    <a:lnTo>
                      <a:pt x="248" y="50"/>
                    </a:lnTo>
                    <a:lnTo>
                      <a:pt x="248" y="46"/>
                    </a:lnTo>
                    <a:lnTo>
                      <a:pt x="248" y="46"/>
                    </a:lnTo>
                    <a:lnTo>
                      <a:pt x="246" y="46"/>
                    </a:lnTo>
                    <a:lnTo>
                      <a:pt x="246" y="44"/>
                    </a:lnTo>
                    <a:lnTo>
                      <a:pt x="246" y="42"/>
                    </a:lnTo>
                    <a:lnTo>
                      <a:pt x="246" y="42"/>
                    </a:lnTo>
                    <a:lnTo>
                      <a:pt x="246" y="40"/>
                    </a:lnTo>
                    <a:lnTo>
                      <a:pt x="248" y="38"/>
                    </a:lnTo>
                    <a:lnTo>
                      <a:pt x="248" y="38"/>
                    </a:lnTo>
                    <a:lnTo>
                      <a:pt x="248" y="34"/>
                    </a:lnTo>
                    <a:lnTo>
                      <a:pt x="248" y="32"/>
                    </a:lnTo>
                    <a:lnTo>
                      <a:pt x="248" y="30"/>
                    </a:lnTo>
                    <a:lnTo>
                      <a:pt x="250" y="30"/>
                    </a:lnTo>
                    <a:lnTo>
                      <a:pt x="250" y="28"/>
                    </a:lnTo>
                    <a:lnTo>
                      <a:pt x="250" y="28"/>
                    </a:lnTo>
                    <a:lnTo>
                      <a:pt x="252" y="28"/>
                    </a:lnTo>
                    <a:lnTo>
                      <a:pt x="252" y="28"/>
                    </a:lnTo>
                    <a:lnTo>
                      <a:pt x="256" y="26"/>
                    </a:lnTo>
                    <a:lnTo>
                      <a:pt x="256" y="26"/>
                    </a:lnTo>
                    <a:lnTo>
                      <a:pt x="256" y="26"/>
                    </a:lnTo>
                    <a:lnTo>
                      <a:pt x="258" y="26"/>
                    </a:lnTo>
                    <a:lnTo>
                      <a:pt x="260" y="24"/>
                    </a:lnTo>
                    <a:lnTo>
                      <a:pt x="260" y="24"/>
                    </a:lnTo>
                    <a:lnTo>
                      <a:pt x="264" y="24"/>
                    </a:lnTo>
                    <a:lnTo>
                      <a:pt x="266" y="24"/>
                    </a:lnTo>
                    <a:lnTo>
                      <a:pt x="268" y="24"/>
                    </a:lnTo>
                    <a:lnTo>
                      <a:pt x="270" y="26"/>
                    </a:lnTo>
                    <a:lnTo>
                      <a:pt x="270" y="26"/>
                    </a:lnTo>
                    <a:lnTo>
                      <a:pt x="272" y="28"/>
                    </a:lnTo>
                    <a:lnTo>
                      <a:pt x="276" y="28"/>
                    </a:lnTo>
                    <a:lnTo>
                      <a:pt x="276" y="28"/>
                    </a:lnTo>
                    <a:lnTo>
                      <a:pt x="276" y="30"/>
                    </a:lnTo>
                    <a:lnTo>
                      <a:pt x="276" y="32"/>
                    </a:lnTo>
                    <a:lnTo>
                      <a:pt x="278" y="34"/>
                    </a:lnTo>
                    <a:lnTo>
                      <a:pt x="278" y="34"/>
                    </a:lnTo>
                    <a:lnTo>
                      <a:pt x="280" y="36"/>
                    </a:lnTo>
                    <a:lnTo>
                      <a:pt x="282" y="36"/>
                    </a:lnTo>
                    <a:lnTo>
                      <a:pt x="284" y="38"/>
                    </a:lnTo>
                    <a:lnTo>
                      <a:pt x="284" y="40"/>
                    </a:lnTo>
                    <a:lnTo>
                      <a:pt x="284" y="40"/>
                    </a:lnTo>
                    <a:lnTo>
                      <a:pt x="284" y="40"/>
                    </a:lnTo>
                    <a:lnTo>
                      <a:pt x="284" y="42"/>
                    </a:lnTo>
                    <a:lnTo>
                      <a:pt x="284" y="46"/>
                    </a:lnTo>
                    <a:lnTo>
                      <a:pt x="284" y="48"/>
                    </a:lnTo>
                    <a:lnTo>
                      <a:pt x="286" y="50"/>
                    </a:lnTo>
                    <a:lnTo>
                      <a:pt x="286" y="50"/>
                    </a:lnTo>
                    <a:lnTo>
                      <a:pt x="286" y="52"/>
                    </a:lnTo>
                    <a:lnTo>
                      <a:pt x="286" y="52"/>
                    </a:lnTo>
                    <a:lnTo>
                      <a:pt x="286" y="54"/>
                    </a:lnTo>
                    <a:lnTo>
                      <a:pt x="288" y="54"/>
                    </a:lnTo>
                    <a:lnTo>
                      <a:pt x="288" y="54"/>
                    </a:lnTo>
                    <a:lnTo>
                      <a:pt x="290" y="54"/>
                    </a:lnTo>
                    <a:lnTo>
                      <a:pt x="292" y="52"/>
                    </a:lnTo>
                    <a:lnTo>
                      <a:pt x="292" y="52"/>
                    </a:lnTo>
                    <a:lnTo>
                      <a:pt x="292" y="50"/>
                    </a:lnTo>
                    <a:lnTo>
                      <a:pt x="294" y="50"/>
                    </a:lnTo>
                    <a:lnTo>
                      <a:pt x="294" y="48"/>
                    </a:lnTo>
                    <a:lnTo>
                      <a:pt x="294" y="46"/>
                    </a:lnTo>
                    <a:lnTo>
                      <a:pt x="294" y="44"/>
                    </a:lnTo>
                    <a:lnTo>
                      <a:pt x="294" y="44"/>
                    </a:lnTo>
                    <a:lnTo>
                      <a:pt x="294" y="40"/>
                    </a:lnTo>
                    <a:lnTo>
                      <a:pt x="296" y="38"/>
                    </a:lnTo>
                    <a:lnTo>
                      <a:pt x="298" y="34"/>
                    </a:lnTo>
                    <a:lnTo>
                      <a:pt x="298" y="34"/>
                    </a:lnTo>
                    <a:lnTo>
                      <a:pt x="302" y="28"/>
                    </a:lnTo>
                    <a:lnTo>
                      <a:pt x="302" y="28"/>
                    </a:lnTo>
                    <a:lnTo>
                      <a:pt x="300" y="26"/>
                    </a:lnTo>
                    <a:lnTo>
                      <a:pt x="300" y="26"/>
                    </a:lnTo>
                    <a:lnTo>
                      <a:pt x="298" y="26"/>
                    </a:lnTo>
                    <a:lnTo>
                      <a:pt x="296" y="26"/>
                    </a:lnTo>
                    <a:lnTo>
                      <a:pt x="296" y="26"/>
                    </a:lnTo>
                    <a:lnTo>
                      <a:pt x="294" y="24"/>
                    </a:lnTo>
                    <a:lnTo>
                      <a:pt x="294" y="24"/>
                    </a:lnTo>
                    <a:lnTo>
                      <a:pt x="294" y="24"/>
                    </a:lnTo>
                    <a:lnTo>
                      <a:pt x="294" y="24"/>
                    </a:lnTo>
                    <a:lnTo>
                      <a:pt x="288" y="24"/>
                    </a:lnTo>
                    <a:lnTo>
                      <a:pt x="284" y="24"/>
                    </a:lnTo>
                    <a:lnTo>
                      <a:pt x="284" y="24"/>
                    </a:lnTo>
                    <a:lnTo>
                      <a:pt x="284" y="24"/>
                    </a:lnTo>
                    <a:lnTo>
                      <a:pt x="282" y="24"/>
                    </a:lnTo>
                    <a:lnTo>
                      <a:pt x="282" y="24"/>
                    </a:lnTo>
                    <a:lnTo>
                      <a:pt x="282" y="24"/>
                    </a:lnTo>
                    <a:lnTo>
                      <a:pt x="282" y="22"/>
                    </a:lnTo>
                    <a:lnTo>
                      <a:pt x="282" y="22"/>
                    </a:lnTo>
                    <a:lnTo>
                      <a:pt x="282" y="22"/>
                    </a:lnTo>
                    <a:lnTo>
                      <a:pt x="284" y="22"/>
                    </a:lnTo>
                    <a:lnTo>
                      <a:pt x="284" y="22"/>
                    </a:lnTo>
                    <a:lnTo>
                      <a:pt x="286" y="22"/>
                    </a:lnTo>
                    <a:lnTo>
                      <a:pt x="286" y="20"/>
                    </a:lnTo>
                    <a:lnTo>
                      <a:pt x="288" y="20"/>
                    </a:lnTo>
                    <a:lnTo>
                      <a:pt x="290" y="20"/>
                    </a:lnTo>
                    <a:lnTo>
                      <a:pt x="290" y="20"/>
                    </a:lnTo>
                    <a:lnTo>
                      <a:pt x="292" y="20"/>
                    </a:lnTo>
                    <a:lnTo>
                      <a:pt x="294" y="18"/>
                    </a:lnTo>
                    <a:lnTo>
                      <a:pt x="294" y="18"/>
                    </a:lnTo>
                    <a:lnTo>
                      <a:pt x="294" y="18"/>
                    </a:lnTo>
                    <a:lnTo>
                      <a:pt x="294" y="18"/>
                    </a:lnTo>
                    <a:lnTo>
                      <a:pt x="296" y="18"/>
                    </a:lnTo>
                    <a:lnTo>
                      <a:pt x="296" y="16"/>
                    </a:lnTo>
                    <a:lnTo>
                      <a:pt x="298" y="14"/>
                    </a:lnTo>
                    <a:lnTo>
                      <a:pt x="298" y="14"/>
                    </a:lnTo>
                    <a:lnTo>
                      <a:pt x="300" y="14"/>
                    </a:lnTo>
                    <a:lnTo>
                      <a:pt x="300" y="14"/>
                    </a:lnTo>
                    <a:lnTo>
                      <a:pt x="300" y="12"/>
                    </a:lnTo>
                    <a:lnTo>
                      <a:pt x="300" y="12"/>
                    </a:lnTo>
                    <a:lnTo>
                      <a:pt x="298" y="12"/>
                    </a:lnTo>
                    <a:lnTo>
                      <a:pt x="296" y="10"/>
                    </a:lnTo>
                    <a:lnTo>
                      <a:pt x="296" y="10"/>
                    </a:lnTo>
                    <a:lnTo>
                      <a:pt x="294" y="10"/>
                    </a:lnTo>
                    <a:lnTo>
                      <a:pt x="294" y="10"/>
                    </a:lnTo>
                    <a:lnTo>
                      <a:pt x="292" y="10"/>
                    </a:lnTo>
                    <a:lnTo>
                      <a:pt x="288" y="8"/>
                    </a:lnTo>
                    <a:lnTo>
                      <a:pt x="288" y="8"/>
                    </a:lnTo>
                    <a:lnTo>
                      <a:pt x="286" y="8"/>
                    </a:lnTo>
                    <a:lnTo>
                      <a:pt x="282" y="8"/>
                    </a:lnTo>
                    <a:lnTo>
                      <a:pt x="282" y="8"/>
                    </a:lnTo>
                    <a:lnTo>
                      <a:pt x="280" y="8"/>
                    </a:lnTo>
                    <a:lnTo>
                      <a:pt x="278" y="8"/>
                    </a:lnTo>
                    <a:lnTo>
                      <a:pt x="276" y="10"/>
                    </a:lnTo>
                    <a:lnTo>
                      <a:pt x="276" y="10"/>
                    </a:lnTo>
                    <a:lnTo>
                      <a:pt x="274" y="10"/>
                    </a:lnTo>
                    <a:lnTo>
                      <a:pt x="274" y="10"/>
                    </a:lnTo>
                    <a:lnTo>
                      <a:pt x="272" y="12"/>
                    </a:lnTo>
                    <a:lnTo>
                      <a:pt x="272" y="12"/>
                    </a:lnTo>
                    <a:lnTo>
                      <a:pt x="272" y="14"/>
                    </a:lnTo>
                    <a:lnTo>
                      <a:pt x="272" y="14"/>
                    </a:lnTo>
                    <a:lnTo>
                      <a:pt x="272" y="16"/>
                    </a:lnTo>
                    <a:lnTo>
                      <a:pt x="272" y="16"/>
                    </a:lnTo>
                    <a:lnTo>
                      <a:pt x="270" y="16"/>
                    </a:lnTo>
                    <a:lnTo>
                      <a:pt x="270" y="14"/>
                    </a:lnTo>
                    <a:lnTo>
                      <a:pt x="270" y="14"/>
                    </a:lnTo>
                    <a:lnTo>
                      <a:pt x="270" y="14"/>
                    </a:lnTo>
                    <a:lnTo>
                      <a:pt x="270" y="12"/>
                    </a:lnTo>
                    <a:lnTo>
                      <a:pt x="270" y="10"/>
                    </a:lnTo>
                    <a:lnTo>
                      <a:pt x="270" y="10"/>
                    </a:lnTo>
                    <a:lnTo>
                      <a:pt x="270" y="10"/>
                    </a:lnTo>
                    <a:lnTo>
                      <a:pt x="272" y="8"/>
                    </a:lnTo>
                    <a:lnTo>
                      <a:pt x="274" y="6"/>
                    </a:lnTo>
                    <a:lnTo>
                      <a:pt x="274" y="6"/>
                    </a:lnTo>
                    <a:lnTo>
                      <a:pt x="274" y="6"/>
                    </a:lnTo>
                    <a:lnTo>
                      <a:pt x="274" y="4"/>
                    </a:lnTo>
                    <a:lnTo>
                      <a:pt x="274" y="4"/>
                    </a:lnTo>
                    <a:lnTo>
                      <a:pt x="272" y="4"/>
                    </a:lnTo>
                    <a:lnTo>
                      <a:pt x="272" y="4"/>
                    </a:lnTo>
                    <a:lnTo>
                      <a:pt x="270" y="4"/>
                    </a:lnTo>
                    <a:lnTo>
                      <a:pt x="270" y="4"/>
                    </a:lnTo>
                    <a:lnTo>
                      <a:pt x="270" y="4"/>
                    </a:lnTo>
                    <a:lnTo>
                      <a:pt x="270" y="4"/>
                    </a:lnTo>
                    <a:lnTo>
                      <a:pt x="268" y="2"/>
                    </a:lnTo>
                    <a:lnTo>
                      <a:pt x="266" y="0"/>
                    </a:lnTo>
                    <a:lnTo>
                      <a:pt x="264" y="0"/>
                    </a:lnTo>
                    <a:lnTo>
                      <a:pt x="264" y="0"/>
                    </a:lnTo>
                    <a:lnTo>
                      <a:pt x="264" y="0"/>
                    </a:lnTo>
                    <a:lnTo>
                      <a:pt x="262" y="0"/>
                    </a:lnTo>
                    <a:lnTo>
                      <a:pt x="262" y="2"/>
                    </a:lnTo>
                    <a:lnTo>
                      <a:pt x="262" y="2"/>
                    </a:lnTo>
                    <a:lnTo>
                      <a:pt x="258" y="4"/>
                    </a:lnTo>
                    <a:lnTo>
                      <a:pt x="258" y="4"/>
                    </a:lnTo>
                    <a:lnTo>
                      <a:pt x="256" y="6"/>
                    </a:lnTo>
                    <a:lnTo>
                      <a:pt x="256" y="6"/>
                    </a:lnTo>
                    <a:lnTo>
                      <a:pt x="256" y="8"/>
                    </a:lnTo>
                    <a:lnTo>
                      <a:pt x="256" y="8"/>
                    </a:lnTo>
                    <a:lnTo>
                      <a:pt x="256" y="8"/>
                    </a:lnTo>
                    <a:lnTo>
                      <a:pt x="256" y="10"/>
                    </a:lnTo>
                    <a:lnTo>
                      <a:pt x="258" y="10"/>
                    </a:lnTo>
                    <a:lnTo>
                      <a:pt x="258" y="10"/>
                    </a:lnTo>
                    <a:lnTo>
                      <a:pt x="258" y="10"/>
                    </a:lnTo>
                    <a:lnTo>
                      <a:pt x="258" y="12"/>
                    </a:lnTo>
                    <a:lnTo>
                      <a:pt x="258" y="12"/>
                    </a:lnTo>
                    <a:lnTo>
                      <a:pt x="256" y="14"/>
                    </a:lnTo>
                    <a:lnTo>
                      <a:pt x="256" y="14"/>
                    </a:lnTo>
                    <a:lnTo>
                      <a:pt x="254" y="14"/>
                    </a:lnTo>
                    <a:lnTo>
                      <a:pt x="254" y="14"/>
                    </a:lnTo>
                    <a:lnTo>
                      <a:pt x="252" y="14"/>
                    </a:lnTo>
                    <a:lnTo>
                      <a:pt x="252" y="14"/>
                    </a:lnTo>
                    <a:lnTo>
                      <a:pt x="252" y="14"/>
                    </a:lnTo>
                    <a:lnTo>
                      <a:pt x="252" y="14"/>
                    </a:lnTo>
                    <a:lnTo>
                      <a:pt x="252" y="12"/>
                    </a:lnTo>
                    <a:lnTo>
                      <a:pt x="254" y="6"/>
                    </a:lnTo>
                    <a:lnTo>
                      <a:pt x="254" y="6"/>
                    </a:lnTo>
                    <a:lnTo>
                      <a:pt x="254" y="4"/>
                    </a:lnTo>
                    <a:lnTo>
                      <a:pt x="254" y="4"/>
                    </a:lnTo>
                    <a:lnTo>
                      <a:pt x="254" y="2"/>
                    </a:lnTo>
                    <a:lnTo>
                      <a:pt x="252" y="2"/>
                    </a:lnTo>
                    <a:lnTo>
                      <a:pt x="252" y="2"/>
                    </a:lnTo>
                    <a:lnTo>
                      <a:pt x="252" y="2"/>
                    </a:lnTo>
                    <a:lnTo>
                      <a:pt x="252" y="2"/>
                    </a:lnTo>
                    <a:lnTo>
                      <a:pt x="250" y="2"/>
                    </a:lnTo>
                    <a:lnTo>
                      <a:pt x="248" y="2"/>
                    </a:lnTo>
                    <a:lnTo>
                      <a:pt x="248" y="2"/>
                    </a:lnTo>
                    <a:lnTo>
                      <a:pt x="246" y="6"/>
                    </a:lnTo>
                    <a:lnTo>
                      <a:pt x="246" y="6"/>
                    </a:lnTo>
                    <a:lnTo>
                      <a:pt x="246" y="8"/>
                    </a:lnTo>
                    <a:lnTo>
                      <a:pt x="244" y="10"/>
                    </a:lnTo>
                    <a:lnTo>
                      <a:pt x="244" y="10"/>
                    </a:lnTo>
                    <a:lnTo>
                      <a:pt x="244" y="12"/>
                    </a:lnTo>
                    <a:lnTo>
                      <a:pt x="244" y="14"/>
                    </a:lnTo>
                    <a:lnTo>
                      <a:pt x="244" y="14"/>
                    </a:lnTo>
                    <a:lnTo>
                      <a:pt x="244" y="14"/>
                    </a:lnTo>
                    <a:lnTo>
                      <a:pt x="242" y="14"/>
                    </a:lnTo>
                    <a:lnTo>
                      <a:pt x="242" y="14"/>
                    </a:lnTo>
                    <a:lnTo>
                      <a:pt x="240" y="12"/>
                    </a:lnTo>
                    <a:lnTo>
                      <a:pt x="240" y="12"/>
                    </a:lnTo>
                    <a:lnTo>
                      <a:pt x="240" y="10"/>
                    </a:lnTo>
                    <a:lnTo>
                      <a:pt x="238" y="10"/>
                    </a:lnTo>
                    <a:lnTo>
                      <a:pt x="240" y="8"/>
                    </a:lnTo>
                    <a:lnTo>
                      <a:pt x="240" y="8"/>
                    </a:lnTo>
                    <a:lnTo>
                      <a:pt x="240" y="8"/>
                    </a:lnTo>
                    <a:lnTo>
                      <a:pt x="240" y="8"/>
                    </a:lnTo>
                    <a:lnTo>
                      <a:pt x="242" y="6"/>
                    </a:lnTo>
                    <a:lnTo>
                      <a:pt x="242" y="6"/>
                    </a:lnTo>
                    <a:lnTo>
                      <a:pt x="242" y="6"/>
                    </a:lnTo>
                    <a:lnTo>
                      <a:pt x="242" y="6"/>
                    </a:lnTo>
                    <a:lnTo>
                      <a:pt x="242" y="4"/>
                    </a:lnTo>
                    <a:lnTo>
                      <a:pt x="240" y="4"/>
                    </a:lnTo>
                    <a:lnTo>
                      <a:pt x="240" y="4"/>
                    </a:lnTo>
                    <a:lnTo>
                      <a:pt x="238" y="4"/>
                    </a:lnTo>
                    <a:lnTo>
                      <a:pt x="236" y="4"/>
                    </a:lnTo>
                    <a:lnTo>
                      <a:pt x="236" y="4"/>
                    </a:lnTo>
                    <a:lnTo>
                      <a:pt x="234" y="4"/>
                    </a:lnTo>
                    <a:lnTo>
                      <a:pt x="234" y="2"/>
                    </a:lnTo>
                    <a:lnTo>
                      <a:pt x="234" y="2"/>
                    </a:lnTo>
                    <a:lnTo>
                      <a:pt x="232" y="2"/>
                    </a:lnTo>
                    <a:lnTo>
                      <a:pt x="230" y="2"/>
                    </a:lnTo>
                    <a:lnTo>
                      <a:pt x="228" y="2"/>
                    </a:lnTo>
                    <a:lnTo>
                      <a:pt x="228" y="2"/>
                    </a:lnTo>
                    <a:lnTo>
                      <a:pt x="228" y="4"/>
                    </a:lnTo>
                    <a:lnTo>
                      <a:pt x="228" y="4"/>
                    </a:lnTo>
                    <a:lnTo>
                      <a:pt x="226" y="4"/>
                    </a:lnTo>
                    <a:lnTo>
                      <a:pt x="226" y="6"/>
                    </a:lnTo>
                    <a:lnTo>
                      <a:pt x="226" y="8"/>
                    </a:lnTo>
                    <a:lnTo>
                      <a:pt x="226" y="10"/>
                    </a:lnTo>
                    <a:lnTo>
                      <a:pt x="226" y="10"/>
                    </a:lnTo>
                    <a:lnTo>
                      <a:pt x="226" y="10"/>
                    </a:lnTo>
                    <a:lnTo>
                      <a:pt x="228" y="10"/>
                    </a:lnTo>
                    <a:lnTo>
                      <a:pt x="230" y="12"/>
                    </a:lnTo>
                    <a:lnTo>
                      <a:pt x="232" y="12"/>
                    </a:lnTo>
                    <a:lnTo>
                      <a:pt x="232" y="14"/>
                    </a:lnTo>
                    <a:lnTo>
                      <a:pt x="232" y="14"/>
                    </a:lnTo>
                    <a:lnTo>
                      <a:pt x="232" y="14"/>
                    </a:lnTo>
                    <a:lnTo>
                      <a:pt x="232" y="14"/>
                    </a:lnTo>
                    <a:lnTo>
                      <a:pt x="230" y="14"/>
                    </a:lnTo>
                    <a:lnTo>
                      <a:pt x="228" y="16"/>
                    </a:lnTo>
                    <a:lnTo>
                      <a:pt x="226" y="14"/>
                    </a:lnTo>
                    <a:lnTo>
                      <a:pt x="224" y="14"/>
                    </a:lnTo>
                    <a:lnTo>
                      <a:pt x="224" y="14"/>
                    </a:lnTo>
                    <a:lnTo>
                      <a:pt x="222" y="14"/>
                    </a:lnTo>
                    <a:lnTo>
                      <a:pt x="222" y="12"/>
                    </a:lnTo>
                    <a:lnTo>
                      <a:pt x="222" y="12"/>
                    </a:lnTo>
                    <a:lnTo>
                      <a:pt x="220" y="12"/>
                    </a:lnTo>
                    <a:lnTo>
                      <a:pt x="220" y="12"/>
                    </a:lnTo>
                    <a:lnTo>
                      <a:pt x="218" y="14"/>
                    </a:lnTo>
                    <a:lnTo>
                      <a:pt x="218" y="14"/>
                    </a:lnTo>
                    <a:lnTo>
                      <a:pt x="218" y="14"/>
                    </a:lnTo>
                    <a:lnTo>
                      <a:pt x="218" y="14"/>
                    </a:lnTo>
                    <a:lnTo>
                      <a:pt x="218" y="16"/>
                    </a:lnTo>
                    <a:lnTo>
                      <a:pt x="222" y="20"/>
                    </a:lnTo>
                    <a:lnTo>
                      <a:pt x="222" y="20"/>
                    </a:lnTo>
                    <a:lnTo>
                      <a:pt x="222" y="22"/>
                    </a:lnTo>
                    <a:lnTo>
                      <a:pt x="222" y="22"/>
                    </a:lnTo>
                    <a:lnTo>
                      <a:pt x="222" y="22"/>
                    </a:lnTo>
                    <a:lnTo>
                      <a:pt x="222" y="22"/>
                    </a:lnTo>
                    <a:lnTo>
                      <a:pt x="220" y="24"/>
                    </a:lnTo>
                    <a:lnTo>
                      <a:pt x="220" y="24"/>
                    </a:lnTo>
                    <a:lnTo>
                      <a:pt x="220" y="24"/>
                    </a:lnTo>
                    <a:lnTo>
                      <a:pt x="220" y="24"/>
                    </a:lnTo>
                    <a:lnTo>
                      <a:pt x="220" y="26"/>
                    </a:lnTo>
                    <a:lnTo>
                      <a:pt x="220" y="26"/>
                    </a:lnTo>
                    <a:lnTo>
                      <a:pt x="222" y="28"/>
                    </a:lnTo>
                    <a:lnTo>
                      <a:pt x="222" y="28"/>
                    </a:lnTo>
                    <a:lnTo>
                      <a:pt x="222" y="28"/>
                    </a:lnTo>
                    <a:lnTo>
                      <a:pt x="222" y="30"/>
                    </a:lnTo>
                    <a:lnTo>
                      <a:pt x="222" y="30"/>
                    </a:lnTo>
                    <a:lnTo>
                      <a:pt x="220" y="30"/>
                    </a:lnTo>
                    <a:lnTo>
                      <a:pt x="220" y="30"/>
                    </a:lnTo>
                    <a:lnTo>
                      <a:pt x="220" y="30"/>
                    </a:lnTo>
                    <a:lnTo>
                      <a:pt x="218" y="28"/>
                    </a:lnTo>
                    <a:lnTo>
                      <a:pt x="218" y="28"/>
                    </a:lnTo>
                    <a:lnTo>
                      <a:pt x="218" y="28"/>
                    </a:lnTo>
                    <a:lnTo>
                      <a:pt x="218" y="26"/>
                    </a:lnTo>
                    <a:lnTo>
                      <a:pt x="218" y="26"/>
                    </a:lnTo>
                    <a:lnTo>
                      <a:pt x="216" y="26"/>
                    </a:lnTo>
                    <a:lnTo>
                      <a:pt x="214" y="24"/>
                    </a:lnTo>
                    <a:lnTo>
                      <a:pt x="214" y="24"/>
                    </a:lnTo>
                    <a:lnTo>
                      <a:pt x="212" y="24"/>
                    </a:lnTo>
                    <a:lnTo>
                      <a:pt x="212" y="22"/>
                    </a:lnTo>
                    <a:lnTo>
                      <a:pt x="210" y="20"/>
                    </a:lnTo>
                    <a:lnTo>
                      <a:pt x="210" y="18"/>
                    </a:lnTo>
                    <a:lnTo>
                      <a:pt x="210" y="18"/>
                    </a:lnTo>
                    <a:lnTo>
                      <a:pt x="208" y="18"/>
                    </a:lnTo>
                    <a:lnTo>
                      <a:pt x="204" y="18"/>
                    </a:lnTo>
                    <a:lnTo>
                      <a:pt x="202" y="18"/>
                    </a:lnTo>
                    <a:lnTo>
                      <a:pt x="200" y="18"/>
                    </a:lnTo>
                    <a:lnTo>
                      <a:pt x="200" y="18"/>
                    </a:lnTo>
                    <a:lnTo>
                      <a:pt x="198" y="18"/>
                    </a:lnTo>
                    <a:lnTo>
                      <a:pt x="194" y="18"/>
                    </a:lnTo>
                    <a:lnTo>
                      <a:pt x="192" y="18"/>
                    </a:lnTo>
                    <a:lnTo>
                      <a:pt x="190" y="18"/>
                    </a:lnTo>
                    <a:lnTo>
                      <a:pt x="188" y="18"/>
                    </a:lnTo>
                    <a:lnTo>
                      <a:pt x="188" y="20"/>
                    </a:lnTo>
                    <a:lnTo>
                      <a:pt x="188" y="20"/>
                    </a:lnTo>
                    <a:lnTo>
                      <a:pt x="188" y="20"/>
                    </a:lnTo>
                    <a:lnTo>
                      <a:pt x="188" y="22"/>
                    </a:lnTo>
                    <a:lnTo>
                      <a:pt x="188" y="22"/>
                    </a:lnTo>
                    <a:lnTo>
                      <a:pt x="190" y="22"/>
                    </a:lnTo>
                    <a:lnTo>
                      <a:pt x="190" y="22"/>
                    </a:lnTo>
                    <a:lnTo>
                      <a:pt x="194" y="24"/>
                    </a:lnTo>
                    <a:lnTo>
                      <a:pt x="194" y="24"/>
                    </a:lnTo>
                    <a:lnTo>
                      <a:pt x="194" y="24"/>
                    </a:lnTo>
                    <a:lnTo>
                      <a:pt x="196" y="24"/>
                    </a:lnTo>
                    <a:lnTo>
                      <a:pt x="196" y="24"/>
                    </a:lnTo>
                    <a:lnTo>
                      <a:pt x="196" y="26"/>
                    </a:lnTo>
                    <a:lnTo>
                      <a:pt x="196" y="26"/>
                    </a:lnTo>
                    <a:lnTo>
                      <a:pt x="194" y="26"/>
                    </a:lnTo>
                    <a:lnTo>
                      <a:pt x="194" y="28"/>
                    </a:lnTo>
                    <a:lnTo>
                      <a:pt x="194" y="28"/>
                    </a:lnTo>
                    <a:lnTo>
                      <a:pt x="194" y="28"/>
                    </a:lnTo>
                    <a:lnTo>
                      <a:pt x="192" y="28"/>
                    </a:lnTo>
                    <a:lnTo>
                      <a:pt x="190" y="26"/>
                    </a:lnTo>
                    <a:lnTo>
                      <a:pt x="188" y="26"/>
                    </a:lnTo>
                    <a:lnTo>
                      <a:pt x="188" y="28"/>
                    </a:lnTo>
                    <a:lnTo>
                      <a:pt x="188" y="28"/>
                    </a:lnTo>
                    <a:lnTo>
                      <a:pt x="188" y="28"/>
                    </a:lnTo>
                    <a:lnTo>
                      <a:pt x="186" y="30"/>
                    </a:lnTo>
                    <a:lnTo>
                      <a:pt x="186" y="30"/>
                    </a:lnTo>
                    <a:lnTo>
                      <a:pt x="186" y="30"/>
                    </a:lnTo>
                    <a:lnTo>
                      <a:pt x="182" y="34"/>
                    </a:lnTo>
                    <a:lnTo>
                      <a:pt x="182" y="34"/>
                    </a:lnTo>
                    <a:lnTo>
                      <a:pt x="180" y="36"/>
                    </a:lnTo>
                    <a:lnTo>
                      <a:pt x="178" y="36"/>
                    </a:lnTo>
                    <a:lnTo>
                      <a:pt x="178" y="38"/>
                    </a:lnTo>
                    <a:lnTo>
                      <a:pt x="178" y="38"/>
                    </a:lnTo>
                    <a:lnTo>
                      <a:pt x="178" y="40"/>
                    </a:lnTo>
                    <a:lnTo>
                      <a:pt x="178" y="42"/>
                    </a:lnTo>
                    <a:lnTo>
                      <a:pt x="176" y="42"/>
                    </a:lnTo>
                    <a:lnTo>
                      <a:pt x="176" y="42"/>
                    </a:lnTo>
                    <a:lnTo>
                      <a:pt x="176" y="42"/>
                    </a:lnTo>
                    <a:lnTo>
                      <a:pt x="176" y="42"/>
                    </a:lnTo>
                    <a:lnTo>
                      <a:pt x="176" y="40"/>
                    </a:lnTo>
                    <a:lnTo>
                      <a:pt x="174" y="40"/>
                    </a:lnTo>
                    <a:lnTo>
                      <a:pt x="174" y="38"/>
                    </a:lnTo>
                    <a:lnTo>
                      <a:pt x="174" y="38"/>
                    </a:lnTo>
                    <a:lnTo>
                      <a:pt x="174" y="34"/>
                    </a:lnTo>
                    <a:lnTo>
                      <a:pt x="174" y="32"/>
                    </a:lnTo>
                    <a:lnTo>
                      <a:pt x="174" y="30"/>
                    </a:lnTo>
                    <a:lnTo>
                      <a:pt x="174" y="30"/>
                    </a:lnTo>
                    <a:lnTo>
                      <a:pt x="172" y="28"/>
                    </a:lnTo>
                    <a:lnTo>
                      <a:pt x="170" y="28"/>
                    </a:lnTo>
                    <a:lnTo>
                      <a:pt x="170" y="28"/>
                    </a:lnTo>
                    <a:lnTo>
                      <a:pt x="170" y="28"/>
                    </a:lnTo>
                    <a:lnTo>
                      <a:pt x="168" y="30"/>
                    </a:lnTo>
                    <a:lnTo>
                      <a:pt x="168" y="30"/>
                    </a:lnTo>
                    <a:lnTo>
                      <a:pt x="168" y="34"/>
                    </a:lnTo>
                    <a:lnTo>
                      <a:pt x="166" y="34"/>
                    </a:lnTo>
                    <a:lnTo>
                      <a:pt x="166" y="36"/>
                    </a:lnTo>
                    <a:lnTo>
                      <a:pt x="166" y="36"/>
                    </a:lnTo>
                    <a:lnTo>
                      <a:pt x="164" y="36"/>
                    </a:lnTo>
                    <a:lnTo>
                      <a:pt x="164" y="38"/>
                    </a:lnTo>
                    <a:lnTo>
                      <a:pt x="162" y="38"/>
                    </a:lnTo>
                    <a:lnTo>
                      <a:pt x="162" y="38"/>
                    </a:lnTo>
                    <a:lnTo>
                      <a:pt x="160" y="36"/>
                    </a:lnTo>
                    <a:lnTo>
                      <a:pt x="160" y="36"/>
                    </a:lnTo>
                    <a:lnTo>
                      <a:pt x="158" y="36"/>
                    </a:lnTo>
                    <a:lnTo>
                      <a:pt x="158" y="36"/>
                    </a:lnTo>
                    <a:lnTo>
                      <a:pt x="158" y="36"/>
                    </a:lnTo>
                    <a:lnTo>
                      <a:pt x="156" y="36"/>
                    </a:lnTo>
                    <a:lnTo>
                      <a:pt x="156" y="38"/>
                    </a:lnTo>
                    <a:lnTo>
                      <a:pt x="156" y="38"/>
                    </a:lnTo>
                    <a:lnTo>
                      <a:pt x="156" y="38"/>
                    </a:lnTo>
                    <a:lnTo>
                      <a:pt x="156" y="40"/>
                    </a:lnTo>
                    <a:lnTo>
                      <a:pt x="156" y="42"/>
                    </a:lnTo>
                    <a:lnTo>
                      <a:pt x="156" y="42"/>
                    </a:lnTo>
                    <a:lnTo>
                      <a:pt x="154" y="42"/>
                    </a:lnTo>
                    <a:lnTo>
                      <a:pt x="156" y="44"/>
                    </a:lnTo>
                    <a:lnTo>
                      <a:pt x="156" y="44"/>
                    </a:lnTo>
                    <a:lnTo>
                      <a:pt x="154" y="44"/>
                    </a:lnTo>
                    <a:lnTo>
                      <a:pt x="154" y="44"/>
                    </a:lnTo>
                    <a:lnTo>
                      <a:pt x="152" y="44"/>
                    </a:lnTo>
                    <a:lnTo>
                      <a:pt x="150" y="44"/>
                    </a:lnTo>
                    <a:lnTo>
                      <a:pt x="150" y="44"/>
                    </a:lnTo>
                    <a:lnTo>
                      <a:pt x="148" y="44"/>
                    </a:lnTo>
                    <a:lnTo>
                      <a:pt x="148" y="44"/>
                    </a:lnTo>
                    <a:lnTo>
                      <a:pt x="148" y="46"/>
                    </a:lnTo>
                    <a:lnTo>
                      <a:pt x="148" y="46"/>
                    </a:lnTo>
                    <a:lnTo>
                      <a:pt x="146" y="48"/>
                    </a:lnTo>
                    <a:lnTo>
                      <a:pt x="146" y="48"/>
                    </a:lnTo>
                    <a:lnTo>
                      <a:pt x="146" y="48"/>
                    </a:lnTo>
                    <a:lnTo>
                      <a:pt x="146" y="50"/>
                    </a:lnTo>
                    <a:lnTo>
                      <a:pt x="146" y="50"/>
                    </a:lnTo>
                    <a:lnTo>
                      <a:pt x="144" y="52"/>
                    </a:lnTo>
                    <a:lnTo>
                      <a:pt x="144" y="52"/>
                    </a:lnTo>
                    <a:lnTo>
                      <a:pt x="144" y="54"/>
                    </a:lnTo>
                    <a:lnTo>
                      <a:pt x="144" y="54"/>
                    </a:lnTo>
                    <a:lnTo>
                      <a:pt x="144" y="54"/>
                    </a:lnTo>
                    <a:lnTo>
                      <a:pt x="142" y="54"/>
                    </a:lnTo>
                    <a:lnTo>
                      <a:pt x="140" y="56"/>
                    </a:lnTo>
                    <a:lnTo>
                      <a:pt x="140" y="56"/>
                    </a:lnTo>
                    <a:lnTo>
                      <a:pt x="138" y="56"/>
                    </a:lnTo>
                    <a:lnTo>
                      <a:pt x="136" y="56"/>
                    </a:lnTo>
                    <a:lnTo>
                      <a:pt x="136" y="56"/>
                    </a:lnTo>
                    <a:lnTo>
                      <a:pt x="134" y="58"/>
                    </a:lnTo>
                    <a:lnTo>
                      <a:pt x="134" y="58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2"/>
                    </a:lnTo>
                    <a:lnTo>
                      <a:pt x="136" y="64"/>
                    </a:lnTo>
                    <a:lnTo>
                      <a:pt x="138" y="64"/>
                    </a:lnTo>
                    <a:lnTo>
                      <a:pt x="138" y="64"/>
                    </a:lnTo>
                    <a:lnTo>
                      <a:pt x="140" y="64"/>
                    </a:lnTo>
                    <a:lnTo>
                      <a:pt x="140" y="66"/>
                    </a:lnTo>
                    <a:lnTo>
                      <a:pt x="142" y="66"/>
                    </a:lnTo>
                    <a:lnTo>
                      <a:pt x="142" y="66"/>
                    </a:lnTo>
                    <a:lnTo>
                      <a:pt x="144" y="68"/>
                    </a:lnTo>
                    <a:lnTo>
                      <a:pt x="144" y="68"/>
                    </a:lnTo>
                    <a:lnTo>
                      <a:pt x="144" y="68"/>
                    </a:lnTo>
                    <a:lnTo>
                      <a:pt x="144" y="70"/>
                    </a:lnTo>
                    <a:lnTo>
                      <a:pt x="142" y="70"/>
                    </a:lnTo>
                    <a:lnTo>
                      <a:pt x="142" y="70"/>
                    </a:lnTo>
                    <a:lnTo>
                      <a:pt x="142" y="70"/>
                    </a:lnTo>
                    <a:lnTo>
                      <a:pt x="140" y="70"/>
                    </a:lnTo>
                    <a:lnTo>
                      <a:pt x="140" y="70"/>
                    </a:lnTo>
                    <a:lnTo>
                      <a:pt x="138" y="70"/>
                    </a:lnTo>
                    <a:lnTo>
                      <a:pt x="138" y="70"/>
                    </a:lnTo>
                    <a:lnTo>
                      <a:pt x="136" y="70"/>
                    </a:lnTo>
                    <a:lnTo>
                      <a:pt x="136" y="70"/>
                    </a:lnTo>
                    <a:lnTo>
                      <a:pt x="134" y="70"/>
                    </a:lnTo>
                    <a:lnTo>
                      <a:pt x="132" y="70"/>
                    </a:lnTo>
                    <a:lnTo>
                      <a:pt x="132" y="70"/>
                    </a:lnTo>
                    <a:lnTo>
                      <a:pt x="132" y="70"/>
                    </a:lnTo>
                    <a:lnTo>
                      <a:pt x="132" y="72"/>
                    </a:lnTo>
                    <a:lnTo>
                      <a:pt x="132" y="74"/>
                    </a:lnTo>
                    <a:lnTo>
                      <a:pt x="132" y="76"/>
                    </a:lnTo>
                    <a:lnTo>
                      <a:pt x="132" y="76"/>
                    </a:lnTo>
                    <a:lnTo>
                      <a:pt x="132" y="78"/>
                    </a:lnTo>
                    <a:lnTo>
                      <a:pt x="132" y="78"/>
                    </a:lnTo>
                    <a:lnTo>
                      <a:pt x="130" y="78"/>
                    </a:lnTo>
                    <a:lnTo>
                      <a:pt x="130" y="78"/>
                    </a:lnTo>
                    <a:lnTo>
                      <a:pt x="128" y="76"/>
                    </a:lnTo>
                    <a:lnTo>
                      <a:pt x="126" y="74"/>
                    </a:lnTo>
                    <a:lnTo>
                      <a:pt x="126" y="74"/>
                    </a:lnTo>
                    <a:lnTo>
                      <a:pt x="126" y="74"/>
                    </a:lnTo>
                    <a:lnTo>
                      <a:pt x="126" y="74"/>
                    </a:lnTo>
                    <a:lnTo>
                      <a:pt x="126" y="76"/>
                    </a:lnTo>
                    <a:lnTo>
                      <a:pt x="124" y="76"/>
                    </a:lnTo>
                    <a:lnTo>
                      <a:pt x="124" y="78"/>
                    </a:lnTo>
                    <a:lnTo>
                      <a:pt x="124" y="80"/>
                    </a:lnTo>
                    <a:lnTo>
                      <a:pt x="124" y="80"/>
                    </a:lnTo>
                    <a:lnTo>
                      <a:pt x="122" y="80"/>
                    </a:lnTo>
                    <a:lnTo>
                      <a:pt x="122" y="80"/>
                    </a:lnTo>
                    <a:lnTo>
                      <a:pt x="122" y="80"/>
                    </a:lnTo>
                    <a:lnTo>
                      <a:pt x="120" y="80"/>
                    </a:lnTo>
                    <a:lnTo>
                      <a:pt x="118" y="80"/>
                    </a:lnTo>
                    <a:lnTo>
                      <a:pt x="118" y="82"/>
                    </a:lnTo>
                    <a:lnTo>
                      <a:pt x="118" y="82"/>
                    </a:lnTo>
                    <a:lnTo>
                      <a:pt x="118" y="82"/>
                    </a:lnTo>
                    <a:lnTo>
                      <a:pt x="116" y="82"/>
                    </a:lnTo>
                    <a:lnTo>
                      <a:pt x="116" y="84"/>
                    </a:lnTo>
                    <a:lnTo>
                      <a:pt x="116" y="84"/>
                    </a:lnTo>
                    <a:lnTo>
                      <a:pt x="118" y="86"/>
                    </a:lnTo>
                    <a:lnTo>
                      <a:pt x="118" y="88"/>
                    </a:lnTo>
                    <a:lnTo>
                      <a:pt x="120" y="88"/>
                    </a:lnTo>
                    <a:lnTo>
                      <a:pt x="120" y="90"/>
                    </a:lnTo>
                    <a:lnTo>
                      <a:pt x="122" y="90"/>
                    </a:lnTo>
                    <a:lnTo>
                      <a:pt x="124" y="92"/>
                    </a:lnTo>
                    <a:lnTo>
                      <a:pt x="124" y="94"/>
                    </a:lnTo>
                    <a:lnTo>
                      <a:pt x="124" y="94"/>
                    </a:lnTo>
                    <a:lnTo>
                      <a:pt x="124" y="94"/>
                    </a:lnTo>
                    <a:lnTo>
                      <a:pt x="124" y="94"/>
                    </a:lnTo>
                    <a:lnTo>
                      <a:pt x="124" y="96"/>
                    </a:lnTo>
                    <a:lnTo>
                      <a:pt x="124" y="96"/>
                    </a:lnTo>
                    <a:lnTo>
                      <a:pt x="122" y="96"/>
                    </a:lnTo>
                    <a:lnTo>
                      <a:pt x="122" y="96"/>
                    </a:lnTo>
                    <a:lnTo>
                      <a:pt x="122" y="96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18" y="94"/>
                    </a:lnTo>
                    <a:lnTo>
                      <a:pt x="116" y="94"/>
                    </a:lnTo>
                    <a:lnTo>
                      <a:pt x="116" y="94"/>
                    </a:lnTo>
                    <a:lnTo>
                      <a:pt x="116" y="94"/>
                    </a:lnTo>
                    <a:lnTo>
                      <a:pt x="116" y="96"/>
                    </a:lnTo>
                    <a:lnTo>
                      <a:pt x="118" y="98"/>
                    </a:lnTo>
                    <a:lnTo>
                      <a:pt x="118" y="98"/>
                    </a:lnTo>
                    <a:lnTo>
                      <a:pt x="118" y="100"/>
                    </a:lnTo>
                    <a:lnTo>
                      <a:pt x="120" y="102"/>
                    </a:lnTo>
                    <a:lnTo>
                      <a:pt x="120" y="104"/>
                    </a:lnTo>
                    <a:lnTo>
                      <a:pt x="120" y="104"/>
                    </a:lnTo>
                    <a:lnTo>
                      <a:pt x="120" y="104"/>
                    </a:lnTo>
                    <a:lnTo>
                      <a:pt x="120" y="106"/>
                    </a:lnTo>
                    <a:lnTo>
                      <a:pt x="118" y="106"/>
                    </a:lnTo>
                    <a:lnTo>
                      <a:pt x="118" y="106"/>
                    </a:lnTo>
                    <a:lnTo>
                      <a:pt x="118" y="106"/>
                    </a:lnTo>
                    <a:lnTo>
                      <a:pt x="116" y="106"/>
                    </a:lnTo>
                    <a:lnTo>
                      <a:pt x="116" y="106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4" y="104"/>
                    </a:lnTo>
                    <a:lnTo>
                      <a:pt x="114" y="102"/>
                    </a:lnTo>
                    <a:lnTo>
                      <a:pt x="114" y="102"/>
                    </a:lnTo>
                    <a:lnTo>
                      <a:pt x="112" y="104"/>
                    </a:lnTo>
                    <a:lnTo>
                      <a:pt x="112" y="104"/>
                    </a:lnTo>
                    <a:lnTo>
                      <a:pt x="110" y="106"/>
                    </a:lnTo>
                    <a:lnTo>
                      <a:pt x="110" y="106"/>
                    </a:lnTo>
                    <a:lnTo>
                      <a:pt x="108" y="110"/>
                    </a:lnTo>
                    <a:lnTo>
                      <a:pt x="108" y="110"/>
                    </a:lnTo>
                    <a:lnTo>
                      <a:pt x="106" y="112"/>
                    </a:lnTo>
                    <a:lnTo>
                      <a:pt x="106" y="112"/>
                    </a:lnTo>
                    <a:lnTo>
                      <a:pt x="106" y="114"/>
                    </a:lnTo>
                    <a:lnTo>
                      <a:pt x="106" y="116"/>
                    </a:lnTo>
                    <a:lnTo>
                      <a:pt x="106" y="116"/>
                    </a:lnTo>
                    <a:lnTo>
                      <a:pt x="106" y="116"/>
                    </a:lnTo>
                    <a:lnTo>
                      <a:pt x="108" y="118"/>
                    </a:lnTo>
                    <a:lnTo>
                      <a:pt x="108" y="118"/>
                    </a:lnTo>
                    <a:lnTo>
                      <a:pt x="108" y="118"/>
                    </a:lnTo>
                    <a:lnTo>
                      <a:pt x="106" y="118"/>
                    </a:lnTo>
                    <a:lnTo>
                      <a:pt x="106" y="118"/>
                    </a:lnTo>
                    <a:lnTo>
                      <a:pt x="102" y="118"/>
                    </a:lnTo>
                    <a:lnTo>
                      <a:pt x="102" y="118"/>
                    </a:lnTo>
                    <a:lnTo>
                      <a:pt x="102" y="120"/>
                    </a:lnTo>
                    <a:lnTo>
                      <a:pt x="102" y="120"/>
                    </a:lnTo>
                    <a:lnTo>
                      <a:pt x="104" y="122"/>
                    </a:lnTo>
                    <a:lnTo>
                      <a:pt x="104" y="122"/>
                    </a:lnTo>
                    <a:lnTo>
                      <a:pt x="108" y="124"/>
                    </a:lnTo>
                    <a:lnTo>
                      <a:pt x="108" y="124"/>
                    </a:lnTo>
                    <a:lnTo>
                      <a:pt x="110" y="126"/>
                    </a:lnTo>
                    <a:lnTo>
                      <a:pt x="112" y="128"/>
                    </a:lnTo>
                    <a:lnTo>
                      <a:pt x="114" y="128"/>
                    </a:lnTo>
                    <a:lnTo>
                      <a:pt x="114" y="128"/>
                    </a:lnTo>
                    <a:lnTo>
                      <a:pt x="114" y="130"/>
                    </a:lnTo>
                    <a:lnTo>
                      <a:pt x="114" y="130"/>
                    </a:lnTo>
                    <a:lnTo>
                      <a:pt x="114" y="130"/>
                    </a:lnTo>
                    <a:lnTo>
                      <a:pt x="112" y="132"/>
                    </a:lnTo>
                    <a:lnTo>
                      <a:pt x="112" y="132"/>
                    </a:lnTo>
                    <a:lnTo>
                      <a:pt x="112" y="132"/>
                    </a:lnTo>
                    <a:lnTo>
                      <a:pt x="112" y="130"/>
                    </a:lnTo>
                    <a:lnTo>
                      <a:pt x="110" y="130"/>
                    </a:lnTo>
                    <a:lnTo>
                      <a:pt x="110" y="130"/>
                    </a:lnTo>
                    <a:lnTo>
                      <a:pt x="106" y="128"/>
                    </a:lnTo>
                    <a:lnTo>
                      <a:pt x="104" y="126"/>
                    </a:lnTo>
                    <a:lnTo>
                      <a:pt x="104" y="126"/>
                    </a:lnTo>
                    <a:lnTo>
                      <a:pt x="102" y="124"/>
                    </a:lnTo>
                    <a:lnTo>
                      <a:pt x="102" y="124"/>
                    </a:lnTo>
                    <a:lnTo>
                      <a:pt x="102" y="124"/>
                    </a:lnTo>
                    <a:lnTo>
                      <a:pt x="100" y="126"/>
                    </a:lnTo>
                    <a:lnTo>
                      <a:pt x="100" y="126"/>
                    </a:lnTo>
                    <a:lnTo>
                      <a:pt x="100" y="128"/>
                    </a:lnTo>
                    <a:lnTo>
                      <a:pt x="100" y="130"/>
                    </a:lnTo>
                    <a:lnTo>
                      <a:pt x="100" y="130"/>
                    </a:lnTo>
                    <a:lnTo>
                      <a:pt x="102" y="132"/>
                    </a:lnTo>
                    <a:lnTo>
                      <a:pt x="102" y="132"/>
                    </a:lnTo>
                    <a:lnTo>
                      <a:pt x="102" y="134"/>
                    </a:lnTo>
                    <a:lnTo>
                      <a:pt x="102" y="134"/>
                    </a:lnTo>
                    <a:lnTo>
                      <a:pt x="102" y="134"/>
                    </a:lnTo>
                    <a:lnTo>
                      <a:pt x="100" y="134"/>
                    </a:lnTo>
                    <a:lnTo>
                      <a:pt x="98" y="136"/>
                    </a:lnTo>
                    <a:lnTo>
                      <a:pt x="98" y="136"/>
                    </a:lnTo>
                    <a:lnTo>
                      <a:pt x="98" y="136"/>
                    </a:lnTo>
                    <a:lnTo>
                      <a:pt x="96" y="136"/>
                    </a:lnTo>
                    <a:lnTo>
                      <a:pt x="94" y="138"/>
                    </a:lnTo>
                    <a:lnTo>
                      <a:pt x="94" y="140"/>
                    </a:lnTo>
                    <a:lnTo>
                      <a:pt x="94" y="140"/>
                    </a:lnTo>
                    <a:lnTo>
                      <a:pt x="94" y="140"/>
                    </a:lnTo>
                    <a:lnTo>
                      <a:pt x="94" y="140"/>
                    </a:lnTo>
                    <a:lnTo>
                      <a:pt x="94" y="142"/>
                    </a:lnTo>
                    <a:lnTo>
                      <a:pt x="96" y="144"/>
                    </a:lnTo>
                    <a:lnTo>
                      <a:pt x="96" y="144"/>
                    </a:lnTo>
                    <a:lnTo>
                      <a:pt x="96" y="144"/>
                    </a:lnTo>
                    <a:lnTo>
                      <a:pt x="96" y="146"/>
                    </a:lnTo>
                    <a:lnTo>
                      <a:pt x="94" y="146"/>
                    </a:lnTo>
                    <a:lnTo>
                      <a:pt x="94" y="146"/>
                    </a:lnTo>
                    <a:lnTo>
                      <a:pt x="94" y="146"/>
                    </a:lnTo>
                    <a:lnTo>
                      <a:pt x="92" y="148"/>
                    </a:lnTo>
                    <a:lnTo>
                      <a:pt x="92" y="148"/>
                    </a:lnTo>
                    <a:lnTo>
                      <a:pt x="90" y="148"/>
                    </a:lnTo>
                    <a:lnTo>
                      <a:pt x="86" y="150"/>
                    </a:lnTo>
                    <a:lnTo>
                      <a:pt x="86" y="150"/>
                    </a:lnTo>
                    <a:lnTo>
                      <a:pt x="84" y="152"/>
                    </a:lnTo>
                    <a:lnTo>
                      <a:pt x="80" y="154"/>
                    </a:lnTo>
                    <a:lnTo>
                      <a:pt x="80" y="154"/>
                    </a:lnTo>
                    <a:lnTo>
                      <a:pt x="80" y="156"/>
                    </a:lnTo>
                    <a:lnTo>
                      <a:pt x="78" y="156"/>
                    </a:lnTo>
                    <a:lnTo>
                      <a:pt x="78" y="158"/>
                    </a:lnTo>
                    <a:lnTo>
                      <a:pt x="76" y="160"/>
                    </a:lnTo>
                    <a:lnTo>
                      <a:pt x="76" y="160"/>
                    </a:lnTo>
                    <a:lnTo>
                      <a:pt x="76" y="162"/>
                    </a:lnTo>
                    <a:lnTo>
                      <a:pt x="78" y="164"/>
                    </a:lnTo>
                    <a:lnTo>
                      <a:pt x="78" y="166"/>
                    </a:lnTo>
                    <a:lnTo>
                      <a:pt x="78" y="166"/>
                    </a:lnTo>
                    <a:lnTo>
                      <a:pt x="80" y="166"/>
                    </a:lnTo>
                    <a:lnTo>
                      <a:pt x="80" y="166"/>
                    </a:lnTo>
                    <a:lnTo>
                      <a:pt x="80" y="168"/>
                    </a:lnTo>
                    <a:lnTo>
                      <a:pt x="84" y="168"/>
                    </a:lnTo>
                    <a:lnTo>
                      <a:pt x="88" y="168"/>
                    </a:lnTo>
                    <a:lnTo>
                      <a:pt x="88" y="168"/>
                    </a:lnTo>
                    <a:lnTo>
                      <a:pt x="90" y="168"/>
                    </a:lnTo>
                    <a:lnTo>
                      <a:pt x="90" y="168"/>
                    </a:lnTo>
                    <a:lnTo>
                      <a:pt x="90" y="168"/>
                    </a:lnTo>
                    <a:lnTo>
                      <a:pt x="90" y="168"/>
                    </a:lnTo>
                    <a:lnTo>
                      <a:pt x="90" y="166"/>
                    </a:lnTo>
                    <a:lnTo>
                      <a:pt x="90" y="166"/>
                    </a:lnTo>
                    <a:lnTo>
                      <a:pt x="90" y="164"/>
                    </a:lnTo>
                    <a:lnTo>
                      <a:pt x="90" y="164"/>
                    </a:lnTo>
                    <a:lnTo>
                      <a:pt x="90" y="164"/>
                    </a:lnTo>
                    <a:lnTo>
                      <a:pt x="92" y="164"/>
                    </a:lnTo>
                    <a:lnTo>
                      <a:pt x="94" y="162"/>
                    </a:lnTo>
                    <a:lnTo>
                      <a:pt x="98" y="160"/>
                    </a:lnTo>
                    <a:lnTo>
                      <a:pt x="98" y="160"/>
                    </a:lnTo>
                    <a:lnTo>
                      <a:pt x="100" y="158"/>
                    </a:lnTo>
                    <a:lnTo>
                      <a:pt x="102" y="158"/>
                    </a:lnTo>
                    <a:lnTo>
                      <a:pt x="102" y="158"/>
                    </a:lnTo>
                    <a:lnTo>
                      <a:pt x="102" y="158"/>
                    </a:lnTo>
                    <a:lnTo>
                      <a:pt x="104" y="156"/>
                    </a:lnTo>
                    <a:lnTo>
                      <a:pt x="104" y="156"/>
                    </a:lnTo>
                    <a:lnTo>
                      <a:pt x="106" y="158"/>
                    </a:lnTo>
                    <a:lnTo>
                      <a:pt x="106" y="158"/>
                    </a:lnTo>
                    <a:lnTo>
                      <a:pt x="106" y="158"/>
                    </a:lnTo>
                    <a:lnTo>
                      <a:pt x="106" y="160"/>
                    </a:lnTo>
                    <a:lnTo>
                      <a:pt x="106" y="160"/>
                    </a:lnTo>
                    <a:lnTo>
                      <a:pt x="106" y="160"/>
                    </a:lnTo>
                    <a:lnTo>
                      <a:pt x="106" y="162"/>
                    </a:lnTo>
                    <a:lnTo>
                      <a:pt x="106" y="162"/>
                    </a:lnTo>
                    <a:lnTo>
                      <a:pt x="108" y="164"/>
                    </a:lnTo>
                    <a:lnTo>
                      <a:pt x="110" y="164"/>
                    </a:lnTo>
                    <a:lnTo>
                      <a:pt x="110" y="164"/>
                    </a:lnTo>
                    <a:lnTo>
                      <a:pt x="110" y="166"/>
                    </a:lnTo>
                    <a:lnTo>
                      <a:pt x="110" y="166"/>
                    </a:lnTo>
                    <a:lnTo>
                      <a:pt x="110" y="166"/>
                    </a:lnTo>
                    <a:lnTo>
                      <a:pt x="110" y="166"/>
                    </a:lnTo>
                    <a:lnTo>
                      <a:pt x="110" y="168"/>
                    </a:lnTo>
                    <a:lnTo>
                      <a:pt x="108" y="168"/>
                    </a:lnTo>
                    <a:lnTo>
                      <a:pt x="108" y="168"/>
                    </a:lnTo>
                    <a:lnTo>
                      <a:pt x="108" y="166"/>
                    </a:lnTo>
                    <a:lnTo>
                      <a:pt x="106" y="166"/>
                    </a:lnTo>
                    <a:lnTo>
                      <a:pt x="106" y="164"/>
                    </a:lnTo>
                    <a:lnTo>
                      <a:pt x="106" y="164"/>
                    </a:lnTo>
                    <a:lnTo>
                      <a:pt x="104" y="164"/>
                    </a:lnTo>
                    <a:lnTo>
                      <a:pt x="102" y="164"/>
                    </a:lnTo>
                    <a:lnTo>
                      <a:pt x="100" y="162"/>
                    </a:lnTo>
                    <a:lnTo>
                      <a:pt x="100" y="164"/>
                    </a:lnTo>
                    <a:lnTo>
                      <a:pt x="98" y="164"/>
                    </a:lnTo>
                    <a:lnTo>
                      <a:pt x="98" y="164"/>
                    </a:lnTo>
                    <a:lnTo>
                      <a:pt x="96" y="164"/>
                    </a:lnTo>
                    <a:lnTo>
                      <a:pt x="96" y="166"/>
                    </a:lnTo>
                    <a:lnTo>
                      <a:pt x="96" y="166"/>
                    </a:lnTo>
                    <a:lnTo>
                      <a:pt x="94" y="166"/>
                    </a:lnTo>
                    <a:lnTo>
                      <a:pt x="94" y="166"/>
                    </a:lnTo>
                    <a:lnTo>
                      <a:pt x="94" y="168"/>
                    </a:lnTo>
                    <a:lnTo>
                      <a:pt x="94" y="168"/>
                    </a:lnTo>
                    <a:lnTo>
                      <a:pt x="94" y="168"/>
                    </a:lnTo>
                    <a:lnTo>
                      <a:pt x="92" y="170"/>
                    </a:lnTo>
                    <a:lnTo>
                      <a:pt x="92" y="170"/>
                    </a:lnTo>
                    <a:lnTo>
                      <a:pt x="90" y="170"/>
                    </a:lnTo>
                    <a:lnTo>
                      <a:pt x="88" y="170"/>
                    </a:lnTo>
                    <a:lnTo>
                      <a:pt x="86" y="170"/>
                    </a:lnTo>
                    <a:lnTo>
                      <a:pt x="86" y="172"/>
                    </a:lnTo>
                    <a:lnTo>
                      <a:pt x="86" y="172"/>
                    </a:lnTo>
                    <a:lnTo>
                      <a:pt x="86" y="174"/>
                    </a:lnTo>
                    <a:lnTo>
                      <a:pt x="86" y="176"/>
                    </a:lnTo>
                    <a:lnTo>
                      <a:pt x="84" y="176"/>
                    </a:lnTo>
                    <a:lnTo>
                      <a:pt x="84" y="176"/>
                    </a:lnTo>
                    <a:lnTo>
                      <a:pt x="84" y="178"/>
                    </a:lnTo>
                    <a:lnTo>
                      <a:pt x="82" y="178"/>
                    </a:lnTo>
                    <a:lnTo>
                      <a:pt x="82" y="178"/>
                    </a:lnTo>
                    <a:lnTo>
                      <a:pt x="80" y="176"/>
                    </a:lnTo>
                    <a:lnTo>
                      <a:pt x="80" y="176"/>
                    </a:lnTo>
                    <a:lnTo>
                      <a:pt x="78" y="174"/>
                    </a:lnTo>
                    <a:lnTo>
                      <a:pt x="78" y="174"/>
                    </a:lnTo>
                    <a:lnTo>
                      <a:pt x="78" y="172"/>
                    </a:lnTo>
                    <a:lnTo>
                      <a:pt x="78" y="172"/>
                    </a:lnTo>
                    <a:lnTo>
                      <a:pt x="76" y="170"/>
                    </a:lnTo>
                    <a:lnTo>
                      <a:pt x="76" y="168"/>
                    </a:lnTo>
                    <a:lnTo>
                      <a:pt x="76" y="168"/>
                    </a:lnTo>
                    <a:lnTo>
                      <a:pt x="76" y="168"/>
                    </a:lnTo>
                    <a:lnTo>
                      <a:pt x="72" y="168"/>
                    </a:lnTo>
                    <a:lnTo>
                      <a:pt x="70" y="170"/>
                    </a:lnTo>
                    <a:lnTo>
                      <a:pt x="70" y="170"/>
                    </a:lnTo>
                    <a:lnTo>
                      <a:pt x="70" y="170"/>
                    </a:lnTo>
                    <a:lnTo>
                      <a:pt x="68" y="172"/>
                    </a:lnTo>
                    <a:lnTo>
                      <a:pt x="64" y="174"/>
                    </a:lnTo>
                    <a:lnTo>
                      <a:pt x="64" y="174"/>
                    </a:lnTo>
                    <a:lnTo>
                      <a:pt x="62" y="176"/>
                    </a:lnTo>
                    <a:lnTo>
                      <a:pt x="62" y="178"/>
                    </a:lnTo>
                    <a:lnTo>
                      <a:pt x="62" y="180"/>
                    </a:lnTo>
                    <a:lnTo>
                      <a:pt x="62" y="180"/>
                    </a:lnTo>
                    <a:lnTo>
                      <a:pt x="62" y="180"/>
                    </a:lnTo>
                    <a:lnTo>
                      <a:pt x="64" y="184"/>
                    </a:lnTo>
                    <a:lnTo>
                      <a:pt x="68" y="186"/>
                    </a:lnTo>
                    <a:lnTo>
                      <a:pt x="68" y="186"/>
                    </a:lnTo>
                    <a:lnTo>
                      <a:pt x="68" y="186"/>
                    </a:lnTo>
                    <a:lnTo>
                      <a:pt x="70" y="188"/>
                    </a:lnTo>
                    <a:lnTo>
                      <a:pt x="70" y="188"/>
                    </a:lnTo>
                    <a:lnTo>
                      <a:pt x="70" y="188"/>
                    </a:lnTo>
                    <a:lnTo>
                      <a:pt x="70" y="188"/>
                    </a:lnTo>
                    <a:lnTo>
                      <a:pt x="68" y="188"/>
                    </a:lnTo>
                    <a:lnTo>
                      <a:pt x="62" y="188"/>
                    </a:lnTo>
                    <a:lnTo>
                      <a:pt x="58" y="188"/>
                    </a:lnTo>
                    <a:lnTo>
                      <a:pt x="58" y="188"/>
                    </a:lnTo>
                    <a:lnTo>
                      <a:pt x="54" y="188"/>
                    </a:lnTo>
                    <a:lnTo>
                      <a:pt x="54" y="188"/>
                    </a:lnTo>
                    <a:lnTo>
                      <a:pt x="52" y="188"/>
                    </a:lnTo>
                    <a:lnTo>
                      <a:pt x="52" y="186"/>
                    </a:lnTo>
                    <a:lnTo>
                      <a:pt x="52" y="186"/>
                    </a:lnTo>
                    <a:lnTo>
                      <a:pt x="50" y="186"/>
                    </a:lnTo>
                    <a:lnTo>
                      <a:pt x="50" y="184"/>
                    </a:lnTo>
                    <a:lnTo>
                      <a:pt x="50" y="184"/>
                    </a:lnTo>
                    <a:lnTo>
                      <a:pt x="48" y="184"/>
                    </a:lnTo>
                    <a:lnTo>
                      <a:pt x="48" y="182"/>
                    </a:lnTo>
                    <a:lnTo>
                      <a:pt x="48" y="184"/>
                    </a:lnTo>
                    <a:lnTo>
                      <a:pt x="46" y="184"/>
                    </a:lnTo>
                    <a:lnTo>
                      <a:pt x="46" y="186"/>
                    </a:lnTo>
                    <a:lnTo>
                      <a:pt x="44" y="186"/>
                    </a:lnTo>
                    <a:lnTo>
                      <a:pt x="44" y="186"/>
                    </a:lnTo>
                    <a:lnTo>
                      <a:pt x="44" y="188"/>
                    </a:lnTo>
                    <a:lnTo>
                      <a:pt x="42" y="188"/>
                    </a:lnTo>
                    <a:lnTo>
                      <a:pt x="42" y="190"/>
                    </a:lnTo>
                    <a:lnTo>
                      <a:pt x="42" y="192"/>
                    </a:lnTo>
                    <a:lnTo>
                      <a:pt x="42" y="192"/>
                    </a:lnTo>
                    <a:lnTo>
                      <a:pt x="44" y="192"/>
                    </a:lnTo>
                    <a:lnTo>
                      <a:pt x="44" y="194"/>
                    </a:lnTo>
                    <a:lnTo>
                      <a:pt x="44" y="194"/>
                    </a:lnTo>
                    <a:lnTo>
                      <a:pt x="44" y="194"/>
                    </a:lnTo>
                    <a:lnTo>
                      <a:pt x="46" y="196"/>
                    </a:lnTo>
                    <a:lnTo>
                      <a:pt x="46" y="198"/>
                    </a:lnTo>
                    <a:lnTo>
                      <a:pt x="46" y="198"/>
                    </a:lnTo>
                    <a:lnTo>
                      <a:pt x="44" y="200"/>
                    </a:lnTo>
                    <a:lnTo>
                      <a:pt x="44" y="200"/>
                    </a:lnTo>
                    <a:lnTo>
                      <a:pt x="44" y="202"/>
                    </a:lnTo>
                    <a:lnTo>
                      <a:pt x="44" y="202"/>
                    </a:lnTo>
                    <a:lnTo>
                      <a:pt x="42" y="200"/>
                    </a:lnTo>
                    <a:lnTo>
                      <a:pt x="42" y="200"/>
                    </a:lnTo>
                    <a:lnTo>
                      <a:pt x="42" y="200"/>
                    </a:lnTo>
                    <a:lnTo>
                      <a:pt x="40" y="200"/>
                    </a:lnTo>
                    <a:lnTo>
                      <a:pt x="40" y="200"/>
                    </a:lnTo>
                    <a:lnTo>
                      <a:pt x="40" y="200"/>
                    </a:lnTo>
                    <a:lnTo>
                      <a:pt x="38" y="200"/>
                    </a:lnTo>
                    <a:lnTo>
                      <a:pt x="38" y="200"/>
                    </a:lnTo>
                    <a:lnTo>
                      <a:pt x="38" y="202"/>
                    </a:lnTo>
                    <a:lnTo>
                      <a:pt x="36" y="202"/>
                    </a:lnTo>
                    <a:lnTo>
                      <a:pt x="36" y="202"/>
                    </a:lnTo>
                    <a:lnTo>
                      <a:pt x="36" y="202"/>
                    </a:lnTo>
                    <a:lnTo>
                      <a:pt x="36" y="202"/>
                    </a:lnTo>
                    <a:lnTo>
                      <a:pt x="34" y="202"/>
                    </a:lnTo>
                    <a:lnTo>
                      <a:pt x="34" y="202"/>
                    </a:lnTo>
                    <a:lnTo>
                      <a:pt x="34" y="202"/>
                    </a:lnTo>
                    <a:lnTo>
                      <a:pt x="32" y="204"/>
                    </a:lnTo>
                    <a:lnTo>
                      <a:pt x="32" y="204"/>
                    </a:lnTo>
                    <a:lnTo>
                      <a:pt x="32" y="206"/>
                    </a:lnTo>
                    <a:lnTo>
                      <a:pt x="32" y="206"/>
                    </a:lnTo>
                    <a:lnTo>
                      <a:pt x="32" y="206"/>
                    </a:lnTo>
                    <a:lnTo>
                      <a:pt x="30" y="208"/>
                    </a:lnTo>
                    <a:lnTo>
                      <a:pt x="30" y="208"/>
                    </a:lnTo>
                    <a:lnTo>
                      <a:pt x="30" y="208"/>
                    </a:lnTo>
                    <a:lnTo>
                      <a:pt x="28" y="210"/>
                    </a:lnTo>
                    <a:lnTo>
                      <a:pt x="28" y="210"/>
                    </a:lnTo>
                    <a:lnTo>
                      <a:pt x="26" y="210"/>
                    </a:lnTo>
                    <a:lnTo>
                      <a:pt x="26" y="210"/>
                    </a:lnTo>
                    <a:lnTo>
                      <a:pt x="24" y="210"/>
                    </a:lnTo>
                    <a:lnTo>
                      <a:pt x="24" y="210"/>
                    </a:lnTo>
                    <a:lnTo>
                      <a:pt x="22" y="210"/>
                    </a:lnTo>
                    <a:lnTo>
                      <a:pt x="22" y="210"/>
                    </a:lnTo>
                    <a:lnTo>
                      <a:pt x="20" y="210"/>
                    </a:lnTo>
                    <a:lnTo>
                      <a:pt x="20" y="210"/>
                    </a:lnTo>
                    <a:lnTo>
                      <a:pt x="18" y="212"/>
                    </a:lnTo>
                    <a:lnTo>
                      <a:pt x="18" y="212"/>
                    </a:lnTo>
                    <a:lnTo>
                      <a:pt x="16" y="212"/>
                    </a:lnTo>
                    <a:lnTo>
                      <a:pt x="14" y="214"/>
                    </a:lnTo>
                    <a:lnTo>
                      <a:pt x="14" y="214"/>
                    </a:lnTo>
                    <a:lnTo>
                      <a:pt x="12" y="216"/>
                    </a:lnTo>
                    <a:lnTo>
                      <a:pt x="12" y="216"/>
                    </a:lnTo>
                    <a:lnTo>
                      <a:pt x="10" y="216"/>
                    </a:lnTo>
                    <a:lnTo>
                      <a:pt x="10" y="216"/>
                    </a:lnTo>
                    <a:lnTo>
                      <a:pt x="8" y="218"/>
                    </a:lnTo>
                    <a:lnTo>
                      <a:pt x="8" y="218"/>
                    </a:lnTo>
                    <a:lnTo>
                      <a:pt x="8" y="218"/>
                    </a:lnTo>
                    <a:lnTo>
                      <a:pt x="8" y="218"/>
                    </a:lnTo>
                    <a:lnTo>
                      <a:pt x="8" y="220"/>
                    </a:lnTo>
                    <a:lnTo>
                      <a:pt x="8" y="220"/>
                    </a:lnTo>
                    <a:lnTo>
                      <a:pt x="10" y="220"/>
                    </a:lnTo>
                    <a:lnTo>
                      <a:pt x="12" y="220"/>
                    </a:lnTo>
                    <a:lnTo>
                      <a:pt x="14" y="220"/>
                    </a:lnTo>
                    <a:lnTo>
                      <a:pt x="14" y="220"/>
                    </a:lnTo>
                    <a:lnTo>
                      <a:pt x="16" y="220"/>
                    </a:lnTo>
                    <a:lnTo>
                      <a:pt x="20" y="220"/>
                    </a:lnTo>
                    <a:lnTo>
                      <a:pt x="22" y="220"/>
                    </a:lnTo>
                    <a:lnTo>
                      <a:pt x="24" y="220"/>
                    </a:lnTo>
                    <a:lnTo>
                      <a:pt x="26" y="222"/>
                    </a:lnTo>
                    <a:lnTo>
                      <a:pt x="26" y="224"/>
                    </a:lnTo>
                    <a:lnTo>
                      <a:pt x="26" y="224"/>
                    </a:lnTo>
                    <a:lnTo>
                      <a:pt x="26" y="224"/>
                    </a:lnTo>
                    <a:lnTo>
                      <a:pt x="26" y="224"/>
                    </a:lnTo>
                    <a:lnTo>
                      <a:pt x="26" y="226"/>
                    </a:lnTo>
                    <a:lnTo>
                      <a:pt x="26" y="226"/>
                    </a:lnTo>
                    <a:lnTo>
                      <a:pt x="22" y="224"/>
                    </a:lnTo>
                    <a:lnTo>
                      <a:pt x="22" y="224"/>
                    </a:lnTo>
                    <a:lnTo>
                      <a:pt x="16" y="224"/>
                    </a:lnTo>
                    <a:lnTo>
                      <a:pt x="12" y="224"/>
                    </a:lnTo>
                    <a:lnTo>
                      <a:pt x="12" y="224"/>
                    </a:lnTo>
                    <a:lnTo>
                      <a:pt x="8" y="224"/>
                    </a:lnTo>
                    <a:lnTo>
                      <a:pt x="8" y="224"/>
                    </a:lnTo>
                    <a:lnTo>
                      <a:pt x="6" y="224"/>
                    </a:lnTo>
                    <a:lnTo>
                      <a:pt x="4" y="224"/>
                    </a:lnTo>
                    <a:lnTo>
                      <a:pt x="4" y="224"/>
                    </a:lnTo>
                    <a:lnTo>
                      <a:pt x="4" y="226"/>
                    </a:lnTo>
                    <a:lnTo>
                      <a:pt x="4" y="228"/>
                    </a:lnTo>
                    <a:lnTo>
                      <a:pt x="4" y="228"/>
                    </a:lnTo>
                    <a:lnTo>
                      <a:pt x="4" y="230"/>
                    </a:lnTo>
                    <a:lnTo>
                      <a:pt x="4" y="230"/>
                    </a:lnTo>
                    <a:lnTo>
                      <a:pt x="6" y="230"/>
                    </a:lnTo>
                    <a:lnTo>
                      <a:pt x="8" y="230"/>
                    </a:lnTo>
                    <a:lnTo>
                      <a:pt x="8" y="230"/>
                    </a:lnTo>
                    <a:lnTo>
                      <a:pt x="10" y="230"/>
                    </a:lnTo>
                    <a:lnTo>
                      <a:pt x="10" y="230"/>
                    </a:lnTo>
                    <a:lnTo>
                      <a:pt x="12" y="230"/>
                    </a:lnTo>
                    <a:lnTo>
                      <a:pt x="14" y="232"/>
                    </a:lnTo>
                    <a:lnTo>
                      <a:pt x="16" y="232"/>
                    </a:lnTo>
                    <a:lnTo>
                      <a:pt x="16" y="232"/>
                    </a:lnTo>
                    <a:lnTo>
                      <a:pt x="16" y="234"/>
                    </a:lnTo>
                    <a:lnTo>
                      <a:pt x="16" y="234"/>
                    </a:lnTo>
                    <a:lnTo>
                      <a:pt x="16" y="234"/>
                    </a:lnTo>
                    <a:lnTo>
                      <a:pt x="14" y="234"/>
                    </a:lnTo>
                    <a:lnTo>
                      <a:pt x="14" y="234"/>
                    </a:lnTo>
                    <a:lnTo>
                      <a:pt x="14" y="234"/>
                    </a:lnTo>
                    <a:lnTo>
                      <a:pt x="10" y="234"/>
                    </a:lnTo>
                    <a:lnTo>
                      <a:pt x="8" y="234"/>
                    </a:lnTo>
                    <a:lnTo>
                      <a:pt x="8" y="234"/>
                    </a:lnTo>
                    <a:lnTo>
                      <a:pt x="6" y="234"/>
                    </a:lnTo>
                    <a:lnTo>
                      <a:pt x="4" y="234"/>
                    </a:lnTo>
                    <a:lnTo>
                      <a:pt x="2" y="236"/>
                    </a:lnTo>
                    <a:lnTo>
                      <a:pt x="0" y="236"/>
                    </a:lnTo>
                    <a:lnTo>
                      <a:pt x="0" y="236"/>
                    </a:lnTo>
                    <a:lnTo>
                      <a:pt x="0" y="238"/>
                    </a:lnTo>
                    <a:lnTo>
                      <a:pt x="0" y="240"/>
                    </a:lnTo>
                    <a:lnTo>
                      <a:pt x="0" y="244"/>
                    </a:lnTo>
                    <a:lnTo>
                      <a:pt x="0" y="244"/>
                    </a:lnTo>
                    <a:lnTo>
                      <a:pt x="0" y="244"/>
                    </a:lnTo>
                    <a:lnTo>
                      <a:pt x="2" y="244"/>
                    </a:lnTo>
                    <a:lnTo>
                      <a:pt x="2" y="246"/>
                    </a:lnTo>
                    <a:lnTo>
                      <a:pt x="4" y="248"/>
                    </a:lnTo>
                    <a:lnTo>
                      <a:pt x="6" y="248"/>
                    </a:lnTo>
                    <a:lnTo>
                      <a:pt x="6" y="248"/>
                    </a:lnTo>
                    <a:lnTo>
                      <a:pt x="8" y="248"/>
                    </a:lnTo>
                    <a:lnTo>
                      <a:pt x="10" y="248"/>
                    </a:lnTo>
                    <a:lnTo>
                      <a:pt x="10" y="250"/>
                    </a:lnTo>
                    <a:lnTo>
                      <a:pt x="10" y="250"/>
                    </a:lnTo>
                    <a:lnTo>
                      <a:pt x="8" y="250"/>
                    </a:lnTo>
                    <a:lnTo>
                      <a:pt x="8" y="250"/>
                    </a:lnTo>
                    <a:lnTo>
                      <a:pt x="4" y="250"/>
                    </a:lnTo>
                    <a:lnTo>
                      <a:pt x="4" y="250"/>
                    </a:lnTo>
                    <a:lnTo>
                      <a:pt x="4" y="252"/>
                    </a:lnTo>
                    <a:lnTo>
                      <a:pt x="2" y="252"/>
                    </a:lnTo>
                    <a:lnTo>
                      <a:pt x="2" y="252"/>
                    </a:lnTo>
                    <a:lnTo>
                      <a:pt x="2" y="252"/>
                    </a:lnTo>
                    <a:lnTo>
                      <a:pt x="0" y="254"/>
                    </a:lnTo>
                    <a:lnTo>
                      <a:pt x="0" y="256"/>
                    </a:lnTo>
                    <a:lnTo>
                      <a:pt x="0" y="256"/>
                    </a:lnTo>
                    <a:lnTo>
                      <a:pt x="2" y="258"/>
                    </a:lnTo>
                    <a:lnTo>
                      <a:pt x="2" y="258"/>
                    </a:lnTo>
                    <a:lnTo>
                      <a:pt x="4" y="258"/>
                    </a:lnTo>
                    <a:lnTo>
                      <a:pt x="4" y="260"/>
                    </a:lnTo>
                    <a:lnTo>
                      <a:pt x="4" y="260"/>
                    </a:lnTo>
                    <a:lnTo>
                      <a:pt x="4" y="264"/>
                    </a:lnTo>
                    <a:lnTo>
                      <a:pt x="4" y="264"/>
                    </a:lnTo>
                    <a:lnTo>
                      <a:pt x="4" y="264"/>
                    </a:lnTo>
                    <a:lnTo>
                      <a:pt x="4" y="266"/>
                    </a:lnTo>
                    <a:lnTo>
                      <a:pt x="4" y="266"/>
                    </a:lnTo>
                    <a:lnTo>
                      <a:pt x="4" y="266"/>
                    </a:lnTo>
                    <a:lnTo>
                      <a:pt x="6" y="266"/>
                    </a:lnTo>
                    <a:lnTo>
                      <a:pt x="8" y="266"/>
                    </a:lnTo>
                    <a:lnTo>
                      <a:pt x="8" y="266"/>
                    </a:lnTo>
                    <a:lnTo>
                      <a:pt x="8" y="268"/>
                    </a:lnTo>
                    <a:lnTo>
                      <a:pt x="10" y="270"/>
                    </a:lnTo>
                    <a:lnTo>
                      <a:pt x="10" y="270"/>
                    </a:lnTo>
                    <a:lnTo>
                      <a:pt x="12" y="270"/>
                    </a:lnTo>
                    <a:lnTo>
                      <a:pt x="12" y="272"/>
                    </a:lnTo>
                    <a:lnTo>
                      <a:pt x="12" y="272"/>
                    </a:lnTo>
                    <a:lnTo>
                      <a:pt x="12" y="272"/>
                    </a:lnTo>
                    <a:lnTo>
                      <a:pt x="12" y="272"/>
                    </a:lnTo>
                    <a:lnTo>
                      <a:pt x="12" y="272"/>
                    </a:lnTo>
                    <a:lnTo>
                      <a:pt x="10" y="274"/>
                    </a:lnTo>
                    <a:lnTo>
                      <a:pt x="10" y="274"/>
                    </a:lnTo>
                    <a:lnTo>
                      <a:pt x="10" y="274"/>
                    </a:lnTo>
                    <a:lnTo>
                      <a:pt x="10" y="276"/>
                    </a:lnTo>
                    <a:lnTo>
                      <a:pt x="10" y="276"/>
                    </a:lnTo>
                    <a:lnTo>
                      <a:pt x="10" y="276"/>
                    </a:lnTo>
                    <a:lnTo>
                      <a:pt x="10" y="278"/>
                    </a:lnTo>
                    <a:lnTo>
                      <a:pt x="10" y="278"/>
                    </a:lnTo>
                    <a:lnTo>
                      <a:pt x="10" y="278"/>
                    </a:lnTo>
                    <a:lnTo>
                      <a:pt x="10" y="278"/>
                    </a:lnTo>
                    <a:lnTo>
                      <a:pt x="10" y="280"/>
                    </a:lnTo>
                    <a:lnTo>
                      <a:pt x="12" y="280"/>
                    </a:lnTo>
                    <a:lnTo>
                      <a:pt x="12" y="282"/>
                    </a:lnTo>
                    <a:lnTo>
                      <a:pt x="12" y="282"/>
                    </a:lnTo>
                    <a:lnTo>
                      <a:pt x="12" y="282"/>
                    </a:lnTo>
                    <a:lnTo>
                      <a:pt x="12" y="282"/>
                    </a:lnTo>
                    <a:lnTo>
                      <a:pt x="10" y="284"/>
                    </a:lnTo>
                    <a:lnTo>
                      <a:pt x="10" y="284"/>
                    </a:lnTo>
                    <a:lnTo>
                      <a:pt x="8" y="284"/>
                    </a:lnTo>
                    <a:lnTo>
                      <a:pt x="8" y="284"/>
                    </a:lnTo>
                    <a:lnTo>
                      <a:pt x="8" y="284"/>
                    </a:lnTo>
                    <a:lnTo>
                      <a:pt x="8" y="284"/>
                    </a:lnTo>
                    <a:lnTo>
                      <a:pt x="6" y="286"/>
                    </a:lnTo>
                    <a:lnTo>
                      <a:pt x="6" y="288"/>
                    </a:lnTo>
                    <a:lnTo>
                      <a:pt x="6" y="288"/>
                    </a:lnTo>
                    <a:lnTo>
                      <a:pt x="6" y="288"/>
                    </a:lnTo>
                    <a:lnTo>
                      <a:pt x="8" y="288"/>
                    </a:lnTo>
                    <a:lnTo>
                      <a:pt x="8" y="288"/>
                    </a:lnTo>
                    <a:lnTo>
                      <a:pt x="10" y="290"/>
                    </a:lnTo>
                    <a:lnTo>
                      <a:pt x="10" y="290"/>
                    </a:lnTo>
                    <a:lnTo>
                      <a:pt x="12" y="290"/>
                    </a:lnTo>
                    <a:lnTo>
                      <a:pt x="12" y="290"/>
                    </a:lnTo>
                    <a:lnTo>
                      <a:pt x="12" y="290"/>
                    </a:lnTo>
                    <a:lnTo>
                      <a:pt x="14" y="290"/>
                    </a:lnTo>
                    <a:lnTo>
                      <a:pt x="14" y="290"/>
                    </a:lnTo>
                    <a:lnTo>
                      <a:pt x="16" y="288"/>
                    </a:lnTo>
                    <a:lnTo>
                      <a:pt x="16" y="288"/>
                    </a:lnTo>
                    <a:lnTo>
                      <a:pt x="16" y="288"/>
                    </a:lnTo>
                    <a:lnTo>
                      <a:pt x="18" y="288"/>
                    </a:lnTo>
                    <a:lnTo>
                      <a:pt x="18" y="288"/>
                    </a:lnTo>
                    <a:lnTo>
                      <a:pt x="18" y="290"/>
                    </a:lnTo>
                    <a:lnTo>
                      <a:pt x="18" y="290"/>
                    </a:lnTo>
                    <a:lnTo>
                      <a:pt x="18" y="292"/>
                    </a:lnTo>
                    <a:lnTo>
                      <a:pt x="18" y="292"/>
                    </a:lnTo>
                    <a:lnTo>
                      <a:pt x="16" y="294"/>
                    </a:lnTo>
                    <a:lnTo>
                      <a:pt x="16" y="296"/>
                    </a:lnTo>
                    <a:lnTo>
                      <a:pt x="14" y="298"/>
                    </a:lnTo>
                    <a:lnTo>
                      <a:pt x="14" y="298"/>
                    </a:lnTo>
                    <a:lnTo>
                      <a:pt x="12" y="298"/>
                    </a:lnTo>
                    <a:lnTo>
                      <a:pt x="12" y="298"/>
                    </a:lnTo>
                    <a:lnTo>
                      <a:pt x="10" y="298"/>
                    </a:lnTo>
                    <a:lnTo>
                      <a:pt x="10" y="298"/>
                    </a:lnTo>
                    <a:lnTo>
                      <a:pt x="10" y="300"/>
                    </a:lnTo>
                    <a:lnTo>
                      <a:pt x="10" y="300"/>
                    </a:lnTo>
                    <a:lnTo>
                      <a:pt x="10" y="302"/>
                    </a:lnTo>
                    <a:lnTo>
                      <a:pt x="10" y="302"/>
                    </a:lnTo>
                    <a:lnTo>
                      <a:pt x="10" y="306"/>
                    </a:lnTo>
                    <a:lnTo>
                      <a:pt x="10" y="308"/>
                    </a:lnTo>
                    <a:lnTo>
                      <a:pt x="10" y="308"/>
                    </a:lnTo>
                    <a:lnTo>
                      <a:pt x="10" y="310"/>
                    </a:lnTo>
                    <a:lnTo>
                      <a:pt x="12" y="310"/>
                    </a:lnTo>
                    <a:lnTo>
                      <a:pt x="12" y="312"/>
                    </a:lnTo>
                    <a:lnTo>
                      <a:pt x="12" y="312"/>
                    </a:lnTo>
                    <a:lnTo>
                      <a:pt x="14" y="314"/>
                    </a:lnTo>
                    <a:lnTo>
                      <a:pt x="14" y="314"/>
                    </a:lnTo>
                    <a:lnTo>
                      <a:pt x="18" y="316"/>
                    </a:lnTo>
                    <a:lnTo>
                      <a:pt x="22" y="318"/>
                    </a:lnTo>
                    <a:lnTo>
                      <a:pt x="22" y="318"/>
                    </a:lnTo>
                    <a:lnTo>
                      <a:pt x="26" y="320"/>
                    </a:lnTo>
                    <a:lnTo>
                      <a:pt x="26" y="320"/>
                    </a:lnTo>
                    <a:lnTo>
                      <a:pt x="28" y="322"/>
                    </a:lnTo>
                    <a:lnTo>
                      <a:pt x="28" y="322"/>
                    </a:lnTo>
                    <a:lnTo>
                      <a:pt x="30" y="322"/>
                    </a:lnTo>
                    <a:lnTo>
                      <a:pt x="30" y="320"/>
                    </a:lnTo>
                    <a:lnTo>
                      <a:pt x="30" y="320"/>
                    </a:lnTo>
                    <a:lnTo>
                      <a:pt x="32" y="322"/>
                    </a:lnTo>
                    <a:lnTo>
                      <a:pt x="34" y="322"/>
                    </a:lnTo>
                    <a:lnTo>
                      <a:pt x="34" y="322"/>
                    </a:lnTo>
                    <a:lnTo>
                      <a:pt x="36" y="324"/>
                    </a:lnTo>
                    <a:lnTo>
                      <a:pt x="38" y="324"/>
                    </a:lnTo>
                    <a:lnTo>
                      <a:pt x="40" y="324"/>
                    </a:lnTo>
                    <a:lnTo>
                      <a:pt x="40" y="324"/>
                    </a:lnTo>
                    <a:lnTo>
                      <a:pt x="40" y="324"/>
                    </a:lnTo>
                    <a:lnTo>
                      <a:pt x="42" y="322"/>
                    </a:lnTo>
                    <a:lnTo>
                      <a:pt x="46" y="320"/>
                    </a:lnTo>
                    <a:lnTo>
                      <a:pt x="46" y="320"/>
                    </a:lnTo>
                    <a:lnTo>
                      <a:pt x="48" y="320"/>
                    </a:lnTo>
                    <a:lnTo>
                      <a:pt x="52" y="318"/>
                    </a:lnTo>
                    <a:lnTo>
                      <a:pt x="52" y="318"/>
                    </a:lnTo>
                    <a:lnTo>
                      <a:pt x="54" y="314"/>
                    </a:lnTo>
                    <a:lnTo>
                      <a:pt x="58" y="312"/>
                    </a:lnTo>
                    <a:lnTo>
                      <a:pt x="60" y="310"/>
                    </a:lnTo>
                    <a:lnTo>
                      <a:pt x="64" y="306"/>
                    </a:lnTo>
                    <a:lnTo>
                      <a:pt x="64" y="306"/>
                    </a:lnTo>
                    <a:lnTo>
                      <a:pt x="64" y="304"/>
                    </a:lnTo>
                    <a:lnTo>
                      <a:pt x="68" y="302"/>
                    </a:lnTo>
                    <a:lnTo>
                      <a:pt x="68" y="302"/>
                    </a:lnTo>
                    <a:lnTo>
                      <a:pt x="68" y="298"/>
                    </a:lnTo>
                    <a:lnTo>
                      <a:pt x="68" y="298"/>
                    </a:lnTo>
                    <a:lnTo>
                      <a:pt x="70" y="298"/>
                    </a:lnTo>
                    <a:lnTo>
                      <a:pt x="70" y="298"/>
                    </a:lnTo>
                    <a:lnTo>
                      <a:pt x="70" y="298"/>
                    </a:lnTo>
                    <a:lnTo>
                      <a:pt x="70" y="298"/>
                    </a:lnTo>
                    <a:lnTo>
                      <a:pt x="70" y="300"/>
                    </a:lnTo>
                    <a:lnTo>
                      <a:pt x="70" y="300"/>
                    </a:lnTo>
                    <a:lnTo>
                      <a:pt x="70" y="302"/>
                    </a:lnTo>
                    <a:lnTo>
                      <a:pt x="70" y="302"/>
                    </a:lnTo>
                    <a:lnTo>
                      <a:pt x="72" y="302"/>
                    </a:lnTo>
                    <a:lnTo>
                      <a:pt x="72" y="300"/>
                    </a:lnTo>
                    <a:lnTo>
                      <a:pt x="74" y="300"/>
                    </a:lnTo>
                    <a:lnTo>
                      <a:pt x="74" y="300"/>
                    </a:lnTo>
                    <a:lnTo>
                      <a:pt x="74" y="298"/>
                    </a:lnTo>
                    <a:lnTo>
                      <a:pt x="76" y="296"/>
                    </a:lnTo>
                    <a:lnTo>
                      <a:pt x="78" y="294"/>
                    </a:lnTo>
                    <a:lnTo>
                      <a:pt x="78" y="292"/>
                    </a:lnTo>
                    <a:lnTo>
                      <a:pt x="78" y="292"/>
                    </a:lnTo>
                    <a:lnTo>
                      <a:pt x="76" y="290"/>
                    </a:lnTo>
                    <a:lnTo>
                      <a:pt x="76" y="290"/>
                    </a:lnTo>
                    <a:lnTo>
                      <a:pt x="74" y="286"/>
                    </a:lnTo>
                    <a:lnTo>
                      <a:pt x="74" y="284"/>
                    </a:lnTo>
                    <a:lnTo>
                      <a:pt x="74" y="284"/>
                    </a:lnTo>
                    <a:lnTo>
                      <a:pt x="74" y="284"/>
                    </a:lnTo>
                    <a:lnTo>
                      <a:pt x="74" y="284"/>
                    </a:lnTo>
                    <a:lnTo>
                      <a:pt x="74" y="284"/>
                    </a:lnTo>
                    <a:lnTo>
                      <a:pt x="76" y="284"/>
                    </a:lnTo>
                    <a:lnTo>
                      <a:pt x="78" y="284"/>
                    </a:lnTo>
                    <a:lnTo>
                      <a:pt x="78" y="288"/>
                    </a:lnTo>
                    <a:lnTo>
                      <a:pt x="78" y="288"/>
                    </a:lnTo>
                    <a:lnTo>
                      <a:pt x="80" y="288"/>
                    </a:lnTo>
                    <a:lnTo>
                      <a:pt x="80" y="290"/>
                    </a:lnTo>
                    <a:lnTo>
                      <a:pt x="80" y="290"/>
                    </a:lnTo>
                    <a:lnTo>
                      <a:pt x="82" y="292"/>
                    </a:lnTo>
                    <a:lnTo>
                      <a:pt x="82" y="292"/>
                    </a:lnTo>
                    <a:lnTo>
                      <a:pt x="82" y="292"/>
                    </a:lnTo>
                    <a:lnTo>
                      <a:pt x="84" y="294"/>
                    </a:lnTo>
                    <a:lnTo>
                      <a:pt x="86" y="296"/>
                    </a:lnTo>
                    <a:lnTo>
                      <a:pt x="86" y="296"/>
                    </a:lnTo>
                    <a:lnTo>
                      <a:pt x="86" y="298"/>
                    </a:lnTo>
                    <a:lnTo>
                      <a:pt x="86" y="298"/>
                    </a:lnTo>
                    <a:lnTo>
                      <a:pt x="88" y="298"/>
                    </a:lnTo>
                    <a:lnTo>
                      <a:pt x="90" y="298"/>
                    </a:lnTo>
                    <a:lnTo>
                      <a:pt x="92" y="298"/>
                    </a:lnTo>
                    <a:lnTo>
                      <a:pt x="92" y="298"/>
                    </a:lnTo>
                    <a:lnTo>
                      <a:pt x="92" y="298"/>
                    </a:lnTo>
                    <a:lnTo>
                      <a:pt x="92" y="298"/>
                    </a:lnTo>
                    <a:lnTo>
                      <a:pt x="92" y="298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98" name="Freeform 350"/>
              <p:cNvSpPr>
                <a:spLocks/>
              </p:cNvSpPr>
              <p:nvPr/>
            </p:nvSpPr>
            <p:spPr bwMode="auto">
              <a:xfrm>
                <a:off x="2821" y="1812"/>
                <a:ext cx="46" cy="54"/>
              </a:xfrm>
              <a:custGeom>
                <a:avLst/>
                <a:gdLst>
                  <a:gd name="T0" fmla="*/ 20 w 46"/>
                  <a:gd name="T1" fmla="*/ 54 h 54"/>
                  <a:gd name="T2" fmla="*/ 26 w 46"/>
                  <a:gd name="T3" fmla="*/ 52 h 54"/>
                  <a:gd name="T4" fmla="*/ 30 w 46"/>
                  <a:gd name="T5" fmla="*/ 50 h 54"/>
                  <a:gd name="T6" fmla="*/ 32 w 46"/>
                  <a:gd name="T7" fmla="*/ 46 h 54"/>
                  <a:gd name="T8" fmla="*/ 32 w 46"/>
                  <a:gd name="T9" fmla="*/ 40 h 54"/>
                  <a:gd name="T10" fmla="*/ 30 w 46"/>
                  <a:gd name="T11" fmla="*/ 34 h 54"/>
                  <a:gd name="T12" fmla="*/ 28 w 46"/>
                  <a:gd name="T13" fmla="*/ 30 h 54"/>
                  <a:gd name="T14" fmla="*/ 28 w 46"/>
                  <a:gd name="T15" fmla="*/ 28 h 54"/>
                  <a:gd name="T16" fmla="*/ 30 w 46"/>
                  <a:gd name="T17" fmla="*/ 28 h 54"/>
                  <a:gd name="T18" fmla="*/ 34 w 46"/>
                  <a:gd name="T19" fmla="*/ 26 h 54"/>
                  <a:gd name="T20" fmla="*/ 38 w 46"/>
                  <a:gd name="T21" fmla="*/ 22 h 54"/>
                  <a:gd name="T22" fmla="*/ 42 w 46"/>
                  <a:gd name="T23" fmla="*/ 20 h 54"/>
                  <a:gd name="T24" fmla="*/ 42 w 46"/>
                  <a:gd name="T25" fmla="*/ 20 h 54"/>
                  <a:gd name="T26" fmla="*/ 46 w 46"/>
                  <a:gd name="T27" fmla="*/ 18 h 54"/>
                  <a:gd name="T28" fmla="*/ 46 w 46"/>
                  <a:gd name="T29" fmla="*/ 16 h 54"/>
                  <a:gd name="T30" fmla="*/ 46 w 46"/>
                  <a:gd name="T31" fmla="*/ 12 h 54"/>
                  <a:gd name="T32" fmla="*/ 46 w 46"/>
                  <a:gd name="T33" fmla="*/ 10 h 54"/>
                  <a:gd name="T34" fmla="*/ 40 w 46"/>
                  <a:gd name="T35" fmla="*/ 8 h 54"/>
                  <a:gd name="T36" fmla="*/ 38 w 46"/>
                  <a:gd name="T37" fmla="*/ 6 h 54"/>
                  <a:gd name="T38" fmla="*/ 32 w 46"/>
                  <a:gd name="T39" fmla="*/ 0 h 54"/>
                  <a:gd name="T40" fmla="*/ 30 w 46"/>
                  <a:gd name="T41" fmla="*/ 0 h 54"/>
                  <a:gd name="T42" fmla="*/ 26 w 46"/>
                  <a:gd name="T43" fmla="*/ 0 h 54"/>
                  <a:gd name="T44" fmla="*/ 22 w 46"/>
                  <a:gd name="T45" fmla="*/ 6 h 54"/>
                  <a:gd name="T46" fmla="*/ 22 w 46"/>
                  <a:gd name="T47" fmla="*/ 10 h 54"/>
                  <a:gd name="T48" fmla="*/ 22 w 46"/>
                  <a:gd name="T49" fmla="*/ 12 h 54"/>
                  <a:gd name="T50" fmla="*/ 20 w 46"/>
                  <a:gd name="T51" fmla="*/ 14 h 54"/>
                  <a:gd name="T52" fmla="*/ 16 w 46"/>
                  <a:gd name="T53" fmla="*/ 12 h 54"/>
                  <a:gd name="T54" fmla="*/ 12 w 46"/>
                  <a:gd name="T55" fmla="*/ 8 h 54"/>
                  <a:gd name="T56" fmla="*/ 10 w 46"/>
                  <a:gd name="T57" fmla="*/ 8 h 54"/>
                  <a:gd name="T58" fmla="*/ 10 w 46"/>
                  <a:gd name="T59" fmla="*/ 12 h 54"/>
                  <a:gd name="T60" fmla="*/ 8 w 46"/>
                  <a:gd name="T61" fmla="*/ 12 h 54"/>
                  <a:gd name="T62" fmla="*/ 4 w 46"/>
                  <a:gd name="T63" fmla="*/ 12 h 54"/>
                  <a:gd name="T64" fmla="*/ 0 w 46"/>
                  <a:gd name="T65" fmla="*/ 16 h 54"/>
                  <a:gd name="T66" fmla="*/ 0 w 46"/>
                  <a:gd name="T67" fmla="*/ 22 h 54"/>
                  <a:gd name="T68" fmla="*/ 0 w 46"/>
                  <a:gd name="T69" fmla="*/ 28 h 54"/>
                  <a:gd name="T70" fmla="*/ 0 w 46"/>
                  <a:gd name="T71" fmla="*/ 30 h 54"/>
                  <a:gd name="T72" fmla="*/ 4 w 46"/>
                  <a:gd name="T73" fmla="*/ 30 h 54"/>
                  <a:gd name="T74" fmla="*/ 8 w 46"/>
                  <a:gd name="T75" fmla="*/ 30 h 54"/>
                  <a:gd name="T76" fmla="*/ 10 w 46"/>
                  <a:gd name="T77" fmla="*/ 34 h 54"/>
                  <a:gd name="T78" fmla="*/ 8 w 46"/>
                  <a:gd name="T79" fmla="*/ 38 h 54"/>
                  <a:gd name="T80" fmla="*/ 6 w 46"/>
                  <a:gd name="T81" fmla="*/ 42 h 54"/>
                  <a:gd name="T82" fmla="*/ 6 w 46"/>
                  <a:gd name="T83" fmla="*/ 48 h 54"/>
                  <a:gd name="T84" fmla="*/ 8 w 46"/>
                  <a:gd name="T85" fmla="*/ 52 h 54"/>
                  <a:gd name="T86" fmla="*/ 20 w 46"/>
                  <a:gd name="T87" fmla="*/ 54 h 54"/>
                  <a:gd name="T88" fmla="*/ 20 w 46"/>
                  <a:gd name="T89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46" h="54">
                    <a:moveTo>
                      <a:pt x="20" y="54"/>
                    </a:moveTo>
                    <a:lnTo>
                      <a:pt x="20" y="54"/>
                    </a:lnTo>
                    <a:lnTo>
                      <a:pt x="20" y="54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26" y="52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30" y="50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32" y="46"/>
                    </a:lnTo>
                    <a:lnTo>
                      <a:pt x="32" y="44"/>
                    </a:lnTo>
                    <a:lnTo>
                      <a:pt x="32" y="40"/>
                    </a:lnTo>
                    <a:lnTo>
                      <a:pt x="32" y="40"/>
                    </a:lnTo>
                    <a:lnTo>
                      <a:pt x="32" y="36"/>
                    </a:lnTo>
                    <a:lnTo>
                      <a:pt x="32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28" y="32"/>
                    </a:lnTo>
                    <a:lnTo>
                      <a:pt x="28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2" y="28"/>
                    </a:lnTo>
                    <a:lnTo>
                      <a:pt x="34" y="26"/>
                    </a:lnTo>
                    <a:lnTo>
                      <a:pt x="34" y="26"/>
                    </a:lnTo>
                    <a:lnTo>
                      <a:pt x="34" y="26"/>
                    </a:lnTo>
                    <a:lnTo>
                      <a:pt x="36" y="24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40" y="22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6" y="18"/>
                    </a:lnTo>
                    <a:lnTo>
                      <a:pt x="46" y="18"/>
                    </a:lnTo>
                    <a:lnTo>
                      <a:pt x="46" y="18"/>
                    </a:lnTo>
                    <a:lnTo>
                      <a:pt x="46" y="16"/>
                    </a:lnTo>
                    <a:lnTo>
                      <a:pt x="46" y="14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6" y="10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0" y="8"/>
                    </a:lnTo>
                    <a:lnTo>
                      <a:pt x="38" y="6"/>
                    </a:lnTo>
                    <a:lnTo>
                      <a:pt x="38" y="6"/>
                    </a:lnTo>
                    <a:lnTo>
                      <a:pt x="38" y="6"/>
                    </a:lnTo>
                    <a:lnTo>
                      <a:pt x="36" y="4"/>
                    </a:lnTo>
                    <a:lnTo>
                      <a:pt x="36" y="2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8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8"/>
                    </a:lnTo>
                    <a:lnTo>
                      <a:pt x="22" y="10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0" y="12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6" y="12"/>
                    </a:lnTo>
                    <a:lnTo>
                      <a:pt x="14" y="10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6" y="12"/>
                    </a:lnTo>
                    <a:lnTo>
                      <a:pt x="4" y="12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0" y="16"/>
                    </a:lnTo>
                    <a:lnTo>
                      <a:pt x="0" y="18"/>
                    </a:lnTo>
                    <a:lnTo>
                      <a:pt x="0" y="20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4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2" y="30"/>
                    </a:lnTo>
                    <a:lnTo>
                      <a:pt x="4" y="30"/>
                    </a:lnTo>
                    <a:lnTo>
                      <a:pt x="6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2"/>
                    </a:lnTo>
                    <a:lnTo>
                      <a:pt x="8" y="34"/>
                    </a:lnTo>
                    <a:lnTo>
                      <a:pt x="10" y="34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8" y="38"/>
                    </a:lnTo>
                    <a:lnTo>
                      <a:pt x="6" y="40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4" y="46"/>
                    </a:lnTo>
                    <a:lnTo>
                      <a:pt x="6" y="48"/>
                    </a:lnTo>
                    <a:lnTo>
                      <a:pt x="6" y="50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10" y="52"/>
                    </a:lnTo>
                    <a:lnTo>
                      <a:pt x="12" y="52"/>
                    </a:lnTo>
                    <a:lnTo>
                      <a:pt x="20" y="54"/>
                    </a:lnTo>
                    <a:lnTo>
                      <a:pt x="20" y="54"/>
                    </a:lnTo>
                    <a:lnTo>
                      <a:pt x="20" y="54"/>
                    </a:lnTo>
                    <a:lnTo>
                      <a:pt x="20" y="54"/>
                    </a:lnTo>
                    <a:lnTo>
                      <a:pt x="20" y="5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99" name="Freeform 352"/>
              <p:cNvSpPr>
                <a:spLocks/>
              </p:cNvSpPr>
              <p:nvPr/>
            </p:nvSpPr>
            <p:spPr bwMode="auto">
              <a:xfrm>
                <a:off x="2821" y="1788"/>
                <a:ext cx="38" cy="36"/>
              </a:xfrm>
              <a:custGeom>
                <a:avLst/>
                <a:gdLst>
                  <a:gd name="T0" fmla="*/ 32 w 38"/>
                  <a:gd name="T1" fmla="*/ 2 h 36"/>
                  <a:gd name="T2" fmla="*/ 22 w 38"/>
                  <a:gd name="T3" fmla="*/ 8 h 36"/>
                  <a:gd name="T4" fmla="*/ 18 w 38"/>
                  <a:gd name="T5" fmla="*/ 10 h 36"/>
                  <a:gd name="T6" fmla="*/ 14 w 38"/>
                  <a:gd name="T7" fmla="*/ 16 h 36"/>
                  <a:gd name="T8" fmla="*/ 12 w 38"/>
                  <a:gd name="T9" fmla="*/ 22 h 36"/>
                  <a:gd name="T10" fmla="*/ 10 w 38"/>
                  <a:gd name="T11" fmla="*/ 24 h 36"/>
                  <a:gd name="T12" fmla="*/ 8 w 38"/>
                  <a:gd name="T13" fmla="*/ 24 h 36"/>
                  <a:gd name="T14" fmla="*/ 2 w 38"/>
                  <a:gd name="T15" fmla="*/ 24 h 36"/>
                  <a:gd name="T16" fmla="*/ 2 w 38"/>
                  <a:gd name="T17" fmla="*/ 24 h 36"/>
                  <a:gd name="T18" fmla="*/ 0 w 38"/>
                  <a:gd name="T19" fmla="*/ 26 h 36"/>
                  <a:gd name="T20" fmla="*/ 0 w 38"/>
                  <a:gd name="T21" fmla="*/ 30 h 36"/>
                  <a:gd name="T22" fmla="*/ 0 w 38"/>
                  <a:gd name="T23" fmla="*/ 32 h 36"/>
                  <a:gd name="T24" fmla="*/ 0 w 38"/>
                  <a:gd name="T25" fmla="*/ 36 h 36"/>
                  <a:gd name="T26" fmla="*/ 2 w 38"/>
                  <a:gd name="T27" fmla="*/ 36 h 36"/>
                  <a:gd name="T28" fmla="*/ 2 w 38"/>
                  <a:gd name="T29" fmla="*/ 36 h 36"/>
                  <a:gd name="T30" fmla="*/ 4 w 38"/>
                  <a:gd name="T31" fmla="*/ 34 h 36"/>
                  <a:gd name="T32" fmla="*/ 4 w 38"/>
                  <a:gd name="T33" fmla="*/ 34 h 36"/>
                  <a:gd name="T34" fmla="*/ 8 w 38"/>
                  <a:gd name="T35" fmla="*/ 32 h 36"/>
                  <a:gd name="T36" fmla="*/ 12 w 38"/>
                  <a:gd name="T37" fmla="*/ 30 h 36"/>
                  <a:gd name="T38" fmla="*/ 12 w 38"/>
                  <a:gd name="T39" fmla="*/ 30 h 36"/>
                  <a:gd name="T40" fmla="*/ 14 w 38"/>
                  <a:gd name="T41" fmla="*/ 26 h 36"/>
                  <a:gd name="T42" fmla="*/ 14 w 38"/>
                  <a:gd name="T43" fmla="*/ 24 h 36"/>
                  <a:gd name="T44" fmla="*/ 14 w 38"/>
                  <a:gd name="T45" fmla="*/ 24 h 36"/>
                  <a:gd name="T46" fmla="*/ 18 w 38"/>
                  <a:gd name="T47" fmla="*/ 20 h 36"/>
                  <a:gd name="T48" fmla="*/ 22 w 38"/>
                  <a:gd name="T49" fmla="*/ 18 h 36"/>
                  <a:gd name="T50" fmla="*/ 26 w 38"/>
                  <a:gd name="T51" fmla="*/ 18 h 36"/>
                  <a:gd name="T52" fmla="*/ 28 w 38"/>
                  <a:gd name="T53" fmla="*/ 18 h 36"/>
                  <a:gd name="T54" fmla="*/ 30 w 38"/>
                  <a:gd name="T55" fmla="*/ 18 h 36"/>
                  <a:gd name="T56" fmla="*/ 30 w 38"/>
                  <a:gd name="T57" fmla="*/ 20 h 36"/>
                  <a:gd name="T58" fmla="*/ 32 w 38"/>
                  <a:gd name="T59" fmla="*/ 22 h 36"/>
                  <a:gd name="T60" fmla="*/ 34 w 38"/>
                  <a:gd name="T61" fmla="*/ 22 h 36"/>
                  <a:gd name="T62" fmla="*/ 36 w 38"/>
                  <a:gd name="T63" fmla="*/ 20 h 36"/>
                  <a:gd name="T64" fmla="*/ 36 w 38"/>
                  <a:gd name="T65" fmla="*/ 20 h 36"/>
                  <a:gd name="T66" fmla="*/ 38 w 38"/>
                  <a:gd name="T67" fmla="*/ 16 h 36"/>
                  <a:gd name="T68" fmla="*/ 38 w 38"/>
                  <a:gd name="T69" fmla="*/ 12 h 36"/>
                  <a:gd name="T70" fmla="*/ 38 w 38"/>
                  <a:gd name="T71" fmla="*/ 10 h 36"/>
                  <a:gd name="T72" fmla="*/ 36 w 38"/>
                  <a:gd name="T73" fmla="*/ 8 h 36"/>
                  <a:gd name="T74" fmla="*/ 36 w 38"/>
                  <a:gd name="T75" fmla="*/ 6 h 36"/>
                  <a:gd name="T76" fmla="*/ 36 w 38"/>
                  <a:gd name="T77" fmla="*/ 4 h 36"/>
                  <a:gd name="T78" fmla="*/ 36 w 38"/>
                  <a:gd name="T79" fmla="*/ 2 h 36"/>
                  <a:gd name="T80" fmla="*/ 36 w 38"/>
                  <a:gd name="T81" fmla="*/ 0 h 36"/>
                  <a:gd name="T82" fmla="*/ 34 w 38"/>
                  <a:gd name="T83" fmla="*/ 0 h 36"/>
                  <a:gd name="T84" fmla="*/ 32 w 38"/>
                  <a:gd name="T85" fmla="*/ 2 h 36"/>
                  <a:gd name="T86" fmla="*/ 32 w 38"/>
                  <a:gd name="T87" fmla="*/ 2 h 36"/>
                  <a:gd name="T88" fmla="*/ 32 w 38"/>
                  <a:gd name="T89" fmla="*/ 2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38" h="36">
                    <a:moveTo>
                      <a:pt x="32" y="2"/>
                    </a:moveTo>
                    <a:lnTo>
                      <a:pt x="32" y="2"/>
                    </a:lnTo>
                    <a:lnTo>
                      <a:pt x="26" y="6"/>
                    </a:lnTo>
                    <a:lnTo>
                      <a:pt x="22" y="8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12"/>
                    </a:lnTo>
                    <a:lnTo>
                      <a:pt x="14" y="1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0" y="22"/>
                    </a:lnTo>
                    <a:lnTo>
                      <a:pt x="10" y="24"/>
                    </a:lnTo>
                    <a:lnTo>
                      <a:pt x="10" y="24"/>
                    </a:lnTo>
                    <a:lnTo>
                      <a:pt x="8" y="24"/>
                    </a:lnTo>
                    <a:lnTo>
                      <a:pt x="6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0" y="24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30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4"/>
                    </a:lnTo>
                    <a:lnTo>
                      <a:pt x="0" y="36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4" y="36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6" y="32"/>
                    </a:lnTo>
                    <a:lnTo>
                      <a:pt x="8" y="32"/>
                    </a:lnTo>
                    <a:lnTo>
                      <a:pt x="10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4" y="28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4"/>
                    </a:lnTo>
                    <a:lnTo>
                      <a:pt x="14" y="24"/>
                    </a:lnTo>
                    <a:lnTo>
                      <a:pt x="14" y="24"/>
                    </a:lnTo>
                    <a:lnTo>
                      <a:pt x="16" y="22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22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30" y="18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4" y="22"/>
                    </a:lnTo>
                    <a:lnTo>
                      <a:pt x="36" y="22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18"/>
                    </a:lnTo>
                    <a:lnTo>
                      <a:pt x="38" y="16"/>
                    </a:lnTo>
                    <a:lnTo>
                      <a:pt x="38" y="14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6" y="8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2"/>
                    </a:lnTo>
                    <a:lnTo>
                      <a:pt x="36" y="2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32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00" name="Freeform 354"/>
              <p:cNvSpPr>
                <a:spLocks/>
              </p:cNvSpPr>
              <p:nvPr/>
            </p:nvSpPr>
            <p:spPr bwMode="auto">
              <a:xfrm>
                <a:off x="2855" y="1842"/>
                <a:ext cx="10" cy="14"/>
              </a:xfrm>
              <a:custGeom>
                <a:avLst/>
                <a:gdLst>
                  <a:gd name="T0" fmla="*/ 2 w 10"/>
                  <a:gd name="T1" fmla="*/ 0 h 14"/>
                  <a:gd name="T2" fmla="*/ 2 w 10"/>
                  <a:gd name="T3" fmla="*/ 0 h 14"/>
                  <a:gd name="T4" fmla="*/ 0 w 10"/>
                  <a:gd name="T5" fmla="*/ 2 h 14"/>
                  <a:gd name="T6" fmla="*/ 0 w 10"/>
                  <a:gd name="T7" fmla="*/ 2 h 14"/>
                  <a:gd name="T8" fmla="*/ 2 w 10"/>
                  <a:gd name="T9" fmla="*/ 4 h 14"/>
                  <a:gd name="T10" fmla="*/ 2 w 10"/>
                  <a:gd name="T11" fmla="*/ 4 h 14"/>
                  <a:gd name="T12" fmla="*/ 0 w 10"/>
                  <a:gd name="T13" fmla="*/ 6 h 14"/>
                  <a:gd name="T14" fmla="*/ 0 w 10"/>
                  <a:gd name="T15" fmla="*/ 6 h 14"/>
                  <a:gd name="T16" fmla="*/ 0 w 10"/>
                  <a:gd name="T17" fmla="*/ 10 h 14"/>
                  <a:gd name="T18" fmla="*/ 0 w 10"/>
                  <a:gd name="T19" fmla="*/ 10 h 14"/>
                  <a:gd name="T20" fmla="*/ 0 w 10"/>
                  <a:gd name="T21" fmla="*/ 10 h 14"/>
                  <a:gd name="T22" fmla="*/ 0 w 10"/>
                  <a:gd name="T23" fmla="*/ 12 h 14"/>
                  <a:gd name="T24" fmla="*/ 2 w 10"/>
                  <a:gd name="T25" fmla="*/ 12 h 14"/>
                  <a:gd name="T26" fmla="*/ 2 w 10"/>
                  <a:gd name="T27" fmla="*/ 12 h 14"/>
                  <a:gd name="T28" fmla="*/ 4 w 10"/>
                  <a:gd name="T29" fmla="*/ 14 h 14"/>
                  <a:gd name="T30" fmla="*/ 6 w 10"/>
                  <a:gd name="T31" fmla="*/ 14 h 14"/>
                  <a:gd name="T32" fmla="*/ 6 w 10"/>
                  <a:gd name="T33" fmla="*/ 14 h 14"/>
                  <a:gd name="T34" fmla="*/ 8 w 10"/>
                  <a:gd name="T35" fmla="*/ 14 h 14"/>
                  <a:gd name="T36" fmla="*/ 8 w 10"/>
                  <a:gd name="T37" fmla="*/ 12 h 14"/>
                  <a:gd name="T38" fmla="*/ 10 w 10"/>
                  <a:gd name="T39" fmla="*/ 10 h 14"/>
                  <a:gd name="T40" fmla="*/ 10 w 10"/>
                  <a:gd name="T41" fmla="*/ 10 h 14"/>
                  <a:gd name="T42" fmla="*/ 10 w 10"/>
                  <a:gd name="T43" fmla="*/ 8 h 14"/>
                  <a:gd name="T44" fmla="*/ 10 w 10"/>
                  <a:gd name="T45" fmla="*/ 6 h 14"/>
                  <a:gd name="T46" fmla="*/ 10 w 10"/>
                  <a:gd name="T47" fmla="*/ 4 h 14"/>
                  <a:gd name="T48" fmla="*/ 8 w 10"/>
                  <a:gd name="T49" fmla="*/ 4 h 14"/>
                  <a:gd name="T50" fmla="*/ 8 w 10"/>
                  <a:gd name="T51" fmla="*/ 4 h 14"/>
                  <a:gd name="T52" fmla="*/ 8 w 10"/>
                  <a:gd name="T53" fmla="*/ 2 h 14"/>
                  <a:gd name="T54" fmla="*/ 4 w 10"/>
                  <a:gd name="T55" fmla="*/ 0 h 14"/>
                  <a:gd name="T56" fmla="*/ 4 w 10"/>
                  <a:gd name="T57" fmla="*/ 0 h 14"/>
                  <a:gd name="T58" fmla="*/ 2 w 10"/>
                  <a:gd name="T59" fmla="*/ 0 h 14"/>
                  <a:gd name="T60" fmla="*/ 2 w 10"/>
                  <a:gd name="T61" fmla="*/ 0 h 14"/>
                  <a:gd name="T62" fmla="*/ 2 w 10"/>
                  <a:gd name="T63" fmla="*/ 0 h 14"/>
                  <a:gd name="T64" fmla="*/ 2 w 10"/>
                  <a:gd name="T65" fmla="*/ 0 h 14"/>
                  <a:gd name="T66" fmla="*/ 2 w 10"/>
                  <a:gd name="T67" fmla="*/ 0 h 14"/>
                  <a:gd name="T68" fmla="*/ 2 w 10"/>
                  <a:gd name="T69" fmla="*/ 0 h 14"/>
                  <a:gd name="T70" fmla="*/ 2 w 10"/>
                  <a:gd name="T71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0" h="14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8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0" y="8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01" name="Freeform 356"/>
              <p:cNvSpPr>
                <a:spLocks/>
              </p:cNvSpPr>
              <p:nvPr/>
            </p:nvSpPr>
            <p:spPr bwMode="auto">
              <a:xfrm>
                <a:off x="2863" y="1834"/>
                <a:ext cx="24" cy="18"/>
              </a:xfrm>
              <a:custGeom>
                <a:avLst/>
                <a:gdLst>
                  <a:gd name="T0" fmla="*/ 6 w 24"/>
                  <a:gd name="T1" fmla="*/ 12 h 18"/>
                  <a:gd name="T2" fmla="*/ 6 w 24"/>
                  <a:gd name="T3" fmla="*/ 12 h 18"/>
                  <a:gd name="T4" fmla="*/ 8 w 24"/>
                  <a:gd name="T5" fmla="*/ 14 h 18"/>
                  <a:gd name="T6" fmla="*/ 10 w 24"/>
                  <a:gd name="T7" fmla="*/ 16 h 18"/>
                  <a:gd name="T8" fmla="*/ 10 w 24"/>
                  <a:gd name="T9" fmla="*/ 16 h 18"/>
                  <a:gd name="T10" fmla="*/ 12 w 24"/>
                  <a:gd name="T11" fmla="*/ 18 h 18"/>
                  <a:gd name="T12" fmla="*/ 14 w 24"/>
                  <a:gd name="T13" fmla="*/ 18 h 18"/>
                  <a:gd name="T14" fmla="*/ 14 w 24"/>
                  <a:gd name="T15" fmla="*/ 18 h 18"/>
                  <a:gd name="T16" fmla="*/ 14 w 24"/>
                  <a:gd name="T17" fmla="*/ 18 h 18"/>
                  <a:gd name="T18" fmla="*/ 16 w 24"/>
                  <a:gd name="T19" fmla="*/ 18 h 18"/>
                  <a:gd name="T20" fmla="*/ 18 w 24"/>
                  <a:gd name="T21" fmla="*/ 18 h 18"/>
                  <a:gd name="T22" fmla="*/ 18 w 24"/>
                  <a:gd name="T23" fmla="*/ 16 h 18"/>
                  <a:gd name="T24" fmla="*/ 18 w 24"/>
                  <a:gd name="T25" fmla="*/ 16 h 18"/>
                  <a:gd name="T26" fmla="*/ 20 w 24"/>
                  <a:gd name="T27" fmla="*/ 16 h 18"/>
                  <a:gd name="T28" fmla="*/ 22 w 24"/>
                  <a:gd name="T29" fmla="*/ 14 h 18"/>
                  <a:gd name="T30" fmla="*/ 22 w 24"/>
                  <a:gd name="T31" fmla="*/ 14 h 18"/>
                  <a:gd name="T32" fmla="*/ 24 w 24"/>
                  <a:gd name="T33" fmla="*/ 14 h 18"/>
                  <a:gd name="T34" fmla="*/ 24 w 24"/>
                  <a:gd name="T35" fmla="*/ 12 h 18"/>
                  <a:gd name="T36" fmla="*/ 24 w 24"/>
                  <a:gd name="T37" fmla="*/ 12 h 18"/>
                  <a:gd name="T38" fmla="*/ 24 w 24"/>
                  <a:gd name="T39" fmla="*/ 12 h 18"/>
                  <a:gd name="T40" fmla="*/ 24 w 24"/>
                  <a:gd name="T41" fmla="*/ 12 h 18"/>
                  <a:gd name="T42" fmla="*/ 22 w 24"/>
                  <a:gd name="T43" fmla="*/ 10 h 18"/>
                  <a:gd name="T44" fmla="*/ 22 w 24"/>
                  <a:gd name="T45" fmla="*/ 8 h 18"/>
                  <a:gd name="T46" fmla="*/ 22 w 24"/>
                  <a:gd name="T47" fmla="*/ 8 h 18"/>
                  <a:gd name="T48" fmla="*/ 20 w 24"/>
                  <a:gd name="T49" fmla="*/ 4 h 18"/>
                  <a:gd name="T50" fmla="*/ 20 w 24"/>
                  <a:gd name="T51" fmla="*/ 2 h 18"/>
                  <a:gd name="T52" fmla="*/ 20 w 24"/>
                  <a:gd name="T53" fmla="*/ 2 h 18"/>
                  <a:gd name="T54" fmla="*/ 18 w 24"/>
                  <a:gd name="T55" fmla="*/ 2 h 18"/>
                  <a:gd name="T56" fmla="*/ 18 w 24"/>
                  <a:gd name="T57" fmla="*/ 0 h 18"/>
                  <a:gd name="T58" fmla="*/ 16 w 24"/>
                  <a:gd name="T59" fmla="*/ 0 h 18"/>
                  <a:gd name="T60" fmla="*/ 14 w 24"/>
                  <a:gd name="T61" fmla="*/ 0 h 18"/>
                  <a:gd name="T62" fmla="*/ 14 w 24"/>
                  <a:gd name="T63" fmla="*/ 0 h 18"/>
                  <a:gd name="T64" fmla="*/ 14 w 24"/>
                  <a:gd name="T65" fmla="*/ 0 h 18"/>
                  <a:gd name="T66" fmla="*/ 12 w 24"/>
                  <a:gd name="T67" fmla="*/ 2 h 18"/>
                  <a:gd name="T68" fmla="*/ 12 w 24"/>
                  <a:gd name="T69" fmla="*/ 4 h 18"/>
                  <a:gd name="T70" fmla="*/ 12 w 24"/>
                  <a:gd name="T71" fmla="*/ 4 h 18"/>
                  <a:gd name="T72" fmla="*/ 12 w 24"/>
                  <a:gd name="T73" fmla="*/ 4 h 18"/>
                  <a:gd name="T74" fmla="*/ 10 w 24"/>
                  <a:gd name="T75" fmla="*/ 6 h 18"/>
                  <a:gd name="T76" fmla="*/ 8 w 24"/>
                  <a:gd name="T77" fmla="*/ 6 h 18"/>
                  <a:gd name="T78" fmla="*/ 8 w 24"/>
                  <a:gd name="T79" fmla="*/ 6 h 18"/>
                  <a:gd name="T80" fmla="*/ 6 w 24"/>
                  <a:gd name="T81" fmla="*/ 6 h 18"/>
                  <a:gd name="T82" fmla="*/ 4 w 24"/>
                  <a:gd name="T83" fmla="*/ 4 h 18"/>
                  <a:gd name="T84" fmla="*/ 0 w 24"/>
                  <a:gd name="T85" fmla="*/ 4 h 18"/>
                  <a:gd name="T86" fmla="*/ 0 w 24"/>
                  <a:gd name="T87" fmla="*/ 4 h 18"/>
                  <a:gd name="T88" fmla="*/ 0 w 24"/>
                  <a:gd name="T89" fmla="*/ 4 h 18"/>
                  <a:gd name="T90" fmla="*/ 0 w 24"/>
                  <a:gd name="T91" fmla="*/ 4 h 18"/>
                  <a:gd name="T92" fmla="*/ 0 w 24"/>
                  <a:gd name="T93" fmla="*/ 6 h 18"/>
                  <a:gd name="T94" fmla="*/ 2 w 24"/>
                  <a:gd name="T95" fmla="*/ 8 h 18"/>
                  <a:gd name="T96" fmla="*/ 2 w 24"/>
                  <a:gd name="T97" fmla="*/ 8 h 18"/>
                  <a:gd name="T98" fmla="*/ 4 w 24"/>
                  <a:gd name="T99" fmla="*/ 10 h 18"/>
                  <a:gd name="T100" fmla="*/ 6 w 24"/>
                  <a:gd name="T101" fmla="*/ 12 h 18"/>
                  <a:gd name="T102" fmla="*/ 6 w 24"/>
                  <a:gd name="T103" fmla="*/ 12 h 18"/>
                  <a:gd name="T104" fmla="*/ 6 w 24"/>
                  <a:gd name="T105" fmla="*/ 12 h 18"/>
                  <a:gd name="T106" fmla="*/ 6 w 24"/>
                  <a:gd name="T107" fmla="*/ 12 h 18"/>
                  <a:gd name="T108" fmla="*/ 6 w 24"/>
                  <a:gd name="T109" fmla="*/ 12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4" h="18">
                    <a:moveTo>
                      <a:pt x="6" y="12"/>
                    </a:moveTo>
                    <a:lnTo>
                      <a:pt x="6" y="12"/>
                    </a:lnTo>
                    <a:lnTo>
                      <a:pt x="8" y="14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2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6" y="18"/>
                    </a:lnTo>
                    <a:lnTo>
                      <a:pt x="18" y="18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20" y="16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4" y="14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2" y="10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0" y="4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8" y="2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2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6" y="6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02" name="Freeform 358"/>
              <p:cNvSpPr>
                <a:spLocks/>
              </p:cNvSpPr>
              <p:nvPr/>
            </p:nvSpPr>
            <p:spPr bwMode="auto">
              <a:xfrm>
                <a:off x="2863" y="1856"/>
                <a:ext cx="18" cy="6"/>
              </a:xfrm>
              <a:custGeom>
                <a:avLst/>
                <a:gdLst>
                  <a:gd name="T0" fmla="*/ 0 w 18"/>
                  <a:gd name="T1" fmla="*/ 2 h 6"/>
                  <a:gd name="T2" fmla="*/ 0 w 18"/>
                  <a:gd name="T3" fmla="*/ 2 h 6"/>
                  <a:gd name="T4" fmla="*/ 0 w 18"/>
                  <a:gd name="T5" fmla="*/ 2 h 6"/>
                  <a:gd name="T6" fmla="*/ 0 w 18"/>
                  <a:gd name="T7" fmla="*/ 4 h 6"/>
                  <a:gd name="T8" fmla="*/ 2 w 18"/>
                  <a:gd name="T9" fmla="*/ 4 h 6"/>
                  <a:gd name="T10" fmla="*/ 4 w 18"/>
                  <a:gd name="T11" fmla="*/ 4 h 6"/>
                  <a:gd name="T12" fmla="*/ 4 w 18"/>
                  <a:gd name="T13" fmla="*/ 4 h 6"/>
                  <a:gd name="T14" fmla="*/ 6 w 18"/>
                  <a:gd name="T15" fmla="*/ 4 h 6"/>
                  <a:gd name="T16" fmla="*/ 8 w 18"/>
                  <a:gd name="T17" fmla="*/ 6 h 6"/>
                  <a:gd name="T18" fmla="*/ 8 w 18"/>
                  <a:gd name="T19" fmla="*/ 6 h 6"/>
                  <a:gd name="T20" fmla="*/ 8 w 18"/>
                  <a:gd name="T21" fmla="*/ 6 h 6"/>
                  <a:gd name="T22" fmla="*/ 10 w 18"/>
                  <a:gd name="T23" fmla="*/ 6 h 6"/>
                  <a:gd name="T24" fmla="*/ 12 w 18"/>
                  <a:gd name="T25" fmla="*/ 6 h 6"/>
                  <a:gd name="T26" fmla="*/ 12 w 18"/>
                  <a:gd name="T27" fmla="*/ 6 h 6"/>
                  <a:gd name="T28" fmla="*/ 14 w 18"/>
                  <a:gd name="T29" fmla="*/ 4 h 6"/>
                  <a:gd name="T30" fmla="*/ 14 w 18"/>
                  <a:gd name="T31" fmla="*/ 4 h 6"/>
                  <a:gd name="T32" fmla="*/ 16 w 18"/>
                  <a:gd name="T33" fmla="*/ 4 h 6"/>
                  <a:gd name="T34" fmla="*/ 18 w 18"/>
                  <a:gd name="T35" fmla="*/ 4 h 6"/>
                  <a:gd name="T36" fmla="*/ 18 w 18"/>
                  <a:gd name="T37" fmla="*/ 2 h 6"/>
                  <a:gd name="T38" fmla="*/ 18 w 18"/>
                  <a:gd name="T39" fmla="*/ 2 h 6"/>
                  <a:gd name="T40" fmla="*/ 18 w 18"/>
                  <a:gd name="T41" fmla="*/ 2 h 6"/>
                  <a:gd name="T42" fmla="*/ 18 w 18"/>
                  <a:gd name="T43" fmla="*/ 0 h 6"/>
                  <a:gd name="T44" fmla="*/ 18 w 18"/>
                  <a:gd name="T45" fmla="*/ 0 h 6"/>
                  <a:gd name="T46" fmla="*/ 18 w 18"/>
                  <a:gd name="T47" fmla="*/ 0 h 6"/>
                  <a:gd name="T48" fmla="*/ 16 w 18"/>
                  <a:gd name="T49" fmla="*/ 0 h 6"/>
                  <a:gd name="T50" fmla="*/ 14 w 18"/>
                  <a:gd name="T51" fmla="*/ 0 h 6"/>
                  <a:gd name="T52" fmla="*/ 12 w 18"/>
                  <a:gd name="T53" fmla="*/ 0 h 6"/>
                  <a:gd name="T54" fmla="*/ 10 w 18"/>
                  <a:gd name="T55" fmla="*/ 0 h 6"/>
                  <a:gd name="T56" fmla="*/ 10 w 18"/>
                  <a:gd name="T57" fmla="*/ 0 h 6"/>
                  <a:gd name="T58" fmla="*/ 8 w 18"/>
                  <a:gd name="T59" fmla="*/ 2 h 6"/>
                  <a:gd name="T60" fmla="*/ 6 w 18"/>
                  <a:gd name="T61" fmla="*/ 2 h 6"/>
                  <a:gd name="T62" fmla="*/ 6 w 18"/>
                  <a:gd name="T63" fmla="*/ 2 h 6"/>
                  <a:gd name="T64" fmla="*/ 2 w 18"/>
                  <a:gd name="T65" fmla="*/ 2 h 6"/>
                  <a:gd name="T66" fmla="*/ 0 w 18"/>
                  <a:gd name="T67" fmla="*/ 2 h 6"/>
                  <a:gd name="T68" fmla="*/ 0 w 18"/>
                  <a:gd name="T69" fmla="*/ 2 h 6"/>
                  <a:gd name="T70" fmla="*/ 0 w 18"/>
                  <a:gd name="T71" fmla="*/ 2 h 6"/>
                  <a:gd name="T72" fmla="*/ 0 w 18"/>
                  <a:gd name="T73" fmla="*/ 2 h 6"/>
                  <a:gd name="T74" fmla="*/ 0 w 18"/>
                  <a:gd name="T75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8" h="6">
                    <a:moveTo>
                      <a:pt x="0" y="2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0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6" y="4"/>
                    </a:lnTo>
                    <a:lnTo>
                      <a:pt x="18" y="4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03" name="Freeform 361"/>
              <p:cNvSpPr>
                <a:spLocks/>
              </p:cNvSpPr>
              <p:nvPr/>
            </p:nvSpPr>
            <p:spPr bwMode="auto">
              <a:xfrm>
                <a:off x="1943" y="1108"/>
                <a:ext cx="648" cy="624"/>
              </a:xfrm>
              <a:custGeom>
                <a:avLst/>
                <a:gdLst>
                  <a:gd name="T0" fmla="*/ 110 w 648"/>
                  <a:gd name="T1" fmla="*/ 36 h 624"/>
                  <a:gd name="T2" fmla="*/ 92 w 648"/>
                  <a:gd name="T3" fmla="*/ 58 h 624"/>
                  <a:gd name="T4" fmla="*/ 34 w 648"/>
                  <a:gd name="T5" fmla="*/ 70 h 624"/>
                  <a:gd name="T6" fmla="*/ 24 w 648"/>
                  <a:gd name="T7" fmla="*/ 110 h 624"/>
                  <a:gd name="T8" fmla="*/ 26 w 648"/>
                  <a:gd name="T9" fmla="*/ 120 h 624"/>
                  <a:gd name="T10" fmla="*/ 22 w 648"/>
                  <a:gd name="T11" fmla="*/ 136 h 624"/>
                  <a:gd name="T12" fmla="*/ 26 w 648"/>
                  <a:gd name="T13" fmla="*/ 172 h 624"/>
                  <a:gd name="T14" fmla="*/ 70 w 648"/>
                  <a:gd name="T15" fmla="*/ 174 h 624"/>
                  <a:gd name="T16" fmla="*/ 122 w 648"/>
                  <a:gd name="T17" fmla="*/ 232 h 624"/>
                  <a:gd name="T18" fmla="*/ 142 w 648"/>
                  <a:gd name="T19" fmla="*/ 292 h 624"/>
                  <a:gd name="T20" fmla="*/ 144 w 648"/>
                  <a:gd name="T21" fmla="*/ 324 h 624"/>
                  <a:gd name="T22" fmla="*/ 158 w 648"/>
                  <a:gd name="T23" fmla="*/ 322 h 624"/>
                  <a:gd name="T24" fmla="*/ 158 w 648"/>
                  <a:gd name="T25" fmla="*/ 350 h 624"/>
                  <a:gd name="T26" fmla="*/ 172 w 648"/>
                  <a:gd name="T27" fmla="*/ 358 h 624"/>
                  <a:gd name="T28" fmla="*/ 150 w 648"/>
                  <a:gd name="T29" fmla="*/ 406 h 624"/>
                  <a:gd name="T30" fmla="*/ 142 w 648"/>
                  <a:gd name="T31" fmla="*/ 430 h 624"/>
                  <a:gd name="T32" fmla="*/ 136 w 648"/>
                  <a:gd name="T33" fmla="*/ 450 h 624"/>
                  <a:gd name="T34" fmla="*/ 128 w 648"/>
                  <a:gd name="T35" fmla="*/ 478 h 624"/>
                  <a:gd name="T36" fmla="*/ 138 w 648"/>
                  <a:gd name="T37" fmla="*/ 508 h 624"/>
                  <a:gd name="T38" fmla="*/ 142 w 648"/>
                  <a:gd name="T39" fmla="*/ 570 h 624"/>
                  <a:gd name="T40" fmla="*/ 190 w 648"/>
                  <a:gd name="T41" fmla="*/ 592 h 624"/>
                  <a:gd name="T42" fmla="*/ 196 w 648"/>
                  <a:gd name="T43" fmla="*/ 620 h 624"/>
                  <a:gd name="T44" fmla="*/ 228 w 648"/>
                  <a:gd name="T45" fmla="*/ 600 h 624"/>
                  <a:gd name="T46" fmla="*/ 244 w 648"/>
                  <a:gd name="T47" fmla="*/ 566 h 624"/>
                  <a:gd name="T48" fmla="*/ 268 w 648"/>
                  <a:gd name="T49" fmla="*/ 526 h 624"/>
                  <a:gd name="T50" fmla="*/ 306 w 648"/>
                  <a:gd name="T51" fmla="*/ 498 h 624"/>
                  <a:gd name="T52" fmla="*/ 320 w 648"/>
                  <a:gd name="T53" fmla="*/ 498 h 624"/>
                  <a:gd name="T54" fmla="*/ 372 w 648"/>
                  <a:gd name="T55" fmla="*/ 460 h 624"/>
                  <a:gd name="T56" fmla="*/ 420 w 648"/>
                  <a:gd name="T57" fmla="*/ 436 h 624"/>
                  <a:gd name="T58" fmla="*/ 512 w 648"/>
                  <a:gd name="T59" fmla="*/ 400 h 624"/>
                  <a:gd name="T60" fmla="*/ 444 w 648"/>
                  <a:gd name="T61" fmla="*/ 396 h 624"/>
                  <a:gd name="T62" fmla="*/ 456 w 648"/>
                  <a:gd name="T63" fmla="*/ 374 h 624"/>
                  <a:gd name="T64" fmla="*/ 454 w 648"/>
                  <a:gd name="T65" fmla="*/ 354 h 624"/>
                  <a:gd name="T66" fmla="*/ 502 w 648"/>
                  <a:gd name="T67" fmla="*/ 386 h 624"/>
                  <a:gd name="T68" fmla="*/ 518 w 648"/>
                  <a:gd name="T69" fmla="*/ 348 h 624"/>
                  <a:gd name="T70" fmla="*/ 480 w 648"/>
                  <a:gd name="T71" fmla="*/ 326 h 624"/>
                  <a:gd name="T72" fmla="*/ 490 w 648"/>
                  <a:gd name="T73" fmla="*/ 314 h 624"/>
                  <a:gd name="T74" fmla="*/ 516 w 648"/>
                  <a:gd name="T75" fmla="*/ 302 h 624"/>
                  <a:gd name="T76" fmla="*/ 532 w 648"/>
                  <a:gd name="T77" fmla="*/ 286 h 624"/>
                  <a:gd name="T78" fmla="*/ 546 w 648"/>
                  <a:gd name="T79" fmla="*/ 260 h 624"/>
                  <a:gd name="T80" fmla="*/ 538 w 648"/>
                  <a:gd name="T81" fmla="*/ 226 h 624"/>
                  <a:gd name="T82" fmla="*/ 578 w 648"/>
                  <a:gd name="T83" fmla="*/ 224 h 624"/>
                  <a:gd name="T84" fmla="*/ 572 w 648"/>
                  <a:gd name="T85" fmla="*/ 196 h 624"/>
                  <a:gd name="T86" fmla="*/ 570 w 648"/>
                  <a:gd name="T87" fmla="*/ 152 h 624"/>
                  <a:gd name="T88" fmla="*/ 584 w 648"/>
                  <a:gd name="T89" fmla="*/ 120 h 624"/>
                  <a:gd name="T90" fmla="*/ 640 w 648"/>
                  <a:gd name="T91" fmla="*/ 94 h 624"/>
                  <a:gd name="T92" fmla="*/ 576 w 648"/>
                  <a:gd name="T93" fmla="*/ 82 h 624"/>
                  <a:gd name="T94" fmla="*/ 526 w 648"/>
                  <a:gd name="T95" fmla="*/ 110 h 624"/>
                  <a:gd name="T96" fmla="*/ 522 w 648"/>
                  <a:gd name="T97" fmla="*/ 76 h 624"/>
                  <a:gd name="T98" fmla="*/ 482 w 648"/>
                  <a:gd name="T99" fmla="*/ 66 h 624"/>
                  <a:gd name="T100" fmla="*/ 450 w 648"/>
                  <a:gd name="T101" fmla="*/ 50 h 624"/>
                  <a:gd name="T102" fmla="*/ 538 w 648"/>
                  <a:gd name="T103" fmla="*/ 46 h 624"/>
                  <a:gd name="T104" fmla="*/ 432 w 648"/>
                  <a:gd name="T105" fmla="*/ 34 h 624"/>
                  <a:gd name="T106" fmla="*/ 438 w 648"/>
                  <a:gd name="T107" fmla="*/ 22 h 624"/>
                  <a:gd name="T108" fmla="*/ 496 w 648"/>
                  <a:gd name="T109" fmla="*/ 10 h 624"/>
                  <a:gd name="T110" fmla="*/ 392 w 648"/>
                  <a:gd name="T111" fmla="*/ 4 h 624"/>
                  <a:gd name="T112" fmla="*/ 346 w 648"/>
                  <a:gd name="T113" fmla="*/ 2 h 624"/>
                  <a:gd name="T114" fmla="*/ 320 w 648"/>
                  <a:gd name="T115" fmla="*/ 22 h 624"/>
                  <a:gd name="T116" fmla="*/ 324 w 648"/>
                  <a:gd name="T117" fmla="*/ 34 h 624"/>
                  <a:gd name="T118" fmla="*/ 272 w 648"/>
                  <a:gd name="T119" fmla="*/ 24 h 624"/>
                  <a:gd name="T120" fmla="*/ 230 w 648"/>
                  <a:gd name="T121" fmla="*/ 28 h 624"/>
                  <a:gd name="T122" fmla="*/ 174 w 648"/>
                  <a:gd name="T123" fmla="*/ 14 h 624"/>
                  <a:gd name="T124" fmla="*/ 152 w 648"/>
                  <a:gd name="T125" fmla="*/ 12 h 6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48" h="624">
                    <a:moveTo>
                      <a:pt x="140" y="12"/>
                    </a:moveTo>
                    <a:lnTo>
                      <a:pt x="140" y="12"/>
                    </a:lnTo>
                    <a:lnTo>
                      <a:pt x="138" y="12"/>
                    </a:lnTo>
                    <a:lnTo>
                      <a:pt x="138" y="14"/>
                    </a:lnTo>
                    <a:lnTo>
                      <a:pt x="134" y="14"/>
                    </a:lnTo>
                    <a:lnTo>
                      <a:pt x="134" y="14"/>
                    </a:lnTo>
                    <a:lnTo>
                      <a:pt x="132" y="16"/>
                    </a:lnTo>
                    <a:lnTo>
                      <a:pt x="132" y="16"/>
                    </a:lnTo>
                    <a:lnTo>
                      <a:pt x="132" y="18"/>
                    </a:lnTo>
                    <a:lnTo>
                      <a:pt x="130" y="18"/>
                    </a:lnTo>
                    <a:lnTo>
                      <a:pt x="130" y="18"/>
                    </a:lnTo>
                    <a:lnTo>
                      <a:pt x="130" y="20"/>
                    </a:lnTo>
                    <a:lnTo>
                      <a:pt x="132" y="20"/>
                    </a:lnTo>
                    <a:lnTo>
                      <a:pt x="132" y="22"/>
                    </a:lnTo>
                    <a:lnTo>
                      <a:pt x="132" y="22"/>
                    </a:lnTo>
                    <a:lnTo>
                      <a:pt x="132" y="22"/>
                    </a:lnTo>
                    <a:lnTo>
                      <a:pt x="132" y="22"/>
                    </a:lnTo>
                    <a:lnTo>
                      <a:pt x="130" y="24"/>
                    </a:lnTo>
                    <a:lnTo>
                      <a:pt x="130" y="24"/>
                    </a:lnTo>
                    <a:lnTo>
                      <a:pt x="128" y="24"/>
                    </a:lnTo>
                    <a:lnTo>
                      <a:pt x="128" y="24"/>
                    </a:lnTo>
                    <a:lnTo>
                      <a:pt x="128" y="24"/>
                    </a:lnTo>
                    <a:lnTo>
                      <a:pt x="128" y="26"/>
                    </a:lnTo>
                    <a:lnTo>
                      <a:pt x="130" y="28"/>
                    </a:lnTo>
                    <a:lnTo>
                      <a:pt x="130" y="28"/>
                    </a:lnTo>
                    <a:lnTo>
                      <a:pt x="130" y="28"/>
                    </a:lnTo>
                    <a:lnTo>
                      <a:pt x="130" y="30"/>
                    </a:lnTo>
                    <a:lnTo>
                      <a:pt x="130" y="30"/>
                    </a:lnTo>
                    <a:lnTo>
                      <a:pt x="130" y="32"/>
                    </a:lnTo>
                    <a:lnTo>
                      <a:pt x="130" y="32"/>
                    </a:lnTo>
                    <a:lnTo>
                      <a:pt x="130" y="32"/>
                    </a:lnTo>
                    <a:lnTo>
                      <a:pt x="130" y="32"/>
                    </a:lnTo>
                    <a:lnTo>
                      <a:pt x="126" y="34"/>
                    </a:lnTo>
                    <a:lnTo>
                      <a:pt x="126" y="34"/>
                    </a:lnTo>
                    <a:lnTo>
                      <a:pt x="126" y="34"/>
                    </a:lnTo>
                    <a:lnTo>
                      <a:pt x="126" y="34"/>
                    </a:lnTo>
                    <a:lnTo>
                      <a:pt x="124" y="34"/>
                    </a:lnTo>
                    <a:lnTo>
                      <a:pt x="122" y="34"/>
                    </a:lnTo>
                    <a:lnTo>
                      <a:pt x="120" y="32"/>
                    </a:lnTo>
                    <a:lnTo>
                      <a:pt x="120" y="32"/>
                    </a:lnTo>
                    <a:lnTo>
                      <a:pt x="118" y="30"/>
                    </a:lnTo>
                    <a:lnTo>
                      <a:pt x="118" y="28"/>
                    </a:lnTo>
                    <a:lnTo>
                      <a:pt x="118" y="28"/>
                    </a:lnTo>
                    <a:lnTo>
                      <a:pt x="118" y="28"/>
                    </a:lnTo>
                    <a:lnTo>
                      <a:pt x="116" y="26"/>
                    </a:lnTo>
                    <a:lnTo>
                      <a:pt x="114" y="26"/>
                    </a:lnTo>
                    <a:lnTo>
                      <a:pt x="114" y="28"/>
                    </a:lnTo>
                    <a:lnTo>
                      <a:pt x="112" y="28"/>
                    </a:lnTo>
                    <a:lnTo>
                      <a:pt x="112" y="28"/>
                    </a:lnTo>
                    <a:lnTo>
                      <a:pt x="112" y="30"/>
                    </a:lnTo>
                    <a:lnTo>
                      <a:pt x="112" y="30"/>
                    </a:lnTo>
                    <a:lnTo>
                      <a:pt x="112" y="30"/>
                    </a:lnTo>
                    <a:lnTo>
                      <a:pt x="112" y="34"/>
                    </a:lnTo>
                    <a:lnTo>
                      <a:pt x="112" y="34"/>
                    </a:lnTo>
                    <a:lnTo>
                      <a:pt x="112" y="34"/>
                    </a:lnTo>
                    <a:lnTo>
                      <a:pt x="112" y="36"/>
                    </a:lnTo>
                    <a:lnTo>
                      <a:pt x="112" y="36"/>
                    </a:lnTo>
                    <a:lnTo>
                      <a:pt x="112" y="36"/>
                    </a:lnTo>
                    <a:lnTo>
                      <a:pt x="110" y="36"/>
                    </a:lnTo>
                    <a:lnTo>
                      <a:pt x="110" y="36"/>
                    </a:lnTo>
                    <a:lnTo>
                      <a:pt x="110" y="34"/>
                    </a:lnTo>
                    <a:lnTo>
                      <a:pt x="108" y="34"/>
                    </a:lnTo>
                    <a:lnTo>
                      <a:pt x="108" y="34"/>
                    </a:lnTo>
                    <a:lnTo>
                      <a:pt x="108" y="34"/>
                    </a:lnTo>
                    <a:lnTo>
                      <a:pt x="104" y="34"/>
                    </a:lnTo>
                    <a:lnTo>
                      <a:pt x="104" y="34"/>
                    </a:lnTo>
                    <a:lnTo>
                      <a:pt x="102" y="32"/>
                    </a:lnTo>
                    <a:lnTo>
                      <a:pt x="98" y="32"/>
                    </a:lnTo>
                    <a:lnTo>
                      <a:pt x="96" y="32"/>
                    </a:lnTo>
                    <a:lnTo>
                      <a:pt x="94" y="32"/>
                    </a:lnTo>
                    <a:lnTo>
                      <a:pt x="94" y="32"/>
                    </a:lnTo>
                    <a:lnTo>
                      <a:pt x="92" y="32"/>
                    </a:lnTo>
                    <a:lnTo>
                      <a:pt x="90" y="34"/>
                    </a:lnTo>
                    <a:lnTo>
                      <a:pt x="88" y="36"/>
                    </a:lnTo>
                    <a:lnTo>
                      <a:pt x="88" y="36"/>
                    </a:lnTo>
                    <a:lnTo>
                      <a:pt x="86" y="38"/>
                    </a:lnTo>
                    <a:lnTo>
                      <a:pt x="82" y="40"/>
                    </a:lnTo>
                    <a:lnTo>
                      <a:pt x="82" y="40"/>
                    </a:lnTo>
                    <a:lnTo>
                      <a:pt x="80" y="40"/>
                    </a:lnTo>
                    <a:lnTo>
                      <a:pt x="78" y="40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72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68" y="44"/>
                    </a:lnTo>
                    <a:lnTo>
                      <a:pt x="68" y="46"/>
                    </a:lnTo>
                    <a:lnTo>
                      <a:pt x="66" y="48"/>
                    </a:lnTo>
                    <a:lnTo>
                      <a:pt x="66" y="48"/>
                    </a:lnTo>
                    <a:lnTo>
                      <a:pt x="66" y="48"/>
                    </a:lnTo>
                    <a:lnTo>
                      <a:pt x="66" y="48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70" y="54"/>
                    </a:lnTo>
                    <a:lnTo>
                      <a:pt x="70" y="54"/>
                    </a:lnTo>
                    <a:lnTo>
                      <a:pt x="70" y="58"/>
                    </a:lnTo>
                    <a:lnTo>
                      <a:pt x="72" y="58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76" y="60"/>
                    </a:lnTo>
                    <a:lnTo>
                      <a:pt x="76" y="60"/>
                    </a:lnTo>
                    <a:lnTo>
                      <a:pt x="78" y="60"/>
                    </a:lnTo>
                    <a:lnTo>
                      <a:pt x="80" y="60"/>
                    </a:lnTo>
                    <a:lnTo>
                      <a:pt x="80" y="60"/>
                    </a:lnTo>
                    <a:lnTo>
                      <a:pt x="82" y="60"/>
                    </a:lnTo>
                    <a:lnTo>
                      <a:pt x="84" y="58"/>
                    </a:lnTo>
                    <a:lnTo>
                      <a:pt x="86" y="56"/>
                    </a:lnTo>
                    <a:lnTo>
                      <a:pt x="86" y="56"/>
                    </a:lnTo>
                    <a:lnTo>
                      <a:pt x="88" y="54"/>
                    </a:lnTo>
                    <a:lnTo>
                      <a:pt x="90" y="52"/>
                    </a:lnTo>
                    <a:lnTo>
                      <a:pt x="92" y="52"/>
                    </a:lnTo>
                    <a:lnTo>
                      <a:pt x="92" y="52"/>
                    </a:lnTo>
                    <a:lnTo>
                      <a:pt x="92" y="52"/>
                    </a:lnTo>
                    <a:lnTo>
                      <a:pt x="92" y="54"/>
                    </a:lnTo>
                    <a:lnTo>
                      <a:pt x="92" y="54"/>
                    </a:lnTo>
                    <a:lnTo>
                      <a:pt x="92" y="54"/>
                    </a:lnTo>
                    <a:lnTo>
                      <a:pt x="92" y="56"/>
                    </a:lnTo>
                    <a:lnTo>
                      <a:pt x="92" y="58"/>
                    </a:lnTo>
                    <a:lnTo>
                      <a:pt x="92" y="58"/>
                    </a:lnTo>
                    <a:lnTo>
                      <a:pt x="92" y="58"/>
                    </a:lnTo>
                    <a:lnTo>
                      <a:pt x="94" y="58"/>
                    </a:lnTo>
                    <a:lnTo>
                      <a:pt x="94" y="58"/>
                    </a:lnTo>
                    <a:lnTo>
                      <a:pt x="96" y="60"/>
                    </a:lnTo>
                    <a:lnTo>
                      <a:pt x="98" y="60"/>
                    </a:lnTo>
                    <a:lnTo>
                      <a:pt x="98" y="60"/>
                    </a:lnTo>
                    <a:lnTo>
                      <a:pt x="98" y="60"/>
                    </a:lnTo>
                    <a:lnTo>
                      <a:pt x="98" y="62"/>
                    </a:lnTo>
                    <a:lnTo>
                      <a:pt x="98" y="62"/>
                    </a:lnTo>
                    <a:lnTo>
                      <a:pt x="98" y="62"/>
                    </a:lnTo>
                    <a:lnTo>
                      <a:pt x="98" y="64"/>
                    </a:lnTo>
                    <a:lnTo>
                      <a:pt x="96" y="64"/>
                    </a:lnTo>
                    <a:lnTo>
                      <a:pt x="94" y="64"/>
                    </a:lnTo>
                    <a:lnTo>
                      <a:pt x="94" y="64"/>
                    </a:lnTo>
                    <a:lnTo>
                      <a:pt x="90" y="64"/>
                    </a:lnTo>
                    <a:lnTo>
                      <a:pt x="88" y="64"/>
                    </a:lnTo>
                    <a:lnTo>
                      <a:pt x="86" y="64"/>
                    </a:lnTo>
                    <a:lnTo>
                      <a:pt x="86" y="64"/>
                    </a:lnTo>
                    <a:lnTo>
                      <a:pt x="84" y="64"/>
                    </a:lnTo>
                    <a:lnTo>
                      <a:pt x="84" y="66"/>
                    </a:lnTo>
                    <a:lnTo>
                      <a:pt x="84" y="66"/>
                    </a:lnTo>
                    <a:lnTo>
                      <a:pt x="84" y="66"/>
                    </a:lnTo>
                    <a:lnTo>
                      <a:pt x="84" y="68"/>
                    </a:lnTo>
                    <a:lnTo>
                      <a:pt x="84" y="68"/>
                    </a:lnTo>
                    <a:lnTo>
                      <a:pt x="84" y="68"/>
                    </a:lnTo>
                    <a:lnTo>
                      <a:pt x="84" y="70"/>
                    </a:lnTo>
                    <a:lnTo>
                      <a:pt x="84" y="70"/>
                    </a:lnTo>
                    <a:lnTo>
                      <a:pt x="82" y="72"/>
                    </a:lnTo>
                    <a:lnTo>
                      <a:pt x="82" y="72"/>
                    </a:lnTo>
                    <a:lnTo>
                      <a:pt x="82" y="72"/>
                    </a:lnTo>
                    <a:lnTo>
                      <a:pt x="80" y="72"/>
                    </a:lnTo>
                    <a:lnTo>
                      <a:pt x="76" y="72"/>
                    </a:lnTo>
                    <a:lnTo>
                      <a:pt x="76" y="72"/>
                    </a:lnTo>
                    <a:lnTo>
                      <a:pt x="74" y="72"/>
                    </a:lnTo>
                    <a:lnTo>
                      <a:pt x="72" y="70"/>
                    </a:lnTo>
                    <a:lnTo>
                      <a:pt x="68" y="68"/>
                    </a:lnTo>
                    <a:lnTo>
                      <a:pt x="68" y="68"/>
                    </a:lnTo>
                    <a:lnTo>
                      <a:pt x="64" y="68"/>
                    </a:lnTo>
                    <a:lnTo>
                      <a:pt x="62" y="66"/>
                    </a:lnTo>
                    <a:lnTo>
                      <a:pt x="60" y="66"/>
                    </a:lnTo>
                    <a:lnTo>
                      <a:pt x="60" y="66"/>
                    </a:lnTo>
                    <a:lnTo>
                      <a:pt x="58" y="66"/>
                    </a:lnTo>
                    <a:lnTo>
                      <a:pt x="58" y="66"/>
                    </a:lnTo>
                    <a:lnTo>
                      <a:pt x="54" y="68"/>
                    </a:lnTo>
                    <a:lnTo>
                      <a:pt x="54" y="68"/>
                    </a:lnTo>
                    <a:lnTo>
                      <a:pt x="52" y="68"/>
                    </a:lnTo>
                    <a:lnTo>
                      <a:pt x="52" y="70"/>
                    </a:lnTo>
                    <a:lnTo>
                      <a:pt x="50" y="70"/>
                    </a:lnTo>
                    <a:lnTo>
                      <a:pt x="50" y="70"/>
                    </a:lnTo>
                    <a:lnTo>
                      <a:pt x="50" y="72"/>
                    </a:lnTo>
                    <a:lnTo>
                      <a:pt x="48" y="72"/>
                    </a:lnTo>
                    <a:lnTo>
                      <a:pt x="46" y="74"/>
                    </a:lnTo>
                    <a:lnTo>
                      <a:pt x="46" y="74"/>
                    </a:lnTo>
                    <a:lnTo>
                      <a:pt x="44" y="74"/>
                    </a:lnTo>
                    <a:lnTo>
                      <a:pt x="42" y="74"/>
                    </a:lnTo>
                    <a:lnTo>
                      <a:pt x="40" y="74"/>
                    </a:lnTo>
                    <a:lnTo>
                      <a:pt x="38" y="74"/>
                    </a:lnTo>
                    <a:lnTo>
                      <a:pt x="38" y="74"/>
                    </a:lnTo>
                    <a:lnTo>
                      <a:pt x="36" y="72"/>
                    </a:lnTo>
                    <a:lnTo>
                      <a:pt x="34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2"/>
                    </a:lnTo>
                    <a:lnTo>
                      <a:pt x="30" y="72"/>
                    </a:lnTo>
                    <a:lnTo>
                      <a:pt x="28" y="72"/>
                    </a:lnTo>
                    <a:lnTo>
                      <a:pt x="28" y="72"/>
                    </a:lnTo>
                    <a:lnTo>
                      <a:pt x="28" y="74"/>
                    </a:lnTo>
                    <a:lnTo>
                      <a:pt x="28" y="74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4" y="76"/>
                    </a:lnTo>
                    <a:lnTo>
                      <a:pt x="24" y="76"/>
                    </a:lnTo>
                    <a:lnTo>
                      <a:pt x="22" y="76"/>
                    </a:lnTo>
                    <a:lnTo>
                      <a:pt x="22" y="76"/>
                    </a:lnTo>
                    <a:lnTo>
                      <a:pt x="22" y="74"/>
                    </a:lnTo>
                    <a:lnTo>
                      <a:pt x="20" y="74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18" y="72"/>
                    </a:lnTo>
                    <a:lnTo>
                      <a:pt x="18" y="72"/>
                    </a:lnTo>
                    <a:lnTo>
                      <a:pt x="18" y="74"/>
                    </a:lnTo>
                    <a:lnTo>
                      <a:pt x="16" y="76"/>
                    </a:lnTo>
                    <a:lnTo>
                      <a:pt x="16" y="76"/>
                    </a:lnTo>
                    <a:lnTo>
                      <a:pt x="14" y="78"/>
                    </a:lnTo>
                    <a:lnTo>
                      <a:pt x="14" y="78"/>
                    </a:lnTo>
                    <a:lnTo>
                      <a:pt x="12" y="80"/>
                    </a:lnTo>
                    <a:lnTo>
                      <a:pt x="12" y="80"/>
                    </a:lnTo>
                    <a:lnTo>
                      <a:pt x="10" y="80"/>
                    </a:lnTo>
                    <a:lnTo>
                      <a:pt x="8" y="80"/>
                    </a:lnTo>
                    <a:lnTo>
                      <a:pt x="6" y="80"/>
                    </a:lnTo>
                    <a:lnTo>
                      <a:pt x="6" y="80"/>
                    </a:lnTo>
                    <a:lnTo>
                      <a:pt x="6" y="80"/>
                    </a:lnTo>
                    <a:lnTo>
                      <a:pt x="4" y="80"/>
                    </a:lnTo>
                    <a:lnTo>
                      <a:pt x="4" y="82"/>
                    </a:lnTo>
                    <a:lnTo>
                      <a:pt x="4" y="84"/>
                    </a:lnTo>
                    <a:lnTo>
                      <a:pt x="4" y="84"/>
                    </a:lnTo>
                    <a:lnTo>
                      <a:pt x="4" y="86"/>
                    </a:lnTo>
                    <a:lnTo>
                      <a:pt x="4" y="88"/>
                    </a:lnTo>
                    <a:lnTo>
                      <a:pt x="4" y="88"/>
                    </a:lnTo>
                    <a:lnTo>
                      <a:pt x="4" y="88"/>
                    </a:lnTo>
                    <a:lnTo>
                      <a:pt x="4" y="90"/>
                    </a:lnTo>
                    <a:lnTo>
                      <a:pt x="6" y="92"/>
                    </a:lnTo>
                    <a:lnTo>
                      <a:pt x="8" y="94"/>
                    </a:lnTo>
                    <a:lnTo>
                      <a:pt x="8" y="94"/>
                    </a:lnTo>
                    <a:lnTo>
                      <a:pt x="8" y="94"/>
                    </a:lnTo>
                    <a:lnTo>
                      <a:pt x="10" y="96"/>
                    </a:lnTo>
                    <a:lnTo>
                      <a:pt x="12" y="96"/>
                    </a:lnTo>
                    <a:lnTo>
                      <a:pt x="14" y="98"/>
                    </a:lnTo>
                    <a:lnTo>
                      <a:pt x="14" y="98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20" y="106"/>
                    </a:lnTo>
                    <a:lnTo>
                      <a:pt x="20" y="106"/>
                    </a:lnTo>
                    <a:lnTo>
                      <a:pt x="22" y="106"/>
                    </a:lnTo>
                    <a:lnTo>
                      <a:pt x="22" y="108"/>
                    </a:lnTo>
                    <a:lnTo>
                      <a:pt x="24" y="110"/>
                    </a:lnTo>
                    <a:lnTo>
                      <a:pt x="24" y="110"/>
                    </a:lnTo>
                    <a:lnTo>
                      <a:pt x="26" y="112"/>
                    </a:lnTo>
                    <a:lnTo>
                      <a:pt x="28" y="112"/>
                    </a:lnTo>
                    <a:lnTo>
                      <a:pt x="30" y="112"/>
                    </a:lnTo>
                    <a:lnTo>
                      <a:pt x="30" y="112"/>
                    </a:lnTo>
                    <a:lnTo>
                      <a:pt x="30" y="112"/>
                    </a:lnTo>
                    <a:lnTo>
                      <a:pt x="32" y="112"/>
                    </a:lnTo>
                    <a:lnTo>
                      <a:pt x="34" y="110"/>
                    </a:lnTo>
                    <a:lnTo>
                      <a:pt x="34" y="110"/>
                    </a:lnTo>
                    <a:lnTo>
                      <a:pt x="36" y="110"/>
                    </a:lnTo>
                    <a:lnTo>
                      <a:pt x="38" y="108"/>
                    </a:lnTo>
                    <a:lnTo>
                      <a:pt x="40" y="108"/>
                    </a:lnTo>
                    <a:lnTo>
                      <a:pt x="40" y="108"/>
                    </a:lnTo>
                    <a:lnTo>
                      <a:pt x="40" y="108"/>
                    </a:lnTo>
                    <a:lnTo>
                      <a:pt x="42" y="108"/>
                    </a:lnTo>
                    <a:lnTo>
                      <a:pt x="44" y="110"/>
                    </a:lnTo>
                    <a:lnTo>
                      <a:pt x="44" y="110"/>
                    </a:lnTo>
                    <a:lnTo>
                      <a:pt x="46" y="112"/>
                    </a:lnTo>
                    <a:lnTo>
                      <a:pt x="46" y="112"/>
                    </a:lnTo>
                    <a:lnTo>
                      <a:pt x="48" y="112"/>
                    </a:lnTo>
                    <a:lnTo>
                      <a:pt x="48" y="112"/>
                    </a:lnTo>
                    <a:lnTo>
                      <a:pt x="48" y="112"/>
                    </a:lnTo>
                    <a:lnTo>
                      <a:pt x="50" y="112"/>
                    </a:lnTo>
                    <a:lnTo>
                      <a:pt x="50" y="112"/>
                    </a:lnTo>
                    <a:lnTo>
                      <a:pt x="52" y="110"/>
                    </a:lnTo>
                    <a:lnTo>
                      <a:pt x="52" y="110"/>
                    </a:lnTo>
                    <a:lnTo>
                      <a:pt x="54" y="110"/>
                    </a:lnTo>
                    <a:lnTo>
                      <a:pt x="54" y="110"/>
                    </a:lnTo>
                    <a:lnTo>
                      <a:pt x="56" y="110"/>
                    </a:lnTo>
                    <a:lnTo>
                      <a:pt x="56" y="110"/>
                    </a:lnTo>
                    <a:lnTo>
                      <a:pt x="58" y="110"/>
                    </a:lnTo>
                    <a:lnTo>
                      <a:pt x="58" y="110"/>
                    </a:lnTo>
                    <a:lnTo>
                      <a:pt x="60" y="112"/>
                    </a:lnTo>
                    <a:lnTo>
                      <a:pt x="60" y="114"/>
                    </a:lnTo>
                    <a:lnTo>
                      <a:pt x="60" y="114"/>
                    </a:lnTo>
                    <a:lnTo>
                      <a:pt x="64" y="116"/>
                    </a:lnTo>
                    <a:lnTo>
                      <a:pt x="64" y="116"/>
                    </a:lnTo>
                    <a:lnTo>
                      <a:pt x="64" y="118"/>
                    </a:lnTo>
                    <a:lnTo>
                      <a:pt x="64" y="118"/>
                    </a:lnTo>
                    <a:lnTo>
                      <a:pt x="64" y="118"/>
                    </a:lnTo>
                    <a:lnTo>
                      <a:pt x="64" y="118"/>
                    </a:lnTo>
                    <a:lnTo>
                      <a:pt x="64" y="120"/>
                    </a:lnTo>
                    <a:lnTo>
                      <a:pt x="64" y="120"/>
                    </a:lnTo>
                    <a:lnTo>
                      <a:pt x="62" y="118"/>
                    </a:lnTo>
                    <a:lnTo>
                      <a:pt x="62" y="118"/>
                    </a:lnTo>
                    <a:lnTo>
                      <a:pt x="58" y="118"/>
                    </a:lnTo>
                    <a:lnTo>
                      <a:pt x="54" y="116"/>
                    </a:lnTo>
                    <a:lnTo>
                      <a:pt x="48" y="114"/>
                    </a:lnTo>
                    <a:lnTo>
                      <a:pt x="48" y="114"/>
                    </a:lnTo>
                    <a:lnTo>
                      <a:pt x="44" y="114"/>
                    </a:lnTo>
                    <a:lnTo>
                      <a:pt x="42" y="112"/>
                    </a:lnTo>
                    <a:lnTo>
                      <a:pt x="42" y="112"/>
                    </a:lnTo>
                    <a:lnTo>
                      <a:pt x="40" y="112"/>
                    </a:lnTo>
                    <a:lnTo>
                      <a:pt x="38" y="114"/>
                    </a:lnTo>
                    <a:lnTo>
                      <a:pt x="38" y="114"/>
                    </a:lnTo>
                    <a:lnTo>
                      <a:pt x="36" y="114"/>
                    </a:lnTo>
                    <a:lnTo>
                      <a:pt x="36" y="114"/>
                    </a:lnTo>
                    <a:lnTo>
                      <a:pt x="34" y="116"/>
                    </a:lnTo>
                    <a:lnTo>
                      <a:pt x="30" y="118"/>
                    </a:lnTo>
                    <a:lnTo>
                      <a:pt x="28" y="120"/>
                    </a:lnTo>
                    <a:lnTo>
                      <a:pt x="26" y="120"/>
                    </a:lnTo>
                    <a:lnTo>
                      <a:pt x="26" y="122"/>
                    </a:lnTo>
                    <a:lnTo>
                      <a:pt x="26" y="122"/>
                    </a:lnTo>
                    <a:lnTo>
                      <a:pt x="28" y="122"/>
                    </a:lnTo>
                    <a:lnTo>
                      <a:pt x="28" y="122"/>
                    </a:lnTo>
                    <a:lnTo>
                      <a:pt x="32" y="122"/>
                    </a:lnTo>
                    <a:lnTo>
                      <a:pt x="32" y="122"/>
                    </a:lnTo>
                    <a:lnTo>
                      <a:pt x="32" y="122"/>
                    </a:lnTo>
                    <a:lnTo>
                      <a:pt x="34" y="122"/>
                    </a:lnTo>
                    <a:lnTo>
                      <a:pt x="34" y="122"/>
                    </a:lnTo>
                    <a:lnTo>
                      <a:pt x="34" y="122"/>
                    </a:lnTo>
                    <a:lnTo>
                      <a:pt x="34" y="124"/>
                    </a:lnTo>
                    <a:lnTo>
                      <a:pt x="34" y="124"/>
                    </a:lnTo>
                    <a:lnTo>
                      <a:pt x="32" y="124"/>
                    </a:lnTo>
                    <a:lnTo>
                      <a:pt x="28" y="124"/>
                    </a:lnTo>
                    <a:lnTo>
                      <a:pt x="28" y="124"/>
                    </a:lnTo>
                    <a:lnTo>
                      <a:pt x="26" y="124"/>
                    </a:lnTo>
                    <a:lnTo>
                      <a:pt x="26" y="124"/>
                    </a:lnTo>
                    <a:lnTo>
                      <a:pt x="22" y="122"/>
                    </a:lnTo>
                    <a:lnTo>
                      <a:pt x="22" y="122"/>
                    </a:lnTo>
                    <a:lnTo>
                      <a:pt x="16" y="120"/>
                    </a:lnTo>
                    <a:lnTo>
                      <a:pt x="16" y="120"/>
                    </a:lnTo>
                    <a:lnTo>
                      <a:pt x="14" y="118"/>
                    </a:lnTo>
                    <a:lnTo>
                      <a:pt x="10" y="118"/>
                    </a:lnTo>
                    <a:lnTo>
                      <a:pt x="10" y="118"/>
                    </a:lnTo>
                    <a:lnTo>
                      <a:pt x="8" y="116"/>
                    </a:lnTo>
                    <a:lnTo>
                      <a:pt x="4" y="116"/>
                    </a:lnTo>
                    <a:lnTo>
                      <a:pt x="4" y="116"/>
                    </a:lnTo>
                    <a:lnTo>
                      <a:pt x="2" y="116"/>
                    </a:lnTo>
                    <a:lnTo>
                      <a:pt x="2" y="118"/>
                    </a:lnTo>
                    <a:lnTo>
                      <a:pt x="0" y="118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2" y="122"/>
                    </a:lnTo>
                    <a:lnTo>
                      <a:pt x="2" y="124"/>
                    </a:lnTo>
                    <a:lnTo>
                      <a:pt x="2" y="124"/>
                    </a:lnTo>
                    <a:lnTo>
                      <a:pt x="4" y="124"/>
                    </a:lnTo>
                    <a:lnTo>
                      <a:pt x="4" y="126"/>
                    </a:lnTo>
                    <a:lnTo>
                      <a:pt x="4" y="126"/>
                    </a:lnTo>
                    <a:lnTo>
                      <a:pt x="6" y="128"/>
                    </a:lnTo>
                    <a:lnTo>
                      <a:pt x="6" y="128"/>
                    </a:lnTo>
                    <a:lnTo>
                      <a:pt x="6" y="128"/>
                    </a:lnTo>
                    <a:lnTo>
                      <a:pt x="8" y="132"/>
                    </a:lnTo>
                    <a:lnTo>
                      <a:pt x="10" y="132"/>
                    </a:lnTo>
                    <a:lnTo>
                      <a:pt x="10" y="132"/>
                    </a:lnTo>
                    <a:lnTo>
                      <a:pt x="10" y="132"/>
                    </a:lnTo>
                    <a:lnTo>
                      <a:pt x="12" y="132"/>
                    </a:lnTo>
                    <a:lnTo>
                      <a:pt x="14" y="132"/>
                    </a:lnTo>
                    <a:lnTo>
                      <a:pt x="14" y="130"/>
                    </a:lnTo>
                    <a:lnTo>
                      <a:pt x="16" y="130"/>
                    </a:lnTo>
                    <a:lnTo>
                      <a:pt x="16" y="130"/>
                    </a:lnTo>
                    <a:lnTo>
                      <a:pt x="16" y="130"/>
                    </a:lnTo>
                    <a:lnTo>
                      <a:pt x="16" y="130"/>
                    </a:lnTo>
                    <a:lnTo>
                      <a:pt x="16" y="130"/>
                    </a:lnTo>
                    <a:lnTo>
                      <a:pt x="16" y="132"/>
                    </a:lnTo>
                    <a:lnTo>
                      <a:pt x="16" y="132"/>
                    </a:lnTo>
                    <a:lnTo>
                      <a:pt x="16" y="134"/>
                    </a:lnTo>
                    <a:lnTo>
                      <a:pt x="16" y="134"/>
                    </a:lnTo>
                    <a:lnTo>
                      <a:pt x="18" y="136"/>
                    </a:lnTo>
                    <a:lnTo>
                      <a:pt x="20" y="136"/>
                    </a:lnTo>
                    <a:lnTo>
                      <a:pt x="22" y="136"/>
                    </a:lnTo>
                    <a:lnTo>
                      <a:pt x="22" y="136"/>
                    </a:lnTo>
                    <a:lnTo>
                      <a:pt x="24" y="138"/>
                    </a:lnTo>
                    <a:lnTo>
                      <a:pt x="26" y="138"/>
                    </a:lnTo>
                    <a:lnTo>
                      <a:pt x="28" y="138"/>
                    </a:lnTo>
                    <a:lnTo>
                      <a:pt x="30" y="138"/>
                    </a:lnTo>
                    <a:lnTo>
                      <a:pt x="32" y="138"/>
                    </a:lnTo>
                    <a:lnTo>
                      <a:pt x="32" y="138"/>
                    </a:lnTo>
                    <a:lnTo>
                      <a:pt x="32" y="138"/>
                    </a:lnTo>
                    <a:lnTo>
                      <a:pt x="34" y="136"/>
                    </a:lnTo>
                    <a:lnTo>
                      <a:pt x="36" y="136"/>
                    </a:lnTo>
                    <a:lnTo>
                      <a:pt x="38" y="136"/>
                    </a:lnTo>
                    <a:lnTo>
                      <a:pt x="38" y="136"/>
                    </a:lnTo>
                    <a:lnTo>
                      <a:pt x="38" y="136"/>
                    </a:lnTo>
                    <a:lnTo>
                      <a:pt x="40" y="136"/>
                    </a:lnTo>
                    <a:lnTo>
                      <a:pt x="40" y="138"/>
                    </a:lnTo>
                    <a:lnTo>
                      <a:pt x="42" y="138"/>
                    </a:lnTo>
                    <a:lnTo>
                      <a:pt x="42" y="138"/>
                    </a:lnTo>
                    <a:lnTo>
                      <a:pt x="42" y="140"/>
                    </a:lnTo>
                    <a:lnTo>
                      <a:pt x="42" y="140"/>
                    </a:lnTo>
                    <a:lnTo>
                      <a:pt x="40" y="142"/>
                    </a:lnTo>
                    <a:lnTo>
                      <a:pt x="40" y="142"/>
                    </a:lnTo>
                    <a:lnTo>
                      <a:pt x="38" y="142"/>
                    </a:lnTo>
                    <a:lnTo>
                      <a:pt x="36" y="142"/>
                    </a:lnTo>
                    <a:lnTo>
                      <a:pt x="36" y="142"/>
                    </a:lnTo>
                    <a:lnTo>
                      <a:pt x="32" y="142"/>
                    </a:lnTo>
                    <a:lnTo>
                      <a:pt x="28" y="142"/>
                    </a:lnTo>
                    <a:lnTo>
                      <a:pt x="28" y="142"/>
                    </a:lnTo>
                    <a:lnTo>
                      <a:pt x="24" y="142"/>
                    </a:lnTo>
                    <a:lnTo>
                      <a:pt x="24" y="142"/>
                    </a:lnTo>
                    <a:lnTo>
                      <a:pt x="22" y="142"/>
                    </a:lnTo>
                    <a:lnTo>
                      <a:pt x="22" y="142"/>
                    </a:lnTo>
                    <a:lnTo>
                      <a:pt x="22" y="142"/>
                    </a:lnTo>
                    <a:lnTo>
                      <a:pt x="20" y="142"/>
                    </a:lnTo>
                    <a:lnTo>
                      <a:pt x="20" y="144"/>
                    </a:lnTo>
                    <a:lnTo>
                      <a:pt x="20" y="144"/>
                    </a:lnTo>
                    <a:lnTo>
                      <a:pt x="16" y="144"/>
                    </a:lnTo>
                    <a:lnTo>
                      <a:pt x="16" y="144"/>
                    </a:lnTo>
                    <a:lnTo>
                      <a:pt x="14" y="146"/>
                    </a:lnTo>
                    <a:lnTo>
                      <a:pt x="12" y="148"/>
                    </a:lnTo>
                    <a:lnTo>
                      <a:pt x="12" y="148"/>
                    </a:lnTo>
                    <a:lnTo>
                      <a:pt x="12" y="148"/>
                    </a:lnTo>
                    <a:lnTo>
                      <a:pt x="12" y="150"/>
                    </a:lnTo>
                    <a:lnTo>
                      <a:pt x="12" y="152"/>
                    </a:lnTo>
                    <a:lnTo>
                      <a:pt x="12" y="152"/>
                    </a:lnTo>
                    <a:lnTo>
                      <a:pt x="12" y="154"/>
                    </a:lnTo>
                    <a:lnTo>
                      <a:pt x="14" y="154"/>
                    </a:lnTo>
                    <a:lnTo>
                      <a:pt x="16" y="154"/>
                    </a:lnTo>
                    <a:lnTo>
                      <a:pt x="16" y="154"/>
                    </a:lnTo>
                    <a:lnTo>
                      <a:pt x="18" y="154"/>
                    </a:lnTo>
                    <a:lnTo>
                      <a:pt x="18" y="154"/>
                    </a:lnTo>
                    <a:lnTo>
                      <a:pt x="18" y="154"/>
                    </a:lnTo>
                    <a:lnTo>
                      <a:pt x="20" y="156"/>
                    </a:lnTo>
                    <a:lnTo>
                      <a:pt x="20" y="156"/>
                    </a:lnTo>
                    <a:lnTo>
                      <a:pt x="20" y="156"/>
                    </a:lnTo>
                    <a:lnTo>
                      <a:pt x="22" y="162"/>
                    </a:lnTo>
                    <a:lnTo>
                      <a:pt x="22" y="162"/>
                    </a:lnTo>
                    <a:lnTo>
                      <a:pt x="24" y="168"/>
                    </a:lnTo>
                    <a:lnTo>
                      <a:pt x="24" y="168"/>
                    </a:lnTo>
                    <a:lnTo>
                      <a:pt x="24" y="170"/>
                    </a:lnTo>
                    <a:lnTo>
                      <a:pt x="26" y="172"/>
                    </a:lnTo>
                    <a:lnTo>
                      <a:pt x="26" y="172"/>
                    </a:lnTo>
                    <a:lnTo>
                      <a:pt x="26" y="174"/>
                    </a:lnTo>
                    <a:lnTo>
                      <a:pt x="28" y="174"/>
                    </a:lnTo>
                    <a:lnTo>
                      <a:pt x="30" y="176"/>
                    </a:lnTo>
                    <a:lnTo>
                      <a:pt x="30" y="176"/>
                    </a:lnTo>
                    <a:lnTo>
                      <a:pt x="36" y="178"/>
                    </a:lnTo>
                    <a:lnTo>
                      <a:pt x="36" y="178"/>
                    </a:lnTo>
                    <a:lnTo>
                      <a:pt x="38" y="180"/>
                    </a:lnTo>
                    <a:lnTo>
                      <a:pt x="40" y="180"/>
                    </a:lnTo>
                    <a:lnTo>
                      <a:pt x="40" y="178"/>
                    </a:lnTo>
                    <a:lnTo>
                      <a:pt x="40" y="178"/>
                    </a:lnTo>
                    <a:lnTo>
                      <a:pt x="42" y="178"/>
                    </a:lnTo>
                    <a:lnTo>
                      <a:pt x="42" y="176"/>
                    </a:lnTo>
                    <a:lnTo>
                      <a:pt x="42" y="176"/>
                    </a:lnTo>
                    <a:lnTo>
                      <a:pt x="42" y="174"/>
                    </a:lnTo>
                    <a:lnTo>
                      <a:pt x="42" y="174"/>
                    </a:lnTo>
                    <a:lnTo>
                      <a:pt x="40" y="172"/>
                    </a:lnTo>
                    <a:lnTo>
                      <a:pt x="40" y="170"/>
                    </a:lnTo>
                    <a:lnTo>
                      <a:pt x="40" y="170"/>
                    </a:lnTo>
                    <a:lnTo>
                      <a:pt x="40" y="170"/>
                    </a:lnTo>
                    <a:lnTo>
                      <a:pt x="42" y="168"/>
                    </a:lnTo>
                    <a:lnTo>
                      <a:pt x="42" y="168"/>
                    </a:lnTo>
                    <a:lnTo>
                      <a:pt x="42" y="168"/>
                    </a:lnTo>
                    <a:lnTo>
                      <a:pt x="44" y="168"/>
                    </a:lnTo>
                    <a:lnTo>
                      <a:pt x="44" y="170"/>
                    </a:lnTo>
                    <a:lnTo>
                      <a:pt x="46" y="170"/>
                    </a:lnTo>
                    <a:lnTo>
                      <a:pt x="46" y="170"/>
                    </a:lnTo>
                    <a:lnTo>
                      <a:pt x="46" y="172"/>
                    </a:lnTo>
                    <a:lnTo>
                      <a:pt x="46" y="174"/>
                    </a:lnTo>
                    <a:lnTo>
                      <a:pt x="46" y="174"/>
                    </a:lnTo>
                    <a:lnTo>
                      <a:pt x="48" y="176"/>
                    </a:lnTo>
                    <a:lnTo>
                      <a:pt x="48" y="176"/>
                    </a:lnTo>
                    <a:lnTo>
                      <a:pt x="48" y="176"/>
                    </a:lnTo>
                    <a:lnTo>
                      <a:pt x="48" y="176"/>
                    </a:lnTo>
                    <a:lnTo>
                      <a:pt x="50" y="176"/>
                    </a:lnTo>
                    <a:lnTo>
                      <a:pt x="52" y="174"/>
                    </a:lnTo>
                    <a:lnTo>
                      <a:pt x="52" y="174"/>
                    </a:lnTo>
                    <a:lnTo>
                      <a:pt x="54" y="172"/>
                    </a:lnTo>
                    <a:lnTo>
                      <a:pt x="54" y="172"/>
                    </a:lnTo>
                    <a:lnTo>
                      <a:pt x="56" y="172"/>
                    </a:lnTo>
                    <a:lnTo>
                      <a:pt x="58" y="170"/>
                    </a:lnTo>
                    <a:lnTo>
                      <a:pt x="58" y="170"/>
                    </a:lnTo>
                    <a:lnTo>
                      <a:pt x="58" y="168"/>
                    </a:lnTo>
                    <a:lnTo>
                      <a:pt x="58" y="168"/>
                    </a:lnTo>
                    <a:lnTo>
                      <a:pt x="60" y="164"/>
                    </a:lnTo>
                    <a:lnTo>
                      <a:pt x="60" y="164"/>
                    </a:lnTo>
                    <a:lnTo>
                      <a:pt x="60" y="164"/>
                    </a:lnTo>
                    <a:lnTo>
                      <a:pt x="62" y="164"/>
                    </a:lnTo>
                    <a:lnTo>
                      <a:pt x="62" y="164"/>
                    </a:lnTo>
                    <a:lnTo>
                      <a:pt x="62" y="164"/>
                    </a:lnTo>
                    <a:lnTo>
                      <a:pt x="64" y="164"/>
                    </a:lnTo>
                    <a:lnTo>
                      <a:pt x="64" y="164"/>
                    </a:lnTo>
                    <a:lnTo>
                      <a:pt x="66" y="168"/>
                    </a:lnTo>
                    <a:lnTo>
                      <a:pt x="68" y="170"/>
                    </a:lnTo>
                    <a:lnTo>
                      <a:pt x="68" y="170"/>
                    </a:lnTo>
                    <a:lnTo>
                      <a:pt x="70" y="172"/>
                    </a:lnTo>
                    <a:lnTo>
                      <a:pt x="70" y="172"/>
                    </a:lnTo>
                    <a:lnTo>
                      <a:pt x="70" y="174"/>
                    </a:lnTo>
                    <a:lnTo>
                      <a:pt x="70" y="174"/>
                    </a:lnTo>
                    <a:lnTo>
                      <a:pt x="70" y="174"/>
                    </a:lnTo>
                    <a:lnTo>
                      <a:pt x="72" y="174"/>
                    </a:lnTo>
                    <a:lnTo>
                      <a:pt x="72" y="172"/>
                    </a:lnTo>
                    <a:lnTo>
                      <a:pt x="74" y="172"/>
                    </a:lnTo>
                    <a:lnTo>
                      <a:pt x="74" y="172"/>
                    </a:lnTo>
                    <a:lnTo>
                      <a:pt x="76" y="170"/>
                    </a:lnTo>
                    <a:lnTo>
                      <a:pt x="76" y="170"/>
                    </a:lnTo>
                    <a:lnTo>
                      <a:pt x="78" y="168"/>
                    </a:lnTo>
                    <a:lnTo>
                      <a:pt x="78" y="168"/>
                    </a:lnTo>
                    <a:lnTo>
                      <a:pt x="78" y="166"/>
                    </a:lnTo>
                    <a:lnTo>
                      <a:pt x="78" y="166"/>
                    </a:lnTo>
                    <a:lnTo>
                      <a:pt x="80" y="166"/>
                    </a:lnTo>
                    <a:lnTo>
                      <a:pt x="82" y="166"/>
                    </a:lnTo>
                    <a:lnTo>
                      <a:pt x="82" y="166"/>
                    </a:lnTo>
                    <a:lnTo>
                      <a:pt x="82" y="168"/>
                    </a:lnTo>
                    <a:lnTo>
                      <a:pt x="82" y="168"/>
                    </a:lnTo>
                    <a:lnTo>
                      <a:pt x="82" y="170"/>
                    </a:lnTo>
                    <a:lnTo>
                      <a:pt x="82" y="172"/>
                    </a:lnTo>
                    <a:lnTo>
                      <a:pt x="82" y="172"/>
                    </a:lnTo>
                    <a:lnTo>
                      <a:pt x="82" y="172"/>
                    </a:lnTo>
                    <a:lnTo>
                      <a:pt x="84" y="174"/>
                    </a:lnTo>
                    <a:lnTo>
                      <a:pt x="86" y="174"/>
                    </a:lnTo>
                    <a:lnTo>
                      <a:pt x="88" y="176"/>
                    </a:lnTo>
                    <a:lnTo>
                      <a:pt x="88" y="176"/>
                    </a:lnTo>
                    <a:lnTo>
                      <a:pt x="90" y="176"/>
                    </a:lnTo>
                    <a:lnTo>
                      <a:pt x="92" y="178"/>
                    </a:lnTo>
                    <a:lnTo>
                      <a:pt x="92" y="178"/>
                    </a:lnTo>
                    <a:lnTo>
                      <a:pt x="92" y="178"/>
                    </a:lnTo>
                    <a:lnTo>
                      <a:pt x="94" y="178"/>
                    </a:lnTo>
                    <a:lnTo>
                      <a:pt x="96" y="178"/>
                    </a:lnTo>
                    <a:lnTo>
                      <a:pt x="96" y="178"/>
                    </a:lnTo>
                    <a:lnTo>
                      <a:pt x="98" y="180"/>
                    </a:lnTo>
                    <a:lnTo>
                      <a:pt x="98" y="180"/>
                    </a:lnTo>
                    <a:lnTo>
                      <a:pt x="100" y="182"/>
                    </a:lnTo>
                    <a:lnTo>
                      <a:pt x="100" y="182"/>
                    </a:lnTo>
                    <a:lnTo>
                      <a:pt x="104" y="186"/>
                    </a:lnTo>
                    <a:lnTo>
                      <a:pt x="104" y="186"/>
                    </a:lnTo>
                    <a:lnTo>
                      <a:pt x="108" y="190"/>
                    </a:lnTo>
                    <a:lnTo>
                      <a:pt x="108" y="190"/>
                    </a:lnTo>
                    <a:lnTo>
                      <a:pt x="112" y="192"/>
                    </a:lnTo>
                    <a:lnTo>
                      <a:pt x="112" y="192"/>
                    </a:lnTo>
                    <a:lnTo>
                      <a:pt x="114" y="194"/>
                    </a:lnTo>
                    <a:lnTo>
                      <a:pt x="116" y="194"/>
                    </a:lnTo>
                    <a:lnTo>
                      <a:pt x="116" y="194"/>
                    </a:lnTo>
                    <a:lnTo>
                      <a:pt x="118" y="196"/>
                    </a:lnTo>
                    <a:lnTo>
                      <a:pt x="118" y="196"/>
                    </a:lnTo>
                    <a:lnTo>
                      <a:pt x="118" y="200"/>
                    </a:lnTo>
                    <a:lnTo>
                      <a:pt x="118" y="200"/>
                    </a:lnTo>
                    <a:lnTo>
                      <a:pt x="118" y="202"/>
                    </a:lnTo>
                    <a:lnTo>
                      <a:pt x="118" y="204"/>
                    </a:lnTo>
                    <a:lnTo>
                      <a:pt x="118" y="204"/>
                    </a:lnTo>
                    <a:lnTo>
                      <a:pt x="118" y="210"/>
                    </a:lnTo>
                    <a:lnTo>
                      <a:pt x="118" y="216"/>
                    </a:lnTo>
                    <a:lnTo>
                      <a:pt x="118" y="216"/>
                    </a:lnTo>
                    <a:lnTo>
                      <a:pt x="118" y="220"/>
                    </a:lnTo>
                    <a:lnTo>
                      <a:pt x="120" y="224"/>
                    </a:lnTo>
                    <a:lnTo>
                      <a:pt x="120" y="226"/>
                    </a:lnTo>
                    <a:lnTo>
                      <a:pt x="120" y="226"/>
                    </a:lnTo>
                    <a:lnTo>
                      <a:pt x="122" y="228"/>
                    </a:lnTo>
                    <a:lnTo>
                      <a:pt x="122" y="232"/>
                    </a:lnTo>
                    <a:lnTo>
                      <a:pt x="122" y="232"/>
                    </a:lnTo>
                    <a:lnTo>
                      <a:pt x="124" y="234"/>
                    </a:lnTo>
                    <a:lnTo>
                      <a:pt x="126" y="234"/>
                    </a:lnTo>
                    <a:lnTo>
                      <a:pt x="126" y="234"/>
                    </a:lnTo>
                    <a:lnTo>
                      <a:pt x="128" y="236"/>
                    </a:lnTo>
                    <a:lnTo>
                      <a:pt x="130" y="236"/>
                    </a:lnTo>
                    <a:lnTo>
                      <a:pt x="130" y="236"/>
                    </a:lnTo>
                    <a:lnTo>
                      <a:pt x="132" y="236"/>
                    </a:lnTo>
                    <a:lnTo>
                      <a:pt x="134" y="238"/>
                    </a:lnTo>
                    <a:lnTo>
                      <a:pt x="134" y="238"/>
                    </a:lnTo>
                    <a:lnTo>
                      <a:pt x="136" y="238"/>
                    </a:lnTo>
                    <a:lnTo>
                      <a:pt x="136" y="240"/>
                    </a:lnTo>
                    <a:lnTo>
                      <a:pt x="136" y="240"/>
                    </a:lnTo>
                    <a:lnTo>
                      <a:pt x="138" y="242"/>
                    </a:lnTo>
                    <a:lnTo>
                      <a:pt x="138" y="242"/>
                    </a:lnTo>
                    <a:lnTo>
                      <a:pt x="138" y="242"/>
                    </a:lnTo>
                    <a:lnTo>
                      <a:pt x="136" y="244"/>
                    </a:lnTo>
                    <a:lnTo>
                      <a:pt x="136" y="244"/>
                    </a:lnTo>
                    <a:lnTo>
                      <a:pt x="136" y="244"/>
                    </a:lnTo>
                    <a:lnTo>
                      <a:pt x="134" y="248"/>
                    </a:lnTo>
                    <a:lnTo>
                      <a:pt x="134" y="248"/>
                    </a:lnTo>
                    <a:lnTo>
                      <a:pt x="132" y="248"/>
                    </a:lnTo>
                    <a:lnTo>
                      <a:pt x="132" y="250"/>
                    </a:lnTo>
                    <a:lnTo>
                      <a:pt x="132" y="252"/>
                    </a:lnTo>
                    <a:lnTo>
                      <a:pt x="134" y="252"/>
                    </a:lnTo>
                    <a:lnTo>
                      <a:pt x="134" y="252"/>
                    </a:lnTo>
                    <a:lnTo>
                      <a:pt x="138" y="254"/>
                    </a:lnTo>
                    <a:lnTo>
                      <a:pt x="138" y="254"/>
                    </a:lnTo>
                    <a:lnTo>
                      <a:pt x="140" y="256"/>
                    </a:lnTo>
                    <a:lnTo>
                      <a:pt x="140" y="256"/>
                    </a:lnTo>
                    <a:lnTo>
                      <a:pt x="140" y="256"/>
                    </a:lnTo>
                    <a:lnTo>
                      <a:pt x="140" y="256"/>
                    </a:lnTo>
                    <a:lnTo>
                      <a:pt x="140" y="258"/>
                    </a:lnTo>
                    <a:lnTo>
                      <a:pt x="138" y="260"/>
                    </a:lnTo>
                    <a:lnTo>
                      <a:pt x="138" y="260"/>
                    </a:lnTo>
                    <a:lnTo>
                      <a:pt x="136" y="262"/>
                    </a:lnTo>
                    <a:lnTo>
                      <a:pt x="136" y="262"/>
                    </a:lnTo>
                    <a:lnTo>
                      <a:pt x="136" y="264"/>
                    </a:lnTo>
                    <a:lnTo>
                      <a:pt x="136" y="264"/>
                    </a:lnTo>
                    <a:lnTo>
                      <a:pt x="136" y="266"/>
                    </a:lnTo>
                    <a:lnTo>
                      <a:pt x="136" y="266"/>
                    </a:lnTo>
                    <a:lnTo>
                      <a:pt x="138" y="270"/>
                    </a:lnTo>
                    <a:lnTo>
                      <a:pt x="138" y="270"/>
                    </a:lnTo>
                    <a:lnTo>
                      <a:pt x="138" y="270"/>
                    </a:lnTo>
                    <a:lnTo>
                      <a:pt x="138" y="272"/>
                    </a:lnTo>
                    <a:lnTo>
                      <a:pt x="142" y="272"/>
                    </a:lnTo>
                    <a:lnTo>
                      <a:pt x="142" y="272"/>
                    </a:lnTo>
                    <a:lnTo>
                      <a:pt x="142" y="272"/>
                    </a:lnTo>
                    <a:lnTo>
                      <a:pt x="142" y="272"/>
                    </a:lnTo>
                    <a:lnTo>
                      <a:pt x="144" y="274"/>
                    </a:lnTo>
                    <a:lnTo>
                      <a:pt x="144" y="274"/>
                    </a:lnTo>
                    <a:lnTo>
                      <a:pt x="144" y="274"/>
                    </a:lnTo>
                    <a:lnTo>
                      <a:pt x="144" y="280"/>
                    </a:lnTo>
                    <a:lnTo>
                      <a:pt x="144" y="286"/>
                    </a:lnTo>
                    <a:lnTo>
                      <a:pt x="144" y="286"/>
                    </a:lnTo>
                    <a:lnTo>
                      <a:pt x="144" y="286"/>
                    </a:lnTo>
                    <a:lnTo>
                      <a:pt x="144" y="288"/>
                    </a:lnTo>
                    <a:lnTo>
                      <a:pt x="144" y="288"/>
                    </a:lnTo>
                    <a:lnTo>
                      <a:pt x="144" y="288"/>
                    </a:lnTo>
                    <a:lnTo>
                      <a:pt x="142" y="292"/>
                    </a:lnTo>
                    <a:lnTo>
                      <a:pt x="142" y="292"/>
                    </a:lnTo>
                    <a:lnTo>
                      <a:pt x="142" y="292"/>
                    </a:lnTo>
                    <a:lnTo>
                      <a:pt x="136" y="296"/>
                    </a:lnTo>
                    <a:lnTo>
                      <a:pt x="136" y="296"/>
                    </a:lnTo>
                    <a:lnTo>
                      <a:pt x="134" y="298"/>
                    </a:lnTo>
                    <a:lnTo>
                      <a:pt x="132" y="300"/>
                    </a:lnTo>
                    <a:lnTo>
                      <a:pt x="132" y="302"/>
                    </a:lnTo>
                    <a:lnTo>
                      <a:pt x="132" y="302"/>
                    </a:lnTo>
                    <a:lnTo>
                      <a:pt x="132" y="304"/>
                    </a:lnTo>
                    <a:lnTo>
                      <a:pt x="134" y="304"/>
                    </a:lnTo>
                    <a:lnTo>
                      <a:pt x="134" y="304"/>
                    </a:lnTo>
                    <a:lnTo>
                      <a:pt x="134" y="304"/>
                    </a:lnTo>
                    <a:lnTo>
                      <a:pt x="136" y="306"/>
                    </a:lnTo>
                    <a:lnTo>
                      <a:pt x="136" y="306"/>
                    </a:lnTo>
                    <a:lnTo>
                      <a:pt x="138" y="306"/>
                    </a:lnTo>
                    <a:lnTo>
                      <a:pt x="138" y="306"/>
                    </a:lnTo>
                    <a:lnTo>
                      <a:pt x="138" y="306"/>
                    </a:lnTo>
                    <a:lnTo>
                      <a:pt x="138" y="308"/>
                    </a:lnTo>
                    <a:lnTo>
                      <a:pt x="136" y="308"/>
                    </a:lnTo>
                    <a:lnTo>
                      <a:pt x="136" y="308"/>
                    </a:lnTo>
                    <a:lnTo>
                      <a:pt x="136" y="310"/>
                    </a:lnTo>
                    <a:lnTo>
                      <a:pt x="136" y="310"/>
                    </a:lnTo>
                    <a:lnTo>
                      <a:pt x="134" y="310"/>
                    </a:lnTo>
                    <a:lnTo>
                      <a:pt x="134" y="310"/>
                    </a:lnTo>
                    <a:lnTo>
                      <a:pt x="134" y="308"/>
                    </a:lnTo>
                    <a:lnTo>
                      <a:pt x="132" y="308"/>
                    </a:lnTo>
                    <a:lnTo>
                      <a:pt x="132" y="310"/>
                    </a:lnTo>
                    <a:lnTo>
                      <a:pt x="130" y="310"/>
                    </a:lnTo>
                    <a:lnTo>
                      <a:pt x="130" y="310"/>
                    </a:lnTo>
                    <a:lnTo>
                      <a:pt x="130" y="312"/>
                    </a:lnTo>
                    <a:lnTo>
                      <a:pt x="130" y="314"/>
                    </a:lnTo>
                    <a:lnTo>
                      <a:pt x="130" y="314"/>
                    </a:lnTo>
                    <a:lnTo>
                      <a:pt x="130" y="314"/>
                    </a:lnTo>
                    <a:lnTo>
                      <a:pt x="130" y="316"/>
                    </a:lnTo>
                    <a:lnTo>
                      <a:pt x="132" y="316"/>
                    </a:lnTo>
                    <a:lnTo>
                      <a:pt x="134" y="316"/>
                    </a:lnTo>
                    <a:lnTo>
                      <a:pt x="136" y="316"/>
                    </a:lnTo>
                    <a:lnTo>
                      <a:pt x="136" y="316"/>
                    </a:lnTo>
                    <a:lnTo>
                      <a:pt x="134" y="316"/>
                    </a:lnTo>
                    <a:lnTo>
                      <a:pt x="132" y="316"/>
                    </a:lnTo>
                    <a:lnTo>
                      <a:pt x="132" y="316"/>
                    </a:lnTo>
                    <a:lnTo>
                      <a:pt x="130" y="318"/>
                    </a:lnTo>
                    <a:lnTo>
                      <a:pt x="130" y="318"/>
                    </a:lnTo>
                    <a:lnTo>
                      <a:pt x="130" y="318"/>
                    </a:lnTo>
                    <a:lnTo>
                      <a:pt x="128" y="320"/>
                    </a:lnTo>
                    <a:lnTo>
                      <a:pt x="128" y="320"/>
                    </a:lnTo>
                    <a:lnTo>
                      <a:pt x="128" y="320"/>
                    </a:lnTo>
                    <a:lnTo>
                      <a:pt x="128" y="320"/>
                    </a:lnTo>
                    <a:lnTo>
                      <a:pt x="128" y="320"/>
                    </a:lnTo>
                    <a:lnTo>
                      <a:pt x="128" y="322"/>
                    </a:lnTo>
                    <a:lnTo>
                      <a:pt x="128" y="322"/>
                    </a:lnTo>
                    <a:lnTo>
                      <a:pt x="128" y="322"/>
                    </a:lnTo>
                    <a:lnTo>
                      <a:pt x="130" y="322"/>
                    </a:lnTo>
                    <a:lnTo>
                      <a:pt x="130" y="322"/>
                    </a:lnTo>
                    <a:lnTo>
                      <a:pt x="132" y="324"/>
                    </a:lnTo>
                    <a:lnTo>
                      <a:pt x="134" y="324"/>
                    </a:lnTo>
                    <a:lnTo>
                      <a:pt x="136" y="324"/>
                    </a:lnTo>
                    <a:lnTo>
                      <a:pt x="140" y="324"/>
                    </a:lnTo>
                    <a:lnTo>
                      <a:pt x="142" y="324"/>
                    </a:lnTo>
                    <a:lnTo>
                      <a:pt x="142" y="324"/>
                    </a:lnTo>
                    <a:lnTo>
                      <a:pt x="144" y="324"/>
                    </a:lnTo>
                    <a:lnTo>
                      <a:pt x="146" y="322"/>
                    </a:lnTo>
                    <a:lnTo>
                      <a:pt x="146" y="322"/>
                    </a:lnTo>
                    <a:lnTo>
                      <a:pt x="148" y="322"/>
                    </a:lnTo>
                    <a:lnTo>
                      <a:pt x="148" y="320"/>
                    </a:lnTo>
                    <a:lnTo>
                      <a:pt x="148" y="318"/>
                    </a:lnTo>
                    <a:lnTo>
                      <a:pt x="148" y="318"/>
                    </a:lnTo>
                    <a:lnTo>
                      <a:pt x="148" y="318"/>
                    </a:lnTo>
                    <a:lnTo>
                      <a:pt x="148" y="316"/>
                    </a:lnTo>
                    <a:lnTo>
                      <a:pt x="148" y="314"/>
                    </a:lnTo>
                    <a:lnTo>
                      <a:pt x="148" y="314"/>
                    </a:lnTo>
                    <a:lnTo>
                      <a:pt x="148" y="314"/>
                    </a:lnTo>
                    <a:lnTo>
                      <a:pt x="146" y="312"/>
                    </a:lnTo>
                    <a:lnTo>
                      <a:pt x="146" y="312"/>
                    </a:lnTo>
                    <a:lnTo>
                      <a:pt x="146" y="310"/>
                    </a:lnTo>
                    <a:lnTo>
                      <a:pt x="146" y="308"/>
                    </a:lnTo>
                    <a:lnTo>
                      <a:pt x="146" y="308"/>
                    </a:lnTo>
                    <a:lnTo>
                      <a:pt x="146" y="308"/>
                    </a:lnTo>
                    <a:lnTo>
                      <a:pt x="146" y="306"/>
                    </a:lnTo>
                    <a:lnTo>
                      <a:pt x="148" y="304"/>
                    </a:lnTo>
                    <a:lnTo>
                      <a:pt x="150" y="302"/>
                    </a:lnTo>
                    <a:lnTo>
                      <a:pt x="150" y="302"/>
                    </a:lnTo>
                    <a:lnTo>
                      <a:pt x="152" y="300"/>
                    </a:lnTo>
                    <a:lnTo>
                      <a:pt x="152" y="300"/>
                    </a:lnTo>
                    <a:lnTo>
                      <a:pt x="154" y="300"/>
                    </a:lnTo>
                    <a:lnTo>
                      <a:pt x="154" y="300"/>
                    </a:lnTo>
                    <a:lnTo>
                      <a:pt x="154" y="300"/>
                    </a:lnTo>
                    <a:lnTo>
                      <a:pt x="154" y="300"/>
                    </a:lnTo>
                    <a:lnTo>
                      <a:pt x="154" y="302"/>
                    </a:lnTo>
                    <a:lnTo>
                      <a:pt x="152" y="304"/>
                    </a:lnTo>
                    <a:lnTo>
                      <a:pt x="152" y="304"/>
                    </a:lnTo>
                    <a:lnTo>
                      <a:pt x="150" y="306"/>
                    </a:lnTo>
                    <a:lnTo>
                      <a:pt x="150" y="308"/>
                    </a:lnTo>
                    <a:lnTo>
                      <a:pt x="150" y="310"/>
                    </a:lnTo>
                    <a:lnTo>
                      <a:pt x="150" y="310"/>
                    </a:lnTo>
                    <a:lnTo>
                      <a:pt x="150" y="310"/>
                    </a:lnTo>
                    <a:lnTo>
                      <a:pt x="150" y="312"/>
                    </a:lnTo>
                    <a:lnTo>
                      <a:pt x="152" y="314"/>
                    </a:lnTo>
                    <a:lnTo>
                      <a:pt x="152" y="314"/>
                    </a:lnTo>
                    <a:lnTo>
                      <a:pt x="152" y="314"/>
                    </a:lnTo>
                    <a:lnTo>
                      <a:pt x="152" y="316"/>
                    </a:lnTo>
                    <a:lnTo>
                      <a:pt x="154" y="316"/>
                    </a:lnTo>
                    <a:lnTo>
                      <a:pt x="156" y="316"/>
                    </a:lnTo>
                    <a:lnTo>
                      <a:pt x="156" y="316"/>
                    </a:lnTo>
                    <a:lnTo>
                      <a:pt x="158" y="318"/>
                    </a:lnTo>
                    <a:lnTo>
                      <a:pt x="160" y="318"/>
                    </a:lnTo>
                    <a:lnTo>
                      <a:pt x="160" y="318"/>
                    </a:lnTo>
                    <a:lnTo>
                      <a:pt x="160" y="318"/>
                    </a:lnTo>
                    <a:lnTo>
                      <a:pt x="162" y="318"/>
                    </a:lnTo>
                    <a:lnTo>
                      <a:pt x="166" y="318"/>
                    </a:lnTo>
                    <a:lnTo>
                      <a:pt x="166" y="318"/>
                    </a:lnTo>
                    <a:lnTo>
                      <a:pt x="166" y="320"/>
                    </a:lnTo>
                    <a:lnTo>
                      <a:pt x="166" y="320"/>
                    </a:lnTo>
                    <a:lnTo>
                      <a:pt x="166" y="320"/>
                    </a:lnTo>
                    <a:lnTo>
                      <a:pt x="166" y="320"/>
                    </a:lnTo>
                    <a:lnTo>
                      <a:pt x="166" y="320"/>
                    </a:lnTo>
                    <a:lnTo>
                      <a:pt x="164" y="320"/>
                    </a:lnTo>
                    <a:lnTo>
                      <a:pt x="164" y="320"/>
                    </a:lnTo>
                    <a:lnTo>
                      <a:pt x="164" y="320"/>
                    </a:lnTo>
                    <a:lnTo>
                      <a:pt x="160" y="320"/>
                    </a:lnTo>
                    <a:lnTo>
                      <a:pt x="158" y="322"/>
                    </a:lnTo>
                    <a:lnTo>
                      <a:pt x="158" y="322"/>
                    </a:lnTo>
                    <a:lnTo>
                      <a:pt x="158" y="322"/>
                    </a:lnTo>
                    <a:lnTo>
                      <a:pt x="158" y="322"/>
                    </a:lnTo>
                    <a:lnTo>
                      <a:pt x="158" y="322"/>
                    </a:lnTo>
                    <a:lnTo>
                      <a:pt x="160" y="322"/>
                    </a:lnTo>
                    <a:lnTo>
                      <a:pt x="160" y="322"/>
                    </a:lnTo>
                    <a:lnTo>
                      <a:pt x="164" y="324"/>
                    </a:lnTo>
                    <a:lnTo>
                      <a:pt x="164" y="324"/>
                    </a:lnTo>
                    <a:lnTo>
                      <a:pt x="164" y="324"/>
                    </a:lnTo>
                    <a:lnTo>
                      <a:pt x="166" y="324"/>
                    </a:lnTo>
                    <a:lnTo>
                      <a:pt x="166" y="324"/>
                    </a:lnTo>
                    <a:lnTo>
                      <a:pt x="166" y="326"/>
                    </a:lnTo>
                    <a:lnTo>
                      <a:pt x="164" y="326"/>
                    </a:lnTo>
                    <a:lnTo>
                      <a:pt x="164" y="326"/>
                    </a:lnTo>
                    <a:lnTo>
                      <a:pt x="164" y="326"/>
                    </a:lnTo>
                    <a:lnTo>
                      <a:pt x="162" y="326"/>
                    </a:lnTo>
                    <a:lnTo>
                      <a:pt x="160" y="328"/>
                    </a:lnTo>
                    <a:lnTo>
                      <a:pt x="158" y="328"/>
                    </a:lnTo>
                    <a:lnTo>
                      <a:pt x="158" y="328"/>
                    </a:lnTo>
                    <a:lnTo>
                      <a:pt x="158" y="328"/>
                    </a:lnTo>
                    <a:lnTo>
                      <a:pt x="158" y="330"/>
                    </a:lnTo>
                    <a:lnTo>
                      <a:pt x="160" y="330"/>
                    </a:lnTo>
                    <a:lnTo>
                      <a:pt x="160" y="330"/>
                    </a:lnTo>
                    <a:lnTo>
                      <a:pt x="162" y="332"/>
                    </a:lnTo>
                    <a:lnTo>
                      <a:pt x="162" y="332"/>
                    </a:lnTo>
                    <a:lnTo>
                      <a:pt x="166" y="332"/>
                    </a:lnTo>
                    <a:lnTo>
                      <a:pt x="166" y="332"/>
                    </a:lnTo>
                    <a:lnTo>
                      <a:pt x="166" y="332"/>
                    </a:lnTo>
                    <a:lnTo>
                      <a:pt x="164" y="334"/>
                    </a:lnTo>
                    <a:lnTo>
                      <a:pt x="164" y="334"/>
                    </a:lnTo>
                    <a:lnTo>
                      <a:pt x="164" y="334"/>
                    </a:lnTo>
                    <a:lnTo>
                      <a:pt x="164" y="334"/>
                    </a:lnTo>
                    <a:lnTo>
                      <a:pt x="164" y="334"/>
                    </a:lnTo>
                    <a:lnTo>
                      <a:pt x="164" y="334"/>
                    </a:lnTo>
                    <a:lnTo>
                      <a:pt x="164" y="334"/>
                    </a:lnTo>
                    <a:lnTo>
                      <a:pt x="166" y="334"/>
                    </a:lnTo>
                    <a:lnTo>
                      <a:pt x="166" y="334"/>
                    </a:lnTo>
                    <a:lnTo>
                      <a:pt x="166" y="336"/>
                    </a:lnTo>
                    <a:lnTo>
                      <a:pt x="166" y="336"/>
                    </a:lnTo>
                    <a:lnTo>
                      <a:pt x="166" y="336"/>
                    </a:lnTo>
                    <a:lnTo>
                      <a:pt x="168" y="336"/>
                    </a:lnTo>
                    <a:lnTo>
                      <a:pt x="168" y="336"/>
                    </a:lnTo>
                    <a:lnTo>
                      <a:pt x="168" y="336"/>
                    </a:lnTo>
                    <a:lnTo>
                      <a:pt x="168" y="338"/>
                    </a:lnTo>
                    <a:lnTo>
                      <a:pt x="168" y="338"/>
                    </a:lnTo>
                    <a:lnTo>
                      <a:pt x="168" y="340"/>
                    </a:lnTo>
                    <a:lnTo>
                      <a:pt x="168" y="340"/>
                    </a:lnTo>
                    <a:lnTo>
                      <a:pt x="166" y="340"/>
                    </a:lnTo>
                    <a:lnTo>
                      <a:pt x="166" y="342"/>
                    </a:lnTo>
                    <a:lnTo>
                      <a:pt x="166" y="342"/>
                    </a:lnTo>
                    <a:lnTo>
                      <a:pt x="166" y="344"/>
                    </a:lnTo>
                    <a:lnTo>
                      <a:pt x="166" y="346"/>
                    </a:lnTo>
                    <a:lnTo>
                      <a:pt x="166" y="348"/>
                    </a:lnTo>
                    <a:lnTo>
                      <a:pt x="166" y="348"/>
                    </a:lnTo>
                    <a:lnTo>
                      <a:pt x="166" y="350"/>
                    </a:lnTo>
                    <a:lnTo>
                      <a:pt x="164" y="350"/>
                    </a:lnTo>
                    <a:lnTo>
                      <a:pt x="164" y="350"/>
                    </a:lnTo>
                    <a:lnTo>
                      <a:pt x="162" y="350"/>
                    </a:lnTo>
                    <a:lnTo>
                      <a:pt x="158" y="350"/>
                    </a:lnTo>
                    <a:lnTo>
                      <a:pt x="158" y="350"/>
                    </a:lnTo>
                    <a:lnTo>
                      <a:pt x="158" y="350"/>
                    </a:lnTo>
                    <a:lnTo>
                      <a:pt x="156" y="350"/>
                    </a:lnTo>
                    <a:lnTo>
                      <a:pt x="154" y="348"/>
                    </a:lnTo>
                    <a:lnTo>
                      <a:pt x="154" y="346"/>
                    </a:lnTo>
                    <a:lnTo>
                      <a:pt x="152" y="344"/>
                    </a:lnTo>
                    <a:lnTo>
                      <a:pt x="150" y="344"/>
                    </a:lnTo>
                    <a:lnTo>
                      <a:pt x="150" y="344"/>
                    </a:lnTo>
                    <a:lnTo>
                      <a:pt x="148" y="342"/>
                    </a:lnTo>
                    <a:lnTo>
                      <a:pt x="146" y="342"/>
                    </a:lnTo>
                    <a:lnTo>
                      <a:pt x="146" y="342"/>
                    </a:lnTo>
                    <a:lnTo>
                      <a:pt x="142" y="342"/>
                    </a:lnTo>
                    <a:lnTo>
                      <a:pt x="142" y="340"/>
                    </a:lnTo>
                    <a:lnTo>
                      <a:pt x="142" y="340"/>
                    </a:lnTo>
                    <a:lnTo>
                      <a:pt x="138" y="340"/>
                    </a:lnTo>
                    <a:lnTo>
                      <a:pt x="136" y="340"/>
                    </a:lnTo>
                    <a:lnTo>
                      <a:pt x="136" y="340"/>
                    </a:lnTo>
                    <a:lnTo>
                      <a:pt x="136" y="340"/>
                    </a:lnTo>
                    <a:lnTo>
                      <a:pt x="134" y="340"/>
                    </a:lnTo>
                    <a:lnTo>
                      <a:pt x="134" y="340"/>
                    </a:lnTo>
                    <a:lnTo>
                      <a:pt x="132" y="342"/>
                    </a:lnTo>
                    <a:lnTo>
                      <a:pt x="132" y="342"/>
                    </a:lnTo>
                    <a:lnTo>
                      <a:pt x="132" y="342"/>
                    </a:lnTo>
                    <a:lnTo>
                      <a:pt x="132" y="342"/>
                    </a:lnTo>
                    <a:lnTo>
                      <a:pt x="132" y="344"/>
                    </a:lnTo>
                    <a:lnTo>
                      <a:pt x="134" y="344"/>
                    </a:lnTo>
                    <a:lnTo>
                      <a:pt x="134" y="346"/>
                    </a:lnTo>
                    <a:lnTo>
                      <a:pt x="134" y="346"/>
                    </a:lnTo>
                    <a:lnTo>
                      <a:pt x="136" y="346"/>
                    </a:lnTo>
                    <a:lnTo>
                      <a:pt x="136" y="348"/>
                    </a:lnTo>
                    <a:lnTo>
                      <a:pt x="136" y="348"/>
                    </a:lnTo>
                    <a:lnTo>
                      <a:pt x="140" y="350"/>
                    </a:lnTo>
                    <a:lnTo>
                      <a:pt x="142" y="352"/>
                    </a:lnTo>
                    <a:lnTo>
                      <a:pt x="142" y="352"/>
                    </a:lnTo>
                    <a:lnTo>
                      <a:pt x="144" y="354"/>
                    </a:lnTo>
                    <a:lnTo>
                      <a:pt x="146" y="356"/>
                    </a:lnTo>
                    <a:lnTo>
                      <a:pt x="146" y="356"/>
                    </a:lnTo>
                    <a:lnTo>
                      <a:pt x="148" y="358"/>
                    </a:lnTo>
                    <a:lnTo>
                      <a:pt x="148" y="358"/>
                    </a:lnTo>
                    <a:lnTo>
                      <a:pt x="150" y="360"/>
                    </a:lnTo>
                    <a:lnTo>
                      <a:pt x="150" y="360"/>
                    </a:lnTo>
                    <a:lnTo>
                      <a:pt x="150" y="362"/>
                    </a:lnTo>
                    <a:lnTo>
                      <a:pt x="152" y="362"/>
                    </a:lnTo>
                    <a:lnTo>
                      <a:pt x="152" y="362"/>
                    </a:lnTo>
                    <a:lnTo>
                      <a:pt x="154" y="362"/>
                    </a:lnTo>
                    <a:lnTo>
                      <a:pt x="154" y="362"/>
                    </a:lnTo>
                    <a:lnTo>
                      <a:pt x="156" y="364"/>
                    </a:lnTo>
                    <a:lnTo>
                      <a:pt x="158" y="364"/>
                    </a:lnTo>
                    <a:lnTo>
                      <a:pt x="160" y="362"/>
                    </a:lnTo>
                    <a:lnTo>
                      <a:pt x="160" y="362"/>
                    </a:lnTo>
                    <a:lnTo>
                      <a:pt x="162" y="362"/>
                    </a:lnTo>
                    <a:lnTo>
                      <a:pt x="164" y="360"/>
                    </a:lnTo>
                    <a:lnTo>
                      <a:pt x="164" y="360"/>
                    </a:lnTo>
                    <a:lnTo>
                      <a:pt x="166" y="358"/>
                    </a:lnTo>
                    <a:lnTo>
                      <a:pt x="168" y="358"/>
                    </a:lnTo>
                    <a:lnTo>
                      <a:pt x="168" y="358"/>
                    </a:lnTo>
                    <a:lnTo>
                      <a:pt x="170" y="358"/>
                    </a:lnTo>
                    <a:lnTo>
                      <a:pt x="170" y="358"/>
                    </a:lnTo>
                    <a:lnTo>
                      <a:pt x="170" y="358"/>
                    </a:lnTo>
                    <a:lnTo>
                      <a:pt x="172" y="358"/>
                    </a:lnTo>
                    <a:lnTo>
                      <a:pt x="172" y="358"/>
                    </a:lnTo>
                    <a:lnTo>
                      <a:pt x="172" y="358"/>
                    </a:lnTo>
                    <a:lnTo>
                      <a:pt x="172" y="358"/>
                    </a:lnTo>
                    <a:lnTo>
                      <a:pt x="172" y="362"/>
                    </a:lnTo>
                    <a:lnTo>
                      <a:pt x="172" y="362"/>
                    </a:lnTo>
                    <a:lnTo>
                      <a:pt x="172" y="364"/>
                    </a:lnTo>
                    <a:lnTo>
                      <a:pt x="172" y="364"/>
                    </a:lnTo>
                    <a:lnTo>
                      <a:pt x="174" y="364"/>
                    </a:lnTo>
                    <a:lnTo>
                      <a:pt x="174" y="366"/>
                    </a:lnTo>
                    <a:lnTo>
                      <a:pt x="174" y="366"/>
                    </a:lnTo>
                    <a:lnTo>
                      <a:pt x="176" y="366"/>
                    </a:lnTo>
                    <a:lnTo>
                      <a:pt x="176" y="366"/>
                    </a:lnTo>
                    <a:lnTo>
                      <a:pt x="176" y="366"/>
                    </a:lnTo>
                    <a:lnTo>
                      <a:pt x="176" y="366"/>
                    </a:lnTo>
                    <a:lnTo>
                      <a:pt x="176" y="368"/>
                    </a:lnTo>
                    <a:lnTo>
                      <a:pt x="176" y="370"/>
                    </a:lnTo>
                    <a:lnTo>
                      <a:pt x="174" y="372"/>
                    </a:lnTo>
                    <a:lnTo>
                      <a:pt x="174" y="372"/>
                    </a:lnTo>
                    <a:lnTo>
                      <a:pt x="174" y="372"/>
                    </a:lnTo>
                    <a:lnTo>
                      <a:pt x="172" y="372"/>
                    </a:lnTo>
                    <a:lnTo>
                      <a:pt x="170" y="374"/>
                    </a:lnTo>
                    <a:lnTo>
                      <a:pt x="170" y="374"/>
                    </a:lnTo>
                    <a:lnTo>
                      <a:pt x="166" y="374"/>
                    </a:lnTo>
                    <a:lnTo>
                      <a:pt x="166" y="374"/>
                    </a:lnTo>
                    <a:lnTo>
                      <a:pt x="166" y="374"/>
                    </a:lnTo>
                    <a:lnTo>
                      <a:pt x="166" y="374"/>
                    </a:lnTo>
                    <a:lnTo>
                      <a:pt x="164" y="376"/>
                    </a:lnTo>
                    <a:lnTo>
                      <a:pt x="162" y="378"/>
                    </a:lnTo>
                    <a:lnTo>
                      <a:pt x="160" y="380"/>
                    </a:lnTo>
                    <a:lnTo>
                      <a:pt x="158" y="382"/>
                    </a:lnTo>
                    <a:lnTo>
                      <a:pt x="158" y="382"/>
                    </a:lnTo>
                    <a:lnTo>
                      <a:pt x="158" y="384"/>
                    </a:lnTo>
                    <a:lnTo>
                      <a:pt x="158" y="386"/>
                    </a:lnTo>
                    <a:lnTo>
                      <a:pt x="158" y="386"/>
                    </a:lnTo>
                    <a:lnTo>
                      <a:pt x="156" y="390"/>
                    </a:lnTo>
                    <a:lnTo>
                      <a:pt x="156" y="390"/>
                    </a:lnTo>
                    <a:lnTo>
                      <a:pt x="156" y="390"/>
                    </a:lnTo>
                    <a:lnTo>
                      <a:pt x="158" y="392"/>
                    </a:lnTo>
                    <a:lnTo>
                      <a:pt x="158" y="392"/>
                    </a:lnTo>
                    <a:lnTo>
                      <a:pt x="160" y="392"/>
                    </a:lnTo>
                    <a:lnTo>
                      <a:pt x="162" y="392"/>
                    </a:lnTo>
                    <a:lnTo>
                      <a:pt x="162" y="392"/>
                    </a:lnTo>
                    <a:lnTo>
                      <a:pt x="164" y="390"/>
                    </a:lnTo>
                    <a:lnTo>
                      <a:pt x="164" y="392"/>
                    </a:lnTo>
                    <a:lnTo>
                      <a:pt x="166" y="392"/>
                    </a:lnTo>
                    <a:lnTo>
                      <a:pt x="166" y="392"/>
                    </a:lnTo>
                    <a:lnTo>
                      <a:pt x="166" y="392"/>
                    </a:lnTo>
                    <a:lnTo>
                      <a:pt x="164" y="392"/>
                    </a:lnTo>
                    <a:lnTo>
                      <a:pt x="164" y="394"/>
                    </a:lnTo>
                    <a:lnTo>
                      <a:pt x="162" y="394"/>
                    </a:lnTo>
                    <a:lnTo>
                      <a:pt x="162" y="394"/>
                    </a:lnTo>
                    <a:lnTo>
                      <a:pt x="160" y="396"/>
                    </a:lnTo>
                    <a:lnTo>
                      <a:pt x="160" y="396"/>
                    </a:lnTo>
                    <a:lnTo>
                      <a:pt x="156" y="398"/>
                    </a:lnTo>
                    <a:lnTo>
                      <a:pt x="154" y="400"/>
                    </a:lnTo>
                    <a:lnTo>
                      <a:pt x="154" y="400"/>
                    </a:lnTo>
                    <a:lnTo>
                      <a:pt x="152" y="402"/>
                    </a:lnTo>
                    <a:lnTo>
                      <a:pt x="150" y="402"/>
                    </a:lnTo>
                    <a:lnTo>
                      <a:pt x="150" y="404"/>
                    </a:lnTo>
                    <a:lnTo>
                      <a:pt x="150" y="404"/>
                    </a:lnTo>
                    <a:lnTo>
                      <a:pt x="150" y="406"/>
                    </a:lnTo>
                    <a:lnTo>
                      <a:pt x="150" y="406"/>
                    </a:lnTo>
                    <a:lnTo>
                      <a:pt x="150" y="408"/>
                    </a:lnTo>
                    <a:lnTo>
                      <a:pt x="150" y="408"/>
                    </a:lnTo>
                    <a:lnTo>
                      <a:pt x="150" y="408"/>
                    </a:lnTo>
                    <a:lnTo>
                      <a:pt x="148" y="410"/>
                    </a:lnTo>
                    <a:lnTo>
                      <a:pt x="148" y="410"/>
                    </a:lnTo>
                    <a:lnTo>
                      <a:pt x="146" y="410"/>
                    </a:lnTo>
                    <a:lnTo>
                      <a:pt x="142" y="410"/>
                    </a:lnTo>
                    <a:lnTo>
                      <a:pt x="142" y="410"/>
                    </a:lnTo>
                    <a:lnTo>
                      <a:pt x="136" y="410"/>
                    </a:lnTo>
                    <a:lnTo>
                      <a:pt x="136" y="410"/>
                    </a:lnTo>
                    <a:lnTo>
                      <a:pt x="136" y="410"/>
                    </a:lnTo>
                    <a:lnTo>
                      <a:pt x="134" y="410"/>
                    </a:lnTo>
                    <a:lnTo>
                      <a:pt x="132" y="410"/>
                    </a:lnTo>
                    <a:lnTo>
                      <a:pt x="132" y="412"/>
                    </a:lnTo>
                    <a:lnTo>
                      <a:pt x="132" y="412"/>
                    </a:lnTo>
                    <a:lnTo>
                      <a:pt x="132" y="412"/>
                    </a:lnTo>
                    <a:lnTo>
                      <a:pt x="132" y="412"/>
                    </a:lnTo>
                    <a:lnTo>
                      <a:pt x="132" y="414"/>
                    </a:lnTo>
                    <a:lnTo>
                      <a:pt x="132" y="414"/>
                    </a:lnTo>
                    <a:lnTo>
                      <a:pt x="134" y="414"/>
                    </a:lnTo>
                    <a:lnTo>
                      <a:pt x="134" y="416"/>
                    </a:lnTo>
                    <a:lnTo>
                      <a:pt x="134" y="416"/>
                    </a:lnTo>
                    <a:lnTo>
                      <a:pt x="136" y="416"/>
                    </a:lnTo>
                    <a:lnTo>
                      <a:pt x="138" y="416"/>
                    </a:lnTo>
                    <a:lnTo>
                      <a:pt x="140" y="416"/>
                    </a:lnTo>
                    <a:lnTo>
                      <a:pt x="140" y="416"/>
                    </a:lnTo>
                    <a:lnTo>
                      <a:pt x="142" y="416"/>
                    </a:lnTo>
                    <a:lnTo>
                      <a:pt x="144" y="416"/>
                    </a:lnTo>
                    <a:lnTo>
                      <a:pt x="144" y="416"/>
                    </a:lnTo>
                    <a:lnTo>
                      <a:pt x="146" y="416"/>
                    </a:lnTo>
                    <a:lnTo>
                      <a:pt x="146" y="416"/>
                    </a:lnTo>
                    <a:lnTo>
                      <a:pt x="148" y="416"/>
                    </a:lnTo>
                    <a:lnTo>
                      <a:pt x="148" y="416"/>
                    </a:lnTo>
                    <a:lnTo>
                      <a:pt x="148" y="416"/>
                    </a:lnTo>
                    <a:lnTo>
                      <a:pt x="148" y="416"/>
                    </a:lnTo>
                    <a:lnTo>
                      <a:pt x="148" y="418"/>
                    </a:lnTo>
                    <a:lnTo>
                      <a:pt x="148" y="418"/>
                    </a:lnTo>
                    <a:lnTo>
                      <a:pt x="146" y="418"/>
                    </a:lnTo>
                    <a:lnTo>
                      <a:pt x="146" y="418"/>
                    </a:lnTo>
                    <a:lnTo>
                      <a:pt x="142" y="420"/>
                    </a:lnTo>
                    <a:lnTo>
                      <a:pt x="140" y="420"/>
                    </a:lnTo>
                    <a:lnTo>
                      <a:pt x="140" y="420"/>
                    </a:lnTo>
                    <a:lnTo>
                      <a:pt x="134" y="422"/>
                    </a:lnTo>
                    <a:lnTo>
                      <a:pt x="130" y="424"/>
                    </a:lnTo>
                    <a:lnTo>
                      <a:pt x="128" y="424"/>
                    </a:lnTo>
                    <a:lnTo>
                      <a:pt x="126" y="426"/>
                    </a:lnTo>
                    <a:lnTo>
                      <a:pt x="126" y="426"/>
                    </a:lnTo>
                    <a:lnTo>
                      <a:pt x="126" y="426"/>
                    </a:lnTo>
                    <a:lnTo>
                      <a:pt x="126" y="428"/>
                    </a:lnTo>
                    <a:lnTo>
                      <a:pt x="126" y="430"/>
                    </a:lnTo>
                    <a:lnTo>
                      <a:pt x="128" y="430"/>
                    </a:lnTo>
                    <a:lnTo>
                      <a:pt x="128" y="430"/>
                    </a:lnTo>
                    <a:lnTo>
                      <a:pt x="130" y="430"/>
                    </a:lnTo>
                    <a:lnTo>
                      <a:pt x="130" y="430"/>
                    </a:lnTo>
                    <a:lnTo>
                      <a:pt x="134" y="430"/>
                    </a:lnTo>
                    <a:lnTo>
                      <a:pt x="134" y="430"/>
                    </a:lnTo>
                    <a:lnTo>
                      <a:pt x="138" y="430"/>
                    </a:lnTo>
                    <a:lnTo>
                      <a:pt x="140" y="430"/>
                    </a:lnTo>
                    <a:lnTo>
                      <a:pt x="142" y="430"/>
                    </a:lnTo>
                    <a:lnTo>
                      <a:pt x="142" y="430"/>
                    </a:lnTo>
                    <a:lnTo>
                      <a:pt x="142" y="432"/>
                    </a:lnTo>
                    <a:lnTo>
                      <a:pt x="142" y="434"/>
                    </a:lnTo>
                    <a:lnTo>
                      <a:pt x="142" y="434"/>
                    </a:lnTo>
                    <a:lnTo>
                      <a:pt x="144" y="434"/>
                    </a:lnTo>
                    <a:lnTo>
                      <a:pt x="144" y="436"/>
                    </a:lnTo>
                    <a:lnTo>
                      <a:pt x="144" y="436"/>
                    </a:lnTo>
                    <a:lnTo>
                      <a:pt x="146" y="436"/>
                    </a:lnTo>
                    <a:lnTo>
                      <a:pt x="144" y="438"/>
                    </a:lnTo>
                    <a:lnTo>
                      <a:pt x="144" y="438"/>
                    </a:lnTo>
                    <a:lnTo>
                      <a:pt x="144" y="438"/>
                    </a:lnTo>
                    <a:lnTo>
                      <a:pt x="144" y="438"/>
                    </a:lnTo>
                    <a:lnTo>
                      <a:pt x="142" y="436"/>
                    </a:lnTo>
                    <a:lnTo>
                      <a:pt x="142" y="436"/>
                    </a:lnTo>
                    <a:lnTo>
                      <a:pt x="142" y="436"/>
                    </a:lnTo>
                    <a:lnTo>
                      <a:pt x="140" y="434"/>
                    </a:lnTo>
                    <a:lnTo>
                      <a:pt x="138" y="434"/>
                    </a:lnTo>
                    <a:lnTo>
                      <a:pt x="134" y="434"/>
                    </a:lnTo>
                    <a:lnTo>
                      <a:pt x="134" y="434"/>
                    </a:lnTo>
                    <a:lnTo>
                      <a:pt x="126" y="434"/>
                    </a:lnTo>
                    <a:lnTo>
                      <a:pt x="126" y="434"/>
                    </a:lnTo>
                    <a:lnTo>
                      <a:pt x="122" y="434"/>
                    </a:lnTo>
                    <a:lnTo>
                      <a:pt x="120" y="436"/>
                    </a:lnTo>
                    <a:lnTo>
                      <a:pt x="118" y="436"/>
                    </a:lnTo>
                    <a:lnTo>
                      <a:pt x="118" y="436"/>
                    </a:lnTo>
                    <a:lnTo>
                      <a:pt x="118" y="438"/>
                    </a:lnTo>
                    <a:lnTo>
                      <a:pt x="118" y="438"/>
                    </a:lnTo>
                    <a:lnTo>
                      <a:pt x="118" y="440"/>
                    </a:lnTo>
                    <a:lnTo>
                      <a:pt x="118" y="442"/>
                    </a:lnTo>
                    <a:lnTo>
                      <a:pt x="118" y="442"/>
                    </a:lnTo>
                    <a:lnTo>
                      <a:pt x="118" y="442"/>
                    </a:lnTo>
                    <a:lnTo>
                      <a:pt x="118" y="444"/>
                    </a:lnTo>
                    <a:lnTo>
                      <a:pt x="118" y="444"/>
                    </a:lnTo>
                    <a:lnTo>
                      <a:pt x="118" y="444"/>
                    </a:lnTo>
                    <a:lnTo>
                      <a:pt x="118" y="444"/>
                    </a:lnTo>
                    <a:lnTo>
                      <a:pt x="120" y="446"/>
                    </a:lnTo>
                    <a:lnTo>
                      <a:pt x="120" y="446"/>
                    </a:lnTo>
                    <a:lnTo>
                      <a:pt x="124" y="446"/>
                    </a:lnTo>
                    <a:lnTo>
                      <a:pt x="128" y="448"/>
                    </a:lnTo>
                    <a:lnTo>
                      <a:pt x="130" y="448"/>
                    </a:lnTo>
                    <a:lnTo>
                      <a:pt x="132" y="448"/>
                    </a:lnTo>
                    <a:lnTo>
                      <a:pt x="134" y="448"/>
                    </a:lnTo>
                    <a:lnTo>
                      <a:pt x="134" y="448"/>
                    </a:lnTo>
                    <a:lnTo>
                      <a:pt x="136" y="446"/>
                    </a:lnTo>
                    <a:lnTo>
                      <a:pt x="138" y="446"/>
                    </a:lnTo>
                    <a:lnTo>
                      <a:pt x="138" y="446"/>
                    </a:lnTo>
                    <a:lnTo>
                      <a:pt x="140" y="446"/>
                    </a:lnTo>
                    <a:lnTo>
                      <a:pt x="142" y="446"/>
                    </a:lnTo>
                    <a:lnTo>
                      <a:pt x="142" y="446"/>
                    </a:lnTo>
                    <a:lnTo>
                      <a:pt x="142" y="446"/>
                    </a:lnTo>
                    <a:lnTo>
                      <a:pt x="144" y="448"/>
                    </a:lnTo>
                    <a:lnTo>
                      <a:pt x="146" y="448"/>
                    </a:lnTo>
                    <a:lnTo>
                      <a:pt x="146" y="450"/>
                    </a:lnTo>
                    <a:lnTo>
                      <a:pt x="146" y="450"/>
                    </a:lnTo>
                    <a:lnTo>
                      <a:pt x="146" y="450"/>
                    </a:lnTo>
                    <a:lnTo>
                      <a:pt x="146" y="450"/>
                    </a:lnTo>
                    <a:lnTo>
                      <a:pt x="144" y="450"/>
                    </a:lnTo>
                    <a:lnTo>
                      <a:pt x="142" y="450"/>
                    </a:lnTo>
                    <a:lnTo>
                      <a:pt x="142" y="450"/>
                    </a:lnTo>
                    <a:lnTo>
                      <a:pt x="136" y="450"/>
                    </a:lnTo>
                    <a:lnTo>
                      <a:pt x="136" y="450"/>
                    </a:lnTo>
                    <a:lnTo>
                      <a:pt x="134" y="450"/>
                    </a:lnTo>
                    <a:lnTo>
                      <a:pt x="132" y="450"/>
                    </a:lnTo>
                    <a:lnTo>
                      <a:pt x="132" y="450"/>
                    </a:lnTo>
                    <a:lnTo>
                      <a:pt x="130" y="452"/>
                    </a:lnTo>
                    <a:lnTo>
                      <a:pt x="130" y="452"/>
                    </a:lnTo>
                    <a:lnTo>
                      <a:pt x="128" y="452"/>
                    </a:lnTo>
                    <a:lnTo>
                      <a:pt x="124" y="454"/>
                    </a:lnTo>
                    <a:lnTo>
                      <a:pt x="124" y="454"/>
                    </a:lnTo>
                    <a:lnTo>
                      <a:pt x="124" y="454"/>
                    </a:lnTo>
                    <a:lnTo>
                      <a:pt x="122" y="454"/>
                    </a:lnTo>
                    <a:lnTo>
                      <a:pt x="120" y="454"/>
                    </a:lnTo>
                    <a:lnTo>
                      <a:pt x="116" y="458"/>
                    </a:lnTo>
                    <a:lnTo>
                      <a:pt x="116" y="458"/>
                    </a:lnTo>
                    <a:lnTo>
                      <a:pt x="116" y="460"/>
                    </a:lnTo>
                    <a:lnTo>
                      <a:pt x="114" y="462"/>
                    </a:lnTo>
                    <a:lnTo>
                      <a:pt x="114" y="464"/>
                    </a:lnTo>
                    <a:lnTo>
                      <a:pt x="114" y="464"/>
                    </a:lnTo>
                    <a:lnTo>
                      <a:pt x="114" y="466"/>
                    </a:lnTo>
                    <a:lnTo>
                      <a:pt x="114" y="466"/>
                    </a:lnTo>
                    <a:lnTo>
                      <a:pt x="114" y="466"/>
                    </a:lnTo>
                    <a:lnTo>
                      <a:pt x="116" y="468"/>
                    </a:lnTo>
                    <a:lnTo>
                      <a:pt x="116" y="470"/>
                    </a:lnTo>
                    <a:lnTo>
                      <a:pt x="116" y="470"/>
                    </a:lnTo>
                    <a:lnTo>
                      <a:pt x="118" y="472"/>
                    </a:lnTo>
                    <a:lnTo>
                      <a:pt x="118" y="472"/>
                    </a:lnTo>
                    <a:lnTo>
                      <a:pt x="118" y="472"/>
                    </a:lnTo>
                    <a:lnTo>
                      <a:pt x="120" y="472"/>
                    </a:lnTo>
                    <a:lnTo>
                      <a:pt x="120" y="472"/>
                    </a:lnTo>
                    <a:lnTo>
                      <a:pt x="120" y="472"/>
                    </a:lnTo>
                    <a:lnTo>
                      <a:pt x="122" y="470"/>
                    </a:lnTo>
                    <a:lnTo>
                      <a:pt x="122" y="470"/>
                    </a:lnTo>
                    <a:lnTo>
                      <a:pt x="124" y="468"/>
                    </a:lnTo>
                    <a:lnTo>
                      <a:pt x="124" y="468"/>
                    </a:lnTo>
                    <a:lnTo>
                      <a:pt x="126" y="466"/>
                    </a:lnTo>
                    <a:lnTo>
                      <a:pt x="128" y="464"/>
                    </a:lnTo>
                    <a:lnTo>
                      <a:pt x="128" y="464"/>
                    </a:lnTo>
                    <a:lnTo>
                      <a:pt x="130" y="464"/>
                    </a:lnTo>
                    <a:lnTo>
                      <a:pt x="132" y="462"/>
                    </a:lnTo>
                    <a:lnTo>
                      <a:pt x="132" y="462"/>
                    </a:lnTo>
                    <a:lnTo>
                      <a:pt x="134" y="462"/>
                    </a:lnTo>
                    <a:lnTo>
                      <a:pt x="134" y="462"/>
                    </a:lnTo>
                    <a:lnTo>
                      <a:pt x="136" y="462"/>
                    </a:lnTo>
                    <a:lnTo>
                      <a:pt x="136" y="462"/>
                    </a:lnTo>
                    <a:lnTo>
                      <a:pt x="134" y="462"/>
                    </a:lnTo>
                    <a:lnTo>
                      <a:pt x="134" y="464"/>
                    </a:lnTo>
                    <a:lnTo>
                      <a:pt x="134" y="464"/>
                    </a:lnTo>
                    <a:lnTo>
                      <a:pt x="134" y="464"/>
                    </a:lnTo>
                    <a:lnTo>
                      <a:pt x="130" y="466"/>
                    </a:lnTo>
                    <a:lnTo>
                      <a:pt x="128" y="468"/>
                    </a:lnTo>
                    <a:lnTo>
                      <a:pt x="128" y="468"/>
                    </a:lnTo>
                    <a:lnTo>
                      <a:pt x="128" y="470"/>
                    </a:lnTo>
                    <a:lnTo>
                      <a:pt x="128" y="470"/>
                    </a:lnTo>
                    <a:lnTo>
                      <a:pt x="126" y="474"/>
                    </a:lnTo>
                    <a:lnTo>
                      <a:pt x="126" y="474"/>
                    </a:lnTo>
                    <a:lnTo>
                      <a:pt x="126" y="476"/>
                    </a:lnTo>
                    <a:lnTo>
                      <a:pt x="126" y="476"/>
                    </a:lnTo>
                    <a:lnTo>
                      <a:pt x="126" y="476"/>
                    </a:lnTo>
                    <a:lnTo>
                      <a:pt x="126" y="478"/>
                    </a:lnTo>
                    <a:lnTo>
                      <a:pt x="128" y="478"/>
                    </a:lnTo>
                    <a:lnTo>
                      <a:pt x="128" y="478"/>
                    </a:lnTo>
                    <a:lnTo>
                      <a:pt x="128" y="478"/>
                    </a:lnTo>
                    <a:lnTo>
                      <a:pt x="130" y="478"/>
                    </a:lnTo>
                    <a:lnTo>
                      <a:pt x="130" y="478"/>
                    </a:lnTo>
                    <a:lnTo>
                      <a:pt x="130" y="478"/>
                    </a:lnTo>
                    <a:lnTo>
                      <a:pt x="130" y="480"/>
                    </a:lnTo>
                    <a:lnTo>
                      <a:pt x="130" y="480"/>
                    </a:lnTo>
                    <a:lnTo>
                      <a:pt x="130" y="480"/>
                    </a:lnTo>
                    <a:lnTo>
                      <a:pt x="128" y="482"/>
                    </a:lnTo>
                    <a:lnTo>
                      <a:pt x="126" y="484"/>
                    </a:lnTo>
                    <a:lnTo>
                      <a:pt x="126" y="484"/>
                    </a:lnTo>
                    <a:lnTo>
                      <a:pt x="126" y="486"/>
                    </a:lnTo>
                    <a:lnTo>
                      <a:pt x="126" y="488"/>
                    </a:lnTo>
                    <a:lnTo>
                      <a:pt x="126" y="490"/>
                    </a:lnTo>
                    <a:lnTo>
                      <a:pt x="126" y="490"/>
                    </a:lnTo>
                    <a:lnTo>
                      <a:pt x="126" y="494"/>
                    </a:lnTo>
                    <a:lnTo>
                      <a:pt x="126" y="498"/>
                    </a:lnTo>
                    <a:lnTo>
                      <a:pt x="126" y="498"/>
                    </a:lnTo>
                    <a:lnTo>
                      <a:pt x="128" y="498"/>
                    </a:lnTo>
                    <a:lnTo>
                      <a:pt x="128" y="500"/>
                    </a:lnTo>
                    <a:lnTo>
                      <a:pt x="130" y="500"/>
                    </a:lnTo>
                    <a:lnTo>
                      <a:pt x="130" y="500"/>
                    </a:lnTo>
                    <a:lnTo>
                      <a:pt x="130" y="500"/>
                    </a:lnTo>
                    <a:lnTo>
                      <a:pt x="132" y="500"/>
                    </a:lnTo>
                    <a:lnTo>
                      <a:pt x="132" y="498"/>
                    </a:lnTo>
                    <a:lnTo>
                      <a:pt x="132" y="498"/>
                    </a:lnTo>
                    <a:lnTo>
                      <a:pt x="134" y="498"/>
                    </a:lnTo>
                    <a:lnTo>
                      <a:pt x="136" y="498"/>
                    </a:lnTo>
                    <a:lnTo>
                      <a:pt x="136" y="498"/>
                    </a:lnTo>
                    <a:lnTo>
                      <a:pt x="138" y="496"/>
                    </a:lnTo>
                    <a:lnTo>
                      <a:pt x="140" y="496"/>
                    </a:lnTo>
                    <a:lnTo>
                      <a:pt x="142" y="496"/>
                    </a:lnTo>
                    <a:lnTo>
                      <a:pt x="142" y="496"/>
                    </a:lnTo>
                    <a:lnTo>
                      <a:pt x="142" y="498"/>
                    </a:lnTo>
                    <a:lnTo>
                      <a:pt x="142" y="498"/>
                    </a:lnTo>
                    <a:lnTo>
                      <a:pt x="142" y="498"/>
                    </a:lnTo>
                    <a:lnTo>
                      <a:pt x="142" y="498"/>
                    </a:lnTo>
                    <a:lnTo>
                      <a:pt x="142" y="500"/>
                    </a:lnTo>
                    <a:lnTo>
                      <a:pt x="142" y="500"/>
                    </a:lnTo>
                    <a:lnTo>
                      <a:pt x="142" y="500"/>
                    </a:lnTo>
                    <a:lnTo>
                      <a:pt x="142" y="500"/>
                    </a:lnTo>
                    <a:lnTo>
                      <a:pt x="136" y="502"/>
                    </a:lnTo>
                    <a:lnTo>
                      <a:pt x="134" y="502"/>
                    </a:lnTo>
                    <a:lnTo>
                      <a:pt x="132" y="504"/>
                    </a:lnTo>
                    <a:lnTo>
                      <a:pt x="132" y="504"/>
                    </a:lnTo>
                    <a:lnTo>
                      <a:pt x="132" y="504"/>
                    </a:lnTo>
                    <a:lnTo>
                      <a:pt x="132" y="506"/>
                    </a:lnTo>
                    <a:lnTo>
                      <a:pt x="132" y="506"/>
                    </a:lnTo>
                    <a:lnTo>
                      <a:pt x="132" y="506"/>
                    </a:lnTo>
                    <a:lnTo>
                      <a:pt x="136" y="506"/>
                    </a:lnTo>
                    <a:lnTo>
                      <a:pt x="136" y="506"/>
                    </a:lnTo>
                    <a:lnTo>
                      <a:pt x="140" y="506"/>
                    </a:lnTo>
                    <a:lnTo>
                      <a:pt x="142" y="506"/>
                    </a:lnTo>
                    <a:lnTo>
                      <a:pt x="142" y="506"/>
                    </a:lnTo>
                    <a:lnTo>
                      <a:pt x="142" y="506"/>
                    </a:lnTo>
                    <a:lnTo>
                      <a:pt x="142" y="506"/>
                    </a:lnTo>
                    <a:lnTo>
                      <a:pt x="140" y="508"/>
                    </a:lnTo>
                    <a:lnTo>
                      <a:pt x="140" y="508"/>
                    </a:lnTo>
                    <a:lnTo>
                      <a:pt x="138" y="508"/>
                    </a:lnTo>
                    <a:lnTo>
                      <a:pt x="138" y="508"/>
                    </a:lnTo>
                    <a:lnTo>
                      <a:pt x="136" y="510"/>
                    </a:lnTo>
                    <a:lnTo>
                      <a:pt x="136" y="510"/>
                    </a:lnTo>
                    <a:lnTo>
                      <a:pt x="134" y="510"/>
                    </a:lnTo>
                    <a:lnTo>
                      <a:pt x="134" y="512"/>
                    </a:lnTo>
                    <a:lnTo>
                      <a:pt x="134" y="516"/>
                    </a:lnTo>
                    <a:lnTo>
                      <a:pt x="134" y="516"/>
                    </a:lnTo>
                    <a:lnTo>
                      <a:pt x="132" y="516"/>
                    </a:lnTo>
                    <a:lnTo>
                      <a:pt x="132" y="518"/>
                    </a:lnTo>
                    <a:lnTo>
                      <a:pt x="132" y="518"/>
                    </a:lnTo>
                    <a:lnTo>
                      <a:pt x="130" y="520"/>
                    </a:lnTo>
                    <a:lnTo>
                      <a:pt x="130" y="520"/>
                    </a:lnTo>
                    <a:lnTo>
                      <a:pt x="126" y="520"/>
                    </a:lnTo>
                    <a:lnTo>
                      <a:pt x="124" y="520"/>
                    </a:lnTo>
                    <a:lnTo>
                      <a:pt x="124" y="520"/>
                    </a:lnTo>
                    <a:lnTo>
                      <a:pt x="124" y="520"/>
                    </a:lnTo>
                    <a:lnTo>
                      <a:pt x="124" y="520"/>
                    </a:lnTo>
                    <a:lnTo>
                      <a:pt x="124" y="522"/>
                    </a:lnTo>
                    <a:lnTo>
                      <a:pt x="124" y="522"/>
                    </a:lnTo>
                    <a:lnTo>
                      <a:pt x="124" y="522"/>
                    </a:lnTo>
                    <a:lnTo>
                      <a:pt x="124" y="524"/>
                    </a:lnTo>
                    <a:lnTo>
                      <a:pt x="126" y="524"/>
                    </a:lnTo>
                    <a:lnTo>
                      <a:pt x="126" y="524"/>
                    </a:lnTo>
                    <a:lnTo>
                      <a:pt x="126" y="526"/>
                    </a:lnTo>
                    <a:lnTo>
                      <a:pt x="128" y="528"/>
                    </a:lnTo>
                    <a:lnTo>
                      <a:pt x="128" y="528"/>
                    </a:lnTo>
                    <a:lnTo>
                      <a:pt x="130" y="532"/>
                    </a:lnTo>
                    <a:lnTo>
                      <a:pt x="130" y="536"/>
                    </a:lnTo>
                    <a:lnTo>
                      <a:pt x="130" y="536"/>
                    </a:lnTo>
                    <a:lnTo>
                      <a:pt x="130" y="538"/>
                    </a:lnTo>
                    <a:lnTo>
                      <a:pt x="130" y="540"/>
                    </a:lnTo>
                    <a:lnTo>
                      <a:pt x="132" y="542"/>
                    </a:lnTo>
                    <a:lnTo>
                      <a:pt x="132" y="542"/>
                    </a:lnTo>
                    <a:lnTo>
                      <a:pt x="132" y="542"/>
                    </a:lnTo>
                    <a:lnTo>
                      <a:pt x="134" y="542"/>
                    </a:lnTo>
                    <a:lnTo>
                      <a:pt x="134" y="542"/>
                    </a:lnTo>
                    <a:lnTo>
                      <a:pt x="136" y="542"/>
                    </a:lnTo>
                    <a:lnTo>
                      <a:pt x="136" y="542"/>
                    </a:lnTo>
                    <a:lnTo>
                      <a:pt x="136" y="544"/>
                    </a:lnTo>
                    <a:lnTo>
                      <a:pt x="136" y="544"/>
                    </a:lnTo>
                    <a:lnTo>
                      <a:pt x="136" y="544"/>
                    </a:lnTo>
                    <a:lnTo>
                      <a:pt x="136" y="546"/>
                    </a:lnTo>
                    <a:lnTo>
                      <a:pt x="136" y="548"/>
                    </a:lnTo>
                    <a:lnTo>
                      <a:pt x="136" y="548"/>
                    </a:lnTo>
                    <a:lnTo>
                      <a:pt x="136" y="548"/>
                    </a:lnTo>
                    <a:lnTo>
                      <a:pt x="134" y="552"/>
                    </a:lnTo>
                    <a:lnTo>
                      <a:pt x="134" y="552"/>
                    </a:lnTo>
                    <a:lnTo>
                      <a:pt x="132" y="556"/>
                    </a:lnTo>
                    <a:lnTo>
                      <a:pt x="132" y="556"/>
                    </a:lnTo>
                    <a:lnTo>
                      <a:pt x="132" y="558"/>
                    </a:lnTo>
                    <a:lnTo>
                      <a:pt x="132" y="558"/>
                    </a:lnTo>
                    <a:lnTo>
                      <a:pt x="132" y="560"/>
                    </a:lnTo>
                    <a:lnTo>
                      <a:pt x="134" y="560"/>
                    </a:lnTo>
                    <a:lnTo>
                      <a:pt x="136" y="564"/>
                    </a:lnTo>
                    <a:lnTo>
                      <a:pt x="136" y="564"/>
                    </a:lnTo>
                    <a:lnTo>
                      <a:pt x="142" y="566"/>
                    </a:lnTo>
                    <a:lnTo>
                      <a:pt x="142" y="566"/>
                    </a:lnTo>
                    <a:lnTo>
                      <a:pt x="142" y="568"/>
                    </a:lnTo>
                    <a:lnTo>
                      <a:pt x="142" y="568"/>
                    </a:lnTo>
                    <a:lnTo>
                      <a:pt x="142" y="570"/>
                    </a:lnTo>
                    <a:lnTo>
                      <a:pt x="142" y="570"/>
                    </a:lnTo>
                    <a:lnTo>
                      <a:pt x="142" y="570"/>
                    </a:lnTo>
                    <a:lnTo>
                      <a:pt x="142" y="572"/>
                    </a:lnTo>
                    <a:lnTo>
                      <a:pt x="142" y="572"/>
                    </a:lnTo>
                    <a:lnTo>
                      <a:pt x="142" y="574"/>
                    </a:lnTo>
                    <a:lnTo>
                      <a:pt x="144" y="574"/>
                    </a:lnTo>
                    <a:lnTo>
                      <a:pt x="144" y="574"/>
                    </a:lnTo>
                    <a:lnTo>
                      <a:pt x="146" y="574"/>
                    </a:lnTo>
                    <a:lnTo>
                      <a:pt x="148" y="574"/>
                    </a:lnTo>
                    <a:lnTo>
                      <a:pt x="150" y="574"/>
                    </a:lnTo>
                    <a:lnTo>
                      <a:pt x="150" y="576"/>
                    </a:lnTo>
                    <a:lnTo>
                      <a:pt x="150" y="576"/>
                    </a:lnTo>
                    <a:lnTo>
                      <a:pt x="150" y="576"/>
                    </a:lnTo>
                    <a:lnTo>
                      <a:pt x="148" y="576"/>
                    </a:lnTo>
                    <a:lnTo>
                      <a:pt x="146" y="578"/>
                    </a:lnTo>
                    <a:lnTo>
                      <a:pt x="146" y="578"/>
                    </a:lnTo>
                    <a:lnTo>
                      <a:pt x="146" y="578"/>
                    </a:lnTo>
                    <a:lnTo>
                      <a:pt x="144" y="578"/>
                    </a:lnTo>
                    <a:lnTo>
                      <a:pt x="144" y="580"/>
                    </a:lnTo>
                    <a:lnTo>
                      <a:pt x="144" y="580"/>
                    </a:lnTo>
                    <a:lnTo>
                      <a:pt x="144" y="580"/>
                    </a:lnTo>
                    <a:lnTo>
                      <a:pt x="146" y="582"/>
                    </a:lnTo>
                    <a:lnTo>
                      <a:pt x="146" y="584"/>
                    </a:lnTo>
                    <a:lnTo>
                      <a:pt x="146" y="584"/>
                    </a:lnTo>
                    <a:lnTo>
                      <a:pt x="148" y="586"/>
                    </a:lnTo>
                    <a:lnTo>
                      <a:pt x="150" y="588"/>
                    </a:lnTo>
                    <a:lnTo>
                      <a:pt x="152" y="588"/>
                    </a:lnTo>
                    <a:lnTo>
                      <a:pt x="152" y="588"/>
                    </a:lnTo>
                    <a:lnTo>
                      <a:pt x="152" y="588"/>
                    </a:lnTo>
                    <a:lnTo>
                      <a:pt x="154" y="588"/>
                    </a:lnTo>
                    <a:lnTo>
                      <a:pt x="156" y="588"/>
                    </a:lnTo>
                    <a:lnTo>
                      <a:pt x="158" y="590"/>
                    </a:lnTo>
                    <a:lnTo>
                      <a:pt x="158" y="590"/>
                    </a:lnTo>
                    <a:lnTo>
                      <a:pt x="158" y="590"/>
                    </a:lnTo>
                    <a:lnTo>
                      <a:pt x="158" y="592"/>
                    </a:lnTo>
                    <a:lnTo>
                      <a:pt x="158" y="594"/>
                    </a:lnTo>
                    <a:lnTo>
                      <a:pt x="158" y="594"/>
                    </a:lnTo>
                    <a:lnTo>
                      <a:pt x="158" y="596"/>
                    </a:lnTo>
                    <a:lnTo>
                      <a:pt x="160" y="596"/>
                    </a:lnTo>
                    <a:lnTo>
                      <a:pt x="162" y="596"/>
                    </a:lnTo>
                    <a:lnTo>
                      <a:pt x="162" y="596"/>
                    </a:lnTo>
                    <a:lnTo>
                      <a:pt x="166" y="596"/>
                    </a:lnTo>
                    <a:lnTo>
                      <a:pt x="166" y="596"/>
                    </a:lnTo>
                    <a:lnTo>
                      <a:pt x="170" y="596"/>
                    </a:lnTo>
                    <a:lnTo>
                      <a:pt x="172" y="596"/>
                    </a:lnTo>
                    <a:lnTo>
                      <a:pt x="172" y="596"/>
                    </a:lnTo>
                    <a:lnTo>
                      <a:pt x="176" y="596"/>
                    </a:lnTo>
                    <a:lnTo>
                      <a:pt x="178" y="596"/>
                    </a:lnTo>
                    <a:lnTo>
                      <a:pt x="178" y="596"/>
                    </a:lnTo>
                    <a:lnTo>
                      <a:pt x="180" y="596"/>
                    </a:lnTo>
                    <a:lnTo>
                      <a:pt x="180" y="596"/>
                    </a:lnTo>
                    <a:lnTo>
                      <a:pt x="184" y="594"/>
                    </a:lnTo>
                    <a:lnTo>
                      <a:pt x="184" y="594"/>
                    </a:lnTo>
                    <a:lnTo>
                      <a:pt x="184" y="594"/>
                    </a:lnTo>
                    <a:lnTo>
                      <a:pt x="186" y="592"/>
                    </a:lnTo>
                    <a:lnTo>
                      <a:pt x="186" y="590"/>
                    </a:lnTo>
                    <a:lnTo>
                      <a:pt x="188" y="590"/>
                    </a:lnTo>
                    <a:lnTo>
                      <a:pt x="188" y="590"/>
                    </a:lnTo>
                    <a:lnTo>
                      <a:pt x="188" y="590"/>
                    </a:lnTo>
                    <a:lnTo>
                      <a:pt x="190" y="592"/>
                    </a:lnTo>
                    <a:lnTo>
                      <a:pt x="190" y="592"/>
                    </a:lnTo>
                    <a:lnTo>
                      <a:pt x="192" y="592"/>
                    </a:lnTo>
                    <a:lnTo>
                      <a:pt x="192" y="592"/>
                    </a:lnTo>
                    <a:lnTo>
                      <a:pt x="192" y="592"/>
                    </a:lnTo>
                    <a:lnTo>
                      <a:pt x="192" y="592"/>
                    </a:lnTo>
                    <a:lnTo>
                      <a:pt x="192" y="594"/>
                    </a:lnTo>
                    <a:lnTo>
                      <a:pt x="192" y="594"/>
                    </a:lnTo>
                    <a:lnTo>
                      <a:pt x="190" y="594"/>
                    </a:lnTo>
                    <a:lnTo>
                      <a:pt x="190" y="594"/>
                    </a:lnTo>
                    <a:lnTo>
                      <a:pt x="188" y="594"/>
                    </a:lnTo>
                    <a:lnTo>
                      <a:pt x="188" y="596"/>
                    </a:lnTo>
                    <a:lnTo>
                      <a:pt x="186" y="596"/>
                    </a:lnTo>
                    <a:lnTo>
                      <a:pt x="186" y="598"/>
                    </a:lnTo>
                    <a:lnTo>
                      <a:pt x="186" y="598"/>
                    </a:lnTo>
                    <a:lnTo>
                      <a:pt x="186" y="598"/>
                    </a:lnTo>
                    <a:lnTo>
                      <a:pt x="186" y="600"/>
                    </a:lnTo>
                    <a:lnTo>
                      <a:pt x="186" y="600"/>
                    </a:lnTo>
                    <a:lnTo>
                      <a:pt x="186" y="600"/>
                    </a:lnTo>
                    <a:lnTo>
                      <a:pt x="186" y="600"/>
                    </a:lnTo>
                    <a:lnTo>
                      <a:pt x="184" y="600"/>
                    </a:lnTo>
                    <a:lnTo>
                      <a:pt x="184" y="600"/>
                    </a:lnTo>
                    <a:lnTo>
                      <a:pt x="180" y="600"/>
                    </a:lnTo>
                    <a:lnTo>
                      <a:pt x="180" y="600"/>
                    </a:lnTo>
                    <a:lnTo>
                      <a:pt x="180" y="600"/>
                    </a:lnTo>
                    <a:lnTo>
                      <a:pt x="180" y="600"/>
                    </a:lnTo>
                    <a:lnTo>
                      <a:pt x="180" y="602"/>
                    </a:lnTo>
                    <a:lnTo>
                      <a:pt x="180" y="602"/>
                    </a:lnTo>
                    <a:lnTo>
                      <a:pt x="184" y="604"/>
                    </a:lnTo>
                    <a:lnTo>
                      <a:pt x="184" y="604"/>
                    </a:lnTo>
                    <a:lnTo>
                      <a:pt x="184" y="606"/>
                    </a:lnTo>
                    <a:lnTo>
                      <a:pt x="186" y="606"/>
                    </a:lnTo>
                    <a:lnTo>
                      <a:pt x="186" y="606"/>
                    </a:lnTo>
                    <a:lnTo>
                      <a:pt x="186" y="606"/>
                    </a:lnTo>
                    <a:lnTo>
                      <a:pt x="188" y="606"/>
                    </a:lnTo>
                    <a:lnTo>
                      <a:pt x="188" y="606"/>
                    </a:lnTo>
                    <a:lnTo>
                      <a:pt x="188" y="608"/>
                    </a:lnTo>
                    <a:lnTo>
                      <a:pt x="188" y="608"/>
                    </a:lnTo>
                    <a:lnTo>
                      <a:pt x="190" y="608"/>
                    </a:lnTo>
                    <a:lnTo>
                      <a:pt x="190" y="610"/>
                    </a:lnTo>
                    <a:lnTo>
                      <a:pt x="190" y="610"/>
                    </a:lnTo>
                    <a:lnTo>
                      <a:pt x="188" y="612"/>
                    </a:lnTo>
                    <a:lnTo>
                      <a:pt x="188" y="612"/>
                    </a:lnTo>
                    <a:lnTo>
                      <a:pt x="190" y="614"/>
                    </a:lnTo>
                    <a:lnTo>
                      <a:pt x="190" y="614"/>
                    </a:lnTo>
                    <a:lnTo>
                      <a:pt x="190" y="614"/>
                    </a:lnTo>
                    <a:lnTo>
                      <a:pt x="190" y="614"/>
                    </a:lnTo>
                    <a:lnTo>
                      <a:pt x="192" y="612"/>
                    </a:lnTo>
                    <a:lnTo>
                      <a:pt x="192" y="612"/>
                    </a:lnTo>
                    <a:lnTo>
                      <a:pt x="192" y="612"/>
                    </a:lnTo>
                    <a:lnTo>
                      <a:pt x="192" y="610"/>
                    </a:lnTo>
                    <a:lnTo>
                      <a:pt x="192" y="610"/>
                    </a:lnTo>
                    <a:lnTo>
                      <a:pt x="192" y="610"/>
                    </a:lnTo>
                    <a:lnTo>
                      <a:pt x="192" y="610"/>
                    </a:lnTo>
                    <a:lnTo>
                      <a:pt x="194" y="612"/>
                    </a:lnTo>
                    <a:lnTo>
                      <a:pt x="194" y="612"/>
                    </a:lnTo>
                    <a:lnTo>
                      <a:pt x="194" y="616"/>
                    </a:lnTo>
                    <a:lnTo>
                      <a:pt x="194" y="616"/>
                    </a:lnTo>
                    <a:lnTo>
                      <a:pt x="194" y="618"/>
                    </a:lnTo>
                    <a:lnTo>
                      <a:pt x="194" y="618"/>
                    </a:lnTo>
                    <a:lnTo>
                      <a:pt x="194" y="618"/>
                    </a:lnTo>
                    <a:lnTo>
                      <a:pt x="196" y="620"/>
                    </a:lnTo>
                    <a:lnTo>
                      <a:pt x="196" y="620"/>
                    </a:lnTo>
                    <a:lnTo>
                      <a:pt x="198" y="622"/>
                    </a:lnTo>
                    <a:lnTo>
                      <a:pt x="198" y="622"/>
                    </a:lnTo>
                    <a:lnTo>
                      <a:pt x="200" y="624"/>
                    </a:lnTo>
                    <a:lnTo>
                      <a:pt x="202" y="624"/>
                    </a:lnTo>
                    <a:lnTo>
                      <a:pt x="202" y="624"/>
                    </a:lnTo>
                    <a:lnTo>
                      <a:pt x="204" y="624"/>
                    </a:lnTo>
                    <a:lnTo>
                      <a:pt x="204" y="624"/>
                    </a:lnTo>
                    <a:lnTo>
                      <a:pt x="204" y="624"/>
                    </a:lnTo>
                    <a:lnTo>
                      <a:pt x="204" y="622"/>
                    </a:lnTo>
                    <a:lnTo>
                      <a:pt x="204" y="620"/>
                    </a:lnTo>
                    <a:lnTo>
                      <a:pt x="204" y="620"/>
                    </a:lnTo>
                    <a:lnTo>
                      <a:pt x="204" y="620"/>
                    </a:lnTo>
                    <a:lnTo>
                      <a:pt x="204" y="618"/>
                    </a:lnTo>
                    <a:lnTo>
                      <a:pt x="204" y="618"/>
                    </a:lnTo>
                    <a:lnTo>
                      <a:pt x="206" y="618"/>
                    </a:lnTo>
                    <a:lnTo>
                      <a:pt x="208" y="618"/>
                    </a:lnTo>
                    <a:lnTo>
                      <a:pt x="208" y="618"/>
                    </a:lnTo>
                    <a:lnTo>
                      <a:pt x="208" y="618"/>
                    </a:lnTo>
                    <a:lnTo>
                      <a:pt x="208" y="620"/>
                    </a:lnTo>
                    <a:lnTo>
                      <a:pt x="208" y="622"/>
                    </a:lnTo>
                    <a:lnTo>
                      <a:pt x="208" y="622"/>
                    </a:lnTo>
                    <a:lnTo>
                      <a:pt x="208" y="624"/>
                    </a:lnTo>
                    <a:lnTo>
                      <a:pt x="208" y="624"/>
                    </a:lnTo>
                    <a:lnTo>
                      <a:pt x="210" y="624"/>
                    </a:lnTo>
                    <a:lnTo>
                      <a:pt x="210" y="624"/>
                    </a:lnTo>
                    <a:lnTo>
                      <a:pt x="212" y="624"/>
                    </a:lnTo>
                    <a:lnTo>
                      <a:pt x="216" y="624"/>
                    </a:lnTo>
                    <a:lnTo>
                      <a:pt x="216" y="624"/>
                    </a:lnTo>
                    <a:lnTo>
                      <a:pt x="216" y="624"/>
                    </a:lnTo>
                    <a:lnTo>
                      <a:pt x="216" y="624"/>
                    </a:lnTo>
                    <a:lnTo>
                      <a:pt x="218" y="622"/>
                    </a:lnTo>
                    <a:lnTo>
                      <a:pt x="220" y="622"/>
                    </a:lnTo>
                    <a:lnTo>
                      <a:pt x="220" y="620"/>
                    </a:lnTo>
                    <a:lnTo>
                      <a:pt x="220" y="620"/>
                    </a:lnTo>
                    <a:lnTo>
                      <a:pt x="220" y="620"/>
                    </a:lnTo>
                    <a:lnTo>
                      <a:pt x="220" y="620"/>
                    </a:lnTo>
                    <a:lnTo>
                      <a:pt x="218" y="618"/>
                    </a:lnTo>
                    <a:lnTo>
                      <a:pt x="218" y="616"/>
                    </a:lnTo>
                    <a:lnTo>
                      <a:pt x="216" y="616"/>
                    </a:lnTo>
                    <a:lnTo>
                      <a:pt x="216" y="614"/>
                    </a:lnTo>
                    <a:lnTo>
                      <a:pt x="216" y="614"/>
                    </a:lnTo>
                    <a:lnTo>
                      <a:pt x="216" y="614"/>
                    </a:lnTo>
                    <a:lnTo>
                      <a:pt x="216" y="612"/>
                    </a:lnTo>
                    <a:lnTo>
                      <a:pt x="216" y="610"/>
                    </a:lnTo>
                    <a:lnTo>
                      <a:pt x="216" y="610"/>
                    </a:lnTo>
                    <a:lnTo>
                      <a:pt x="216" y="610"/>
                    </a:lnTo>
                    <a:lnTo>
                      <a:pt x="216" y="608"/>
                    </a:lnTo>
                    <a:lnTo>
                      <a:pt x="218" y="608"/>
                    </a:lnTo>
                    <a:lnTo>
                      <a:pt x="218" y="606"/>
                    </a:lnTo>
                    <a:lnTo>
                      <a:pt x="220" y="606"/>
                    </a:lnTo>
                    <a:lnTo>
                      <a:pt x="220" y="606"/>
                    </a:lnTo>
                    <a:lnTo>
                      <a:pt x="222" y="606"/>
                    </a:lnTo>
                    <a:lnTo>
                      <a:pt x="222" y="606"/>
                    </a:lnTo>
                    <a:lnTo>
                      <a:pt x="222" y="606"/>
                    </a:lnTo>
                    <a:lnTo>
                      <a:pt x="224" y="606"/>
                    </a:lnTo>
                    <a:lnTo>
                      <a:pt x="224" y="606"/>
                    </a:lnTo>
                    <a:lnTo>
                      <a:pt x="226" y="604"/>
                    </a:lnTo>
                    <a:lnTo>
                      <a:pt x="226" y="604"/>
                    </a:lnTo>
                    <a:lnTo>
                      <a:pt x="228" y="600"/>
                    </a:lnTo>
                    <a:lnTo>
                      <a:pt x="228" y="600"/>
                    </a:lnTo>
                    <a:lnTo>
                      <a:pt x="230" y="598"/>
                    </a:lnTo>
                    <a:lnTo>
                      <a:pt x="232" y="598"/>
                    </a:lnTo>
                    <a:lnTo>
                      <a:pt x="232" y="596"/>
                    </a:lnTo>
                    <a:lnTo>
                      <a:pt x="232" y="596"/>
                    </a:lnTo>
                    <a:lnTo>
                      <a:pt x="232" y="596"/>
                    </a:lnTo>
                    <a:lnTo>
                      <a:pt x="232" y="594"/>
                    </a:lnTo>
                    <a:lnTo>
                      <a:pt x="230" y="592"/>
                    </a:lnTo>
                    <a:lnTo>
                      <a:pt x="230" y="592"/>
                    </a:lnTo>
                    <a:lnTo>
                      <a:pt x="230" y="590"/>
                    </a:lnTo>
                    <a:lnTo>
                      <a:pt x="228" y="590"/>
                    </a:lnTo>
                    <a:lnTo>
                      <a:pt x="228" y="588"/>
                    </a:lnTo>
                    <a:lnTo>
                      <a:pt x="228" y="588"/>
                    </a:lnTo>
                    <a:lnTo>
                      <a:pt x="228" y="588"/>
                    </a:lnTo>
                    <a:lnTo>
                      <a:pt x="230" y="588"/>
                    </a:lnTo>
                    <a:lnTo>
                      <a:pt x="230" y="588"/>
                    </a:lnTo>
                    <a:lnTo>
                      <a:pt x="234" y="590"/>
                    </a:lnTo>
                    <a:lnTo>
                      <a:pt x="234" y="590"/>
                    </a:lnTo>
                    <a:lnTo>
                      <a:pt x="234" y="590"/>
                    </a:lnTo>
                    <a:lnTo>
                      <a:pt x="236" y="590"/>
                    </a:lnTo>
                    <a:lnTo>
                      <a:pt x="236" y="588"/>
                    </a:lnTo>
                    <a:lnTo>
                      <a:pt x="238" y="588"/>
                    </a:lnTo>
                    <a:lnTo>
                      <a:pt x="238" y="588"/>
                    </a:lnTo>
                    <a:lnTo>
                      <a:pt x="240" y="582"/>
                    </a:lnTo>
                    <a:lnTo>
                      <a:pt x="240" y="582"/>
                    </a:lnTo>
                    <a:lnTo>
                      <a:pt x="240" y="580"/>
                    </a:lnTo>
                    <a:lnTo>
                      <a:pt x="242" y="576"/>
                    </a:lnTo>
                    <a:lnTo>
                      <a:pt x="242" y="576"/>
                    </a:lnTo>
                    <a:lnTo>
                      <a:pt x="244" y="574"/>
                    </a:lnTo>
                    <a:lnTo>
                      <a:pt x="244" y="572"/>
                    </a:lnTo>
                    <a:lnTo>
                      <a:pt x="244" y="572"/>
                    </a:lnTo>
                    <a:lnTo>
                      <a:pt x="244" y="572"/>
                    </a:lnTo>
                    <a:lnTo>
                      <a:pt x="244" y="572"/>
                    </a:lnTo>
                    <a:lnTo>
                      <a:pt x="242" y="570"/>
                    </a:lnTo>
                    <a:lnTo>
                      <a:pt x="240" y="570"/>
                    </a:lnTo>
                    <a:lnTo>
                      <a:pt x="240" y="570"/>
                    </a:lnTo>
                    <a:lnTo>
                      <a:pt x="240" y="568"/>
                    </a:lnTo>
                    <a:lnTo>
                      <a:pt x="240" y="566"/>
                    </a:lnTo>
                    <a:lnTo>
                      <a:pt x="240" y="566"/>
                    </a:lnTo>
                    <a:lnTo>
                      <a:pt x="238" y="564"/>
                    </a:lnTo>
                    <a:lnTo>
                      <a:pt x="236" y="562"/>
                    </a:lnTo>
                    <a:lnTo>
                      <a:pt x="236" y="562"/>
                    </a:lnTo>
                    <a:lnTo>
                      <a:pt x="236" y="560"/>
                    </a:lnTo>
                    <a:lnTo>
                      <a:pt x="236" y="560"/>
                    </a:lnTo>
                    <a:lnTo>
                      <a:pt x="236" y="560"/>
                    </a:lnTo>
                    <a:lnTo>
                      <a:pt x="236" y="560"/>
                    </a:lnTo>
                    <a:lnTo>
                      <a:pt x="236" y="558"/>
                    </a:lnTo>
                    <a:lnTo>
                      <a:pt x="236" y="558"/>
                    </a:lnTo>
                    <a:lnTo>
                      <a:pt x="238" y="558"/>
                    </a:lnTo>
                    <a:lnTo>
                      <a:pt x="238" y="558"/>
                    </a:lnTo>
                    <a:lnTo>
                      <a:pt x="238" y="558"/>
                    </a:lnTo>
                    <a:lnTo>
                      <a:pt x="240" y="560"/>
                    </a:lnTo>
                    <a:lnTo>
                      <a:pt x="240" y="560"/>
                    </a:lnTo>
                    <a:lnTo>
                      <a:pt x="240" y="560"/>
                    </a:lnTo>
                    <a:lnTo>
                      <a:pt x="240" y="564"/>
                    </a:lnTo>
                    <a:lnTo>
                      <a:pt x="240" y="564"/>
                    </a:lnTo>
                    <a:lnTo>
                      <a:pt x="242" y="566"/>
                    </a:lnTo>
                    <a:lnTo>
                      <a:pt x="244" y="566"/>
                    </a:lnTo>
                    <a:lnTo>
                      <a:pt x="244" y="566"/>
                    </a:lnTo>
                    <a:lnTo>
                      <a:pt x="244" y="566"/>
                    </a:lnTo>
                    <a:lnTo>
                      <a:pt x="248" y="566"/>
                    </a:lnTo>
                    <a:lnTo>
                      <a:pt x="248" y="566"/>
                    </a:lnTo>
                    <a:lnTo>
                      <a:pt x="250" y="564"/>
                    </a:lnTo>
                    <a:lnTo>
                      <a:pt x="250" y="564"/>
                    </a:lnTo>
                    <a:lnTo>
                      <a:pt x="252" y="562"/>
                    </a:lnTo>
                    <a:lnTo>
                      <a:pt x="252" y="560"/>
                    </a:lnTo>
                    <a:lnTo>
                      <a:pt x="252" y="558"/>
                    </a:lnTo>
                    <a:lnTo>
                      <a:pt x="252" y="558"/>
                    </a:lnTo>
                    <a:lnTo>
                      <a:pt x="252" y="558"/>
                    </a:lnTo>
                    <a:lnTo>
                      <a:pt x="250" y="556"/>
                    </a:lnTo>
                    <a:lnTo>
                      <a:pt x="248" y="554"/>
                    </a:lnTo>
                    <a:lnTo>
                      <a:pt x="248" y="554"/>
                    </a:lnTo>
                    <a:lnTo>
                      <a:pt x="248" y="552"/>
                    </a:lnTo>
                    <a:lnTo>
                      <a:pt x="248" y="552"/>
                    </a:lnTo>
                    <a:lnTo>
                      <a:pt x="248" y="552"/>
                    </a:lnTo>
                    <a:lnTo>
                      <a:pt x="248" y="552"/>
                    </a:lnTo>
                    <a:lnTo>
                      <a:pt x="248" y="550"/>
                    </a:lnTo>
                    <a:lnTo>
                      <a:pt x="250" y="550"/>
                    </a:lnTo>
                    <a:lnTo>
                      <a:pt x="250" y="550"/>
                    </a:lnTo>
                    <a:lnTo>
                      <a:pt x="250" y="550"/>
                    </a:lnTo>
                    <a:lnTo>
                      <a:pt x="254" y="550"/>
                    </a:lnTo>
                    <a:lnTo>
                      <a:pt x="254" y="550"/>
                    </a:lnTo>
                    <a:lnTo>
                      <a:pt x="254" y="550"/>
                    </a:lnTo>
                    <a:lnTo>
                      <a:pt x="256" y="550"/>
                    </a:lnTo>
                    <a:lnTo>
                      <a:pt x="256" y="550"/>
                    </a:lnTo>
                    <a:lnTo>
                      <a:pt x="256" y="550"/>
                    </a:lnTo>
                    <a:lnTo>
                      <a:pt x="256" y="546"/>
                    </a:lnTo>
                    <a:lnTo>
                      <a:pt x="256" y="546"/>
                    </a:lnTo>
                    <a:lnTo>
                      <a:pt x="256" y="544"/>
                    </a:lnTo>
                    <a:lnTo>
                      <a:pt x="256" y="544"/>
                    </a:lnTo>
                    <a:lnTo>
                      <a:pt x="256" y="544"/>
                    </a:lnTo>
                    <a:lnTo>
                      <a:pt x="258" y="544"/>
                    </a:lnTo>
                    <a:lnTo>
                      <a:pt x="260" y="544"/>
                    </a:lnTo>
                    <a:lnTo>
                      <a:pt x="260" y="544"/>
                    </a:lnTo>
                    <a:lnTo>
                      <a:pt x="262" y="544"/>
                    </a:lnTo>
                    <a:lnTo>
                      <a:pt x="262" y="544"/>
                    </a:lnTo>
                    <a:lnTo>
                      <a:pt x="264" y="544"/>
                    </a:lnTo>
                    <a:lnTo>
                      <a:pt x="264" y="542"/>
                    </a:lnTo>
                    <a:lnTo>
                      <a:pt x="264" y="542"/>
                    </a:lnTo>
                    <a:lnTo>
                      <a:pt x="266" y="540"/>
                    </a:lnTo>
                    <a:lnTo>
                      <a:pt x="266" y="540"/>
                    </a:lnTo>
                    <a:lnTo>
                      <a:pt x="266" y="538"/>
                    </a:lnTo>
                    <a:lnTo>
                      <a:pt x="268" y="536"/>
                    </a:lnTo>
                    <a:lnTo>
                      <a:pt x="268" y="534"/>
                    </a:lnTo>
                    <a:lnTo>
                      <a:pt x="268" y="534"/>
                    </a:lnTo>
                    <a:lnTo>
                      <a:pt x="268" y="534"/>
                    </a:lnTo>
                    <a:lnTo>
                      <a:pt x="266" y="532"/>
                    </a:lnTo>
                    <a:lnTo>
                      <a:pt x="264" y="530"/>
                    </a:lnTo>
                    <a:lnTo>
                      <a:pt x="264" y="530"/>
                    </a:lnTo>
                    <a:lnTo>
                      <a:pt x="264" y="530"/>
                    </a:lnTo>
                    <a:lnTo>
                      <a:pt x="264" y="528"/>
                    </a:lnTo>
                    <a:lnTo>
                      <a:pt x="264" y="528"/>
                    </a:lnTo>
                    <a:lnTo>
                      <a:pt x="264" y="526"/>
                    </a:lnTo>
                    <a:lnTo>
                      <a:pt x="264" y="526"/>
                    </a:lnTo>
                    <a:lnTo>
                      <a:pt x="264" y="526"/>
                    </a:lnTo>
                    <a:lnTo>
                      <a:pt x="264" y="526"/>
                    </a:lnTo>
                    <a:lnTo>
                      <a:pt x="266" y="526"/>
                    </a:lnTo>
                    <a:lnTo>
                      <a:pt x="266" y="526"/>
                    </a:lnTo>
                    <a:lnTo>
                      <a:pt x="268" y="526"/>
                    </a:lnTo>
                    <a:lnTo>
                      <a:pt x="268" y="526"/>
                    </a:lnTo>
                    <a:lnTo>
                      <a:pt x="268" y="526"/>
                    </a:lnTo>
                    <a:lnTo>
                      <a:pt x="270" y="528"/>
                    </a:lnTo>
                    <a:lnTo>
                      <a:pt x="270" y="528"/>
                    </a:lnTo>
                    <a:lnTo>
                      <a:pt x="272" y="528"/>
                    </a:lnTo>
                    <a:lnTo>
                      <a:pt x="272" y="528"/>
                    </a:lnTo>
                    <a:lnTo>
                      <a:pt x="272" y="528"/>
                    </a:lnTo>
                    <a:lnTo>
                      <a:pt x="274" y="526"/>
                    </a:lnTo>
                    <a:lnTo>
                      <a:pt x="274" y="526"/>
                    </a:lnTo>
                    <a:lnTo>
                      <a:pt x="274" y="526"/>
                    </a:lnTo>
                    <a:lnTo>
                      <a:pt x="274" y="524"/>
                    </a:lnTo>
                    <a:lnTo>
                      <a:pt x="274" y="524"/>
                    </a:lnTo>
                    <a:lnTo>
                      <a:pt x="276" y="524"/>
                    </a:lnTo>
                    <a:lnTo>
                      <a:pt x="276" y="522"/>
                    </a:lnTo>
                    <a:lnTo>
                      <a:pt x="276" y="520"/>
                    </a:lnTo>
                    <a:lnTo>
                      <a:pt x="276" y="520"/>
                    </a:lnTo>
                    <a:lnTo>
                      <a:pt x="274" y="516"/>
                    </a:lnTo>
                    <a:lnTo>
                      <a:pt x="272" y="512"/>
                    </a:lnTo>
                    <a:lnTo>
                      <a:pt x="272" y="512"/>
                    </a:lnTo>
                    <a:lnTo>
                      <a:pt x="272" y="512"/>
                    </a:lnTo>
                    <a:lnTo>
                      <a:pt x="272" y="510"/>
                    </a:lnTo>
                    <a:lnTo>
                      <a:pt x="272" y="510"/>
                    </a:lnTo>
                    <a:lnTo>
                      <a:pt x="272" y="510"/>
                    </a:lnTo>
                    <a:lnTo>
                      <a:pt x="272" y="510"/>
                    </a:lnTo>
                    <a:lnTo>
                      <a:pt x="272" y="510"/>
                    </a:lnTo>
                    <a:lnTo>
                      <a:pt x="274" y="510"/>
                    </a:lnTo>
                    <a:lnTo>
                      <a:pt x="274" y="510"/>
                    </a:lnTo>
                    <a:lnTo>
                      <a:pt x="276" y="508"/>
                    </a:lnTo>
                    <a:lnTo>
                      <a:pt x="278" y="508"/>
                    </a:lnTo>
                    <a:lnTo>
                      <a:pt x="278" y="508"/>
                    </a:lnTo>
                    <a:lnTo>
                      <a:pt x="280" y="508"/>
                    </a:lnTo>
                    <a:lnTo>
                      <a:pt x="280" y="506"/>
                    </a:lnTo>
                    <a:lnTo>
                      <a:pt x="282" y="504"/>
                    </a:lnTo>
                    <a:lnTo>
                      <a:pt x="282" y="504"/>
                    </a:lnTo>
                    <a:lnTo>
                      <a:pt x="282" y="502"/>
                    </a:lnTo>
                    <a:lnTo>
                      <a:pt x="284" y="500"/>
                    </a:lnTo>
                    <a:lnTo>
                      <a:pt x="284" y="500"/>
                    </a:lnTo>
                    <a:lnTo>
                      <a:pt x="286" y="498"/>
                    </a:lnTo>
                    <a:lnTo>
                      <a:pt x="286" y="498"/>
                    </a:lnTo>
                    <a:lnTo>
                      <a:pt x="286" y="496"/>
                    </a:lnTo>
                    <a:lnTo>
                      <a:pt x="286" y="496"/>
                    </a:lnTo>
                    <a:lnTo>
                      <a:pt x="288" y="496"/>
                    </a:lnTo>
                    <a:lnTo>
                      <a:pt x="288" y="496"/>
                    </a:lnTo>
                    <a:lnTo>
                      <a:pt x="288" y="498"/>
                    </a:lnTo>
                    <a:lnTo>
                      <a:pt x="288" y="500"/>
                    </a:lnTo>
                    <a:lnTo>
                      <a:pt x="288" y="500"/>
                    </a:lnTo>
                    <a:lnTo>
                      <a:pt x="290" y="500"/>
                    </a:lnTo>
                    <a:lnTo>
                      <a:pt x="290" y="502"/>
                    </a:lnTo>
                    <a:lnTo>
                      <a:pt x="290" y="502"/>
                    </a:lnTo>
                    <a:lnTo>
                      <a:pt x="292" y="502"/>
                    </a:lnTo>
                    <a:lnTo>
                      <a:pt x="292" y="502"/>
                    </a:lnTo>
                    <a:lnTo>
                      <a:pt x="294" y="502"/>
                    </a:lnTo>
                    <a:lnTo>
                      <a:pt x="298" y="502"/>
                    </a:lnTo>
                    <a:lnTo>
                      <a:pt x="298" y="502"/>
                    </a:lnTo>
                    <a:lnTo>
                      <a:pt x="298" y="502"/>
                    </a:lnTo>
                    <a:lnTo>
                      <a:pt x="300" y="502"/>
                    </a:lnTo>
                    <a:lnTo>
                      <a:pt x="302" y="500"/>
                    </a:lnTo>
                    <a:lnTo>
                      <a:pt x="302" y="500"/>
                    </a:lnTo>
                    <a:lnTo>
                      <a:pt x="304" y="500"/>
                    </a:lnTo>
                    <a:lnTo>
                      <a:pt x="306" y="500"/>
                    </a:lnTo>
                    <a:lnTo>
                      <a:pt x="306" y="498"/>
                    </a:lnTo>
                    <a:lnTo>
                      <a:pt x="306" y="498"/>
                    </a:lnTo>
                    <a:lnTo>
                      <a:pt x="306" y="498"/>
                    </a:lnTo>
                    <a:lnTo>
                      <a:pt x="306" y="498"/>
                    </a:lnTo>
                    <a:lnTo>
                      <a:pt x="306" y="496"/>
                    </a:lnTo>
                    <a:lnTo>
                      <a:pt x="306" y="496"/>
                    </a:lnTo>
                    <a:lnTo>
                      <a:pt x="306" y="494"/>
                    </a:lnTo>
                    <a:lnTo>
                      <a:pt x="306" y="494"/>
                    </a:lnTo>
                    <a:lnTo>
                      <a:pt x="306" y="492"/>
                    </a:lnTo>
                    <a:lnTo>
                      <a:pt x="306" y="490"/>
                    </a:lnTo>
                    <a:lnTo>
                      <a:pt x="306" y="490"/>
                    </a:lnTo>
                    <a:lnTo>
                      <a:pt x="306" y="488"/>
                    </a:lnTo>
                    <a:lnTo>
                      <a:pt x="306" y="488"/>
                    </a:lnTo>
                    <a:lnTo>
                      <a:pt x="306" y="488"/>
                    </a:lnTo>
                    <a:lnTo>
                      <a:pt x="308" y="490"/>
                    </a:lnTo>
                    <a:lnTo>
                      <a:pt x="308" y="490"/>
                    </a:lnTo>
                    <a:lnTo>
                      <a:pt x="308" y="490"/>
                    </a:lnTo>
                    <a:lnTo>
                      <a:pt x="310" y="490"/>
                    </a:lnTo>
                    <a:lnTo>
                      <a:pt x="310" y="490"/>
                    </a:lnTo>
                    <a:lnTo>
                      <a:pt x="310" y="490"/>
                    </a:lnTo>
                    <a:lnTo>
                      <a:pt x="310" y="488"/>
                    </a:lnTo>
                    <a:lnTo>
                      <a:pt x="310" y="488"/>
                    </a:lnTo>
                    <a:lnTo>
                      <a:pt x="310" y="488"/>
                    </a:lnTo>
                    <a:lnTo>
                      <a:pt x="310" y="486"/>
                    </a:lnTo>
                    <a:lnTo>
                      <a:pt x="310" y="484"/>
                    </a:lnTo>
                    <a:lnTo>
                      <a:pt x="310" y="482"/>
                    </a:lnTo>
                    <a:lnTo>
                      <a:pt x="310" y="482"/>
                    </a:lnTo>
                    <a:lnTo>
                      <a:pt x="310" y="482"/>
                    </a:lnTo>
                    <a:lnTo>
                      <a:pt x="314" y="480"/>
                    </a:lnTo>
                    <a:lnTo>
                      <a:pt x="316" y="478"/>
                    </a:lnTo>
                    <a:lnTo>
                      <a:pt x="316" y="478"/>
                    </a:lnTo>
                    <a:lnTo>
                      <a:pt x="322" y="474"/>
                    </a:lnTo>
                    <a:lnTo>
                      <a:pt x="322" y="474"/>
                    </a:lnTo>
                    <a:lnTo>
                      <a:pt x="324" y="474"/>
                    </a:lnTo>
                    <a:lnTo>
                      <a:pt x="324" y="474"/>
                    </a:lnTo>
                    <a:lnTo>
                      <a:pt x="328" y="476"/>
                    </a:lnTo>
                    <a:lnTo>
                      <a:pt x="328" y="476"/>
                    </a:lnTo>
                    <a:lnTo>
                      <a:pt x="328" y="476"/>
                    </a:lnTo>
                    <a:lnTo>
                      <a:pt x="328" y="476"/>
                    </a:lnTo>
                    <a:lnTo>
                      <a:pt x="326" y="478"/>
                    </a:lnTo>
                    <a:lnTo>
                      <a:pt x="322" y="478"/>
                    </a:lnTo>
                    <a:lnTo>
                      <a:pt x="322" y="478"/>
                    </a:lnTo>
                    <a:lnTo>
                      <a:pt x="316" y="482"/>
                    </a:lnTo>
                    <a:lnTo>
                      <a:pt x="316" y="482"/>
                    </a:lnTo>
                    <a:lnTo>
                      <a:pt x="316" y="484"/>
                    </a:lnTo>
                    <a:lnTo>
                      <a:pt x="314" y="484"/>
                    </a:lnTo>
                    <a:lnTo>
                      <a:pt x="314" y="488"/>
                    </a:lnTo>
                    <a:lnTo>
                      <a:pt x="314" y="488"/>
                    </a:lnTo>
                    <a:lnTo>
                      <a:pt x="312" y="490"/>
                    </a:lnTo>
                    <a:lnTo>
                      <a:pt x="312" y="492"/>
                    </a:lnTo>
                    <a:lnTo>
                      <a:pt x="312" y="494"/>
                    </a:lnTo>
                    <a:lnTo>
                      <a:pt x="312" y="496"/>
                    </a:lnTo>
                    <a:lnTo>
                      <a:pt x="312" y="496"/>
                    </a:lnTo>
                    <a:lnTo>
                      <a:pt x="314" y="496"/>
                    </a:lnTo>
                    <a:lnTo>
                      <a:pt x="314" y="496"/>
                    </a:lnTo>
                    <a:lnTo>
                      <a:pt x="314" y="496"/>
                    </a:lnTo>
                    <a:lnTo>
                      <a:pt x="316" y="498"/>
                    </a:lnTo>
                    <a:lnTo>
                      <a:pt x="316" y="498"/>
                    </a:lnTo>
                    <a:lnTo>
                      <a:pt x="318" y="498"/>
                    </a:lnTo>
                    <a:lnTo>
                      <a:pt x="318" y="498"/>
                    </a:lnTo>
                    <a:lnTo>
                      <a:pt x="320" y="498"/>
                    </a:lnTo>
                    <a:lnTo>
                      <a:pt x="322" y="498"/>
                    </a:lnTo>
                    <a:lnTo>
                      <a:pt x="322" y="498"/>
                    </a:lnTo>
                    <a:lnTo>
                      <a:pt x="324" y="496"/>
                    </a:lnTo>
                    <a:lnTo>
                      <a:pt x="326" y="492"/>
                    </a:lnTo>
                    <a:lnTo>
                      <a:pt x="326" y="492"/>
                    </a:lnTo>
                    <a:lnTo>
                      <a:pt x="328" y="490"/>
                    </a:lnTo>
                    <a:lnTo>
                      <a:pt x="328" y="490"/>
                    </a:lnTo>
                    <a:lnTo>
                      <a:pt x="328" y="490"/>
                    </a:lnTo>
                    <a:lnTo>
                      <a:pt x="330" y="490"/>
                    </a:lnTo>
                    <a:lnTo>
                      <a:pt x="332" y="488"/>
                    </a:lnTo>
                    <a:lnTo>
                      <a:pt x="334" y="488"/>
                    </a:lnTo>
                    <a:lnTo>
                      <a:pt x="334" y="488"/>
                    </a:lnTo>
                    <a:lnTo>
                      <a:pt x="334" y="488"/>
                    </a:lnTo>
                    <a:lnTo>
                      <a:pt x="334" y="490"/>
                    </a:lnTo>
                    <a:lnTo>
                      <a:pt x="334" y="490"/>
                    </a:lnTo>
                    <a:lnTo>
                      <a:pt x="334" y="490"/>
                    </a:lnTo>
                    <a:lnTo>
                      <a:pt x="334" y="492"/>
                    </a:lnTo>
                    <a:lnTo>
                      <a:pt x="336" y="494"/>
                    </a:lnTo>
                    <a:lnTo>
                      <a:pt x="336" y="494"/>
                    </a:lnTo>
                    <a:lnTo>
                      <a:pt x="336" y="494"/>
                    </a:lnTo>
                    <a:lnTo>
                      <a:pt x="336" y="494"/>
                    </a:lnTo>
                    <a:lnTo>
                      <a:pt x="338" y="494"/>
                    </a:lnTo>
                    <a:lnTo>
                      <a:pt x="338" y="494"/>
                    </a:lnTo>
                    <a:lnTo>
                      <a:pt x="342" y="494"/>
                    </a:lnTo>
                    <a:lnTo>
                      <a:pt x="344" y="494"/>
                    </a:lnTo>
                    <a:lnTo>
                      <a:pt x="344" y="492"/>
                    </a:lnTo>
                    <a:lnTo>
                      <a:pt x="344" y="492"/>
                    </a:lnTo>
                    <a:lnTo>
                      <a:pt x="344" y="492"/>
                    </a:lnTo>
                    <a:lnTo>
                      <a:pt x="344" y="490"/>
                    </a:lnTo>
                    <a:lnTo>
                      <a:pt x="342" y="490"/>
                    </a:lnTo>
                    <a:lnTo>
                      <a:pt x="342" y="490"/>
                    </a:lnTo>
                    <a:lnTo>
                      <a:pt x="342" y="488"/>
                    </a:lnTo>
                    <a:lnTo>
                      <a:pt x="342" y="486"/>
                    </a:lnTo>
                    <a:lnTo>
                      <a:pt x="342" y="486"/>
                    </a:lnTo>
                    <a:lnTo>
                      <a:pt x="342" y="486"/>
                    </a:lnTo>
                    <a:lnTo>
                      <a:pt x="342" y="486"/>
                    </a:lnTo>
                    <a:lnTo>
                      <a:pt x="344" y="484"/>
                    </a:lnTo>
                    <a:lnTo>
                      <a:pt x="348" y="486"/>
                    </a:lnTo>
                    <a:lnTo>
                      <a:pt x="348" y="486"/>
                    </a:lnTo>
                    <a:lnTo>
                      <a:pt x="350" y="486"/>
                    </a:lnTo>
                    <a:lnTo>
                      <a:pt x="352" y="484"/>
                    </a:lnTo>
                    <a:lnTo>
                      <a:pt x="352" y="484"/>
                    </a:lnTo>
                    <a:lnTo>
                      <a:pt x="354" y="484"/>
                    </a:lnTo>
                    <a:lnTo>
                      <a:pt x="356" y="482"/>
                    </a:lnTo>
                    <a:lnTo>
                      <a:pt x="356" y="482"/>
                    </a:lnTo>
                    <a:lnTo>
                      <a:pt x="358" y="480"/>
                    </a:lnTo>
                    <a:lnTo>
                      <a:pt x="360" y="478"/>
                    </a:lnTo>
                    <a:lnTo>
                      <a:pt x="360" y="478"/>
                    </a:lnTo>
                    <a:lnTo>
                      <a:pt x="364" y="474"/>
                    </a:lnTo>
                    <a:lnTo>
                      <a:pt x="364" y="474"/>
                    </a:lnTo>
                    <a:lnTo>
                      <a:pt x="366" y="472"/>
                    </a:lnTo>
                    <a:lnTo>
                      <a:pt x="370" y="470"/>
                    </a:lnTo>
                    <a:lnTo>
                      <a:pt x="370" y="470"/>
                    </a:lnTo>
                    <a:lnTo>
                      <a:pt x="372" y="468"/>
                    </a:lnTo>
                    <a:lnTo>
                      <a:pt x="372" y="466"/>
                    </a:lnTo>
                    <a:lnTo>
                      <a:pt x="372" y="466"/>
                    </a:lnTo>
                    <a:lnTo>
                      <a:pt x="372" y="466"/>
                    </a:lnTo>
                    <a:lnTo>
                      <a:pt x="372" y="462"/>
                    </a:lnTo>
                    <a:lnTo>
                      <a:pt x="372" y="460"/>
                    </a:lnTo>
                    <a:lnTo>
                      <a:pt x="372" y="460"/>
                    </a:lnTo>
                    <a:lnTo>
                      <a:pt x="372" y="458"/>
                    </a:lnTo>
                    <a:lnTo>
                      <a:pt x="372" y="456"/>
                    </a:lnTo>
                    <a:lnTo>
                      <a:pt x="374" y="456"/>
                    </a:lnTo>
                    <a:lnTo>
                      <a:pt x="374" y="456"/>
                    </a:lnTo>
                    <a:lnTo>
                      <a:pt x="376" y="454"/>
                    </a:lnTo>
                    <a:lnTo>
                      <a:pt x="380" y="454"/>
                    </a:lnTo>
                    <a:lnTo>
                      <a:pt x="380" y="454"/>
                    </a:lnTo>
                    <a:lnTo>
                      <a:pt x="382" y="452"/>
                    </a:lnTo>
                    <a:lnTo>
                      <a:pt x="386" y="450"/>
                    </a:lnTo>
                    <a:lnTo>
                      <a:pt x="386" y="450"/>
                    </a:lnTo>
                    <a:lnTo>
                      <a:pt x="388" y="448"/>
                    </a:lnTo>
                    <a:lnTo>
                      <a:pt x="388" y="448"/>
                    </a:lnTo>
                    <a:lnTo>
                      <a:pt x="390" y="446"/>
                    </a:lnTo>
                    <a:lnTo>
                      <a:pt x="390" y="446"/>
                    </a:lnTo>
                    <a:lnTo>
                      <a:pt x="390" y="444"/>
                    </a:lnTo>
                    <a:lnTo>
                      <a:pt x="390" y="442"/>
                    </a:lnTo>
                    <a:lnTo>
                      <a:pt x="390" y="440"/>
                    </a:lnTo>
                    <a:lnTo>
                      <a:pt x="390" y="440"/>
                    </a:lnTo>
                    <a:lnTo>
                      <a:pt x="390" y="432"/>
                    </a:lnTo>
                    <a:lnTo>
                      <a:pt x="390" y="432"/>
                    </a:lnTo>
                    <a:lnTo>
                      <a:pt x="390" y="430"/>
                    </a:lnTo>
                    <a:lnTo>
                      <a:pt x="390" y="428"/>
                    </a:lnTo>
                    <a:lnTo>
                      <a:pt x="392" y="426"/>
                    </a:lnTo>
                    <a:lnTo>
                      <a:pt x="392" y="426"/>
                    </a:lnTo>
                    <a:lnTo>
                      <a:pt x="394" y="424"/>
                    </a:lnTo>
                    <a:lnTo>
                      <a:pt x="394" y="424"/>
                    </a:lnTo>
                    <a:lnTo>
                      <a:pt x="394" y="424"/>
                    </a:lnTo>
                    <a:lnTo>
                      <a:pt x="394" y="424"/>
                    </a:lnTo>
                    <a:lnTo>
                      <a:pt x="394" y="424"/>
                    </a:lnTo>
                    <a:lnTo>
                      <a:pt x="394" y="426"/>
                    </a:lnTo>
                    <a:lnTo>
                      <a:pt x="394" y="426"/>
                    </a:lnTo>
                    <a:lnTo>
                      <a:pt x="394" y="426"/>
                    </a:lnTo>
                    <a:lnTo>
                      <a:pt x="396" y="436"/>
                    </a:lnTo>
                    <a:lnTo>
                      <a:pt x="396" y="436"/>
                    </a:lnTo>
                    <a:lnTo>
                      <a:pt x="396" y="438"/>
                    </a:lnTo>
                    <a:lnTo>
                      <a:pt x="396" y="440"/>
                    </a:lnTo>
                    <a:lnTo>
                      <a:pt x="396" y="440"/>
                    </a:lnTo>
                    <a:lnTo>
                      <a:pt x="396" y="440"/>
                    </a:lnTo>
                    <a:lnTo>
                      <a:pt x="396" y="440"/>
                    </a:lnTo>
                    <a:lnTo>
                      <a:pt x="398" y="440"/>
                    </a:lnTo>
                    <a:lnTo>
                      <a:pt x="400" y="440"/>
                    </a:lnTo>
                    <a:lnTo>
                      <a:pt x="402" y="438"/>
                    </a:lnTo>
                    <a:lnTo>
                      <a:pt x="402" y="438"/>
                    </a:lnTo>
                    <a:lnTo>
                      <a:pt x="404" y="438"/>
                    </a:lnTo>
                    <a:lnTo>
                      <a:pt x="406" y="438"/>
                    </a:lnTo>
                    <a:lnTo>
                      <a:pt x="406" y="438"/>
                    </a:lnTo>
                    <a:lnTo>
                      <a:pt x="406" y="438"/>
                    </a:lnTo>
                    <a:lnTo>
                      <a:pt x="408" y="438"/>
                    </a:lnTo>
                    <a:lnTo>
                      <a:pt x="408" y="438"/>
                    </a:lnTo>
                    <a:lnTo>
                      <a:pt x="410" y="438"/>
                    </a:lnTo>
                    <a:lnTo>
                      <a:pt x="412" y="438"/>
                    </a:lnTo>
                    <a:lnTo>
                      <a:pt x="412" y="438"/>
                    </a:lnTo>
                    <a:lnTo>
                      <a:pt x="412" y="440"/>
                    </a:lnTo>
                    <a:lnTo>
                      <a:pt x="414" y="440"/>
                    </a:lnTo>
                    <a:lnTo>
                      <a:pt x="414" y="440"/>
                    </a:lnTo>
                    <a:lnTo>
                      <a:pt x="416" y="440"/>
                    </a:lnTo>
                    <a:lnTo>
                      <a:pt x="418" y="438"/>
                    </a:lnTo>
                    <a:lnTo>
                      <a:pt x="420" y="438"/>
                    </a:lnTo>
                    <a:lnTo>
                      <a:pt x="420" y="436"/>
                    </a:lnTo>
                    <a:lnTo>
                      <a:pt x="420" y="436"/>
                    </a:lnTo>
                    <a:lnTo>
                      <a:pt x="424" y="436"/>
                    </a:lnTo>
                    <a:lnTo>
                      <a:pt x="424" y="434"/>
                    </a:lnTo>
                    <a:lnTo>
                      <a:pt x="426" y="434"/>
                    </a:lnTo>
                    <a:lnTo>
                      <a:pt x="428" y="434"/>
                    </a:lnTo>
                    <a:lnTo>
                      <a:pt x="428" y="434"/>
                    </a:lnTo>
                    <a:lnTo>
                      <a:pt x="432" y="436"/>
                    </a:lnTo>
                    <a:lnTo>
                      <a:pt x="436" y="438"/>
                    </a:lnTo>
                    <a:lnTo>
                      <a:pt x="436" y="438"/>
                    </a:lnTo>
                    <a:lnTo>
                      <a:pt x="436" y="438"/>
                    </a:lnTo>
                    <a:lnTo>
                      <a:pt x="438" y="438"/>
                    </a:lnTo>
                    <a:lnTo>
                      <a:pt x="438" y="438"/>
                    </a:lnTo>
                    <a:lnTo>
                      <a:pt x="438" y="438"/>
                    </a:lnTo>
                    <a:lnTo>
                      <a:pt x="440" y="436"/>
                    </a:lnTo>
                    <a:lnTo>
                      <a:pt x="440" y="436"/>
                    </a:lnTo>
                    <a:lnTo>
                      <a:pt x="440" y="436"/>
                    </a:lnTo>
                    <a:lnTo>
                      <a:pt x="442" y="434"/>
                    </a:lnTo>
                    <a:lnTo>
                      <a:pt x="444" y="434"/>
                    </a:lnTo>
                    <a:lnTo>
                      <a:pt x="448" y="434"/>
                    </a:lnTo>
                    <a:lnTo>
                      <a:pt x="448" y="434"/>
                    </a:lnTo>
                    <a:lnTo>
                      <a:pt x="452" y="434"/>
                    </a:lnTo>
                    <a:lnTo>
                      <a:pt x="452" y="434"/>
                    </a:lnTo>
                    <a:lnTo>
                      <a:pt x="454" y="434"/>
                    </a:lnTo>
                    <a:lnTo>
                      <a:pt x="456" y="432"/>
                    </a:lnTo>
                    <a:lnTo>
                      <a:pt x="456" y="432"/>
                    </a:lnTo>
                    <a:lnTo>
                      <a:pt x="460" y="432"/>
                    </a:lnTo>
                    <a:lnTo>
                      <a:pt x="462" y="430"/>
                    </a:lnTo>
                    <a:lnTo>
                      <a:pt x="464" y="430"/>
                    </a:lnTo>
                    <a:lnTo>
                      <a:pt x="464" y="430"/>
                    </a:lnTo>
                    <a:lnTo>
                      <a:pt x="466" y="428"/>
                    </a:lnTo>
                    <a:lnTo>
                      <a:pt x="468" y="426"/>
                    </a:lnTo>
                    <a:lnTo>
                      <a:pt x="468" y="426"/>
                    </a:lnTo>
                    <a:lnTo>
                      <a:pt x="472" y="426"/>
                    </a:lnTo>
                    <a:lnTo>
                      <a:pt x="474" y="424"/>
                    </a:lnTo>
                    <a:lnTo>
                      <a:pt x="474" y="424"/>
                    </a:lnTo>
                    <a:lnTo>
                      <a:pt x="476" y="424"/>
                    </a:lnTo>
                    <a:lnTo>
                      <a:pt x="476" y="424"/>
                    </a:lnTo>
                    <a:lnTo>
                      <a:pt x="480" y="422"/>
                    </a:lnTo>
                    <a:lnTo>
                      <a:pt x="480" y="422"/>
                    </a:lnTo>
                    <a:lnTo>
                      <a:pt x="482" y="418"/>
                    </a:lnTo>
                    <a:lnTo>
                      <a:pt x="486" y="416"/>
                    </a:lnTo>
                    <a:lnTo>
                      <a:pt x="486" y="416"/>
                    </a:lnTo>
                    <a:lnTo>
                      <a:pt x="488" y="414"/>
                    </a:lnTo>
                    <a:lnTo>
                      <a:pt x="490" y="412"/>
                    </a:lnTo>
                    <a:lnTo>
                      <a:pt x="490" y="412"/>
                    </a:lnTo>
                    <a:lnTo>
                      <a:pt x="492" y="410"/>
                    </a:lnTo>
                    <a:lnTo>
                      <a:pt x="494" y="408"/>
                    </a:lnTo>
                    <a:lnTo>
                      <a:pt x="494" y="408"/>
                    </a:lnTo>
                    <a:lnTo>
                      <a:pt x="496" y="406"/>
                    </a:lnTo>
                    <a:lnTo>
                      <a:pt x="498" y="404"/>
                    </a:lnTo>
                    <a:lnTo>
                      <a:pt x="498" y="404"/>
                    </a:lnTo>
                    <a:lnTo>
                      <a:pt x="500" y="402"/>
                    </a:lnTo>
                    <a:lnTo>
                      <a:pt x="504" y="402"/>
                    </a:lnTo>
                    <a:lnTo>
                      <a:pt x="504" y="402"/>
                    </a:lnTo>
                    <a:lnTo>
                      <a:pt x="506" y="402"/>
                    </a:lnTo>
                    <a:lnTo>
                      <a:pt x="508" y="402"/>
                    </a:lnTo>
                    <a:lnTo>
                      <a:pt x="508" y="402"/>
                    </a:lnTo>
                    <a:lnTo>
                      <a:pt x="508" y="402"/>
                    </a:lnTo>
                    <a:lnTo>
                      <a:pt x="510" y="400"/>
                    </a:lnTo>
                    <a:lnTo>
                      <a:pt x="512" y="400"/>
                    </a:lnTo>
                    <a:lnTo>
                      <a:pt x="512" y="400"/>
                    </a:lnTo>
                    <a:lnTo>
                      <a:pt x="514" y="400"/>
                    </a:lnTo>
                    <a:lnTo>
                      <a:pt x="516" y="400"/>
                    </a:lnTo>
                    <a:lnTo>
                      <a:pt x="516" y="400"/>
                    </a:lnTo>
                    <a:lnTo>
                      <a:pt x="516" y="400"/>
                    </a:lnTo>
                    <a:lnTo>
                      <a:pt x="518" y="400"/>
                    </a:lnTo>
                    <a:lnTo>
                      <a:pt x="518" y="398"/>
                    </a:lnTo>
                    <a:lnTo>
                      <a:pt x="518" y="396"/>
                    </a:lnTo>
                    <a:lnTo>
                      <a:pt x="516" y="396"/>
                    </a:lnTo>
                    <a:lnTo>
                      <a:pt x="516" y="396"/>
                    </a:lnTo>
                    <a:lnTo>
                      <a:pt x="516" y="396"/>
                    </a:lnTo>
                    <a:lnTo>
                      <a:pt x="516" y="394"/>
                    </a:lnTo>
                    <a:lnTo>
                      <a:pt x="514" y="396"/>
                    </a:lnTo>
                    <a:lnTo>
                      <a:pt x="512" y="396"/>
                    </a:lnTo>
                    <a:lnTo>
                      <a:pt x="512" y="396"/>
                    </a:lnTo>
                    <a:lnTo>
                      <a:pt x="510" y="396"/>
                    </a:lnTo>
                    <a:lnTo>
                      <a:pt x="508" y="396"/>
                    </a:lnTo>
                    <a:lnTo>
                      <a:pt x="504" y="396"/>
                    </a:lnTo>
                    <a:lnTo>
                      <a:pt x="504" y="396"/>
                    </a:lnTo>
                    <a:lnTo>
                      <a:pt x="502" y="394"/>
                    </a:lnTo>
                    <a:lnTo>
                      <a:pt x="498" y="394"/>
                    </a:lnTo>
                    <a:lnTo>
                      <a:pt x="498" y="394"/>
                    </a:lnTo>
                    <a:lnTo>
                      <a:pt x="496" y="392"/>
                    </a:lnTo>
                    <a:lnTo>
                      <a:pt x="494" y="392"/>
                    </a:lnTo>
                    <a:lnTo>
                      <a:pt x="494" y="392"/>
                    </a:lnTo>
                    <a:lnTo>
                      <a:pt x="492" y="392"/>
                    </a:lnTo>
                    <a:lnTo>
                      <a:pt x="490" y="390"/>
                    </a:lnTo>
                    <a:lnTo>
                      <a:pt x="490" y="390"/>
                    </a:lnTo>
                    <a:lnTo>
                      <a:pt x="488" y="390"/>
                    </a:lnTo>
                    <a:lnTo>
                      <a:pt x="488" y="390"/>
                    </a:lnTo>
                    <a:lnTo>
                      <a:pt x="486" y="390"/>
                    </a:lnTo>
                    <a:lnTo>
                      <a:pt x="486" y="390"/>
                    </a:lnTo>
                    <a:lnTo>
                      <a:pt x="484" y="390"/>
                    </a:lnTo>
                    <a:lnTo>
                      <a:pt x="484" y="390"/>
                    </a:lnTo>
                    <a:lnTo>
                      <a:pt x="482" y="392"/>
                    </a:lnTo>
                    <a:lnTo>
                      <a:pt x="482" y="392"/>
                    </a:lnTo>
                    <a:lnTo>
                      <a:pt x="480" y="394"/>
                    </a:lnTo>
                    <a:lnTo>
                      <a:pt x="480" y="394"/>
                    </a:lnTo>
                    <a:lnTo>
                      <a:pt x="478" y="394"/>
                    </a:lnTo>
                    <a:lnTo>
                      <a:pt x="476" y="394"/>
                    </a:lnTo>
                    <a:lnTo>
                      <a:pt x="476" y="394"/>
                    </a:lnTo>
                    <a:lnTo>
                      <a:pt x="476" y="394"/>
                    </a:lnTo>
                    <a:lnTo>
                      <a:pt x="474" y="394"/>
                    </a:lnTo>
                    <a:lnTo>
                      <a:pt x="474" y="392"/>
                    </a:lnTo>
                    <a:lnTo>
                      <a:pt x="472" y="392"/>
                    </a:lnTo>
                    <a:lnTo>
                      <a:pt x="472" y="392"/>
                    </a:lnTo>
                    <a:lnTo>
                      <a:pt x="470" y="392"/>
                    </a:lnTo>
                    <a:lnTo>
                      <a:pt x="468" y="392"/>
                    </a:lnTo>
                    <a:lnTo>
                      <a:pt x="468" y="392"/>
                    </a:lnTo>
                    <a:lnTo>
                      <a:pt x="466" y="392"/>
                    </a:lnTo>
                    <a:lnTo>
                      <a:pt x="466" y="394"/>
                    </a:lnTo>
                    <a:lnTo>
                      <a:pt x="466" y="394"/>
                    </a:lnTo>
                    <a:lnTo>
                      <a:pt x="464" y="394"/>
                    </a:lnTo>
                    <a:lnTo>
                      <a:pt x="460" y="396"/>
                    </a:lnTo>
                    <a:lnTo>
                      <a:pt x="458" y="396"/>
                    </a:lnTo>
                    <a:lnTo>
                      <a:pt x="456" y="396"/>
                    </a:lnTo>
                    <a:lnTo>
                      <a:pt x="452" y="396"/>
                    </a:lnTo>
                    <a:lnTo>
                      <a:pt x="446" y="396"/>
                    </a:lnTo>
                    <a:lnTo>
                      <a:pt x="446" y="396"/>
                    </a:lnTo>
                    <a:lnTo>
                      <a:pt x="444" y="396"/>
                    </a:lnTo>
                    <a:lnTo>
                      <a:pt x="444" y="396"/>
                    </a:lnTo>
                    <a:lnTo>
                      <a:pt x="444" y="394"/>
                    </a:lnTo>
                    <a:lnTo>
                      <a:pt x="444" y="394"/>
                    </a:lnTo>
                    <a:lnTo>
                      <a:pt x="444" y="394"/>
                    </a:lnTo>
                    <a:lnTo>
                      <a:pt x="446" y="394"/>
                    </a:lnTo>
                    <a:lnTo>
                      <a:pt x="446" y="392"/>
                    </a:lnTo>
                    <a:lnTo>
                      <a:pt x="446" y="392"/>
                    </a:lnTo>
                    <a:lnTo>
                      <a:pt x="450" y="392"/>
                    </a:lnTo>
                    <a:lnTo>
                      <a:pt x="452" y="392"/>
                    </a:lnTo>
                    <a:lnTo>
                      <a:pt x="456" y="392"/>
                    </a:lnTo>
                    <a:lnTo>
                      <a:pt x="456" y="392"/>
                    </a:lnTo>
                    <a:lnTo>
                      <a:pt x="458" y="392"/>
                    </a:lnTo>
                    <a:lnTo>
                      <a:pt x="458" y="390"/>
                    </a:lnTo>
                    <a:lnTo>
                      <a:pt x="462" y="390"/>
                    </a:lnTo>
                    <a:lnTo>
                      <a:pt x="462" y="390"/>
                    </a:lnTo>
                    <a:lnTo>
                      <a:pt x="464" y="388"/>
                    </a:lnTo>
                    <a:lnTo>
                      <a:pt x="466" y="388"/>
                    </a:lnTo>
                    <a:lnTo>
                      <a:pt x="470" y="388"/>
                    </a:lnTo>
                    <a:lnTo>
                      <a:pt x="470" y="388"/>
                    </a:lnTo>
                    <a:lnTo>
                      <a:pt x="472" y="388"/>
                    </a:lnTo>
                    <a:lnTo>
                      <a:pt x="472" y="388"/>
                    </a:lnTo>
                    <a:lnTo>
                      <a:pt x="472" y="386"/>
                    </a:lnTo>
                    <a:lnTo>
                      <a:pt x="472" y="386"/>
                    </a:lnTo>
                    <a:lnTo>
                      <a:pt x="470" y="386"/>
                    </a:lnTo>
                    <a:lnTo>
                      <a:pt x="470" y="386"/>
                    </a:lnTo>
                    <a:lnTo>
                      <a:pt x="470" y="386"/>
                    </a:lnTo>
                    <a:lnTo>
                      <a:pt x="468" y="384"/>
                    </a:lnTo>
                    <a:lnTo>
                      <a:pt x="468" y="384"/>
                    </a:lnTo>
                    <a:lnTo>
                      <a:pt x="464" y="384"/>
                    </a:lnTo>
                    <a:lnTo>
                      <a:pt x="464" y="384"/>
                    </a:lnTo>
                    <a:lnTo>
                      <a:pt x="458" y="384"/>
                    </a:lnTo>
                    <a:lnTo>
                      <a:pt x="458" y="384"/>
                    </a:lnTo>
                    <a:lnTo>
                      <a:pt x="456" y="384"/>
                    </a:lnTo>
                    <a:lnTo>
                      <a:pt x="456" y="384"/>
                    </a:lnTo>
                    <a:lnTo>
                      <a:pt x="456" y="384"/>
                    </a:lnTo>
                    <a:lnTo>
                      <a:pt x="454" y="384"/>
                    </a:lnTo>
                    <a:lnTo>
                      <a:pt x="454" y="384"/>
                    </a:lnTo>
                    <a:lnTo>
                      <a:pt x="454" y="384"/>
                    </a:lnTo>
                    <a:lnTo>
                      <a:pt x="448" y="384"/>
                    </a:lnTo>
                    <a:lnTo>
                      <a:pt x="448" y="382"/>
                    </a:lnTo>
                    <a:lnTo>
                      <a:pt x="446" y="382"/>
                    </a:lnTo>
                    <a:lnTo>
                      <a:pt x="446" y="382"/>
                    </a:lnTo>
                    <a:lnTo>
                      <a:pt x="446" y="382"/>
                    </a:lnTo>
                    <a:lnTo>
                      <a:pt x="446" y="382"/>
                    </a:lnTo>
                    <a:lnTo>
                      <a:pt x="448" y="380"/>
                    </a:lnTo>
                    <a:lnTo>
                      <a:pt x="448" y="378"/>
                    </a:lnTo>
                    <a:lnTo>
                      <a:pt x="448" y="378"/>
                    </a:lnTo>
                    <a:lnTo>
                      <a:pt x="450" y="378"/>
                    </a:lnTo>
                    <a:lnTo>
                      <a:pt x="450" y="376"/>
                    </a:lnTo>
                    <a:lnTo>
                      <a:pt x="450" y="376"/>
                    </a:lnTo>
                    <a:lnTo>
                      <a:pt x="452" y="376"/>
                    </a:lnTo>
                    <a:lnTo>
                      <a:pt x="452" y="376"/>
                    </a:lnTo>
                    <a:lnTo>
                      <a:pt x="456" y="376"/>
                    </a:lnTo>
                    <a:lnTo>
                      <a:pt x="456" y="376"/>
                    </a:lnTo>
                    <a:lnTo>
                      <a:pt x="456" y="376"/>
                    </a:lnTo>
                    <a:lnTo>
                      <a:pt x="456" y="376"/>
                    </a:lnTo>
                    <a:lnTo>
                      <a:pt x="456" y="376"/>
                    </a:lnTo>
                    <a:lnTo>
                      <a:pt x="456" y="376"/>
                    </a:lnTo>
                    <a:lnTo>
                      <a:pt x="456" y="376"/>
                    </a:lnTo>
                    <a:lnTo>
                      <a:pt x="456" y="374"/>
                    </a:lnTo>
                    <a:lnTo>
                      <a:pt x="456" y="374"/>
                    </a:lnTo>
                    <a:lnTo>
                      <a:pt x="456" y="374"/>
                    </a:lnTo>
                    <a:lnTo>
                      <a:pt x="456" y="370"/>
                    </a:lnTo>
                    <a:lnTo>
                      <a:pt x="456" y="370"/>
                    </a:lnTo>
                    <a:lnTo>
                      <a:pt x="456" y="370"/>
                    </a:lnTo>
                    <a:lnTo>
                      <a:pt x="456" y="370"/>
                    </a:lnTo>
                    <a:lnTo>
                      <a:pt x="456" y="370"/>
                    </a:lnTo>
                    <a:lnTo>
                      <a:pt x="456" y="370"/>
                    </a:lnTo>
                    <a:lnTo>
                      <a:pt x="458" y="370"/>
                    </a:lnTo>
                    <a:lnTo>
                      <a:pt x="458" y="372"/>
                    </a:lnTo>
                    <a:lnTo>
                      <a:pt x="460" y="372"/>
                    </a:lnTo>
                    <a:lnTo>
                      <a:pt x="460" y="372"/>
                    </a:lnTo>
                    <a:lnTo>
                      <a:pt x="462" y="372"/>
                    </a:lnTo>
                    <a:lnTo>
                      <a:pt x="462" y="372"/>
                    </a:lnTo>
                    <a:lnTo>
                      <a:pt x="462" y="372"/>
                    </a:lnTo>
                    <a:lnTo>
                      <a:pt x="466" y="370"/>
                    </a:lnTo>
                    <a:lnTo>
                      <a:pt x="466" y="370"/>
                    </a:lnTo>
                    <a:lnTo>
                      <a:pt x="468" y="370"/>
                    </a:lnTo>
                    <a:lnTo>
                      <a:pt x="470" y="370"/>
                    </a:lnTo>
                    <a:lnTo>
                      <a:pt x="470" y="370"/>
                    </a:lnTo>
                    <a:lnTo>
                      <a:pt x="474" y="370"/>
                    </a:lnTo>
                    <a:lnTo>
                      <a:pt x="476" y="370"/>
                    </a:lnTo>
                    <a:lnTo>
                      <a:pt x="476" y="370"/>
                    </a:lnTo>
                    <a:lnTo>
                      <a:pt x="480" y="368"/>
                    </a:lnTo>
                    <a:lnTo>
                      <a:pt x="480" y="368"/>
                    </a:lnTo>
                    <a:lnTo>
                      <a:pt x="482" y="368"/>
                    </a:lnTo>
                    <a:lnTo>
                      <a:pt x="482" y="368"/>
                    </a:lnTo>
                    <a:lnTo>
                      <a:pt x="482" y="366"/>
                    </a:lnTo>
                    <a:lnTo>
                      <a:pt x="482" y="366"/>
                    </a:lnTo>
                    <a:lnTo>
                      <a:pt x="482" y="364"/>
                    </a:lnTo>
                    <a:lnTo>
                      <a:pt x="482" y="364"/>
                    </a:lnTo>
                    <a:lnTo>
                      <a:pt x="482" y="364"/>
                    </a:lnTo>
                    <a:lnTo>
                      <a:pt x="480" y="362"/>
                    </a:lnTo>
                    <a:lnTo>
                      <a:pt x="480" y="362"/>
                    </a:lnTo>
                    <a:lnTo>
                      <a:pt x="480" y="362"/>
                    </a:lnTo>
                    <a:lnTo>
                      <a:pt x="480" y="360"/>
                    </a:lnTo>
                    <a:lnTo>
                      <a:pt x="476" y="360"/>
                    </a:lnTo>
                    <a:lnTo>
                      <a:pt x="476" y="360"/>
                    </a:lnTo>
                    <a:lnTo>
                      <a:pt x="474" y="358"/>
                    </a:lnTo>
                    <a:lnTo>
                      <a:pt x="474" y="358"/>
                    </a:lnTo>
                    <a:lnTo>
                      <a:pt x="472" y="358"/>
                    </a:lnTo>
                    <a:lnTo>
                      <a:pt x="470" y="358"/>
                    </a:lnTo>
                    <a:lnTo>
                      <a:pt x="468" y="358"/>
                    </a:lnTo>
                    <a:lnTo>
                      <a:pt x="466" y="358"/>
                    </a:lnTo>
                    <a:lnTo>
                      <a:pt x="466" y="358"/>
                    </a:lnTo>
                    <a:lnTo>
                      <a:pt x="464" y="360"/>
                    </a:lnTo>
                    <a:lnTo>
                      <a:pt x="462" y="360"/>
                    </a:lnTo>
                    <a:lnTo>
                      <a:pt x="462" y="360"/>
                    </a:lnTo>
                    <a:lnTo>
                      <a:pt x="462" y="360"/>
                    </a:lnTo>
                    <a:lnTo>
                      <a:pt x="462" y="360"/>
                    </a:lnTo>
                    <a:lnTo>
                      <a:pt x="462" y="358"/>
                    </a:lnTo>
                    <a:lnTo>
                      <a:pt x="460" y="358"/>
                    </a:lnTo>
                    <a:lnTo>
                      <a:pt x="460" y="358"/>
                    </a:lnTo>
                    <a:lnTo>
                      <a:pt x="460" y="358"/>
                    </a:lnTo>
                    <a:lnTo>
                      <a:pt x="460" y="358"/>
                    </a:lnTo>
                    <a:lnTo>
                      <a:pt x="458" y="356"/>
                    </a:lnTo>
                    <a:lnTo>
                      <a:pt x="458" y="356"/>
                    </a:lnTo>
                    <a:lnTo>
                      <a:pt x="456" y="356"/>
                    </a:lnTo>
                    <a:lnTo>
                      <a:pt x="456" y="354"/>
                    </a:lnTo>
                    <a:lnTo>
                      <a:pt x="456" y="354"/>
                    </a:lnTo>
                    <a:lnTo>
                      <a:pt x="454" y="354"/>
                    </a:lnTo>
                    <a:lnTo>
                      <a:pt x="452" y="352"/>
                    </a:lnTo>
                    <a:lnTo>
                      <a:pt x="452" y="352"/>
                    </a:lnTo>
                    <a:lnTo>
                      <a:pt x="452" y="350"/>
                    </a:lnTo>
                    <a:lnTo>
                      <a:pt x="452" y="350"/>
                    </a:lnTo>
                    <a:lnTo>
                      <a:pt x="450" y="348"/>
                    </a:lnTo>
                    <a:lnTo>
                      <a:pt x="450" y="348"/>
                    </a:lnTo>
                    <a:lnTo>
                      <a:pt x="452" y="348"/>
                    </a:lnTo>
                    <a:lnTo>
                      <a:pt x="452" y="348"/>
                    </a:lnTo>
                    <a:lnTo>
                      <a:pt x="454" y="346"/>
                    </a:lnTo>
                    <a:lnTo>
                      <a:pt x="456" y="348"/>
                    </a:lnTo>
                    <a:lnTo>
                      <a:pt x="458" y="348"/>
                    </a:lnTo>
                    <a:lnTo>
                      <a:pt x="458" y="348"/>
                    </a:lnTo>
                    <a:lnTo>
                      <a:pt x="458" y="348"/>
                    </a:lnTo>
                    <a:lnTo>
                      <a:pt x="460" y="350"/>
                    </a:lnTo>
                    <a:lnTo>
                      <a:pt x="460" y="350"/>
                    </a:lnTo>
                    <a:lnTo>
                      <a:pt x="462" y="350"/>
                    </a:lnTo>
                    <a:lnTo>
                      <a:pt x="462" y="352"/>
                    </a:lnTo>
                    <a:lnTo>
                      <a:pt x="462" y="352"/>
                    </a:lnTo>
                    <a:lnTo>
                      <a:pt x="464" y="354"/>
                    </a:lnTo>
                    <a:lnTo>
                      <a:pt x="466" y="354"/>
                    </a:lnTo>
                    <a:lnTo>
                      <a:pt x="468" y="354"/>
                    </a:lnTo>
                    <a:lnTo>
                      <a:pt x="470" y="356"/>
                    </a:lnTo>
                    <a:lnTo>
                      <a:pt x="470" y="356"/>
                    </a:lnTo>
                    <a:lnTo>
                      <a:pt x="472" y="356"/>
                    </a:lnTo>
                    <a:lnTo>
                      <a:pt x="474" y="356"/>
                    </a:lnTo>
                    <a:lnTo>
                      <a:pt x="474" y="356"/>
                    </a:lnTo>
                    <a:lnTo>
                      <a:pt x="476" y="356"/>
                    </a:lnTo>
                    <a:lnTo>
                      <a:pt x="476" y="356"/>
                    </a:lnTo>
                    <a:lnTo>
                      <a:pt x="480" y="356"/>
                    </a:lnTo>
                    <a:lnTo>
                      <a:pt x="482" y="356"/>
                    </a:lnTo>
                    <a:lnTo>
                      <a:pt x="482" y="358"/>
                    </a:lnTo>
                    <a:lnTo>
                      <a:pt x="482" y="358"/>
                    </a:lnTo>
                    <a:lnTo>
                      <a:pt x="484" y="358"/>
                    </a:lnTo>
                    <a:lnTo>
                      <a:pt x="486" y="360"/>
                    </a:lnTo>
                    <a:lnTo>
                      <a:pt x="488" y="364"/>
                    </a:lnTo>
                    <a:lnTo>
                      <a:pt x="488" y="364"/>
                    </a:lnTo>
                    <a:lnTo>
                      <a:pt x="490" y="366"/>
                    </a:lnTo>
                    <a:lnTo>
                      <a:pt x="490" y="366"/>
                    </a:lnTo>
                    <a:lnTo>
                      <a:pt x="490" y="366"/>
                    </a:lnTo>
                    <a:lnTo>
                      <a:pt x="492" y="366"/>
                    </a:lnTo>
                    <a:lnTo>
                      <a:pt x="494" y="366"/>
                    </a:lnTo>
                    <a:lnTo>
                      <a:pt x="496" y="366"/>
                    </a:lnTo>
                    <a:lnTo>
                      <a:pt x="496" y="366"/>
                    </a:lnTo>
                    <a:lnTo>
                      <a:pt x="496" y="366"/>
                    </a:lnTo>
                    <a:lnTo>
                      <a:pt x="498" y="368"/>
                    </a:lnTo>
                    <a:lnTo>
                      <a:pt x="498" y="368"/>
                    </a:lnTo>
                    <a:lnTo>
                      <a:pt x="498" y="370"/>
                    </a:lnTo>
                    <a:lnTo>
                      <a:pt x="498" y="370"/>
                    </a:lnTo>
                    <a:lnTo>
                      <a:pt x="496" y="370"/>
                    </a:lnTo>
                    <a:lnTo>
                      <a:pt x="496" y="372"/>
                    </a:lnTo>
                    <a:lnTo>
                      <a:pt x="496" y="372"/>
                    </a:lnTo>
                    <a:lnTo>
                      <a:pt x="494" y="374"/>
                    </a:lnTo>
                    <a:lnTo>
                      <a:pt x="494" y="376"/>
                    </a:lnTo>
                    <a:lnTo>
                      <a:pt x="496" y="376"/>
                    </a:lnTo>
                    <a:lnTo>
                      <a:pt x="496" y="378"/>
                    </a:lnTo>
                    <a:lnTo>
                      <a:pt x="496" y="378"/>
                    </a:lnTo>
                    <a:lnTo>
                      <a:pt x="500" y="384"/>
                    </a:lnTo>
                    <a:lnTo>
                      <a:pt x="500" y="384"/>
                    </a:lnTo>
                    <a:lnTo>
                      <a:pt x="500" y="386"/>
                    </a:lnTo>
                    <a:lnTo>
                      <a:pt x="502" y="386"/>
                    </a:lnTo>
                    <a:lnTo>
                      <a:pt x="502" y="386"/>
                    </a:lnTo>
                    <a:lnTo>
                      <a:pt x="502" y="388"/>
                    </a:lnTo>
                    <a:lnTo>
                      <a:pt x="504" y="388"/>
                    </a:lnTo>
                    <a:lnTo>
                      <a:pt x="504" y="388"/>
                    </a:lnTo>
                    <a:lnTo>
                      <a:pt x="506" y="388"/>
                    </a:lnTo>
                    <a:lnTo>
                      <a:pt x="508" y="388"/>
                    </a:lnTo>
                    <a:lnTo>
                      <a:pt x="510" y="386"/>
                    </a:lnTo>
                    <a:lnTo>
                      <a:pt x="510" y="386"/>
                    </a:lnTo>
                    <a:lnTo>
                      <a:pt x="512" y="384"/>
                    </a:lnTo>
                    <a:lnTo>
                      <a:pt x="512" y="384"/>
                    </a:lnTo>
                    <a:lnTo>
                      <a:pt x="512" y="382"/>
                    </a:lnTo>
                    <a:lnTo>
                      <a:pt x="512" y="382"/>
                    </a:lnTo>
                    <a:lnTo>
                      <a:pt x="512" y="382"/>
                    </a:lnTo>
                    <a:lnTo>
                      <a:pt x="514" y="382"/>
                    </a:lnTo>
                    <a:lnTo>
                      <a:pt x="514" y="382"/>
                    </a:lnTo>
                    <a:lnTo>
                      <a:pt x="516" y="384"/>
                    </a:lnTo>
                    <a:lnTo>
                      <a:pt x="516" y="386"/>
                    </a:lnTo>
                    <a:lnTo>
                      <a:pt x="518" y="388"/>
                    </a:lnTo>
                    <a:lnTo>
                      <a:pt x="518" y="388"/>
                    </a:lnTo>
                    <a:lnTo>
                      <a:pt x="518" y="388"/>
                    </a:lnTo>
                    <a:lnTo>
                      <a:pt x="518" y="388"/>
                    </a:lnTo>
                    <a:lnTo>
                      <a:pt x="520" y="388"/>
                    </a:lnTo>
                    <a:lnTo>
                      <a:pt x="520" y="388"/>
                    </a:lnTo>
                    <a:lnTo>
                      <a:pt x="524" y="388"/>
                    </a:lnTo>
                    <a:lnTo>
                      <a:pt x="524" y="388"/>
                    </a:lnTo>
                    <a:lnTo>
                      <a:pt x="528" y="388"/>
                    </a:lnTo>
                    <a:lnTo>
                      <a:pt x="528" y="388"/>
                    </a:lnTo>
                    <a:lnTo>
                      <a:pt x="530" y="388"/>
                    </a:lnTo>
                    <a:lnTo>
                      <a:pt x="530" y="388"/>
                    </a:lnTo>
                    <a:lnTo>
                      <a:pt x="530" y="386"/>
                    </a:lnTo>
                    <a:lnTo>
                      <a:pt x="532" y="384"/>
                    </a:lnTo>
                    <a:lnTo>
                      <a:pt x="532" y="382"/>
                    </a:lnTo>
                    <a:lnTo>
                      <a:pt x="532" y="380"/>
                    </a:lnTo>
                    <a:lnTo>
                      <a:pt x="532" y="380"/>
                    </a:lnTo>
                    <a:lnTo>
                      <a:pt x="530" y="378"/>
                    </a:lnTo>
                    <a:lnTo>
                      <a:pt x="530" y="374"/>
                    </a:lnTo>
                    <a:lnTo>
                      <a:pt x="530" y="374"/>
                    </a:lnTo>
                    <a:lnTo>
                      <a:pt x="528" y="374"/>
                    </a:lnTo>
                    <a:lnTo>
                      <a:pt x="528" y="372"/>
                    </a:lnTo>
                    <a:lnTo>
                      <a:pt x="528" y="370"/>
                    </a:lnTo>
                    <a:lnTo>
                      <a:pt x="530" y="368"/>
                    </a:lnTo>
                    <a:lnTo>
                      <a:pt x="530" y="368"/>
                    </a:lnTo>
                    <a:lnTo>
                      <a:pt x="530" y="366"/>
                    </a:lnTo>
                    <a:lnTo>
                      <a:pt x="530" y="366"/>
                    </a:lnTo>
                    <a:lnTo>
                      <a:pt x="530" y="366"/>
                    </a:lnTo>
                    <a:lnTo>
                      <a:pt x="532" y="364"/>
                    </a:lnTo>
                    <a:lnTo>
                      <a:pt x="532" y="362"/>
                    </a:lnTo>
                    <a:lnTo>
                      <a:pt x="532" y="362"/>
                    </a:lnTo>
                    <a:lnTo>
                      <a:pt x="530" y="360"/>
                    </a:lnTo>
                    <a:lnTo>
                      <a:pt x="530" y="358"/>
                    </a:lnTo>
                    <a:lnTo>
                      <a:pt x="528" y="356"/>
                    </a:lnTo>
                    <a:lnTo>
                      <a:pt x="528" y="356"/>
                    </a:lnTo>
                    <a:lnTo>
                      <a:pt x="526" y="352"/>
                    </a:lnTo>
                    <a:lnTo>
                      <a:pt x="524" y="348"/>
                    </a:lnTo>
                    <a:lnTo>
                      <a:pt x="524" y="348"/>
                    </a:lnTo>
                    <a:lnTo>
                      <a:pt x="522" y="348"/>
                    </a:lnTo>
                    <a:lnTo>
                      <a:pt x="520" y="348"/>
                    </a:lnTo>
                    <a:lnTo>
                      <a:pt x="518" y="348"/>
                    </a:lnTo>
                    <a:lnTo>
                      <a:pt x="518" y="348"/>
                    </a:lnTo>
                    <a:lnTo>
                      <a:pt x="518" y="348"/>
                    </a:lnTo>
                    <a:lnTo>
                      <a:pt x="516" y="348"/>
                    </a:lnTo>
                    <a:lnTo>
                      <a:pt x="514" y="348"/>
                    </a:lnTo>
                    <a:lnTo>
                      <a:pt x="514" y="348"/>
                    </a:lnTo>
                    <a:lnTo>
                      <a:pt x="514" y="348"/>
                    </a:lnTo>
                    <a:lnTo>
                      <a:pt x="514" y="348"/>
                    </a:lnTo>
                    <a:lnTo>
                      <a:pt x="512" y="346"/>
                    </a:lnTo>
                    <a:lnTo>
                      <a:pt x="512" y="346"/>
                    </a:lnTo>
                    <a:lnTo>
                      <a:pt x="512" y="346"/>
                    </a:lnTo>
                    <a:lnTo>
                      <a:pt x="512" y="344"/>
                    </a:lnTo>
                    <a:lnTo>
                      <a:pt x="512" y="342"/>
                    </a:lnTo>
                    <a:lnTo>
                      <a:pt x="508" y="340"/>
                    </a:lnTo>
                    <a:lnTo>
                      <a:pt x="508" y="340"/>
                    </a:lnTo>
                    <a:lnTo>
                      <a:pt x="508" y="340"/>
                    </a:lnTo>
                    <a:lnTo>
                      <a:pt x="506" y="340"/>
                    </a:lnTo>
                    <a:lnTo>
                      <a:pt x="504" y="338"/>
                    </a:lnTo>
                    <a:lnTo>
                      <a:pt x="504" y="338"/>
                    </a:lnTo>
                    <a:lnTo>
                      <a:pt x="504" y="338"/>
                    </a:lnTo>
                    <a:lnTo>
                      <a:pt x="502" y="338"/>
                    </a:lnTo>
                    <a:lnTo>
                      <a:pt x="502" y="338"/>
                    </a:lnTo>
                    <a:lnTo>
                      <a:pt x="502" y="338"/>
                    </a:lnTo>
                    <a:lnTo>
                      <a:pt x="500" y="338"/>
                    </a:lnTo>
                    <a:lnTo>
                      <a:pt x="498" y="338"/>
                    </a:lnTo>
                    <a:lnTo>
                      <a:pt x="498" y="338"/>
                    </a:lnTo>
                    <a:lnTo>
                      <a:pt x="496" y="338"/>
                    </a:lnTo>
                    <a:lnTo>
                      <a:pt x="496" y="338"/>
                    </a:lnTo>
                    <a:lnTo>
                      <a:pt x="496" y="338"/>
                    </a:lnTo>
                    <a:lnTo>
                      <a:pt x="496" y="338"/>
                    </a:lnTo>
                    <a:lnTo>
                      <a:pt x="496" y="336"/>
                    </a:lnTo>
                    <a:lnTo>
                      <a:pt x="496" y="334"/>
                    </a:lnTo>
                    <a:lnTo>
                      <a:pt x="496" y="334"/>
                    </a:lnTo>
                    <a:lnTo>
                      <a:pt x="496" y="334"/>
                    </a:lnTo>
                    <a:lnTo>
                      <a:pt x="494" y="334"/>
                    </a:lnTo>
                    <a:lnTo>
                      <a:pt x="494" y="332"/>
                    </a:lnTo>
                    <a:lnTo>
                      <a:pt x="492" y="332"/>
                    </a:lnTo>
                    <a:lnTo>
                      <a:pt x="492" y="332"/>
                    </a:lnTo>
                    <a:lnTo>
                      <a:pt x="492" y="332"/>
                    </a:lnTo>
                    <a:lnTo>
                      <a:pt x="490" y="332"/>
                    </a:lnTo>
                    <a:lnTo>
                      <a:pt x="488" y="332"/>
                    </a:lnTo>
                    <a:lnTo>
                      <a:pt x="484" y="334"/>
                    </a:lnTo>
                    <a:lnTo>
                      <a:pt x="484" y="334"/>
                    </a:lnTo>
                    <a:lnTo>
                      <a:pt x="482" y="334"/>
                    </a:lnTo>
                    <a:lnTo>
                      <a:pt x="480" y="334"/>
                    </a:lnTo>
                    <a:lnTo>
                      <a:pt x="480" y="334"/>
                    </a:lnTo>
                    <a:lnTo>
                      <a:pt x="480" y="334"/>
                    </a:lnTo>
                    <a:lnTo>
                      <a:pt x="480" y="334"/>
                    </a:lnTo>
                    <a:lnTo>
                      <a:pt x="480" y="332"/>
                    </a:lnTo>
                    <a:lnTo>
                      <a:pt x="482" y="332"/>
                    </a:lnTo>
                    <a:lnTo>
                      <a:pt x="484" y="330"/>
                    </a:lnTo>
                    <a:lnTo>
                      <a:pt x="484" y="330"/>
                    </a:lnTo>
                    <a:lnTo>
                      <a:pt x="484" y="330"/>
                    </a:lnTo>
                    <a:lnTo>
                      <a:pt x="484" y="330"/>
                    </a:lnTo>
                    <a:lnTo>
                      <a:pt x="480" y="330"/>
                    </a:lnTo>
                    <a:lnTo>
                      <a:pt x="478" y="328"/>
                    </a:lnTo>
                    <a:lnTo>
                      <a:pt x="478" y="328"/>
                    </a:lnTo>
                    <a:lnTo>
                      <a:pt x="474" y="328"/>
                    </a:lnTo>
                    <a:lnTo>
                      <a:pt x="474" y="328"/>
                    </a:lnTo>
                    <a:lnTo>
                      <a:pt x="476" y="328"/>
                    </a:lnTo>
                    <a:lnTo>
                      <a:pt x="476" y="326"/>
                    </a:lnTo>
                    <a:lnTo>
                      <a:pt x="476" y="326"/>
                    </a:lnTo>
                    <a:lnTo>
                      <a:pt x="480" y="326"/>
                    </a:lnTo>
                    <a:lnTo>
                      <a:pt x="482" y="324"/>
                    </a:lnTo>
                    <a:lnTo>
                      <a:pt x="484" y="324"/>
                    </a:lnTo>
                    <a:lnTo>
                      <a:pt x="484" y="324"/>
                    </a:lnTo>
                    <a:lnTo>
                      <a:pt x="484" y="322"/>
                    </a:lnTo>
                    <a:lnTo>
                      <a:pt x="484" y="322"/>
                    </a:lnTo>
                    <a:lnTo>
                      <a:pt x="482" y="320"/>
                    </a:lnTo>
                    <a:lnTo>
                      <a:pt x="482" y="320"/>
                    </a:lnTo>
                    <a:lnTo>
                      <a:pt x="482" y="320"/>
                    </a:lnTo>
                    <a:lnTo>
                      <a:pt x="480" y="318"/>
                    </a:lnTo>
                    <a:lnTo>
                      <a:pt x="478" y="316"/>
                    </a:lnTo>
                    <a:lnTo>
                      <a:pt x="478" y="316"/>
                    </a:lnTo>
                    <a:lnTo>
                      <a:pt x="476" y="316"/>
                    </a:lnTo>
                    <a:lnTo>
                      <a:pt x="476" y="316"/>
                    </a:lnTo>
                    <a:lnTo>
                      <a:pt x="472" y="314"/>
                    </a:lnTo>
                    <a:lnTo>
                      <a:pt x="470" y="314"/>
                    </a:lnTo>
                    <a:lnTo>
                      <a:pt x="470" y="314"/>
                    </a:lnTo>
                    <a:lnTo>
                      <a:pt x="470" y="312"/>
                    </a:lnTo>
                    <a:lnTo>
                      <a:pt x="468" y="312"/>
                    </a:lnTo>
                    <a:lnTo>
                      <a:pt x="468" y="312"/>
                    </a:lnTo>
                    <a:lnTo>
                      <a:pt x="468" y="310"/>
                    </a:lnTo>
                    <a:lnTo>
                      <a:pt x="468" y="310"/>
                    </a:lnTo>
                    <a:lnTo>
                      <a:pt x="468" y="310"/>
                    </a:lnTo>
                    <a:lnTo>
                      <a:pt x="468" y="310"/>
                    </a:lnTo>
                    <a:lnTo>
                      <a:pt x="468" y="310"/>
                    </a:lnTo>
                    <a:lnTo>
                      <a:pt x="468" y="310"/>
                    </a:lnTo>
                    <a:lnTo>
                      <a:pt x="468" y="310"/>
                    </a:lnTo>
                    <a:lnTo>
                      <a:pt x="470" y="312"/>
                    </a:lnTo>
                    <a:lnTo>
                      <a:pt x="472" y="312"/>
                    </a:lnTo>
                    <a:lnTo>
                      <a:pt x="474" y="312"/>
                    </a:lnTo>
                    <a:lnTo>
                      <a:pt x="474" y="312"/>
                    </a:lnTo>
                    <a:lnTo>
                      <a:pt x="474" y="312"/>
                    </a:lnTo>
                    <a:lnTo>
                      <a:pt x="474" y="312"/>
                    </a:lnTo>
                    <a:lnTo>
                      <a:pt x="474" y="310"/>
                    </a:lnTo>
                    <a:lnTo>
                      <a:pt x="474" y="310"/>
                    </a:lnTo>
                    <a:lnTo>
                      <a:pt x="472" y="308"/>
                    </a:lnTo>
                    <a:lnTo>
                      <a:pt x="472" y="308"/>
                    </a:lnTo>
                    <a:lnTo>
                      <a:pt x="472" y="306"/>
                    </a:lnTo>
                    <a:lnTo>
                      <a:pt x="470" y="306"/>
                    </a:lnTo>
                    <a:lnTo>
                      <a:pt x="470" y="306"/>
                    </a:lnTo>
                    <a:lnTo>
                      <a:pt x="470" y="304"/>
                    </a:lnTo>
                    <a:lnTo>
                      <a:pt x="470" y="304"/>
                    </a:lnTo>
                    <a:lnTo>
                      <a:pt x="472" y="304"/>
                    </a:lnTo>
                    <a:lnTo>
                      <a:pt x="472" y="304"/>
                    </a:lnTo>
                    <a:lnTo>
                      <a:pt x="472" y="304"/>
                    </a:lnTo>
                    <a:lnTo>
                      <a:pt x="474" y="304"/>
                    </a:lnTo>
                    <a:lnTo>
                      <a:pt x="476" y="304"/>
                    </a:lnTo>
                    <a:lnTo>
                      <a:pt x="476" y="304"/>
                    </a:lnTo>
                    <a:lnTo>
                      <a:pt x="476" y="306"/>
                    </a:lnTo>
                    <a:lnTo>
                      <a:pt x="478" y="308"/>
                    </a:lnTo>
                    <a:lnTo>
                      <a:pt x="480" y="310"/>
                    </a:lnTo>
                    <a:lnTo>
                      <a:pt x="480" y="310"/>
                    </a:lnTo>
                    <a:lnTo>
                      <a:pt x="482" y="312"/>
                    </a:lnTo>
                    <a:lnTo>
                      <a:pt x="482" y="314"/>
                    </a:lnTo>
                    <a:lnTo>
                      <a:pt x="484" y="314"/>
                    </a:lnTo>
                    <a:lnTo>
                      <a:pt x="486" y="314"/>
                    </a:lnTo>
                    <a:lnTo>
                      <a:pt x="486" y="314"/>
                    </a:lnTo>
                    <a:lnTo>
                      <a:pt x="488" y="316"/>
                    </a:lnTo>
                    <a:lnTo>
                      <a:pt x="490" y="316"/>
                    </a:lnTo>
                    <a:lnTo>
                      <a:pt x="490" y="314"/>
                    </a:lnTo>
                    <a:lnTo>
                      <a:pt x="490" y="314"/>
                    </a:lnTo>
                    <a:lnTo>
                      <a:pt x="492" y="314"/>
                    </a:lnTo>
                    <a:lnTo>
                      <a:pt x="492" y="314"/>
                    </a:lnTo>
                    <a:lnTo>
                      <a:pt x="492" y="312"/>
                    </a:lnTo>
                    <a:lnTo>
                      <a:pt x="492" y="312"/>
                    </a:lnTo>
                    <a:lnTo>
                      <a:pt x="492" y="308"/>
                    </a:lnTo>
                    <a:lnTo>
                      <a:pt x="492" y="306"/>
                    </a:lnTo>
                    <a:lnTo>
                      <a:pt x="492" y="306"/>
                    </a:lnTo>
                    <a:lnTo>
                      <a:pt x="492" y="306"/>
                    </a:lnTo>
                    <a:lnTo>
                      <a:pt x="492" y="306"/>
                    </a:lnTo>
                    <a:lnTo>
                      <a:pt x="494" y="308"/>
                    </a:lnTo>
                    <a:lnTo>
                      <a:pt x="494" y="310"/>
                    </a:lnTo>
                    <a:lnTo>
                      <a:pt x="494" y="310"/>
                    </a:lnTo>
                    <a:lnTo>
                      <a:pt x="496" y="312"/>
                    </a:lnTo>
                    <a:lnTo>
                      <a:pt x="496" y="312"/>
                    </a:lnTo>
                    <a:lnTo>
                      <a:pt x="496" y="312"/>
                    </a:lnTo>
                    <a:lnTo>
                      <a:pt x="498" y="314"/>
                    </a:lnTo>
                    <a:lnTo>
                      <a:pt x="498" y="314"/>
                    </a:lnTo>
                    <a:lnTo>
                      <a:pt x="498" y="312"/>
                    </a:lnTo>
                    <a:lnTo>
                      <a:pt x="498" y="312"/>
                    </a:lnTo>
                    <a:lnTo>
                      <a:pt x="500" y="310"/>
                    </a:lnTo>
                    <a:lnTo>
                      <a:pt x="500" y="310"/>
                    </a:lnTo>
                    <a:lnTo>
                      <a:pt x="500" y="308"/>
                    </a:lnTo>
                    <a:lnTo>
                      <a:pt x="500" y="308"/>
                    </a:lnTo>
                    <a:lnTo>
                      <a:pt x="500" y="306"/>
                    </a:lnTo>
                    <a:lnTo>
                      <a:pt x="498" y="306"/>
                    </a:lnTo>
                    <a:lnTo>
                      <a:pt x="498" y="304"/>
                    </a:lnTo>
                    <a:lnTo>
                      <a:pt x="498" y="304"/>
                    </a:lnTo>
                    <a:lnTo>
                      <a:pt x="496" y="302"/>
                    </a:lnTo>
                    <a:lnTo>
                      <a:pt x="494" y="300"/>
                    </a:lnTo>
                    <a:lnTo>
                      <a:pt x="494" y="300"/>
                    </a:lnTo>
                    <a:lnTo>
                      <a:pt x="494" y="300"/>
                    </a:lnTo>
                    <a:lnTo>
                      <a:pt x="494" y="298"/>
                    </a:lnTo>
                    <a:lnTo>
                      <a:pt x="494" y="296"/>
                    </a:lnTo>
                    <a:lnTo>
                      <a:pt x="494" y="296"/>
                    </a:lnTo>
                    <a:lnTo>
                      <a:pt x="492" y="292"/>
                    </a:lnTo>
                    <a:lnTo>
                      <a:pt x="492" y="292"/>
                    </a:lnTo>
                    <a:lnTo>
                      <a:pt x="492" y="290"/>
                    </a:lnTo>
                    <a:lnTo>
                      <a:pt x="492" y="288"/>
                    </a:lnTo>
                    <a:lnTo>
                      <a:pt x="494" y="288"/>
                    </a:lnTo>
                    <a:lnTo>
                      <a:pt x="494" y="288"/>
                    </a:lnTo>
                    <a:lnTo>
                      <a:pt x="494" y="290"/>
                    </a:lnTo>
                    <a:lnTo>
                      <a:pt x="494" y="290"/>
                    </a:lnTo>
                    <a:lnTo>
                      <a:pt x="494" y="290"/>
                    </a:lnTo>
                    <a:lnTo>
                      <a:pt x="498" y="292"/>
                    </a:lnTo>
                    <a:lnTo>
                      <a:pt x="498" y="292"/>
                    </a:lnTo>
                    <a:lnTo>
                      <a:pt x="500" y="294"/>
                    </a:lnTo>
                    <a:lnTo>
                      <a:pt x="502" y="296"/>
                    </a:lnTo>
                    <a:lnTo>
                      <a:pt x="502" y="296"/>
                    </a:lnTo>
                    <a:lnTo>
                      <a:pt x="502" y="298"/>
                    </a:lnTo>
                    <a:lnTo>
                      <a:pt x="504" y="300"/>
                    </a:lnTo>
                    <a:lnTo>
                      <a:pt x="504" y="300"/>
                    </a:lnTo>
                    <a:lnTo>
                      <a:pt x="504" y="300"/>
                    </a:lnTo>
                    <a:lnTo>
                      <a:pt x="506" y="300"/>
                    </a:lnTo>
                    <a:lnTo>
                      <a:pt x="510" y="300"/>
                    </a:lnTo>
                    <a:lnTo>
                      <a:pt x="510" y="300"/>
                    </a:lnTo>
                    <a:lnTo>
                      <a:pt x="512" y="300"/>
                    </a:lnTo>
                    <a:lnTo>
                      <a:pt x="514" y="300"/>
                    </a:lnTo>
                    <a:lnTo>
                      <a:pt x="514" y="300"/>
                    </a:lnTo>
                    <a:lnTo>
                      <a:pt x="516" y="302"/>
                    </a:lnTo>
                    <a:lnTo>
                      <a:pt x="516" y="302"/>
                    </a:lnTo>
                    <a:lnTo>
                      <a:pt x="516" y="302"/>
                    </a:lnTo>
                    <a:lnTo>
                      <a:pt x="520" y="304"/>
                    </a:lnTo>
                    <a:lnTo>
                      <a:pt x="520" y="304"/>
                    </a:lnTo>
                    <a:lnTo>
                      <a:pt x="522" y="304"/>
                    </a:lnTo>
                    <a:lnTo>
                      <a:pt x="522" y="304"/>
                    </a:lnTo>
                    <a:lnTo>
                      <a:pt x="522" y="304"/>
                    </a:lnTo>
                    <a:lnTo>
                      <a:pt x="528" y="304"/>
                    </a:lnTo>
                    <a:lnTo>
                      <a:pt x="528" y="304"/>
                    </a:lnTo>
                    <a:lnTo>
                      <a:pt x="530" y="306"/>
                    </a:lnTo>
                    <a:lnTo>
                      <a:pt x="530" y="306"/>
                    </a:lnTo>
                    <a:lnTo>
                      <a:pt x="530" y="306"/>
                    </a:lnTo>
                    <a:lnTo>
                      <a:pt x="528" y="306"/>
                    </a:lnTo>
                    <a:lnTo>
                      <a:pt x="528" y="308"/>
                    </a:lnTo>
                    <a:lnTo>
                      <a:pt x="526" y="308"/>
                    </a:lnTo>
                    <a:lnTo>
                      <a:pt x="526" y="308"/>
                    </a:lnTo>
                    <a:lnTo>
                      <a:pt x="524" y="310"/>
                    </a:lnTo>
                    <a:lnTo>
                      <a:pt x="522" y="310"/>
                    </a:lnTo>
                    <a:lnTo>
                      <a:pt x="522" y="310"/>
                    </a:lnTo>
                    <a:lnTo>
                      <a:pt x="522" y="310"/>
                    </a:lnTo>
                    <a:lnTo>
                      <a:pt x="524" y="310"/>
                    </a:lnTo>
                    <a:lnTo>
                      <a:pt x="524" y="310"/>
                    </a:lnTo>
                    <a:lnTo>
                      <a:pt x="526" y="312"/>
                    </a:lnTo>
                    <a:lnTo>
                      <a:pt x="528" y="312"/>
                    </a:lnTo>
                    <a:lnTo>
                      <a:pt x="528" y="312"/>
                    </a:lnTo>
                    <a:lnTo>
                      <a:pt x="534" y="312"/>
                    </a:lnTo>
                    <a:lnTo>
                      <a:pt x="540" y="312"/>
                    </a:lnTo>
                    <a:lnTo>
                      <a:pt x="540" y="312"/>
                    </a:lnTo>
                    <a:lnTo>
                      <a:pt x="544" y="312"/>
                    </a:lnTo>
                    <a:lnTo>
                      <a:pt x="548" y="310"/>
                    </a:lnTo>
                    <a:lnTo>
                      <a:pt x="548" y="310"/>
                    </a:lnTo>
                    <a:lnTo>
                      <a:pt x="548" y="310"/>
                    </a:lnTo>
                    <a:lnTo>
                      <a:pt x="550" y="310"/>
                    </a:lnTo>
                    <a:lnTo>
                      <a:pt x="550" y="310"/>
                    </a:lnTo>
                    <a:lnTo>
                      <a:pt x="552" y="308"/>
                    </a:lnTo>
                    <a:lnTo>
                      <a:pt x="552" y="308"/>
                    </a:lnTo>
                    <a:lnTo>
                      <a:pt x="552" y="306"/>
                    </a:lnTo>
                    <a:lnTo>
                      <a:pt x="554" y="300"/>
                    </a:lnTo>
                    <a:lnTo>
                      <a:pt x="554" y="300"/>
                    </a:lnTo>
                    <a:lnTo>
                      <a:pt x="554" y="298"/>
                    </a:lnTo>
                    <a:lnTo>
                      <a:pt x="554" y="298"/>
                    </a:lnTo>
                    <a:lnTo>
                      <a:pt x="554" y="296"/>
                    </a:lnTo>
                    <a:lnTo>
                      <a:pt x="552" y="294"/>
                    </a:lnTo>
                    <a:lnTo>
                      <a:pt x="552" y="294"/>
                    </a:lnTo>
                    <a:lnTo>
                      <a:pt x="550" y="292"/>
                    </a:lnTo>
                    <a:lnTo>
                      <a:pt x="548" y="292"/>
                    </a:lnTo>
                    <a:lnTo>
                      <a:pt x="546" y="292"/>
                    </a:lnTo>
                    <a:lnTo>
                      <a:pt x="546" y="292"/>
                    </a:lnTo>
                    <a:lnTo>
                      <a:pt x="542" y="292"/>
                    </a:lnTo>
                    <a:lnTo>
                      <a:pt x="538" y="290"/>
                    </a:lnTo>
                    <a:lnTo>
                      <a:pt x="538" y="290"/>
                    </a:lnTo>
                    <a:lnTo>
                      <a:pt x="534" y="290"/>
                    </a:lnTo>
                    <a:lnTo>
                      <a:pt x="532" y="290"/>
                    </a:lnTo>
                    <a:lnTo>
                      <a:pt x="530" y="288"/>
                    </a:lnTo>
                    <a:lnTo>
                      <a:pt x="530" y="288"/>
                    </a:lnTo>
                    <a:lnTo>
                      <a:pt x="530" y="288"/>
                    </a:lnTo>
                    <a:lnTo>
                      <a:pt x="530" y="288"/>
                    </a:lnTo>
                    <a:lnTo>
                      <a:pt x="530" y="286"/>
                    </a:lnTo>
                    <a:lnTo>
                      <a:pt x="530" y="286"/>
                    </a:lnTo>
                    <a:lnTo>
                      <a:pt x="530" y="286"/>
                    </a:lnTo>
                    <a:lnTo>
                      <a:pt x="532" y="286"/>
                    </a:lnTo>
                    <a:lnTo>
                      <a:pt x="532" y="286"/>
                    </a:lnTo>
                    <a:lnTo>
                      <a:pt x="534" y="286"/>
                    </a:lnTo>
                    <a:lnTo>
                      <a:pt x="534" y="284"/>
                    </a:lnTo>
                    <a:lnTo>
                      <a:pt x="534" y="284"/>
                    </a:lnTo>
                    <a:lnTo>
                      <a:pt x="534" y="282"/>
                    </a:lnTo>
                    <a:lnTo>
                      <a:pt x="534" y="282"/>
                    </a:lnTo>
                    <a:lnTo>
                      <a:pt x="534" y="282"/>
                    </a:lnTo>
                    <a:lnTo>
                      <a:pt x="536" y="280"/>
                    </a:lnTo>
                    <a:lnTo>
                      <a:pt x="538" y="280"/>
                    </a:lnTo>
                    <a:lnTo>
                      <a:pt x="540" y="278"/>
                    </a:lnTo>
                    <a:lnTo>
                      <a:pt x="540" y="278"/>
                    </a:lnTo>
                    <a:lnTo>
                      <a:pt x="544" y="276"/>
                    </a:lnTo>
                    <a:lnTo>
                      <a:pt x="546" y="276"/>
                    </a:lnTo>
                    <a:lnTo>
                      <a:pt x="548" y="276"/>
                    </a:lnTo>
                    <a:lnTo>
                      <a:pt x="548" y="276"/>
                    </a:lnTo>
                    <a:lnTo>
                      <a:pt x="550" y="278"/>
                    </a:lnTo>
                    <a:lnTo>
                      <a:pt x="552" y="280"/>
                    </a:lnTo>
                    <a:lnTo>
                      <a:pt x="552" y="280"/>
                    </a:lnTo>
                    <a:lnTo>
                      <a:pt x="554" y="282"/>
                    </a:lnTo>
                    <a:lnTo>
                      <a:pt x="554" y="282"/>
                    </a:lnTo>
                    <a:lnTo>
                      <a:pt x="556" y="284"/>
                    </a:lnTo>
                    <a:lnTo>
                      <a:pt x="558" y="286"/>
                    </a:lnTo>
                    <a:lnTo>
                      <a:pt x="558" y="286"/>
                    </a:lnTo>
                    <a:lnTo>
                      <a:pt x="560" y="286"/>
                    </a:lnTo>
                    <a:lnTo>
                      <a:pt x="560" y="286"/>
                    </a:lnTo>
                    <a:lnTo>
                      <a:pt x="564" y="286"/>
                    </a:lnTo>
                    <a:lnTo>
                      <a:pt x="566" y="288"/>
                    </a:lnTo>
                    <a:lnTo>
                      <a:pt x="566" y="288"/>
                    </a:lnTo>
                    <a:lnTo>
                      <a:pt x="568" y="288"/>
                    </a:lnTo>
                    <a:lnTo>
                      <a:pt x="570" y="286"/>
                    </a:lnTo>
                    <a:lnTo>
                      <a:pt x="570" y="286"/>
                    </a:lnTo>
                    <a:lnTo>
                      <a:pt x="570" y="286"/>
                    </a:lnTo>
                    <a:lnTo>
                      <a:pt x="570" y="286"/>
                    </a:lnTo>
                    <a:lnTo>
                      <a:pt x="570" y="284"/>
                    </a:lnTo>
                    <a:lnTo>
                      <a:pt x="570" y="284"/>
                    </a:lnTo>
                    <a:lnTo>
                      <a:pt x="572" y="280"/>
                    </a:lnTo>
                    <a:lnTo>
                      <a:pt x="572" y="280"/>
                    </a:lnTo>
                    <a:lnTo>
                      <a:pt x="570" y="278"/>
                    </a:lnTo>
                    <a:lnTo>
                      <a:pt x="570" y="278"/>
                    </a:lnTo>
                    <a:lnTo>
                      <a:pt x="570" y="278"/>
                    </a:lnTo>
                    <a:lnTo>
                      <a:pt x="568" y="278"/>
                    </a:lnTo>
                    <a:lnTo>
                      <a:pt x="564" y="278"/>
                    </a:lnTo>
                    <a:lnTo>
                      <a:pt x="564" y="278"/>
                    </a:lnTo>
                    <a:lnTo>
                      <a:pt x="562" y="278"/>
                    </a:lnTo>
                    <a:lnTo>
                      <a:pt x="560" y="276"/>
                    </a:lnTo>
                    <a:lnTo>
                      <a:pt x="556" y="274"/>
                    </a:lnTo>
                    <a:lnTo>
                      <a:pt x="556" y="274"/>
                    </a:lnTo>
                    <a:lnTo>
                      <a:pt x="552" y="272"/>
                    </a:lnTo>
                    <a:lnTo>
                      <a:pt x="552" y="272"/>
                    </a:lnTo>
                    <a:lnTo>
                      <a:pt x="552" y="272"/>
                    </a:lnTo>
                    <a:lnTo>
                      <a:pt x="550" y="270"/>
                    </a:lnTo>
                    <a:lnTo>
                      <a:pt x="550" y="270"/>
                    </a:lnTo>
                    <a:lnTo>
                      <a:pt x="550" y="268"/>
                    </a:lnTo>
                    <a:lnTo>
                      <a:pt x="550" y="268"/>
                    </a:lnTo>
                    <a:lnTo>
                      <a:pt x="552" y="266"/>
                    </a:lnTo>
                    <a:lnTo>
                      <a:pt x="550" y="264"/>
                    </a:lnTo>
                    <a:lnTo>
                      <a:pt x="550" y="264"/>
                    </a:lnTo>
                    <a:lnTo>
                      <a:pt x="550" y="262"/>
                    </a:lnTo>
                    <a:lnTo>
                      <a:pt x="548" y="262"/>
                    </a:lnTo>
                    <a:lnTo>
                      <a:pt x="546" y="260"/>
                    </a:lnTo>
                    <a:lnTo>
                      <a:pt x="546" y="260"/>
                    </a:lnTo>
                    <a:lnTo>
                      <a:pt x="544" y="258"/>
                    </a:lnTo>
                    <a:lnTo>
                      <a:pt x="544" y="258"/>
                    </a:lnTo>
                    <a:lnTo>
                      <a:pt x="544" y="256"/>
                    </a:lnTo>
                    <a:lnTo>
                      <a:pt x="544" y="256"/>
                    </a:lnTo>
                    <a:lnTo>
                      <a:pt x="544" y="256"/>
                    </a:lnTo>
                    <a:lnTo>
                      <a:pt x="544" y="256"/>
                    </a:lnTo>
                    <a:lnTo>
                      <a:pt x="546" y="256"/>
                    </a:lnTo>
                    <a:lnTo>
                      <a:pt x="548" y="258"/>
                    </a:lnTo>
                    <a:lnTo>
                      <a:pt x="548" y="258"/>
                    </a:lnTo>
                    <a:lnTo>
                      <a:pt x="548" y="258"/>
                    </a:lnTo>
                    <a:lnTo>
                      <a:pt x="550" y="258"/>
                    </a:lnTo>
                    <a:lnTo>
                      <a:pt x="552" y="260"/>
                    </a:lnTo>
                    <a:lnTo>
                      <a:pt x="552" y="260"/>
                    </a:lnTo>
                    <a:lnTo>
                      <a:pt x="554" y="260"/>
                    </a:lnTo>
                    <a:lnTo>
                      <a:pt x="556" y="262"/>
                    </a:lnTo>
                    <a:lnTo>
                      <a:pt x="556" y="262"/>
                    </a:lnTo>
                    <a:lnTo>
                      <a:pt x="560" y="262"/>
                    </a:lnTo>
                    <a:lnTo>
                      <a:pt x="560" y="262"/>
                    </a:lnTo>
                    <a:lnTo>
                      <a:pt x="562" y="262"/>
                    </a:lnTo>
                    <a:lnTo>
                      <a:pt x="562" y="262"/>
                    </a:lnTo>
                    <a:lnTo>
                      <a:pt x="562" y="262"/>
                    </a:lnTo>
                    <a:lnTo>
                      <a:pt x="562" y="262"/>
                    </a:lnTo>
                    <a:lnTo>
                      <a:pt x="562" y="262"/>
                    </a:lnTo>
                    <a:lnTo>
                      <a:pt x="562" y="262"/>
                    </a:lnTo>
                    <a:lnTo>
                      <a:pt x="562" y="260"/>
                    </a:lnTo>
                    <a:lnTo>
                      <a:pt x="562" y="260"/>
                    </a:lnTo>
                    <a:lnTo>
                      <a:pt x="560" y="256"/>
                    </a:lnTo>
                    <a:lnTo>
                      <a:pt x="558" y="254"/>
                    </a:lnTo>
                    <a:lnTo>
                      <a:pt x="558" y="254"/>
                    </a:lnTo>
                    <a:lnTo>
                      <a:pt x="558" y="252"/>
                    </a:lnTo>
                    <a:lnTo>
                      <a:pt x="556" y="250"/>
                    </a:lnTo>
                    <a:lnTo>
                      <a:pt x="558" y="250"/>
                    </a:lnTo>
                    <a:lnTo>
                      <a:pt x="558" y="250"/>
                    </a:lnTo>
                    <a:lnTo>
                      <a:pt x="558" y="248"/>
                    </a:lnTo>
                    <a:lnTo>
                      <a:pt x="560" y="246"/>
                    </a:lnTo>
                    <a:lnTo>
                      <a:pt x="560" y="242"/>
                    </a:lnTo>
                    <a:lnTo>
                      <a:pt x="560" y="242"/>
                    </a:lnTo>
                    <a:lnTo>
                      <a:pt x="560" y="240"/>
                    </a:lnTo>
                    <a:lnTo>
                      <a:pt x="560" y="240"/>
                    </a:lnTo>
                    <a:lnTo>
                      <a:pt x="560" y="238"/>
                    </a:lnTo>
                    <a:lnTo>
                      <a:pt x="558" y="238"/>
                    </a:lnTo>
                    <a:lnTo>
                      <a:pt x="558" y="238"/>
                    </a:lnTo>
                    <a:lnTo>
                      <a:pt x="558" y="238"/>
                    </a:lnTo>
                    <a:lnTo>
                      <a:pt x="558" y="238"/>
                    </a:lnTo>
                    <a:lnTo>
                      <a:pt x="556" y="238"/>
                    </a:lnTo>
                    <a:lnTo>
                      <a:pt x="556" y="238"/>
                    </a:lnTo>
                    <a:lnTo>
                      <a:pt x="552" y="236"/>
                    </a:lnTo>
                    <a:lnTo>
                      <a:pt x="550" y="236"/>
                    </a:lnTo>
                    <a:lnTo>
                      <a:pt x="550" y="236"/>
                    </a:lnTo>
                    <a:lnTo>
                      <a:pt x="546" y="236"/>
                    </a:lnTo>
                    <a:lnTo>
                      <a:pt x="544" y="234"/>
                    </a:lnTo>
                    <a:lnTo>
                      <a:pt x="542" y="234"/>
                    </a:lnTo>
                    <a:lnTo>
                      <a:pt x="542" y="234"/>
                    </a:lnTo>
                    <a:lnTo>
                      <a:pt x="542" y="232"/>
                    </a:lnTo>
                    <a:lnTo>
                      <a:pt x="540" y="230"/>
                    </a:lnTo>
                    <a:lnTo>
                      <a:pt x="540" y="230"/>
                    </a:lnTo>
                    <a:lnTo>
                      <a:pt x="540" y="228"/>
                    </a:lnTo>
                    <a:lnTo>
                      <a:pt x="538" y="226"/>
                    </a:lnTo>
                    <a:lnTo>
                      <a:pt x="538" y="226"/>
                    </a:lnTo>
                    <a:lnTo>
                      <a:pt x="538" y="222"/>
                    </a:lnTo>
                    <a:lnTo>
                      <a:pt x="538" y="222"/>
                    </a:lnTo>
                    <a:lnTo>
                      <a:pt x="538" y="222"/>
                    </a:lnTo>
                    <a:lnTo>
                      <a:pt x="538" y="220"/>
                    </a:lnTo>
                    <a:lnTo>
                      <a:pt x="538" y="220"/>
                    </a:lnTo>
                    <a:lnTo>
                      <a:pt x="538" y="220"/>
                    </a:lnTo>
                    <a:lnTo>
                      <a:pt x="538" y="220"/>
                    </a:lnTo>
                    <a:lnTo>
                      <a:pt x="538" y="220"/>
                    </a:lnTo>
                    <a:lnTo>
                      <a:pt x="540" y="220"/>
                    </a:lnTo>
                    <a:lnTo>
                      <a:pt x="542" y="222"/>
                    </a:lnTo>
                    <a:lnTo>
                      <a:pt x="542" y="222"/>
                    </a:lnTo>
                    <a:lnTo>
                      <a:pt x="544" y="222"/>
                    </a:lnTo>
                    <a:lnTo>
                      <a:pt x="546" y="222"/>
                    </a:lnTo>
                    <a:lnTo>
                      <a:pt x="548" y="222"/>
                    </a:lnTo>
                    <a:lnTo>
                      <a:pt x="548" y="222"/>
                    </a:lnTo>
                    <a:lnTo>
                      <a:pt x="550" y="222"/>
                    </a:lnTo>
                    <a:lnTo>
                      <a:pt x="552" y="222"/>
                    </a:lnTo>
                    <a:lnTo>
                      <a:pt x="552" y="222"/>
                    </a:lnTo>
                    <a:lnTo>
                      <a:pt x="552" y="222"/>
                    </a:lnTo>
                    <a:lnTo>
                      <a:pt x="552" y="220"/>
                    </a:lnTo>
                    <a:lnTo>
                      <a:pt x="552" y="220"/>
                    </a:lnTo>
                    <a:lnTo>
                      <a:pt x="554" y="220"/>
                    </a:lnTo>
                    <a:lnTo>
                      <a:pt x="556" y="220"/>
                    </a:lnTo>
                    <a:lnTo>
                      <a:pt x="556" y="220"/>
                    </a:lnTo>
                    <a:lnTo>
                      <a:pt x="556" y="218"/>
                    </a:lnTo>
                    <a:lnTo>
                      <a:pt x="556" y="218"/>
                    </a:lnTo>
                    <a:lnTo>
                      <a:pt x="556" y="218"/>
                    </a:lnTo>
                    <a:lnTo>
                      <a:pt x="556" y="218"/>
                    </a:lnTo>
                    <a:lnTo>
                      <a:pt x="550" y="214"/>
                    </a:lnTo>
                    <a:lnTo>
                      <a:pt x="550" y="214"/>
                    </a:lnTo>
                    <a:lnTo>
                      <a:pt x="548" y="212"/>
                    </a:lnTo>
                    <a:lnTo>
                      <a:pt x="546" y="210"/>
                    </a:lnTo>
                    <a:lnTo>
                      <a:pt x="546" y="208"/>
                    </a:lnTo>
                    <a:lnTo>
                      <a:pt x="546" y="208"/>
                    </a:lnTo>
                    <a:lnTo>
                      <a:pt x="546" y="208"/>
                    </a:lnTo>
                    <a:lnTo>
                      <a:pt x="546" y="208"/>
                    </a:lnTo>
                    <a:lnTo>
                      <a:pt x="546" y="208"/>
                    </a:lnTo>
                    <a:lnTo>
                      <a:pt x="548" y="208"/>
                    </a:lnTo>
                    <a:lnTo>
                      <a:pt x="552" y="208"/>
                    </a:lnTo>
                    <a:lnTo>
                      <a:pt x="552" y="208"/>
                    </a:lnTo>
                    <a:lnTo>
                      <a:pt x="552" y="208"/>
                    </a:lnTo>
                    <a:lnTo>
                      <a:pt x="554" y="208"/>
                    </a:lnTo>
                    <a:lnTo>
                      <a:pt x="554" y="210"/>
                    </a:lnTo>
                    <a:lnTo>
                      <a:pt x="554" y="210"/>
                    </a:lnTo>
                    <a:lnTo>
                      <a:pt x="556" y="212"/>
                    </a:lnTo>
                    <a:lnTo>
                      <a:pt x="558" y="212"/>
                    </a:lnTo>
                    <a:lnTo>
                      <a:pt x="558" y="212"/>
                    </a:lnTo>
                    <a:lnTo>
                      <a:pt x="558" y="214"/>
                    </a:lnTo>
                    <a:lnTo>
                      <a:pt x="560" y="216"/>
                    </a:lnTo>
                    <a:lnTo>
                      <a:pt x="560" y="216"/>
                    </a:lnTo>
                    <a:lnTo>
                      <a:pt x="564" y="218"/>
                    </a:lnTo>
                    <a:lnTo>
                      <a:pt x="564" y="218"/>
                    </a:lnTo>
                    <a:lnTo>
                      <a:pt x="566" y="220"/>
                    </a:lnTo>
                    <a:lnTo>
                      <a:pt x="566" y="220"/>
                    </a:lnTo>
                    <a:lnTo>
                      <a:pt x="570" y="222"/>
                    </a:lnTo>
                    <a:lnTo>
                      <a:pt x="570" y="222"/>
                    </a:lnTo>
                    <a:lnTo>
                      <a:pt x="574" y="222"/>
                    </a:lnTo>
                    <a:lnTo>
                      <a:pt x="576" y="224"/>
                    </a:lnTo>
                    <a:lnTo>
                      <a:pt x="576" y="224"/>
                    </a:lnTo>
                    <a:lnTo>
                      <a:pt x="578" y="224"/>
                    </a:lnTo>
                    <a:lnTo>
                      <a:pt x="580" y="224"/>
                    </a:lnTo>
                    <a:lnTo>
                      <a:pt x="582" y="224"/>
                    </a:lnTo>
                    <a:lnTo>
                      <a:pt x="582" y="224"/>
                    </a:lnTo>
                    <a:lnTo>
                      <a:pt x="582" y="224"/>
                    </a:lnTo>
                    <a:lnTo>
                      <a:pt x="582" y="222"/>
                    </a:lnTo>
                    <a:lnTo>
                      <a:pt x="582" y="220"/>
                    </a:lnTo>
                    <a:lnTo>
                      <a:pt x="582" y="220"/>
                    </a:lnTo>
                    <a:lnTo>
                      <a:pt x="584" y="218"/>
                    </a:lnTo>
                    <a:lnTo>
                      <a:pt x="584" y="218"/>
                    </a:lnTo>
                    <a:lnTo>
                      <a:pt x="584" y="218"/>
                    </a:lnTo>
                    <a:lnTo>
                      <a:pt x="584" y="216"/>
                    </a:lnTo>
                    <a:lnTo>
                      <a:pt x="584" y="214"/>
                    </a:lnTo>
                    <a:lnTo>
                      <a:pt x="584" y="214"/>
                    </a:lnTo>
                    <a:lnTo>
                      <a:pt x="584" y="212"/>
                    </a:lnTo>
                    <a:lnTo>
                      <a:pt x="584" y="210"/>
                    </a:lnTo>
                    <a:lnTo>
                      <a:pt x="584" y="208"/>
                    </a:lnTo>
                    <a:lnTo>
                      <a:pt x="582" y="208"/>
                    </a:lnTo>
                    <a:lnTo>
                      <a:pt x="580" y="208"/>
                    </a:lnTo>
                    <a:lnTo>
                      <a:pt x="580" y="208"/>
                    </a:lnTo>
                    <a:lnTo>
                      <a:pt x="576" y="206"/>
                    </a:lnTo>
                    <a:lnTo>
                      <a:pt x="576" y="206"/>
                    </a:lnTo>
                    <a:lnTo>
                      <a:pt x="574" y="206"/>
                    </a:lnTo>
                    <a:lnTo>
                      <a:pt x="574" y="206"/>
                    </a:lnTo>
                    <a:lnTo>
                      <a:pt x="574" y="208"/>
                    </a:lnTo>
                    <a:lnTo>
                      <a:pt x="572" y="210"/>
                    </a:lnTo>
                    <a:lnTo>
                      <a:pt x="572" y="210"/>
                    </a:lnTo>
                    <a:lnTo>
                      <a:pt x="572" y="210"/>
                    </a:lnTo>
                    <a:lnTo>
                      <a:pt x="570" y="212"/>
                    </a:lnTo>
                    <a:lnTo>
                      <a:pt x="570" y="212"/>
                    </a:lnTo>
                    <a:lnTo>
                      <a:pt x="570" y="212"/>
                    </a:lnTo>
                    <a:lnTo>
                      <a:pt x="570" y="210"/>
                    </a:lnTo>
                    <a:lnTo>
                      <a:pt x="568" y="210"/>
                    </a:lnTo>
                    <a:lnTo>
                      <a:pt x="568" y="206"/>
                    </a:lnTo>
                    <a:lnTo>
                      <a:pt x="568" y="206"/>
                    </a:lnTo>
                    <a:lnTo>
                      <a:pt x="566" y="204"/>
                    </a:lnTo>
                    <a:lnTo>
                      <a:pt x="566" y="204"/>
                    </a:lnTo>
                    <a:lnTo>
                      <a:pt x="566" y="202"/>
                    </a:lnTo>
                    <a:lnTo>
                      <a:pt x="566" y="202"/>
                    </a:lnTo>
                    <a:lnTo>
                      <a:pt x="562" y="202"/>
                    </a:lnTo>
                    <a:lnTo>
                      <a:pt x="560" y="202"/>
                    </a:lnTo>
                    <a:lnTo>
                      <a:pt x="558" y="202"/>
                    </a:lnTo>
                    <a:lnTo>
                      <a:pt x="558" y="202"/>
                    </a:lnTo>
                    <a:lnTo>
                      <a:pt x="556" y="200"/>
                    </a:lnTo>
                    <a:lnTo>
                      <a:pt x="556" y="198"/>
                    </a:lnTo>
                    <a:lnTo>
                      <a:pt x="556" y="198"/>
                    </a:lnTo>
                    <a:lnTo>
                      <a:pt x="556" y="196"/>
                    </a:lnTo>
                    <a:lnTo>
                      <a:pt x="556" y="196"/>
                    </a:lnTo>
                    <a:lnTo>
                      <a:pt x="558" y="194"/>
                    </a:lnTo>
                    <a:lnTo>
                      <a:pt x="558" y="194"/>
                    </a:lnTo>
                    <a:lnTo>
                      <a:pt x="560" y="192"/>
                    </a:lnTo>
                    <a:lnTo>
                      <a:pt x="560" y="192"/>
                    </a:lnTo>
                    <a:lnTo>
                      <a:pt x="562" y="192"/>
                    </a:lnTo>
                    <a:lnTo>
                      <a:pt x="562" y="192"/>
                    </a:lnTo>
                    <a:lnTo>
                      <a:pt x="562" y="192"/>
                    </a:lnTo>
                    <a:lnTo>
                      <a:pt x="566" y="192"/>
                    </a:lnTo>
                    <a:lnTo>
                      <a:pt x="570" y="194"/>
                    </a:lnTo>
                    <a:lnTo>
                      <a:pt x="570" y="194"/>
                    </a:lnTo>
                    <a:lnTo>
                      <a:pt x="572" y="194"/>
                    </a:lnTo>
                    <a:lnTo>
                      <a:pt x="572" y="196"/>
                    </a:lnTo>
                    <a:lnTo>
                      <a:pt x="572" y="196"/>
                    </a:lnTo>
                    <a:lnTo>
                      <a:pt x="572" y="196"/>
                    </a:lnTo>
                    <a:lnTo>
                      <a:pt x="574" y="196"/>
                    </a:lnTo>
                    <a:lnTo>
                      <a:pt x="574" y="198"/>
                    </a:lnTo>
                    <a:lnTo>
                      <a:pt x="574" y="198"/>
                    </a:lnTo>
                    <a:lnTo>
                      <a:pt x="574" y="200"/>
                    </a:lnTo>
                    <a:lnTo>
                      <a:pt x="574" y="200"/>
                    </a:lnTo>
                    <a:lnTo>
                      <a:pt x="576" y="200"/>
                    </a:lnTo>
                    <a:lnTo>
                      <a:pt x="576" y="198"/>
                    </a:lnTo>
                    <a:lnTo>
                      <a:pt x="576" y="196"/>
                    </a:lnTo>
                    <a:lnTo>
                      <a:pt x="576" y="196"/>
                    </a:lnTo>
                    <a:lnTo>
                      <a:pt x="576" y="196"/>
                    </a:lnTo>
                    <a:lnTo>
                      <a:pt x="578" y="196"/>
                    </a:lnTo>
                    <a:lnTo>
                      <a:pt x="576" y="194"/>
                    </a:lnTo>
                    <a:lnTo>
                      <a:pt x="576" y="192"/>
                    </a:lnTo>
                    <a:lnTo>
                      <a:pt x="576" y="192"/>
                    </a:lnTo>
                    <a:lnTo>
                      <a:pt x="574" y="188"/>
                    </a:lnTo>
                    <a:lnTo>
                      <a:pt x="574" y="188"/>
                    </a:lnTo>
                    <a:lnTo>
                      <a:pt x="574" y="186"/>
                    </a:lnTo>
                    <a:lnTo>
                      <a:pt x="572" y="184"/>
                    </a:lnTo>
                    <a:lnTo>
                      <a:pt x="572" y="184"/>
                    </a:lnTo>
                    <a:lnTo>
                      <a:pt x="572" y="184"/>
                    </a:lnTo>
                    <a:lnTo>
                      <a:pt x="570" y="184"/>
                    </a:lnTo>
                    <a:lnTo>
                      <a:pt x="568" y="184"/>
                    </a:lnTo>
                    <a:lnTo>
                      <a:pt x="568" y="184"/>
                    </a:lnTo>
                    <a:lnTo>
                      <a:pt x="566" y="182"/>
                    </a:lnTo>
                    <a:lnTo>
                      <a:pt x="566" y="182"/>
                    </a:lnTo>
                    <a:lnTo>
                      <a:pt x="566" y="182"/>
                    </a:lnTo>
                    <a:lnTo>
                      <a:pt x="566" y="182"/>
                    </a:lnTo>
                    <a:lnTo>
                      <a:pt x="564" y="180"/>
                    </a:lnTo>
                    <a:lnTo>
                      <a:pt x="564" y="178"/>
                    </a:lnTo>
                    <a:lnTo>
                      <a:pt x="562" y="178"/>
                    </a:lnTo>
                    <a:lnTo>
                      <a:pt x="560" y="178"/>
                    </a:lnTo>
                    <a:lnTo>
                      <a:pt x="560" y="178"/>
                    </a:lnTo>
                    <a:lnTo>
                      <a:pt x="556" y="178"/>
                    </a:lnTo>
                    <a:lnTo>
                      <a:pt x="554" y="176"/>
                    </a:lnTo>
                    <a:lnTo>
                      <a:pt x="554" y="176"/>
                    </a:lnTo>
                    <a:lnTo>
                      <a:pt x="554" y="176"/>
                    </a:lnTo>
                    <a:lnTo>
                      <a:pt x="554" y="176"/>
                    </a:lnTo>
                    <a:lnTo>
                      <a:pt x="554" y="174"/>
                    </a:lnTo>
                    <a:lnTo>
                      <a:pt x="554" y="172"/>
                    </a:lnTo>
                    <a:lnTo>
                      <a:pt x="556" y="170"/>
                    </a:lnTo>
                    <a:lnTo>
                      <a:pt x="556" y="170"/>
                    </a:lnTo>
                    <a:lnTo>
                      <a:pt x="558" y="170"/>
                    </a:lnTo>
                    <a:lnTo>
                      <a:pt x="558" y="168"/>
                    </a:lnTo>
                    <a:lnTo>
                      <a:pt x="560" y="168"/>
                    </a:lnTo>
                    <a:lnTo>
                      <a:pt x="560" y="166"/>
                    </a:lnTo>
                    <a:lnTo>
                      <a:pt x="560" y="166"/>
                    </a:lnTo>
                    <a:lnTo>
                      <a:pt x="560" y="162"/>
                    </a:lnTo>
                    <a:lnTo>
                      <a:pt x="560" y="160"/>
                    </a:lnTo>
                    <a:lnTo>
                      <a:pt x="560" y="158"/>
                    </a:lnTo>
                    <a:lnTo>
                      <a:pt x="560" y="158"/>
                    </a:lnTo>
                    <a:lnTo>
                      <a:pt x="560" y="156"/>
                    </a:lnTo>
                    <a:lnTo>
                      <a:pt x="562" y="156"/>
                    </a:lnTo>
                    <a:lnTo>
                      <a:pt x="566" y="156"/>
                    </a:lnTo>
                    <a:lnTo>
                      <a:pt x="566" y="156"/>
                    </a:lnTo>
                    <a:lnTo>
                      <a:pt x="566" y="156"/>
                    </a:lnTo>
                    <a:lnTo>
                      <a:pt x="568" y="154"/>
                    </a:lnTo>
                    <a:lnTo>
                      <a:pt x="568" y="154"/>
                    </a:lnTo>
                    <a:lnTo>
                      <a:pt x="570" y="154"/>
                    </a:lnTo>
                    <a:lnTo>
                      <a:pt x="570" y="152"/>
                    </a:lnTo>
                    <a:lnTo>
                      <a:pt x="570" y="152"/>
                    </a:lnTo>
                    <a:lnTo>
                      <a:pt x="576" y="146"/>
                    </a:lnTo>
                    <a:lnTo>
                      <a:pt x="576" y="146"/>
                    </a:lnTo>
                    <a:lnTo>
                      <a:pt x="578" y="142"/>
                    </a:lnTo>
                    <a:lnTo>
                      <a:pt x="578" y="142"/>
                    </a:lnTo>
                    <a:lnTo>
                      <a:pt x="580" y="140"/>
                    </a:lnTo>
                    <a:lnTo>
                      <a:pt x="582" y="140"/>
                    </a:lnTo>
                    <a:lnTo>
                      <a:pt x="584" y="138"/>
                    </a:lnTo>
                    <a:lnTo>
                      <a:pt x="586" y="138"/>
                    </a:lnTo>
                    <a:lnTo>
                      <a:pt x="586" y="138"/>
                    </a:lnTo>
                    <a:lnTo>
                      <a:pt x="590" y="140"/>
                    </a:lnTo>
                    <a:lnTo>
                      <a:pt x="590" y="140"/>
                    </a:lnTo>
                    <a:lnTo>
                      <a:pt x="590" y="138"/>
                    </a:lnTo>
                    <a:lnTo>
                      <a:pt x="592" y="138"/>
                    </a:lnTo>
                    <a:lnTo>
                      <a:pt x="592" y="138"/>
                    </a:lnTo>
                    <a:lnTo>
                      <a:pt x="592" y="136"/>
                    </a:lnTo>
                    <a:lnTo>
                      <a:pt x="592" y="136"/>
                    </a:lnTo>
                    <a:lnTo>
                      <a:pt x="592" y="134"/>
                    </a:lnTo>
                    <a:lnTo>
                      <a:pt x="594" y="132"/>
                    </a:lnTo>
                    <a:lnTo>
                      <a:pt x="594" y="132"/>
                    </a:lnTo>
                    <a:lnTo>
                      <a:pt x="594" y="128"/>
                    </a:lnTo>
                    <a:lnTo>
                      <a:pt x="594" y="128"/>
                    </a:lnTo>
                    <a:lnTo>
                      <a:pt x="596" y="128"/>
                    </a:lnTo>
                    <a:lnTo>
                      <a:pt x="596" y="126"/>
                    </a:lnTo>
                    <a:lnTo>
                      <a:pt x="594" y="124"/>
                    </a:lnTo>
                    <a:lnTo>
                      <a:pt x="594" y="124"/>
                    </a:lnTo>
                    <a:lnTo>
                      <a:pt x="594" y="124"/>
                    </a:lnTo>
                    <a:lnTo>
                      <a:pt x="592" y="122"/>
                    </a:lnTo>
                    <a:lnTo>
                      <a:pt x="590" y="122"/>
                    </a:lnTo>
                    <a:lnTo>
                      <a:pt x="590" y="122"/>
                    </a:lnTo>
                    <a:lnTo>
                      <a:pt x="590" y="122"/>
                    </a:lnTo>
                    <a:lnTo>
                      <a:pt x="588" y="122"/>
                    </a:lnTo>
                    <a:lnTo>
                      <a:pt x="586" y="124"/>
                    </a:lnTo>
                    <a:lnTo>
                      <a:pt x="586" y="124"/>
                    </a:lnTo>
                    <a:lnTo>
                      <a:pt x="584" y="124"/>
                    </a:lnTo>
                    <a:lnTo>
                      <a:pt x="580" y="124"/>
                    </a:lnTo>
                    <a:lnTo>
                      <a:pt x="580" y="124"/>
                    </a:lnTo>
                    <a:lnTo>
                      <a:pt x="578" y="124"/>
                    </a:lnTo>
                    <a:lnTo>
                      <a:pt x="578" y="126"/>
                    </a:lnTo>
                    <a:lnTo>
                      <a:pt x="578" y="126"/>
                    </a:lnTo>
                    <a:lnTo>
                      <a:pt x="576" y="126"/>
                    </a:lnTo>
                    <a:lnTo>
                      <a:pt x="576" y="124"/>
                    </a:lnTo>
                    <a:lnTo>
                      <a:pt x="574" y="124"/>
                    </a:lnTo>
                    <a:lnTo>
                      <a:pt x="574" y="124"/>
                    </a:lnTo>
                    <a:lnTo>
                      <a:pt x="574" y="124"/>
                    </a:lnTo>
                    <a:lnTo>
                      <a:pt x="574" y="124"/>
                    </a:lnTo>
                    <a:lnTo>
                      <a:pt x="574" y="122"/>
                    </a:lnTo>
                    <a:lnTo>
                      <a:pt x="576" y="120"/>
                    </a:lnTo>
                    <a:lnTo>
                      <a:pt x="576" y="120"/>
                    </a:lnTo>
                    <a:lnTo>
                      <a:pt x="576" y="120"/>
                    </a:lnTo>
                    <a:lnTo>
                      <a:pt x="576" y="118"/>
                    </a:lnTo>
                    <a:lnTo>
                      <a:pt x="576" y="118"/>
                    </a:lnTo>
                    <a:lnTo>
                      <a:pt x="576" y="118"/>
                    </a:lnTo>
                    <a:lnTo>
                      <a:pt x="576" y="118"/>
                    </a:lnTo>
                    <a:lnTo>
                      <a:pt x="576" y="118"/>
                    </a:lnTo>
                    <a:lnTo>
                      <a:pt x="578" y="118"/>
                    </a:lnTo>
                    <a:lnTo>
                      <a:pt x="578" y="118"/>
                    </a:lnTo>
                    <a:lnTo>
                      <a:pt x="582" y="120"/>
                    </a:lnTo>
                    <a:lnTo>
                      <a:pt x="582" y="120"/>
                    </a:lnTo>
                    <a:lnTo>
                      <a:pt x="584" y="120"/>
                    </a:lnTo>
                    <a:lnTo>
                      <a:pt x="586" y="120"/>
                    </a:lnTo>
                    <a:lnTo>
                      <a:pt x="590" y="120"/>
                    </a:lnTo>
                    <a:lnTo>
                      <a:pt x="590" y="120"/>
                    </a:lnTo>
                    <a:lnTo>
                      <a:pt x="594" y="120"/>
                    </a:lnTo>
                    <a:lnTo>
                      <a:pt x="596" y="120"/>
                    </a:lnTo>
                    <a:lnTo>
                      <a:pt x="596" y="120"/>
                    </a:lnTo>
                    <a:lnTo>
                      <a:pt x="598" y="118"/>
                    </a:lnTo>
                    <a:lnTo>
                      <a:pt x="600" y="118"/>
                    </a:lnTo>
                    <a:lnTo>
                      <a:pt x="600" y="116"/>
                    </a:lnTo>
                    <a:lnTo>
                      <a:pt x="602" y="116"/>
                    </a:lnTo>
                    <a:lnTo>
                      <a:pt x="600" y="116"/>
                    </a:lnTo>
                    <a:lnTo>
                      <a:pt x="600" y="116"/>
                    </a:lnTo>
                    <a:lnTo>
                      <a:pt x="600" y="114"/>
                    </a:lnTo>
                    <a:lnTo>
                      <a:pt x="600" y="114"/>
                    </a:lnTo>
                    <a:lnTo>
                      <a:pt x="600" y="114"/>
                    </a:lnTo>
                    <a:lnTo>
                      <a:pt x="596" y="114"/>
                    </a:lnTo>
                    <a:lnTo>
                      <a:pt x="592" y="114"/>
                    </a:lnTo>
                    <a:lnTo>
                      <a:pt x="592" y="114"/>
                    </a:lnTo>
                    <a:lnTo>
                      <a:pt x="586" y="114"/>
                    </a:lnTo>
                    <a:lnTo>
                      <a:pt x="586" y="114"/>
                    </a:lnTo>
                    <a:lnTo>
                      <a:pt x="584" y="114"/>
                    </a:lnTo>
                    <a:lnTo>
                      <a:pt x="584" y="114"/>
                    </a:lnTo>
                    <a:lnTo>
                      <a:pt x="584" y="112"/>
                    </a:lnTo>
                    <a:lnTo>
                      <a:pt x="584" y="112"/>
                    </a:lnTo>
                    <a:lnTo>
                      <a:pt x="584" y="112"/>
                    </a:lnTo>
                    <a:lnTo>
                      <a:pt x="586" y="112"/>
                    </a:lnTo>
                    <a:lnTo>
                      <a:pt x="588" y="112"/>
                    </a:lnTo>
                    <a:lnTo>
                      <a:pt x="592" y="112"/>
                    </a:lnTo>
                    <a:lnTo>
                      <a:pt x="592" y="112"/>
                    </a:lnTo>
                    <a:lnTo>
                      <a:pt x="600" y="112"/>
                    </a:lnTo>
                    <a:lnTo>
                      <a:pt x="600" y="112"/>
                    </a:lnTo>
                    <a:lnTo>
                      <a:pt x="604" y="112"/>
                    </a:lnTo>
                    <a:lnTo>
                      <a:pt x="608" y="110"/>
                    </a:lnTo>
                    <a:lnTo>
                      <a:pt x="608" y="110"/>
                    </a:lnTo>
                    <a:lnTo>
                      <a:pt x="614" y="110"/>
                    </a:lnTo>
                    <a:lnTo>
                      <a:pt x="614" y="110"/>
                    </a:lnTo>
                    <a:lnTo>
                      <a:pt x="618" y="110"/>
                    </a:lnTo>
                    <a:lnTo>
                      <a:pt x="620" y="110"/>
                    </a:lnTo>
                    <a:lnTo>
                      <a:pt x="622" y="110"/>
                    </a:lnTo>
                    <a:lnTo>
                      <a:pt x="622" y="110"/>
                    </a:lnTo>
                    <a:lnTo>
                      <a:pt x="624" y="108"/>
                    </a:lnTo>
                    <a:lnTo>
                      <a:pt x="624" y="108"/>
                    </a:lnTo>
                    <a:lnTo>
                      <a:pt x="624" y="108"/>
                    </a:lnTo>
                    <a:lnTo>
                      <a:pt x="624" y="106"/>
                    </a:lnTo>
                    <a:lnTo>
                      <a:pt x="624" y="106"/>
                    </a:lnTo>
                    <a:lnTo>
                      <a:pt x="624" y="104"/>
                    </a:lnTo>
                    <a:lnTo>
                      <a:pt x="624" y="104"/>
                    </a:lnTo>
                    <a:lnTo>
                      <a:pt x="624" y="100"/>
                    </a:lnTo>
                    <a:lnTo>
                      <a:pt x="626" y="98"/>
                    </a:lnTo>
                    <a:lnTo>
                      <a:pt x="626" y="98"/>
                    </a:lnTo>
                    <a:lnTo>
                      <a:pt x="626" y="98"/>
                    </a:lnTo>
                    <a:lnTo>
                      <a:pt x="628" y="96"/>
                    </a:lnTo>
                    <a:lnTo>
                      <a:pt x="630" y="94"/>
                    </a:lnTo>
                    <a:lnTo>
                      <a:pt x="630" y="94"/>
                    </a:lnTo>
                    <a:lnTo>
                      <a:pt x="630" y="94"/>
                    </a:lnTo>
                    <a:lnTo>
                      <a:pt x="632" y="94"/>
                    </a:lnTo>
                    <a:lnTo>
                      <a:pt x="634" y="94"/>
                    </a:lnTo>
                    <a:lnTo>
                      <a:pt x="638" y="94"/>
                    </a:lnTo>
                    <a:lnTo>
                      <a:pt x="638" y="94"/>
                    </a:lnTo>
                    <a:lnTo>
                      <a:pt x="640" y="94"/>
                    </a:lnTo>
                    <a:lnTo>
                      <a:pt x="642" y="92"/>
                    </a:lnTo>
                    <a:lnTo>
                      <a:pt x="644" y="92"/>
                    </a:lnTo>
                    <a:lnTo>
                      <a:pt x="644" y="92"/>
                    </a:lnTo>
                    <a:lnTo>
                      <a:pt x="648" y="92"/>
                    </a:lnTo>
                    <a:lnTo>
                      <a:pt x="648" y="90"/>
                    </a:lnTo>
                    <a:lnTo>
                      <a:pt x="648" y="90"/>
                    </a:lnTo>
                    <a:lnTo>
                      <a:pt x="648" y="88"/>
                    </a:lnTo>
                    <a:lnTo>
                      <a:pt x="648" y="88"/>
                    </a:lnTo>
                    <a:lnTo>
                      <a:pt x="648" y="88"/>
                    </a:lnTo>
                    <a:lnTo>
                      <a:pt x="648" y="86"/>
                    </a:lnTo>
                    <a:lnTo>
                      <a:pt x="648" y="86"/>
                    </a:lnTo>
                    <a:lnTo>
                      <a:pt x="646" y="84"/>
                    </a:lnTo>
                    <a:lnTo>
                      <a:pt x="646" y="84"/>
                    </a:lnTo>
                    <a:lnTo>
                      <a:pt x="642" y="82"/>
                    </a:lnTo>
                    <a:lnTo>
                      <a:pt x="638" y="78"/>
                    </a:lnTo>
                    <a:lnTo>
                      <a:pt x="638" y="78"/>
                    </a:lnTo>
                    <a:lnTo>
                      <a:pt x="636" y="78"/>
                    </a:lnTo>
                    <a:lnTo>
                      <a:pt x="636" y="78"/>
                    </a:lnTo>
                    <a:lnTo>
                      <a:pt x="630" y="76"/>
                    </a:lnTo>
                    <a:lnTo>
                      <a:pt x="624" y="78"/>
                    </a:lnTo>
                    <a:lnTo>
                      <a:pt x="624" y="78"/>
                    </a:lnTo>
                    <a:lnTo>
                      <a:pt x="620" y="78"/>
                    </a:lnTo>
                    <a:lnTo>
                      <a:pt x="616" y="78"/>
                    </a:lnTo>
                    <a:lnTo>
                      <a:pt x="608" y="76"/>
                    </a:lnTo>
                    <a:lnTo>
                      <a:pt x="608" y="76"/>
                    </a:lnTo>
                    <a:lnTo>
                      <a:pt x="604" y="76"/>
                    </a:lnTo>
                    <a:lnTo>
                      <a:pt x="602" y="74"/>
                    </a:lnTo>
                    <a:lnTo>
                      <a:pt x="602" y="74"/>
                    </a:lnTo>
                    <a:lnTo>
                      <a:pt x="602" y="74"/>
                    </a:lnTo>
                    <a:lnTo>
                      <a:pt x="600" y="74"/>
                    </a:lnTo>
                    <a:lnTo>
                      <a:pt x="600" y="76"/>
                    </a:lnTo>
                    <a:lnTo>
                      <a:pt x="600" y="76"/>
                    </a:lnTo>
                    <a:lnTo>
                      <a:pt x="598" y="76"/>
                    </a:lnTo>
                    <a:lnTo>
                      <a:pt x="598" y="76"/>
                    </a:lnTo>
                    <a:lnTo>
                      <a:pt x="598" y="76"/>
                    </a:lnTo>
                    <a:lnTo>
                      <a:pt x="596" y="80"/>
                    </a:lnTo>
                    <a:lnTo>
                      <a:pt x="594" y="82"/>
                    </a:lnTo>
                    <a:lnTo>
                      <a:pt x="594" y="82"/>
                    </a:lnTo>
                    <a:lnTo>
                      <a:pt x="594" y="84"/>
                    </a:lnTo>
                    <a:lnTo>
                      <a:pt x="594" y="84"/>
                    </a:lnTo>
                    <a:lnTo>
                      <a:pt x="594" y="84"/>
                    </a:lnTo>
                    <a:lnTo>
                      <a:pt x="594" y="86"/>
                    </a:lnTo>
                    <a:lnTo>
                      <a:pt x="594" y="88"/>
                    </a:lnTo>
                    <a:lnTo>
                      <a:pt x="594" y="88"/>
                    </a:lnTo>
                    <a:lnTo>
                      <a:pt x="594" y="88"/>
                    </a:lnTo>
                    <a:lnTo>
                      <a:pt x="592" y="88"/>
                    </a:lnTo>
                    <a:lnTo>
                      <a:pt x="592" y="88"/>
                    </a:lnTo>
                    <a:lnTo>
                      <a:pt x="588" y="88"/>
                    </a:lnTo>
                    <a:lnTo>
                      <a:pt x="588" y="88"/>
                    </a:lnTo>
                    <a:lnTo>
                      <a:pt x="586" y="84"/>
                    </a:lnTo>
                    <a:lnTo>
                      <a:pt x="586" y="84"/>
                    </a:lnTo>
                    <a:lnTo>
                      <a:pt x="584" y="84"/>
                    </a:lnTo>
                    <a:lnTo>
                      <a:pt x="582" y="84"/>
                    </a:lnTo>
                    <a:lnTo>
                      <a:pt x="582" y="84"/>
                    </a:lnTo>
                    <a:lnTo>
                      <a:pt x="580" y="82"/>
                    </a:lnTo>
                    <a:lnTo>
                      <a:pt x="580" y="82"/>
                    </a:lnTo>
                    <a:lnTo>
                      <a:pt x="578" y="82"/>
                    </a:lnTo>
                    <a:lnTo>
                      <a:pt x="578" y="82"/>
                    </a:lnTo>
                    <a:lnTo>
                      <a:pt x="578" y="82"/>
                    </a:lnTo>
                    <a:lnTo>
                      <a:pt x="576" y="82"/>
                    </a:lnTo>
                    <a:lnTo>
                      <a:pt x="576" y="82"/>
                    </a:lnTo>
                    <a:lnTo>
                      <a:pt x="576" y="82"/>
                    </a:lnTo>
                    <a:lnTo>
                      <a:pt x="576" y="82"/>
                    </a:lnTo>
                    <a:lnTo>
                      <a:pt x="574" y="82"/>
                    </a:lnTo>
                    <a:lnTo>
                      <a:pt x="572" y="82"/>
                    </a:lnTo>
                    <a:lnTo>
                      <a:pt x="570" y="80"/>
                    </a:lnTo>
                    <a:lnTo>
                      <a:pt x="570" y="78"/>
                    </a:lnTo>
                    <a:lnTo>
                      <a:pt x="570" y="78"/>
                    </a:lnTo>
                    <a:lnTo>
                      <a:pt x="568" y="76"/>
                    </a:lnTo>
                    <a:lnTo>
                      <a:pt x="568" y="74"/>
                    </a:lnTo>
                    <a:lnTo>
                      <a:pt x="566" y="72"/>
                    </a:lnTo>
                    <a:lnTo>
                      <a:pt x="566" y="72"/>
                    </a:lnTo>
                    <a:lnTo>
                      <a:pt x="566" y="72"/>
                    </a:lnTo>
                    <a:lnTo>
                      <a:pt x="566" y="72"/>
                    </a:lnTo>
                    <a:lnTo>
                      <a:pt x="564" y="72"/>
                    </a:lnTo>
                    <a:lnTo>
                      <a:pt x="564" y="72"/>
                    </a:lnTo>
                    <a:lnTo>
                      <a:pt x="564" y="72"/>
                    </a:lnTo>
                    <a:lnTo>
                      <a:pt x="564" y="74"/>
                    </a:lnTo>
                    <a:lnTo>
                      <a:pt x="564" y="78"/>
                    </a:lnTo>
                    <a:lnTo>
                      <a:pt x="564" y="78"/>
                    </a:lnTo>
                    <a:lnTo>
                      <a:pt x="562" y="82"/>
                    </a:lnTo>
                    <a:lnTo>
                      <a:pt x="562" y="82"/>
                    </a:lnTo>
                    <a:lnTo>
                      <a:pt x="560" y="84"/>
                    </a:lnTo>
                    <a:lnTo>
                      <a:pt x="560" y="84"/>
                    </a:lnTo>
                    <a:lnTo>
                      <a:pt x="558" y="86"/>
                    </a:lnTo>
                    <a:lnTo>
                      <a:pt x="558" y="86"/>
                    </a:lnTo>
                    <a:lnTo>
                      <a:pt x="554" y="86"/>
                    </a:lnTo>
                    <a:lnTo>
                      <a:pt x="554" y="86"/>
                    </a:lnTo>
                    <a:lnTo>
                      <a:pt x="552" y="88"/>
                    </a:lnTo>
                    <a:lnTo>
                      <a:pt x="552" y="88"/>
                    </a:lnTo>
                    <a:lnTo>
                      <a:pt x="552" y="90"/>
                    </a:lnTo>
                    <a:lnTo>
                      <a:pt x="552" y="90"/>
                    </a:lnTo>
                    <a:lnTo>
                      <a:pt x="552" y="90"/>
                    </a:lnTo>
                    <a:lnTo>
                      <a:pt x="550" y="92"/>
                    </a:lnTo>
                    <a:lnTo>
                      <a:pt x="550" y="94"/>
                    </a:lnTo>
                    <a:lnTo>
                      <a:pt x="548" y="96"/>
                    </a:lnTo>
                    <a:lnTo>
                      <a:pt x="548" y="96"/>
                    </a:lnTo>
                    <a:lnTo>
                      <a:pt x="548" y="96"/>
                    </a:lnTo>
                    <a:lnTo>
                      <a:pt x="546" y="96"/>
                    </a:lnTo>
                    <a:lnTo>
                      <a:pt x="544" y="96"/>
                    </a:lnTo>
                    <a:lnTo>
                      <a:pt x="544" y="96"/>
                    </a:lnTo>
                    <a:lnTo>
                      <a:pt x="542" y="96"/>
                    </a:lnTo>
                    <a:lnTo>
                      <a:pt x="540" y="98"/>
                    </a:lnTo>
                    <a:lnTo>
                      <a:pt x="540" y="98"/>
                    </a:lnTo>
                    <a:lnTo>
                      <a:pt x="538" y="98"/>
                    </a:lnTo>
                    <a:lnTo>
                      <a:pt x="538" y="100"/>
                    </a:lnTo>
                    <a:lnTo>
                      <a:pt x="538" y="100"/>
                    </a:lnTo>
                    <a:lnTo>
                      <a:pt x="538" y="104"/>
                    </a:lnTo>
                    <a:lnTo>
                      <a:pt x="538" y="104"/>
                    </a:lnTo>
                    <a:lnTo>
                      <a:pt x="538" y="104"/>
                    </a:lnTo>
                    <a:lnTo>
                      <a:pt x="538" y="106"/>
                    </a:lnTo>
                    <a:lnTo>
                      <a:pt x="538" y="106"/>
                    </a:lnTo>
                    <a:lnTo>
                      <a:pt x="536" y="106"/>
                    </a:lnTo>
                    <a:lnTo>
                      <a:pt x="534" y="108"/>
                    </a:lnTo>
                    <a:lnTo>
                      <a:pt x="530" y="110"/>
                    </a:lnTo>
                    <a:lnTo>
                      <a:pt x="530" y="110"/>
                    </a:lnTo>
                    <a:lnTo>
                      <a:pt x="528" y="110"/>
                    </a:lnTo>
                    <a:lnTo>
                      <a:pt x="528" y="110"/>
                    </a:lnTo>
                    <a:lnTo>
                      <a:pt x="526" y="110"/>
                    </a:lnTo>
                    <a:lnTo>
                      <a:pt x="526" y="110"/>
                    </a:lnTo>
                    <a:lnTo>
                      <a:pt x="526" y="108"/>
                    </a:lnTo>
                    <a:lnTo>
                      <a:pt x="526" y="108"/>
                    </a:lnTo>
                    <a:lnTo>
                      <a:pt x="526" y="106"/>
                    </a:lnTo>
                    <a:lnTo>
                      <a:pt x="528" y="104"/>
                    </a:lnTo>
                    <a:lnTo>
                      <a:pt x="528" y="104"/>
                    </a:lnTo>
                    <a:lnTo>
                      <a:pt x="528" y="104"/>
                    </a:lnTo>
                    <a:lnTo>
                      <a:pt x="532" y="96"/>
                    </a:lnTo>
                    <a:lnTo>
                      <a:pt x="534" y="94"/>
                    </a:lnTo>
                    <a:lnTo>
                      <a:pt x="536" y="92"/>
                    </a:lnTo>
                    <a:lnTo>
                      <a:pt x="536" y="92"/>
                    </a:lnTo>
                    <a:lnTo>
                      <a:pt x="538" y="88"/>
                    </a:lnTo>
                    <a:lnTo>
                      <a:pt x="540" y="84"/>
                    </a:lnTo>
                    <a:lnTo>
                      <a:pt x="540" y="84"/>
                    </a:lnTo>
                    <a:lnTo>
                      <a:pt x="542" y="82"/>
                    </a:lnTo>
                    <a:lnTo>
                      <a:pt x="544" y="82"/>
                    </a:lnTo>
                    <a:lnTo>
                      <a:pt x="546" y="80"/>
                    </a:lnTo>
                    <a:lnTo>
                      <a:pt x="546" y="80"/>
                    </a:lnTo>
                    <a:lnTo>
                      <a:pt x="548" y="78"/>
                    </a:lnTo>
                    <a:lnTo>
                      <a:pt x="552" y="76"/>
                    </a:lnTo>
                    <a:lnTo>
                      <a:pt x="552" y="74"/>
                    </a:lnTo>
                    <a:lnTo>
                      <a:pt x="554" y="74"/>
                    </a:lnTo>
                    <a:lnTo>
                      <a:pt x="554" y="72"/>
                    </a:lnTo>
                    <a:lnTo>
                      <a:pt x="554" y="70"/>
                    </a:lnTo>
                    <a:lnTo>
                      <a:pt x="554" y="70"/>
                    </a:lnTo>
                    <a:lnTo>
                      <a:pt x="552" y="68"/>
                    </a:lnTo>
                    <a:lnTo>
                      <a:pt x="552" y="68"/>
                    </a:lnTo>
                    <a:lnTo>
                      <a:pt x="550" y="64"/>
                    </a:lnTo>
                    <a:lnTo>
                      <a:pt x="550" y="64"/>
                    </a:lnTo>
                    <a:lnTo>
                      <a:pt x="550" y="64"/>
                    </a:lnTo>
                    <a:lnTo>
                      <a:pt x="548" y="62"/>
                    </a:lnTo>
                    <a:lnTo>
                      <a:pt x="548" y="62"/>
                    </a:lnTo>
                    <a:lnTo>
                      <a:pt x="548" y="60"/>
                    </a:lnTo>
                    <a:lnTo>
                      <a:pt x="546" y="60"/>
                    </a:lnTo>
                    <a:lnTo>
                      <a:pt x="546" y="60"/>
                    </a:lnTo>
                    <a:lnTo>
                      <a:pt x="544" y="58"/>
                    </a:lnTo>
                    <a:lnTo>
                      <a:pt x="544" y="58"/>
                    </a:lnTo>
                    <a:lnTo>
                      <a:pt x="544" y="58"/>
                    </a:lnTo>
                    <a:lnTo>
                      <a:pt x="540" y="58"/>
                    </a:lnTo>
                    <a:lnTo>
                      <a:pt x="540" y="58"/>
                    </a:lnTo>
                    <a:lnTo>
                      <a:pt x="534" y="58"/>
                    </a:lnTo>
                    <a:lnTo>
                      <a:pt x="534" y="58"/>
                    </a:lnTo>
                    <a:lnTo>
                      <a:pt x="530" y="58"/>
                    </a:lnTo>
                    <a:lnTo>
                      <a:pt x="528" y="58"/>
                    </a:lnTo>
                    <a:lnTo>
                      <a:pt x="528" y="58"/>
                    </a:lnTo>
                    <a:lnTo>
                      <a:pt x="528" y="58"/>
                    </a:lnTo>
                    <a:lnTo>
                      <a:pt x="528" y="58"/>
                    </a:lnTo>
                    <a:lnTo>
                      <a:pt x="528" y="60"/>
                    </a:lnTo>
                    <a:lnTo>
                      <a:pt x="528" y="60"/>
                    </a:lnTo>
                    <a:lnTo>
                      <a:pt x="528" y="64"/>
                    </a:lnTo>
                    <a:lnTo>
                      <a:pt x="528" y="64"/>
                    </a:lnTo>
                    <a:lnTo>
                      <a:pt x="528" y="68"/>
                    </a:lnTo>
                    <a:lnTo>
                      <a:pt x="528" y="68"/>
                    </a:lnTo>
                    <a:lnTo>
                      <a:pt x="528" y="72"/>
                    </a:lnTo>
                    <a:lnTo>
                      <a:pt x="528" y="72"/>
                    </a:lnTo>
                    <a:lnTo>
                      <a:pt x="526" y="74"/>
                    </a:lnTo>
                    <a:lnTo>
                      <a:pt x="526" y="74"/>
                    </a:lnTo>
                    <a:lnTo>
                      <a:pt x="524" y="76"/>
                    </a:lnTo>
                    <a:lnTo>
                      <a:pt x="522" y="76"/>
                    </a:lnTo>
                    <a:lnTo>
                      <a:pt x="522" y="76"/>
                    </a:lnTo>
                    <a:lnTo>
                      <a:pt x="522" y="76"/>
                    </a:lnTo>
                    <a:lnTo>
                      <a:pt x="520" y="76"/>
                    </a:lnTo>
                    <a:lnTo>
                      <a:pt x="520" y="76"/>
                    </a:lnTo>
                    <a:lnTo>
                      <a:pt x="516" y="76"/>
                    </a:lnTo>
                    <a:lnTo>
                      <a:pt x="516" y="76"/>
                    </a:lnTo>
                    <a:lnTo>
                      <a:pt x="512" y="76"/>
                    </a:lnTo>
                    <a:lnTo>
                      <a:pt x="512" y="76"/>
                    </a:lnTo>
                    <a:lnTo>
                      <a:pt x="510" y="78"/>
                    </a:lnTo>
                    <a:lnTo>
                      <a:pt x="508" y="78"/>
                    </a:lnTo>
                    <a:lnTo>
                      <a:pt x="508" y="78"/>
                    </a:lnTo>
                    <a:lnTo>
                      <a:pt x="506" y="78"/>
                    </a:lnTo>
                    <a:lnTo>
                      <a:pt x="504" y="78"/>
                    </a:lnTo>
                    <a:lnTo>
                      <a:pt x="504" y="78"/>
                    </a:lnTo>
                    <a:lnTo>
                      <a:pt x="502" y="78"/>
                    </a:lnTo>
                    <a:lnTo>
                      <a:pt x="500" y="78"/>
                    </a:lnTo>
                    <a:lnTo>
                      <a:pt x="500" y="78"/>
                    </a:lnTo>
                    <a:lnTo>
                      <a:pt x="498" y="80"/>
                    </a:lnTo>
                    <a:lnTo>
                      <a:pt x="496" y="80"/>
                    </a:lnTo>
                    <a:lnTo>
                      <a:pt x="496" y="80"/>
                    </a:lnTo>
                    <a:lnTo>
                      <a:pt x="494" y="82"/>
                    </a:lnTo>
                    <a:lnTo>
                      <a:pt x="492" y="82"/>
                    </a:lnTo>
                    <a:lnTo>
                      <a:pt x="492" y="82"/>
                    </a:lnTo>
                    <a:lnTo>
                      <a:pt x="492" y="84"/>
                    </a:lnTo>
                    <a:lnTo>
                      <a:pt x="490" y="84"/>
                    </a:lnTo>
                    <a:lnTo>
                      <a:pt x="490" y="84"/>
                    </a:lnTo>
                    <a:lnTo>
                      <a:pt x="488" y="84"/>
                    </a:lnTo>
                    <a:lnTo>
                      <a:pt x="488" y="84"/>
                    </a:lnTo>
                    <a:lnTo>
                      <a:pt x="488" y="82"/>
                    </a:lnTo>
                    <a:lnTo>
                      <a:pt x="490" y="80"/>
                    </a:lnTo>
                    <a:lnTo>
                      <a:pt x="490" y="80"/>
                    </a:lnTo>
                    <a:lnTo>
                      <a:pt x="494" y="78"/>
                    </a:lnTo>
                    <a:lnTo>
                      <a:pt x="494" y="78"/>
                    </a:lnTo>
                    <a:lnTo>
                      <a:pt x="496" y="76"/>
                    </a:lnTo>
                    <a:lnTo>
                      <a:pt x="496" y="74"/>
                    </a:lnTo>
                    <a:lnTo>
                      <a:pt x="500" y="72"/>
                    </a:lnTo>
                    <a:lnTo>
                      <a:pt x="500" y="72"/>
                    </a:lnTo>
                    <a:lnTo>
                      <a:pt x="504" y="70"/>
                    </a:lnTo>
                    <a:lnTo>
                      <a:pt x="504" y="70"/>
                    </a:lnTo>
                    <a:lnTo>
                      <a:pt x="506" y="70"/>
                    </a:lnTo>
                    <a:lnTo>
                      <a:pt x="508" y="70"/>
                    </a:lnTo>
                    <a:lnTo>
                      <a:pt x="508" y="70"/>
                    </a:lnTo>
                    <a:lnTo>
                      <a:pt x="508" y="68"/>
                    </a:lnTo>
                    <a:lnTo>
                      <a:pt x="508" y="68"/>
                    </a:lnTo>
                    <a:lnTo>
                      <a:pt x="508" y="66"/>
                    </a:lnTo>
                    <a:lnTo>
                      <a:pt x="508" y="66"/>
                    </a:lnTo>
                    <a:lnTo>
                      <a:pt x="508" y="64"/>
                    </a:lnTo>
                    <a:lnTo>
                      <a:pt x="508" y="64"/>
                    </a:lnTo>
                    <a:lnTo>
                      <a:pt x="508" y="64"/>
                    </a:lnTo>
                    <a:lnTo>
                      <a:pt x="508" y="62"/>
                    </a:lnTo>
                    <a:lnTo>
                      <a:pt x="508" y="62"/>
                    </a:lnTo>
                    <a:lnTo>
                      <a:pt x="508" y="60"/>
                    </a:lnTo>
                    <a:lnTo>
                      <a:pt x="508" y="60"/>
                    </a:lnTo>
                    <a:lnTo>
                      <a:pt x="506" y="60"/>
                    </a:lnTo>
                    <a:lnTo>
                      <a:pt x="504" y="60"/>
                    </a:lnTo>
                    <a:lnTo>
                      <a:pt x="504" y="60"/>
                    </a:lnTo>
                    <a:lnTo>
                      <a:pt x="494" y="64"/>
                    </a:lnTo>
                    <a:lnTo>
                      <a:pt x="494" y="64"/>
                    </a:lnTo>
                    <a:lnTo>
                      <a:pt x="492" y="66"/>
                    </a:lnTo>
                    <a:lnTo>
                      <a:pt x="488" y="66"/>
                    </a:lnTo>
                    <a:lnTo>
                      <a:pt x="482" y="66"/>
                    </a:lnTo>
                    <a:lnTo>
                      <a:pt x="482" y="66"/>
                    </a:lnTo>
                    <a:lnTo>
                      <a:pt x="478" y="64"/>
                    </a:lnTo>
                    <a:lnTo>
                      <a:pt x="472" y="64"/>
                    </a:lnTo>
                    <a:lnTo>
                      <a:pt x="472" y="64"/>
                    </a:lnTo>
                    <a:lnTo>
                      <a:pt x="468" y="66"/>
                    </a:lnTo>
                    <a:lnTo>
                      <a:pt x="464" y="66"/>
                    </a:lnTo>
                    <a:lnTo>
                      <a:pt x="464" y="66"/>
                    </a:lnTo>
                    <a:lnTo>
                      <a:pt x="460" y="68"/>
                    </a:lnTo>
                    <a:lnTo>
                      <a:pt x="460" y="68"/>
                    </a:lnTo>
                    <a:lnTo>
                      <a:pt x="458" y="70"/>
                    </a:lnTo>
                    <a:lnTo>
                      <a:pt x="458" y="70"/>
                    </a:lnTo>
                    <a:lnTo>
                      <a:pt x="456" y="70"/>
                    </a:lnTo>
                    <a:lnTo>
                      <a:pt x="456" y="70"/>
                    </a:lnTo>
                    <a:lnTo>
                      <a:pt x="454" y="70"/>
                    </a:lnTo>
                    <a:lnTo>
                      <a:pt x="454" y="70"/>
                    </a:lnTo>
                    <a:lnTo>
                      <a:pt x="448" y="70"/>
                    </a:lnTo>
                    <a:lnTo>
                      <a:pt x="448" y="70"/>
                    </a:lnTo>
                    <a:lnTo>
                      <a:pt x="446" y="70"/>
                    </a:lnTo>
                    <a:lnTo>
                      <a:pt x="444" y="70"/>
                    </a:lnTo>
                    <a:lnTo>
                      <a:pt x="444" y="70"/>
                    </a:lnTo>
                    <a:lnTo>
                      <a:pt x="442" y="72"/>
                    </a:lnTo>
                    <a:lnTo>
                      <a:pt x="440" y="72"/>
                    </a:lnTo>
                    <a:lnTo>
                      <a:pt x="440" y="72"/>
                    </a:lnTo>
                    <a:lnTo>
                      <a:pt x="438" y="74"/>
                    </a:lnTo>
                    <a:lnTo>
                      <a:pt x="436" y="74"/>
                    </a:lnTo>
                    <a:lnTo>
                      <a:pt x="436" y="74"/>
                    </a:lnTo>
                    <a:lnTo>
                      <a:pt x="436" y="76"/>
                    </a:lnTo>
                    <a:lnTo>
                      <a:pt x="434" y="76"/>
                    </a:lnTo>
                    <a:lnTo>
                      <a:pt x="434" y="76"/>
                    </a:lnTo>
                    <a:lnTo>
                      <a:pt x="434" y="76"/>
                    </a:lnTo>
                    <a:lnTo>
                      <a:pt x="434" y="76"/>
                    </a:lnTo>
                    <a:lnTo>
                      <a:pt x="432" y="76"/>
                    </a:lnTo>
                    <a:lnTo>
                      <a:pt x="432" y="74"/>
                    </a:lnTo>
                    <a:lnTo>
                      <a:pt x="432" y="74"/>
                    </a:lnTo>
                    <a:lnTo>
                      <a:pt x="432" y="70"/>
                    </a:lnTo>
                    <a:lnTo>
                      <a:pt x="432" y="70"/>
                    </a:lnTo>
                    <a:lnTo>
                      <a:pt x="432" y="68"/>
                    </a:lnTo>
                    <a:lnTo>
                      <a:pt x="434" y="68"/>
                    </a:lnTo>
                    <a:lnTo>
                      <a:pt x="434" y="68"/>
                    </a:lnTo>
                    <a:lnTo>
                      <a:pt x="434" y="68"/>
                    </a:lnTo>
                    <a:lnTo>
                      <a:pt x="436" y="68"/>
                    </a:lnTo>
                    <a:lnTo>
                      <a:pt x="438" y="66"/>
                    </a:lnTo>
                    <a:lnTo>
                      <a:pt x="442" y="64"/>
                    </a:lnTo>
                    <a:lnTo>
                      <a:pt x="442" y="64"/>
                    </a:lnTo>
                    <a:lnTo>
                      <a:pt x="446" y="62"/>
                    </a:lnTo>
                    <a:lnTo>
                      <a:pt x="446" y="62"/>
                    </a:lnTo>
                    <a:lnTo>
                      <a:pt x="448" y="62"/>
                    </a:lnTo>
                    <a:lnTo>
                      <a:pt x="450" y="60"/>
                    </a:lnTo>
                    <a:lnTo>
                      <a:pt x="450" y="60"/>
                    </a:lnTo>
                    <a:lnTo>
                      <a:pt x="450" y="60"/>
                    </a:lnTo>
                    <a:lnTo>
                      <a:pt x="452" y="58"/>
                    </a:lnTo>
                    <a:lnTo>
                      <a:pt x="452" y="56"/>
                    </a:lnTo>
                    <a:lnTo>
                      <a:pt x="450" y="54"/>
                    </a:lnTo>
                    <a:lnTo>
                      <a:pt x="450" y="54"/>
                    </a:lnTo>
                    <a:lnTo>
                      <a:pt x="450" y="54"/>
                    </a:lnTo>
                    <a:lnTo>
                      <a:pt x="448" y="52"/>
                    </a:lnTo>
                    <a:lnTo>
                      <a:pt x="448" y="52"/>
                    </a:lnTo>
                    <a:lnTo>
                      <a:pt x="448" y="52"/>
                    </a:lnTo>
                    <a:lnTo>
                      <a:pt x="448" y="50"/>
                    </a:lnTo>
                    <a:lnTo>
                      <a:pt x="450" y="50"/>
                    </a:lnTo>
                    <a:lnTo>
                      <a:pt x="450" y="50"/>
                    </a:lnTo>
                    <a:lnTo>
                      <a:pt x="450" y="50"/>
                    </a:lnTo>
                    <a:lnTo>
                      <a:pt x="452" y="48"/>
                    </a:lnTo>
                    <a:lnTo>
                      <a:pt x="454" y="48"/>
                    </a:lnTo>
                    <a:lnTo>
                      <a:pt x="454" y="48"/>
                    </a:lnTo>
                    <a:lnTo>
                      <a:pt x="454" y="48"/>
                    </a:lnTo>
                    <a:lnTo>
                      <a:pt x="456" y="48"/>
                    </a:lnTo>
                    <a:lnTo>
                      <a:pt x="456" y="48"/>
                    </a:lnTo>
                    <a:lnTo>
                      <a:pt x="458" y="50"/>
                    </a:lnTo>
                    <a:lnTo>
                      <a:pt x="458" y="50"/>
                    </a:lnTo>
                    <a:lnTo>
                      <a:pt x="460" y="52"/>
                    </a:lnTo>
                    <a:lnTo>
                      <a:pt x="460" y="52"/>
                    </a:lnTo>
                    <a:lnTo>
                      <a:pt x="462" y="52"/>
                    </a:lnTo>
                    <a:lnTo>
                      <a:pt x="462" y="52"/>
                    </a:lnTo>
                    <a:lnTo>
                      <a:pt x="464" y="52"/>
                    </a:lnTo>
                    <a:lnTo>
                      <a:pt x="468" y="54"/>
                    </a:lnTo>
                    <a:lnTo>
                      <a:pt x="468" y="54"/>
                    </a:lnTo>
                    <a:lnTo>
                      <a:pt x="472" y="54"/>
                    </a:lnTo>
                    <a:lnTo>
                      <a:pt x="476" y="54"/>
                    </a:lnTo>
                    <a:lnTo>
                      <a:pt x="476" y="54"/>
                    </a:lnTo>
                    <a:lnTo>
                      <a:pt x="482" y="54"/>
                    </a:lnTo>
                    <a:lnTo>
                      <a:pt x="482" y="54"/>
                    </a:lnTo>
                    <a:lnTo>
                      <a:pt x="484" y="54"/>
                    </a:lnTo>
                    <a:lnTo>
                      <a:pt x="488" y="54"/>
                    </a:lnTo>
                    <a:lnTo>
                      <a:pt x="488" y="54"/>
                    </a:lnTo>
                    <a:lnTo>
                      <a:pt x="494" y="54"/>
                    </a:lnTo>
                    <a:lnTo>
                      <a:pt x="494" y="54"/>
                    </a:lnTo>
                    <a:lnTo>
                      <a:pt x="498" y="54"/>
                    </a:lnTo>
                    <a:lnTo>
                      <a:pt x="502" y="54"/>
                    </a:lnTo>
                    <a:lnTo>
                      <a:pt x="502" y="54"/>
                    </a:lnTo>
                    <a:lnTo>
                      <a:pt x="504" y="52"/>
                    </a:lnTo>
                    <a:lnTo>
                      <a:pt x="506" y="52"/>
                    </a:lnTo>
                    <a:lnTo>
                      <a:pt x="506" y="52"/>
                    </a:lnTo>
                    <a:lnTo>
                      <a:pt x="510" y="52"/>
                    </a:lnTo>
                    <a:lnTo>
                      <a:pt x="514" y="52"/>
                    </a:lnTo>
                    <a:lnTo>
                      <a:pt x="514" y="52"/>
                    </a:lnTo>
                    <a:lnTo>
                      <a:pt x="516" y="52"/>
                    </a:lnTo>
                    <a:lnTo>
                      <a:pt x="516" y="50"/>
                    </a:lnTo>
                    <a:lnTo>
                      <a:pt x="516" y="50"/>
                    </a:lnTo>
                    <a:lnTo>
                      <a:pt x="520" y="52"/>
                    </a:lnTo>
                    <a:lnTo>
                      <a:pt x="522" y="52"/>
                    </a:lnTo>
                    <a:lnTo>
                      <a:pt x="522" y="52"/>
                    </a:lnTo>
                    <a:lnTo>
                      <a:pt x="528" y="52"/>
                    </a:lnTo>
                    <a:lnTo>
                      <a:pt x="528" y="52"/>
                    </a:lnTo>
                    <a:lnTo>
                      <a:pt x="534" y="52"/>
                    </a:lnTo>
                    <a:lnTo>
                      <a:pt x="534" y="52"/>
                    </a:lnTo>
                    <a:lnTo>
                      <a:pt x="534" y="52"/>
                    </a:lnTo>
                    <a:lnTo>
                      <a:pt x="536" y="52"/>
                    </a:lnTo>
                    <a:lnTo>
                      <a:pt x="536" y="52"/>
                    </a:lnTo>
                    <a:lnTo>
                      <a:pt x="536" y="50"/>
                    </a:lnTo>
                    <a:lnTo>
                      <a:pt x="536" y="50"/>
                    </a:lnTo>
                    <a:lnTo>
                      <a:pt x="534" y="48"/>
                    </a:lnTo>
                    <a:lnTo>
                      <a:pt x="534" y="48"/>
                    </a:lnTo>
                    <a:lnTo>
                      <a:pt x="534" y="48"/>
                    </a:lnTo>
                    <a:lnTo>
                      <a:pt x="534" y="48"/>
                    </a:lnTo>
                    <a:lnTo>
                      <a:pt x="536" y="48"/>
                    </a:lnTo>
                    <a:lnTo>
                      <a:pt x="536" y="48"/>
                    </a:lnTo>
                    <a:lnTo>
                      <a:pt x="538" y="46"/>
                    </a:lnTo>
                    <a:lnTo>
                      <a:pt x="538" y="46"/>
                    </a:lnTo>
                    <a:lnTo>
                      <a:pt x="538" y="46"/>
                    </a:lnTo>
                    <a:lnTo>
                      <a:pt x="538" y="46"/>
                    </a:lnTo>
                    <a:lnTo>
                      <a:pt x="536" y="44"/>
                    </a:lnTo>
                    <a:lnTo>
                      <a:pt x="534" y="44"/>
                    </a:lnTo>
                    <a:lnTo>
                      <a:pt x="532" y="42"/>
                    </a:lnTo>
                    <a:lnTo>
                      <a:pt x="526" y="42"/>
                    </a:lnTo>
                    <a:lnTo>
                      <a:pt x="524" y="42"/>
                    </a:lnTo>
                    <a:lnTo>
                      <a:pt x="524" y="40"/>
                    </a:lnTo>
                    <a:lnTo>
                      <a:pt x="524" y="40"/>
                    </a:lnTo>
                    <a:lnTo>
                      <a:pt x="522" y="40"/>
                    </a:lnTo>
                    <a:lnTo>
                      <a:pt x="522" y="38"/>
                    </a:lnTo>
                    <a:lnTo>
                      <a:pt x="522" y="34"/>
                    </a:lnTo>
                    <a:lnTo>
                      <a:pt x="522" y="34"/>
                    </a:lnTo>
                    <a:lnTo>
                      <a:pt x="524" y="26"/>
                    </a:lnTo>
                    <a:lnTo>
                      <a:pt x="524" y="26"/>
                    </a:lnTo>
                    <a:lnTo>
                      <a:pt x="524" y="24"/>
                    </a:lnTo>
                    <a:lnTo>
                      <a:pt x="524" y="24"/>
                    </a:lnTo>
                    <a:lnTo>
                      <a:pt x="524" y="24"/>
                    </a:lnTo>
                    <a:lnTo>
                      <a:pt x="524" y="24"/>
                    </a:lnTo>
                    <a:lnTo>
                      <a:pt x="524" y="24"/>
                    </a:lnTo>
                    <a:lnTo>
                      <a:pt x="522" y="24"/>
                    </a:lnTo>
                    <a:lnTo>
                      <a:pt x="522" y="24"/>
                    </a:lnTo>
                    <a:lnTo>
                      <a:pt x="522" y="24"/>
                    </a:lnTo>
                    <a:lnTo>
                      <a:pt x="520" y="24"/>
                    </a:lnTo>
                    <a:lnTo>
                      <a:pt x="520" y="24"/>
                    </a:lnTo>
                    <a:lnTo>
                      <a:pt x="518" y="26"/>
                    </a:lnTo>
                    <a:lnTo>
                      <a:pt x="516" y="26"/>
                    </a:lnTo>
                    <a:lnTo>
                      <a:pt x="516" y="26"/>
                    </a:lnTo>
                    <a:lnTo>
                      <a:pt x="514" y="26"/>
                    </a:lnTo>
                    <a:lnTo>
                      <a:pt x="512" y="26"/>
                    </a:lnTo>
                    <a:lnTo>
                      <a:pt x="512" y="26"/>
                    </a:lnTo>
                    <a:lnTo>
                      <a:pt x="510" y="24"/>
                    </a:lnTo>
                    <a:lnTo>
                      <a:pt x="510" y="24"/>
                    </a:lnTo>
                    <a:lnTo>
                      <a:pt x="506" y="24"/>
                    </a:lnTo>
                    <a:lnTo>
                      <a:pt x="506" y="24"/>
                    </a:lnTo>
                    <a:lnTo>
                      <a:pt x="502" y="24"/>
                    </a:lnTo>
                    <a:lnTo>
                      <a:pt x="502" y="24"/>
                    </a:lnTo>
                    <a:lnTo>
                      <a:pt x="492" y="22"/>
                    </a:lnTo>
                    <a:lnTo>
                      <a:pt x="488" y="22"/>
                    </a:lnTo>
                    <a:lnTo>
                      <a:pt x="486" y="22"/>
                    </a:lnTo>
                    <a:lnTo>
                      <a:pt x="484" y="22"/>
                    </a:lnTo>
                    <a:lnTo>
                      <a:pt x="484" y="22"/>
                    </a:lnTo>
                    <a:lnTo>
                      <a:pt x="480" y="24"/>
                    </a:lnTo>
                    <a:lnTo>
                      <a:pt x="476" y="24"/>
                    </a:lnTo>
                    <a:lnTo>
                      <a:pt x="476" y="24"/>
                    </a:lnTo>
                    <a:lnTo>
                      <a:pt x="468" y="26"/>
                    </a:lnTo>
                    <a:lnTo>
                      <a:pt x="468" y="26"/>
                    </a:lnTo>
                    <a:lnTo>
                      <a:pt x="464" y="28"/>
                    </a:lnTo>
                    <a:lnTo>
                      <a:pt x="460" y="30"/>
                    </a:lnTo>
                    <a:lnTo>
                      <a:pt x="460" y="30"/>
                    </a:lnTo>
                    <a:lnTo>
                      <a:pt x="456" y="30"/>
                    </a:lnTo>
                    <a:lnTo>
                      <a:pt x="456" y="30"/>
                    </a:lnTo>
                    <a:lnTo>
                      <a:pt x="446" y="30"/>
                    </a:lnTo>
                    <a:lnTo>
                      <a:pt x="446" y="30"/>
                    </a:lnTo>
                    <a:lnTo>
                      <a:pt x="442" y="28"/>
                    </a:lnTo>
                    <a:lnTo>
                      <a:pt x="440" y="28"/>
                    </a:lnTo>
                    <a:lnTo>
                      <a:pt x="438" y="28"/>
                    </a:lnTo>
                    <a:lnTo>
                      <a:pt x="438" y="28"/>
                    </a:lnTo>
                    <a:lnTo>
                      <a:pt x="436" y="30"/>
                    </a:lnTo>
                    <a:lnTo>
                      <a:pt x="432" y="32"/>
                    </a:lnTo>
                    <a:lnTo>
                      <a:pt x="432" y="32"/>
                    </a:lnTo>
                    <a:lnTo>
                      <a:pt x="432" y="34"/>
                    </a:lnTo>
                    <a:lnTo>
                      <a:pt x="430" y="34"/>
                    </a:lnTo>
                    <a:lnTo>
                      <a:pt x="428" y="36"/>
                    </a:lnTo>
                    <a:lnTo>
                      <a:pt x="426" y="38"/>
                    </a:lnTo>
                    <a:lnTo>
                      <a:pt x="426" y="38"/>
                    </a:lnTo>
                    <a:lnTo>
                      <a:pt x="424" y="42"/>
                    </a:lnTo>
                    <a:lnTo>
                      <a:pt x="424" y="44"/>
                    </a:lnTo>
                    <a:lnTo>
                      <a:pt x="420" y="46"/>
                    </a:lnTo>
                    <a:lnTo>
                      <a:pt x="420" y="46"/>
                    </a:lnTo>
                    <a:lnTo>
                      <a:pt x="420" y="46"/>
                    </a:lnTo>
                    <a:lnTo>
                      <a:pt x="420" y="42"/>
                    </a:lnTo>
                    <a:lnTo>
                      <a:pt x="420" y="42"/>
                    </a:lnTo>
                    <a:lnTo>
                      <a:pt x="418" y="38"/>
                    </a:lnTo>
                    <a:lnTo>
                      <a:pt x="418" y="38"/>
                    </a:lnTo>
                    <a:lnTo>
                      <a:pt x="418" y="38"/>
                    </a:lnTo>
                    <a:lnTo>
                      <a:pt x="418" y="38"/>
                    </a:lnTo>
                    <a:lnTo>
                      <a:pt x="416" y="38"/>
                    </a:lnTo>
                    <a:lnTo>
                      <a:pt x="414" y="38"/>
                    </a:lnTo>
                    <a:lnTo>
                      <a:pt x="414" y="38"/>
                    </a:lnTo>
                    <a:lnTo>
                      <a:pt x="414" y="38"/>
                    </a:lnTo>
                    <a:lnTo>
                      <a:pt x="412" y="38"/>
                    </a:lnTo>
                    <a:lnTo>
                      <a:pt x="412" y="36"/>
                    </a:lnTo>
                    <a:lnTo>
                      <a:pt x="412" y="34"/>
                    </a:lnTo>
                    <a:lnTo>
                      <a:pt x="412" y="34"/>
                    </a:lnTo>
                    <a:lnTo>
                      <a:pt x="414" y="32"/>
                    </a:lnTo>
                    <a:lnTo>
                      <a:pt x="414" y="32"/>
                    </a:lnTo>
                    <a:lnTo>
                      <a:pt x="414" y="32"/>
                    </a:lnTo>
                    <a:lnTo>
                      <a:pt x="414" y="30"/>
                    </a:lnTo>
                    <a:lnTo>
                      <a:pt x="414" y="30"/>
                    </a:lnTo>
                    <a:lnTo>
                      <a:pt x="414" y="30"/>
                    </a:lnTo>
                    <a:lnTo>
                      <a:pt x="414" y="30"/>
                    </a:lnTo>
                    <a:lnTo>
                      <a:pt x="416" y="30"/>
                    </a:lnTo>
                    <a:lnTo>
                      <a:pt x="418" y="32"/>
                    </a:lnTo>
                    <a:lnTo>
                      <a:pt x="418" y="32"/>
                    </a:lnTo>
                    <a:lnTo>
                      <a:pt x="418" y="32"/>
                    </a:lnTo>
                    <a:lnTo>
                      <a:pt x="420" y="34"/>
                    </a:lnTo>
                    <a:lnTo>
                      <a:pt x="426" y="32"/>
                    </a:lnTo>
                    <a:lnTo>
                      <a:pt x="428" y="32"/>
                    </a:lnTo>
                    <a:lnTo>
                      <a:pt x="428" y="30"/>
                    </a:lnTo>
                    <a:lnTo>
                      <a:pt x="428" y="30"/>
                    </a:lnTo>
                    <a:lnTo>
                      <a:pt x="432" y="28"/>
                    </a:lnTo>
                    <a:lnTo>
                      <a:pt x="432" y="28"/>
                    </a:lnTo>
                    <a:lnTo>
                      <a:pt x="434" y="26"/>
                    </a:lnTo>
                    <a:lnTo>
                      <a:pt x="434" y="26"/>
                    </a:lnTo>
                    <a:lnTo>
                      <a:pt x="434" y="26"/>
                    </a:lnTo>
                    <a:lnTo>
                      <a:pt x="434" y="26"/>
                    </a:lnTo>
                    <a:lnTo>
                      <a:pt x="434" y="24"/>
                    </a:lnTo>
                    <a:lnTo>
                      <a:pt x="434" y="24"/>
                    </a:lnTo>
                    <a:lnTo>
                      <a:pt x="432" y="24"/>
                    </a:lnTo>
                    <a:lnTo>
                      <a:pt x="432" y="24"/>
                    </a:lnTo>
                    <a:lnTo>
                      <a:pt x="430" y="24"/>
                    </a:lnTo>
                    <a:lnTo>
                      <a:pt x="430" y="24"/>
                    </a:lnTo>
                    <a:lnTo>
                      <a:pt x="430" y="22"/>
                    </a:lnTo>
                    <a:lnTo>
                      <a:pt x="430" y="22"/>
                    </a:lnTo>
                    <a:lnTo>
                      <a:pt x="430" y="22"/>
                    </a:lnTo>
                    <a:lnTo>
                      <a:pt x="430" y="22"/>
                    </a:lnTo>
                    <a:lnTo>
                      <a:pt x="430" y="22"/>
                    </a:lnTo>
                    <a:lnTo>
                      <a:pt x="430" y="22"/>
                    </a:lnTo>
                    <a:lnTo>
                      <a:pt x="434" y="22"/>
                    </a:lnTo>
                    <a:lnTo>
                      <a:pt x="438" y="22"/>
                    </a:lnTo>
                    <a:lnTo>
                      <a:pt x="438" y="22"/>
                    </a:lnTo>
                    <a:lnTo>
                      <a:pt x="440" y="22"/>
                    </a:lnTo>
                    <a:lnTo>
                      <a:pt x="440" y="22"/>
                    </a:lnTo>
                    <a:lnTo>
                      <a:pt x="440" y="22"/>
                    </a:lnTo>
                    <a:lnTo>
                      <a:pt x="442" y="24"/>
                    </a:lnTo>
                    <a:lnTo>
                      <a:pt x="442" y="24"/>
                    </a:lnTo>
                    <a:lnTo>
                      <a:pt x="444" y="24"/>
                    </a:lnTo>
                    <a:lnTo>
                      <a:pt x="444" y="24"/>
                    </a:lnTo>
                    <a:lnTo>
                      <a:pt x="444" y="24"/>
                    </a:lnTo>
                    <a:lnTo>
                      <a:pt x="446" y="24"/>
                    </a:lnTo>
                    <a:lnTo>
                      <a:pt x="448" y="24"/>
                    </a:lnTo>
                    <a:lnTo>
                      <a:pt x="450" y="24"/>
                    </a:lnTo>
                    <a:lnTo>
                      <a:pt x="452" y="22"/>
                    </a:lnTo>
                    <a:lnTo>
                      <a:pt x="452" y="22"/>
                    </a:lnTo>
                    <a:lnTo>
                      <a:pt x="452" y="22"/>
                    </a:lnTo>
                    <a:lnTo>
                      <a:pt x="454" y="20"/>
                    </a:lnTo>
                    <a:lnTo>
                      <a:pt x="454" y="20"/>
                    </a:lnTo>
                    <a:lnTo>
                      <a:pt x="456" y="20"/>
                    </a:lnTo>
                    <a:lnTo>
                      <a:pt x="456" y="22"/>
                    </a:lnTo>
                    <a:lnTo>
                      <a:pt x="456" y="22"/>
                    </a:lnTo>
                    <a:lnTo>
                      <a:pt x="458" y="22"/>
                    </a:lnTo>
                    <a:lnTo>
                      <a:pt x="460" y="22"/>
                    </a:lnTo>
                    <a:lnTo>
                      <a:pt x="462" y="22"/>
                    </a:lnTo>
                    <a:lnTo>
                      <a:pt x="464" y="22"/>
                    </a:lnTo>
                    <a:lnTo>
                      <a:pt x="464" y="22"/>
                    </a:lnTo>
                    <a:lnTo>
                      <a:pt x="468" y="20"/>
                    </a:lnTo>
                    <a:lnTo>
                      <a:pt x="468" y="20"/>
                    </a:lnTo>
                    <a:lnTo>
                      <a:pt x="472" y="20"/>
                    </a:lnTo>
                    <a:lnTo>
                      <a:pt x="472" y="20"/>
                    </a:lnTo>
                    <a:lnTo>
                      <a:pt x="474" y="20"/>
                    </a:lnTo>
                    <a:lnTo>
                      <a:pt x="476" y="18"/>
                    </a:lnTo>
                    <a:lnTo>
                      <a:pt x="480" y="18"/>
                    </a:lnTo>
                    <a:lnTo>
                      <a:pt x="480" y="18"/>
                    </a:lnTo>
                    <a:lnTo>
                      <a:pt x="484" y="16"/>
                    </a:lnTo>
                    <a:lnTo>
                      <a:pt x="486" y="16"/>
                    </a:lnTo>
                    <a:lnTo>
                      <a:pt x="488" y="16"/>
                    </a:lnTo>
                    <a:lnTo>
                      <a:pt x="488" y="16"/>
                    </a:lnTo>
                    <a:lnTo>
                      <a:pt x="492" y="16"/>
                    </a:lnTo>
                    <a:lnTo>
                      <a:pt x="492" y="16"/>
                    </a:lnTo>
                    <a:lnTo>
                      <a:pt x="498" y="16"/>
                    </a:lnTo>
                    <a:lnTo>
                      <a:pt x="500" y="16"/>
                    </a:lnTo>
                    <a:lnTo>
                      <a:pt x="502" y="16"/>
                    </a:lnTo>
                    <a:lnTo>
                      <a:pt x="502" y="16"/>
                    </a:lnTo>
                    <a:lnTo>
                      <a:pt x="504" y="16"/>
                    </a:lnTo>
                    <a:lnTo>
                      <a:pt x="504" y="16"/>
                    </a:lnTo>
                    <a:lnTo>
                      <a:pt x="508" y="16"/>
                    </a:lnTo>
                    <a:lnTo>
                      <a:pt x="508" y="16"/>
                    </a:lnTo>
                    <a:lnTo>
                      <a:pt x="510" y="16"/>
                    </a:lnTo>
                    <a:lnTo>
                      <a:pt x="510" y="16"/>
                    </a:lnTo>
                    <a:lnTo>
                      <a:pt x="510" y="16"/>
                    </a:lnTo>
                    <a:lnTo>
                      <a:pt x="510" y="16"/>
                    </a:lnTo>
                    <a:lnTo>
                      <a:pt x="510" y="14"/>
                    </a:lnTo>
                    <a:lnTo>
                      <a:pt x="510" y="14"/>
                    </a:lnTo>
                    <a:lnTo>
                      <a:pt x="508" y="14"/>
                    </a:lnTo>
                    <a:lnTo>
                      <a:pt x="508" y="14"/>
                    </a:lnTo>
                    <a:lnTo>
                      <a:pt x="506" y="12"/>
                    </a:lnTo>
                    <a:lnTo>
                      <a:pt x="504" y="12"/>
                    </a:lnTo>
                    <a:lnTo>
                      <a:pt x="504" y="12"/>
                    </a:lnTo>
                    <a:lnTo>
                      <a:pt x="502" y="10"/>
                    </a:lnTo>
                    <a:lnTo>
                      <a:pt x="496" y="10"/>
                    </a:lnTo>
                    <a:lnTo>
                      <a:pt x="496" y="10"/>
                    </a:lnTo>
                    <a:lnTo>
                      <a:pt x="492" y="8"/>
                    </a:lnTo>
                    <a:lnTo>
                      <a:pt x="486" y="8"/>
                    </a:lnTo>
                    <a:lnTo>
                      <a:pt x="486" y="8"/>
                    </a:lnTo>
                    <a:lnTo>
                      <a:pt x="482" y="8"/>
                    </a:lnTo>
                    <a:lnTo>
                      <a:pt x="478" y="8"/>
                    </a:lnTo>
                    <a:lnTo>
                      <a:pt x="478" y="8"/>
                    </a:lnTo>
                    <a:lnTo>
                      <a:pt x="472" y="6"/>
                    </a:lnTo>
                    <a:lnTo>
                      <a:pt x="466" y="6"/>
                    </a:lnTo>
                    <a:lnTo>
                      <a:pt x="466" y="6"/>
                    </a:lnTo>
                    <a:lnTo>
                      <a:pt x="462" y="6"/>
                    </a:lnTo>
                    <a:lnTo>
                      <a:pt x="458" y="6"/>
                    </a:lnTo>
                    <a:lnTo>
                      <a:pt x="456" y="6"/>
                    </a:lnTo>
                    <a:lnTo>
                      <a:pt x="456" y="6"/>
                    </a:lnTo>
                    <a:lnTo>
                      <a:pt x="454" y="8"/>
                    </a:lnTo>
                    <a:lnTo>
                      <a:pt x="454" y="8"/>
                    </a:lnTo>
                    <a:lnTo>
                      <a:pt x="454" y="8"/>
                    </a:lnTo>
                    <a:lnTo>
                      <a:pt x="452" y="8"/>
                    </a:lnTo>
                    <a:lnTo>
                      <a:pt x="452" y="8"/>
                    </a:lnTo>
                    <a:lnTo>
                      <a:pt x="452" y="8"/>
                    </a:lnTo>
                    <a:lnTo>
                      <a:pt x="450" y="6"/>
                    </a:lnTo>
                    <a:lnTo>
                      <a:pt x="450" y="6"/>
                    </a:lnTo>
                    <a:lnTo>
                      <a:pt x="448" y="6"/>
                    </a:lnTo>
                    <a:lnTo>
                      <a:pt x="448" y="6"/>
                    </a:lnTo>
                    <a:lnTo>
                      <a:pt x="448" y="6"/>
                    </a:lnTo>
                    <a:lnTo>
                      <a:pt x="444" y="4"/>
                    </a:lnTo>
                    <a:lnTo>
                      <a:pt x="444" y="4"/>
                    </a:lnTo>
                    <a:lnTo>
                      <a:pt x="442" y="4"/>
                    </a:lnTo>
                    <a:lnTo>
                      <a:pt x="442" y="4"/>
                    </a:lnTo>
                    <a:lnTo>
                      <a:pt x="438" y="4"/>
                    </a:lnTo>
                    <a:lnTo>
                      <a:pt x="438" y="4"/>
                    </a:lnTo>
                    <a:lnTo>
                      <a:pt x="436" y="4"/>
                    </a:lnTo>
                    <a:lnTo>
                      <a:pt x="434" y="4"/>
                    </a:lnTo>
                    <a:lnTo>
                      <a:pt x="432" y="4"/>
                    </a:lnTo>
                    <a:lnTo>
                      <a:pt x="430" y="4"/>
                    </a:lnTo>
                    <a:lnTo>
                      <a:pt x="430" y="4"/>
                    </a:lnTo>
                    <a:lnTo>
                      <a:pt x="428" y="4"/>
                    </a:lnTo>
                    <a:lnTo>
                      <a:pt x="428" y="4"/>
                    </a:lnTo>
                    <a:lnTo>
                      <a:pt x="426" y="2"/>
                    </a:lnTo>
                    <a:lnTo>
                      <a:pt x="426" y="2"/>
                    </a:lnTo>
                    <a:lnTo>
                      <a:pt x="424" y="0"/>
                    </a:lnTo>
                    <a:lnTo>
                      <a:pt x="420" y="0"/>
                    </a:lnTo>
                    <a:lnTo>
                      <a:pt x="418" y="0"/>
                    </a:lnTo>
                    <a:lnTo>
                      <a:pt x="418" y="0"/>
                    </a:lnTo>
                    <a:lnTo>
                      <a:pt x="414" y="0"/>
                    </a:lnTo>
                    <a:lnTo>
                      <a:pt x="408" y="0"/>
                    </a:lnTo>
                    <a:lnTo>
                      <a:pt x="408" y="0"/>
                    </a:lnTo>
                    <a:lnTo>
                      <a:pt x="406" y="0"/>
                    </a:lnTo>
                    <a:lnTo>
                      <a:pt x="406" y="0"/>
                    </a:lnTo>
                    <a:lnTo>
                      <a:pt x="404" y="0"/>
                    </a:lnTo>
                    <a:lnTo>
                      <a:pt x="404" y="2"/>
                    </a:lnTo>
                    <a:lnTo>
                      <a:pt x="404" y="2"/>
                    </a:lnTo>
                    <a:lnTo>
                      <a:pt x="402" y="4"/>
                    </a:lnTo>
                    <a:lnTo>
                      <a:pt x="402" y="6"/>
                    </a:lnTo>
                    <a:lnTo>
                      <a:pt x="400" y="6"/>
                    </a:lnTo>
                    <a:lnTo>
                      <a:pt x="400" y="6"/>
                    </a:lnTo>
                    <a:lnTo>
                      <a:pt x="398" y="6"/>
                    </a:lnTo>
                    <a:lnTo>
                      <a:pt x="398" y="6"/>
                    </a:lnTo>
                    <a:lnTo>
                      <a:pt x="396" y="4"/>
                    </a:lnTo>
                    <a:lnTo>
                      <a:pt x="396" y="4"/>
                    </a:lnTo>
                    <a:lnTo>
                      <a:pt x="392" y="4"/>
                    </a:lnTo>
                    <a:lnTo>
                      <a:pt x="392" y="4"/>
                    </a:lnTo>
                    <a:lnTo>
                      <a:pt x="390" y="4"/>
                    </a:lnTo>
                    <a:lnTo>
                      <a:pt x="390" y="4"/>
                    </a:lnTo>
                    <a:lnTo>
                      <a:pt x="386" y="2"/>
                    </a:lnTo>
                    <a:lnTo>
                      <a:pt x="384" y="2"/>
                    </a:lnTo>
                    <a:lnTo>
                      <a:pt x="384" y="2"/>
                    </a:lnTo>
                    <a:lnTo>
                      <a:pt x="384" y="2"/>
                    </a:lnTo>
                    <a:lnTo>
                      <a:pt x="382" y="2"/>
                    </a:lnTo>
                    <a:lnTo>
                      <a:pt x="382" y="2"/>
                    </a:lnTo>
                    <a:lnTo>
                      <a:pt x="380" y="4"/>
                    </a:lnTo>
                    <a:lnTo>
                      <a:pt x="380" y="4"/>
                    </a:lnTo>
                    <a:lnTo>
                      <a:pt x="378" y="4"/>
                    </a:lnTo>
                    <a:lnTo>
                      <a:pt x="376" y="6"/>
                    </a:lnTo>
                    <a:lnTo>
                      <a:pt x="376" y="6"/>
                    </a:lnTo>
                    <a:lnTo>
                      <a:pt x="374" y="8"/>
                    </a:lnTo>
                    <a:lnTo>
                      <a:pt x="374" y="8"/>
                    </a:lnTo>
                    <a:lnTo>
                      <a:pt x="374" y="10"/>
                    </a:lnTo>
                    <a:lnTo>
                      <a:pt x="374" y="10"/>
                    </a:lnTo>
                    <a:lnTo>
                      <a:pt x="374" y="12"/>
                    </a:lnTo>
                    <a:lnTo>
                      <a:pt x="376" y="12"/>
                    </a:lnTo>
                    <a:lnTo>
                      <a:pt x="376" y="12"/>
                    </a:lnTo>
                    <a:lnTo>
                      <a:pt x="376" y="14"/>
                    </a:lnTo>
                    <a:lnTo>
                      <a:pt x="376" y="16"/>
                    </a:lnTo>
                    <a:lnTo>
                      <a:pt x="376" y="16"/>
                    </a:lnTo>
                    <a:lnTo>
                      <a:pt x="378" y="20"/>
                    </a:lnTo>
                    <a:lnTo>
                      <a:pt x="378" y="20"/>
                    </a:lnTo>
                    <a:lnTo>
                      <a:pt x="380" y="20"/>
                    </a:lnTo>
                    <a:lnTo>
                      <a:pt x="380" y="22"/>
                    </a:lnTo>
                    <a:lnTo>
                      <a:pt x="382" y="22"/>
                    </a:lnTo>
                    <a:lnTo>
                      <a:pt x="382" y="22"/>
                    </a:lnTo>
                    <a:lnTo>
                      <a:pt x="382" y="24"/>
                    </a:lnTo>
                    <a:lnTo>
                      <a:pt x="382" y="24"/>
                    </a:lnTo>
                    <a:lnTo>
                      <a:pt x="382" y="24"/>
                    </a:lnTo>
                    <a:lnTo>
                      <a:pt x="380" y="24"/>
                    </a:lnTo>
                    <a:lnTo>
                      <a:pt x="380" y="24"/>
                    </a:lnTo>
                    <a:lnTo>
                      <a:pt x="378" y="24"/>
                    </a:lnTo>
                    <a:lnTo>
                      <a:pt x="378" y="24"/>
                    </a:lnTo>
                    <a:lnTo>
                      <a:pt x="376" y="24"/>
                    </a:lnTo>
                    <a:lnTo>
                      <a:pt x="374" y="24"/>
                    </a:lnTo>
                    <a:lnTo>
                      <a:pt x="374" y="24"/>
                    </a:lnTo>
                    <a:lnTo>
                      <a:pt x="372" y="24"/>
                    </a:lnTo>
                    <a:lnTo>
                      <a:pt x="370" y="22"/>
                    </a:lnTo>
                    <a:lnTo>
                      <a:pt x="370" y="22"/>
                    </a:lnTo>
                    <a:lnTo>
                      <a:pt x="366" y="22"/>
                    </a:lnTo>
                    <a:lnTo>
                      <a:pt x="364" y="20"/>
                    </a:lnTo>
                    <a:lnTo>
                      <a:pt x="364" y="20"/>
                    </a:lnTo>
                    <a:lnTo>
                      <a:pt x="360" y="20"/>
                    </a:lnTo>
                    <a:lnTo>
                      <a:pt x="356" y="18"/>
                    </a:lnTo>
                    <a:lnTo>
                      <a:pt x="356" y="18"/>
                    </a:lnTo>
                    <a:lnTo>
                      <a:pt x="352" y="16"/>
                    </a:lnTo>
                    <a:lnTo>
                      <a:pt x="350" y="14"/>
                    </a:lnTo>
                    <a:lnTo>
                      <a:pt x="350" y="14"/>
                    </a:lnTo>
                    <a:lnTo>
                      <a:pt x="346" y="14"/>
                    </a:lnTo>
                    <a:lnTo>
                      <a:pt x="346" y="12"/>
                    </a:lnTo>
                    <a:lnTo>
                      <a:pt x="346" y="10"/>
                    </a:lnTo>
                    <a:lnTo>
                      <a:pt x="346" y="10"/>
                    </a:lnTo>
                    <a:lnTo>
                      <a:pt x="344" y="8"/>
                    </a:lnTo>
                    <a:lnTo>
                      <a:pt x="346" y="6"/>
                    </a:lnTo>
                    <a:lnTo>
                      <a:pt x="346" y="4"/>
                    </a:lnTo>
                    <a:lnTo>
                      <a:pt x="346" y="2"/>
                    </a:lnTo>
                    <a:lnTo>
                      <a:pt x="346" y="2"/>
                    </a:lnTo>
                    <a:lnTo>
                      <a:pt x="344" y="2"/>
                    </a:lnTo>
                    <a:lnTo>
                      <a:pt x="344" y="0"/>
                    </a:lnTo>
                    <a:lnTo>
                      <a:pt x="342" y="0"/>
                    </a:lnTo>
                    <a:lnTo>
                      <a:pt x="342" y="0"/>
                    </a:lnTo>
                    <a:lnTo>
                      <a:pt x="340" y="0"/>
                    </a:lnTo>
                    <a:lnTo>
                      <a:pt x="340" y="0"/>
                    </a:lnTo>
                    <a:lnTo>
                      <a:pt x="334" y="0"/>
                    </a:lnTo>
                    <a:lnTo>
                      <a:pt x="330" y="0"/>
                    </a:lnTo>
                    <a:lnTo>
                      <a:pt x="330" y="0"/>
                    </a:lnTo>
                    <a:lnTo>
                      <a:pt x="328" y="0"/>
                    </a:lnTo>
                    <a:lnTo>
                      <a:pt x="328" y="0"/>
                    </a:lnTo>
                    <a:lnTo>
                      <a:pt x="328" y="0"/>
                    </a:lnTo>
                    <a:lnTo>
                      <a:pt x="328" y="0"/>
                    </a:lnTo>
                    <a:lnTo>
                      <a:pt x="326" y="2"/>
                    </a:lnTo>
                    <a:lnTo>
                      <a:pt x="324" y="4"/>
                    </a:lnTo>
                    <a:lnTo>
                      <a:pt x="324" y="4"/>
                    </a:lnTo>
                    <a:lnTo>
                      <a:pt x="324" y="4"/>
                    </a:lnTo>
                    <a:lnTo>
                      <a:pt x="324" y="6"/>
                    </a:lnTo>
                    <a:lnTo>
                      <a:pt x="324" y="6"/>
                    </a:lnTo>
                    <a:lnTo>
                      <a:pt x="324" y="8"/>
                    </a:lnTo>
                    <a:lnTo>
                      <a:pt x="326" y="10"/>
                    </a:lnTo>
                    <a:lnTo>
                      <a:pt x="326" y="10"/>
                    </a:lnTo>
                    <a:lnTo>
                      <a:pt x="324" y="10"/>
                    </a:lnTo>
                    <a:lnTo>
                      <a:pt x="324" y="10"/>
                    </a:lnTo>
                    <a:lnTo>
                      <a:pt x="324" y="10"/>
                    </a:lnTo>
                    <a:lnTo>
                      <a:pt x="322" y="10"/>
                    </a:lnTo>
                    <a:lnTo>
                      <a:pt x="320" y="8"/>
                    </a:lnTo>
                    <a:lnTo>
                      <a:pt x="320" y="8"/>
                    </a:lnTo>
                    <a:lnTo>
                      <a:pt x="318" y="8"/>
                    </a:lnTo>
                    <a:lnTo>
                      <a:pt x="316" y="8"/>
                    </a:lnTo>
                    <a:lnTo>
                      <a:pt x="316" y="8"/>
                    </a:lnTo>
                    <a:lnTo>
                      <a:pt x="314" y="8"/>
                    </a:lnTo>
                    <a:lnTo>
                      <a:pt x="312" y="10"/>
                    </a:lnTo>
                    <a:lnTo>
                      <a:pt x="312" y="10"/>
                    </a:lnTo>
                    <a:lnTo>
                      <a:pt x="312" y="10"/>
                    </a:lnTo>
                    <a:lnTo>
                      <a:pt x="312" y="10"/>
                    </a:lnTo>
                    <a:lnTo>
                      <a:pt x="314" y="12"/>
                    </a:lnTo>
                    <a:lnTo>
                      <a:pt x="316" y="14"/>
                    </a:lnTo>
                    <a:lnTo>
                      <a:pt x="316" y="14"/>
                    </a:lnTo>
                    <a:lnTo>
                      <a:pt x="318" y="14"/>
                    </a:lnTo>
                    <a:lnTo>
                      <a:pt x="318" y="14"/>
                    </a:lnTo>
                    <a:lnTo>
                      <a:pt x="318" y="16"/>
                    </a:lnTo>
                    <a:lnTo>
                      <a:pt x="318" y="16"/>
                    </a:lnTo>
                    <a:lnTo>
                      <a:pt x="318" y="16"/>
                    </a:lnTo>
                    <a:lnTo>
                      <a:pt x="316" y="16"/>
                    </a:lnTo>
                    <a:lnTo>
                      <a:pt x="314" y="16"/>
                    </a:lnTo>
                    <a:lnTo>
                      <a:pt x="314" y="16"/>
                    </a:lnTo>
                    <a:lnTo>
                      <a:pt x="312" y="16"/>
                    </a:lnTo>
                    <a:lnTo>
                      <a:pt x="312" y="16"/>
                    </a:lnTo>
                    <a:lnTo>
                      <a:pt x="312" y="18"/>
                    </a:lnTo>
                    <a:lnTo>
                      <a:pt x="312" y="18"/>
                    </a:lnTo>
                    <a:lnTo>
                      <a:pt x="312" y="18"/>
                    </a:lnTo>
                    <a:lnTo>
                      <a:pt x="314" y="20"/>
                    </a:lnTo>
                    <a:lnTo>
                      <a:pt x="314" y="20"/>
                    </a:lnTo>
                    <a:lnTo>
                      <a:pt x="314" y="22"/>
                    </a:lnTo>
                    <a:lnTo>
                      <a:pt x="314" y="22"/>
                    </a:lnTo>
                    <a:lnTo>
                      <a:pt x="318" y="22"/>
                    </a:lnTo>
                    <a:lnTo>
                      <a:pt x="320" y="22"/>
                    </a:lnTo>
                    <a:lnTo>
                      <a:pt x="320" y="22"/>
                    </a:lnTo>
                    <a:lnTo>
                      <a:pt x="328" y="24"/>
                    </a:lnTo>
                    <a:lnTo>
                      <a:pt x="328" y="24"/>
                    </a:lnTo>
                    <a:lnTo>
                      <a:pt x="334" y="24"/>
                    </a:lnTo>
                    <a:lnTo>
                      <a:pt x="340" y="24"/>
                    </a:lnTo>
                    <a:lnTo>
                      <a:pt x="340" y="24"/>
                    </a:lnTo>
                    <a:lnTo>
                      <a:pt x="344" y="26"/>
                    </a:lnTo>
                    <a:lnTo>
                      <a:pt x="344" y="26"/>
                    </a:lnTo>
                    <a:lnTo>
                      <a:pt x="348" y="26"/>
                    </a:lnTo>
                    <a:lnTo>
                      <a:pt x="350" y="26"/>
                    </a:lnTo>
                    <a:lnTo>
                      <a:pt x="350" y="26"/>
                    </a:lnTo>
                    <a:lnTo>
                      <a:pt x="352" y="26"/>
                    </a:lnTo>
                    <a:lnTo>
                      <a:pt x="354" y="28"/>
                    </a:lnTo>
                    <a:lnTo>
                      <a:pt x="358" y="30"/>
                    </a:lnTo>
                    <a:lnTo>
                      <a:pt x="358" y="30"/>
                    </a:lnTo>
                    <a:lnTo>
                      <a:pt x="360" y="34"/>
                    </a:lnTo>
                    <a:lnTo>
                      <a:pt x="360" y="34"/>
                    </a:lnTo>
                    <a:lnTo>
                      <a:pt x="360" y="34"/>
                    </a:lnTo>
                    <a:lnTo>
                      <a:pt x="362" y="36"/>
                    </a:lnTo>
                    <a:lnTo>
                      <a:pt x="362" y="36"/>
                    </a:lnTo>
                    <a:lnTo>
                      <a:pt x="362" y="36"/>
                    </a:lnTo>
                    <a:lnTo>
                      <a:pt x="362" y="36"/>
                    </a:lnTo>
                    <a:lnTo>
                      <a:pt x="362" y="38"/>
                    </a:lnTo>
                    <a:lnTo>
                      <a:pt x="360" y="40"/>
                    </a:lnTo>
                    <a:lnTo>
                      <a:pt x="360" y="40"/>
                    </a:lnTo>
                    <a:lnTo>
                      <a:pt x="360" y="40"/>
                    </a:lnTo>
                    <a:lnTo>
                      <a:pt x="358" y="40"/>
                    </a:lnTo>
                    <a:lnTo>
                      <a:pt x="358" y="40"/>
                    </a:lnTo>
                    <a:lnTo>
                      <a:pt x="358" y="40"/>
                    </a:lnTo>
                    <a:lnTo>
                      <a:pt x="358" y="40"/>
                    </a:lnTo>
                    <a:lnTo>
                      <a:pt x="358" y="38"/>
                    </a:lnTo>
                    <a:lnTo>
                      <a:pt x="356" y="38"/>
                    </a:lnTo>
                    <a:lnTo>
                      <a:pt x="356" y="38"/>
                    </a:lnTo>
                    <a:lnTo>
                      <a:pt x="356" y="36"/>
                    </a:lnTo>
                    <a:lnTo>
                      <a:pt x="354" y="34"/>
                    </a:lnTo>
                    <a:lnTo>
                      <a:pt x="354" y="34"/>
                    </a:lnTo>
                    <a:lnTo>
                      <a:pt x="352" y="32"/>
                    </a:lnTo>
                    <a:lnTo>
                      <a:pt x="350" y="32"/>
                    </a:lnTo>
                    <a:lnTo>
                      <a:pt x="348" y="32"/>
                    </a:lnTo>
                    <a:lnTo>
                      <a:pt x="346" y="30"/>
                    </a:lnTo>
                    <a:lnTo>
                      <a:pt x="346" y="30"/>
                    </a:lnTo>
                    <a:lnTo>
                      <a:pt x="338" y="30"/>
                    </a:lnTo>
                    <a:lnTo>
                      <a:pt x="338" y="30"/>
                    </a:lnTo>
                    <a:lnTo>
                      <a:pt x="332" y="30"/>
                    </a:lnTo>
                    <a:lnTo>
                      <a:pt x="332" y="30"/>
                    </a:lnTo>
                    <a:lnTo>
                      <a:pt x="330" y="30"/>
                    </a:lnTo>
                    <a:lnTo>
                      <a:pt x="328" y="30"/>
                    </a:lnTo>
                    <a:lnTo>
                      <a:pt x="328" y="30"/>
                    </a:lnTo>
                    <a:lnTo>
                      <a:pt x="328" y="32"/>
                    </a:lnTo>
                    <a:lnTo>
                      <a:pt x="328" y="32"/>
                    </a:lnTo>
                    <a:lnTo>
                      <a:pt x="328" y="32"/>
                    </a:lnTo>
                    <a:lnTo>
                      <a:pt x="328" y="34"/>
                    </a:lnTo>
                    <a:lnTo>
                      <a:pt x="328" y="34"/>
                    </a:lnTo>
                    <a:lnTo>
                      <a:pt x="328" y="34"/>
                    </a:lnTo>
                    <a:lnTo>
                      <a:pt x="328" y="36"/>
                    </a:lnTo>
                    <a:lnTo>
                      <a:pt x="328" y="36"/>
                    </a:lnTo>
                    <a:lnTo>
                      <a:pt x="328" y="36"/>
                    </a:lnTo>
                    <a:lnTo>
                      <a:pt x="328" y="36"/>
                    </a:lnTo>
                    <a:lnTo>
                      <a:pt x="326" y="34"/>
                    </a:lnTo>
                    <a:lnTo>
                      <a:pt x="326" y="34"/>
                    </a:lnTo>
                    <a:lnTo>
                      <a:pt x="324" y="34"/>
                    </a:lnTo>
                    <a:lnTo>
                      <a:pt x="322" y="32"/>
                    </a:lnTo>
                    <a:lnTo>
                      <a:pt x="322" y="32"/>
                    </a:lnTo>
                    <a:lnTo>
                      <a:pt x="320" y="32"/>
                    </a:lnTo>
                    <a:lnTo>
                      <a:pt x="320" y="32"/>
                    </a:lnTo>
                    <a:lnTo>
                      <a:pt x="318" y="34"/>
                    </a:lnTo>
                    <a:lnTo>
                      <a:pt x="318" y="34"/>
                    </a:lnTo>
                    <a:lnTo>
                      <a:pt x="316" y="34"/>
                    </a:lnTo>
                    <a:lnTo>
                      <a:pt x="314" y="36"/>
                    </a:lnTo>
                    <a:lnTo>
                      <a:pt x="314" y="36"/>
                    </a:lnTo>
                    <a:lnTo>
                      <a:pt x="314" y="36"/>
                    </a:lnTo>
                    <a:lnTo>
                      <a:pt x="314" y="38"/>
                    </a:lnTo>
                    <a:lnTo>
                      <a:pt x="314" y="40"/>
                    </a:lnTo>
                    <a:lnTo>
                      <a:pt x="314" y="44"/>
                    </a:lnTo>
                    <a:lnTo>
                      <a:pt x="314" y="44"/>
                    </a:lnTo>
                    <a:lnTo>
                      <a:pt x="316" y="46"/>
                    </a:lnTo>
                    <a:lnTo>
                      <a:pt x="316" y="48"/>
                    </a:lnTo>
                    <a:lnTo>
                      <a:pt x="316" y="48"/>
                    </a:lnTo>
                    <a:lnTo>
                      <a:pt x="316" y="50"/>
                    </a:lnTo>
                    <a:lnTo>
                      <a:pt x="316" y="50"/>
                    </a:lnTo>
                    <a:lnTo>
                      <a:pt x="314" y="50"/>
                    </a:lnTo>
                    <a:lnTo>
                      <a:pt x="314" y="50"/>
                    </a:lnTo>
                    <a:lnTo>
                      <a:pt x="312" y="50"/>
                    </a:lnTo>
                    <a:lnTo>
                      <a:pt x="310" y="50"/>
                    </a:lnTo>
                    <a:lnTo>
                      <a:pt x="310" y="50"/>
                    </a:lnTo>
                    <a:lnTo>
                      <a:pt x="310" y="50"/>
                    </a:lnTo>
                    <a:lnTo>
                      <a:pt x="310" y="48"/>
                    </a:lnTo>
                    <a:lnTo>
                      <a:pt x="308" y="48"/>
                    </a:lnTo>
                    <a:lnTo>
                      <a:pt x="308" y="48"/>
                    </a:lnTo>
                    <a:lnTo>
                      <a:pt x="308" y="48"/>
                    </a:lnTo>
                    <a:lnTo>
                      <a:pt x="306" y="46"/>
                    </a:lnTo>
                    <a:lnTo>
                      <a:pt x="306" y="46"/>
                    </a:lnTo>
                    <a:lnTo>
                      <a:pt x="306" y="46"/>
                    </a:lnTo>
                    <a:lnTo>
                      <a:pt x="306" y="46"/>
                    </a:lnTo>
                    <a:lnTo>
                      <a:pt x="304" y="44"/>
                    </a:lnTo>
                    <a:lnTo>
                      <a:pt x="302" y="42"/>
                    </a:lnTo>
                    <a:lnTo>
                      <a:pt x="302" y="42"/>
                    </a:lnTo>
                    <a:lnTo>
                      <a:pt x="300" y="38"/>
                    </a:lnTo>
                    <a:lnTo>
                      <a:pt x="298" y="32"/>
                    </a:lnTo>
                    <a:lnTo>
                      <a:pt x="298" y="32"/>
                    </a:lnTo>
                    <a:lnTo>
                      <a:pt x="296" y="30"/>
                    </a:lnTo>
                    <a:lnTo>
                      <a:pt x="294" y="28"/>
                    </a:lnTo>
                    <a:lnTo>
                      <a:pt x="294" y="28"/>
                    </a:lnTo>
                    <a:lnTo>
                      <a:pt x="292" y="26"/>
                    </a:lnTo>
                    <a:lnTo>
                      <a:pt x="292" y="26"/>
                    </a:lnTo>
                    <a:lnTo>
                      <a:pt x="290" y="26"/>
                    </a:lnTo>
                    <a:lnTo>
                      <a:pt x="290" y="26"/>
                    </a:lnTo>
                    <a:lnTo>
                      <a:pt x="290" y="26"/>
                    </a:lnTo>
                    <a:lnTo>
                      <a:pt x="288" y="26"/>
                    </a:lnTo>
                    <a:lnTo>
                      <a:pt x="288" y="26"/>
                    </a:lnTo>
                    <a:lnTo>
                      <a:pt x="286" y="26"/>
                    </a:lnTo>
                    <a:lnTo>
                      <a:pt x="286" y="26"/>
                    </a:lnTo>
                    <a:lnTo>
                      <a:pt x="286" y="24"/>
                    </a:lnTo>
                    <a:lnTo>
                      <a:pt x="284" y="26"/>
                    </a:lnTo>
                    <a:lnTo>
                      <a:pt x="282" y="26"/>
                    </a:lnTo>
                    <a:lnTo>
                      <a:pt x="280" y="26"/>
                    </a:lnTo>
                    <a:lnTo>
                      <a:pt x="278" y="26"/>
                    </a:lnTo>
                    <a:lnTo>
                      <a:pt x="276" y="24"/>
                    </a:lnTo>
                    <a:lnTo>
                      <a:pt x="276" y="24"/>
                    </a:lnTo>
                    <a:lnTo>
                      <a:pt x="274" y="24"/>
                    </a:lnTo>
                    <a:lnTo>
                      <a:pt x="272" y="24"/>
                    </a:lnTo>
                    <a:lnTo>
                      <a:pt x="270" y="20"/>
                    </a:lnTo>
                    <a:lnTo>
                      <a:pt x="270" y="20"/>
                    </a:lnTo>
                    <a:lnTo>
                      <a:pt x="268" y="16"/>
                    </a:lnTo>
                    <a:lnTo>
                      <a:pt x="266" y="14"/>
                    </a:lnTo>
                    <a:lnTo>
                      <a:pt x="266" y="12"/>
                    </a:lnTo>
                    <a:lnTo>
                      <a:pt x="266" y="12"/>
                    </a:lnTo>
                    <a:lnTo>
                      <a:pt x="264" y="12"/>
                    </a:lnTo>
                    <a:lnTo>
                      <a:pt x="264" y="12"/>
                    </a:lnTo>
                    <a:lnTo>
                      <a:pt x="262" y="12"/>
                    </a:lnTo>
                    <a:lnTo>
                      <a:pt x="260" y="12"/>
                    </a:lnTo>
                    <a:lnTo>
                      <a:pt x="258" y="14"/>
                    </a:lnTo>
                    <a:lnTo>
                      <a:pt x="258" y="14"/>
                    </a:lnTo>
                    <a:lnTo>
                      <a:pt x="256" y="16"/>
                    </a:lnTo>
                    <a:lnTo>
                      <a:pt x="254" y="16"/>
                    </a:lnTo>
                    <a:lnTo>
                      <a:pt x="252" y="18"/>
                    </a:lnTo>
                    <a:lnTo>
                      <a:pt x="252" y="18"/>
                    </a:lnTo>
                    <a:lnTo>
                      <a:pt x="252" y="20"/>
                    </a:lnTo>
                    <a:lnTo>
                      <a:pt x="252" y="22"/>
                    </a:lnTo>
                    <a:lnTo>
                      <a:pt x="252" y="24"/>
                    </a:lnTo>
                    <a:lnTo>
                      <a:pt x="252" y="24"/>
                    </a:lnTo>
                    <a:lnTo>
                      <a:pt x="252" y="24"/>
                    </a:lnTo>
                    <a:lnTo>
                      <a:pt x="254" y="26"/>
                    </a:lnTo>
                    <a:lnTo>
                      <a:pt x="256" y="28"/>
                    </a:lnTo>
                    <a:lnTo>
                      <a:pt x="256" y="28"/>
                    </a:lnTo>
                    <a:lnTo>
                      <a:pt x="256" y="30"/>
                    </a:lnTo>
                    <a:lnTo>
                      <a:pt x="256" y="32"/>
                    </a:lnTo>
                    <a:lnTo>
                      <a:pt x="256" y="32"/>
                    </a:lnTo>
                    <a:lnTo>
                      <a:pt x="258" y="36"/>
                    </a:lnTo>
                    <a:lnTo>
                      <a:pt x="258" y="36"/>
                    </a:lnTo>
                    <a:lnTo>
                      <a:pt x="258" y="38"/>
                    </a:lnTo>
                    <a:lnTo>
                      <a:pt x="258" y="38"/>
                    </a:lnTo>
                    <a:lnTo>
                      <a:pt x="258" y="40"/>
                    </a:lnTo>
                    <a:lnTo>
                      <a:pt x="258" y="40"/>
                    </a:lnTo>
                    <a:lnTo>
                      <a:pt x="258" y="40"/>
                    </a:lnTo>
                    <a:lnTo>
                      <a:pt x="258" y="40"/>
                    </a:lnTo>
                    <a:lnTo>
                      <a:pt x="256" y="40"/>
                    </a:lnTo>
                    <a:lnTo>
                      <a:pt x="254" y="40"/>
                    </a:lnTo>
                    <a:lnTo>
                      <a:pt x="252" y="38"/>
                    </a:lnTo>
                    <a:lnTo>
                      <a:pt x="252" y="38"/>
                    </a:lnTo>
                    <a:lnTo>
                      <a:pt x="250" y="38"/>
                    </a:lnTo>
                    <a:lnTo>
                      <a:pt x="250" y="36"/>
                    </a:lnTo>
                    <a:lnTo>
                      <a:pt x="248" y="34"/>
                    </a:lnTo>
                    <a:lnTo>
                      <a:pt x="246" y="34"/>
                    </a:lnTo>
                    <a:lnTo>
                      <a:pt x="246" y="34"/>
                    </a:lnTo>
                    <a:lnTo>
                      <a:pt x="244" y="34"/>
                    </a:lnTo>
                    <a:lnTo>
                      <a:pt x="242" y="34"/>
                    </a:lnTo>
                    <a:lnTo>
                      <a:pt x="240" y="34"/>
                    </a:lnTo>
                    <a:lnTo>
                      <a:pt x="238" y="32"/>
                    </a:lnTo>
                    <a:lnTo>
                      <a:pt x="238" y="32"/>
                    </a:lnTo>
                    <a:lnTo>
                      <a:pt x="238" y="32"/>
                    </a:lnTo>
                    <a:lnTo>
                      <a:pt x="236" y="32"/>
                    </a:lnTo>
                    <a:lnTo>
                      <a:pt x="236" y="30"/>
                    </a:lnTo>
                    <a:lnTo>
                      <a:pt x="234" y="28"/>
                    </a:lnTo>
                    <a:lnTo>
                      <a:pt x="234" y="26"/>
                    </a:lnTo>
                    <a:lnTo>
                      <a:pt x="232" y="26"/>
                    </a:lnTo>
                    <a:lnTo>
                      <a:pt x="232" y="26"/>
                    </a:lnTo>
                    <a:lnTo>
                      <a:pt x="232" y="26"/>
                    </a:lnTo>
                    <a:lnTo>
                      <a:pt x="230" y="26"/>
                    </a:lnTo>
                    <a:lnTo>
                      <a:pt x="230" y="28"/>
                    </a:lnTo>
                    <a:lnTo>
                      <a:pt x="230" y="28"/>
                    </a:lnTo>
                    <a:lnTo>
                      <a:pt x="228" y="28"/>
                    </a:lnTo>
                    <a:lnTo>
                      <a:pt x="226" y="28"/>
                    </a:lnTo>
                    <a:lnTo>
                      <a:pt x="226" y="28"/>
                    </a:lnTo>
                    <a:lnTo>
                      <a:pt x="224" y="30"/>
                    </a:lnTo>
                    <a:lnTo>
                      <a:pt x="222" y="30"/>
                    </a:lnTo>
                    <a:lnTo>
                      <a:pt x="222" y="34"/>
                    </a:lnTo>
                    <a:lnTo>
                      <a:pt x="222" y="34"/>
                    </a:lnTo>
                    <a:lnTo>
                      <a:pt x="220" y="36"/>
                    </a:lnTo>
                    <a:lnTo>
                      <a:pt x="220" y="36"/>
                    </a:lnTo>
                    <a:lnTo>
                      <a:pt x="220" y="36"/>
                    </a:lnTo>
                    <a:lnTo>
                      <a:pt x="218" y="36"/>
                    </a:lnTo>
                    <a:lnTo>
                      <a:pt x="218" y="36"/>
                    </a:lnTo>
                    <a:lnTo>
                      <a:pt x="218" y="34"/>
                    </a:lnTo>
                    <a:lnTo>
                      <a:pt x="218" y="34"/>
                    </a:lnTo>
                    <a:lnTo>
                      <a:pt x="216" y="30"/>
                    </a:lnTo>
                    <a:lnTo>
                      <a:pt x="216" y="28"/>
                    </a:lnTo>
                    <a:lnTo>
                      <a:pt x="216" y="28"/>
                    </a:lnTo>
                    <a:lnTo>
                      <a:pt x="214" y="24"/>
                    </a:lnTo>
                    <a:lnTo>
                      <a:pt x="214" y="24"/>
                    </a:lnTo>
                    <a:lnTo>
                      <a:pt x="212" y="18"/>
                    </a:lnTo>
                    <a:lnTo>
                      <a:pt x="212" y="18"/>
                    </a:lnTo>
                    <a:lnTo>
                      <a:pt x="212" y="16"/>
                    </a:lnTo>
                    <a:lnTo>
                      <a:pt x="212" y="14"/>
                    </a:lnTo>
                    <a:lnTo>
                      <a:pt x="210" y="14"/>
                    </a:lnTo>
                    <a:lnTo>
                      <a:pt x="210" y="14"/>
                    </a:lnTo>
                    <a:lnTo>
                      <a:pt x="208" y="14"/>
                    </a:lnTo>
                    <a:lnTo>
                      <a:pt x="206" y="14"/>
                    </a:lnTo>
                    <a:lnTo>
                      <a:pt x="204" y="14"/>
                    </a:lnTo>
                    <a:lnTo>
                      <a:pt x="204" y="14"/>
                    </a:lnTo>
                    <a:lnTo>
                      <a:pt x="204" y="14"/>
                    </a:lnTo>
                    <a:lnTo>
                      <a:pt x="202" y="14"/>
                    </a:lnTo>
                    <a:lnTo>
                      <a:pt x="202" y="14"/>
                    </a:lnTo>
                    <a:lnTo>
                      <a:pt x="202" y="16"/>
                    </a:lnTo>
                    <a:lnTo>
                      <a:pt x="202" y="16"/>
                    </a:lnTo>
                    <a:lnTo>
                      <a:pt x="200" y="18"/>
                    </a:lnTo>
                    <a:lnTo>
                      <a:pt x="200" y="18"/>
                    </a:lnTo>
                    <a:lnTo>
                      <a:pt x="200" y="18"/>
                    </a:lnTo>
                    <a:lnTo>
                      <a:pt x="200" y="18"/>
                    </a:lnTo>
                    <a:lnTo>
                      <a:pt x="198" y="16"/>
                    </a:lnTo>
                    <a:lnTo>
                      <a:pt x="196" y="16"/>
                    </a:lnTo>
                    <a:lnTo>
                      <a:pt x="196" y="16"/>
                    </a:lnTo>
                    <a:lnTo>
                      <a:pt x="196" y="14"/>
                    </a:lnTo>
                    <a:lnTo>
                      <a:pt x="194" y="14"/>
                    </a:lnTo>
                    <a:lnTo>
                      <a:pt x="194" y="14"/>
                    </a:lnTo>
                    <a:lnTo>
                      <a:pt x="192" y="14"/>
                    </a:lnTo>
                    <a:lnTo>
                      <a:pt x="192" y="14"/>
                    </a:lnTo>
                    <a:lnTo>
                      <a:pt x="190" y="14"/>
                    </a:lnTo>
                    <a:lnTo>
                      <a:pt x="190" y="16"/>
                    </a:lnTo>
                    <a:lnTo>
                      <a:pt x="188" y="16"/>
                    </a:lnTo>
                    <a:lnTo>
                      <a:pt x="188" y="16"/>
                    </a:lnTo>
                    <a:lnTo>
                      <a:pt x="188" y="16"/>
                    </a:lnTo>
                    <a:lnTo>
                      <a:pt x="188" y="16"/>
                    </a:lnTo>
                    <a:lnTo>
                      <a:pt x="186" y="14"/>
                    </a:lnTo>
                    <a:lnTo>
                      <a:pt x="186" y="14"/>
                    </a:lnTo>
                    <a:lnTo>
                      <a:pt x="186" y="14"/>
                    </a:lnTo>
                    <a:lnTo>
                      <a:pt x="184" y="14"/>
                    </a:lnTo>
                    <a:lnTo>
                      <a:pt x="180" y="14"/>
                    </a:lnTo>
                    <a:lnTo>
                      <a:pt x="180" y="14"/>
                    </a:lnTo>
                    <a:lnTo>
                      <a:pt x="174" y="14"/>
                    </a:lnTo>
                    <a:lnTo>
                      <a:pt x="174" y="14"/>
                    </a:lnTo>
                    <a:lnTo>
                      <a:pt x="172" y="14"/>
                    </a:lnTo>
                    <a:lnTo>
                      <a:pt x="170" y="12"/>
                    </a:lnTo>
                    <a:lnTo>
                      <a:pt x="170" y="12"/>
                    </a:lnTo>
                    <a:lnTo>
                      <a:pt x="162" y="12"/>
                    </a:lnTo>
                    <a:lnTo>
                      <a:pt x="162" y="12"/>
                    </a:lnTo>
                    <a:lnTo>
                      <a:pt x="160" y="12"/>
                    </a:lnTo>
                    <a:lnTo>
                      <a:pt x="160" y="12"/>
                    </a:lnTo>
                    <a:lnTo>
                      <a:pt x="160" y="12"/>
                    </a:lnTo>
                    <a:lnTo>
                      <a:pt x="160" y="12"/>
                    </a:lnTo>
                    <a:lnTo>
                      <a:pt x="160" y="14"/>
                    </a:lnTo>
                    <a:lnTo>
                      <a:pt x="160" y="14"/>
                    </a:lnTo>
                    <a:lnTo>
                      <a:pt x="160" y="14"/>
                    </a:lnTo>
                    <a:lnTo>
                      <a:pt x="160" y="14"/>
                    </a:lnTo>
                    <a:lnTo>
                      <a:pt x="160" y="16"/>
                    </a:lnTo>
                    <a:lnTo>
                      <a:pt x="162" y="18"/>
                    </a:lnTo>
                    <a:lnTo>
                      <a:pt x="166" y="20"/>
                    </a:lnTo>
                    <a:lnTo>
                      <a:pt x="166" y="20"/>
                    </a:lnTo>
                    <a:lnTo>
                      <a:pt x="166" y="22"/>
                    </a:lnTo>
                    <a:lnTo>
                      <a:pt x="166" y="24"/>
                    </a:lnTo>
                    <a:lnTo>
                      <a:pt x="166" y="26"/>
                    </a:lnTo>
                    <a:lnTo>
                      <a:pt x="166" y="28"/>
                    </a:lnTo>
                    <a:lnTo>
                      <a:pt x="166" y="28"/>
                    </a:lnTo>
                    <a:lnTo>
                      <a:pt x="166" y="30"/>
                    </a:lnTo>
                    <a:lnTo>
                      <a:pt x="166" y="32"/>
                    </a:lnTo>
                    <a:lnTo>
                      <a:pt x="166" y="34"/>
                    </a:lnTo>
                    <a:lnTo>
                      <a:pt x="168" y="36"/>
                    </a:lnTo>
                    <a:lnTo>
                      <a:pt x="168" y="36"/>
                    </a:lnTo>
                    <a:lnTo>
                      <a:pt x="174" y="42"/>
                    </a:lnTo>
                    <a:lnTo>
                      <a:pt x="174" y="42"/>
                    </a:lnTo>
                    <a:lnTo>
                      <a:pt x="176" y="44"/>
                    </a:lnTo>
                    <a:lnTo>
                      <a:pt x="176" y="46"/>
                    </a:lnTo>
                    <a:lnTo>
                      <a:pt x="176" y="46"/>
                    </a:lnTo>
                    <a:lnTo>
                      <a:pt x="176" y="46"/>
                    </a:lnTo>
                    <a:lnTo>
                      <a:pt x="174" y="48"/>
                    </a:lnTo>
                    <a:lnTo>
                      <a:pt x="174" y="48"/>
                    </a:lnTo>
                    <a:lnTo>
                      <a:pt x="172" y="48"/>
                    </a:lnTo>
                    <a:lnTo>
                      <a:pt x="172" y="48"/>
                    </a:lnTo>
                    <a:lnTo>
                      <a:pt x="172" y="48"/>
                    </a:lnTo>
                    <a:lnTo>
                      <a:pt x="170" y="46"/>
                    </a:lnTo>
                    <a:lnTo>
                      <a:pt x="170" y="46"/>
                    </a:lnTo>
                    <a:lnTo>
                      <a:pt x="170" y="44"/>
                    </a:lnTo>
                    <a:lnTo>
                      <a:pt x="170" y="44"/>
                    </a:lnTo>
                    <a:lnTo>
                      <a:pt x="166" y="36"/>
                    </a:lnTo>
                    <a:lnTo>
                      <a:pt x="166" y="36"/>
                    </a:lnTo>
                    <a:lnTo>
                      <a:pt x="166" y="36"/>
                    </a:lnTo>
                    <a:lnTo>
                      <a:pt x="164" y="34"/>
                    </a:lnTo>
                    <a:lnTo>
                      <a:pt x="164" y="34"/>
                    </a:lnTo>
                    <a:lnTo>
                      <a:pt x="164" y="32"/>
                    </a:lnTo>
                    <a:lnTo>
                      <a:pt x="164" y="28"/>
                    </a:lnTo>
                    <a:lnTo>
                      <a:pt x="164" y="28"/>
                    </a:lnTo>
                    <a:lnTo>
                      <a:pt x="162" y="24"/>
                    </a:lnTo>
                    <a:lnTo>
                      <a:pt x="162" y="24"/>
                    </a:lnTo>
                    <a:lnTo>
                      <a:pt x="162" y="22"/>
                    </a:lnTo>
                    <a:lnTo>
                      <a:pt x="162" y="22"/>
                    </a:lnTo>
                    <a:lnTo>
                      <a:pt x="160" y="20"/>
                    </a:lnTo>
                    <a:lnTo>
                      <a:pt x="156" y="18"/>
                    </a:lnTo>
                    <a:lnTo>
                      <a:pt x="154" y="16"/>
                    </a:lnTo>
                    <a:lnTo>
                      <a:pt x="152" y="14"/>
                    </a:lnTo>
                    <a:lnTo>
                      <a:pt x="152" y="14"/>
                    </a:lnTo>
                    <a:lnTo>
                      <a:pt x="152" y="12"/>
                    </a:lnTo>
                    <a:lnTo>
                      <a:pt x="150" y="12"/>
                    </a:lnTo>
                    <a:lnTo>
                      <a:pt x="150" y="12"/>
                    </a:lnTo>
                    <a:lnTo>
                      <a:pt x="148" y="10"/>
                    </a:lnTo>
                    <a:lnTo>
                      <a:pt x="148" y="10"/>
                    </a:lnTo>
                    <a:lnTo>
                      <a:pt x="146" y="12"/>
                    </a:lnTo>
                    <a:lnTo>
                      <a:pt x="146" y="12"/>
                    </a:lnTo>
                    <a:lnTo>
                      <a:pt x="142" y="12"/>
                    </a:lnTo>
                    <a:lnTo>
                      <a:pt x="140" y="12"/>
                    </a:lnTo>
                    <a:lnTo>
                      <a:pt x="140" y="12"/>
                    </a:lnTo>
                    <a:lnTo>
                      <a:pt x="140" y="12"/>
                    </a:lnTo>
                    <a:lnTo>
                      <a:pt x="140" y="12"/>
                    </a:lnTo>
                    <a:lnTo>
                      <a:pt x="140" y="1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04" name="Freeform 362"/>
              <p:cNvSpPr>
                <a:spLocks/>
              </p:cNvSpPr>
              <p:nvPr/>
            </p:nvSpPr>
            <p:spPr bwMode="auto">
              <a:xfrm>
                <a:off x="2059" y="1460"/>
                <a:ext cx="28" cy="30"/>
              </a:xfrm>
              <a:custGeom>
                <a:avLst/>
                <a:gdLst>
                  <a:gd name="T0" fmla="*/ 20 w 28"/>
                  <a:gd name="T1" fmla="*/ 6 h 30"/>
                  <a:gd name="T2" fmla="*/ 20 w 28"/>
                  <a:gd name="T3" fmla="*/ 6 h 30"/>
                  <a:gd name="T4" fmla="*/ 18 w 28"/>
                  <a:gd name="T5" fmla="*/ 4 h 30"/>
                  <a:gd name="T6" fmla="*/ 18 w 28"/>
                  <a:gd name="T7" fmla="*/ 2 h 30"/>
                  <a:gd name="T8" fmla="*/ 16 w 28"/>
                  <a:gd name="T9" fmla="*/ 0 h 30"/>
                  <a:gd name="T10" fmla="*/ 16 w 28"/>
                  <a:gd name="T11" fmla="*/ 0 h 30"/>
                  <a:gd name="T12" fmla="*/ 14 w 28"/>
                  <a:gd name="T13" fmla="*/ 0 h 30"/>
                  <a:gd name="T14" fmla="*/ 14 w 28"/>
                  <a:gd name="T15" fmla="*/ 0 h 30"/>
                  <a:gd name="T16" fmla="*/ 14 w 28"/>
                  <a:gd name="T17" fmla="*/ 0 h 30"/>
                  <a:gd name="T18" fmla="*/ 12 w 28"/>
                  <a:gd name="T19" fmla="*/ 0 h 30"/>
                  <a:gd name="T20" fmla="*/ 10 w 28"/>
                  <a:gd name="T21" fmla="*/ 2 h 30"/>
                  <a:gd name="T22" fmla="*/ 8 w 28"/>
                  <a:gd name="T23" fmla="*/ 4 h 30"/>
                  <a:gd name="T24" fmla="*/ 6 w 28"/>
                  <a:gd name="T25" fmla="*/ 6 h 30"/>
                  <a:gd name="T26" fmla="*/ 6 w 28"/>
                  <a:gd name="T27" fmla="*/ 6 h 30"/>
                  <a:gd name="T28" fmla="*/ 6 w 28"/>
                  <a:gd name="T29" fmla="*/ 6 h 30"/>
                  <a:gd name="T30" fmla="*/ 6 w 28"/>
                  <a:gd name="T31" fmla="*/ 8 h 30"/>
                  <a:gd name="T32" fmla="*/ 6 w 28"/>
                  <a:gd name="T33" fmla="*/ 10 h 30"/>
                  <a:gd name="T34" fmla="*/ 6 w 28"/>
                  <a:gd name="T35" fmla="*/ 12 h 30"/>
                  <a:gd name="T36" fmla="*/ 6 w 28"/>
                  <a:gd name="T37" fmla="*/ 12 h 30"/>
                  <a:gd name="T38" fmla="*/ 6 w 28"/>
                  <a:gd name="T39" fmla="*/ 14 h 30"/>
                  <a:gd name="T40" fmla="*/ 4 w 28"/>
                  <a:gd name="T41" fmla="*/ 14 h 30"/>
                  <a:gd name="T42" fmla="*/ 4 w 28"/>
                  <a:gd name="T43" fmla="*/ 14 h 30"/>
                  <a:gd name="T44" fmla="*/ 2 w 28"/>
                  <a:gd name="T45" fmla="*/ 14 h 30"/>
                  <a:gd name="T46" fmla="*/ 2 w 28"/>
                  <a:gd name="T47" fmla="*/ 16 h 30"/>
                  <a:gd name="T48" fmla="*/ 0 w 28"/>
                  <a:gd name="T49" fmla="*/ 16 h 30"/>
                  <a:gd name="T50" fmla="*/ 0 w 28"/>
                  <a:gd name="T51" fmla="*/ 16 h 30"/>
                  <a:gd name="T52" fmla="*/ 0 w 28"/>
                  <a:gd name="T53" fmla="*/ 18 h 30"/>
                  <a:gd name="T54" fmla="*/ 0 w 28"/>
                  <a:gd name="T55" fmla="*/ 20 h 30"/>
                  <a:gd name="T56" fmla="*/ 0 w 28"/>
                  <a:gd name="T57" fmla="*/ 20 h 30"/>
                  <a:gd name="T58" fmla="*/ 2 w 28"/>
                  <a:gd name="T59" fmla="*/ 20 h 30"/>
                  <a:gd name="T60" fmla="*/ 2 w 28"/>
                  <a:gd name="T61" fmla="*/ 20 h 30"/>
                  <a:gd name="T62" fmla="*/ 4 w 28"/>
                  <a:gd name="T63" fmla="*/ 22 h 30"/>
                  <a:gd name="T64" fmla="*/ 6 w 28"/>
                  <a:gd name="T65" fmla="*/ 24 h 30"/>
                  <a:gd name="T66" fmla="*/ 8 w 28"/>
                  <a:gd name="T67" fmla="*/ 28 h 30"/>
                  <a:gd name="T68" fmla="*/ 12 w 28"/>
                  <a:gd name="T69" fmla="*/ 28 h 30"/>
                  <a:gd name="T70" fmla="*/ 12 w 28"/>
                  <a:gd name="T71" fmla="*/ 28 h 30"/>
                  <a:gd name="T72" fmla="*/ 14 w 28"/>
                  <a:gd name="T73" fmla="*/ 30 h 30"/>
                  <a:gd name="T74" fmla="*/ 16 w 28"/>
                  <a:gd name="T75" fmla="*/ 30 h 30"/>
                  <a:gd name="T76" fmla="*/ 18 w 28"/>
                  <a:gd name="T77" fmla="*/ 30 h 30"/>
                  <a:gd name="T78" fmla="*/ 22 w 28"/>
                  <a:gd name="T79" fmla="*/ 30 h 30"/>
                  <a:gd name="T80" fmla="*/ 24 w 28"/>
                  <a:gd name="T81" fmla="*/ 30 h 30"/>
                  <a:gd name="T82" fmla="*/ 26 w 28"/>
                  <a:gd name="T83" fmla="*/ 30 h 30"/>
                  <a:gd name="T84" fmla="*/ 28 w 28"/>
                  <a:gd name="T85" fmla="*/ 28 h 30"/>
                  <a:gd name="T86" fmla="*/ 28 w 28"/>
                  <a:gd name="T87" fmla="*/ 28 h 30"/>
                  <a:gd name="T88" fmla="*/ 28 w 28"/>
                  <a:gd name="T89" fmla="*/ 26 h 30"/>
                  <a:gd name="T90" fmla="*/ 28 w 28"/>
                  <a:gd name="T91" fmla="*/ 26 h 30"/>
                  <a:gd name="T92" fmla="*/ 28 w 28"/>
                  <a:gd name="T93" fmla="*/ 22 h 30"/>
                  <a:gd name="T94" fmla="*/ 28 w 28"/>
                  <a:gd name="T95" fmla="*/ 20 h 30"/>
                  <a:gd name="T96" fmla="*/ 28 w 28"/>
                  <a:gd name="T97" fmla="*/ 20 h 30"/>
                  <a:gd name="T98" fmla="*/ 28 w 28"/>
                  <a:gd name="T99" fmla="*/ 18 h 30"/>
                  <a:gd name="T100" fmla="*/ 28 w 28"/>
                  <a:gd name="T101" fmla="*/ 16 h 30"/>
                  <a:gd name="T102" fmla="*/ 26 w 28"/>
                  <a:gd name="T103" fmla="*/ 14 h 30"/>
                  <a:gd name="T104" fmla="*/ 26 w 28"/>
                  <a:gd name="T105" fmla="*/ 12 h 30"/>
                  <a:gd name="T106" fmla="*/ 26 w 28"/>
                  <a:gd name="T107" fmla="*/ 12 h 30"/>
                  <a:gd name="T108" fmla="*/ 24 w 28"/>
                  <a:gd name="T109" fmla="*/ 12 h 30"/>
                  <a:gd name="T110" fmla="*/ 22 w 28"/>
                  <a:gd name="T111" fmla="*/ 10 h 30"/>
                  <a:gd name="T112" fmla="*/ 20 w 28"/>
                  <a:gd name="T113" fmla="*/ 8 h 30"/>
                  <a:gd name="T114" fmla="*/ 20 w 28"/>
                  <a:gd name="T115" fmla="*/ 6 h 30"/>
                  <a:gd name="T116" fmla="*/ 20 w 28"/>
                  <a:gd name="T117" fmla="*/ 6 h 30"/>
                  <a:gd name="T118" fmla="*/ 20 w 28"/>
                  <a:gd name="T119" fmla="*/ 6 h 30"/>
                  <a:gd name="T120" fmla="*/ 20 w 28"/>
                  <a:gd name="T121" fmla="*/ 6 h 30"/>
                  <a:gd name="T122" fmla="*/ 20 w 28"/>
                  <a:gd name="T123" fmla="*/ 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8" h="30">
                    <a:moveTo>
                      <a:pt x="20" y="6"/>
                    </a:moveTo>
                    <a:lnTo>
                      <a:pt x="20" y="6"/>
                    </a:lnTo>
                    <a:lnTo>
                      <a:pt x="18" y="4"/>
                    </a:lnTo>
                    <a:lnTo>
                      <a:pt x="18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0" y="2"/>
                    </a:lnTo>
                    <a:lnTo>
                      <a:pt x="8" y="4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8"/>
                    </a:lnTo>
                    <a:lnTo>
                      <a:pt x="6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2" y="14"/>
                    </a:lnTo>
                    <a:lnTo>
                      <a:pt x="2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8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4" y="22"/>
                    </a:lnTo>
                    <a:lnTo>
                      <a:pt x="6" y="24"/>
                    </a:lnTo>
                    <a:lnTo>
                      <a:pt x="8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4" y="30"/>
                    </a:lnTo>
                    <a:lnTo>
                      <a:pt x="16" y="30"/>
                    </a:lnTo>
                    <a:lnTo>
                      <a:pt x="18" y="30"/>
                    </a:lnTo>
                    <a:lnTo>
                      <a:pt x="22" y="30"/>
                    </a:lnTo>
                    <a:lnTo>
                      <a:pt x="24" y="30"/>
                    </a:lnTo>
                    <a:lnTo>
                      <a:pt x="26" y="30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2"/>
                    </a:lnTo>
                    <a:lnTo>
                      <a:pt x="28" y="20"/>
                    </a:lnTo>
                    <a:lnTo>
                      <a:pt x="28" y="20"/>
                    </a:lnTo>
                    <a:lnTo>
                      <a:pt x="28" y="18"/>
                    </a:lnTo>
                    <a:lnTo>
                      <a:pt x="28" y="16"/>
                    </a:lnTo>
                    <a:lnTo>
                      <a:pt x="26" y="14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4" y="12"/>
                    </a:lnTo>
                    <a:lnTo>
                      <a:pt x="22" y="10"/>
                    </a:lnTo>
                    <a:lnTo>
                      <a:pt x="20" y="8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05" name="Freeform 364"/>
              <p:cNvSpPr>
                <a:spLocks/>
              </p:cNvSpPr>
              <p:nvPr/>
            </p:nvSpPr>
            <p:spPr bwMode="auto">
              <a:xfrm>
                <a:off x="2095" y="1476"/>
                <a:ext cx="12" cy="10"/>
              </a:xfrm>
              <a:custGeom>
                <a:avLst/>
                <a:gdLst>
                  <a:gd name="T0" fmla="*/ 0 w 12"/>
                  <a:gd name="T1" fmla="*/ 10 h 10"/>
                  <a:gd name="T2" fmla="*/ 0 w 12"/>
                  <a:gd name="T3" fmla="*/ 10 h 10"/>
                  <a:gd name="T4" fmla="*/ 2 w 12"/>
                  <a:gd name="T5" fmla="*/ 10 h 10"/>
                  <a:gd name="T6" fmla="*/ 2 w 12"/>
                  <a:gd name="T7" fmla="*/ 10 h 10"/>
                  <a:gd name="T8" fmla="*/ 4 w 12"/>
                  <a:gd name="T9" fmla="*/ 10 h 10"/>
                  <a:gd name="T10" fmla="*/ 6 w 12"/>
                  <a:gd name="T11" fmla="*/ 6 h 10"/>
                  <a:gd name="T12" fmla="*/ 6 w 12"/>
                  <a:gd name="T13" fmla="*/ 6 h 10"/>
                  <a:gd name="T14" fmla="*/ 8 w 12"/>
                  <a:gd name="T15" fmla="*/ 6 h 10"/>
                  <a:gd name="T16" fmla="*/ 10 w 12"/>
                  <a:gd name="T17" fmla="*/ 4 h 10"/>
                  <a:gd name="T18" fmla="*/ 12 w 12"/>
                  <a:gd name="T19" fmla="*/ 2 h 10"/>
                  <a:gd name="T20" fmla="*/ 12 w 12"/>
                  <a:gd name="T21" fmla="*/ 2 h 10"/>
                  <a:gd name="T22" fmla="*/ 12 w 12"/>
                  <a:gd name="T23" fmla="*/ 2 h 10"/>
                  <a:gd name="T24" fmla="*/ 10 w 12"/>
                  <a:gd name="T25" fmla="*/ 0 h 10"/>
                  <a:gd name="T26" fmla="*/ 10 w 12"/>
                  <a:gd name="T27" fmla="*/ 0 h 10"/>
                  <a:gd name="T28" fmla="*/ 8 w 12"/>
                  <a:gd name="T29" fmla="*/ 0 h 10"/>
                  <a:gd name="T30" fmla="*/ 6 w 12"/>
                  <a:gd name="T31" fmla="*/ 2 h 10"/>
                  <a:gd name="T32" fmla="*/ 6 w 12"/>
                  <a:gd name="T33" fmla="*/ 2 h 10"/>
                  <a:gd name="T34" fmla="*/ 4 w 12"/>
                  <a:gd name="T35" fmla="*/ 4 h 10"/>
                  <a:gd name="T36" fmla="*/ 2 w 12"/>
                  <a:gd name="T37" fmla="*/ 6 h 10"/>
                  <a:gd name="T38" fmla="*/ 2 w 12"/>
                  <a:gd name="T39" fmla="*/ 8 h 10"/>
                  <a:gd name="T40" fmla="*/ 2 w 12"/>
                  <a:gd name="T41" fmla="*/ 8 h 10"/>
                  <a:gd name="T42" fmla="*/ 0 w 12"/>
                  <a:gd name="T43" fmla="*/ 10 h 10"/>
                  <a:gd name="T44" fmla="*/ 0 w 12"/>
                  <a:gd name="T45" fmla="*/ 10 h 10"/>
                  <a:gd name="T46" fmla="*/ 0 w 12"/>
                  <a:gd name="T47" fmla="*/ 10 h 10"/>
                  <a:gd name="T48" fmla="*/ 0 w 12"/>
                  <a:gd name="T49" fmla="*/ 10 h 10"/>
                  <a:gd name="T50" fmla="*/ 0 w 12"/>
                  <a:gd name="T51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2" h="10">
                    <a:moveTo>
                      <a:pt x="0" y="10"/>
                    </a:moveTo>
                    <a:lnTo>
                      <a:pt x="0" y="10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4" y="10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8" y="6"/>
                    </a:lnTo>
                    <a:lnTo>
                      <a:pt x="10" y="4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06" name="Freeform 368"/>
              <p:cNvSpPr>
                <a:spLocks/>
              </p:cNvSpPr>
              <p:nvPr/>
            </p:nvSpPr>
            <p:spPr bwMode="auto">
              <a:xfrm>
                <a:off x="2071" y="1388"/>
                <a:ext cx="12" cy="8"/>
              </a:xfrm>
              <a:custGeom>
                <a:avLst/>
                <a:gdLst>
                  <a:gd name="T0" fmla="*/ 2 w 12"/>
                  <a:gd name="T1" fmla="*/ 2 h 8"/>
                  <a:gd name="T2" fmla="*/ 2 w 12"/>
                  <a:gd name="T3" fmla="*/ 2 h 8"/>
                  <a:gd name="T4" fmla="*/ 2 w 12"/>
                  <a:gd name="T5" fmla="*/ 4 h 8"/>
                  <a:gd name="T6" fmla="*/ 2 w 12"/>
                  <a:gd name="T7" fmla="*/ 6 h 8"/>
                  <a:gd name="T8" fmla="*/ 0 w 12"/>
                  <a:gd name="T9" fmla="*/ 6 h 8"/>
                  <a:gd name="T10" fmla="*/ 2 w 12"/>
                  <a:gd name="T11" fmla="*/ 8 h 8"/>
                  <a:gd name="T12" fmla="*/ 2 w 12"/>
                  <a:gd name="T13" fmla="*/ 8 h 8"/>
                  <a:gd name="T14" fmla="*/ 2 w 12"/>
                  <a:gd name="T15" fmla="*/ 8 h 8"/>
                  <a:gd name="T16" fmla="*/ 2 w 12"/>
                  <a:gd name="T17" fmla="*/ 8 h 8"/>
                  <a:gd name="T18" fmla="*/ 2 w 12"/>
                  <a:gd name="T19" fmla="*/ 8 h 8"/>
                  <a:gd name="T20" fmla="*/ 4 w 12"/>
                  <a:gd name="T21" fmla="*/ 8 h 8"/>
                  <a:gd name="T22" fmla="*/ 8 w 12"/>
                  <a:gd name="T23" fmla="*/ 6 h 8"/>
                  <a:gd name="T24" fmla="*/ 8 w 12"/>
                  <a:gd name="T25" fmla="*/ 6 h 8"/>
                  <a:gd name="T26" fmla="*/ 8 w 12"/>
                  <a:gd name="T27" fmla="*/ 6 h 8"/>
                  <a:gd name="T28" fmla="*/ 10 w 12"/>
                  <a:gd name="T29" fmla="*/ 4 h 8"/>
                  <a:gd name="T30" fmla="*/ 12 w 12"/>
                  <a:gd name="T31" fmla="*/ 2 h 8"/>
                  <a:gd name="T32" fmla="*/ 12 w 12"/>
                  <a:gd name="T33" fmla="*/ 2 h 8"/>
                  <a:gd name="T34" fmla="*/ 12 w 12"/>
                  <a:gd name="T35" fmla="*/ 2 h 8"/>
                  <a:gd name="T36" fmla="*/ 12 w 12"/>
                  <a:gd name="T37" fmla="*/ 2 h 8"/>
                  <a:gd name="T38" fmla="*/ 10 w 12"/>
                  <a:gd name="T39" fmla="*/ 0 h 8"/>
                  <a:gd name="T40" fmla="*/ 10 w 12"/>
                  <a:gd name="T41" fmla="*/ 0 h 8"/>
                  <a:gd name="T42" fmla="*/ 8 w 12"/>
                  <a:gd name="T43" fmla="*/ 0 h 8"/>
                  <a:gd name="T44" fmla="*/ 4 w 12"/>
                  <a:gd name="T45" fmla="*/ 2 h 8"/>
                  <a:gd name="T46" fmla="*/ 2 w 12"/>
                  <a:gd name="T47" fmla="*/ 2 h 8"/>
                  <a:gd name="T48" fmla="*/ 2 w 12"/>
                  <a:gd name="T49" fmla="*/ 2 h 8"/>
                  <a:gd name="T50" fmla="*/ 2 w 12"/>
                  <a:gd name="T51" fmla="*/ 2 h 8"/>
                  <a:gd name="T52" fmla="*/ 2 w 12"/>
                  <a:gd name="T53" fmla="*/ 2 h 8"/>
                  <a:gd name="T54" fmla="*/ 2 w 12"/>
                  <a:gd name="T55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2" h="8">
                    <a:moveTo>
                      <a:pt x="2" y="2"/>
                    </a:moveTo>
                    <a:lnTo>
                      <a:pt x="2" y="2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0" y="4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07" name="Freeform 370"/>
              <p:cNvSpPr>
                <a:spLocks/>
              </p:cNvSpPr>
              <p:nvPr/>
            </p:nvSpPr>
            <p:spPr bwMode="auto">
              <a:xfrm>
                <a:off x="2069" y="1372"/>
                <a:ext cx="6" cy="10"/>
              </a:xfrm>
              <a:custGeom>
                <a:avLst/>
                <a:gdLst>
                  <a:gd name="T0" fmla="*/ 0 w 6"/>
                  <a:gd name="T1" fmla="*/ 6 h 10"/>
                  <a:gd name="T2" fmla="*/ 0 w 6"/>
                  <a:gd name="T3" fmla="*/ 6 h 10"/>
                  <a:gd name="T4" fmla="*/ 0 w 6"/>
                  <a:gd name="T5" fmla="*/ 6 h 10"/>
                  <a:gd name="T6" fmla="*/ 0 w 6"/>
                  <a:gd name="T7" fmla="*/ 8 h 10"/>
                  <a:gd name="T8" fmla="*/ 0 w 6"/>
                  <a:gd name="T9" fmla="*/ 8 h 10"/>
                  <a:gd name="T10" fmla="*/ 2 w 6"/>
                  <a:gd name="T11" fmla="*/ 10 h 10"/>
                  <a:gd name="T12" fmla="*/ 2 w 6"/>
                  <a:gd name="T13" fmla="*/ 10 h 10"/>
                  <a:gd name="T14" fmla="*/ 2 w 6"/>
                  <a:gd name="T15" fmla="*/ 10 h 10"/>
                  <a:gd name="T16" fmla="*/ 4 w 6"/>
                  <a:gd name="T17" fmla="*/ 8 h 10"/>
                  <a:gd name="T18" fmla="*/ 4 w 6"/>
                  <a:gd name="T19" fmla="*/ 8 h 10"/>
                  <a:gd name="T20" fmla="*/ 6 w 6"/>
                  <a:gd name="T21" fmla="*/ 6 h 10"/>
                  <a:gd name="T22" fmla="*/ 6 w 6"/>
                  <a:gd name="T23" fmla="*/ 4 h 10"/>
                  <a:gd name="T24" fmla="*/ 6 w 6"/>
                  <a:gd name="T25" fmla="*/ 4 h 10"/>
                  <a:gd name="T26" fmla="*/ 6 w 6"/>
                  <a:gd name="T27" fmla="*/ 4 h 10"/>
                  <a:gd name="T28" fmla="*/ 6 w 6"/>
                  <a:gd name="T29" fmla="*/ 2 h 10"/>
                  <a:gd name="T30" fmla="*/ 6 w 6"/>
                  <a:gd name="T31" fmla="*/ 2 h 10"/>
                  <a:gd name="T32" fmla="*/ 6 w 6"/>
                  <a:gd name="T33" fmla="*/ 0 h 10"/>
                  <a:gd name="T34" fmla="*/ 4 w 6"/>
                  <a:gd name="T35" fmla="*/ 0 h 10"/>
                  <a:gd name="T36" fmla="*/ 4 w 6"/>
                  <a:gd name="T37" fmla="*/ 0 h 10"/>
                  <a:gd name="T38" fmla="*/ 4 w 6"/>
                  <a:gd name="T39" fmla="*/ 2 h 10"/>
                  <a:gd name="T40" fmla="*/ 2 w 6"/>
                  <a:gd name="T41" fmla="*/ 2 h 10"/>
                  <a:gd name="T42" fmla="*/ 0 w 6"/>
                  <a:gd name="T43" fmla="*/ 6 h 10"/>
                  <a:gd name="T44" fmla="*/ 0 w 6"/>
                  <a:gd name="T45" fmla="*/ 6 h 10"/>
                  <a:gd name="T46" fmla="*/ 0 w 6"/>
                  <a:gd name="T47" fmla="*/ 6 h 10"/>
                  <a:gd name="T48" fmla="*/ 0 w 6"/>
                  <a:gd name="T49" fmla="*/ 6 h 10"/>
                  <a:gd name="T50" fmla="*/ 0 w 6"/>
                  <a:gd name="T51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" h="10">
                    <a:moveTo>
                      <a:pt x="0" y="6"/>
                    </a:moveTo>
                    <a:lnTo>
                      <a:pt x="0" y="6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08" name="Freeform 372"/>
              <p:cNvSpPr>
                <a:spLocks/>
              </p:cNvSpPr>
              <p:nvPr/>
            </p:nvSpPr>
            <p:spPr bwMode="auto">
              <a:xfrm>
                <a:off x="2059" y="1348"/>
                <a:ext cx="12" cy="8"/>
              </a:xfrm>
              <a:custGeom>
                <a:avLst/>
                <a:gdLst>
                  <a:gd name="T0" fmla="*/ 0 w 12"/>
                  <a:gd name="T1" fmla="*/ 2 h 8"/>
                  <a:gd name="T2" fmla="*/ 0 w 12"/>
                  <a:gd name="T3" fmla="*/ 2 h 8"/>
                  <a:gd name="T4" fmla="*/ 2 w 12"/>
                  <a:gd name="T5" fmla="*/ 4 h 8"/>
                  <a:gd name="T6" fmla="*/ 6 w 12"/>
                  <a:gd name="T7" fmla="*/ 6 h 8"/>
                  <a:gd name="T8" fmla="*/ 8 w 12"/>
                  <a:gd name="T9" fmla="*/ 8 h 8"/>
                  <a:gd name="T10" fmla="*/ 10 w 12"/>
                  <a:gd name="T11" fmla="*/ 8 h 8"/>
                  <a:gd name="T12" fmla="*/ 12 w 12"/>
                  <a:gd name="T13" fmla="*/ 8 h 8"/>
                  <a:gd name="T14" fmla="*/ 12 w 12"/>
                  <a:gd name="T15" fmla="*/ 8 h 8"/>
                  <a:gd name="T16" fmla="*/ 12 w 12"/>
                  <a:gd name="T17" fmla="*/ 6 h 8"/>
                  <a:gd name="T18" fmla="*/ 12 w 12"/>
                  <a:gd name="T19" fmla="*/ 6 h 8"/>
                  <a:gd name="T20" fmla="*/ 10 w 12"/>
                  <a:gd name="T21" fmla="*/ 4 h 8"/>
                  <a:gd name="T22" fmla="*/ 10 w 12"/>
                  <a:gd name="T23" fmla="*/ 2 h 8"/>
                  <a:gd name="T24" fmla="*/ 8 w 12"/>
                  <a:gd name="T25" fmla="*/ 2 h 8"/>
                  <a:gd name="T26" fmla="*/ 6 w 12"/>
                  <a:gd name="T27" fmla="*/ 0 h 8"/>
                  <a:gd name="T28" fmla="*/ 4 w 12"/>
                  <a:gd name="T29" fmla="*/ 0 h 8"/>
                  <a:gd name="T30" fmla="*/ 4 w 12"/>
                  <a:gd name="T31" fmla="*/ 0 h 8"/>
                  <a:gd name="T32" fmla="*/ 2 w 12"/>
                  <a:gd name="T33" fmla="*/ 0 h 8"/>
                  <a:gd name="T34" fmla="*/ 0 w 12"/>
                  <a:gd name="T35" fmla="*/ 0 h 8"/>
                  <a:gd name="T36" fmla="*/ 0 w 12"/>
                  <a:gd name="T37" fmla="*/ 0 h 8"/>
                  <a:gd name="T38" fmla="*/ 0 w 12"/>
                  <a:gd name="T39" fmla="*/ 0 h 8"/>
                  <a:gd name="T40" fmla="*/ 0 w 12"/>
                  <a:gd name="T41" fmla="*/ 2 h 8"/>
                  <a:gd name="T42" fmla="*/ 0 w 12"/>
                  <a:gd name="T43" fmla="*/ 2 h 8"/>
                  <a:gd name="T44" fmla="*/ 0 w 12"/>
                  <a:gd name="T45" fmla="*/ 2 h 8"/>
                  <a:gd name="T46" fmla="*/ 0 w 12"/>
                  <a:gd name="T47" fmla="*/ 2 h 8"/>
                  <a:gd name="T48" fmla="*/ 0 w 12"/>
                  <a:gd name="T49" fmla="*/ 2 h 8"/>
                  <a:gd name="T50" fmla="*/ 0 w 12"/>
                  <a:gd name="T51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2" h="8">
                    <a:moveTo>
                      <a:pt x="0" y="2"/>
                    </a:moveTo>
                    <a:lnTo>
                      <a:pt x="0" y="2"/>
                    </a:lnTo>
                    <a:lnTo>
                      <a:pt x="2" y="4"/>
                    </a:lnTo>
                    <a:lnTo>
                      <a:pt x="6" y="6"/>
                    </a:lnTo>
                    <a:lnTo>
                      <a:pt x="8" y="8"/>
                    </a:lnTo>
                    <a:lnTo>
                      <a:pt x="10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0" y="4"/>
                    </a:lnTo>
                    <a:lnTo>
                      <a:pt x="10" y="2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09" name="Freeform 374"/>
              <p:cNvSpPr>
                <a:spLocks/>
              </p:cNvSpPr>
              <p:nvPr/>
            </p:nvSpPr>
            <p:spPr bwMode="auto">
              <a:xfrm>
                <a:off x="1929" y="1212"/>
                <a:ext cx="12" cy="10"/>
              </a:xfrm>
              <a:custGeom>
                <a:avLst/>
                <a:gdLst>
                  <a:gd name="T0" fmla="*/ 8 w 12"/>
                  <a:gd name="T1" fmla="*/ 0 h 10"/>
                  <a:gd name="T2" fmla="*/ 8 w 12"/>
                  <a:gd name="T3" fmla="*/ 0 h 10"/>
                  <a:gd name="T4" fmla="*/ 6 w 12"/>
                  <a:gd name="T5" fmla="*/ 0 h 10"/>
                  <a:gd name="T6" fmla="*/ 6 w 12"/>
                  <a:gd name="T7" fmla="*/ 2 h 10"/>
                  <a:gd name="T8" fmla="*/ 4 w 12"/>
                  <a:gd name="T9" fmla="*/ 2 h 10"/>
                  <a:gd name="T10" fmla="*/ 4 w 12"/>
                  <a:gd name="T11" fmla="*/ 2 h 10"/>
                  <a:gd name="T12" fmla="*/ 2 w 12"/>
                  <a:gd name="T13" fmla="*/ 2 h 10"/>
                  <a:gd name="T14" fmla="*/ 0 w 12"/>
                  <a:gd name="T15" fmla="*/ 2 h 10"/>
                  <a:gd name="T16" fmla="*/ 0 w 12"/>
                  <a:gd name="T17" fmla="*/ 4 h 10"/>
                  <a:gd name="T18" fmla="*/ 0 w 12"/>
                  <a:gd name="T19" fmla="*/ 4 h 10"/>
                  <a:gd name="T20" fmla="*/ 0 w 12"/>
                  <a:gd name="T21" fmla="*/ 4 h 10"/>
                  <a:gd name="T22" fmla="*/ 0 w 12"/>
                  <a:gd name="T23" fmla="*/ 4 h 10"/>
                  <a:gd name="T24" fmla="*/ 2 w 12"/>
                  <a:gd name="T25" fmla="*/ 6 h 10"/>
                  <a:gd name="T26" fmla="*/ 2 w 12"/>
                  <a:gd name="T27" fmla="*/ 6 h 10"/>
                  <a:gd name="T28" fmla="*/ 2 w 12"/>
                  <a:gd name="T29" fmla="*/ 6 h 10"/>
                  <a:gd name="T30" fmla="*/ 8 w 12"/>
                  <a:gd name="T31" fmla="*/ 8 h 10"/>
                  <a:gd name="T32" fmla="*/ 10 w 12"/>
                  <a:gd name="T33" fmla="*/ 10 h 10"/>
                  <a:gd name="T34" fmla="*/ 10 w 12"/>
                  <a:gd name="T35" fmla="*/ 10 h 10"/>
                  <a:gd name="T36" fmla="*/ 12 w 12"/>
                  <a:gd name="T37" fmla="*/ 10 h 10"/>
                  <a:gd name="T38" fmla="*/ 12 w 12"/>
                  <a:gd name="T39" fmla="*/ 10 h 10"/>
                  <a:gd name="T40" fmla="*/ 12 w 12"/>
                  <a:gd name="T41" fmla="*/ 8 h 10"/>
                  <a:gd name="T42" fmla="*/ 12 w 12"/>
                  <a:gd name="T43" fmla="*/ 8 h 10"/>
                  <a:gd name="T44" fmla="*/ 12 w 12"/>
                  <a:gd name="T45" fmla="*/ 6 h 10"/>
                  <a:gd name="T46" fmla="*/ 12 w 12"/>
                  <a:gd name="T47" fmla="*/ 4 h 10"/>
                  <a:gd name="T48" fmla="*/ 12 w 12"/>
                  <a:gd name="T49" fmla="*/ 2 h 10"/>
                  <a:gd name="T50" fmla="*/ 10 w 12"/>
                  <a:gd name="T51" fmla="*/ 2 h 10"/>
                  <a:gd name="T52" fmla="*/ 10 w 12"/>
                  <a:gd name="T53" fmla="*/ 0 h 10"/>
                  <a:gd name="T54" fmla="*/ 8 w 12"/>
                  <a:gd name="T55" fmla="*/ 0 h 10"/>
                  <a:gd name="T56" fmla="*/ 8 w 12"/>
                  <a:gd name="T57" fmla="*/ 0 h 10"/>
                  <a:gd name="T58" fmla="*/ 8 w 12"/>
                  <a:gd name="T59" fmla="*/ 0 h 10"/>
                  <a:gd name="T60" fmla="*/ 8 w 12"/>
                  <a:gd name="T61" fmla="*/ 0 h 10"/>
                  <a:gd name="T62" fmla="*/ 8 w 12"/>
                  <a:gd name="T63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2" h="10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8" y="8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6"/>
                    </a:lnTo>
                    <a:lnTo>
                      <a:pt x="12" y="4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10" name="Freeform 375"/>
              <p:cNvSpPr>
                <a:spLocks/>
              </p:cNvSpPr>
              <p:nvPr/>
            </p:nvSpPr>
            <p:spPr bwMode="auto">
              <a:xfrm>
                <a:off x="1929" y="1212"/>
                <a:ext cx="12" cy="10"/>
              </a:xfrm>
              <a:custGeom>
                <a:avLst/>
                <a:gdLst>
                  <a:gd name="T0" fmla="*/ 8 w 12"/>
                  <a:gd name="T1" fmla="*/ 0 h 10"/>
                  <a:gd name="T2" fmla="*/ 8 w 12"/>
                  <a:gd name="T3" fmla="*/ 0 h 10"/>
                  <a:gd name="T4" fmla="*/ 6 w 12"/>
                  <a:gd name="T5" fmla="*/ 0 h 10"/>
                  <a:gd name="T6" fmla="*/ 6 w 12"/>
                  <a:gd name="T7" fmla="*/ 2 h 10"/>
                  <a:gd name="T8" fmla="*/ 4 w 12"/>
                  <a:gd name="T9" fmla="*/ 2 h 10"/>
                  <a:gd name="T10" fmla="*/ 4 w 12"/>
                  <a:gd name="T11" fmla="*/ 2 h 10"/>
                  <a:gd name="T12" fmla="*/ 2 w 12"/>
                  <a:gd name="T13" fmla="*/ 2 h 10"/>
                  <a:gd name="T14" fmla="*/ 0 w 12"/>
                  <a:gd name="T15" fmla="*/ 2 h 10"/>
                  <a:gd name="T16" fmla="*/ 0 w 12"/>
                  <a:gd name="T17" fmla="*/ 4 h 10"/>
                  <a:gd name="T18" fmla="*/ 0 w 12"/>
                  <a:gd name="T19" fmla="*/ 4 h 10"/>
                  <a:gd name="T20" fmla="*/ 0 w 12"/>
                  <a:gd name="T21" fmla="*/ 4 h 10"/>
                  <a:gd name="T22" fmla="*/ 0 w 12"/>
                  <a:gd name="T23" fmla="*/ 4 h 10"/>
                  <a:gd name="T24" fmla="*/ 2 w 12"/>
                  <a:gd name="T25" fmla="*/ 6 h 10"/>
                  <a:gd name="T26" fmla="*/ 2 w 12"/>
                  <a:gd name="T27" fmla="*/ 6 h 10"/>
                  <a:gd name="T28" fmla="*/ 2 w 12"/>
                  <a:gd name="T29" fmla="*/ 6 h 10"/>
                  <a:gd name="T30" fmla="*/ 8 w 12"/>
                  <a:gd name="T31" fmla="*/ 8 h 10"/>
                  <a:gd name="T32" fmla="*/ 10 w 12"/>
                  <a:gd name="T33" fmla="*/ 10 h 10"/>
                  <a:gd name="T34" fmla="*/ 10 w 12"/>
                  <a:gd name="T35" fmla="*/ 10 h 10"/>
                  <a:gd name="T36" fmla="*/ 12 w 12"/>
                  <a:gd name="T37" fmla="*/ 10 h 10"/>
                  <a:gd name="T38" fmla="*/ 12 w 12"/>
                  <a:gd name="T39" fmla="*/ 10 h 10"/>
                  <a:gd name="T40" fmla="*/ 12 w 12"/>
                  <a:gd name="T41" fmla="*/ 8 h 10"/>
                  <a:gd name="T42" fmla="*/ 12 w 12"/>
                  <a:gd name="T43" fmla="*/ 8 h 10"/>
                  <a:gd name="T44" fmla="*/ 12 w 12"/>
                  <a:gd name="T45" fmla="*/ 6 h 10"/>
                  <a:gd name="T46" fmla="*/ 12 w 12"/>
                  <a:gd name="T47" fmla="*/ 4 h 10"/>
                  <a:gd name="T48" fmla="*/ 12 w 12"/>
                  <a:gd name="T49" fmla="*/ 2 h 10"/>
                  <a:gd name="T50" fmla="*/ 10 w 12"/>
                  <a:gd name="T51" fmla="*/ 2 h 10"/>
                  <a:gd name="T52" fmla="*/ 10 w 12"/>
                  <a:gd name="T53" fmla="*/ 0 h 10"/>
                  <a:gd name="T54" fmla="*/ 8 w 12"/>
                  <a:gd name="T55" fmla="*/ 0 h 10"/>
                  <a:gd name="T56" fmla="*/ 8 w 12"/>
                  <a:gd name="T57" fmla="*/ 0 h 10"/>
                  <a:gd name="T58" fmla="*/ 8 w 12"/>
                  <a:gd name="T59" fmla="*/ 0 h 10"/>
                  <a:gd name="T60" fmla="*/ 8 w 12"/>
                  <a:gd name="T61" fmla="*/ 0 h 10"/>
                  <a:gd name="T62" fmla="*/ 8 w 12"/>
                  <a:gd name="T63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2" h="10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8" y="8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6"/>
                    </a:lnTo>
                    <a:lnTo>
                      <a:pt x="12" y="4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11" name="Freeform 376"/>
              <p:cNvSpPr>
                <a:spLocks/>
              </p:cNvSpPr>
              <p:nvPr/>
            </p:nvSpPr>
            <p:spPr bwMode="auto">
              <a:xfrm>
                <a:off x="1935" y="1202"/>
                <a:ext cx="10" cy="6"/>
              </a:xfrm>
              <a:custGeom>
                <a:avLst/>
                <a:gdLst>
                  <a:gd name="T0" fmla="*/ 0 w 10"/>
                  <a:gd name="T1" fmla="*/ 2 h 6"/>
                  <a:gd name="T2" fmla="*/ 0 w 10"/>
                  <a:gd name="T3" fmla="*/ 2 h 6"/>
                  <a:gd name="T4" fmla="*/ 0 w 10"/>
                  <a:gd name="T5" fmla="*/ 2 h 6"/>
                  <a:gd name="T6" fmla="*/ 0 w 10"/>
                  <a:gd name="T7" fmla="*/ 4 h 6"/>
                  <a:gd name="T8" fmla="*/ 0 w 10"/>
                  <a:gd name="T9" fmla="*/ 4 h 6"/>
                  <a:gd name="T10" fmla="*/ 2 w 10"/>
                  <a:gd name="T11" fmla="*/ 4 h 6"/>
                  <a:gd name="T12" fmla="*/ 4 w 10"/>
                  <a:gd name="T13" fmla="*/ 6 h 6"/>
                  <a:gd name="T14" fmla="*/ 4 w 10"/>
                  <a:gd name="T15" fmla="*/ 6 h 6"/>
                  <a:gd name="T16" fmla="*/ 6 w 10"/>
                  <a:gd name="T17" fmla="*/ 6 h 6"/>
                  <a:gd name="T18" fmla="*/ 6 w 10"/>
                  <a:gd name="T19" fmla="*/ 6 h 6"/>
                  <a:gd name="T20" fmla="*/ 8 w 10"/>
                  <a:gd name="T21" fmla="*/ 6 h 6"/>
                  <a:gd name="T22" fmla="*/ 10 w 10"/>
                  <a:gd name="T23" fmla="*/ 6 h 6"/>
                  <a:gd name="T24" fmla="*/ 10 w 10"/>
                  <a:gd name="T25" fmla="*/ 6 h 6"/>
                  <a:gd name="T26" fmla="*/ 10 w 10"/>
                  <a:gd name="T27" fmla="*/ 6 h 6"/>
                  <a:gd name="T28" fmla="*/ 10 w 10"/>
                  <a:gd name="T29" fmla="*/ 4 h 6"/>
                  <a:gd name="T30" fmla="*/ 10 w 10"/>
                  <a:gd name="T31" fmla="*/ 4 h 6"/>
                  <a:gd name="T32" fmla="*/ 10 w 10"/>
                  <a:gd name="T33" fmla="*/ 2 h 6"/>
                  <a:gd name="T34" fmla="*/ 8 w 10"/>
                  <a:gd name="T35" fmla="*/ 2 h 6"/>
                  <a:gd name="T36" fmla="*/ 6 w 10"/>
                  <a:gd name="T37" fmla="*/ 0 h 6"/>
                  <a:gd name="T38" fmla="*/ 6 w 10"/>
                  <a:gd name="T39" fmla="*/ 0 h 6"/>
                  <a:gd name="T40" fmla="*/ 6 w 10"/>
                  <a:gd name="T41" fmla="*/ 0 h 6"/>
                  <a:gd name="T42" fmla="*/ 4 w 10"/>
                  <a:gd name="T43" fmla="*/ 0 h 6"/>
                  <a:gd name="T44" fmla="*/ 2 w 10"/>
                  <a:gd name="T45" fmla="*/ 2 h 6"/>
                  <a:gd name="T46" fmla="*/ 0 w 10"/>
                  <a:gd name="T47" fmla="*/ 2 h 6"/>
                  <a:gd name="T48" fmla="*/ 0 w 10"/>
                  <a:gd name="T49" fmla="*/ 2 h 6"/>
                  <a:gd name="T50" fmla="*/ 0 w 10"/>
                  <a:gd name="T51" fmla="*/ 2 h 6"/>
                  <a:gd name="T52" fmla="*/ 0 w 10"/>
                  <a:gd name="T53" fmla="*/ 2 h 6"/>
                  <a:gd name="T54" fmla="*/ 0 w 10"/>
                  <a:gd name="T55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0" h="6">
                    <a:moveTo>
                      <a:pt x="0" y="2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8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2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12" name="Freeform 377"/>
              <p:cNvSpPr>
                <a:spLocks/>
              </p:cNvSpPr>
              <p:nvPr/>
            </p:nvSpPr>
            <p:spPr bwMode="auto">
              <a:xfrm>
                <a:off x="1935" y="1202"/>
                <a:ext cx="10" cy="6"/>
              </a:xfrm>
              <a:custGeom>
                <a:avLst/>
                <a:gdLst>
                  <a:gd name="T0" fmla="*/ 0 w 10"/>
                  <a:gd name="T1" fmla="*/ 2 h 6"/>
                  <a:gd name="T2" fmla="*/ 0 w 10"/>
                  <a:gd name="T3" fmla="*/ 2 h 6"/>
                  <a:gd name="T4" fmla="*/ 0 w 10"/>
                  <a:gd name="T5" fmla="*/ 2 h 6"/>
                  <a:gd name="T6" fmla="*/ 0 w 10"/>
                  <a:gd name="T7" fmla="*/ 4 h 6"/>
                  <a:gd name="T8" fmla="*/ 0 w 10"/>
                  <a:gd name="T9" fmla="*/ 4 h 6"/>
                  <a:gd name="T10" fmla="*/ 2 w 10"/>
                  <a:gd name="T11" fmla="*/ 4 h 6"/>
                  <a:gd name="T12" fmla="*/ 4 w 10"/>
                  <a:gd name="T13" fmla="*/ 6 h 6"/>
                  <a:gd name="T14" fmla="*/ 4 w 10"/>
                  <a:gd name="T15" fmla="*/ 6 h 6"/>
                  <a:gd name="T16" fmla="*/ 6 w 10"/>
                  <a:gd name="T17" fmla="*/ 6 h 6"/>
                  <a:gd name="T18" fmla="*/ 6 w 10"/>
                  <a:gd name="T19" fmla="*/ 6 h 6"/>
                  <a:gd name="T20" fmla="*/ 8 w 10"/>
                  <a:gd name="T21" fmla="*/ 6 h 6"/>
                  <a:gd name="T22" fmla="*/ 10 w 10"/>
                  <a:gd name="T23" fmla="*/ 6 h 6"/>
                  <a:gd name="T24" fmla="*/ 10 w 10"/>
                  <a:gd name="T25" fmla="*/ 6 h 6"/>
                  <a:gd name="T26" fmla="*/ 10 w 10"/>
                  <a:gd name="T27" fmla="*/ 6 h 6"/>
                  <a:gd name="T28" fmla="*/ 10 w 10"/>
                  <a:gd name="T29" fmla="*/ 4 h 6"/>
                  <a:gd name="T30" fmla="*/ 10 w 10"/>
                  <a:gd name="T31" fmla="*/ 4 h 6"/>
                  <a:gd name="T32" fmla="*/ 10 w 10"/>
                  <a:gd name="T33" fmla="*/ 2 h 6"/>
                  <a:gd name="T34" fmla="*/ 8 w 10"/>
                  <a:gd name="T35" fmla="*/ 2 h 6"/>
                  <a:gd name="T36" fmla="*/ 6 w 10"/>
                  <a:gd name="T37" fmla="*/ 0 h 6"/>
                  <a:gd name="T38" fmla="*/ 6 w 10"/>
                  <a:gd name="T39" fmla="*/ 0 h 6"/>
                  <a:gd name="T40" fmla="*/ 6 w 10"/>
                  <a:gd name="T41" fmla="*/ 0 h 6"/>
                  <a:gd name="T42" fmla="*/ 4 w 10"/>
                  <a:gd name="T43" fmla="*/ 0 h 6"/>
                  <a:gd name="T44" fmla="*/ 2 w 10"/>
                  <a:gd name="T45" fmla="*/ 2 h 6"/>
                  <a:gd name="T46" fmla="*/ 0 w 10"/>
                  <a:gd name="T47" fmla="*/ 2 h 6"/>
                  <a:gd name="T48" fmla="*/ 0 w 10"/>
                  <a:gd name="T49" fmla="*/ 2 h 6"/>
                  <a:gd name="T50" fmla="*/ 0 w 10"/>
                  <a:gd name="T51" fmla="*/ 2 h 6"/>
                  <a:gd name="T52" fmla="*/ 0 w 10"/>
                  <a:gd name="T53" fmla="*/ 2 h 6"/>
                  <a:gd name="T54" fmla="*/ 0 w 10"/>
                  <a:gd name="T55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0" h="6">
                    <a:moveTo>
                      <a:pt x="0" y="2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8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2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13" name="Freeform 378"/>
              <p:cNvSpPr>
                <a:spLocks/>
              </p:cNvSpPr>
              <p:nvPr/>
            </p:nvSpPr>
            <p:spPr bwMode="auto">
              <a:xfrm>
                <a:off x="1951" y="1210"/>
                <a:ext cx="6" cy="8"/>
              </a:xfrm>
              <a:custGeom>
                <a:avLst/>
                <a:gdLst>
                  <a:gd name="T0" fmla="*/ 0 w 6"/>
                  <a:gd name="T1" fmla="*/ 6 h 8"/>
                  <a:gd name="T2" fmla="*/ 0 w 6"/>
                  <a:gd name="T3" fmla="*/ 6 h 8"/>
                  <a:gd name="T4" fmla="*/ 0 w 6"/>
                  <a:gd name="T5" fmla="*/ 8 h 8"/>
                  <a:gd name="T6" fmla="*/ 2 w 6"/>
                  <a:gd name="T7" fmla="*/ 8 h 8"/>
                  <a:gd name="T8" fmla="*/ 4 w 6"/>
                  <a:gd name="T9" fmla="*/ 8 h 8"/>
                  <a:gd name="T10" fmla="*/ 4 w 6"/>
                  <a:gd name="T11" fmla="*/ 8 h 8"/>
                  <a:gd name="T12" fmla="*/ 6 w 6"/>
                  <a:gd name="T13" fmla="*/ 8 h 8"/>
                  <a:gd name="T14" fmla="*/ 6 w 6"/>
                  <a:gd name="T15" fmla="*/ 8 h 8"/>
                  <a:gd name="T16" fmla="*/ 6 w 6"/>
                  <a:gd name="T17" fmla="*/ 8 h 8"/>
                  <a:gd name="T18" fmla="*/ 6 w 6"/>
                  <a:gd name="T19" fmla="*/ 8 h 8"/>
                  <a:gd name="T20" fmla="*/ 6 w 6"/>
                  <a:gd name="T21" fmla="*/ 6 h 8"/>
                  <a:gd name="T22" fmla="*/ 6 w 6"/>
                  <a:gd name="T23" fmla="*/ 6 h 8"/>
                  <a:gd name="T24" fmla="*/ 4 w 6"/>
                  <a:gd name="T25" fmla="*/ 4 h 8"/>
                  <a:gd name="T26" fmla="*/ 2 w 6"/>
                  <a:gd name="T27" fmla="*/ 2 h 8"/>
                  <a:gd name="T28" fmla="*/ 2 w 6"/>
                  <a:gd name="T29" fmla="*/ 2 h 8"/>
                  <a:gd name="T30" fmla="*/ 2 w 6"/>
                  <a:gd name="T31" fmla="*/ 2 h 8"/>
                  <a:gd name="T32" fmla="*/ 0 w 6"/>
                  <a:gd name="T33" fmla="*/ 0 h 8"/>
                  <a:gd name="T34" fmla="*/ 0 w 6"/>
                  <a:gd name="T35" fmla="*/ 2 h 8"/>
                  <a:gd name="T36" fmla="*/ 0 w 6"/>
                  <a:gd name="T37" fmla="*/ 2 h 8"/>
                  <a:gd name="T38" fmla="*/ 0 w 6"/>
                  <a:gd name="T39" fmla="*/ 2 h 8"/>
                  <a:gd name="T40" fmla="*/ 0 w 6"/>
                  <a:gd name="T41" fmla="*/ 4 h 8"/>
                  <a:gd name="T42" fmla="*/ 0 w 6"/>
                  <a:gd name="T43" fmla="*/ 4 h 8"/>
                  <a:gd name="T44" fmla="*/ 0 w 6"/>
                  <a:gd name="T45" fmla="*/ 6 h 8"/>
                  <a:gd name="T46" fmla="*/ 0 w 6"/>
                  <a:gd name="T47" fmla="*/ 6 h 8"/>
                  <a:gd name="T48" fmla="*/ 0 w 6"/>
                  <a:gd name="T49" fmla="*/ 6 h 8"/>
                  <a:gd name="T50" fmla="*/ 0 w 6"/>
                  <a:gd name="T51" fmla="*/ 6 h 8"/>
                  <a:gd name="T52" fmla="*/ 0 w 6"/>
                  <a:gd name="T53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" h="8">
                    <a:moveTo>
                      <a:pt x="0" y="6"/>
                    </a:moveTo>
                    <a:lnTo>
                      <a:pt x="0" y="6"/>
                    </a:lnTo>
                    <a:lnTo>
                      <a:pt x="0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4" y="4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14" name="Freeform 379"/>
              <p:cNvSpPr>
                <a:spLocks/>
              </p:cNvSpPr>
              <p:nvPr/>
            </p:nvSpPr>
            <p:spPr bwMode="auto">
              <a:xfrm>
                <a:off x="1951" y="1210"/>
                <a:ext cx="6" cy="8"/>
              </a:xfrm>
              <a:custGeom>
                <a:avLst/>
                <a:gdLst>
                  <a:gd name="T0" fmla="*/ 0 w 6"/>
                  <a:gd name="T1" fmla="*/ 6 h 8"/>
                  <a:gd name="T2" fmla="*/ 0 w 6"/>
                  <a:gd name="T3" fmla="*/ 6 h 8"/>
                  <a:gd name="T4" fmla="*/ 0 w 6"/>
                  <a:gd name="T5" fmla="*/ 8 h 8"/>
                  <a:gd name="T6" fmla="*/ 2 w 6"/>
                  <a:gd name="T7" fmla="*/ 8 h 8"/>
                  <a:gd name="T8" fmla="*/ 4 w 6"/>
                  <a:gd name="T9" fmla="*/ 8 h 8"/>
                  <a:gd name="T10" fmla="*/ 4 w 6"/>
                  <a:gd name="T11" fmla="*/ 8 h 8"/>
                  <a:gd name="T12" fmla="*/ 6 w 6"/>
                  <a:gd name="T13" fmla="*/ 8 h 8"/>
                  <a:gd name="T14" fmla="*/ 6 w 6"/>
                  <a:gd name="T15" fmla="*/ 8 h 8"/>
                  <a:gd name="T16" fmla="*/ 6 w 6"/>
                  <a:gd name="T17" fmla="*/ 8 h 8"/>
                  <a:gd name="T18" fmla="*/ 6 w 6"/>
                  <a:gd name="T19" fmla="*/ 8 h 8"/>
                  <a:gd name="T20" fmla="*/ 6 w 6"/>
                  <a:gd name="T21" fmla="*/ 6 h 8"/>
                  <a:gd name="T22" fmla="*/ 6 w 6"/>
                  <a:gd name="T23" fmla="*/ 6 h 8"/>
                  <a:gd name="T24" fmla="*/ 4 w 6"/>
                  <a:gd name="T25" fmla="*/ 4 h 8"/>
                  <a:gd name="T26" fmla="*/ 2 w 6"/>
                  <a:gd name="T27" fmla="*/ 2 h 8"/>
                  <a:gd name="T28" fmla="*/ 2 w 6"/>
                  <a:gd name="T29" fmla="*/ 2 h 8"/>
                  <a:gd name="T30" fmla="*/ 2 w 6"/>
                  <a:gd name="T31" fmla="*/ 2 h 8"/>
                  <a:gd name="T32" fmla="*/ 0 w 6"/>
                  <a:gd name="T33" fmla="*/ 0 h 8"/>
                  <a:gd name="T34" fmla="*/ 0 w 6"/>
                  <a:gd name="T35" fmla="*/ 2 h 8"/>
                  <a:gd name="T36" fmla="*/ 0 w 6"/>
                  <a:gd name="T37" fmla="*/ 2 h 8"/>
                  <a:gd name="T38" fmla="*/ 0 w 6"/>
                  <a:gd name="T39" fmla="*/ 2 h 8"/>
                  <a:gd name="T40" fmla="*/ 0 w 6"/>
                  <a:gd name="T41" fmla="*/ 4 h 8"/>
                  <a:gd name="T42" fmla="*/ 0 w 6"/>
                  <a:gd name="T43" fmla="*/ 4 h 8"/>
                  <a:gd name="T44" fmla="*/ 0 w 6"/>
                  <a:gd name="T45" fmla="*/ 6 h 8"/>
                  <a:gd name="T46" fmla="*/ 0 w 6"/>
                  <a:gd name="T47" fmla="*/ 6 h 8"/>
                  <a:gd name="T48" fmla="*/ 0 w 6"/>
                  <a:gd name="T49" fmla="*/ 6 h 8"/>
                  <a:gd name="T50" fmla="*/ 0 w 6"/>
                  <a:gd name="T51" fmla="*/ 6 h 8"/>
                  <a:gd name="T52" fmla="*/ 0 w 6"/>
                  <a:gd name="T53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" h="8">
                    <a:moveTo>
                      <a:pt x="0" y="6"/>
                    </a:moveTo>
                    <a:lnTo>
                      <a:pt x="0" y="6"/>
                    </a:lnTo>
                    <a:lnTo>
                      <a:pt x="0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4" y="4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15" name="Freeform 380"/>
              <p:cNvSpPr>
                <a:spLocks/>
              </p:cNvSpPr>
              <p:nvPr/>
            </p:nvSpPr>
            <p:spPr bwMode="auto">
              <a:xfrm>
                <a:off x="2175" y="1114"/>
                <a:ext cx="12" cy="20"/>
              </a:xfrm>
              <a:custGeom>
                <a:avLst/>
                <a:gdLst>
                  <a:gd name="T0" fmla="*/ 0 w 12"/>
                  <a:gd name="T1" fmla="*/ 8 h 20"/>
                  <a:gd name="T2" fmla="*/ 0 w 12"/>
                  <a:gd name="T3" fmla="*/ 8 h 20"/>
                  <a:gd name="T4" fmla="*/ 0 w 12"/>
                  <a:gd name="T5" fmla="*/ 10 h 20"/>
                  <a:gd name="T6" fmla="*/ 0 w 12"/>
                  <a:gd name="T7" fmla="*/ 12 h 20"/>
                  <a:gd name="T8" fmla="*/ 0 w 12"/>
                  <a:gd name="T9" fmla="*/ 14 h 20"/>
                  <a:gd name="T10" fmla="*/ 2 w 12"/>
                  <a:gd name="T11" fmla="*/ 14 h 20"/>
                  <a:gd name="T12" fmla="*/ 2 w 12"/>
                  <a:gd name="T13" fmla="*/ 14 h 20"/>
                  <a:gd name="T14" fmla="*/ 4 w 12"/>
                  <a:gd name="T15" fmla="*/ 18 h 20"/>
                  <a:gd name="T16" fmla="*/ 6 w 12"/>
                  <a:gd name="T17" fmla="*/ 18 h 20"/>
                  <a:gd name="T18" fmla="*/ 6 w 12"/>
                  <a:gd name="T19" fmla="*/ 18 h 20"/>
                  <a:gd name="T20" fmla="*/ 8 w 12"/>
                  <a:gd name="T21" fmla="*/ 20 h 20"/>
                  <a:gd name="T22" fmla="*/ 10 w 12"/>
                  <a:gd name="T23" fmla="*/ 20 h 20"/>
                  <a:gd name="T24" fmla="*/ 12 w 12"/>
                  <a:gd name="T25" fmla="*/ 20 h 20"/>
                  <a:gd name="T26" fmla="*/ 12 w 12"/>
                  <a:gd name="T27" fmla="*/ 20 h 20"/>
                  <a:gd name="T28" fmla="*/ 12 w 12"/>
                  <a:gd name="T29" fmla="*/ 18 h 20"/>
                  <a:gd name="T30" fmla="*/ 10 w 12"/>
                  <a:gd name="T31" fmla="*/ 18 h 20"/>
                  <a:gd name="T32" fmla="*/ 10 w 12"/>
                  <a:gd name="T33" fmla="*/ 16 h 20"/>
                  <a:gd name="T34" fmla="*/ 10 w 12"/>
                  <a:gd name="T35" fmla="*/ 16 h 20"/>
                  <a:gd name="T36" fmla="*/ 8 w 12"/>
                  <a:gd name="T37" fmla="*/ 12 h 20"/>
                  <a:gd name="T38" fmla="*/ 8 w 12"/>
                  <a:gd name="T39" fmla="*/ 12 h 20"/>
                  <a:gd name="T40" fmla="*/ 6 w 12"/>
                  <a:gd name="T41" fmla="*/ 6 h 20"/>
                  <a:gd name="T42" fmla="*/ 6 w 12"/>
                  <a:gd name="T43" fmla="*/ 6 h 20"/>
                  <a:gd name="T44" fmla="*/ 4 w 12"/>
                  <a:gd name="T45" fmla="*/ 2 h 20"/>
                  <a:gd name="T46" fmla="*/ 4 w 12"/>
                  <a:gd name="T47" fmla="*/ 2 h 20"/>
                  <a:gd name="T48" fmla="*/ 2 w 12"/>
                  <a:gd name="T49" fmla="*/ 0 h 20"/>
                  <a:gd name="T50" fmla="*/ 2 w 12"/>
                  <a:gd name="T51" fmla="*/ 0 h 20"/>
                  <a:gd name="T52" fmla="*/ 2 w 12"/>
                  <a:gd name="T53" fmla="*/ 0 h 20"/>
                  <a:gd name="T54" fmla="*/ 2 w 12"/>
                  <a:gd name="T55" fmla="*/ 2 h 20"/>
                  <a:gd name="T56" fmla="*/ 0 w 12"/>
                  <a:gd name="T57" fmla="*/ 4 h 20"/>
                  <a:gd name="T58" fmla="*/ 0 w 12"/>
                  <a:gd name="T59" fmla="*/ 8 h 20"/>
                  <a:gd name="T60" fmla="*/ 0 w 12"/>
                  <a:gd name="T61" fmla="*/ 8 h 20"/>
                  <a:gd name="T62" fmla="*/ 0 w 12"/>
                  <a:gd name="T63" fmla="*/ 8 h 20"/>
                  <a:gd name="T64" fmla="*/ 0 w 12"/>
                  <a:gd name="T65" fmla="*/ 8 h 20"/>
                  <a:gd name="T66" fmla="*/ 0 w 12"/>
                  <a:gd name="T67" fmla="*/ 8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2" h="20">
                    <a:moveTo>
                      <a:pt x="0" y="8"/>
                    </a:moveTo>
                    <a:lnTo>
                      <a:pt x="0" y="8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8" y="20"/>
                    </a:lnTo>
                    <a:lnTo>
                      <a:pt x="10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18"/>
                    </a:lnTo>
                    <a:lnTo>
                      <a:pt x="10" y="18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16" name="Freeform 382"/>
              <p:cNvSpPr>
                <a:spLocks/>
              </p:cNvSpPr>
              <p:nvPr/>
            </p:nvSpPr>
            <p:spPr bwMode="auto">
              <a:xfrm>
                <a:off x="2245" y="1116"/>
                <a:ext cx="6" cy="16"/>
              </a:xfrm>
              <a:custGeom>
                <a:avLst/>
                <a:gdLst>
                  <a:gd name="T0" fmla="*/ 0 w 6"/>
                  <a:gd name="T1" fmla="*/ 8 h 16"/>
                  <a:gd name="T2" fmla="*/ 0 w 6"/>
                  <a:gd name="T3" fmla="*/ 8 h 16"/>
                  <a:gd name="T4" fmla="*/ 2 w 6"/>
                  <a:gd name="T5" fmla="*/ 12 h 16"/>
                  <a:gd name="T6" fmla="*/ 2 w 6"/>
                  <a:gd name="T7" fmla="*/ 12 h 16"/>
                  <a:gd name="T8" fmla="*/ 4 w 6"/>
                  <a:gd name="T9" fmla="*/ 14 h 16"/>
                  <a:gd name="T10" fmla="*/ 4 w 6"/>
                  <a:gd name="T11" fmla="*/ 16 h 16"/>
                  <a:gd name="T12" fmla="*/ 6 w 6"/>
                  <a:gd name="T13" fmla="*/ 16 h 16"/>
                  <a:gd name="T14" fmla="*/ 6 w 6"/>
                  <a:gd name="T15" fmla="*/ 16 h 16"/>
                  <a:gd name="T16" fmla="*/ 6 w 6"/>
                  <a:gd name="T17" fmla="*/ 16 h 16"/>
                  <a:gd name="T18" fmla="*/ 6 w 6"/>
                  <a:gd name="T19" fmla="*/ 14 h 16"/>
                  <a:gd name="T20" fmla="*/ 6 w 6"/>
                  <a:gd name="T21" fmla="*/ 12 h 16"/>
                  <a:gd name="T22" fmla="*/ 6 w 6"/>
                  <a:gd name="T23" fmla="*/ 10 h 16"/>
                  <a:gd name="T24" fmla="*/ 6 w 6"/>
                  <a:gd name="T25" fmla="*/ 6 h 16"/>
                  <a:gd name="T26" fmla="*/ 6 w 6"/>
                  <a:gd name="T27" fmla="*/ 6 h 16"/>
                  <a:gd name="T28" fmla="*/ 4 w 6"/>
                  <a:gd name="T29" fmla="*/ 6 h 16"/>
                  <a:gd name="T30" fmla="*/ 4 w 6"/>
                  <a:gd name="T31" fmla="*/ 2 h 16"/>
                  <a:gd name="T32" fmla="*/ 4 w 6"/>
                  <a:gd name="T33" fmla="*/ 2 h 16"/>
                  <a:gd name="T34" fmla="*/ 2 w 6"/>
                  <a:gd name="T35" fmla="*/ 0 h 16"/>
                  <a:gd name="T36" fmla="*/ 2 w 6"/>
                  <a:gd name="T37" fmla="*/ 0 h 16"/>
                  <a:gd name="T38" fmla="*/ 2 w 6"/>
                  <a:gd name="T39" fmla="*/ 0 h 16"/>
                  <a:gd name="T40" fmla="*/ 0 w 6"/>
                  <a:gd name="T41" fmla="*/ 2 h 16"/>
                  <a:gd name="T42" fmla="*/ 0 w 6"/>
                  <a:gd name="T43" fmla="*/ 2 h 16"/>
                  <a:gd name="T44" fmla="*/ 0 w 6"/>
                  <a:gd name="T45" fmla="*/ 6 h 16"/>
                  <a:gd name="T46" fmla="*/ 0 w 6"/>
                  <a:gd name="T47" fmla="*/ 6 h 16"/>
                  <a:gd name="T48" fmla="*/ 0 w 6"/>
                  <a:gd name="T49" fmla="*/ 8 h 16"/>
                  <a:gd name="T50" fmla="*/ 0 w 6"/>
                  <a:gd name="T51" fmla="*/ 8 h 16"/>
                  <a:gd name="T52" fmla="*/ 0 w 6"/>
                  <a:gd name="T53" fmla="*/ 8 h 16"/>
                  <a:gd name="T54" fmla="*/ 0 w 6"/>
                  <a:gd name="T55" fmla="*/ 8 h 16"/>
                  <a:gd name="T56" fmla="*/ 0 w 6"/>
                  <a:gd name="T57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" h="16">
                    <a:moveTo>
                      <a:pt x="0" y="8"/>
                    </a:move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4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4"/>
                    </a:lnTo>
                    <a:lnTo>
                      <a:pt x="6" y="12"/>
                    </a:lnTo>
                    <a:lnTo>
                      <a:pt x="6" y="10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4" y="6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17" name="Freeform 384"/>
              <p:cNvSpPr>
                <a:spLocks/>
              </p:cNvSpPr>
              <p:nvPr/>
            </p:nvSpPr>
            <p:spPr bwMode="auto">
              <a:xfrm>
                <a:off x="2303" y="1108"/>
                <a:ext cx="10" cy="14"/>
              </a:xfrm>
              <a:custGeom>
                <a:avLst/>
                <a:gdLst>
                  <a:gd name="T0" fmla="*/ 2 w 10"/>
                  <a:gd name="T1" fmla="*/ 10 h 14"/>
                  <a:gd name="T2" fmla="*/ 2 w 10"/>
                  <a:gd name="T3" fmla="*/ 10 h 14"/>
                  <a:gd name="T4" fmla="*/ 4 w 10"/>
                  <a:gd name="T5" fmla="*/ 10 h 14"/>
                  <a:gd name="T6" fmla="*/ 4 w 10"/>
                  <a:gd name="T7" fmla="*/ 12 h 14"/>
                  <a:gd name="T8" fmla="*/ 4 w 10"/>
                  <a:gd name="T9" fmla="*/ 12 h 14"/>
                  <a:gd name="T10" fmla="*/ 6 w 10"/>
                  <a:gd name="T11" fmla="*/ 14 h 14"/>
                  <a:gd name="T12" fmla="*/ 6 w 10"/>
                  <a:gd name="T13" fmla="*/ 14 h 14"/>
                  <a:gd name="T14" fmla="*/ 8 w 10"/>
                  <a:gd name="T15" fmla="*/ 14 h 14"/>
                  <a:gd name="T16" fmla="*/ 8 w 10"/>
                  <a:gd name="T17" fmla="*/ 14 h 14"/>
                  <a:gd name="T18" fmla="*/ 10 w 10"/>
                  <a:gd name="T19" fmla="*/ 14 h 14"/>
                  <a:gd name="T20" fmla="*/ 10 w 10"/>
                  <a:gd name="T21" fmla="*/ 14 h 14"/>
                  <a:gd name="T22" fmla="*/ 10 w 10"/>
                  <a:gd name="T23" fmla="*/ 14 h 14"/>
                  <a:gd name="T24" fmla="*/ 8 w 10"/>
                  <a:gd name="T25" fmla="*/ 12 h 14"/>
                  <a:gd name="T26" fmla="*/ 8 w 10"/>
                  <a:gd name="T27" fmla="*/ 10 h 14"/>
                  <a:gd name="T28" fmla="*/ 8 w 10"/>
                  <a:gd name="T29" fmla="*/ 10 h 14"/>
                  <a:gd name="T30" fmla="*/ 6 w 10"/>
                  <a:gd name="T31" fmla="*/ 8 h 14"/>
                  <a:gd name="T32" fmla="*/ 4 w 10"/>
                  <a:gd name="T33" fmla="*/ 4 h 14"/>
                  <a:gd name="T34" fmla="*/ 4 w 10"/>
                  <a:gd name="T35" fmla="*/ 4 h 14"/>
                  <a:gd name="T36" fmla="*/ 2 w 10"/>
                  <a:gd name="T37" fmla="*/ 2 h 14"/>
                  <a:gd name="T38" fmla="*/ 2 w 10"/>
                  <a:gd name="T39" fmla="*/ 0 h 14"/>
                  <a:gd name="T40" fmla="*/ 2 w 10"/>
                  <a:gd name="T41" fmla="*/ 0 h 14"/>
                  <a:gd name="T42" fmla="*/ 2 w 10"/>
                  <a:gd name="T43" fmla="*/ 0 h 14"/>
                  <a:gd name="T44" fmla="*/ 0 w 10"/>
                  <a:gd name="T45" fmla="*/ 0 h 14"/>
                  <a:gd name="T46" fmla="*/ 0 w 10"/>
                  <a:gd name="T47" fmla="*/ 0 h 14"/>
                  <a:gd name="T48" fmla="*/ 0 w 10"/>
                  <a:gd name="T49" fmla="*/ 0 h 14"/>
                  <a:gd name="T50" fmla="*/ 0 w 10"/>
                  <a:gd name="T51" fmla="*/ 0 h 14"/>
                  <a:gd name="T52" fmla="*/ 0 w 10"/>
                  <a:gd name="T53" fmla="*/ 4 h 14"/>
                  <a:gd name="T54" fmla="*/ 0 w 10"/>
                  <a:gd name="T55" fmla="*/ 4 h 14"/>
                  <a:gd name="T56" fmla="*/ 0 w 10"/>
                  <a:gd name="T57" fmla="*/ 4 h 14"/>
                  <a:gd name="T58" fmla="*/ 0 w 10"/>
                  <a:gd name="T59" fmla="*/ 6 h 14"/>
                  <a:gd name="T60" fmla="*/ 0 w 10"/>
                  <a:gd name="T61" fmla="*/ 8 h 14"/>
                  <a:gd name="T62" fmla="*/ 2 w 10"/>
                  <a:gd name="T63" fmla="*/ 10 h 14"/>
                  <a:gd name="T64" fmla="*/ 2 w 10"/>
                  <a:gd name="T65" fmla="*/ 10 h 14"/>
                  <a:gd name="T66" fmla="*/ 2 w 10"/>
                  <a:gd name="T67" fmla="*/ 10 h 14"/>
                  <a:gd name="T68" fmla="*/ 2 w 10"/>
                  <a:gd name="T69" fmla="*/ 10 h 14"/>
                  <a:gd name="T70" fmla="*/ 2 w 10"/>
                  <a:gd name="T71" fmla="*/ 1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0" h="14">
                    <a:moveTo>
                      <a:pt x="2" y="10"/>
                    </a:moveTo>
                    <a:lnTo>
                      <a:pt x="2" y="10"/>
                    </a:lnTo>
                    <a:lnTo>
                      <a:pt x="4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8" y="12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6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1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18" name="Freeform 386"/>
              <p:cNvSpPr>
                <a:spLocks/>
              </p:cNvSpPr>
              <p:nvPr/>
            </p:nvSpPr>
            <p:spPr bwMode="auto">
              <a:xfrm>
                <a:off x="2293" y="1118"/>
                <a:ext cx="10" cy="8"/>
              </a:xfrm>
              <a:custGeom>
                <a:avLst/>
                <a:gdLst>
                  <a:gd name="T0" fmla="*/ 2 w 10"/>
                  <a:gd name="T1" fmla="*/ 0 h 8"/>
                  <a:gd name="T2" fmla="*/ 2 w 10"/>
                  <a:gd name="T3" fmla="*/ 0 h 8"/>
                  <a:gd name="T4" fmla="*/ 0 w 10"/>
                  <a:gd name="T5" fmla="*/ 0 h 8"/>
                  <a:gd name="T6" fmla="*/ 0 w 10"/>
                  <a:gd name="T7" fmla="*/ 0 h 8"/>
                  <a:gd name="T8" fmla="*/ 2 w 10"/>
                  <a:gd name="T9" fmla="*/ 2 h 8"/>
                  <a:gd name="T10" fmla="*/ 2 w 10"/>
                  <a:gd name="T11" fmla="*/ 4 h 8"/>
                  <a:gd name="T12" fmla="*/ 4 w 10"/>
                  <a:gd name="T13" fmla="*/ 4 h 8"/>
                  <a:gd name="T14" fmla="*/ 4 w 10"/>
                  <a:gd name="T15" fmla="*/ 4 h 8"/>
                  <a:gd name="T16" fmla="*/ 6 w 10"/>
                  <a:gd name="T17" fmla="*/ 6 h 8"/>
                  <a:gd name="T18" fmla="*/ 8 w 10"/>
                  <a:gd name="T19" fmla="*/ 6 h 8"/>
                  <a:gd name="T20" fmla="*/ 8 w 10"/>
                  <a:gd name="T21" fmla="*/ 6 h 8"/>
                  <a:gd name="T22" fmla="*/ 8 w 10"/>
                  <a:gd name="T23" fmla="*/ 6 h 8"/>
                  <a:gd name="T24" fmla="*/ 10 w 10"/>
                  <a:gd name="T25" fmla="*/ 8 h 8"/>
                  <a:gd name="T26" fmla="*/ 10 w 10"/>
                  <a:gd name="T27" fmla="*/ 8 h 8"/>
                  <a:gd name="T28" fmla="*/ 10 w 10"/>
                  <a:gd name="T29" fmla="*/ 6 h 8"/>
                  <a:gd name="T30" fmla="*/ 10 w 10"/>
                  <a:gd name="T31" fmla="*/ 6 h 8"/>
                  <a:gd name="T32" fmla="*/ 8 w 10"/>
                  <a:gd name="T33" fmla="*/ 4 h 8"/>
                  <a:gd name="T34" fmla="*/ 8 w 10"/>
                  <a:gd name="T35" fmla="*/ 4 h 8"/>
                  <a:gd name="T36" fmla="*/ 8 w 10"/>
                  <a:gd name="T37" fmla="*/ 4 h 8"/>
                  <a:gd name="T38" fmla="*/ 8 w 10"/>
                  <a:gd name="T39" fmla="*/ 4 h 8"/>
                  <a:gd name="T40" fmla="*/ 4 w 10"/>
                  <a:gd name="T41" fmla="*/ 0 h 8"/>
                  <a:gd name="T42" fmla="*/ 4 w 10"/>
                  <a:gd name="T43" fmla="*/ 0 h 8"/>
                  <a:gd name="T44" fmla="*/ 2 w 10"/>
                  <a:gd name="T45" fmla="*/ 0 h 8"/>
                  <a:gd name="T46" fmla="*/ 2 w 10"/>
                  <a:gd name="T47" fmla="*/ 0 h 8"/>
                  <a:gd name="T48" fmla="*/ 2 w 10"/>
                  <a:gd name="T49" fmla="*/ 0 h 8"/>
                  <a:gd name="T50" fmla="*/ 2 w 10"/>
                  <a:gd name="T51" fmla="*/ 0 h 8"/>
                  <a:gd name="T52" fmla="*/ 2 w 10"/>
                  <a:gd name="T53" fmla="*/ 0 h 8"/>
                  <a:gd name="T54" fmla="*/ 2 w 10"/>
                  <a:gd name="T55" fmla="*/ 0 h 8"/>
                  <a:gd name="T56" fmla="*/ 2 w 10"/>
                  <a:gd name="T5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0" h="8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6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19" name="Freeform 387"/>
              <p:cNvSpPr>
                <a:spLocks/>
              </p:cNvSpPr>
              <p:nvPr/>
            </p:nvSpPr>
            <p:spPr bwMode="auto">
              <a:xfrm>
                <a:off x="2293" y="1118"/>
                <a:ext cx="10" cy="8"/>
              </a:xfrm>
              <a:custGeom>
                <a:avLst/>
                <a:gdLst>
                  <a:gd name="T0" fmla="*/ 2 w 10"/>
                  <a:gd name="T1" fmla="*/ 0 h 8"/>
                  <a:gd name="T2" fmla="*/ 2 w 10"/>
                  <a:gd name="T3" fmla="*/ 0 h 8"/>
                  <a:gd name="T4" fmla="*/ 0 w 10"/>
                  <a:gd name="T5" fmla="*/ 0 h 8"/>
                  <a:gd name="T6" fmla="*/ 0 w 10"/>
                  <a:gd name="T7" fmla="*/ 0 h 8"/>
                  <a:gd name="T8" fmla="*/ 2 w 10"/>
                  <a:gd name="T9" fmla="*/ 2 h 8"/>
                  <a:gd name="T10" fmla="*/ 2 w 10"/>
                  <a:gd name="T11" fmla="*/ 4 h 8"/>
                  <a:gd name="T12" fmla="*/ 4 w 10"/>
                  <a:gd name="T13" fmla="*/ 4 h 8"/>
                  <a:gd name="T14" fmla="*/ 4 w 10"/>
                  <a:gd name="T15" fmla="*/ 4 h 8"/>
                  <a:gd name="T16" fmla="*/ 6 w 10"/>
                  <a:gd name="T17" fmla="*/ 6 h 8"/>
                  <a:gd name="T18" fmla="*/ 8 w 10"/>
                  <a:gd name="T19" fmla="*/ 6 h 8"/>
                  <a:gd name="T20" fmla="*/ 8 w 10"/>
                  <a:gd name="T21" fmla="*/ 6 h 8"/>
                  <a:gd name="T22" fmla="*/ 8 w 10"/>
                  <a:gd name="T23" fmla="*/ 6 h 8"/>
                  <a:gd name="T24" fmla="*/ 10 w 10"/>
                  <a:gd name="T25" fmla="*/ 8 h 8"/>
                  <a:gd name="T26" fmla="*/ 10 w 10"/>
                  <a:gd name="T27" fmla="*/ 8 h 8"/>
                  <a:gd name="T28" fmla="*/ 10 w 10"/>
                  <a:gd name="T29" fmla="*/ 6 h 8"/>
                  <a:gd name="T30" fmla="*/ 10 w 10"/>
                  <a:gd name="T31" fmla="*/ 6 h 8"/>
                  <a:gd name="T32" fmla="*/ 8 w 10"/>
                  <a:gd name="T33" fmla="*/ 4 h 8"/>
                  <a:gd name="T34" fmla="*/ 8 w 10"/>
                  <a:gd name="T35" fmla="*/ 4 h 8"/>
                  <a:gd name="T36" fmla="*/ 8 w 10"/>
                  <a:gd name="T37" fmla="*/ 4 h 8"/>
                  <a:gd name="T38" fmla="*/ 8 w 10"/>
                  <a:gd name="T39" fmla="*/ 4 h 8"/>
                  <a:gd name="T40" fmla="*/ 4 w 10"/>
                  <a:gd name="T41" fmla="*/ 0 h 8"/>
                  <a:gd name="T42" fmla="*/ 4 w 10"/>
                  <a:gd name="T43" fmla="*/ 0 h 8"/>
                  <a:gd name="T44" fmla="*/ 2 w 10"/>
                  <a:gd name="T45" fmla="*/ 0 h 8"/>
                  <a:gd name="T46" fmla="*/ 2 w 10"/>
                  <a:gd name="T47" fmla="*/ 0 h 8"/>
                  <a:gd name="T48" fmla="*/ 2 w 10"/>
                  <a:gd name="T49" fmla="*/ 0 h 8"/>
                  <a:gd name="T50" fmla="*/ 2 w 10"/>
                  <a:gd name="T51" fmla="*/ 0 h 8"/>
                  <a:gd name="T52" fmla="*/ 2 w 10"/>
                  <a:gd name="T53" fmla="*/ 0 h 8"/>
                  <a:gd name="T54" fmla="*/ 2 w 10"/>
                  <a:gd name="T55" fmla="*/ 0 h 8"/>
                  <a:gd name="T56" fmla="*/ 2 w 10"/>
                  <a:gd name="T5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0" h="8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6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20" name="Freeform 388"/>
              <p:cNvSpPr>
                <a:spLocks/>
              </p:cNvSpPr>
              <p:nvPr/>
            </p:nvSpPr>
            <p:spPr bwMode="auto">
              <a:xfrm>
                <a:off x="2519" y="1170"/>
                <a:ext cx="8" cy="8"/>
              </a:xfrm>
              <a:custGeom>
                <a:avLst/>
                <a:gdLst>
                  <a:gd name="T0" fmla="*/ 2 w 8"/>
                  <a:gd name="T1" fmla="*/ 4 h 8"/>
                  <a:gd name="T2" fmla="*/ 2 w 8"/>
                  <a:gd name="T3" fmla="*/ 4 h 8"/>
                  <a:gd name="T4" fmla="*/ 4 w 8"/>
                  <a:gd name="T5" fmla="*/ 6 h 8"/>
                  <a:gd name="T6" fmla="*/ 4 w 8"/>
                  <a:gd name="T7" fmla="*/ 8 h 8"/>
                  <a:gd name="T8" fmla="*/ 6 w 8"/>
                  <a:gd name="T9" fmla="*/ 8 h 8"/>
                  <a:gd name="T10" fmla="*/ 8 w 8"/>
                  <a:gd name="T11" fmla="*/ 8 h 8"/>
                  <a:gd name="T12" fmla="*/ 8 w 8"/>
                  <a:gd name="T13" fmla="*/ 8 h 8"/>
                  <a:gd name="T14" fmla="*/ 8 w 8"/>
                  <a:gd name="T15" fmla="*/ 8 h 8"/>
                  <a:gd name="T16" fmla="*/ 8 w 8"/>
                  <a:gd name="T17" fmla="*/ 6 h 8"/>
                  <a:gd name="T18" fmla="*/ 8 w 8"/>
                  <a:gd name="T19" fmla="*/ 6 h 8"/>
                  <a:gd name="T20" fmla="*/ 8 w 8"/>
                  <a:gd name="T21" fmla="*/ 6 h 8"/>
                  <a:gd name="T22" fmla="*/ 6 w 8"/>
                  <a:gd name="T23" fmla="*/ 4 h 8"/>
                  <a:gd name="T24" fmla="*/ 6 w 8"/>
                  <a:gd name="T25" fmla="*/ 4 h 8"/>
                  <a:gd name="T26" fmla="*/ 2 w 8"/>
                  <a:gd name="T27" fmla="*/ 2 h 8"/>
                  <a:gd name="T28" fmla="*/ 0 w 8"/>
                  <a:gd name="T29" fmla="*/ 0 h 8"/>
                  <a:gd name="T30" fmla="*/ 0 w 8"/>
                  <a:gd name="T31" fmla="*/ 0 h 8"/>
                  <a:gd name="T32" fmla="*/ 0 w 8"/>
                  <a:gd name="T33" fmla="*/ 0 h 8"/>
                  <a:gd name="T34" fmla="*/ 0 w 8"/>
                  <a:gd name="T35" fmla="*/ 0 h 8"/>
                  <a:gd name="T36" fmla="*/ 0 w 8"/>
                  <a:gd name="T37" fmla="*/ 2 h 8"/>
                  <a:gd name="T38" fmla="*/ 0 w 8"/>
                  <a:gd name="T39" fmla="*/ 2 h 8"/>
                  <a:gd name="T40" fmla="*/ 0 w 8"/>
                  <a:gd name="T41" fmla="*/ 2 h 8"/>
                  <a:gd name="T42" fmla="*/ 2 w 8"/>
                  <a:gd name="T43" fmla="*/ 4 h 8"/>
                  <a:gd name="T44" fmla="*/ 2 w 8"/>
                  <a:gd name="T45" fmla="*/ 4 h 8"/>
                  <a:gd name="T46" fmla="*/ 2 w 8"/>
                  <a:gd name="T47" fmla="*/ 4 h 8"/>
                  <a:gd name="T48" fmla="*/ 2 w 8"/>
                  <a:gd name="T49" fmla="*/ 4 h 8"/>
                  <a:gd name="T50" fmla="*/ 2 w 8"/>
                  <a:gd name="T51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8" h="8">
                    <a:moveTo>
                      <a:pt x="2" y="4"/>
                    </a:moveTo>
                    <a:lnTo>
                      <a:pt x="2" y="4"/>
                    </a:lnTo>
                    <a:lnTo>
                      <a:pt x="4" y="6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21" name="Freeform 390"/>
              <p:cNvSpPr>
                <a:spLocks/>
              </p:cNvSpPr>
              <p:nvPr/>
            </p:nvSpPr>
            <p:spPr bwMode="auto">
              <a:xfrm>
                <a:off x="2513" y="1176"/>
                <a:ext cx="8" cy="6"/>
              </a:xfrm>
              <a:custGeom>
                <a:avLst/>
                <a:gdLst>
                  <a:gd name="T0" fmla="*/ 4 w 8"/>
                  <a:gd name="T1" fmla="*/ 0 h 6"/>
                  <a:gd name="T2" fmla="*/ 4 w 8"/>
                  <a:gd name="T3" fmla="*/ 0 h 6"/>
                  <a:gd name="T4" fmla="*/ 2 w 8"/>
                  <a:gd name="T5" fmla="*/ 0 h 6"/>
                  <a:gd name="T6" fmla="*/ 2 w 8"/>
                  <a:gd name="T7" fmla="*/ 0 h 6"/>
                  <a:gd name="T8" fmla="*/ 0 w 8"/>
                  <a:gd name="T9" fmla="*/ 0 h 6"/>
                  <a:gd name="T10" fmla="*/ 0 w 8"/>
                  <a:gd name="T11" fmla="*/ 0 h 6"/>
                  <a:gd name="T12" fmla="*/ 0 w 8"/>
                  <a:gd name="T13" fmla="*/ 0 h 6"/>
                  <a:gd name="T14" fmla="*/ 0 w 8"/>
                  <a:gd name="T15" fmla="*/ 0 h 6"/>
                  <a:gd name="T16" fmla="*/ 2 w 8"/>
                  <a:gd name="T17" fmla="*/ 2 h 6"/>
                  <a:gd name="T18" fmla="*/ 2 w 8"/>
                  <a:gd name="T19" fmla="*/ 2 h 6"/>
                  <a:gd name="T20" fmla="*/ 2 w 8"/>
                  <a:gd name="T21" fmla="*/ 2 h 6"/>
                  <a:gd name="T22" fmla="*/ 6 w 8"/>
                  <a:gd name="T23" fmla="*/ 4 h 6"/>
                  <a:gd name="T24" fmla="*/ 6 w 8"/>
                  <a:gd name="T25" fmla="*/ 4 h 6"/>
                  <a:gd name="T26" fmla="*/ 6 w 8"/>
                  <a:gd name="T27" fmla="*/ 4 h 6"/>
                  <a:gd name="T28" fmla="*/ 6 w 8"/>
                  <a:gd name="T29" fmla="*/ 6 h 6"/>
                  <a:gd name="T30" fmla="*/ 6 w 8"/>
                  <a:gd name="T31" fmla="*/ 6 h 6"/>
                  <a:gd name="T32" fmla="*/ 6 w 8"/>
                  <a:gd name="T33" fmla="*/ 6 h 6"/>
                  <a:gd name="T34" fmla="*/ 6 w 8"/>
                  <a:gd name="T35" fmla="*/ 4 h 6"/>
                  <a:gd name="T36" fmla="*/ 8 w 8"/>
                  <a:gd name="T37" fmla="*/ 4 h 6"/>
                  <a:gd name="T38" fmla="*/ 8 w 8"/>
                  <a:gd name="T39" fmla="*/ 4 h 6"/>
                  <a:gd name="T40" fmla="*/ 8 w 8"/>
                  <a:gd name="T41" fmla="*/ 4 h 6"/>
                  <a:gd name="T42" fmla="*/ 6 w 8"/>
                  <a:gd name="T43" fmla="*/ 2 h 6"/>
                  <a:gd name="T44" fmla="*/ 6 w 8"/>
                  <a:gd name="T45" fmla="*/ 2 h 6"/>
                  <a:gd name="T46" fmla="*/ 6 w 8"/>
                  <a:gd name="T47" fmla="*/ 2 h 6"/>
                  <a:gd name="T48" fmla="*/ 4 w 8"/>
                  <a:gd name="T49" fmla="*/ 0 h 6"/>
                  <a:gd name="T50" fmla="*/ 4 w 8"/>
                  <a:gd name="T51" fmla="*/ 0 h 6"/>
                  <a:gd name="T52" fmla="*/ 4 w 8"/>
                  <a:gd name="T5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8" h="6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22" name="Freeform 391"/>
              <p:cNvSpPr>
                <a:spLocks/>
              </p:cNvSpPr>
              <p:nvPr/>
            </p:nvSpPr>
            <p:spPr bwMode="auto">
              <a:xfrm>
                <a:off x="2513" y="1176"/>
                <a:ext cx="8" cy="6"/>
              </a:xfrm>
              <a:custGeom>
                <a:avLst/>
                <a:gdLst>
                  <a:gd name="T0" fmla="*/ 4 w 8"/>
                  <a:gd name="T1" fmla="*/ 0 h 6"/>
                  <a:gd name="T2" fmla="*/ 4 w 8"/>
                  <a:gd name="T3" fmla="*/ 0 h 6"/>
                  <a:gd name="T4" fmla="*/ 2 w 8"/>
                  <a:gd name="T5" fmla="*/ 0 h 6"/>
                  <a:gd name="T6" fmla="*/ 2 w 8"/>
                  <a:gd name="T7" fmla="*/ 0 h 6"/>
                  <a:gd name="T8" fmla="*/ 0 w 8"/>
                  <a:gd name="T9" fmla="*/ 0 h 6"/>
                  <a:gd name="T10" fmla="*/ 0 w 8"/>
                  <a:gd name="T11" fmla="*/ 0 h 6"/>
                  <a:gd name="T12" fmla="*/ 0 w 8"/>
                  <a:gd name="T13" fmla="*/ 0 h 6"/>
                  <a:gd name="T14" fmla="*/ 0 w 8"/>
                  <a:gd name="T15" fmla="*/ 0 h 6"/>
                  <a:gd name="T16" fmla="*/ 2 w 8"/>
                  <a:gd name="T17" fmla="*/ 2 h 6"/>
                  <a:gd name="T18" fmla="*/ 2 w 8"/>
                  <a:gd name="T19" fmla="*/ 2 h 6"/>
                  <a:gd name="T20" fmla="*/ 2 w 8"/>
                  <a:gd name="T21" fmla="*/ 2 h 6"/>
                  <a:gd name="T22" fmla="*/ 6 w 8"/>
                  <a:gd name="T23" fmla="*/ 4 h 6"/>
                  <a:gd name="T24" fmla="*/ 6 w 8"/>
                  <a:gd name="T25" fmla="*/ 4 h 6"/>
                  <a:gd name="T26" fmla="*/ 6 w 8"/>
                  <a:gd name="T27" fmla="*/ 4 h 6"/>
                  <a:gd name="T28" fmla="*/ 6 w 8"/>
                  <a:gd name="T29" fmla="*/ 6 h 6"/>
                  <a:gd name="T30" fmla="*/ 6 w 8"/>
                  <a:gd name="T31" fmla="*/ 6 h 6"/>
                  <a:gd name="T32" fmla="*/ 6 w 8"/>
                  <a:gd name="T33" fmla="*/ 6 h 6"/>
                  <a:gd name="T34" fmla="*/ 6 w 8"/>
                  <a:gd name="T35" fmla="*/ 4 h 6"/>
                  <a:gd name="T36" fmla="*/ 8 w 8"/>
                  <a:gd name="T37" fmla="*/ 4 h 6"/>
                  <a:gd name="T38" fmla="*/ 8 w 8"/>
                  <a:gd name="T39" fmla="*/ 4 h 6"/>
                  <a:gd name="T40" fmla="*/ 8 w 8"/>
                  <a:gd name="T41" fmla="*/ 4 h 6"/>
                  <a:gd name="T42" fmla="*/ 6 w 8"/>
                  <a:gd name="T43" fmla="*/ 2 h 6"/>
                  <a:gd name="T44" fmla="*/ 6 w 8"/>
                  <a:gd name="T45" fmla="*/ 2 h 6"/>
                  <a:gd name="T46" fmla="*/ 6 w 8"/>
                  <a:gd name="T47" fmla="*/ 2 h 6"/>
                  <a:gd name="T48" fmla="*/ 4 w 8"/>
                  <a:gd name="T49" fmla="*/ 0 h 6"/>
                  <a:gd name="T50" fmla="*/ 4 w 8"/>
                  <a:gd name="T51" fmla="*/ 0 h 6"/>
                  <a:gd name="T52" fmla="*/ 4 w 8"/>
                  <a:gd name="T5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8" h="6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23" name="Freeform 392"/>
              <p:cNvSpPr>
                <a:spLocks/>
              </p:cNvSpPr>
              <p:nvPr/>
            </p:nvSpPr>
            <p:spPr bwMode="auto">
              <a:xfrm>
                <a:off x="2535" y="1252"/>
                <a:ext cx="4" cy="10"/>
              </a:xfrm>
              <a:custGeom>
                <a:avLst/>
                <a:gdLst>
                  <a:gd name="T0" fmla="*/ 0 w 4"/>
                  <a:gd name="T1" fmla="*/ 2 h 10"/>
                  <a:gd name="T2" fmla="*/ 0 w 4"/>
                  <a:gd name="T3" fmla="*/ 2 h 10"/>
                  <a:gd name="T4" fmla="*/ 0 w 4"/>
                  <a:gd name="T5" fmla="*/ 4 h 10"/>
                  <a:gd name="T6" fmla="*/ 0 w 4"/>
                  <a:gd name="T7" fmla="*/ 6 h 10"/>
                  <a:gd name="T8" fmla="*/ 0 w 4"/>
                  <a:gd name="T9" fmla="*/ 6 h 10"/>
                  <a:gd name="T10" fmla="*/ 0 w 4"/>
                  <a:gd name="T11" fmla="*/ 8 h 10"/>
                  <a:gd name="T12" fmla="*/ 0 w 4"/>
                  <a:gd name="T13" fmla="*/ 8 h 10"/>
                  <a:gd name="T14" fmla="*/ 2 w 4"/>
                  <a:gd name="T15" fmla="*/ 8 h 10"/>
                  <a:gd name="T16" fmla="*/ 2 w 4"/>
                  <a:gd name="T17" fmla="*/ 8 h 10"/>
                  <a:gd name="T18" fmla="*/ 2 w 4"/>
                  <a:gd name="T19" fmla="*/ 10 h 10"/>
                  <a:gd name="T20" fmla="*/ 2 w 4"/>
                  <a:gd name="T21" fmla="*/ 10 h 10"/>
                  <a:gd name="T22" fmla="*/ 2 w 4"/>
                  <a:gd name="T23" fmla="*/ 8 h 10"/>
                  <a:gd name="T24" fmla="*/ 2 w 4"/>
                  <a:gd name="T25" fmla="*/ 8 h 10"/>
                  <a:gd name="T26" fmla="*/ 4 w 4"/>
                  <a:gd name="T27" fmla="*/ 6 h 10"/>
                  <a:gd name="T28" fmla="*/ 4 w 4"/>
                  <a:gd name="T29" fmla="*/ 6 h 10"/>
                  <a:gd name="T30" fmla="*/ 4 w 4"/>
                  <a:gd name="T31" fmla="*/ 2 h 10"/>
                  <a:gd name="T32" fmla="*/ 4 w 4"/>
                  <a:gd name="T33" fmla="*/ 2 h 10"/>
                  <a:gd name="T34" fmla="*/ 4 w 4"/>
                  <a:gd name="T35" fmla="*/ 0 h 10"/>
                  <a:gd name="T36" fmla="*/ 4 w 4"/>
                  <a:gd name="T37" fmla="*/ 0 h 10"/>
                  <a:gd name="T38" fmla="*/ 4 w 4"/>
                  <a:gd name="T39" fmla="*/ 0 h 10"/>
                  <a:gd name="T40" fmla="*/ 4 w 4"/>
                  <a:gd name="T41" fmla="*/ 0 h 10"/>
                  <a:gd name="T42" fmla="*/ 2 w 4"/>
                  <a:gd name="T43" fmla="*/ 0 h 10"/>
                  <a:gd name="T44" fmla="*/ 2 w 4"/>
                  <a:gd name="T45" fmla="*/ 0 h 10"/>
                  <a:gd name="T46" fmla="*/ 0 w 4"/>
                  <a:gd name="T47" fmla="*/ 0 h 10"/>
                  <a:gd name="T48" fmla="*/ 0 w 4"/>
                  <a:gd name="T49" fmla="*/ 2 h 10"/>
                  <a:gd name="T50" fmla="*/ 0 w 4"/>
                  <a:gd name="T51" fmla="*/ 2 h 10"/>
                  <a:gd name="T52" fmla="*/ 0 w 4"/>
                  <a:gd name="T53" fmla="*/ 2 h 10"/>
                  <a:gd name="T54" fmla="*/ 0 w 4"/>
                  <a:gd name="T55" fmla="*/ 2 h 10"/>
                  <a:gd name="T56" fmla="*/ 0 w 4"/>
                  <a:gd name="T57" fmla="*/ 2 h 10"/>
                  <a:gd name="T58" fmla="*/ 0 w 4"/>
                  <a:gd name="T59" fmla="*/ 2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4" h="10">
                    <a:moveTo>
                      <a:pt x="0" y="2"/>
                    </a:move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24" name="Freeform 394"/>
              <p:cNvSpPr>
                <a:spLocks/>
              </p:cNvSpPr>
              <p:nvPr/>
            </p:nvSpPr>
            <p:spPr bwMode="auto">
              <a:xfrm>
                <a:off x="2517" y="1262"/>
                <a:ext cx="12" cy="10"/>
              </a:xfrm>
              <a:custGeom>
                <a:avLst/>
                <a:gdLst>
                  <a:gd name="T0" fmla="*/ 2 w 12"/>
                  <a:gd name="T1" fmla="*/ 2 h 10"/>
                  <a:gd name="T2" fmla="*/ 2 w 12"/>
                  <a:gd name="T3" fmla="*/ 2 h 10"/>
                  <a:gd name="T4" fmla="*/ 2 w 12"/>
                  <a:gd name="T5" fmla="*/ 4 h 10"/>
                  <a:gd name="T6" fmla="*/ 2 w 12"/>
                  <a:gd name="T7" fmla="*/ 6 h 10"/>
                  <a:gd name="T8" fmla="*/ 2 w 12"/>
                  <a:gd name="T9" fmla="*/ 6 h 10"/>
                  <a:gd name="T10" fmla="*/ 0 w 12"/>
                  <a:gd name="T11" fmla="*/ 8 h 10"/>
                  <a:gd name="T12" fmla="*/ 0 w 12"/>
                  <a:gd name="T13" fmla="*/ 8 h 10"/>
                  <a:gd name="T14" fmla="*/ 0 w 12"/>
                  <a:gd name="T15" fmla="*/ 10 h 10"/>
                  <a:gd name="T16" fmla="*/ 0 w 12"/>
                  <a:gd name="T17" fmla="*/ 10 h 10"/>
                  <a:gd name="T18" fmla="*/ 2 w 12"/>
                  <a:gd name="T19" fmla="*/ 10 h 10"/>
                  <a:gd name="T20" fmla="*/ 2 w 12"/>
                  <a:gd name="T21" fmla="*/ 10 h 10"/>
                  <a:gd name="T22" fmla="*/ 4 w 12"/>
                  <a:gd name="T23" fmla="*/ 8 h 10"/>
                  <a:gd name="T24" fmla="*/ 8 w 12"/>
                  <a:gd name="T25" fmla="*/ 6 h 10"/>
                  <a:gd name="T26" fmla="*/ 8 w 12"/>
                  <a:gd name="T27" fmla="*/ 6 h 10"/>
                  <a:gd name="T28" fmla="*/ 10 w 12"/>
                  <a:gd name="T29" fmla="*/ 4 h 10"/>
                  <a:gd name="T30" fmla="*/ 12 w 12"/>
                  <a:gd name="T31" fmla="*/ 2 h 10"/>
                  <a:gd name="T32" fmla="*/ 12 w 12"/>
                  <a:gd name="T33" fmla="*/ 2 h 10"/>
                  <a:gd name="T34" fmla="*/ 12 w 12"/>
                  <a:gd name="T35" fmla="*/ 2 h 10"/>
                  <a:gd name="T36" fmla="*/ 12 w 12"/>
                  <a:gd name="T37" fmla="*/ 2 h 10"/>
                  <a:gd name="T38" fmla="*/ 12 w 12"/>
                  <a:gd name="T39" fmla="*/ 0 h 10"/>
                  <a:gd name="T40" fmla="*/ 12 w 12"/>
                  <a:gd name="T41" fmla="*/ 0 h 10"/>
                  <a:gd name="T42" fmla="*/ 10 w 12"/>
                  <a:gd name="T43" fmla="*/ 0 h 10"/>
                  <a:gd name="T44" fmla="*/ 8 w 12"/>
                  <a:gd name="T45" fmla="*/ 0 h 10"/>
                  <a:gd name="T46" fmla="*/ 8 w 12"/>
                  <a:gd name="T47" fmla="*/ 0 h 10"/>
                  <a:gd name="T48" fmla="*/ 6 w 12"/>
                  <a:gd name="T49" fmla="*/ 0 h 10"/>
                  <a:gd name="T50" fmla="*/ 4 w 12"/>
                  <a:gd name="T51" fmla="*/ 0 h 10"/>
                  <a:gd name="T52" fmla="*/ 4 w 12"/>
                  <a:gd name="T53" fmla="*/ 0 h 10"/>
                  <a:gd name="T54" fmla="*/ 2 w 12"/>
                  <a:gd name="T55" fmla="*/ 2 h 10"/>
                  <a:gd name="T56" fmla="*/ 2 w 12"/>
                  <a:gd name="T57" fmla="*/ 2 h 10"/>
                  <a:gd name="T58" fmla="*/ 2 w 12"/>
                  <a:gd name="T59" fmla="*/ 2 h 10"/>
                  <a:gd name="T60" fmla="*/ 2 w 12"/>
                  <a:gd name="T61" fmla="*/ 2 h 10"/>
                  <a:gd name="T62" fmla="*/ 2 w 12"/>
                  <a:gd name="T63" fmla="*/ 2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2" h="10">
                    <a:moveTo>
                      <a:pt x="2" y="2"/>
                    </a:moveTo>
                    <a:lnTo>
                      <a:pt x="2" y="2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4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0" y="4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25" name="Freeform 396"/>
              <p:cNvSpPr>
                <a:spLocks/>
              </p:cNvSpPr>
              <p:nvPr/>
            </p:nvSpPr>
            <p:spPr bwMode="auto">
              <a:xfrm>
                <a:off x="2527" y="1272"/>
                <a:ext cx="6" cy="10"/>
              </a:xfrm>
              <a:custGeom>
                <a:avLst/>
                <a:gdLst>
                  <a:gd name="T0" fmla="*/ 2 w 6"/>
                  <a:gd name="T1" fmla="*/ 2 h 10"/>
                  <a:gd name="T2" fmla="*/ 2 w 6"/>
                  <a:gd name="T3" fmla="*/ 2 h 10"/>
                  <a:gd name="T4" fmla="*/ 0 w 6"/>
                  <a:gd name="T5" fmla="*/ 4 h 10"/>
                  <a:gd name="T6" fmla="*/ 0 w 6"/>
                  <a:gd name="T7" fmla="*/ 4 h 10"/>
                  <a:gd name="T8" fmla="*/ 0 w 6"/>
                  <a:gd name="T9" fmla="*/ 4 h 10"/>
                  <a:gd name="T10" fmla="*/ 0 w 6"/>
                  <a:gd name="T11" fmla="*/ 4 h 10"/>
                  <a:gd name="T12" fmla="*/ 0 w 6"/>
                  <a:gd name="T13" fmla="*/ 6 h 10"/>
                  <a:gd name="T14" fmla="*/ 0 w 6"/>
                  <a:gd name="T15" fmla="*/ 8 h 10"/>
                  <a:gd name="T16" fmla="*/ 2 w 6"/>
                  <a:gd name="T17" fmla="*/ 8 h 10"/>
                  <a:gd name="T18" fmla="*/ 2 w 6"/>
                  <a:gd name="T19" fmla="*/ 10 h 10"/>
                  <a:gd name="T20" fmla="*/ 2 w 6"/>
                  <a:gd name="T21" fmla="*/ 10 h 10"/>
                  <a:gd name="T22" fmla="*/ 4 w 6"/>
                  <a:gd name="T23" fmla="*/ 10 h 10"/>
                  <a:gd name="T24" fmla="*/ 4 w 6"/>
                  <a:gd name="T25" fmla="*/ 8 h 10"/>
                  <a:gd name="T26" fmla="*/ 4 w 6"/>
                  <a:gd name="T27" fmla="*/ 8 h 10"/>
                  <a:gd name="T28" fmla="*/ 6 w 6"/>
                  <a:gd name="T29" fmla="*/ 4 h 10"/>
                  <a:gd name="T30" fmla="*/ 6 w 6"/>
                  <a:gd name="T31" fmla="*/ 4 h 10"/>
                  <a:gd name="T32" fmla="*/ 6 w 6"/>
                  <a:gd name="T33" fmla="*/ 2 h 10"/>
                  <a:gd name="T34" fmla="*/ 6 w 6"/>
                  <a:gd name="T35" fmla="*/ 2 h 10"/>
                  <a:gd name="T36" fmla="*/ 6 w 6"/>
                  <a:gd name="T37" fmla="*/ 0 h 10"/>
                  <a:gd name="T38" fmla="*/ 6 w 6"/>
                  <a:gd name="T39" fmla="*/ 0 h 10"/>
                  <a:gd name="T40" fmla="*/ 6 w 6"/>
                  <a:gd name="T41" fmla="*/ 0 h 10"/>
                  <a:gd name="T42" fmla="*/ 6 w 6"/>
                  <a:gd name="T43" fmla="*/ 0 h 10"/>
                  <a:gd name="T44" fmla="*/ 4 w 6"/>
                  <a:gd name="T45" fmla="*/ 0 h 10"/>
                  <a:gd name="T46" fmla="*/ 4 w 6"/>
                  <a:gd name="T47" fmla="*/ 0 h 10"/>
                  <a:gd name="T48" fmla="*/ 2 w 6"/>
                  <a:gd name="T49" fmla="*/ 2 h 10"/>
                  <a:gd name="T50" fmla="*/ 2 w 6"/>
                  <a:gd name="T51" fmla="*/ 2 h 10"/>
                  <a:gd name="T52" fmla="*/ 2 w 6"/>
                  <a:gd name="T53" fmla="*/ 2 h 10"/>
                  <a:gd name="T54" fmla="*/ 2 w 6"/>
                  <a:gd name="T55" fmla="*/ 2 h 10"/>
                  <a:gd name="T56" fmla="*/ 2 w 6"/>
                  <a:gd name="T57" fmla="*/ 2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" h="10">
                    <a:moveTo>
                      <a:pt x="2" y="2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2" y="8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4" y="10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26" name="Freeform 398"/>
              <p:cNvSpPr>
                <a:spLocks/>
              </p:cNvSpPr>
              <p:nvPr/>
            </p:nvSpPr>
            <p:spPr bwMode="auto">
              <a:xfrm>
                <a:off x="2513" y="1282"/>
                <a:ext cx="12" cy="10"/>
              </a:xfrm>
              <a:custGeom>
                <a:avLst/>
                <a:gdLst>
                  <a:gd name="T0" fmla="*/ 0 w 12"/>
                  <a:gd name="T1" fmla="*/ 2 h 10"/>
                  <a:gd name="T2" fmla="*/ 0 w 12"/>
                  <a:gd name="T3" fmla="*/ 2 h 10"/>
                  <a:gd name="T4" fmla="*/ 2 w 12"/>
                  <a:gd name="T5" fmla="*/ 2 h 10"/>
                  <a:gd name="T6" fmla="*/ 2 w 12"/>
                  <a:gd name="T7" fmla="*/ 4 h 10"/>
                  <a:gd name="T8" fmla="*/ 2 w 12"/>
                  <a:gd name="T9" fmla="*/ 4 h 10"/>
                  <a:gd name="T10" fmla="*/ 2 w 12"/>
                  <a:gd name="T11" fmla="*/ 4 h 10"/>
                  <a:gd name="T12" fmla="*/ 4 w 12"/>
                  <a:gd name="T13" fmla="*/ 6 h 10"/>
                  <a:gd name="T14" fmla="*/ 6 w 12"/>
                  <a:gd name="T15" fmla="*/ 8 h 10"/>
                  <a:gd name="T16" fmla="*/ 6 w 12"/>
                  <a:gd name="T17" fmla="*/ 8 h 10"/>
                  <a:gd name="T18" fmla="*/ 6 w 12"/>
                  <a:gd name="T19" fmla="*/ 10 h 10"/>
                  <a:gd name="T20" fmla="*/ 6 w 12"/>
                  <a:gd name="T21" fmla="*/ 10 h 10"/>
                  <a:gd name="T22" fmla="*/ 8 w 12"/>
                  <a:gd name="T23" fmla="*/ 10 h 10"/>
                  <a:gd name="T24" fmla="*/ 8 w 12"/>
                  <a:gd name="T25" fmla="*/ 10 h 10"/>
                  <a:gd name="T26" fmla="*/ 8 w 12"/>
                  <a:gd name="T27" fmla="*/ 10 h 10"/>
                  <a:gd name="T28" fmla="*/ 8 w 12"/>
                  <a:gd name="T29" fmla="*/ 8 h 10"/>
                  <a:gd name="T30" fmla="*/ 10 w 12"/>
                  <a:gd name="T31" fmla="*/ 8 h 10"/>
                  <a:gd name="T32" fmla="*/ 10 w 12"/>
                  <a:gd name="T33" fmla="*/ 8 h 10"/>
                  <a:gd name="T34" fmla="*/ 12 w 12"/>
                  <a:gd name="T35" fmla="*/ 6 h 10"/>
                  <a:gd name="T36" fmla="*/ 12 w 12"/>
                  <a:gd name="T37" fmla="*/ 6 h 10"/>
                  <a:gd name="T38" fmla="*/ 12 w 12"/>
                  <a:gd name="T39" fmla="*/ 4 h 10"/>
                  <a:gd name="T40" fmla="*/ 10 w 12"/>
                  <a:gd name="T41" fmla="*/ 4 h 10"/>
                  <a:gd name="T42" fmla="*/ 8 w 12"/>
                  <a:gd name="T43" fmla="*/ 4 h 10"/>
                  <a:gd name="T44" fmla="*/ 8 w 12"/>
                  <a:gd name="T45" fmla="*/ 4 h 10"/>
                  <a:gd name="T46" fmla="*/ 8 w 12"/>
                  <a:gd name="T47" fmla="*/ 4 h 10"/>
                  <a:gd name="T48" fmla="*/ 6 w 12"/>
                  <a:gd name="T49" fmla="*/ 4 h 10"/>
                  <a:gd name="T50" fmla="*/ 6 w 12"/>
                  <a:gd name="T51" fmla="*/ 4 h 10"/>
                  <a:gd name="T52" fmla="*/ 4 w 12"/>
                  <a:gd name="T53" fmla="*/ 0 h 10"/>
                  <a:gd name="T54" fmla="*/ 2 w 12"/>
                  <a:gd name="T55" fmla="*/ 0 h 10"/>
                  <a:gd name="T56" fmla="*/ 2 w 12"/>
                  <a:gd name="T57" fmla="*/ 0 h 10"/>
                  <a:gd name="T58" fmla="*/ 2 w 12"/>
                  <a:gd name="T59" fmla="*/ 0 h 10"/>
                  <a:gd name="T60" fmla="*/ 0 w 12"/>
                  <a:gd name="T61" fmla="*/ 2 h 10"/>
                  <a:gd name="T62" fmla="*/ 0 w 12"/>
                  <a:gd name="T63" fmla="*/ 2 h 10"/>
                  <a:gd name="T64" fmla="*/ 0 w 12"/>
                  <a:gd name="T65" fmla="*/ 2 h 10"/>
                  <a:gd name="T66" fmla="*/ 0 w 12"/>
                  <a:gd name="T67" fmla="*/ 2 h 10"/>
                  <a:gd name="T68" fmla="*/ 0 w 12"/>
                  <a:gd name="T69" fmla="*/ 2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2" h="10">
                    <a:moveTo>
                      <a:pt x="0" y="2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4" y="6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4"/>
                    </a:lnTo>
                    <a:lnTo>
                      <a:pt x="10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27" name="Freeform 400"/>
              <p:cNvSpPr>
                <a:spLocks/>
              </p:cNvSpPr>
              <p:nvPr/>
            </p:nvSpPr>
            <p:spPr bwMode="auto">
              <a:xfrm>
                <a:off x="2515" y="1336"/>
                <a:ext cx="8" cy="20"/>
              </a:xfrm>
              <a:custGeom>
                <a:avLst/>
                <a:gdLst>
                  <a:gd name="T0" fmla="*/ 2 w 8"/>
                  <a:gd name="T1" fmla="*/ 0 h 20"/>
                  <a:gd name="T2" fmla="*/ 2 w 8"/>
                  <a:gd name="T3" fmla="*/ 0 h 20"/>
                  <a:gd name="T4" fmla="*/ 0 w 8"/>
                  <a:gd name="T5" fmla="*/ 0 h 20"/>
                  <a:gd name="T6" fmla="*/ 0 w 8"/>
                  <a:gd name="T7" fmla="*/ 0 h 20"/>
                  <a:gd name="T8" fmla="*/ 0 w 8"/>
                  <a:gd name="T9" fmla="*/ 2 h 20"/>
                  <a:gd name="T10" fmla="*/ 0 w 8"/>
                  <a:gd name="T11" fmla="*/ 2 h 20"/>
                  <a:gd name="T12" fmla="*/ 0 w 8"/>
                  <a:gd name="T13" fmla="*/ 4 h 20"/>
                  <a:gd name="T14" fmla="*/ 0 w 8"/>
                  <a:gd name="T15" fmla="*/ 6 h 20"/>
                  <a:gd name="T16" fmla="*/ 0 w 8"/>
                  <a:gd name="T17" fmla="*/ 6 h 20"/>
                  <a:gd name="T18" fmla="*/ 0 w 8"/>
                  <a:gd name="T19" fmla="*/ 10 h 20"/>
                  <a:gd name="T20" fmla="*/ 0 w 8"/>
                  <a:gd name="T21" fmla="*/ 16 h 20"/>
                  <a:gd name="T22" fmla="*/ 0 w 8"/>
                  <a:gd name="T23" fmla="*/ 16 h 20"/>
                  <a:gd name="T24" fmla="*/ 0 w 8"/>
                  <a:gd name="T25" fmla="*/ 16 h 20"/>
                  <a:gd name="T26" fmla="*/ 2 w 8"/>
                  <a:gd name="T27" fmla="*/ 18 h 20"/>
                  <a:gd name="T28" fmla="*/ 2 w 8"/>
                  <a:gd name="T29" fmla="*/ 20 h 20"/>
                  <a:gd name="T30" fmla="*/ 4 w 8"/>
                  <a:gd name="T31" fmla="*/ 20 h 20"/>
                  <a:gd name="T32" fmla="*/ 4 w 8"/>
                  <a:gd name="T33" fmla="*/ 20 h 20"/>
                  <a:gd name="T34" fmla="*/ 4 w 8"/>
                  <a:gd name="T35" fmla="*/ 20 h 20"/>
                  <a:gd name="T36" fmla="*/ 4 w 8"/>
                  <a:gd name="T37" fmla="*/ 18 h 20"/>
                  <a:gd name="T38" fmla="*/ 4 w 8"/>
                  <a:gd name="T39" fmla="*/ 16 h 20"/>
                  <a:gd name="T40" fmla="*/ 4 w 8"/>
                  <a:gd name="T41" fmla="*/ 14 h 20"/>
                  <a:gd name="T42" fmla="*/ 4 w 8"/>
                  <a:gd name="T43" fmla="*/ 14 h 20"/>
                  <a:gd name="T44" fmla="*/ 4 w 8"/>
                  <a:gd name="T45" fmla="*/ 12 h 20"/>
                  <a:gd name="T46" fmla="*/ 6 w 8"/>
                  <a:gd name="T47" fmla="*/ 10 h 20"/>
                  <a:gd name="T48" fmla="*/ 6 w 8"/>
                  <a:gd name="T49" fmla="*/ 10 h 20"/>
                  <a:gd name="T50" fmla="*/ 8 w 8"/>
                  <a:gd name="T51" fmla="*/ 6 h 20"/>
                  <a:gd name="T52" fmla="*/ 8 w 8"/>
                  <a:gd name="T53" fmla="*/ 6 h 20"/>
                  <a:gd name="T54" fmla="*/ 8 w 8"/>
                  <a:gd name="T55" fmla="*/ 4 h 20"/>
                  <a:gd name="T56" fmla="*/ 8 w 8"/>
                  <a:gd name="T57" fmla="*/ 2 h 20"/>
                  <a:gd name="T58" fmla="*/ 8 w 8"/>
                  <a:gd name="T59" fmla="*/ 2 h 20"/>
                  <a:gd name="T60" fmla="*/ 8 w 8"/>
                  <a:gd name="T61" fmla="*/ 2 h 20"/>
                  <a:gd name="T62" fmla="*/ 6 w 8"/>
                  <a:gd name="T63" fmla="*/ 2 h 20"/>
                  <a:gd name="T64" fmla="*/ 4 w 8"/>
                  <a:gd name="T65" fmla="*/ 2 h 20"/>
                  <a:gd name="T66" fmla="*/ 4 w 8"/>
                  <a:gd name="T67" fmla="*/ 2 h 20"/>
                  <a:gd name="T68" fmla="*/ 4 w 8"/>
                  <a:gd name="T69" fmla="*/ 0 h 20"/>
                  <a:gd name="T70" fmla="*/ 2 w 8"/>
                  <a:gd name="T71" fmla="*/ 0 h 20"/>
                  <a:gd name="T72" fmla="*/ 2 w 8"/>
                  <a:gd name="T73" fmla="*/ 0 h 20"/>
                  <a:gd name="T74" fmla="*/ 2 w 8"/>
                  <a:gd name="T75" fmla="*/ 0 h 20"/>
                  <a:gd name="T76" fmla="*/ 2 w 8"/>
                  <a:gd name="T77" fmla="*/ 0 h 20"/>
                  <a:gd name="T78" fmla="*/ 2 w 8"/>
                  <a:gd name="T79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8" h="20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2" y="18"/>
                    </a:lnTo>
                    <a:lnTo>
                      <a:pt x="2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2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28" name="Freeform 402"/>
              <p:cNvSpPr>
                <a:spLocks/>
              </p:cNvSpPr>
              <p:nvPr/>
            </p:nvSpPr>
            <p:spPr bwMode="auto">
              <a:xfrm>
                <a:off x="2513" y="1370"/>
                <a:ext cx="8" cy="10"/>
              </a:xfrm>
              <a:custGeom>
                <a:avLst/>
                <a:gdLst>
                  <a:gd name="T0" fmla="*/ 0 w 8"/>
                  <a:gd name="T1" fmla="*/ 0 h 10"/>
                  <a:gd name="T2" fmla="*/ 0 w 8"/>
                  <a:gd name="T3" fmla="*/ 0 h 10"/>
                  <a:gd name="T4" fmla="*/ 0 w 8"/>
                  <a:gd name="T5" fmla="*/ 0 h 10"/>
                  <a:gd name="T6" fmla="*/ 0 w 8"/>
                  <a:gd name="T7" fmla="*/ 0 h 10"/>
                  <a:gd name="T8" fmla="*/ 0 w 8"/>
                  <a:gd name="T9" fmla="*/ 2 h 10"/>
                  <a:gd name="T10" fmla="*/ 0 w 8"/>
                  <a:gd name="T11" fmla="*/ 6 h 10"/>
                  <a:gd name="T12" fmla="*/ 0 w 8"/>
                  <a:gd name="T13" fmla="*/ 6 h 10"/>
                  <a:gd name="T14" fmla="*/ 0 w 8"/>
                  <a:gd name="T15" fmla="*/ 8 h 10"/>
                  <a:gd name="T16" fmla="*/ 0 w 8"/>
                  <a:gd name="T17" fmla="*/ 8 h 10"/>
                  <a:gd name="T18" fmla="*/ 0 w 8"/>
                  <a:gd name="T19" fmla="*/ 10 h 10"/>
                  <a:gd name="T20" fmla="*/ 0 w 8"/>
                  <a:gd name="T21" fmla="*/ 10 h 10"/>
                  <a:gd name="T22" fmla="*/ 2 w 8"/>
                  <a:gd name="T23" fmla="*/ 10 h 10"/>
                  <a:gd name="T24" fmla="*/ 2 w 8"/>
                  <a:gd name="T25" fmla="*/ 8 h 10"/>
                  <a:gd name="T26" fmla="*/ 4 w 8"/>
                  <a:gd name="T27" fmla="*/ 8 h 10"/>
                  <a:gd name="T28" fmla="*/ 4 w 8"/>
                  <a:gd name="T29" fmla="*/ 8 h 10"/>
                  <a:gd name="T30" fmla="*/ 4 w 8"/>
                  <a:gd name="T31" fmla="*/ 6 h 10"/>
                  <a:gd name="T32" fmla="*/ 6 w 8"/>
                  <a:gd name="T33" fmla="*/ 6 h 10"/>
                  <a:gd name="T34" fmla="*/ 6 w 8"/>
                  <a:gd name="T35" fmla="*/ 6 h 10"/>
                  <a:gd name="T36" fmla="*/ 6 w 8"/>
                  <a:gd name="T37" fmla="*/ 4 h 10"/>
                  <a:gd name="T38" fmla="*/ 8 w 8"/>
                  <a:gd name="T39" fmla="*/ 4 h 10"/>
                  <a:gd name="T40" fmla="*/ 8 w 8"/>
                  <a:gd name="T41" fmla="*/ 4 h 10"/>
                  <a:gd name="T42" fmla="*/ 8 w 8"/>
                  <a:gd name="T43" fmla="*/ 2 h 10"/>
                  <a:gd name="T44" fmla="*/ 8 w 8"/>
                  <a:gd name="T45" fmla="*/ 0 h 10"/>
                  <a:gd name="T46" fmla="*/ 8 w 8"/>
                  <a:gd name="T47" fmla="*/ 0 h 10"/>
                  <a:gd name="T48" fmla="*/ 6 w 8"/>
                  <a:gd name="T49" fmla="*/ 0 h 10"/>
                  <a:gd name="T50" fmla="*/ 6 w 8"/>
                  <a:gd name="T51" fmla="*/ 0 h 10"/>
                  <a:gd name="T52" fmla="*/ 6 w 8"/>
                  <a:gd name="T53" fmla="*/ 0 h 10"/>
                  <a:gd name="T54" fmla="*/ 4 w 8"/>
                  <a:gd name="T55" fmla="*/ 0 h 10"/>
                  <a:gd name="T56" fmla="*/ 4 w 8"/>
                  <a:gd name="T57" fmla="*/ 0 h 10"/>
                  <a:gd name="T58" fmla="*/ 2 w 8"/>
                  <a:gd name="T59" fmla="*/ 0 h 10"/>
                  <a:gd name="T60" fmla="*/ 2 w 8"/>
                  <a:gd name="T61" fmla="*/ 0 h 10"/>
                  <a:gd name="T62" fmla="*/ 0 w 8"/>
                  <a:gd name="T63" fmla="*/ 0 h 10"/>
                  <a:gd name="T64" fmla="*/ 0 w 8"/>
                  <a:gd name="T65" fmla="*/ 0 h 10"/>
                  <a:gd name="T66" fmla="*/ 0 w 8"/>
                  <a:gd name="T67" fmla="*/ 0 h 10"/>
                  <a:gd name="T68" fmla="*/ 0 w 8"/>
                  <a:gd name="T69" fmla="*/ 0 h 10"/>
                  <a:gd name="T70" fmla="*/ 0 w 8"/>
                  <a:gd name="T71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8" h="1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0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529" name="Freeform 404"/>
              <p:cNvSpPr>
                <a:spLocks/>
              </p:cNvSpPr>
              <p:nvPr/>
            </p:nvSpPr>
            <p:spPr bwMode="auto">
              <a:xfrm>
                <a:off x="2501" y="1376"/>
                <a:ext cx="8" cy="6"/>
              </a:xfrm>
              <a:custGeom>
                <a:avLst/>
                <a:gdLst>
                  <a:gd name="T0" fmla="*/ 0 w 8"/>
                  <a:gd name="T1" fmla="*/ 2 h 6"/>
                  <a:gd name="T2" fmla="*/ 0 w 8"/>
                  <a:gd name="T3" fmla="*/ 2 h 6"/>
                  <a:gd name="T4" fmla="*/ 0 w 8"/>
                  <a:gd name="T5" fmla="*/ 4 h 6"/>
                  <a:gd name="T6" fmla="*/ 0 w 8"/>
                  <a:gd name="T7" fmla="*/ 4 h 6"/>
                  <a:gd name="T8" fmla="*/ 2 w 8"/>
                  <a:gd name="T9" fmla="*/ 4 h 6"/>
                  <a:gd name="T10" fmla="*/ 2 w 8"/>
                  <a:gd name="T11" fmla="*/ 4 h 6"/>
                  <a:gd name="T12" fmla="*/ 4 w 8"/>
                  <a:gd name="T13" fmla="*/ 6 h 6"/>
                  <a:gd name="T14" fmla="*/ 4 w 8"/>
                  <a:gd name="T15" fmla="*/ 6 h 6"/>
                  <a:gd name="T16" fmla="*/ 4 w 8"/>
                  <a:gd name="T17" fmla="*/ 6 h 6"/>
                  <a:gd name="T18" fmla="*/ 6 w 8"/>
                  <a:gd name="T19" fmla="*/ 6 h 6"/>
                  <a:gd name="T20" fmla="*/ 8 w 8"/>
                  <a:gd name="T21" fmla="*/ 6 h 6"/>
                  <a:gd name="T22" fmla="*/ 8 w 8"/>
                  <a:gd name="T23" fmla="*/ 6 h 6"/>
                  <a:gd name="T24" fmla="*/ 8 w 8"/>
                  <a:gd name="T25" fmla="*/ 6 h 6"/>
                  <a:gd name="T26" fmla="*/ 8 w 8"/>
                  <a:gd name="T27" fmla="*/ 6 h 6"/>
                  <a:gd name="T28" fmla="*/ 8 w 8"/>
                  <a:gd name="T29" fmla="*/ 4 h 6"/>
                  <a:gd name="T30" fmla="*/ 8 w 8"/>
                  <a:gd name="T31" fmla="*/ 2 h 6"/>
                  <a:gd name="T32" fmla="*/ 6 w 8"/>
                  <a:gd name="T33" fmla="*/ 2 h 6"/>
                  <a:gd name="T34" fmla="*/ 6 w 8"/>
                  <a:gd name="T35" fmla="*/ 0 h 6"/>
                  <a:gd name="T36" fmla="*/ 6 w 8"/>
                  <a:gd name="T37" fmla="*/ 0 h 6"/>
                  <a:gd name="T38" fmla="*/ 4 w 8"/>
                  <a:gd name="T39" fmla="*/ 0 h 6"/>
                  <a:gd name="T40" fmla="*/ 4 w 8"/>
                  <a:gd name="T41" fmla="*/ 0 h 6"/>
                  <a:gd name="T42" fmla="*/ 2 w 8"/>
                  <a:gd name="T43" fmla="*/ 0 h 6"/>
                  <a:gd name="T44" fmla="*/ 0 w 8"/>
                  <a:gd name="T45" fmla="*/ 2 h 6"/>
                  <a:gd name="T46" fmla="*/ 0 w 8"/>
                  <a:gd name="T47" fmla="*/ 2 h 6"/>
                  <a:gd name="T48" fmla="*/ 0 w 8"/>
                  <a:gd name="T49" fmla="*/ 2 h 6"/>
                  <a:gd name="T50" fmla="*/ 0 w 8"/>
                  <a:gd name="T51" fmla="*/ 2 h 6"/>
                  <a:gd name="T52" fmla="*/ 0 w 8"/>
                  <a:gd name="T53" fmla="*/ 2 h 6"/>
                  <a:gd name="T54" fmla="*/ 0 w 8"/>
                  <a:gd name="T55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" h="6">
                    <a:moveTo>
                      <a:pt x="0" y="2"/>
                    </a:move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</p:grpSp>
        <p:grpSp>
          <p:nvGrpSpPr>
            <p:cNvPr id="42" name="Group 607"/>
            <p:cNvGrpSpPr>
              <a:grpSpLocks/>
            </p:cNvGrpSpPr>
            <p:nvPr/>
          </p:nvGrpSpPr>
          <p:grpSpPr bwMode="auto">
            <a:xfrm>
              <a:off x="3816020" y="2081057"/>
              <a:ext cx="3961196" cy="2052029"/>
              <a:chOff x="2445" y="1422"/>
              <a:chExt cx="2440" cy="1264"/>
            </a:xfrm>
            <a:grpFill/>
          </p:grpSpPr>
          <p:sp>
            <p:nvSpPr>
              <p:cNvPr id="310" name="Freeform 407"/>
              <p:cNvSpPr>
                <a:spLocks/>
              </p:cNvSpPr>
              <p:nvPr/>
            </p:nvSpPr>
            <p:spPr bwMode="auto">
              <a:xfrm>
                <a:off x="2447" y="1422"/>
                <a:ext cx="38" cy="18"/>
              </a:xfrm>
              <a:custGeom>
                <a:avLst/>
                <a:gdLst>
                  <a:gd name="T0" fmla="*/ 18 w 38"/>
                  <a:gd name="T1" fmla="*/ 2 h 18"/>
                  <a:gd name="T2" fmla="*/ 18 w 38"/>
                  <a:gd name="T3" fmla="*/ 2 h 18"/>
                  <a:gd name="T4" fmla="*/ 16 w 38"/>
                  <a:gd name="T5" fmla="*/ 2 h 18"/>
                  <a:gd name="T6" fmla="*/ 14 w 38"/>
                  <a:gd name="T7" fmla="*/ 2 h 18"/>
                  <a:gd name="T8" fmla="*/ 14 w 38"/>
                  <a:gd name="T9" fmla="*/ 0 h 18"/>
                  <a:gd name="T10" fmla="*/ 12 w 38"/>
                  <a:gd name="T11" fmla="*/ 0 h 18"/>
                  <a:gd name="T12" fmla="*/ 12 w 38"/>
                  <a:gd name="T13" fmla="*/ 0 h 18"/>
                  <a:gd name="T14" fmla="*/ 10 w 38"/>
                  <a:gd name="T15" fmla="*/ 0 h 18"/>
                  <a:gd name="T16" fmla="*/ 8 w 38"/>
                  <a:gd name="T17" fmla="*/ 2 h 18"/>
                  <a:gd name="T18" fmla="*/ 4 w 38"/>
                  <a:gd name="T19" fmla="*/ 2 h 18"/>
                  <a:gd name="T20" fmla="*/ 4 w 38"/>
                  <a:gd name="T21" fmla="*/ 2 h 18"/>
                  <a:gd name="T22" fmla="*/ 2 w 38"/>
                  <a:gd name="T23" fmla="*/ 4 h 18"/>
                  <a:gd name="T24" fmla="*/ 0 w 38"/>
                  <a:gd name="T25" fmla="*/ 4 h 18"/>
                  <a:gd name="T26" fmla="*/ 0 w 38"/>
                  <a:gd name="T27" fmla="*/ 4 h 18"/>
                  <a:gd name="T28" fmla="*/ 0 w 38"/>
                  <a:gd name="T29" fmla="*/ 6 h 18"/>
                  <a:gd name="T30" fmla="*/ 0 w 38"/>
                  <a:gd name="T31" fmla="*/ 6 h 18"/>
                  <a:gd name="T32" fmla="*/ 0 w 38"/>
                  <a:gd name="T33" fmla="*/ 8 h 18"/>
                  <a:gd name="T34" fmla="*/ 0 w 38"/>
                  <a:gd name="T35" fmla="*/ 8 h 18"/>
                  <a:gd name="T36" fmla="*/ 0 w 38"/>
                  <a:gd name="T37" fmla="*/ 10 h 18"/>
                  <a:gd name="T38" fmla="*/ 0 w 38"/>
                  <a:gd name="T39" fmla="*/ 10 h 18"/>
                  <a:gd name="T40" fmla="*/ 0 w 38"/>
                  <a:gd name="T41" fmla="*/ 10 h 18"/>
                  <a:gd name="T42" fmla="*/ 0 w 38"/>
                  <a:gd name="T43" fmla="*/ 10 h 18"/>
                  <a:gd name="T44" fmla="*/ 2 w 38"/>
                  <a:gd name="T45" fmla="*/ 10 h 18"/>
                  <a:gd name="T46" fmla="*/ 4 w 38"/>
                  <a:gd name="T47" fmla="*/ 10 h 18"/>
                  <a:gd name="T48" fmla="*/ 6 w 38"/>
                  <a:gd name="T49" fmla="*/ 8 h 18"/>
                  <a:gd name="T50" fmla="*/ 6 w 38"/>
                  <a:gd name="T51" fmla="*/ 8 h 18"/>
                  <a:gd name="T52" fmla="*/ 8 w 38"/>
                  <a:gd name="T53" fmla="*/ 8 h 18"/>
                  <a:gd name="T54" fmla="*/ 10 w 38"/>
                  <a:gd name="T55" fmla="*/ 8 h 18"/>
                  <a:gd name="T56" fmla="*/ 14 w 38"/>
                  <a:gd name="T57" fmla="*/ 8 h 18"/>
                  <a:gd name="T58" fmla="*/ 14 w 38"/>
                  <a:gd name="T59" fmla="*/ 8 h 18"/>
                  <a:gd name="T60" fmla="*/ 16 w 38"/>
                  <a:gd name="T61" fmla="*/ 8 h 18"/>
                  <a:gd name="T62" fmla="*/ 18 w 38"/>
                  <a:gd name="T63" fmla="*/ 10 h 18"/>
                  <a:gd name="T64" fmla="*/ 20 w 38"/>
                  <a:gd name="T65" fmla="*/ 10 h 18"/>
                  <a:gd name="T66" fmla="*/ 20 w 38"/>
                  <a:gd name="T67" fmla="*/ 10 h 18"/>
                  <a:gd name="T68" fmla="*/ 24 w 38"/>
                  <a:gd name="T69" fmla="*/ 12 h 18"/>
                  <a:gd name="T70" fmla="*/ 26 w 38"/>
                  <a:gd name="T71" fmla="*/ 14 h 18"/>
                  <a:gd name="T72" fmla="*/ 26 w 38"/>
                  <a:gd name="T73" fmla="*/ 14 h 18"/>
                  <a:gd name="T74" fmla="*/ 30 w 38"/>
                  <a:gd name="T75" fmla="*/ 16 h 18"/>
                  <a:gd name="T76" fmla="*/ 32 w 38"/>
                  <a:gd name="T77" fmla="*/ 16 h 18"/>
                  <a:gd name="T78" fmla="*/ 32 w 38"/>
                  <a:gd name="T79" fmla="*/ 16 h 18"/>
                  <a:gd name="T80" fmla="*/ 34 w 38"/>
                  <a:gd name="T81" fmla="*/ 16 h 18"/>
                  <a:gd name="T82" fmla="*/ 36 w 38"/>
                  <a:gd name="T83" fmla="*/ 18 h 18"/>
                  <a:gd name="T84" fmla="*/ 36 w 38"/>
                  <a:gd name="T85" fmla="*/ 18 h 18"/>
                  <a:gd name="T86" fmla="*/ 38 w 38"/>
                  <a:gd name="T87" fmla="*/ 16 h 18"/>
                  <a:gd name="T88" fmla="*/ 38 w 38"/>
                  <a:gd name="T89" fmla="*/ 16 h 18"/>
                  <a:gd name="T90" fmla="*/ 38 w 38"/>
                  <a:gd name="T91" fmla="*/ 16 h 18"/>
                  <a:gd name="T92" fmla="*/ 38 w 38"/>
                  <a:gd name="T93" fmla="*/ 16 h 18"/>
                  <a:gd name="T94" fmla="*/ 36 w 38"/>
                  <a:gd name="T95" fmla="*/ 12 h 18"/>
                  <a:gd name="T96" fmla="*/ 36 w 38"/>
                  <a:gd name="T97" fmla="*/ 10 h 18"/>
                  <a:gd name="T98" fmla="*/ 34 w 38"/>
                  <a:gd name="T99" fmla="*/ 8 h 18"/>
                  <a:gd name="T100" fmla="*/ 32 w 38"/>
                  <a:gd name="T101" fmla="*/ 4 h 18"/>
                  <a:gd name="T102" fmla="*/ 32 w 38"/>
                  <a:gd name="T103" fmla="*/ 4 h 18"/>
                  <a:gd name="T104" fmla="*/ 30 w 38"/>
                  <a:gd name="T105" fmla="*/ 4 h 18"/>
                  <a:gd name="T106" fmla="*/ 28 w 38"/>
                  <a:gd name="T107" fmla="*/ 4 h 18"/>
                  <a:gd name="T108" fmla="*/ 26 w 38"/>
                  <a:gd name="T109" fmla="*/ 4 h 18"/>
                  <a:gd name="T110" fmla="*/ 26 w 38"/>
                  <a:gd name="T111" fmla="*/ 4 h 18"/>
                  <a:gd name="T112" fmla="*/ 24 w 38"/>
                  <a:gd name="T113" fmla="*/ 4 h 18"/>
                  <a:gd name="T114" fmla="*/ 22 w 38"/>
                  <a:gd name="T115" fmla="*/ 2 h 18"/>
                  <a:gd name="T116" fmla="*/ 18 w 38"/>
                  <a:gd name="T117" fmla="*/ 2 h 18"/>
                  <a:gd name="T118" fmla="*/ 18 w 38"/>
                  <a:gd name="T119" fmla="*/ 2 h 18"/>
                  <a:gd name="T120" fmla="*/ 18 w 38"/>
                  <a:gd name="T121" fmla="*/ 2 h 18"/>
                  <a:gd name="T122" fmla="*/ 18 w 38"/>
                  <a:gd name="T123" fmla="*/ 2 h 18"/>
                  <a:gd name="T124" fmla="*/ 18 w 38"/>
                  <a:gd name="T125" fmla="*/ 2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8" h="18">
                    <a:moveTo>
                      <a:pt x="18" y="2"/>
                    </a:moveTo>
                    <a:lnTo>
                      <a:pt x="18" y="2"/>
                    </a:lnTo>
                    <a:lnTo>
                      <a:pt x="16" y="2"/>
                    </a:lnTo>
                    <a:lnTo>
                      <a:pt x="14" y="2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8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0"/>
                    </a:lnTo>
                    <a:lnTo>
                      <a:pt x="4" y="10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8" y="8"/>
                    </a:lnTo>
                    <a:lnTo>
                      <a:pt x="10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6" y="8"/>
                    </a:lnTo>
                    <a:lnTo>
                      <a:pt x="18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4" y="12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30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4" y="16"/>
                    </a:lnTo>
                    <a:lnTo>
                      <a:pt x="36" y="18"/>
                    </a:lnTo>
                    <a:lnTo>
                      <a:pt x="36" y="18"/>
                    </a:lnTo>
                    <a:lnTo>
                      <a:pt x="38" y="16"/>
                    </a:lnTo>
                    <a:lnTo>
                      <a:pt x="38" y="16"/>
                    </a:lnTo>
                    <a:lnTo>
                      <a:pt x="38" y="16"/>
                    </a:lnTo>
                    <a:lnTo>
                      <a:pt x="38" y="16"/>
                    </a:lnTo>
                    <a:lnTo>
                      <a:pt x="36" y="12"/>
                    </a:lnTo>
                    <a:lnTo>
                      <a:pt x="36" y="10"/>
                    </a:lnTo>
                    <a:lnTo>
                      <a:pt x="34" y="8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0" y="4"/>
                    </a:lnTo>
                    <a:lnTo>
                      <a:pt x="28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4" y="4"/>
                    </a:lnTo>
                    <a:lnTo>
                      <a:pt x="22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11" name="Freeform 409"/>
              <p:cNvSpPr>
                <a:spLocks/>
              </p:cNvSpPr>
              <p:nvPr/>
            </p:nvSpPr>
            <p:spPr bwMode="auto">
              <a:xfrm>
                <a:off x="2445" y="1434"/>
                <a:ext cx="42" cy="20"/>
              </a:xfrm>
              <a:custGeom>
                <a:avLst/>
                <a:gdLst>
                  <a:gd name="T0" fmla="*/ 12 w 42"/>
                  <a:gd name="T1" fmla="*/ 2 h 20"/>
                  <a:gd name="T2" fmla="*/ 4 w 42"/>
                  <a:gd name="T3" fmla="*/ 2 h 20"/>
                  <a:gd name="T4" fmla="*/ 2 w 42"/>
                  <a:gd name="T5" fmla="*/ 0 h 20"/>
                  <a:gd name="T6" fmla="*/ 0 w 42"/>
                  <a:gd name="T7" fmla="*/ 2 h 20"/>
                  <a:gd name="T8" fmla="*/ 0 w 42"/>
                  <a:gd name="T9" fmla="*/ 2 h 20"/>
                  <a:gd name="T10" fmla="*/ 0 w 42"/>
                  <a:gd name="T11" fmla="*/ 4 h 20"/>
                  <a:gd name="T12" fmla="*/ 0 w 42"/>
                  <a:gd name="T13" fmla="*/ 6 h 20"/>
                  <a:gd name="T14" fmla="*/ 2 w 42"/>
                  <a:gd name="T15" fmla="*/ 8 h 20"/>
                  <a:gd name="T16" fmla="*/ 4 w 42"/>
                  <a:gd name="T17" fmla="*/ 10 h 20"/>
                  <a:gd name="T18" fmla="*/ 8 w 42"/>
                  <a:gd name="T19" fmla="*/ 10 h 20"/>
                  <a:gd name="T20" fmla="*/ 16 w 42"/>
                  <a:gd name="T21" fmla="*/ 12 h 20"/>
                  <a:gd name="T22" fmla="*/ 20 w 42"/>
                  <a:gd name="T23" fmla="*/ 16 h 20"/>
                  <a:gd name="T24" fmla="*/ 20 w 42"/>
                  <a:gd name="T25" fmla="*/ 16 h 20"/>
                  <a:gd name="T26" fmla="*/ 22 w 42"/>
                  <a:gd name="T27" fmla="*/ 20 h 20"/>
                  <a:gd name="T28" fmla="*/ 24 w 42"/>
                  <a:gd name="T29" fmla="*/ 20 h 20"/>
                  <a:gd name="T30" fmla="*/ 28 w 42"/>
                  <a:gd name="T31" fmla="*/ 20 h 20"/>
                  <a:gd name="T32" fmla="*/ 32 w 42"/>
                  <a:gd name="T33" fmla="*/ 20 h 20"/>
                  <a:gd name="T34" fmla="*/ 34 w 42"/>
                  <a:gd name="T35" fmla="*/ 20 h 20"/>
                  <a:gd name="T36" fmla="*/ 36 w 42"/>
                  <a:gd name="T37" fmla="*/ 20 h 20"/>
                  <a:gd name="T38" fmla="*/ 40 w 42"/>
                  <a:gd name="T39" fmla="*/ 20 h 20"/>
                  <a:gd name="T40" fmla="*/ 40 w 42"/>
                  <a:gd name="T41" fmla="*/ 18 h 20"/>
                  <a:gd name="T42" fmla="*/ 42 w 42"/>
                  <a:gd name="T43" fmla="*/ 16 h 20"/>
                  <a:gd name="T44" fmla="*/ 42 w 42"/>
                  <a:gd name="T45" fmla="*/ 14 h 20"/>
                  <a:gd name="T46" fmla="*/ 40 w 42"/>
                  <a:gd name="T47" fmla="*/ 14 h 20"/>
                  <a:gd name="T48" fmla="*/ 38 w 42"/>
                  <a:gd name="T49" fmla="*/ 14 h 20"/>
                  <a:gd name="T50" fmla="*/ 34 w 42"/>
                  <a:gd name="T51" fmla="*/ 14 h 20"/>
                  <a:gd name="T52" fmla="*/ 30 w 42"/>
                  <a:gd name="T53" fmla="*/ 12 h 20"/>
                  <a:gd name="T54" fmla="*/ 26 w 42"/>
                  <a:gd name="T55" fmla="*/ 12 h 20"/>
                  <a:gd name="T56" fmla="*/ 26 w 42"/>
                  <a:gd name="T57" fmla="*/ 10 h 20"/>
                  <a:gd name="T58" fmla="*/ 28 w 42"/>
                  <a:gd name="T59" fmla="*/ 10 h 20"/>
                  <a:gd name="T60" fmla="*/ 30 w 42"/>
                  <a:gd name="T61" fmla="*/ 10 h 20"/>
                  <a:gd name="T62" fmla="*/ 36 w 42"/>
                  <a:gd name="T63" fmla="*/ 10 h 20"/>
                  <a:gd name="T64" fmla="*/ 38 w 42"/>
                  <a:gd name="T65" fmla="*/ 10 h 20"/>
                  <a:gd name="T66" fmla="*/ 40 w 42"/>
                  <a:gd name="T67" fmla="*/ 10 h 20"/>
                  <a:gd name="T68" fmla="*/ 40 w 42"/>
                  <a:gd name="T69" fmla="*/ 10 h 20"/>
                  <a:gd name="T70" fmla="*/ 38 w 42"/>
                  <a:gd name="T71" fmla="*/ 8 h 20"/>
                  <a:gd name="T72" fmla="*/ 36 w 42"/>
                  <a:gd name="T73" fmla="*/ 8 h 20"/>
                  <a:gd name="T74" fmla="*/ 32 w 42"/>
                  <a:gd name="T75" fmla="*/ 6 h 20"/>
                  <a:gd name="T76" fmla="*/ 26 w 42"/>
                  <a:gd name="T77" fmla="*/ 6 h 20"/>
                  <a:gd name="T78" fmla="*/ 22 w 42"/>
                  <a:gd name="T79" fmla="*/ 4 h 20"/>
                  <a:gd name="T80" fmla="*/ 20 w 42"/>
                  <a:gd name="T81" fmla="*/ 4 h 20"/>
                  <a:gd name="T82" fmla="*/ 18 w 42"/>
                  <a:gd name="T83" fmla="*/ 2 h 20"/>
                  <a:gd name="T84" fmla="*/ 14 w 42"/>
                  <a:gd name="T85" fmla="*/ 2 h 20"/>
                  <a:gd name="T86" fmla="*/ 12 w 42"/>
                  <a:gd name="T87" fmla="*/ 2 h 20"/>
                  <a:gd name="T88" fmla="*/ 12 w 42"/>
                  <a:gd name="T89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42" h="20">
                    <a:moveTo>
                      <a:pt x="12" y="2"/>
                    </a:moveTo>
                    <a:lnTo>
                      <a:pt x="12" y="2"/>
                    </a:lnTo>
                    <a:lnTo>
                      <a:pt x="8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10"/>
                    </a:lnTo>
                    <a:lnTo>
                      <a:pt x="12" y="12"/>
                    </a:lnTo>
                    <a:lnTo>
                      <a:pt x="16" y="12"/>
                    </a:lnTo>
                    <a:lnTo>
                      <a:pt x="18" y="14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2" y="18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4" y="20"/>
                    </a:lnTo>
                    <a:lnTo>
                      <a:pt x="24" y="20"/>
                    </a:lnTo>
                    <a:lnTo>
                      <a:pt x="28" y="20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34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8" y="20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40" y="18"/>
                    </a:lnTo>
                    <a:lnTo>
                      <a:pt x="42" y="18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4"/>
                    </a:lnTo>
                    <a:lnTo>
                      <a:pt x="42" y="14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38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2" y="14"/>
                    </a:lnTo>
                    <a:lnTo>
                      <a:pt x="30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8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2" y="10"/>
                    </a:lnTo>
                    <a:lnTo>
                      <a:pt x="36" y="10"/>
                    </a:lnTo>
                    <a:lnTo>
                      <a:pt x="36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40" y="10"/>
                    </a:lnTo>
                    <a:lnTo>
                      <a:pt x="40" y="10"/>
                    </a:lnTo>
                    <a:lnTo>
                      <a:pt x="40" y="10"/>
                    </a:lnTo>
                    <a:lnTo>
                      <a:pt x="40" y="10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6" y="8"/>
                    </a:lnTo>
                    <a:lnTo>
                      <a:pt x="34" y="6"/>
                    </a:lnTo>
                    <a:lnTo>
                      <a:pt x="32" y="6"/>
                    </a:lnTo>
                    <a:lnTo>
                      <a:pt x="32" y="6"/>
                    </a:lnTo>
                    <a:lnTo>
                      <a:pt x="26" y="6"/>
                    </a:lnTo>
                    <a:lnTo>
                      <a:pt x="24" y="6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0" y="4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6" y="2"/>
                    </a:lnTo>
                    <a:lnTo>
                      <a:pt x="14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12" name="Freeform 411"/>
              <p:cNvSpPr>
                <a:spLocks/>
              </p:cNvSpPr>
              <p:nvPr/>
            </p:nvSpPr>
            <p:spPr bwMode="auto">
              <a:xfrm>
                <a:off x="2861" y="1520"/>
                <a:ext cx="152" cy="330"/>
              </a:xfrm>
              <a:custGeom>
                <a:avLst/>
                <a:gdLst>
                  <a:gd name="T0" fmla="*/ 148 w 152"/>
                  <a:gd name="T1" fmla="*/ 44 h 330"/>
                  <a:gd name="T2" fmla="*/ 144 w 152"/>
                  <a:gd name="T3" fmla="*/ 32 h 330"/>
                  <a:gd name="T4" fmla="*/ 128 w 152"/>
                  <a:gd name="T5" fmla="*/ 18 h 330"/>
                  <a:gd name="T6" fmla="*/ 112 w 152"/>
                  <a:gd name="T7" fmla="*/ 8 h 330"/>
                  <a:gd name="T8" fmla="*/ 100 w 152"/>
                  <a:gd name="T9" fmla="*/ 2 h 330"/>
                  <a:gd name="T10" fmla="*/ 100 w 152"/>
                  <a:gd name="T11" fmla="*/ 18 h 330"/>
                  <a:gd name="T12" fmla="*/ 80 w 152"/>
                  <a:gd name="T13" fmla="*/ 16 h 330"/>
                  <a:gd name="T14" fmla="*/ 72 w 152"/>
                  <a:gd name="T15" fmla="*/ 24 h 330"/>
                  <a:gd name="T16" fmla="*/ 62 w 152"/>
                  <a:gd name="T17" fmla="*/ 30 h 330"/>
                  <a:gd name="T18" fmla="*/ 52 w 152"/>
                  <a:gd name="T19" fmla="*/ 54 h 330"/>
                  <a:gd name="T20" fmla="*/ 44 w 152"/>
                  <a:gd name="T21" fmla="*/ 74 h 330"/>
                  <a:gd name="T22" fmla="*/ 40 w 152"/>
                  <a:gd name="T23" fmla="*/ 88 h 330"/>
                  <a:gd name="T24" fmla="*/ 34 w 152"/>
                  <a:gd name="T25" fmla="*/ 108 h 330"/>
                  <a:gd name="T26" fmla="*/ 32 w 152"/>
                  <a:gd name="T27" fmla="*/ 126 h 330"/>
                  <a:gd name="T28" fmla="*/ 18 w 152"/>
                  <a:gd name="T29" fmla="*/ 130 h 330"/>
                  <a:gd name="T30" fmla="*/ 14 w 152"/>
                  <a:gd name="T31" fmla="*/ 140 h 330"/>
                  <a:gd name="T32" fmla="*/ 18 w 152"/>
                  <a:gd name="T33" fmla="*/ 174 h 330"/>
                  <a:gd name="T34" fmla="*/ 22 w 152"/>
                  <a:gd name="T35" fmla="*/ 194 h 330"/>
                  <a:gd name="T36" fmla="*/ 20 w 152"/>
                  <a:gd name="T37" fmla="*/ 208 h 330"/>
                  <a:gd name="T38" fmla="*/ 16 w 152"/>
                  <a:gd name="T39" fmla="*/ 226 h 330"/>
                  <a:gd name="T40" fmla="*/ 10 w 152"/>
                  <a:gd name="T41" fmla="*/ 242 h 330"/>
                  <a:gd name="T42" fmla="*/ 4 w 152"/>
                  <a:gd name="T43" fmla="*/ 248 h 330"/>
                  <a:gd name="T44" fmla="*/ 4 w 152"/>
                  <a:gd name="T45" fmla="*/ 258 h 330"/>
                  <a:gd name="T46" fmla="*/ 12 w 152"/>
                  <a:gd name="T47" fmla="*/ 278 h 330"/>
                  <a:gd name="T48" fmla="*/ 22 w 152"/>
                  <a:gd name="T49" fmla="*/ 288 h 330"/>
                  <a:gd name="T50" fmla="*/ 28 w 152"/>
                  <a:gd name="T51" fmla="*/ 302 h 330"/>
                  <a:gd name="T52" fmla="*/ 24 w 152"/>
                  <a:gd name="T53" fmla="*/ 306 h 330"/>
                  <a:gd name="T54" fmla="*/ 26 w 152"/>
                  <a:gd name="T55" fmla="*/ 316 h 330"/>
                  <a:gd name="T56" fmla="*/ 30 w 152"/>
                  <a:gd name="T57" fmla="*/ 326 h 330"/>
                  <a:gd name="T58" fmla="*/ 36 w 152"/>
                  <a:gd name="T59" fmla="*/ 330 h 330"/>
                  <a:gd name="T60" fmla="*/ 46 w 152"/>
                  <a:gd name="T61" fmla="*/ 328 h 330"/>
                  <a:gd name="T62" fmla="*/ 52 w 152"/>
                  <a:gd name="T63" fmla="*/ 316 h 330"/>
                  <a:gd name="T64" fmla="*/ 62 w 152"/>
                  <a:gd name="T65" fmla="*/ 310 h 330"/>
                  <a:gd name="T66" fmla="*/ 74 w 152"/>
                  <a:gd name="T67" fmla="*/ 302 h 330"/>
                  <a:gd name="T68" fmla="*/ 82 w 152"/>
                  <a:gd name="T69" fmla="*/ 286 h 330"/>
                  <a:gd name="T70" fmla="*/ 78 w 152"/>
                  <a:gd name="T71" fmla="*/ 274 h 330"/>
                  <a:gd name="T72" fmla="*/ 80 w 152"/>
                  <a:gd name="T73" fmla="*/ 262 h 330"/>
                  <a:gd name="T74" fmla="*/ 80 w 152"/>
                  <a:gd name="T75" fmla="*/ 254 h 330"/>
                  <a:gd name="T76" fmla="*/ 96 w 152"/>
                  <a:gd name="T77" fmla="*/ 244 h 330"/>
                  <a:gd name="T78" fmla="*/ 92 w 152"/>
                  <a:gd name="T79" fmla="*/ 236 h 330"/>
                  <a:gd name="T80" fmla="*/ 72 w 152"/>
                  <a:gd name="T81" fmla="*/ 236 h 330"/>
                  <a:gd name="T82" fmla="*/ 82 w 152"/>
                  <a:gd name="T83" fmla="*/ 232 h 330"/>
                  <a:gd name="T84" fmla="*/ 96 w 152"/>
                  <a:gd name="T85" fmla="*/ 234 h 330"/>
                  <a:gd name="T86" fmla="*/ 104 w 152"/>
                  <a:gd name="T87" fmla="*/ 222 h 330"/>
                  <a:gd name="T88" fmla="*/ 94 w 152"/>
                  <a:gd name="T89" fmla="*/ 210 h 330"/>
                  <a:gd name="T90" fmla="*/ 88 w 152"/>
                  <a:gd name="T91" fmla="*/ 202 h 330"/>
                  <a:gd name="T92" fmla="*/ 78 w 152"/>
                  <a:gd name="T93" fmla="*/ 198 h 330"/>
                  <a:gd name="T94" fmla="*/ 78 w 152"/>
                  <a:gd name="T95" fmla="*/ 184 h 330"/>
                  <a:gd name="T96" fmla="*/ 78 w 152"/>
                  <a:gd name="T97" fmla="*/ 160 h 330"/>
                  <a:gd name="T98" fmla="*/ 92 w 152"/>
                  <a:gd name="T99" fmla="*/ 146 h 330"/>
                  <a:gd name="T100" fmla="*/ 112 w 152"/>
                  <a:gd name="T101" fmla="*/ 138 h 330"/>
                  <a:gd name="T102" fmla="*/ 122 w 152"/>
                  <a:gd name="T103" fmla="*/ 122 h 330"/>
                  <a:gd name="T104" fmla="*/ 122 w 152"/>
                  <a:gd name="T105" fmla="*/ 114 h 330"/>
                  <a:gd name="T106" fmla="*/ 122 w 152"/>
                  <a:gd name="T107" fmla="*/ 106 h 330"/>
                  <a:gd name="T108" fmla="*/ 126 w 152"/>
                  <a:gd name="T109" fmla="*/ 98 h 330"/>
                  <a:gd name="T110" fmla="*/ 124 w 152"/>
                  <a:gd name="T111" fmla="*/ 92 h 330"/>
                  <a:gd name="T112" fmla="*/ 130 w 152"/>
                  <a:gd name="T113" fmla="*/ 88 h 330"/>
                  <a:gd name="T114" fmla="*/ 138 w 152"/>
                  <a:gd name="T115" fmla="*/ 84 h 330"/>
                  <a:gd name="T116" fmla="*/ 152 w 152"/>
                  <a:gd name="T117" fmla="*/ 76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52" h="330">
                    <a:moveTo>
                      <a:pt x="152" y="66"/>
                    </a:moveTo>
                    <a:lnTo>
                      <a:pt x="152" y="66"/>
                    </a:lnTo>
                    <a:lnTo>
                      <a:pt x="152" y="58"/>
                    </a:lnTo>
                    <a:lnTo>
                      <a:pt x="152" y="58"/>
                    </a:lnTo>
                    <a:lnTo>
                      <a:pt x="152" y="56"/>
                    </a:lnTo>
                    <a:lnTo>
                      <a:pt x="150" y="54"/>
                    </a:lnTo>
                    <a:lnTo>
                      <a:pt x="150" y="50"/>
                    </a:lnTo>
                    <a:lnTo>
                      <a:pt x="150" y="50"/>
                    </a:lnTo>
                    <a:lnTo>
                      <a:pt x="148" y="48"/>
                    </a:lnTo>
                    <a:lnTo>
                      <a:pt x="148" y="44"/>
                    </a:lnTo>
                    <a:lnTo>
                      <a:pt x="148" y="42"/>
                    </a:lnTo>
                    <a:lnTo>
                      <a:pt x="148" y="42"/>
                    </a:lnTo>
                    <a:lnTo>
                      <a:pt x="148" y="42"/>
                    </a:lnTo>
                    <a:lnTo>
                      <a:pt x="148" y="40"/>
                    </a:lnTo>
                    <a:lnTo>
                      <a:pt x="146" y="38"/>
                    </a:lnTo>
                    <a:lnTo>
                      <a:pt x="146" y="36"/>
                    </a:lnTo>
                    <a:lnTo>
                      <a:pt x="146" y="36"/>
                    </a:lnTo>
                    <a:lnTo>
                      <a:pt x="144" y="34"/>
                    </a:lnTo>
                    <a:lnTo>
                      <a:pt x="144" y="32"/>
                    </a:lnTo>
                    <a:lnTo>
                      <a:pt x="144" y="32"/>
                    </a:lnTo>
                    <a:lnTo>
                      <a:pt x="144" y="30"/>
                    </a:lnTo>
                    <a:lnTo>
                      <a:pt x="142" y="28"/>
                    </a:lnTo>
                    <a:lnTo>
                      <a:pt x="140" y="24"/>
                    </a:lnTo>
                    <a:lnTo>
                      <a:pt x="140" y="22"/>
                    </a:lnTo>
                    <a:lnTo>
                      <a:pt x="138" y="20"/>
                    </a:lnTo>
                    <a:lnTo>
                      <a:pt x="136" y="20"/>
                    </a:lnTo>
                    <a:lnTo>
                      <a:pt x="134" y="18"/>
                    </a:lnTo>
                    <a:lnTo>
                      <a:pt x="130" y="18"/>
                    </a:lnTo>
                    <a:lnTo>
                      <a:pt x="130" y="18"/>
                    </a:lnTo>
                    <a:lnTo>
                      <a:pt x="128" y="18"/>
                    </a:lnTo>
                    <a:lnTo>
                      <a:pt x="126" y="18"/>
                    </a:lnTo>
                    <a:lnTo>
                      <a:pt x="124" y="18"/>
                    </a:lnTo>
                    <a:lnTo>
                      <a:pt x="122" y="18"/>
                    </a:lnTo>
                    <a:lnTo>
                      <a:pt x="120" y="18"/>
                    </a:lnTo>
                    <a:lnTo>
                      <a:pt x="120" y="18"/>
                    </a:lnTo>
                    <a:lnTo>
                      <a:pt x="118" y="18"/>
                    </a:lnTo>
                    <a:lnTo>
                      <a:pt x="118" y="16"/>
                    </a:lnTo>
                    <a:lnTo>
                      <a:pt x="116" y="12"/>
                    </a:lnTo>
                    <a:lnTo>
                      <a:pt x="116" y="12"/>
                    </a:lnTo>
                    <a:lnTo>
                      <a:pt x="112" y="8"/>
                    </a:lnTo>
                    <a:lnTo>
                      <a:pt x="110" y="6"/>
                    </a:lnTo>
                    <a:lnTo>
                      <a:pt x="108" y="4"/>
                    </a:lnTo>
                    <a:lnTo>
                      <a:pt x="108" y="4"/>
                    </a:lnTo>
                    <a:lnTo>
                      <a:pt x="106" y="2"/>
                    </a:lnTo>
                    <a:lnTo>
                      <a:pt x="104" y="0"/>
                    </a:lnTo>
                    <a:lnTo>
                      <a:pt x="102" y="0"/>
                    </a:lnTo>
                    <a:lnTo>
                      <a:pt x="102" y="0"/>
                    </a:lnTo>
                    <a:lnTo>
                      <a:pt x="100" y="0"/>
                    </a:lnTo>
                    <a:lnTo>
                      <a:pt x="100" y="2"/>
                    </a:lnTo>
                    <a:lnTo>
                      <a:pt x="100" y="2"/>
                    </a:lnTo>
                    <a:lnTo>
                      <a:pt x="100" y="4"/>
                    </a:lnTo>
                    <a:lnTo>
                      <a:pt x="98" y="4"/>
                    </a:lnTo>
                    <a:lnTo>
                      <a:pt x="98" y="6"/>
                    </a:lnTo>
                    <a:lnTo>
                      <a:pt x="98" y="6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4"/>
                    </a:lnTo>
                    <a:lnTo>
                      <a:pt x="100" y="18"/>
                    </a:lnTo>
                    <a:lnTo>
                      <a:pt x="100" y="18"/>
                    </a:lnTo>
                    <a:lnTo>
                      <a:pt x="100" y="18"/>
                    </a:lnTo>
                    <a:lnTo>
                      <a:pt x="98" y="18"/>
                    </a:lnTo>
                    <a:lnTo>
                      <a:pt x="98" y="20"/>
                    </a:lnTo>
                    <a:lnTo>
                      <a:pt x="98" y="20"/>
                    </a:lnTo>
                    <a:lnTo>
                      <a:pt x="94" y="18"/>
                    </a:lnTo>
                    <a:lnTo>
                      <a:pt x="92" y="18"/>
                    </a:lnTo>
                    <a:lnTo>
                      <a:pt x="90" y="16"/>
                    </a:lnTo>
                    <a:lnTo>
                      <a:pt x="88" y="16"/>
                    </a:lnTo>
                    <a:lnTo>
                      <a:pt x="88" y="16"/>
                    </a:lnTo>
                    <a:lnTo>
                      <a:pt x="82" y="16"/>
                    </a:lnTo>
                    <a:lnTo>
                      <a:pt x="80" y="16"/>
                    </a:lnTo>
                    <a:lnTo>
                      <a:pt x="76" y="16"/>
                    </a:lnTo>
                    <a:lnTo>
                      <a:pt x="76" y="16"/>
                    </a:lnTo>
                    <a:lnTo>
                      <a:pt x="76" y="16"/>
                    </a:lnTo>
                    <a:lnTo>
                      <a:pt x="74" y="16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2" y="18"/>
                    </a:lnTo>
                    <a:lnTo>
                      <a:pt x="72" y="22"/>
                    </a:lnTo>
                    <a:lnTo>
                      <a:pt x="72" y="22"/>
                    </a:lnTo>
                    <a:lnTo>
                      <a:pt x="72" y="24"/>
                    </a:lnTo>
                    <a:lnTo>
                      <a:pt x="72" y="24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8"/>
                    </a:lnTo>
                    <a:lnTo>
                      <a:pt x="68" y="28"/>
                    </a:lnTo>
                    <a:lnTo>
                      <a:pt x="68" y="28"/>
                    </a:lnTo>
                    <a:lnTo>
                      <a:pt x="66" y="28"/>
                    </a:lnTo>
                    <a:lnTo>
                      <a:pt x="64" y="28"/>
                    </a:lnTo>
                    <a:lnTo>
                      <a:pt x="62" y="30"/>
                    </a:lnTo>
                    <a:lnTo>
                      <a:pt x="60" y="32"/>
                    </a:lnTo>
                    <a:lnTo>
                      <a:pt x="60" y="32"/>
                    </a:lnTo>
                    <a:lnTo>
                      <a:pt x="58" y="34"/>
                    </a:lnTo>
                    <a:lnTo>
                      <a:pt x="58" y="38"/>
                    </a:lnTo>
                    <a:lnTo>
                      <a:pt x="58" y="42"/>
                    </a:lnTo>
                    <a:lnTo>
                      <a:pt x="58" y="42"/>
                    </a:lnTo>
                    <a:lnTo>
                      <a:pt x="58" y="46"/>
                    </a:lnTo>
                    <a:lnTo>
                      <a:pt x="56" y="48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6"/>
                    </a:lnTo>
                    <a:lnTo>
                      <a:pt x="50" y="58"/>
                    </a:lnTo>
                    <a:lnTo>
                      <a:pt x="50" y="64"/>
                    </a:lnTo>
                    <a:lnTo>
                      <a:pt x="50" y="66"/>
                    </a:lnTo>
                    <a:lnTo>
                      <a:pt x="50" y="68"/>
                    </a:lnTo>
                    <a:lnTo>
                      <a:pt x="48" y="70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6" y="74"/>
                    </a:lnTo>
                    <a:lnTo>
                      <a:pt x="44" y="74"/>
                    </a:lnTo>
                    <a:lnTo>
                      <a:pt x="42" y="76"/>
                    </a:lnTo>
                    <a:lnTo>
                      <a:pt x="42" y="76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40" y="80"/>
                    </a:lnTo>
                    <a:lnTo>
                      <a:pt x="40" y="80"/>
                    </a:lnTo>
                    <a:lnTo>
                      <a:pt x="40" y="84"/>
                    </a:lnTo>
                    <a:lnTo>
                      <a:pt x="40" y="84"/>
                    </a:lnTo>
                    <a:lnTo>
                      <a:pt x="40" y="86"/>
                    </a:lnTo>
                    <a:lnTo>
                      <a:pt x="40" y="88"/>
                    </a:lnTo>
                    <a:lnTo>
                      <a:pt x="40" y="88"/>
                    </a:lnTo>
                    <a:lnTo>
                      <a:pt x="40" y="92"/>
                    </a:lnTo>
                    <a:lnTo>
                      <a:pt x="40" y="96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38" y="102"/>
                    </a:lnTo>
                    <a:lnTo>
                      <a:pt x="36" y="104"/>
                    </a:lnTo>
                    <a:lnTo>
                      <a:pt x="34" y="106"/>
                    </a:lnTo>
                    <a:lnTo>
                      <a:pt x="34" y="106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10"/>
                    </a:lnTo>
                    <a:lnTo>
                      <a:pt x="36" y="116"/>
                    </a:lnTo>
                    <a:lnTo>
                      <a:pt x="36" y="116"/>
                    </a:lnTo>
                    <a:lnTo>
                      <a:pt x="36" y="118"/>
                    </a:lnTo>
                    <a:lnTo>
                      <a:pt x="36" y="120"/>
                    </a:lnTo>
                    <a:lnTo>
                      <a:pt x="36" y="124"/>
                    </a:lnTo>
                    <a:lnTo>
                      <a:pt x="36" y="126"/>
                    </a:lnTo>
                    <a:lnTo>
                      <a:pt x="36" y="126"/>
                    </a:lnTo>
                    <a:lnTo>
                      <a:pt x="32" y="126"/>
                    </a:lnTo>
                    <a:lnTo>
                      <a:pt x="30" y="126"/>
                    </a:lnTo>
                    <a:lnTo>
                      <a:pt x="28" y="128"/>
                    </a:lnTo>
                    <a:lnTo>
                      <a:pt x="28" y="128"/>
                    </a:lnTo>
                    <a:lnTo>
                      <a:pt x="26" y="128"/>
                    </a:lnTo>
                    <a:lnTo>
                      <a:pt x="24" y="128"/>
                    </a:lnTo>
                    <a:lnTo>
                      <a:pt x="22" y="128"/>
                    </a:lnTo>
                    <a:lnTo>
                      <a:pt x="22" y="128"/>
                    </a:lnTo>
                    <a:lnTo>
                      <a:pt x="20" y="128"/>
                    </a:lnTo>
                    <a:lnTo>
                      <a:pt x="20" y="130"/>
                    </a:lnTo>
                    <a:lnTo>
                      <a:pt x="18" y="130"/>
                    </a:lnTo>
                    <a:lnTo>
                      <a:pt x="18" y="130"/>
                    </a:lnTo>
                    <a:lnTo>
                      <a:pt x="18" y="132"/>
                    </a:lnTo>
                    <a:lnTo>
                      <a:pt x="18" y="132"/>
                    </a:lnTo>
                    <a:lnTo>
                      <a:pt x="18" y="134"/>
                    </a:lnTo>
                    <a:lnTo>
                      <a:pt x="16" y="136"/>
                    </a:lnTo>
                    <a:lnTo>
                      <a:pt x="16" y="136"/>
                    </a:lnTo>
                    <a:lnTo>
                      <a:pt x="14" y="136"/>
                    </a:lnTo>
                    <a:lnTo>
                      <a:pt x="14" y="136"/>
                    </a:lnTo>
                    <a:lnTo>
                      <a:pt x="14" y="138"/>
                    </a:lnTo>
                    <a:lnTo>
                      <a:pt x="14" y="140"/>
                    </a:lnTo>
                    <a:lnTo>
                      <a:pt x="14" y="142"/>
                    </a:lnTo>
                    <a:lnTo>
                      <a:pt x="14" y="142"/>
                    </a:lnTo>
                    <a:lnTo>
                      <a:pt x="14" y="148"/>
                    </a:lnTo>
                    <a:lnTo>
                      <a:pt x="14" y="154"/>
                    </a:lnTo>
                    <a:lnTo>
                      <a:pt x="14" y="154"/>
                    </a:lnTo>
                    <a:lnTo>
                      <a:pt x="16" y="160"/>
                    </a:lnTo>
                    <a:lnTo>
                      <a:pt x="16" y="164"/>
                    </a:lnTo>
                    <a:lnTo>
                      <a:pt x="16" y="164"/>
                    </a:lnTo>
                    <a:lnTo>
                      <a:pt x="18" y="168"/>
                    </a:lnTo>
                    <a:lnTo>
                      <a:pt x="18" y="174"/>
                    </a:lnTo>
                    <a:lnTo>
                      <a:pt x="18" y="180"/>
                    </a:lnTo>
                    <a:lnTo>
                      <a:pt x="18" y="182"/>
                    </a:lnTo>
                    <a:lnTo>
                      <a:pt x="20" y="184"/>
                    </a:lnTo>
                    <a:lnTo>
                      <a:pt x="20" y="184"/>
                    </a:lnTo>
                    <a:lnTo>
                      <a:pt x="20" y="188"/>
                    </a:lnTo>
                    <a:lnTo>
                      <a:pt x="22" y="192"/>
                    </a:lnTo>
                    <a:lnTo>
                      <a:pt x="22" y="192"/>
                    </a:lnTo>
                    <a:lnTo>
                      <a:pt x="22" y="194"/>
                    </a:lnTo>
                    <a:lnTo>
                      <a:pt x="22" y="194"/>
                    </a:lnTo>
                    <a:lnTo>
                      <a:pt x="22" y="194"/>
                    </a:lnTo>
                    <a:lnTo>
                      <a:pt x="20" y="196"/>
                    </a:lnTo>
                    <a:lnTo>
                      <a:pt x="20" y="196"/>
                    </a:lnTo>
                    <a:lnTo>
                      <a:pt x="18" y="198"/>
                    </a:lnTo>
                    <a:lnTo>
                      <a:pt x="18" y="200"/>
                    </a:lnTo>
                    <a:lnTo>
                      <a:pt x="16" y="200"/>
                    </a:lnTo>
                    <a:lnTo>
                      <a:pt x="16" y="200"/>
                    </a:lnTo>
                    <a:lnTo>
                      <a:pt x="16" y="202"/>
                    </a:lnTo>
                    <a:lnTo>
                      <a:pt x="18" y="204"/>
                    </a:lnTo>
                    <a:lnTo>
                      <a:pt x="18" y="206"/>
                    </a:lnTo>
                    <a:lnTo>
                      <a:pt x="20" y="208"/>
                    </a:lnTo>
                    <a:lnTo>
                      <a:pt x="20" y="210"/>
                    </a:lnTo>
                    <a:lnTo>
                      <a:pt x="20" y="210"/>
                    </a:lnTo>
                    <a:lnTo>
                      <a:pt x="20" y="212"/>
                    </a:lnTo>
                    <a:lnTo>
                      <a:pt x="20" y="212"/>
                    </a:lnTo>
                    <a:lnTo>
                      <a:pt x="20" y="214"/>
                    </a:lnTo>
                    <a:lnTo>
                      <a:pt x="18" y="220"/>
                    </a:lnTo>
                    <a:lnTo>
                      <a:pt x="18" y="220"/>
                    </a:lnTo>
                    <a:lnTo>
                      <a:pt x="18" y="222"/>
                    </a:lnTo>
                    <a:lnTo>
                      <a:pt x="18" y="224"/>
                    </a:lnTo>
                    <a:lnTo>
                      <a:pt x="16" y="226"/>
                    </a:lnTo>
                    <a:lnTo>
                      <a:pt x="14" y="228"/>
                    </a:lnTo>
                    <a:lnTo>
                      <a:pt x="14" y="228"/>
                    </a:lnTo>
                    <a:lnTo>
                      <a:pt x="12" y="230"/>
                    </a:lnTo>
                    <a:lnTo>
                      <a:pt x="12" y="232"/>
                    </a:lnTo>
                    <a:lnTo>
                      <a:pt x="10" y="234"/>
                    </a:lnTo>
                    <a:lnTo>
                      <a:pt x="10" y="236"/>
                    </a:lnTo>
                    <a:lnTo>
                      <a:pt x="10" y="236"/>
                    </a:lnTo>
                    <a:lnTo>
                      <a:pt x="10" y="236"/>
                    </a:lnTo>
                    <a:lnTo>
                      <a:pt x="10" y="238"/>
                    </a:lnTo>
                    <a:lnTo>
                      <a:pt x="10" y="242"/>
                    </a:lnTo>
                    <a:lnTo>
                      <a:pt x="10" y="242"/>
                    </a:lnTo>
                    <a:lnTo>
                      <a:pt x="10" y="244"/>
                    </a:lnTo>
                    <a:lnTo>
                      <a:pt x="10" y="244"/>
                    </a:lnTo>
                    <a:lnTo>
                      <a:pt x="10" y="246"/>
                    </a:lnTo>
                    <a:lnTo>
                      <a:pt x="10" y="246"/>
                    </a:lnTo>
                    <a:lnTo>
                      <a:pt x="8" y="246"/>
                    </a:lnTo>
                    <a:lnTo>
                      <a:pt x="6" y="246"/>
                    </a:lnTo>
                    <a:lnTo>
                      <a:pt x="4" y="246"/>
                    </a:lnTo>
                    <a:lnTo>
                      <a:pt x="4" y="246"/>
                    </a:lnTo>
                    <a:lnTo>
                      <a:pt x="4" y="248"/>
                    </a:lnTo>
                    <a:lnTo>
                      <a:pt x="4" y="248"/>
                    </a:lnTo>
                    <a:lnTo>
                      <a:pt x="2" y="248"/>
                    </a:lnTo>
                    <a:lnTo>
                      <a:pt x="2" y="250"/>
                    </a:lnTo>
                    <a:lnTo>
                      <a:pt x="0" y="250"/>
                    </a:lnTo>
                    <a:lnTo>
                      <a:pt x="0" y="252"/>
                    </a:lnTo>
                    <a:lnTo>
                      <a:pt x="0" y="252"/>
                    </a:lnTo>
                    <a:lnTo>
                      <a:pt x="0" y="252"/>
                    </a:lnTo>
                    <a:lnTo>
                      <a:pt x="2" y="254"/>
                    </a:lnTo>
                    <a:lnTo>
                      <a:pt x="2" y="256"/>
                    </a:lnTo>
                    <a:lnTo>
                      <a:pt x="4" y="258"/>
                    </a:lnTo>
                    <a:lnTo>
                      <a:pt x="4" y="258"/>
                    </a:lnTo>
                    <a:lnTo>
                      <a:pt x="6" y="262"/>
                    </a:lnTo>
                    <a:lnTo>
                      <a:pt x="8" y="264"/>
                    </a:lnTo>
                    <a:lnTo>
                      <a:pt x="8" y="264"/>
                    </a:lnTo>
                    <a:lnTo>
                      <a:pt x="10" y="268"/>
                    </a:lnTo>
                    <a:lnTo>
                      <a:pt x="10" y="270"/>
                    </a:lnTo>
                    <a:lnTo>
                      <a:pt x="10" y="272"/>
                    </a:lnTo>
                    <a:lnTo>
                      <a:pt x="10" y="272"/>
                    </a:lnTo>
                    <a:lnTo>
                      <a:pt x="12" y="276"/>
                    </a:lnTo>
                    <a:lnTo>
                      <a:pt x="12" y="278"/>
                    </a:lnTo>
                    <a:lnTo>
                      <a:pt x="12" y="278"/>
                    </a:lnTo>
                    <a:lnTo>
                      <a:pt x="12" y="278"/>
                    </a:lnTo>
                    <a:lnTo>
                      <a:pt x="18" y="284"/>
                    </a:lnTo>
                    <a:lnTo>
                      <a:pt x="18" y="284"/>
                    </a:lnTo>
                    <a:lnTo>
                      <a:pt x="18" y="286"/>
                    </a:lnTo>
                    <a:lnTo>
                      <a:pt x="20" y="286"/>
                    </a:lnTo>
                    <a:lnTo>
                      <a:pt x="20" y="286"/>
                    </a:lnTo>
                    <a:lnTo>
                      <a:pt x="20" y="286"/>
                    </a:lnTo>
                    <a:lnTo>
                      <a:pt x="22" y="288"/>
                    </a:lnTo>
                    <a:lnTo>
                      <a:pt x="22" y="288"/>
                    </a:lnTo>
                    <a:lnTo>
                      <a:pt x="22" y="288"/>
                    </a:lnTo>
                    <a:lnTo>
                      <a:pt x="22" y="290"/>
                    </a:lnTo>
                    <a:lnTo>
                      <a:pt x="22" y="292"/>
                    </a:lnTo>
                    <a:lnTo>
                      <a:pt x="24" y="296"/>
                    </a:lnTo>
                    <a:lnTo>
                      <a:pt x="24" y="296"/>
                    </a:lnTo>
                    <a:lnTo>
                      <a:pt x="24" y="298"/>
                    </a:lnTo>
                    <a:lnTo>
                      <a:pt x="24" y="298"/>
                    </a:lnTo>
                    <a:lnTo>
                      <a:pt x="26" y="300"/>
                    </a:lnTo>
                    <a:lnTo>
                      <a:pt x="26" y="300"/>
                    </a:lnTo>
                    <a:lnTo>
                      <a:pt x="28" y="302"/>
                    </a:lnTo>
                    <a:lnTo>
                      <a:pt x="30" y="304"/>
                    </a:lnTo>
                    <a:lnTo>
                      <a:pt x="30" y="304"/>
                    </a:lnTo>
                    <a:lnTo>
                      <a:pt x="30" y="304"/>
                    </a:lnTo>
                    <a:lnTo>
                      <a:pt x="30" y="304"/>
                    </a:lnTo>
                    <a:lnTo>
                      <a:pt x="28" y="304"/>
                    </a:lnTo>
                    <a:lnTo>
                      <a:pt x="28" y="306"/>
                    </a:lnTo>
                    <a:lnTo>
                      <a:pt x="26" y="306"/>
                    </a:lnTo>
                    <a:lnTo>
                      <a:pt x="26" y="306"/>
                    </a:lnTo>
                    <a:lnTo>
                      <a:pt x="26" y="306"/>
                    </a:lnTo>
                    <a:lnTo>
                      <a:pt x="24" y="306"/>
                    </a:lnTo>
                    <a:lnTo>
                      <a:pt x="24" y="306"/>
                    </a:lnTo>
                    <a:lnTo>
                      <a:pt x="24" y="306"/>
                    </a:lnTo>
                    <a:lnTo>
                      <a:pt x="24" y="308"/>
                    </a:lnTo>
                    <a:lnTo>
                      <a:pt x="24" y="310"/>
                    </a:lnTo>
                    <a:lnTo>
                      <a:pt x="24" y="310"/>
                    </a:lnTo>
                    <a:lnTo>
                      <a:pt x="24" y="312"/>
                    </a:lnTo>
                    <a:lnTo>
                      <a:pt x="24" y="312"/>
                    </a:lnTo>
                    <a:lnTo>
                      <a:pt x="26" y="314"/>
                    </a:lnTo>
                    <a:lnTo>
                      <a:pt x="26" y="314"/>
                    </a:lnTo>
                    <a:lnTo>
                      <a:pt x="26" y="316"/>
                    </a:lnTo>
                    <a:lnTo>
                      <a:pt x="28" y="316"/>
                    </a:lnTo>
                    <a:lnTo>
                      <a:pt x="30" y="318"/>
                    </a:lnTo>
                    <a:lnTo>
                      <a:pt x="30" y="320"/>
                    </a:lnTo>
                    <a:lnTo>
                      <a:pt x="30" y="320"/>
                    </a:lnTo>
                    <a:lnTo>
                      <a:pt x="32" y="320"/>
                    </a:lnTo>
                    <a:lnTo>
                      <a:pt x="32" y="322"/>
                    </a:lnTo>
                    <a:lnTo>
                      <a:pt x="32" y="324"/>
                    </a:lnTo>
                    <a:lnTo>
                      <a:pt x="30" y="326"/>
                    </a:lnTo>
                    <a:lnTo>
                      <a:pt x="30" y="326"/>
                    </a:lnTo>
                    <a:lnTo>
                      <a:pt x="30" y="326"/>
                    </a:lnTo>
                    <a:lnTo>
                      <a:pt x="28" y="326"/>
                    </a:lnTo>
                    <a:lnTo>
                      <a:pt x="28" y="326"/>
                    </a:lnTo>
                    <a:lnTo>
                      <a:pt x="28" y="326"/>
                    </a:lnTo>
                    <a:lnTo>
                      <a:pt x="28" y="326"/>
                    </a:lnTo>
                    <a:lnTo>
                      <a:pt x="30" y="328"/>
                    </a:lnTo>
                    <a:lnTo>
                      <a:pt x="30" y="328"/>
                    </a:lnTo>
                    <a:lnTo>
                      <a:pt x="32" y="330"/>
                    </a:lnTo>
                    <a:lnTo>
                      <a:pt x="32" y="330"/>
                    </a:lnTo>
                    <a:lnTo>
                      <a:pt x="34" y="330"/>
                    </a:lnTo>
                    <a:lnTo>
                      <a:pt x="36" y="330"/>
                    </a:lnTo>
                    <a:lnTo>
                      <a:pt x="36" y="330"/>
                    </a:lnTo>
                    <a:lnTo>
                      <a:pt x="38" y="330"/>
                    </a:lnTo>
                    <a:lnTo>
                      <a:pt x="38" y="330"/>
                    </a:lnTo>
                    <a:lnTo>
                      <a:pt x="40" y="330"/>
                    </a:lnTo>
                    <a:lnTo>
                      <a:pt x="42" y="328"/>
                    </a:lnTo>
                    <a:lnTo>
                      <a:pt x="42" y="328"/>
                    </a:lnTo>
                    <a:lnTo>
                      <a:pt x="44" y="328"/>
                    </a:lnTo>
                    <a:lnTo>
                      <a:pt x="46" y="328"/>
                    </a:lnTo>
                    <a:lnTo>
                      <a:pt x="46" y="328"/>
                    </a:lnTo>
                    <a:lnTo>
                      <a:pt x="46" y="328"/>
                    </a:lnTo>
                    <a:lnTo>
                      <a:pt x="48" y="326"/>
                    </a:lnTo>
                    <a:lnTo>
                      <a:pt x="50" y="326"/>
                    </a:lnTo>
                    <a:lnTo>
                      <a:pt x="50" y="326"/>
                    </a:lnTo>
                    <a:lnTo>
                      <a:pt x="50" y="324"/>
                    </a:lnTo>
                    <a:lnTo>
                      <a:pt x="50" y="322"/>
                    </a:lnTo>
                    <a:lnTo>
                      <a:pt x="50" y="322"/>
                    </a:lnTo>
                    <a:lnTo>
                      <a:pt x="50" y="320"/>
                    </a:lnTo>
                    <a:lnTo>
                      <a:pt x="52" y="318"/>
                    </a:lnTo>
                    <a:lnTo>
                      <a:pt x="52" y="318"/>
                    </a:lnTo>
                    <a:lnTo>
                      <a:pt x="52" y="316"/>
                    </a:lnTo>
                    <a:lnTo>
                      <a:pt x="54" y="312"/>
                    </a:lnTo>
                    <a:lnTo>
                      <a:pt x="56" y="310"/>
                    </a:lnTo>
                    <a:lnTo>
                      <a:pt x="56" y="310"/>
                    </a:lnTo>
                    <a:lnTo>
                      <a:pt x="58" y="308"/>
                    </a:lnTo>
                    <a:lnTo>
                      <a:pt x="60" y="310"/>
                    </a:lnTo>
                    <a:lnTo>
                      <a:pt x="60" y="310"/>
                    </a:lnTo>
                    <a:lnTo>
                      <a:pt x="62" y="310"/>
                    </a:lnTo>
                    <a:lnTo>
                      <a:pt x="62" y="310"/>
                    </a:lnTo>
                    <a:lnTo>
                      <a:pt x="62" y="310"/>
                    </a:lnTo>
                    <a:lnTo>
                      <a:pt x="62" y="310"/>
                    </a:lnTo>
                    <a:lnTo>
                      <a:pt x="64" y="310"/>
                    </a:lnTo>
                    <a:lnTo>
                      <a:pt x="66" y="310"/>
                    </a:lnTo>
                    <a:lnTo>
                      <a:pt x="66" y="310"/>
                    </a:lnTo>
                    <a:lnTo>
                      <a:pt x="68" y="306"/>
                    </a:lnTo>
                    <a:lnTo>
                      <a:pt x="68" y="304"/>
                    </a:lnTo>
                    <a:lnTo>
                      <a:pt x="68" y="304"/>
                    </a:lnTo>
                    <a:lnTo>
                      <a:pt x="70" y="304"/>
                    </a:lnTo>
                    <a:lnTo>
                      <a:pt x="72" y="304"/>
                    </a:lnTo>
                    <a:lnTo>
                      <a:pt x="74" y="302"/>
                    </a:lnTo>
                    <a:lnTo>
                      <a:pt x="74" y="302"/>
                    </a:lnTo>
                    <a:lnTo>
                      <a:pt x="76" y="302"/>
                    </a:lnTo>
                    <a:lnTo>
                      <a:pt x="78" y="300"/>
                    </a:lnTo>
                    <a:lnTo>
                      <a:pt x="78" y="296"/>
                    </a:lnTo>
                    <a:lnTo>
                      <a:pt x="78" y="296"/>
                    </a:lnTo>
                    <a:lnTo>
                      <a:pt x="80" y="294"/>
                    </a:lnTo>
                    <a:lnTo>
                      <a:pt x="82" y="292"/>
                    </a:lnTo>
                    <a:lnTo>
                      <a:pt x="82" y="292"/>
                    </a:lnTo>
                    <a:lnTo>
                      <a:pt x="82" y="288"/>
                    </a:lnTo>
                    <a:lnTo>
                      <a:pt x="82" y="288"/>
                    </a:lnTo>
                    <a:lnTo>
                      <a:pt x="82" y="286"/>
                    </a:lnTo>
                    <a:lnTo>
                      <a:pt x="82" y="284"/>
                    </a:lnTo>
                    <a:lnTo>
                      <a:pt x="82" y="282"/>
                    </a:lnTo>
                    <a:lnTo>
                      <a:pt x="82" y="282"/>
                    </a:lnTo>
                    <a:lnTo>
                      <a:pt x="82" y="282"/>
                    </a:lnTo>
                    <a:lnTo>
                      <a:pt x="80" y="280"/>
                    </a:lnTo>
                    <a:lnTo>
                      <a:pt x="80" y="280"/>
                    </a:lnTo>
                    <a:lnTo>
                      <a:pt x="80" y="280"/>
                    </a:lnTo>
                    <a:lnTo>
                      <a:pt x="80" y="278"/>
                    </a:lnTo>
                    <a:lnTo>
                      <a:pt x="80" y="278"/>
                    </a:lnTo>
                    <a:lnTo>
                      <a:pt x="78" y="274"/>
                    </a:lnTo>
                    <a:lnTo>
                      <a:pt x="80" y="272"/>
                    </a:lnTo>
                    <a:lnTo>
                      <a:pt x="80" y="272"/>
                    </a:lnTo>
                    <a:lnTo>
                      <a:pt x="80" y="270"/>
                    </a:lnTo>
                    <a:lnTo>
                      <a:pt x="80" y="270"/>
                    </a:lnTo>
                    <a:lnTo>
                      <a:pt x="80" y="270"/>
                    </a:lnTo>
                    <a:lnTo>
                      <a:pt x="80" y="268"/>
                    </a:lnTo>
                    <a:lnTo>
                      <a:pt x="80" y="266"/>
                    </a:lnTo>
                    <a:lnTo>
                      <a:pt x="80" y="264"/>
                    </a:lnTo>
                    <a:lnTo>
                      <a:pt x="80" y="262"/>
                    </a:lnTo>
                    <a:lnTo>
                      <a:pt x="80" y="262"/>
                    </a:lnTo>
                    <a:lnTo>
                      <a:pt x="80" y="260"/>
                    </a:lnTo>
                    <a:lnTo>
                      <a:pt x="80" y="258"/>
                    </a:lnTo>
                    <a:lnTo>
                      <a:pt x="80" y="258"/>
                    </a:lnTo>
                    <a:lnTo>
                      <a:pt x="78" y="258"/>
                    </a:lnTo>
                    <a:lnTo>
                      <a:pt x="78" y="256"/>
                    </a:lnTo>
                    <a:lnTo>
                      <a:pt x="78" y="256"/>
                    </a:lnTo>
                    <a:lnTo>
                      <a:pt x="78" y="256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80" y="254"/>
                    </a:lnTo>
                    <a:lnTo>
                      <a:pt x="80" y="252"/>
                    </a:lnTo>
                    <a:lnTo>
                      <a:pt x="82" y="252"/>
                    </a:lnTo>
                    <a:lnTo>
                      <a:pt x="82" y="252"/>
                    </a:lnTo>
                    <a:lnTo>
                      <a:pt x="84" y="252"/>
                    </a:lnTo>
                    <a:lnTo>
                      <a:pt x="86" y="252"/>
                    </a:lnTo>
                    <a:lnTo>
                      <a:pt x="90" y="250"/>
                    </a:lnTo>
                    <a:lnTo>
                      <a:pt x="90" y="250"/>
                    </a:lnTo>
                    <a:lnTo>
                      <a:pt x="92" y="246"/>
                    </a:lnTo>
                    <a:lnTo>
                      <a:pt x="96" y="244"/>
                    </a:lnTo>
                    <a:lnTo>
                      <a:pt x="96" y="244"/>
                    </a:lnTo>
                    <a:lnTo>
                      <a:pt x="96" y="244"/>
                    </a:lnTo>
                    <a:lnTo>
                      <a:pt x="98" y="242"/>
                    </a:lnTo>
                    <a:lnTo>
                      <a:pt x="98" y="240"/>
                    </a:lnTo>
                    <a:lnTo>
                      <a:pt x="98" y="240"/>
                    </a:lnTo>
                    <a:lnTo>
                      <a:pt x="98" y="240"/>
                    </a:lnTo>
                    <a:lnTo>
                      <a:pt x="98" y="240"/>
                    </a:lnTo>
                    <a:lnTo>
                      <a:pt x="96" y="238"/>
                    </a:lnTo>
                    <a:lnTo>
                      <a:pt x="96" y="238"/>
                    </a:lnTo>
                    <a:lnTo>
                      <a:pt x="94" y="236"/>
                    </a:lnTo>
                    <a:lnTo>
                      <a:pt x="92" y="236"/>
                    </a:lnTo>
                    <a:lnTo>
                      <a:pt x="88" y="236"/>
                    </a:lnTo>
                    <a:lnTo>
                      <a:pt x="86" y="236"/>
                    </a:lnTo>
                    <a:lnTo>
                      <a:pt x="86" y="236"/>
                    </a:lnTo>
                    <a:lnTo>
                      <a:pt x="86" y="236"/>
                    </a:lnTo>
                    <a:lnTo>
                      <a:pt x="82" y="236"/>
                    </a:lnTo>
                    <a:lnTo>
                      <a:pt x="80" y="236"/>
                    </a:lnTo>
                    <a:lnTo>
                      <a:pt x="80" y="236"/>
                    </a:lnTo>
                    <a:lnTo>
                      <a:pt x="74" y="236"/>
                    </a:lnTo>
                    <a:lnTo>
                      <a:pt x="74" y="236"/>
                    </a:lnTo>
                    <a:lnTo>
                      <a:pt x="72" y="236"/>
                    </a:lnTo>
                    <a:lnTo>
                      <a:pt x="72" y="234"/>
                    </a:lnTo>
                    <a:lnTo>
                      <a:pt x="72" y="234"/>
                    </a:lnTo>
                    <a:lnTo>
                      <a:pt x="72" y="234"/>
                    </a:lnTo>
                    <a:lnTo>
                      <a:pt x="72" y="234"/>
                    </a:lnTo>
                    <a:lnTo>
                      <a:pt x="72" y="232"/>
                    </a:lnTo>
                    <a:lnTo>
                      <a:pt x="72" y="232"/>
                    </a:lnTo>
                    <a:lnTo>
                      <a:pt x="76" y="232"/>
                    </a:lnTo>
                    <a:lnTo>
                      <a:pt x="76" y="232"/>
                    </a:lnTo>
                    <a:lnTo>
                      <a:pt x="80" y="232"/>
                    </a:lnTo>
                    <a:lnTo>
                      <a:pt x="82" y="232"/>
                    </a:lnTo>
                    <a:lnTo>
                      <a:pt x="82" y="232"/>
                    </a:lnTo>
                    <a:lnTo>
                      <a:pt x="82" y="232"/>
                    </a:lnTo>
                    <a:lnTo>
                      <a:pt x="84" y="232"/>
                    </a:lnTo>
                    <a:lnTo>
                      <a:pt x="86" y="232"/>
                    </a:lnTo>
                    <a:lnTo>
                      <a:pt x="88" y="232"/>
                    </a:lnTo>
                    <a:lnTo>
                      <a:pt x="90" y="234"/>
                    </a:lnTo>
                    <a:lnTo>
                      <a:pt x="90" y="234"/>
                    </a:lnTo>
                    <a:lnTo>
                      <a:pt x="92" y="234"/>
                    </a:lnTo>
                    <a:lnTo>
                      <a:pt x="94" y="234"/>
                    </a:lnTo>
                    <a:lnTo>
                      <a:pt x="96" y="234"/>
                    </a:lnTo>
                    <a:lnTo>
                      <a:pt x="96" y="234"/>
                    </a:lnTo>
                    <a:lnTo>
                      <a:pt x="98" y="232"/>
                    </a:lnTo>
                    <a:lnTo>
                      <a:pt x="102" y="232"/>
                    </a:lnTo>
                    <a:lnTo>
                      <a:pt x="102" y="232"/>
                    </a:lnTo>
                    <a:lnTo>
                      <a:pt x="102" y="230"/>
                    </a:lnTo>
                    <a:lnTo>
                      <a:pt x="104" y="230"/>
                    </a:lnTo>
                    <a:lnTo>
                      <a:pt x="104" y="228"/>
                    </a:lnTo>
                    <a:lnTo>
                      <a:pt x="104" y="226"/>
                    </a:lnTo>
                    <a:lnTo>
                      <a:pt x="104" y="226"/>
                    </a:lnTo>
                    <a:lnTo>
                      <a:pt x="104" y="222"/>
                    </a:lnTo>
                    <a:lnTo>
                      <a:pt x="104" y="220"/>
                    </a:lnTo>
                    <a:lnTo>
                      <a:pt x="104" y="218"/>
                    </a:lnTo>
                    <a:lnTo>
                      <a:pt x="104" y="218"/>
                    </a:lnTo>
                    <a:lnTo>
                      <a:pt x="102" y="216"/>
                    </a:lnTo>
                    <a:lnTo>
                      <a:pt x="100" y="216"/>
                    </a:lnTo>
                    <a:lnTo>
                      <a:pt x="98" y="212"/>
                    </a:lnTo>
                    <a:lnTo>
                      <a:pt x="98" y="212"/>
                    </a:lnTo>
                    <a:lnTo>
                      <a:pt x="96" y="212"/>
                    </a:lnTo>
                    <a:lnTo>
                      <a:pt x="94" y="210"/>
                    </a:lnTo>
                    <a:lnTo>
                      <a:pt x="94" y="210"/>
                    </a:lnTo>
                    <a:lnTo>
                      <a:pt x="94" y="208"/>
                    </a:lnTo>
                    <a:lnTo>
                      <a:pt x="94" y="208"/>
                    </a:lnTo>
                    <a:lnTo>
                      <a:pt x="94" y="208"/>
                    </a:lnTo>
                    <a:lnTo>
                      <a:pt x="94" y="206"/>
                    </a:lnTo>
                    <a:lnTo>
                      <a:pt x="94" y="206"/>
                    </a:lnTo>
                    <a:lnTo>
                      <a:pt x="94" y="206"/>
                    </a:lnTo>
                    <a:lnTo>
                      <a:pt x="92" y="206"/>
                    </a:lnTo>
                    <a:lnTo>
                      <a:pt x="92" y="204"/>
                    </a:lnTo>
                    <a:lnTo>
                      <a:pt x="92" y="204"/>
                    </a:lnTo>
                    <a:lnTo>
                      <a:pt x="88" y="202"/>
                    </a:lnTo>
                    <a:lnTo>
                      <a:pt x="86" y="200"/>
                    </a:lnTo>
                    <a:lnTo>
                      <a:pt x="84" y="200"/>
                    </a:lnTo>
                    <a:lnTo>
                      <a:pt x="84" y="200"/>
                    </a:lnTo>
                    <a:lnTo>
                      <a:pt x="82" y="200"/>
                    </a:lnTo>
                    <a:lnTo>
                      <a:pt x="80" y="200"/>
                    </a:lnTo>
                    <a:lnTo>
                      <a:pt x="80" y="200"/>
                    </a:lnTo>
                    <a:lnTo>
                      <a:pt x="80" y="200"/>
                    </a:lnTo>
                    <a:lnTo>
                      <a:pt x="80" y="200"/>
                    </a:lnTo>
                    <a:lnTo>
                      <a:pt x="78" y="198"/>
                    </a:lnTo>
                    <a:lnTo>
                      <a:pt x="78" y="198"/>
                    </a:lnTo>
                    <a:lnTo>
                      <a:pt x="78" y="198"/>
                    </a:lnTo>
                    <a:lnTo>
                      <a:pt x="78" y="196"/>
                    </a:lnTo>
                    <a:lnTo>
                      <a:pt x="78" y="194"/>
                    </a:lnTo>
                    <a:lnTo>
                      <a:pt x="78" y="190"/>
                    </a:lnTo>
                    <a:lnTo>
                      <a:pt x="78" y="190"/>
                    </a:lnTo>
                    <a:lnTo>
                      <a:pt x="78" y="188"/>
                    </a:lnTo>
                    <a:lnTo>
                      <a:pt x="78" y="186"/>
                    </a:lnTo>
                    <a:lnTo>
                      <a:pt x="78" y="186"/>
                    </a:lnTo>
                    <a:lnTo>
                      <a:pt x="78" y="184"/>
                    </a:lnTo>
                    <a:lnTo>
                      <a:pt x="78" y="184"/>
                    </a:lnTo>
                    <a:lnTo>
                      <a:pt x="78" y="184"/>
                    </a:lnTo>
                    <a:lnTo>
                      <a:pt x="76" y="180"/>
                    </a:lnTo>
                    <a:lnTo>
                      <a:pt x="76" y="178"/>
                    </a:lnTo>
                    <a:lnTo>
                      <a:pt x="76" y="176"/>
                    </a:lnTo>
                    <a:lnTo>
                      <a:pt x="76" y="176"/>
                    </a:lnTo>
                    <a:lnTo>
                      <a:pt x="76" y="172"/>
                    </a:lnTo>
                    <a:lnTo>
                      <a:pt x="78" y="166"/>
                    </a:lnTo>
                    <a:lnTo>
                      <a:pt x="78" y="166"/>
                    </a:lnTo>
                    <a:lnTo>
                      <a:pt x="78" y="162"/>
                    </a:lnTo>
                    <a:lnTo>
                      <a:pt x="78" y="160"/>
                    </a:lnTo>
                    <a:lnTo>
                      <a:pt x="80" y="158"/>
                    </a:lnTo>
                    <a:lnTo>
                      <a:pt x="80" y="158"/>
                    </a:lnTo>
                    <a:lnTo>
                      <a:pt x="80" y="156"/>
                    </a:lnTo>
                    <a:lnTo>
                      <a:pt x="82" y="154"/>
                    </a:lnTo>
                    <a:lnTo>
                      <a:pt x="84" y="154"/>
                    </a:lnTo>
                    <a:lnTo>
                      <a:pt x="86" y="152"/>
                    </a:lnTo>
                    <a:lnTo>
                      <a:pt x="86" y="152"/>
                    </a:lnTo>
                    <a:lnTo>
                      <a:pt x="90" y="150"/>
                    </a:lnTo>
                    <a:lnTo>
                      <a:pt x="92" y="146"/>
                    </a:lnTo>
                    <a:lnTo>
                      <a:pt x="92" y="146"/>
                    </a:lnTo>
                    <a:lnTo>
                      <a:pt x="96" y="142"/>
                    </a:lnTo>
                    <a:lnTo>
                      <a:pt x="98" y="140"/>
                    </a:lnTo>
                    <a:lnTo>
                      <a:pt x="100" y="138"/>
                    </a:lnTo>
                    <a:lnTo>
                      <a:pt x="100" y="138"/>
                    </a:lnTo>
                    <a:lnTo>
                      <a:pt x="102" y="138"/>
                    </a:lnTo>
                    <a:lnTo>
                      <a:pt x="104" y="138"/>
                    </a:lnTo>
                    <a:lnTo>
                      <a:pt x="106" y="138"/>
                    </a:lnTo>
                    <a:lnTo>
                      <a:pt x="108" y="138"/>
                    </a:lnTo>
                    <a:lnTo>
                      <a:pt x="108" y="138"/>
                    </a:lnTo>
                    <a:lnTo>
                      <a:pt x="112" y="138"/>
                    </a:lnTo>
                    <a:lnTo>
                      <a:pt x="112" y="138"/>
                    </a:lnTo>
                    <a:lnTo>
                      <a:pt x="112" y="136"/>
                    </a:lnTo>
                    <a:lnTo>
                      <a:pt x="112" y="136"/>
                    </a:lnTo>
                    <a:lnTo>
                      <a:pt x="114" y="132"/>
                    </a:lnTo>
                    <a:lnTo>
                      <a:pt x="114" y="132"/>
                    </a:lnTo>
                    <a:lnTo>
                      <a:pt x="116" y="130"/>
                    </a:lnTo>
                    <a:lnTo>
                      <a:pt x="116" y="126"/>
                    </a:lnTo>
                    <a:lnTo>
                      <a:pt x="118" y="124"/>
                    </a:lnTo>
                    <a:lnTo>
                      <a:pt x="122" y="122"/>
                    </a:lnTo>
                    <a:lnTo>
                      <a:pt x="122" y="122"/>
                    </a:lnTo>
                    <a:lnTo>
                      <a:pt x="122" y="120"/>
                    </a:lnTo>
                    <a:lnTo>
                      <a:pt x="124" y="118"/>
                    </a:lnTo>
                    <a:lnTo>
                      <a:pt x="124" y="118"/>
                    </a:lnTo>
                    <a:lnTo>
                      <a:pt x="124" y="116"/>
                    </a:lnTo>
                    <a:lnTo>
                      <a:pt x="124" y="116"/>
                    </a:lnTo>
                    <a:lnTo>
                      <a:pt x="124" y="114"/>
                    </a:lnTo>
                    <a:lnTo>
                      <a:pt x="124" y="114"/>
                    </a:lnTo>
                    <a:lnTo>
                      <a:pt x="124" y="114"/>
                    </a:lnTo>
                    <a:lnTo>
                      <a:pt x="122" y="114"/>
                    </a:lnTo>
                    <a:lnTo>
                      <a:pt x="122" y="114"/>
                    </a:lnTo>
                    <a:lnTo>
                      <a:pt x="122" y="112"/>
                    </a:lnTo>
                    <a:lnTo>
                      <a:pt x="124" y="112"/>
                    </a:lnTo>
                    <a:lnTo>
                      <a:pt x="124" y="112"/>
                    </a:lnTo>
                    <a:lnTo>
                      <a:pt x="124" y="110"/>
                    </a:lnTo>
                    <a:lnTo>
                      <a:pt x="124" y="110"/>
                    </a:lnTo>
                    <a:lnTo>
                      <a:pt x="124" y="110"/>
                    </a:lnTo>
                    <a:lnTo>
                      <a:pt x="124" y="108"/>
                    </a:lnTo>
                    <a:lnTo>
                      <a:pt x="122" y="108"/>
                    </a:lnTo>
                    <a:lnTo>
                      <a:pt x="122" y="108"/>
                    </a:lnTo>
                    <a:lnTo>
                      <a:pt x="122" y="106"/>
                    </a:lnTo>
                    <a:lnTo>
                      <a:pt x="120" y="104"/>
                    </a:lnTo>
                    <a:lnTo>
                      <a:pt x="120" y="104"/>
                    </a:lnTo>
                    <a:lnTo>
                      <a:pt x="122" y="102"/>
                    </a:lnTo>
                    <a:lnTo>
                      <a:pt x="122" y="100"/>
                    </a:lnTo>
                    <a:lnTo>
                      <a:pt x="122" y="100"/>
                    </a:lnTo>
                    <a:lnTo>
                      <a:pt x="122" y="100"/>
                    </a:lnTo>
                    <a:lnTo>
                      <a:pt x="124" y="100"/>
                    </a:lnTo>
                    <a:lnTo>
                      <a:pt x="126" y="98"/>
                    </a:lnTo>
                    <a:lnTo>
                      <a:pt x="126" y="98"/>
                    </a:lnTo>
                    <a:lnTo>
                      <a:pt x="126" y="98"/>
                    </a:lnTo>
                    <a:lnTo>
                      <a:pt x="126" y="98"/>
                    </a:lnTo>
                    <a:lnTo>
                      <a:pt x="126" y="96"/>
                    </a:lnTo>
                    <a:lnTo>
                      <a:pt x="126" y="96"/>
                    </a:lnTo>
                    <a:lnTo>
                      <a:pt x="124" y="96"/>
                    </a:lnTo>
                    <a:lnTo>
                      <a:pt x="124" y="94"/>
                    </a:lnTo>
                    <a:lnTo>
                      <a:pt x="124" y="94"/>
                    </a:lnTo>
                    <a:lnTo>
                      <a:pt x="124" y="94"/>
                    </a:lnTo>
                    <a:lnTo>
                      <a:pt x="124" y="92"/>
                    </a:lnTo>
                    <a:lnTo>
                      <a:pt x="124" y="92"/>
                    </a:lnTo>
                    <a:lnTo>
                      <a:pt x="124" y="92"/>
                    </a:lnTo>
                    <a:lnTo>
                      <a:pt x="126" y="92"/>
                    </a:lnTo>
                    <a:lnTo>
                      <a:pt x="128" y="92"/>
                    </a:lnTo>
                    <a:lnTo>
                      <a:pt x="128" y="92"/>
                    </a:lnTo>
                    <a:lnTo>
                      <a:pt x="130" y="90"/>
                    </a:lnTo>
                    <a:lnTo>
                      <a:pt x="130" y="90"/>
                    </a:lnTo>
                    <a:lnTo>
                      <a:pt x="132" y="90"/>
                    </a:lnTo>
                    <a:lnTo>
                      <a:pt x="132" y="88"/>
                    </a:lnTo>
                    <a:lnTo>
                      <a:pt x="132" y="88"/>
                    </a:lnTo>
                    <a:lnTo>
                      <a:pt x="130" y="88"/>
                    </a:lnTo>
                    <a:lnTo>
                      <a:pt x="130" y="88"/>
                    </a:lnTo>
                    <a:lnTo>
                      <a:pt x="130" y="86"/>
                    </a:lnTo>
                    <a:lnTo>
                      <a:pt x="130" y="86"/>
                    </a:lnTo>
                    <a:lnTo>
                      <a:pt x="130" y="86"/>
                    </a:lnTo>
                    <a:lnTo>
                      <a:pt x="130" y="86"/>
                    </a:lnTo>
                    <a:lnTo>
                      <a:pt x="130" y="86"/>
                    </a:lnTo>
                    <a:lnTo>
                      <a:pt x="132" y="84"/>
                    </a:lnTo>
                    <a:lnTo>
                      <a:pt x="134" y="84"/>
                    </a:lnTo>
                    <a:lnTo>
                      <a:pt x="134" y="84"/>
                    </a:lnTo>
                    <a:lnTo>
                      <a:pt x="136" y="84"/>
                    </a:lnTo>
                    <a:lnTo>
                      <a:pt x="138" y="84"/>
                    </a:lnTo>
                    <a:lnTo>
                      <a:pt x="140" y="82"/>
                    </a:lnTo>
                    <a:lnTo>
                      <a:pt x="140" y="80"/>
                    </a:lnTo>
                    <a:lnTo>
                      <a:pt x="140" y="80"/>
                    </a:lnTo>
                    <a:lnTo>
                      <a:pt x="140" y="80"/>
                    </a:lnTo>
                    <a:lnTo>
                      <a:pt x="142" y="78"/>
                    </a:lnTo>
                    <a:lnTo>
                      <a:pt x="144" y="78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8" y="76"/>
                    </a:lnTo>
                    <a:lnTo>
                      <a:pt x="152" y="76"/>
                    </a:lnTo>
                    <a:lnTo>
                      <a:pt x="152" y="76"/>
                    </a:lnTo>
                    <a:lnTo>
                      <a:pt x="152" y="74"/>
                    </a:lnTo>
                    <a:lnTo>
                      <a:pt x="152" y="74"/>
                    </a:lnTo>
                    <a:lnTo>
                      <a:pt x="152" y="68"/>
                    </a:lnTo>
                    <a:lnTo>
                      <a:pt x="152" y="66"/>
                    </a:lnTo>
                    <a:lnTo>
                      <a:pt x="152" y="66"/>
                    </a:lnTo>
                    <a:lnTo>
                      <a:pt x="152" y="66"/>
                    </a:lnTo>
                    <a:lnTo>
                      <a:pt x="152" y="66"/>
                    </a:lnTo>
                    <a:lnTo>
                      <a:pt x="152" y="6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13" name="Freeform 413"/>
              <p:cNvSpPr>
                <a:spLocks/>
              </p:cNvSpPr>
              <p:nvPr/>
            </p:nvSpPr>
            <p:spPr bwMode="auto">
              <a:xfrm>
                <a:off x="2971" y="1730"/>
                <a:ext cx="10" cy="12"/>
              </a:xfrm>
              <a:custGeom>
                <a:avLst/>
                <a:gdLst>
                  <a:gd name="T0" fmla="*/ 0 w 10"/>
                  <a:gd name="T1" fmla="*/ 4 h 12"/>
                  <a:gd name="T2" fmla="*/ 0 w 10"/>
                  <a:gd name="T3" fmla="*/ 4 h 12"/>
                  <a:gd name="T4" fmla="*/ 0 w 10"/>
                  <a:gd name="T5" fmla="*/ 4 h 12"/>
                  <a:gd name="T6" fmla="*/ 0 w 10"/>
                  <a:gd name="T7" fmla="*/ 4 h 12"/>
                  <a:gd name="T8" fmla="*/ 0 w 10"/>
                  <a:gd name="T9" fmla="*/ 6 h 12"/>
                  <a:gd name="T10" fmla="*/ 0 w 10"/>
                  <a:gd name="T11" fmla="*/ 6 h 12"/>
                  <a:gd name="T12" fmla="*/ 0 w 10"/>
                  <a:gd name="T13" fmla="*/ 6 h 12"/>
                  <a:gd name="T14" fmla="*/ 0 w 10"/>
                  <a:gd name="T15" fmla="*/ 8 h 12"/>
                  <a:gd name="T16" fmla="*/ 2 w 10"/>
                  <a:gd name="T17" fmla="*/ 10 h 12"/>
                  <a:gd name="T18" fmla="*/ 2 w 10"/>
                  <a:gd name="T19" fmla="*/ 10 h 12"/>
                  <a:gd name="T20" fmla="*/ 2 w 10"/>
                  <a:gd name="T21" fmla="*/ 12 h 12"/>
                  <a:gd name="T22" fmla="*/ 2 w 10"/>
                  <a:gd name="T23" fmla="*/ 12 h 12"/>
                  <a:gd name="T24" fmla="*/ 2 w 10"/>
                  <a:gd name="T25" fmla="*/ 12 h 12"/>
                  <a:gd name="T26" fmla="*/ 4 w 10"/>
                  <a:gd name="T27" fmla="*/ 10 h 12"/>
                  <a:gd name="T28" fmla="*/ 6 w 10"/>
                  <a:gd name="T29" fmla="*/ 8 h 12"/>
                  <a:gd name="T30" fmla="*/ 6 w 10"/>
                  <a:gd name="T31" fmla="*/ 8 h 12"/>
                  <a:gd name="T32" fmla="*/ 6 w 10"/>
                  <a:gd name="T33" fmla="*/ 6 h 12"/>
                  <a:gd name="T34" fmla="*/ 8 w 10"/>
                  <a:gd name="T35" fmla="*/ 6 h 12"/>
                  <a:gd name="T36" fmla="*/ 8 w 10"/>
                  <a:gd name="T37" fmla="*/ 6 h 12"/>
                  <a:gd name="T38" fmla="*/ 10 w 10"/>
                  <a:gd name="T39" fmla="*/ 4 h 12"/>
                  <a:gd name="T40" fmla="*/ 10 w 10"/>
                  <a:gd name="T41" fmla="*/ 4 h 12"/>
                  <a:gd name="T42" fmla="*/ 10 w 10"/>
                  <a:gd name="T43" fmla="*/ 4 h 12"/>
                  <a:gd name="T44" fmla="*/ 10 w 10"/>
                  <a:gd name="T45" fmla="*/ 2 h 12"/>
                  <a:gd name="T46" fmla="*/ 8 w 10"/>
                  <a:gd name="T47" fmla="*/ 2 h 12"/>
                  <a:gd name="T48" fmla="*/ 8 w 10"/>
                  <a:gd name="T49" fmla="*/ 0 h 12"/>
                  <a:gd name="T50" fmla="*/ 6 w 10"/>
                  <a:gd name="T51" fmla="*/ 0 h 12"/>
                  <a:gd name="T52" fmla="*/ 6 w 10"/>
                  <a:gd name="T53" fmla="*/ 0 h 12"/>
                  <a:gd name="T54" fmla="*/ 4 w 10"/>
                  <a:gd name="T55" fmla="*/ 0 h 12"/>
                  <a:gd name="T56" fmla="*/ 4 w 10"/>
                  <a:gd name="T57" fmla="*/ 0 h 12"/>
                  <a:gd name="T58" fmla="*/ 0 w 10"/>
                  <a:gd name="T59" fmla="*/ 4 h 12"/>
                  <a:gd name="T60" fmla="*/ 0 w 10"/>
                  <a:gd name="T61" fmla="*/ 4 h 12"/>
                  <a:gd name="T62" fmla="*/ 0 w 10"/>
                  <a:gd name="T63" fmla="*/ 4 h 12"/>
                  <a:gd name="T64" fmla="*/ 0 w 10"/>
                  <a:gd name="T65" fmla="*/ 4 h 12"/>
                  <a:gd name="T66" fmla="*/ 0 w 10"/>
                  <a:gd name="T67" fmla="*/ 4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0" h="12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0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2"/>
                    </a:lnTo>
                    <a:lnTo>
                      <a:pt x="8" y="2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14" name="Freeform 415"/>
              <p:cNvSpPr>
                <a:spLocks/>
              </p:cNvSpPr>
              <p:nvPr/>
            </p:nvSpPr>
            <p:spPr bwMode="auto">
              <a:xfrm>
                <a:off x="2969" y="1746"/>
                <a:ext cx="4" cy="6"/>
              </a:xfrm>
              <a:custGeom>
                <a:avLst/>
                <a:gdLst>
                  <a:gd name="T0" fmla="*/ 2 w 4"/>
                  <a:gd name="T1" fmla="*/ 6 h 6"/>
                  <a:gd name="T2" fmla="*/ 2 w 4"/>
                  <a:gd name="T3" fmla="*/ 6 h 6"/>
                  <a:gd name="T4" fmla="*/ 2 w 4"/>
                  <a:gd name="T5" fmla="*/ 6 h 6"/>
                  <a:gd name="T6" fmla="*/ 2 w 4"/>
                  <a:gd name="T7" fmla="*/ 6 h 6"/>
                  <a:gd name="T8" fmla="*/ 4 w 4"/>
                  <a:gd name="T9" fmla="*/ 6 h 6"/>
                  <a:gd name="T10" fmla="*/ 4 w 4"/>
                  <a:gd name="T11" fmla="*/ 4 h 6"/>
                  <a:gd name="T12" fmla="*/ 4 w 4"/>
                  <a:gd name="T13" fmla="*/ 4 h 6"/>
                  <a:gd name="T14" fmla="*/ 4 w 4"/>
                  <a:gd name="T15" fmla="*/ 4 h 6"/>
                  <a:gd name="T16" fmla="*/ 4 w 4"/>
                  <a:gd name="T17" fmla="*/ 2 h 6"/>
                  <a:gd name="T18" fmla="*/ 4 w 4"/>
                  <a:gd name="T19" fmla="*/ 2 h 6"/>
                  <a:gd name="T20" fmla="*/ 2 w 4"/>
                  <a:gd name="T21" fmla="*/ 0 h 6"/>
                  <a:gd name="T22" fmla="*/ 0 w 4"/>
                  <a:gd name="T23" fmla="*/ 0 h 6"/>
                  <a:gd name="T24" fmla="*/ 0 w 4"/>
                  <a:gd name="T25" fmla="*/ 0 h 6"/>
                  <a:gd name="T26" fmla="*/ 0 w 4"/>
                  <a:gd name="T27" fmla="*/ 2 h 6"/>
                  <a:gd name="T28" fmla="*/ 0 w 4"/>
                  <a:gd name="T29" fmla="*/ 2 h 6"/>
                  <a:gd name="T30" fmla="*/ 0 w 4"/>
                  <a:gd name="T31" fmla="*/ 4 h 6"/>
                  <a:gd name="T32" fmla="*/ 2 w 4"/>
                  <a:gd name="T33" fmla="*/ 6 h 6"/>
                  <a:gd name="T34" fmla="*/ 2 w 4"/>
                  <a:gd name="T35" fmla="*/ 6 h 6"/>
                  <a:gd name="T36" fmla="*/ 2 w 4"/>
                  <a:gd name="T37" fmla="*/ 6 h 6"/>
                  <a:gd name="T38" fmla="*/ 2 w 4"/>
                  <a:gd name="T39" fmla="*/ 6 h 6"/>
                  <a:gd name="T40" fmla="*/ 2 w 4"/>
                  <a:gd name="T4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" h="6">
                    <a:moveTo>
                      <a:pt x="2" y="6"/>
                    </a:move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15" name="Freeform 417"/>
              <p:cNvSpPr>
                <a:spLocks/>
              </p:cNvSpPr>
              <p:nvPr/>
            </p:nvSpPr>
            <p:spPr bwMode="auto">
              <a:xfrm>
                <a:off x="2959" y="1784"/>
                <a:ext cx="14" cy="26"/>
              </a:xfrm>
              <a:custGeom>
                <a:avLst/>
                <a:gdLst>
                  <a:gd name="T0" fmla="*/ 8 w 14"/>
                  <a:gd name="T1" fmla="*/ 4 h 26"/>
                  <a:gd name="T2" fmla="*/ 8 w 14"/>
                  <a:gd name="T3" fmla="*/ 4 h 26"/>
                  <a:gd name="T4" fmla="*/ 8 w 14"/>
                  <a:gd name="T5" fmla="*/ 6 h 26"/>
                  <a:gd name="T6" fmla="*/ 6 w 14"/>
                  <a:gd name="T7" fmla="*/ 8 h 26"/>
                  <a:gd name="T8" fmla="*/ 6 w 14"/>
                  <a:gd name="T9" fmla="*/ 8 h 26"/>
                  <a:gd name="T10" fmla="*/ 4 w 14"/>
                  <a:gd name="T11" fmla="*/ 10 h 26"/>
                  <a:gd name="T12" fmla="*/ 2 w 14"/>
                  <a:gd name="T13" fmla="*/ 14 h 26"/>
                  <a:gd name="T14" fmla="*/ 2 w 14"/>
                  <a:gd name="T15" fmla="*/ 14 h 26"/>
                  <a:gd name="T16" fmla="*/ 0 w 14"/>
                  <a:gd name="T17" fmla="*/ 14 h 26"/>
                  <a:gd name="T18" fmla="*/ 0 w 14"/>
                  <a:gd name="T19" fmla="*/ 16 h 26"/>
                  <a:gd name="T20" fmla="*/ 0 w 14"/>
                  <a:gd name="T21" fmla="*/ 18 h 26"/>
                  <a:gd name="T22" fmla="*/ 0 w 14"/>
                  <a:gd name="T23" fmla="*/ 20 h 26"/>
                  <a:gd name="T24" fmla="*/ 0 w 14"/>
                  <a:gd name="T25" fmla="*/ 20 h 26"/>
                  <a:gd name="T26" fmla="*/ 2 w 14"/>
                  <a:gd name="T27" fmla="*/ 20 h 26"/>
                  <a:gd name="T28" fmla="*/ 2 w 14"/>
                  <a:gd name="T29" fmla="*/ 22 h 26"/>
                  <a:gd name="T30" fmla="*/ 2 w 14"/>
                  <a:gd name="T31" fmla="*/ 22 h 26"/>
                  <a:gd name="T32" fmla="*/ 2 w 14"/>
                  <a:gd name="T33" fmla="*/ 24 h 26"/>
                  <a:gd name="T34" fmla="*/ 2 w 14"/>
                  <a:gd name="T35" fmla="*/ 26 h 26"/>
                  <a:gd name="T36" fmla="*/ 2 w 14"/>
                  <a:gd name="T37" fmla="*/ 26 h 26"/>
                  <a:gd name="T38" fmla="*/ 4 w 14"/>
                  <a:gd name="T39" fmla="*/ 26 h 26"/>
                  <a:gd name="T40" fmla="*/ 4 w 14"/>
                  <a:gd name="T41" fmla="*/ 26 h 26"/>
                  <a:gd name="T42" fmla="*/ 4 w 14"/>
                  <a:gd name="T43" fmla="*/ 26 h 26"/>
                  <a:gd name="T44" fmla="*/ 6 w 14"/>
                  <a:gd name="T45" fmla="*/ 26 h 26"/>
                  <a:gd name="T46" fmla="*/ 8 w 14"/>
                  <a:gd name="T47" fmla="*/ 24 h 26"/>
                  <a:gd name="T48" fmla="*/ 8 w 14"/>
                  <a:gd name="T49" fmla="*/ 24 h 26"/>
                  <a:gd name="T50" fmla="*/ 10 w 14"/>
                  <a:gd name="T51" fmla="*/ 22 h 26"/>
                  <a:gd name="T52" fmla="*/ 10 w 14"/>
                  <a:gd name="T53" fmla="*/ 20 h 26"/>
                  <a:gd name="T54" fmla="*/ 10 w 14"/>
                  <a:gd name="T55" fmla="*/ 20 h 26"/>
                  <a:gd name="T56" fmla="*/ 10 w 14"/>
                  <a:gd name="T57" fmla="*/ 20 h 26"/>
                  <a:gd name="T58" fmla="*/ 12 w 14"/>
                  <a:gd name="T59" fmla="*/ 16 h 26"/>
                  <a:gd name="T60" fmla="*/ 12 w 14"/>
                  <a:gd name="T61" fmla="*/ 14 h 26"/>
                  <a:gd name="T62" fmla="*/ 12 w 14"/>
                  <a:gd name="T63" fmla="*/ 12 h 26"/>
                  <a:gd name="T64" fmla="*/ 12 w 14"/>
                  <a:gd name="T65" fmla="*/ 12 h 26"/>
                  <a:gd name="T66" fmla="*/ 12 w 14"/>
                  <a:gd name="T67" fmla="*/ 10 h 26"/>
                  <a:gd name="T68" fmla="*/ 12 w 14"/>
                  <a:gd name="T69" fmla="*/ 8 h 26"/>
                  <a:gd name="T70" fmla="*/ 12 w 14"/>
                  <a:gd name="T71" fmla="*/ 8 h 26"/>
                  <a:gd name="T72" fmla="*/ 14 w 14"/>
                  <a:gd name="T73" fmla="*/ 6 h 26"/>
                  <a:gd name="T74" fmla="*/ 14 w 14"/>
                  <a:gd name="T75" fmla="*/ 6 h 26"/>
                  <a:gd name="T76" fmla="*/ 14 w 14"/>
                  <a:gd name="T77" fmla="*/ 4 h 26"/>
                  <a:gd name="T78" fmla="*/ 14 w 14"/>
                  <a:gd name="T79" fmla="*/ 4 h 26"/>
                  <a:gd name="T80" fmla="*/ 12 w 14"/>
                  <a:gd name="T81" fmla="*/ 2 h 26"/>
                  <a:gd name="T82" fmla="*/ 12 w 14"/>
                  <a:gd name="T83" fmla="*/ 2 h 26"/>
                  <a:gd name="T84" fmla="*/ 12 w 14"/>
                  <a:gd name="T85" fmla="*/ 0 h 26"/>
                  <a:gd name="T86" fmla="*/ 12 w 14"/>
                  <a:gd name="T87" fmla="*/ 0 h 26"/>
                  <a:gd name="T88" fmla="*/ 10 w 14"/>
                  <a:gd name="T89" fmla="*/ 0 h 26"/>
                  <a:gd name="T90" fmla="*/ 10 w 14"/>
                  <a:gd name="T91" fmla="*/ 0 h 26"/>
                  <a:gd name="T92" fmla="*/ 10 w 14"/>
                  <a:gd name="T93" fmla="*/ 2 h 26"/>
                  <a:gd name="T94" fmla="*/ 8 w 14"/>
                  <a:gd name="T95" fmla="*/ 4 h 26"/>
                  <a:gd name="T96" fmla="*/ 8 w 14"/>
                  <a:gd name="T97" fmla="*/ 4 h 26"/>
                  <a:gd name="T98" fmla="*/ 8 w 14"/>
                  <a:gd name="T99" fmla="*/ 4 h 26"/>
                  <a:gd name="T100" fmla="*/ 8 w 14"/>
                  <a:gd name="T101" fmla="*/ 4 h 26"/>
                  <a:gd name="T102" fmla="*/ 8 w 14"/>
                  <a:gd name="T103" fmla="*/ 4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4" h="26">
                    <a:moveTo>
                      <a:pt x="8" y="4"/>
                    </a:moveTo>
                    <a:lnTo>
                      <a:pt x="8" y="4"/>
                    </a:lnTo>
                    <a:lnTo>
                      <a:pt x="8" y="6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4" y="10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0" y="18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2" y="20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4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6" y="26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0" y="22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2" y="16"/>
                    </a:lnTo>
                    <a:lnTo>
                      <a:pt x="12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0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2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16" name="Freeform 420"/>
              <p:cNvSpPr>
                <a:spLocks/>
              </p:cNvSpPr>
              <p:nvPr/>
            </p:nvSpPr>
            <p:spPr bwMode="auto">
              <a:xfrm>
                <a:off x="2943" y="1800"/>
                <a:ext cx="8" cy="20"/>
              </a:xfrm>
              <a:custGeom>
                <a:avLst/>
                <a:gdLst>
                  <a:gd name="T0" fmla="*/ 6 w 8"/>
                  <a:gd name="T1" fmla="*/ 6 h 20"/>
                  <a:gd name="T2" fmla="*/ 6 w 8"/>
                  <a:gd name="T3" fmla="*/ 6 h 20"/>
                  <a:gd name="T4" fmla="*/ 4 w 8"/>
                  <a:gd name="T5" fmla="*/ 6 h 20"/>
                  <a:gd name="T6" fmla="*/ 2 w 8"/>
                  <a:gd name="T7" fmla="*/ 10 h 20"/>
                  <a:gd name="T8" fmla="*/ 2 w 8"/>
                  <a:gd name="T9" fmla="*/ 10 h 20"/>
                  <a:gd name="T10" fmla="*/ 2 w 8"/>
                  <a:gd name="T11" fmla="*/ 12 h 20"/>
                  <a:gd name="T12" fmla="*/ 0 w 8"/>
                  <a:gd name="T13" fmla="*/ 14 h 20"/>
                  <a:gd name="T14" fmla="*/ 0 w 8"/>
                  <a:gd name="T15" fmla="*/ 18 h 20"/>
                  <a:gd name="T16" fmla="*/ 0 w 8"/>
                  <a:gd name="T17" fmla="*/ 20 h 20"/>
                  <a:gd name="T18" fmla="*/ 0 w 8"/>
                  <a:gd name="T19" fmla="*/ 20 h 20"/>
                  <a:gd name="T20" fmla="*/ 2 w 8"/>
                  <a:gd name="T21" fmla="*/ 20 h 20"/>
                  <a:gd name="T22" fmla="*/ 2 w 8"/>
                  <a:gd name="T23" fmla="*/ 20 h 20"/>
                  <a:gd name="T24" fmla="*/ 2 w 8"/>
                  <a:gd name="T25" fmla="*/ 20 h 20"/>
                  <a:gd name="T26" fmla="*/ 2 w 8"/>
                  <a:gd name="T27" fmla="*/ 20 h 20"/>
                  <a:gd name="T28" fmla="*/ 4 w 8"/>
                  <a:gd name="T29" fmla="*/ 18 h 20"/>
                  <a:gd name="T30" fmla="*/ 4 w 8"/>
                  <a:gd name="T31" fmla="*/ 16 h 20"/>
                  <a:gd name="T32" fmla="*/ 4 w 8"/>
                  <a:gd name="T33" fmla="*/ 16 h 20"/>
                  <a:gd name="T34" fmla="*/ 6 w 8"/>
                  <a:gd name="T35" fmla="*/ 14 h 20"/>
                  <a:gd name="T36" fmla="*/ 6 w 8"/>
                  <a:gd name="T37" fmla="*/ 10 h 20"/>
                  <a:gd name="T38" fmla="*/ 6 w 8"/>
                  <a:gd name="T39" fmla="*/ 10 h 20"/>
                  <a:gd name="T40" fmla="*/ 8 w 8"/>
                  <a:gd name="T41" fmla="*/ 8 h 20"/>
                  <a:gd name="T42" fmla="*/ 8 w 8"/>
                  <a:gd name="T43" fmla="*/ 4 h 20"/>
                  <a:gd name="T44" fmla="*/ 8 w 8"/>
                  <a:gd name="T45" fmla="*/ 4 h 20"/>
                  <a:gd name="T46" fmla="*/ 8 w 8"/>
                  <a:gd name="T47" fmla="*/ 2 h 20"/>
                  <a:gd name="T48" fmla="*/ 8 w 8"/>
                  <a:gd name="T49" fmla="*/ 2 h 20"/>
                  <a:gd name="T50" fmla="*/ 8 w 8"/>
                  <a:gd name="T51" fmla="*/ 0 h 20"/>
                  <a:gd name="T52" fmla="*/ 8 w 8"/>
                  <a:gd name="T53" fmla="*/ 0 h 20"/>
                  <a:gd name="T54" fmla="*/ 8 w 8"/>
                  <a:gd name="T55" fmla="*/ 0 h 20"/>
                  <a:gd name="T56" fmla="*/ 6 w 8"/>
                  <a:gd name="T57" fmla="*/ 2 h 20"/>
                  <a:gd name="T58" fmla="*/ 6 w 8"/>
                  <a:gd name="T59" fmla="*/ 2 h 20"/>
                  <a:gd name="T60" fmla="*/ 6 w 8"/>
                  <a:gd name="T61" fmla="*/ 2 h 20"/>
                  <a:gd name="T62" fmla="*/ 6 w 8"/>
                  <a:gd name="T63" fmla="*/ 4 h 20"/>
                  <a:gd name="T64" fmla="*/ 6 w 8"/>
                  <a:gd name="T65" fmla="*/ 6 h 20"/>
                  <a:gd name="T66" fmla="*/ 6 w 8"/>
                  <a:gd name="T67" fmla="*/ 6 h 20"/>
                  <a:gd name="T68" fmla="*/ 6 w 8"/>
                  <a:gd name="T69" fmla="*/ 6 h 20"/>
                  <a:gd name="T70" fmla="*/ 6 w 8"/>
                  <a:gd name="T71" fmla="*/ 6 h 20"/>
                  <a:gd name="T72" fmla="*/ 6 w 8"/>
                  <a:gd name="T73" fmla="*/ 6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8" h="20">
                    <a:moveTo>
                      <a:pt x="6" y="6"/>
                    </a:moveTo>
                    <a:lnTo>
                      <a:pt x="6" y="6"/>
                    </a:lnTo>
                    <a:lnTo>
                      <a:pt x="4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6" y="14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4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17" name="Freeform 421"/>
              <p:cNvSpPr>
                <a:spLocks/>
              </p:cNvSpPr>
              <p:nvPr/>
            </p:nvSpPr>
            <p:spPr bwMode="auto">
              <a:xfrm>
                <a:off x="2963" y="1492"/>
                <a:ext cx="158" cy="246"/>
              </a:xfrm>
              <a:custGeom>
                <a:avLst/>
                <a:gdLst>
                  <a:gd name="T0" fmla="*/ 136 w 158"/>
                  <a:gd name="T1" fmla="*/ 208 h 246"/>
                  <a:gd name="T2" fmla="*/ 150 w 158"/>
                  <a:gd name="T3" fmla="*/ 192 h 246"/>
                  <a:gd name="T4" fmla="*/ 158 w 158"/>
                  <a:gd name="T5" fmla="*/ 170 h 246"/>
                  <a:gd name="T6" fmla="*/ 152 w 158"/>
                  <a:gd name="T7" fmla="*/ 162 h 246"/>
                  <a:gd name="T8" fmla="*/ 140 w 158"/>
                  <a:gd name="T9" fmla="*/ 152 h 246"/>
                  <a:gd name="T10" fmla="*/ 138 w 158"/>
                  <a:gd name="T11" fmla="*/ 140 h 246"/>
                  <a:gd name="T12" fmla="*/ 134 w 158"/>
                  <a:gd name="T13" fmla="*/ 136 h 246"/>
                  <a:gd name="T14" fmla="*/ 128 w 158"/>
                  <a:gd name="T15" fmla="*/ 124 h 246"/>
                  <a:gd name="T16" fmla="*/ 124 w 158"/>
                  <a:gd name="T17" fmla="*/ 102 h 246"/>
                  <a:gd name="T18" fmla="*/ 114 w 158"/>
                  <a:gd name="T19" fmla="*/ 90 h 246"/>
                  <a:gd name="T20" fmla="*/ 114 w 158"/>
                  <a:gd name="T21" fmla="*/ 72 h 246"/>
                  <a:gd name="T22" fmla="*/ 120 w 158"/>
                  <a:gd name="T23" fmla="*/ 62 h 246"/>
                  <a:gd name="T24" fmla="*/ 112 w 158"/>
                  <a:gd name="T25" fmla="*/ 52 h 246"/>
                  <a:gd name="T26" fmla="*/ 104 w 158"/>
                  <a:gd name="T27" fmla="*/ 40 h 246"/>
                  <a:gd name="T28" fmla="*/ 102 w 158"/>
                  <a:gd name="T29" fmla="*/ 26 h 246"/>
                  <a:gd name="T30" fmla="*/ 100 w 158"/>
                  <a:gd name="T31" fmla="*/ 16 h 246"/>
                  <a:gd name="T32" fmla="*/ 92 w 158"/>
                  <a:gd name="T33" fmla="*/ 6 h 246"/>
                  <a:gd name="T34" fmla="*/ 82 w 158"/>
                  <a:gd name="T35" fmla="*/ 0 h 246"/>
                  <a:gd name="T36" fmla="*/ 72 w 158"/>
                  <a:gd name="T37" fmla="*/ 2 h 246"/>
                  <a:gd name="T38" fmla="*/ 64 w 158"/>
                  <a:gd name="T39" fmla="*/ 8 h 246"/>
                  <a:gd name="T40" fmla="*/ 62 w 158"/>
                  <a:gd name="T41" fmla="*/ 20 h 246"/>
                  <a:gd name="T42" fmla="*/ 64 w 158"/>
                  <a:gd name="T43" fmla="*/ 28 h 246"/>
                  <a:gd name="T44" fmla="*/ 56 w 158"/>
                  <a:gd name="T45" fmla="*/ 34 h 246"/>
                  <a:gd name="T46" fmla="*/ 42 w 158"/>
                  <a:gd name="T47" fmla="*/ 34 h 246"/>
                  <a:gd name="T48" fmla="*/ 26 w 158"/>
                  <a:gd name="T49" fmla="*/ 34 h 246"/>
                  <a:gd name="T50" fmla="*/ 10 w 158"/>
                  <a:gd name="T51" fmla="*/ 22 h 246"/>
                  <a:gd name="T52" fmla="*/ 2 w 158"/>
                  <a:gd name="T53" fmla="*/ 26 h 246"/>
                  <a:gd name="T54" fmla="*/ 6 w 158"/>
                  <a:gd name="T55" fmla="*/ 32 h 246"/>
                  <a:gd name="T56" fmla="*/ 18 w 158"/>
                  <a:gd name="T57" fmla="*/ 46 h 246"/>
                  <a:gd name="T58" fmla="*/ 28 w 158"/>
                  <a:gd name="T59" fmla="*/ 46 h 246"/>
                  <a:gd name="T60" fmla="*/ 42 w 158"/>
                  <a:gd name="T61" fmla="*/ 58 h 246"/>
                  <a:gd name="T62" fmla="*/ 46 w 158"/>
                  <a:gd name="T63" fmla="*/ 68 h 246"/>
                  <a:gd name="T64" fmla="*/ 48 w 158"/>
                  <a:gd name="T65" fmla="*/ 78 h 246"/>
                  <a:gd name="T66" fmla="*/ 50 w 158"/>
                  <a:gd name="T67" fmla="*/ 96 h 246"/>
                  <a:gd name="T68" fmla="*/ 54 w 158"/>
                  <a:gd name="T69" fmla="*/ 108 h 246"/>
                  <a:gd name="T70" fmla="*/ 60 w 158"/>
                  <a:gd name="T71" fmla="*/ 104 h 246"/>
                  <a:gd name="T72" fmla="*/ 62 w 158"/>
                  <a:gd name="T73" fmla="*/ 112 h 246"/>
                  <a:gd name="T74" fmla="*/ 66 w 158"/>
                  <a:gd name="T75" fmla="*/ 120 h 246"/>
                  <a:gd name="T76" fmla="*/ 66 w 158"/>
                  <a:gd name="T77" fmla="*/ 126 h 246"/>
                  <a:gd name="T78" fmla="*/ 64 w 158"/>
                  <a:gd name="T79" fmla="*/ 130 h 246"/>
                  <a:gd name="T80" fmla="*/ 62 w 158"/>
                  <a:gd name="T81" fmla="*/ 134 h 246"/>
                  <a:gd name="T82" fmla="*/ 52 w 158"/>
                  <a:gd name="T83" fmla="*/ 142 h 246"/>
                  <a:gd name="T84" fmla="*/ 46 w 158"/>
                  <a:gd name="T85" fmla="*/ 152 h 246"/>
                  <a:gd name="T86" fmla="*/ 38 w 158"/>
                  <a:gd name="T87" fmla="*/ 162 h 246"/>
                  <a:gd name="T88" fmla="*/ 32 w 158"/>
                  <a:gd name="T89" fmla="*/ 166 h 246"/>
                  <a:gd name="T90" fmla="*/ 26 w 158"/>
                  <a:gd name="T91" fmla="*/ 178 h 246"/>
                  <a:gd name="T92" fmla="*/ 26 w 158"/>
                  <a:gd name="T93" fmla="*/ 188 h 246"/>
                  <a:gd name="T94" fmla="*/ 30 w 158"/>
                  <a:gd name="T95" fmla="*/ 206 h 246"/>
                  <a:gd name="T96" fmla="*/ 32 w 158"/>
                  <a:gd name="T97" fmla="*/ 232 h 246"/>
                  <a:gd name="T98" fmla="*/ 42 w 158"/>
                  <a:gd name="T99" fmla="*/ 242 h 246"/>
                  <a:gd name="T100" fmla="*/ 50 w 158"/>
                  <a:gd name="T101" fmla="*/ 242 h 246"/>
                  <a:gd name="T102" fmla="*/ 56 w 158"/>
                  <a:gd name="T103" fmla="*/ 246 h 246"/>
                  <a:gd name="T104" fmla="*/ 64 w 158"/>
                  <a:gd name="T105" fmla="*/ 246 h 246"/>
                  <a:gd name="T106" fmla="*/ 80 w 158"/>
                  <a:gd name="T107" fmla="*/ 238 h 246"/>
                  <a:gd name="T108" fmla="*/ 90 w 158"/>
                  <a:gd name="T109" fmla="*/ 232 h 246"/>
                  <a:gd name="T110" fmla="*/ 108 w 158"/>
                  <a:gd name="T111" fmla="*/ 228 h 246"/>
                  <a:gd name="T112" fmla="*/ 126 w 158"/>
                  <a:gd name="T113" fmla="*/ 224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58" h="246">
                    <a:moveTo>
                      <a:pt x="130" y="220"/>
                    </a:moveTo>
                    <a:lnTo>
                      <a:pt x="130" y="220"/>
                    </a:lnTo>
                    <a:lnTo>
                      <a:pt x="132" y="216"/>
                    </a:lnTo>
                    <a:lnTo>
                      <a:pt x="134" y="212"/>
                    </a:lnTo>
                    <a:lnTo>
                      <a:pt x="136" y="210"/>
                    </a:lnTo>
                    <a:lnTo>
                      <a:pt x="136" y="208"/>
                    </a:lnTo>
                    <a:lnTo>
                      <a:pt x="136" y="208"/>
                    </a:lnTo>
                    <a:lnTo>
                      <a:pt x="136" y="208"/>
                    </a:lnTo>
                    <a:lnTo>
                      <a:pt x="140" y="204"/>
                    </a:lnTo>
                    <a:lnTo>
                      <a:pt x="142" y="200"/>
                    </a:lnTo>
                    <a:lnTo>
                      <a:pt x="144" y="198"/>
                    </a:lnTo>
                    <a:lnTo>
                      <a:pt x="148" y="194"/>
                    </a:lnTo>
                    <a:lnTo>
                      <a:pt x="148" y="194"/>
                    </a:lnTo>
                    <a:lnTo>
                      <a:pt x="150" y="192"/>
                    </a:lnTo>
                    <a:lnTo>
                      <a:pt x="152" y="190"/>
                    </a:lnTo>
                    <a:lnTo>
                      <a:pt x="156" y="184"/>
                    </a:lnTo>
                    <a:lnTo>
                      <a:pt x="156" y="184"/>
                    </a:lnTo>
                    <a:lnTo>
                      <a:pt x="158" y="180"/>
                    </a:lnTo>
                    <a:lnTo>
                      <a:pt x="158" y="178"/>
                    </a:lnTo>
                    <a:lnTo>
                      <a:pt x="158" y="174"/>
                    </a:lnTo>
                    <a:lnTo>
                      <a:pt x="158" y="170"/>
                    </a:lnTo>
                    <a:lnTo>
                      <a:pt x="158" y="170"/>
                    </a:lnTo>
                    <a:lnTo>
                      <a:pt x="158" y="168"/>
                    </a:lnTo>
                    <a:lnTo>
                      <a:pt x="158" y="168"/>
                    </a:lnTo>
                    <a:lnTo>
                      <a:pt x="158" y="166"/>
                    </a:lnTo>
                    <a:lnTo>
                      <a:pt x="156" y="164"/>
                    </a:lnTo>
                    <a:lnTo>
                      <a:pt x="154" y="164"/>
                    </a:lnTo>
                    <a:lnTo>
                      <a:pt x="152" y="162"/>
                    </a:lnTo>
                    <a:lnTo>
                      <a:pt x="152" y="162"/>
                    </a:lnTo>
                    <a:lnTo>
                      <a:pt x="148" y="160"/>
                    </a:lnTo>
                    <a:lnTo>
                      <a:pt x="146" y="158"/>
                    </a:lnTo>
                    <a:lnTo>
                      <a:pt x="142" y="156"/>
                    </a:lnTo>
                    <a:lnTo>
                      <a:pt x="140" y="154"/>
                    </a:lnTo>
                    <a:lnTo>
                      <a:pt x="140" y="152"/>
                    </a:lnTo>
                    <a:lnTo>
                      <a:pt x="140" y="152"/>
                    </a:lnTo>
                    <a:lnTo>
                      <a:pt x="138" y="150"/>
                    </a:lnTo>
                    <a:lnTo>
                      <a:pt x="138" y="148"/>
                    </a:lnTo>
                    <a:lnTo>
                      <a:pt x="138" y="146"/>
                    </a:lnTo>
                    <a:lnTo>
                      <a:pt x="138" y="146"/>
                    </a:lnTo>
                    <a:lnTo>
                      <a:pt x="138" y="144"/>
                    </a:lnTo>
                    <a:lnTo>
                      <a:pt x="138" y="142"/>
                    </a:lnTo>
                    <a:lnTo>
                      <a:pt x="138" y="140"/>
                    </a:lnTo>
                    <a:lnTo>
                      <a:pt x="138" y="140"/>
                    </a:lnTo>
                    <a:lnTo>
                      <a:pt x="138" y="140"/>
                    </a:lnTo>
                    <a:lnTo>
                      <a:pt x="138" y="138"/>
                    </a:lnTo>
                    <a:lnTo>
                      <a:pt x="136" y="136"/>
                    </a:lnTo>
                    <a:lnTo>
                      <a:pt x="136" y="136"/>
                    </a:lnTo>
                    <a:lnTo>
                      <a:pt x="134" y="136"/>
                    </a:lnTo>
                    <a:lnTo>
                      <a:pt x="134" y="136"/>
                    </a:lnTo>
                    <a:lnTo>
                      <a:pt x="134" y="134"/>
                    </a:lnTo>
                    <a:lnTo>
                      <a:pt x="134" y="132"/>
                    </a:lnTo>
                    <a:lnTo>
                      <a:pt x="132" y="130"/>
                    </a:lnTo>
                    <a:lnTo>
                      <a:pt x="132" y="130"/>
                    </a:lnTo>
                    <a:lnTo>
                      <a:pt x="132" y="130"/>
                    </a:lnTo>
                    <a:lnTo>
                      <a:pt x="130" y="126"/>
                    </a:lnTo>
                    <a:lnTo>
                      <a:pt x="128" y="124"/>
                    </a:lnTo>
                    <a:lnTo>
                      <a:pt x="126" y="122"/>
                    </a:lnTo>
                    <a:lnTo>
                      <a:pt x="126" y="118"/>
                    </a:lnTo>
                    <a:lnTo>
                      <a:pt x="126" y="118"/>
                    </a:lnTo>
                    <a:lnTo>
                      <a:pt x="126" y="110"/>
                    </a:lnTo>
                    <a:lnTo>
                      <a:pt x="126" y="106"/>
                    </a:lnTo>
                    <a:lnTo>
                      <a:pt x="124" y="102"/>
                    </a:lnTo>
                    <a:lnTo>
                      <a:pt x="124" y="102"/>
                    </a:lnTo>
                    <a:lnTo>
                      <a:pt x="124" y="100"/>
                    </a:lnTo>
                    <a:lnTo>
                      <a:pt x="124" y="98"/>
                    </a:lnTo>
                    <a:lnTo>
                      <a:pt x="120" y="96"/>
                    </a:lnTo>
                    <a:lnTo>
                      <a:pt x="116" y="94"/>
                    </a:lnTo>
                    <a:lnTo>
                      <a:pt x="116" y="94"/>
                    </a:lnTo>
                    <a:lnTo>
                      <a:pt x="114" y="92"/>
                    </a:lnTo>
                    <a:lnTo>
                      <a:pt x="114" y="90"/>
                    </a:lnTo>
                    <a:lnTo>
                      <a:pt x="112" y="86"/>
                    </a:lnTo>
                    <a:lnTo>
                      <a:pt x="112" y="84"/>
                    </a:lnTo>
                    <a:lnTo>
                      <a:pt x="112" y="80"/>
                    </a:lnTo>
                    <a:lnTo>
                      <a:pt x="112" y="78"/>
                    </a:lnTo>
                    <a:lnTo>
                      <a:pt x="112" y="74"/>
                    </a:lnTo>
                    <a:lnTo>
                      <a:pt x="114" y="72"/>
                    </a:lnTo>
                    <a:lnTo>
                      <a:pt x="114" y="72"/>
                    </a:lnTo>
                    <a:lnTo>
                      <a:pt x="116" y="70"/>
                    </a:lnTo>
                    <a:lnTo>
                      <a:pt x="118" y="68"/>
                    </a:lnTo>
                    <a:lnTo>
                      <a:pt x="118" y="66"/>
                    </a:lnTo>
                    <a:lnTo>
                      <a:pt x="118" y="66"/>
                    </a:lnTo>
                    <a:lnTo>
                      <a:pt x="120" y="64"/>
                    </a:lnTo>
                    <a:lnTo>
                      <a:pt x="120" y="62"/>
                    </a:lnTo>
                    <a:lnTo>
                      <a:pt x="120" y="62"/>
                    </a:lnTo>
                    <a:lnTo>
                      <a:pt x="120" y="60"/>
                    </a:lnTo>
                    <a:lnTo>
                      <a:pt x="118" y="58"/>
                    </a:lnTo>
                    <a:lnTo>
                      <a:pt x="118" y="56"/>
                    </a:lnTo>
                    <a:lnTo>
                      <a:pt x="118" y="56"/>
                    </a:lnTo>
                    <a:lnTo>
                      <a:pt x="114" y="54"/>
                    </a:lnTo>
                    <a:lnTo>
                      <a:pt x="112" y="52"/>
                    </a:lnTo>
                    <a:lnTo>
                      <a:pt x="112" y="52"/>
                    </a:lnTo>
                    <a:lnTo>
                      <a:pt x="110" y="48"/>
                    </a:lnTo>
                    <a:lnTo>
                      <a:pt x="108" y="46"/>
                    </a:lnTo>
                    <a:lnTo>
                      <a:pt x="106" y="46"/>
                    </a:lnTo>
                    <a:lnTo>
                      <a:pt x="106" y="44"/>
                    </a:lnTo>
                    <a:lnTo>
                      <a:pt x="104" y="42"/>
                    </a:lnTo>
                    <a:lnTo>
                      <a:pt x="104" y="40"/>
                    </a:lnTo>
                    <a:lnTo>
                      <a:pt x="104" y="40"/>
                    </a:lnTo>
                    <a:lnTo>
                      <a:pt x="104" y="34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2" y="30"/>
                    </a:lnTo>
                    <a:lnTo>
                      <a:pt x="102" y="28"/>
                    </a:lnTo>
                    <a:lnTo>
                      <a:pt x="102" y="26"/>
                    </a:lnTo>
                    <a:lnTo>
                      <a:pt x="102" y="26"/>
                    </a:lnTo>
                    <a:lnTo>
                      <a:pt x="100" y="24"/>
                    </a:lnTo>
                    <a:lnTo>
                      <a:pt x="100" y="22"/>
                    </a:lnTo>
                    <a:lnTo>
                      <a:pt x="100" y="18"/>
                    </a:lnTo>
                    <a:lnTo>
                      <a:pt x="100" y="16"/>
                    </a:lnTo>
                    <a:lnTo>
                      <a:pt x="100" y="16"/>
                    </a:lnTo>
                    <a:lnTo>
                      <a:pt x="100" y="16"/>
                    </a:lnTo>
                    <a:lnTo>
                      <a:pt x="100" y="14"/>
                    </a:lnTo>
                    <a:lnTo>
                      <a:pt x="98" y="12"/>
                    </a:lnTo>
                    <a:lnTo>
                      <a:pt x="96" y="12"/>
                    </a:lnTo>
                    <a:lnTo>
                      <a:pt x="94" y="10"/>
                    </a:lnTo>
                    <a:lnTo>
                      <a:pt x="94" y="10"/>
                    </a:lnTo>
                    <a:lnTo>
                      <a:pt x="92" y="8"/>
                    </a:lnTo>
                    <a:lnTo>
                      <a:pt x="92" y="6"/>
                    </a:lnTo>
                    <a:lnTo>
                      <a:pt x="92" y="4"/>
                    </a:lnTo>
                    <a:lnTo>
                      <a:pt x="92" y="4"/>
                    </a:lnTo>
                    <a:lnTo>
                      <a:pt x="88" y="4"/>
                    </a:lnTo>
                    <a:lnTo>
                      <a:pt x="86" y="2"/>
                    </a:lnTo>
                    <a:lnTo>
                      <a:pt x="86" y="2"/>
                    </a:lnTo>
                    <a:lnTo>
                      <a:pt x="84" y="0"/>
                    </a:lnTo>
                    <a:lnTo>
                      <a:pt x="82" y="0"/>
                    </a:lnTo>
                    <a:lnTo>
                      <a:pt x="80" y="0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74" y="2"/>
                    </a:lnTo>
                    <a:lnTo>
                      <a:pt x="72" y="2"/>
                    </a:lnTo>
                    <a:lnTo>
                      <a:pt x="72" y="2"/>
                    </a:lnTo>
                    <a:lnTo>
                      <a:pt x="72" y="2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6" y="4"/>
                    </a:lnTo>
                    <a:lnTo>
                      <a:pt x="66" y="4"/>
                    </a:lnTo>
                    <a:lnTo>
                      <a:pt x="66" y="6"/>
                    </a:lnTo>
                    <a:lnTo>
                      <a:pt x="64" y="6"/>
                    </a:lnTo>
                    <a:lnTo>
                      <a:pt x="64" y="8"/>
                    </a:lnTo>
                    <a:lnTo>
                      <a:pt x="64" y="10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2" y="16"/>
                    </a:lnTo>
                    <a:lnTo>
                      <a:pt x="62" y="18"/>
                    </a:lnTo>
                    <a:lnTo>
                      <a:pt x="62" y="18"/>
                    </a:lnTo>
                    <a:lnTo>
                      <a:pt x="62" y="20"/>
                    </a:lnTo>
                    <a:lnTo>
                      <a:pt x="62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26"/>
                    </a:lnTo>
                    <a:lnTo>
                      <a:pt x="64" y="26"/>
                    </a:lnTo>
                    <a:lnTo>
                      <a:pt x="64" y="28"/>
                    </a:lnTo>
                    <a:lnTo>
                      <a:pt x="64" y="28"/>
                    </a:lnTo>
                    <a:lnTo>
                      <a:pt x="64" y="28"/>
                    </a:lnTo>
                    <a:lnTo>
                      <a:pt x="64" y="30"/>
                    </a:lnTo>
                    <a:lnTo>
                      <a:pt x="62" y="30"/>
                    </a:lnTo>
                    <a:lnTo>
                      <a:pt x="62" y="30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6" y="34"/>
                    </a:lnTo>
                    <a:lnTo>
                      <a:pt x="54" y="36"/>
                    </a:lnTo>
                    <a:lnTo>
                      <a:pt x="52" y="36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6" y="34"/>
                    </a:lnTo>
                    <a:lnTo>
                      <a:pt x="44" y="34"/>
                    </a:lnTo>
                    <a:lnTo>
                      <a:pt x="42" y="34"/>
                    </a:lnTo>
                    <a:lnTo>
                      <a:pt x="40" y="34"/>
                    </a:lnTo>
                    <a:lnTo>
                      <a:pt x="38" y="34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2" y="36"/>
                    </a:lnTo>
                    <a:lnTo>
                      <a:pt x="28" y="34"/>
                    </a:lnTo>
                    <a:lnTo>
                      <a:pt x="26" y="34"/>
                    </a:lnTo>
                    <a:lnTo>
                      <a:pt x="22" y="32"/>
                    </a:lnTo>
                    <a:lnTo>
                      <a:pt x="18" y="28"/>
                    </a:lnTo>
                    <a:lnTo>
                      <a:pt x="14" y="24"/>
                    </a:lnTo>
                    <a:lnTo>
                      <a:pt x="14" y="24"/>
                    </a:lnTo>
                    <a:lnTo>
                      <a:pt x="12" y="24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8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2" y="28"/>
                    </a:lnTo>
                    <a:lnTo>
                      <a:pt x="4" y="30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0" y="36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6" y="44"/>
                    </a:lnTo>
                    <a:lnTo>
                      <a:pt x="16" y="46"/>
                    </a:lnTo>
                    <a:lnTo>
                      <a:pt x="18" y="46"/>
                    </a:lnTo>
                    <a:lnTo>
                      <a:pt x="18" y="46"/>
                    </a:lnTo>
                    <a:lnTo>
                      <a:pt x="20" y="46"/>
                    </a:lnTo>
                    <a:lnTo>
                      <a:pt x="22" y="46"/>
                    </a:lnTo>
                    <a:lnTo>
                      <a:pt x="24" y="46"/>
                    </a:lnTo>
                    <a:lnTo>
                      <a:pt x="26" y="46"/>
                    </a:lnTo>
                    <a:lnTo>
                      <a:pt x="28" y="46"/>
                    </a:lnTo>
                    <a:lnTo>
                      <a:pt x="28" y="46"/>
                    </a:lnTo>
                    <a:lnTo>
                      <a:pt x="32" y="46"/>
                    </a:lnTo>
                    <a:lnTo>
                      <a:pt x="34" y="48"/>
                    </a:lnTo>
                    <a:lnTo>
                      <a:pt x="36" y="48"/>
                    </a:lnTo>
                    <a:lnTo>
                      <a:pt x="38" y="50"/>
                    </a:lnTo>
                    <a:lnTo>
                      <a:pt x="38" y="52"/>
                    </a:lnTo>
                    <a:lnTo>
                      <a:pt x="40" y="56"/>
                    </a:lnTo>
                    <a:lnTo>
                      <a:pt x="42" y="58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2"/>
                    </a:lnTo>
                    <a:lnTo>
                      <a:pt x="44" y="64"/>
                    </a:lnTo>
                    <a:lnTo>
                      <a:pt x="44" y="64"/>
                    </a:lnTo>
                    <a:lnTo>
                      <a:pt x="44" y="66"/>
                    </a:lnTo>
                    <a:lnTo>
                      <a:pt x="46" y="68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72"/>
                    </a:lnTo>
                    <a:lnTo>
                      <a:pt x="46" y="76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82"/>
                    </a:lnTo>
                    <a:lnTo>
                      <a:pt x="50" y="84"/>
                    </a:lnTo>
                    <a:lnTo>
                      <a:pt x="50" y="86"/>
                    </a:lnTo>
                    <a:lnTo>
                      <a:pt x="50" y="86"/>
                    </a:lnTo>
                    <a:lnTo>
                      <a:pt x="50" y="94"/>
                    </a:lnTo>
                    <a:lnTo>
                      <a:pt x="50" y="94"/>
                    </a:lnTo>
                    <a:lnTo>
                      <a:pt x="50" y="96"/>
                    </a:lnTo>
                    <a:lnTo>
                      <a:pt x="50" y="102"/>
                    </a:lnTo>
                    <a:lnTo>
                      <a:pt x="50" y="102"/>
                    </a:lnTo>
                    <a:lnTo>
                      <a:pt x="50" y="104"/>
                    </a:lnTo>
                    <a:lnTo>
                      <a:pt x="50" y="104"/>
                    </a:lnTo>
                    <a:lnTo>
                      <a:pt x="52" y="106"/>
                    </a:lnTo>
                    <a:lnTo>
                      <a:pt x="52" y="106"/>
                    </a:lnTo>
                    <a:lnTo>
                      <a:pt x="54" y="108"/>
                    </a:lnTo>
                    <a:lnTo>
                      <a:pt x="56" y="108"/>
                    </a:lnTo>
                    <a:lnTo>
                      <a:pt x="56" y="108"/>
                    </a:lnTo>
                    <a:lnTo>
                      <a:pt x="58" y="108"/>
                    </a:lnTo>
                    <a:lnTo>
                      <a:pt x="58" y="108"/>
                    </a:lnTo>
                    <a:lnTo>
                      <a:pt x="58" y="106"/>
                    </a:lnTo>
                    <a:lnTo>
                      <a:pt x="60" y="104"/>
                    </a:lnTo>
                    <a:lnTo>
                      <a:pt x="60" y="104"/>
                    </a:lnTo>
                    <a:lnTo>
                      <a:pt x="62" y="104"/>
                    </a:lnTo>
                    <a:lnTo>
                      <a:pt x="62" y="104"/>
                    </a:lnTo>
                    <a:lnTo>
                      <a:pt x="62" y="104"/>
                    </a:lnTo>
                    <a:lnTo>
                      <a:pt x="62" y="106"/>
                    </a:lnTo>
                    <a:lnTo>
                      <a:pt x="62" y="108"/>
                    </a:lnTo>
                    <a:lnTo>
                      <a:pt x="62" y="112"/>
                    </a:lnTo>
                    <a:lnTo>
                      <a:pt x="62" y="112"/>
                    </a:lnTo>
                    <a:lnTo>
                      <a:pt x="62" y="114"/>
                    </a:lnTo>
                    <a:lnTo>
                      <a:pt x="62" y="116"/>
                    </a:lnTo>
                    <a:lnTo>
                      <a:pt x="62" y="116"/>
                    </a:lnTo>
                    <a:lnTo>
                      <a:pt x="64" y="118"/>
                    </a:lnTo>
                    <a:lnTo>
                      <a:pt x="64" y="118"/>
                    </a:lnTo>
                    <a:lnTo>
                      <a:pt x="66" y="120"/>
                    </a:lnTo>
                    <a:lnTo>
                      <a:pt x="66" y="120"/>
                    </a:lnTo>
                    <a:lnTo>
                      <a:pt x="66" y="120"/>
                    </a:lnTo>
                    <a:lnTo>
                      <a:pt x="66" y="120"/>
                    </a:lnTo>
                    <a:lnTo>
                      <a:pt x="66" y="122"/>
                    </a:lnTo>
                    <a:lnTo>
                      <a:pt x="66" y="122"/>
                    </a:lnTo>
                    <a:lnTo>
                      <a:pt x="66" y="124"/>
                    </a:lnTo>
                    <a:lnTo>
                      <a:pt x="66" y="124"/>
                    </a:lnTo>
                    <a:lnTo>
                      <a:pt x="66" y="126"/>
                    </a:lnTo>
                    <a:lnTo>
                      <a:pt x="66" y="126"/>
                    </a:lnTo>
                    <a:lnTo>
                      <a:pt x="66" y="128"/>
                    </a:lnTo>
                    <a:lnTo>
                      <a:pt x="66" y="128"/>
                    </a:lnTo>
                    <a:lnTo>
                      <a:pt x="66" y="128"/>
                    </a:lnTo>
                    <a:lnTo>
                      <a:pt x="66" y="130"/>
                    </a:lnTo>
                    <a:lnTo>
                      <a:pt x="64" y="130"/>
                    </a:lnTo>
                    <a:lnTo>
                      <a:pt x="64" y="130"/>
                    </a:lnTo>
                    <a:lnTo>
                      <a:pt x="62" y="130"/>
                    </a:lnTo>
                    <a:lnTo>
                      <a:pt x="62" y="130"/>
                    </a:lnTo>
                    <a:lnTo>
                      <a:pt x="62" y="130"/>
                    </a:lnTo>
                    <a:lnTo>
                      <a:pt x="62" y="130"/>
                    </a:lnTo>
                    <a:lnTo>
                      <a:pt x="62" y="130"/>
                    </a:lnTo>
                    <a:lnTo>
                      <a:pt x="62" y="132"/>
                    </a:lnTo>
                    <a:lnTo>
                      <a:pt x="62" y="134"/>
                    </a:lnTo>
                    <a:lnTo>
                      <a:pt x="62" y="134"/>
                    </a:lnTo>
                    <a:lnTo>
                      <a:pt x="60" y="136"/>
                    </a:lnTo>
                    <a:lnTo>
                      <a:pt x="60" y="136"/>
                    </a:lnTo>
                    <a:lnTo>
                      <a:pt x="56" y="138"/>
                    </a:lnTo>
                    <a:lnTo>
                      <a:pt x="56" y="138"/>
                    </a:lnTo>
                    <a:lnTo>
                      <a:pt x="54" y="140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0" y="146"/>
                    </a:lnTo>
                    <a:lnTo>
                      <a:pt x="50" y="150"/>
                    </a:lnTo>
                    <a:lnTo>
                      <a:pt x="50" y="150"/>
                    </a:lnTo>
                    <a:lnTo>
                      <a:pt x="48" y="150"/>
                    </a:lnTo>
                    <a:lnTo>
                      <a:pt x="46" y="152"/>
                    </a:lnTo>
                    <a:lnTo>
                      <a:pt x="44" y="154"/>
                    </a:lnTo>
                    <a:lnTo>
                      <a:pt x="44" y="154"/>
                    </a:lnTo>
                    <a:lnTo>
                      <a:pt x="40" y="156"/>
                    </a:lnTo>
                    <a:lnTo>
                      <a:pt x="38" y="160"/>
                    </a:lnTo>
                    <a:lnTo>
                      <a:pt x="38" y="160"/>
                    </a:lnTo>
                    <a:lnTo>
                      <a:pt x="38" y="160"/>
                    </a:lnTo>
                    <a:lnTo>
                      <a:pt x="38" y="162"/>
                    </a:lnTo>
                    <a:lnTo>
                      <a:pt x="38" y="162"/>
                    </a:lnTo>
                    <a:lnTo>
                      <a:pt x="36" y="164"/>
                    </a:lnTo>
                    <a:lnTo>
                      <a:pt x="36" y="164"/>
                    </a:lnTo>
                    <a:lnTo>
                      <a:pt x="36" y="164"/>
                    </a:lnTo>
                    <a:lnTo>
                      <a:pt x="34" y="166"/>
                    </a:lnTo>
                    <a:lnTo>
                      <a:pt x="34" y="166"/>
                    </a:lnTo>
                    <a:lnTo>
                      <a:pt x="32" y="166"/>
                    </a:lnTo>
                    <a:lnTo>
                      <a:pt x="32" y="166"/>
                    </a:lnTo>
                    <a:lnTo>
                      <a:pt x="32" y="168"/>
                    </a:lnTo>
                    <a:lnTo>
                      <a:pt x="30" y="170"/>
                    </a:lnTo>
                    <a:lnTo>
                      <a:pt x="30" y="170"/>
                    </a:lnTo>
                    <a:lnTo>
                      <a:pt x="28" y="172"/>
                    </a:lnTo>
                    <a:lnTo>
                      <a:pt x="26" y="174"/>
                    </a:lnTo>
                    <a:lnTo>
                      <a:pt x="26" y="178"/>
                    </a:lnTo>
                    <a:lnTo>
                      <a:pt x="26" y="180"/>
                    </a:lnTo>
                    <a:lnTo>
                      <a:pt x="26" y="180"/>
                    </a:lnTo>
                    <a:lnTo>
                      <a:pt x="26" y="184"/>
                    </a:lnTo>
                    <a:lnTo>
                      <a:pt x="24" y="186"/>
                    </a:lnTo>
                    <a:lnTo>
                      <a:pt x="24" y="186"/>
                    </a:lnTo>
                    <a:lnTo>
                      <a:pt x="26" y="188"/>
                    </a:lnTo>
                    <a:lnTo>
                      <a:pt x="26" y="188"/>
                    </a:lnTo>
                    <a:lnTo>
                      <a:pt x="26" y="190"/>
                    </a:lnTo>
                    <a:lnTo>
                      <a:pt x="26" y="190"/>
                    </a:lnTo>
                    <a:lnTo>
                      <a:pt x="28" y="194"/>
                    </a:lnTo>
                    <a:lnTo>
                      <a:pt x="28" y="198"/>
                    </a:lnTo>
                    <a:lnTo>
                      <a:pt x="28" y="198"/>
                    </a:lnTo>
                    <a:lnTo>
                      <a:pt x="30" y="202"/>
                    </a:lnTo>
                    <a:lnTo>
                      <a:pt x="30" y="206"/>
                    </a:lnTo>
                    <a:lnTo>
                      <a:pt x="30" y="212"/>
                    </a:lnTo>
                    <a:lnTo>
                      <a:pt x="30" y="212"/>
                    </a:lnTo>
                    <a:lnTo>
                      <a:pt x="30" y="220"/>
                    </a:lnTo>
                    <a:lnTo>
                      <a:pt x="32" y="224"/>
                    </a:lnTo>
                    <a:lnTo>
                      <a:pt x="32" y="228"/>
                    </a:lnTo>
                    <a:lnTo>
                      <a:pt x="32" y="228"/>
                    </a:lnTo>
                    <a:lnTo>
                      <a:pt x="32" y="232"/>
                    </a:lnTo>
                    <a:lnTo>
                      <a:pt x="34" y="232"/>
                    </a:lnTo>
                    <a:lnTo>
                      <a:pt x="36" y="236"/>
                    </a:lnTo>
                    <a:lnTo>
                      <a:pt x="36" y="236"/>
                    </a:lnTo>
                    <a:lnTo>
                      <a:pt x="40" y="240"/>
                    </a:lnTo>
                    <a:lnTo>
                      <a:pt x="40" y="240"/>
                    </a:lnTo>
                    <a:lnTo>
                      <a:pt x="42" y="240"/>
                    </a:lnTo>
                    <a:lnTo>
                      <a:pt x="42" y="242"/>
                    </a:lnTo>
                    <a:lnTo>
                      <a:pt x="44" y="242"/>
                    </a:lnTo>
                    <a:lnTo>
                      <a:pt x="46" y="242"/>
                    </a:lnTo>
                    <a:lnTo>
                      <a:pt x="46" y="242"/>
                    </a:lnTo>
                    <a:lnTo>
                      <a:pt x="48" y="242"/>
                    </a:lnTo>
                    <a:lnTo>
                      <a:pt x="50" y="242"/>
                    </a:lnTo>
                    <a:lnTo>
                      <a:pt x="50" y="242"/>
                    </a:lnTo>
                    <a:lnTo>
                      <a:pt x="50" y="242"/>
                    </a:lnTo>
                    <a:lnTo>
                      <a:pt x="52" y="242"/>
                    </a:lnTo>
                    <a:lnTo>
                      <a:pt x="52" y="242"/>
                    </a:lnTo>
                    <a:lnTo>
                      <a:pt x="52" y="242"/>
                    </a:lnTo>
                    <a:lnTo>
                      <a:pt x="52" y="242"/>
                    </a:lnTo>
                    <a:lnTo>
                      <a:pt x="52" y="242"/>
                    </a:lnTo>
                    <a:lnTo>
                      <a:pt x="54" y="244"/>
                    </a:lnTo>
                    <a:lnTo>
                      <a:pt x="56" y="246"/>
                    </a:lnTo>
                    <a:lnTo>
                      <a:pt x="56" y="246"/>
                    </a:lnTo>
                    <a:lnTo>
                      <a:pt x="58" y="246"/>
                    </a:lnTo>
                    <a:lnTo>
                      <a:pt x="58" y="246"/>
                    </a:lnTo>
                    <a:lnTo>
                      <a:pt x="60" y="246"/>
                    </a:lnTo>
                    <a:lnTo>
                      <a:pt x="62" y="246"/>
                    </a:lnTo>
                    <a:lnTo>
                      <a:pt x="64" y="246"/>
                    </a:lnTo>
                    <a:lnTo>
                      <a:pt x="64" y="246"/>
                    </a:lnTo>
                    <a:lnTo>
                      <a:pt x="68" y="244"/>
                    </a:lnTo>
                    <a:lnTo>
                      <a:pt x="72" y="242"/>
                    </a:lnTo>
                    <a:lnTo>
                      <a:pt x="72" y="242"/>
                    </a:lnTo>
                    <a:lnTo>
                      <a:pt x="74" y="240"/>
                    </a:lnTo>
                    <a:lnTo>
                      <a:pt x="78" y="238"/>
                    </a:lnTo>
                    <a:lnTo>
                      <a:pt x="78" y="238"/>
                    </a:lnTo>
                    <a:lnTo>
                      <a:pt x="80" y="238"/>
                    </a:lnTo>
                    <a:lnTo>
                      <a:pt x="80" y="236"/>
                    </a:lnTo>
                    <a:lnTo>
                      <a:pt x="82" y="236"/>
                    </a:lnTo>
                    <a:lnTo>
                      <a:pt x="82" y="234"/>
                    </a:lnTo>
                    <a:lnTo>
                      <a:pt x="82" y="234"/>
                    </a:lnTo>
                    <a:lnTo>
                      <a:pt x="86" y="234"/>
                    </a:lnTo>
                    <a:lnTo>
                      <a:pt x="88" y="232"/>
                    </a:lnTo>
                    <a:lnTo>
                      <a:pt x="90" y="232"/>
                    </a:lnTo>
                    <a:lnTo>
                      <a:pt x="90" y="232"/>
                    </a:lnTo>
                    <a:lnTo>
                      <a:pt x="98" y="232"/>
                    </a:lnTo>
                    <a:lnTo>
                      <a:pt x="102" y="232"/>
                    </a:lnTo>
                    <a:lnTo>
                      <a:pt x="104" y="232"/>
                    </a:lnTo>
                    <a:lnTo>
                      <a:pt x="106" y="230"/>
                    </a:lnTo>
                    <a:lnTo>
                      <a:pt x="106" y="230"/>
                    </a:lnTo>
                    <a:lnTo>
                      <a:pt x="108" y="228"/>
                    </a:lnTo>
                    <a:lnTo>
                      <a:pt x="110" y="228"/>
                    </a:lnTo>
                    <a:lnTo>
                      <a:pt x="118" y="226"/>
                    </a:lnTo>
                    <a:lnTo>
                      <a:pt x="118" y="226"/>
                    </a:lnTo>
                    <a:lnTo>
                      <a:pt x="120" y="224"/>
                    </a:lnTo>
                    <a:lnTo>
                      <a:pt x="124" y="224"/>
                    </a:lnTo>
                    <a:lnTo>
                      <a:pt x="126" y="224"/>
                    </a:lnTo>
                    <a:lnTo>
                      <a:pt x="126" y="224"/>
                    </a:lnTo>
                    <a:lnTo>
                      <a:pt x="128" y="222"/>
                    </a:lnTo>
                    <a:lnTo>
                      <a:pt x="130" y="220"/>
                    </a:lnTo>
                    <a:lnTo>
                      <a:pt x="130" y="220"/>
                    </a:lnTo>
                    <a:lnTo>
                      <a:pt x="130" y="220"/>
                    </a:lnTo>
                    <a:lnTo>
                      <a:pt x="130" y="220"/>
                    </a:lnTo>
                    <a:lnTo>
                      <a:pt x="130" y="22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18" name="Freeform 423"/>
              <p:cNvSpPr>
                <a:spLocks/>
              </p:cNvSpPr>
              <p:nvPr/>
            </p:nvSpPr>
            <p:spPr bwMode="auto">
              <a:xfrm>
                <a:off x="2575" y="2118"/>
                <a:ext cx="44" cy="98"/>
              </a:xfrm>
              <a:custGeom>
                <a:avLst/>
                <a:gdLst>
                  <a:gd name="T0" fmla="*/ 36 w 44"/>
                  <a:gd name="T1" fmla="*/ 82 h 98"/>
                  <a:gd name="T2" fmla="*/ 38 w 44"/>
                  <a:gd name="T3" fmla="*/ 78 h 98"/>
                  <a:gd name="T4" fmla="*/ 40 w 44"/>
                  <a:gd name="T5" fmla="*/ 76 h 98"/>
                  <a:gd name="T6" fmla="*/ 40 w 44"/>
                  <a:gd name="T7" fmla="*/ 70 h 98"/>
                  <a:gd name="T8" fmla="*/ 38 w 44"/>
                  <a:gd name="T9" fmla="*/ 64 h 98"/>
                  <a:gd name="T10" fmla="*/ 40 w 44"/>
                  <a:gd name="T11" fmla="*/ 58 h 98"/>
                  <a:gd name="T12" fmla="*/ 40 w 44"/>
                  <a:gd name="T13" fmla="*/ 54 h 98"/>
                  <a:gd name="T14" fmla="*/ 38 w 44"/>
                  <a:gd name="T15" fmla="*/ 50 h 98"/>
                  <a:gd name="T16" fmla="*/ 36 w 44"/>
                  <a:gd name="T17" fmla="*/ 48 h 98"/>
                  <a:gd name="T18" fmla="*/ 38 w 44"/>
                  <a:gd name="T19" fmla="*/ 42 h 98"/>
                  <a:gd name="T20" fmla="*/ 40 w 44"/>
                  <a:gd name="T21" fmla="*/ 38 h 98"/>
                  <a:gd name="T22" fmla="*/ 42 w 44"/>
                  <a:gd name="T23" fmla="*/ 34 h 98"/>
                  <a:gd name="T24" fmla="*/ 44 w 44"/>
                  <a:gd name="T25" fmla="*/ 16 h 98"/>
                  <a:gd name="T26" fmla="*/ 44 w 44"/>
                  <a:gd name="T27" fmla="*/ 12 h 98"/>
                  <a:gd name="T28" fmla="*/ 44 w 44"/>
                  <a:gd name="T29" fmla="*/ 8 h 98"/>
                  <a:gd name="T30" fmla="*/ 44 w 44"/>
                  <a:gd name="T31" fmla="*/ 6 h 98"/>
                  <a:gd name="T32" fmla="*/ 42 w 44"/>
                  <a:gd name="T33" fmla="*/ 4 h 98"/>
                  <a:gd name="T34" fmla="*/ 38 w 44"/>
                  <a:gd name="T35" fmla="*/ 4 h 98"/>
                  <a:gd name="T36" fmla="*/ 32 w 44"/>
                  <a:gd name="T37" fmla="*/ 6 h 98"/>
                  <a:gd name="T38" fmla="*/ 26 w 44"/>
                  <a:gd name="T39" fmla="*/ 4 h 98"/>
                  <a:gd name="T40" fmla="*/ 22 w 44"/>
                  <a:gd name="T41" fmla="*/ 0 h 98"/>
                  <a:gd name="T42" fmla="*/ 18 w 44"/>
                  <a:gd name="T43" fmla="*/ 0 h 98"/>
                  <a:gd name="T44" fmla="*/ 16 w 44"/>
                  <a:gd name="T45" fmla="*/ 0 h 98"/>
                  <a:gd name="T46" fmla="*/ 16 w 44"/>
                  <a:gd name="T47" fmla="*/ 0 h 98"/>
                  <a:gd name="T48" fmla="*/ 14 w 44"/>
                  <a:gd name="T49" fmla="*/ 2 h 98"/>
                  <a:gd name="T50" fmla="*/ 10 w 44"/>
                  <a:gd name="T51" fmla="*/ 2 h 98"/>
                  <a:gd name="T52" fmla="*/ 8 w 44"/>
                  <a:gd name="T53" fmla="*/ 8 h 98"/>
                  <a:gd name="T54" fmla="*/ 8 w 44"/>
                  <a:gd name="T55" fmla="*/ 12 h 98"/>
                  <a:gd name="T56" fmla="*/ 8 w 44"/>
                  <a:gd name="T57" fmla="*/ 18 h 98"/>
                  <a:gd name="T58" fmla="*/ 10 w 44"/>
                  <a:gd name="T59" fmla="*/ 18 h 98"/>
                  <a:gd name="T60" fmla="*/ 12 w 44"/>
                  <a:gd name="T61" fmla="*/ 20 h 98"/>
                  <a:gd name="T62" fmla="*/ 12 w 44"/>
                  <a:gd name="T63" fmla="*/ 22 h 98"/>
                  <a:gd name="T64" fmla="*/ 12 w 44"/>
                  <a:gd name="T65" fmla="*/ 24 h 98"/>
                  <a:gd name="T66" fmla="*/ 10 w 44"/>
                  <a:gd name="T67" fmla="*/ 28 h 98"/>
                  <a:gd name="T68" fmla="*/ 8 w 44"/>
                  <a:gd name="T69" fmla="*/ 36 h 98"/>
                  <a:gd name="T70" fmla="*/ 6 w 44"/>
                  <a:gd name="T71" fmla="*/ 44 h 98"/>
                  <a:gd name="T72" fmla="*/ 6 w 44"/>
                  <a:gd name="T73" fmla="*/ 48 h 98"/>
                  <a:gd name="T74" fmla="*/ 2 w 44"/>
                  <a:gd name="T75" fmla="*/ 54 h 98"/>
                  <a:gd name="T76" fmla="*/ 0 w 44"/>
                  <a:gd name="T77" fmla="*/ 60 h 98"/>
                  <a:gd name="T78" fmla="*/ 0 w 44"/>
                  <a:gd name="T79" fmla="*/ 62 h 98"/>
                  <a:gd name="T80" fmla="*/ 0 w 44"/>
                  <a:gd name="T81" fmla="*/ 66 h 98"/>
                  <a:gd name="T82" fmla="*/ 4 w 44"/>
                  <a:gd name="T83" fmla="*/ 70 h 98"/>
                  <a:gd name="T84" fmla="*/ 6 w 44"/>
                  <a:gd name="T85" fmla="*/ 74 h 98"/>
                  <a:gd name="T86" fmla="*/ 6 w 44"/>
                  <a:gd name="T87" fmla="*/ 82 h 98"/>
                  <a:gd name="T88" fmla="*/ 6 w 44"/>
                  <a:gd name="T89" fmla="*/ 88 h 98"/>
                  <a:gd name="T90" fmla="*/ 6 w 44"/>
                  <a:gd name="T91" fmla="*/ 92 h 98"/>
                  <a:gd name="T92" fmla="*/ 6 w 44"/>
                  <a:gd name="T93" fmla="*/ 96 h 98"/>
                  <a:gd name="T94" fmla="*/ 8 w 44"/>
                  <a:gd name="T95" fmla="*/ 96 h 98"/>
                  <a:gd name="T96" fmla="*/ 10 w 44"/>
                  <a:gd name="T97" fmla="*/ 98 h 98"/>
                  <a:gd name="T98" fmla="*/ 14 w 44"/>
                  <a:gd name="T99" fmla="*/ 98 h 98"/>
                  <a:gd name="T100" fmla="*/ 16 w 44"/>
                  <a:gd name="T101" fmla="*/ 96 h 98"/>
                  <a:gd name="T102" fmla="*/ 18 w 44"/>
                  <a:gd name="T103" fmla="*/ 94 h 98"/>
                  <a:gd name="T104" fmla="*/ 20 w 44"/>
                  <a:gd name="T105" fmla="*/ 94 h 98"/>
                  <a:gd name="T106" fmla="*/ 28 w 44"/>
                  <a:gd name="T107" fmla="*/ 94 h 98"/>
                  <a:gd name="T108" fmla="*/ 32 w 44"/>
                  <a:gd name="T109" fmla="*/ 94 h 98"/>
                  <a:gd name="T110" fmla="*/ 34 w 44"/>
                  <a:gd name="T111" fmla="*/ 90 h 98"/>
                  <a:gd name="T112" fmla="*/ 34 w 44"/>
                  <a:gd name="T113" fmla="*/ 84 h 98"/>
                  <a:gd name="T114" fmla="*/ 34 w 44"/>
                  <a:gd name="T115" fmla="*/ 84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44" h="98">
                    <a:moveTo>
                      <a:pt x="34" y="84"/>
                    </a:moveTo>
                    <a:lnTo>
                      <a:pt x="34" y="84"/>
                    </a:lnTo>
                    <a:lnTo>
                      <a:pt x="36" y="82"/>
                    </a:lnTo>
                    <a:lnTo>
                      <a:pt x="36" y="80"/>
                    </a:lnTo>
                    <a:lnTo>
                      <a:pt x="38" y="78"/>
                    </a:lnTo>
                    <a:lnTo>
                      <a:pt x="38" y="78"/>
                    </a:lnTo>
                    <a:lnTo>
                      <a:pt x="40" y="78"/>
                    </a:lnTo>
                    <a:lnTo>
                      <a:pt x="40" y="76"/>
                    </a:lnTo>
                    <a:lnTo>
                      <a:pt x="40" y="76"/>
                    </a:lnTo>
                    <a:lnTo>
                      <a:pt x="40" y="74"/>
                    </a:lnTo>
                    <a:lnTo>
                      <a:pt x="40" y="74"/>
                    </a:lnTo>
                    <a:lnTo>
                      <a:pt x="40" y="70"/>
                    </a:lnTo>
                    <a:lnTo>
                      <a:pt x="38" y="66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2"/>
                    </a:lnTo>
                    <a:lnTo>
                      <a:pt x="38" y="60"/>
                    </a:lnTo>
                    <a:lnTo>
                      <a:pt x="40" y="58"/>
                    </a:lnTo>
                    <a:lnTo>
                      <a:pt x="40" y="56"/>
                    </a:lnTo>
                    <a:lnTo>
                      <a:pt x="40" y="56"/>
                    </a:lnTo>
                    <a:lnTo>
                      <a:pt x="40" y="54"/>
                    </a:lnTo>
                    <a:lnTo>
                      <a:pt x="40" y="54"/>
                    </a:lnTo>
                    <a:lnTo>
                      <a:pt x="40" y="52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6" y="48"/>
                    </a:lnTo>
                    <a:lnTo>
                      <a:pt x="38" y="46"/>
                    </a:lnTo>
                    <a:lnTo>
                      <a:pt x="38" y="44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40" y="40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6"/>
                    </a:lnTo>
                    <a:lnTo>
                      <a:pt x="42" y="34"/>
                    </a:lnTo>
                    <a:lnTo>
                      <a:pt x="42" y="34"/>
                    </a:lnTo>
                    <a:lnTo>
                      <a:pt x="42" y="24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4" y="8"/>
                    </a:lnTo>
                    <a:lnTo>
                      <a:pt x="44" y="6"/>
                    </a:lnTo>
                    <a:lnTo>
                      <a:pt x="44" y="6"/>
                    </a:lnTo>
                    <a:lnTo>
                      <a:pt x="44" y="6"/>
                    </a:lnTo>
                    <a:lnTo>
                      <a:pt x="44" y="6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0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6" y="6"/>
                    </a:lnTo>
                    <a:lnTo>
                      <a:pt x="32" y="6"/>
                    </a:lnTo>
                    <a:lnTo>
                      <a:pt x="32" y="6"/>
                    </a:lnTo>
                    <a:lnTo>
                      <a:pt x="28" y="6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4" y="2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0" y="4"/>
                    </a:lnTo>
                    <a:lnTo>
                      <a:pt x="8" y="6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10"/>
                    </a:lnTo>
                    <a:lnTo>
                      <a:pt x="8" y="12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0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6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8"/>
                    </a:lnTo>
                    <a:lnTo>
                      <a:pt x="6" y="40"/>
                    </a:lnTo>
                    <a:lnTo>
                      <a:pt x="6" y="44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6" y="48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2" y="54"/>
                    </a:lnTo>
                    <a:lnTo>
                      <a:pt x="2" y="54"/>
                    </a:lnTo>
                    <a:lnTo>
                      <a:pt x="0" y="58"/>
                    </a:lnTo>
                    <a:lnTo>
                      <a:pt x="0" y="60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64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2" y="66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2"/>
                    </a:lnTo>
                    <a:lnTo>
                      <a:pt x="6" y="74"/>
                    </a:lnTo>
                    <a:lnTo>
                      <a:pt x="6" y="74"/>
                    </a:lnTo>
                    <a:lnTo>
                      <a:pt x="6" y="78"/>
                    </a:lnTo>
                    <a:lnTo>
                      <a:pt x="6" y="82"/>
                    </a:lnTo>
                    <a:lnTo>
                      <a:pt x="8" y="86"/>
                    </a:lnTo>
                    <a:lnTo>
                      <a:pt x="6" y="88"/>
                    </a:lnTo>
                    <a:lnTo>
                      <a:pt x="6" y="88"/>
                    </a:lnTo>
                    <a:lnTo>
                      <a:pt x="6" y="90"/>
                    </a:lnTo>
                    <a:lnTo>
                      <a:pt x="6" y="92"/>
                    </a:lnTo>
                    <a:lnTo>
                      <a:pt x="6" y="92"/>
                    </a:lnTo>
                    <a:lnTo>
                      <a:pt x="6" y="94"/>
                    </a:lnTo>
                    <a:lnTo>
                      <a:pt x="6" y="96"/>
                    </a:lnTo>
                    <a:lnTo>
                      <a:pt x="6" y="96"/>
                    </a:lnTo>
                    <a:lnTo>
                      <a:pt x="6" y="96"/>
                    </a:lnTo>
                    <a:lnTo>
                      <a:pt x="6" y="96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10" y="98"/>
                    </a:lnTo>
                    <a:lnTo>
                      <a:pt x="10" y="98"/>
                    </a:lnTo>
                    <a:lnTo>
                      <a:pt x="12" y="98"/>
                    </a:lnTo>
                    <a:lnTo>
                      <a:pt x="12" y="98"/>
                    </a:lnTo>
                    <a:lnTo>
                      <a:pt x="14" y="98"/>
                    </a:lnTo>
                    <a:lnTo>
                      <a:pt x="14" y="98"/>
                    </a:lnTo>
                    <a:lnTo>
                      <a:pt x="16" y="96"/>
                    </a:lnTo>
                    <a:lnTo>
                      <a:pt x="16" y="96"/>
                    </a:lnTo>
                    <a:lnTo>
                      <a:pt x="16" y="94"/>
                    </a:lnTo>
                    <a:lnTo>
                      <a:pt x="16" y="94"/>
                    </a:lnTo>
                    <a:lnTo>
                      <a:pt x="18" y="94"/>
                    </a:lnTo>
                    <a:lnTo>
                      <a:pt x="18" y="94"/>
                    </a:lnTo>
                    <a:lnTo>
                      <a:pt x="20" y="94"/>
                    </a:lnTo>
                    <a:lnTo>
                      <a:pt x="20" y="94"/>
                    </a:lnTo>
                    <a:lnTo>
                      <a:pt x="26" y="94"/>
                    </a:lnTo>
                    <a:lnTo>
                      <a:pt x="26" y="94"/>
                    </a:lnTo>
                    <a:lnTo>
                      <a:pt x="28" y="94"/>
                    </a:lnTo>
                    <a:lnTo>
                      <a:pt x="28" y="94"/>
                    </a:lnTo>
                    <a:lnTo>
                      <a:pt x="32" y="94"/>
                    </a:lnTo>
                    <a:lnTo>
                      <a:pt x="32" y="94"/>
                    </a:lnTo>
                    <a:lnTo>
                      <a:pt x="34" y="94"/>
                    </a:lnTo>
                    <a:lnTo>
                      <a:pt x="34" y="94"/>
                    </a:lnTo>
                    <a:lnTo>
                      <a:pt x="34" y="90"/>
                    </a:lnTo>
                    <a:lnTo>
                      <a:pt x="34" y="88"/>
                    </a:lnTo>
                    <a:lnTo>
                      <a:pt x="34" y="84"/>
                    </a:lnTo>
                    <a:lnTo>
                      <a:pt x="34" y="84"/>
                    </a:lnTo>
                    <a:lnTo>
                      <a:pt x="34" y="84"/>
                    </a:lnTo>
                    <a:lnTo>
                      <a:pt x="34" y="84"/>
                    </a:lnTo>
                    <a:lnTo>
                      <a:pt x="34" y="8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19" name="Freeform 425"/>
              <p:cNvSpPr>
                <a:spLocks/>
              </p:cNvSpPr>
              <p:nvPr/>
            </p:nvSpPr>
            <p:spPr bwMode="auto">
              <a:xfrm>
                <a:off x="2579" y="2084"/>
                <a:ext cx="184" cy="148"/>
              </a:xfrm>
              <a:custGeom>
                <a:avLst/>
                <a:gdLst>
                  <a:gd name="T0" fmla="*/ 144 w 184"/>
                  <a:gd name="T1" fmla="*/ 22 h 148"/>
                  <a:gd name="T2" fmla="*/ 130 w 184"/>
                  <a:gd name="T3" fmla="*/ 18 h 148"/>
                  <a:gd name="T4" fmla="*/ 108 w 184"/>
                  <a:gd name="T5" fmla="*/ 10 h 148"/>
                  <a:gd name="T6" fmla="*/ 96 w 184"/>
                  <a:gd name="T7" fmla="*/ 10 h 148"/>
                  <a:gd name="T8" fmla="*/ 84 w 184"/>
                  <a:gd name="T9" fmla="*/ 10 h 148"/>
                  <a:gd name="T10" fmla="*/ 72 w 184"/>
                  <a:gd name="T11" fmla="*/ 8 h 148"/>
                  <a:gd name="T12" fmla="*/ 62 w 184"/>
                  <a:gd name="T13" fmla="*/ 6 h 148"/>
                  <a:gd name="T14" fmla="*/ 52 w 184"/>
                  <a:gd name="T15" fmla="*/ 6 h 148"/>
                  <a:gd name="T16" fmla="*/ 44 w 184"/>
                  <a:gd name="T17" fmla="*/ 8 h 148"/>
                  <a:gd name="T18" fmla="*/ 38 w 184"/>
                  <a:gd name="T19" fmla="*/ 8 h 148"/>
                  <a:gd name="T20" fmla="*/ 36 w 184"/>
                  <a:gd name="T21" fmla="*/ 2 h 148"/>
                  <a:gd name="T22" fmla="*/ 22 w 184"/>
                  <a:gd name="T23" fmla="*/ 2 h 148"/>
                  <a:gd name="T24" fmla="*/ 14 w 184"/>
                  <a:gd name="T25" fmla="*/ 4 h 148"/>
                  <a:gd name="T26" fmla="*/ 10 w 184"/>
                  <a:gd name="T27" fmla="*/ 10 h 148"/>
                  <a:gd name="T28" fmla="*/ 2 w 184"/>
                  <a:gd name="T29" fmla="*/ 16 h 148"/>
                  <a:gd name="T30" fmla="*/ 2 w 184"/>
                  <a:gd name="T31" fmla="*/ 26 h 148"/>
                  <a:gd name="T32" fmla="*/ 8 w 184"/>
                  <a:gd name="T33" fmla="*/ 34 h 148"/>
                  <a:gd name="T34" fmla="*/ 12 w 184"/>
                  <a:gd name="T35" fmla="*/ 34 h 148"/>
                  <a:gd name="T36" fmla="*/ 20 w 184"/>
                  <a:gd name="T37" fmla="*/ 36 h 148"/>
                  <a:gd name="T38" fmla="*/ 32 w 184"/>
                  <a:gd name="T39" fmla="*/ 40 h 148"/>
                  <a:gd name="T40" fmla="*/ 40 w 184"/>
                  <a:gd name="T41" fmla="*/ 40 h 148"/>
                  <a:gd name="T42" fmla="*/ 40 w 184"/>
                  <a:gd name="T43" fmla="*/ 44 h 148"/>
                  <a:gd name="T44" fmla="*/ 38 w 184"/>
                  <a:gd name="T45" fmla="*/ 68 h 148"/>
                  <a:gd name="T46" fmla="*/ 34 w 184"/>
                  <a:gd name="T47" fmla="*/ 76 h 148"/>
                  <a:gd name="T48" fmla="*/ 34 w 184"/>
                  <a:gd name="T49" fmla="*/ 84 h 148"/>
                  <a:gd name="T50" fmla="*/ 36 w 184"/>
                  <a:gd name="T51" fmla="*/ 90 h 148"/>
                  <a:gd name="T52" fmla="*/ 34 w 184"/>
                  <a:gd name="T53" fmla="*/ 100 h 148"/>
                  <a:gd name="T54" fmla="*/ 36 w 184"/>
                  <a:gd name="T55" fmla="*/ 112 h 148"/>
                  <a:gd name="T56" fmla="*/ 30 w 184"/>
                  <a:gd name="T57" fmla="*/ 118 h 148"/>
                  <a:gd name="T58" fmla="*/ 32 w 184"/>
                  <a:gd name="T59" fmla="*/ 128 h 148"/>
                  <a:gd name="T60" fmla="*/ 40 w 184"/>
                  <a:gd name="T61" fmla="*/ 136 h 148"/>
                  <a:gd name="T62" fmla="*/ 46 w 184"/>
                  <a:gd name="T63" fmla="*/ 144 h 148"/>
                  <a:gd name="T64" fmla="*/ 52 w 184"/>
                  <a:gd name="T65" fmla="*/ 148 h 148"/>
                  <a:gd name="T66" fmla="*/ 62 w 184"/>
                  <a:gd name="T67" fmla="*/ 144 h 148"/>
                  <a:gd name="T68" fmla="*/ 72 w 184"/>
                  <a:gd name="T69" fmla="*/ 142 h 148"/>
                  <a:gd name="T70" fmla="*/ 80 w 184"/>
                  <a:gd name="T71" fmla="*/ 136 h 148"/>
                  <a:gd name="T72" fmla="*/ 98 w 184"/>
                  <a:gd name="T73" fmla="*/ 134 h 148"/>
                  <a:gd name="T74" fmla="*/ 108 w 184"/>
                  <a:gd name="T75" fmla="*/ 134 h 148"/>
                  <a:gd name="T76" fmla="*/ 110 w 184"/>
                  <a:gd name="T77" fmla="*/ 126 h 148"/>
                  <a:gd name="T78" fmla="*/ 116 w 184"/>
                  <a:gd name="T79" fmla="*/ 122 h 148"/>
                  <a:gd name="T80" fmla="*/ 124 w 184"/>
                  <a:gd name="T81" fmla="*/ 120 h 148"/>
                  <a:gd name="T82" fmla="*/ 128 w 184"/>
                  <a:gd name="T83" fmla="*/ 110 h 148"/>
                  <a:gd name="T84" fmla="*/ 136 w 184"/>
                  <a:gd name="T85" fmla="*/ 100 h 148"/>
                  <a:gd name="T86" fmla="*/ 138 w 184"/>
                  <a:gd name="T87" fmla="*/ 94 h 148"/>
                  <a:gd name="T88" fmla="*/ 134 w 184"/>
                  <a:gd name="T89" fmla="*/ 82 h 148"/>
                  <a:gd name="T90" fmla="*/ 136 w 184"/>
                  <a:gd name="T91" fmla="*/ 74 h 148"/>
                  <a:gd name="T92" fmla="*/ 144 w 184"/>
                  <a:gd name="T93" fmla="*/ 64 h 148"/>
                  <a:gd name="T94" fmla="*/ 150 w 184"/>
                  <a:gd name="T95" fmla="*/ 56 h 148"/>
                  <a:gd name="T96" fmla="*/ 156 w 184"/>
                  <a:gd name="T97" fmla="*/ 54 h 148"/>
                  <a:gd name="T98" fmla="*/ 172 w 184"/>
                  <a:gd name="T99" fmla="*/ 48 h 148"/>
                  <a:gd name="T100" fmla="*/ 182 w 184"/>
                  <a:gd name="T101" fmla="*/ 38 h 148"/>
                  <a:gd name="T102" fmla="*/ 184 w 184"/>
                  <a:gd name="T103" fmla="*/ 26 h 148"/>
                  <a:gd name="T104" fmla="*/ 180 w 184"/>
                  <a:gd name="T105" fmla="*/ 24 h 148"/>
                  <a:gd name="T106" fmla="*/ 168 w 184"/>
                  <a:gd name="T107" fmla="*/ 24 h 148"/>
                  <a:gd name="T108" fmla="*/ 156 w 184"/>
                  <a:gd name="T109" fmla="*/ 22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84" h="148">
                    <a:moveTo>
                      <a:pt x="156" y="22"/>
                    </a:moveTo>
                    <a:lnTo>
                      <a:pt x="156" y="22"/>
                    </a:lnTo>
                    <a:lnTo>
                      <a:pt x="154" y="22"/>
                    </a:lnTo>
                    <a:lnTo>
                      <a:pt x="150" y="22"/>
                    </a:lnTo>
                    <a:lnTo>
                      <a:pt x="146" y="22"/>
                    </a:lnTo>
                    <a:lnTo>
                      <a:pt x="144" y="22"/>
                    </a:lnTo>
                    <a:lnTo>
                      <a:pt x="144" y="22"/>
                    </a:lnTo>
                    <a:lnTo>
                      <a:pt x="140" y="22"/>
                    </a:lnTo>
                    <a:lnTo>
                      <a:pt x="136" y="22"/>
                    </a:lnTo>
                    <a:lnTo>
                      <a:pt x="132" y="20"/>
                    </a:lnTo>
                    <a:lnTo>
                      <a:pt x="130" y="18"/>
                    </a:lnTo>
                    <a:lnTo>
                      <a:pt x="130" y="18"/>
                    </a:lnTo>
                    <a:lnTo>
                      <a:pt x="120" y="14"/>
                    </a:lnTo>
                    <a:lnTo>
                      <a:pt x="114" y="12"/>
                    </a:lnTo>
                    <a:lnTo>
                      <a:pt x="110" y="8"/>
                    </a:lnTo>
                    <a:lnTo>
                      <a:pt x="110" y="8"/>
                    </a:lnTo>
                    <a:lnTo>
                      <a:pt x="108" y="10"/>
                    </a:lnTo>
                    <a:lnTo>
                      <a:pt x="108" y="10"/>
                    </a:lnTo>
                    <a:lnTo>
                      <a:pt x="108" y="10"/>
                    </a:lnTo>
                    <a:lnTo>
                      <a:pt x="106" y="10"/>
                    </a:lnTo>
                    <a:lnTo>
                      <a:pt x="104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96" y="10"/>
                    </a:lnTo>
                    <a:lnTo>
                      <a:pt x="92" y="10"/>
                    </a:lnTo>
                    <a:lnTo>
                      <a:pt x="92" y="10"/>
                    </a:lnTo>
                    <a:lnTo>
                      <a:pt x="90" y="8"/>
                    </a:lnTo>
                    <a:lnTo>
                      <a:pt x="88" y="8"/>
                    </a:lnTo>
                    <a:lnTo>
                      <a:pt x="84" y="10"/>
                    </a:lnTo>
                    <a:lnTo>
                      <a:pt x="84" y="10"/>
                    </a:lnTo>
                    <a:lnTo>
                      <a:pt x="82" y="10"/>
                    </a:lnTo>
                    <a:lnTo>
                      <a:pt x="80" y="10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74" y="8"/>
                    </a:lnTo>
                    <a:lnTo>
                      <a:pt x="72" y="8"/>
                    </a:lnTo>
                    <a:lnTo>
                      <a:pt x="68" y="8"/>
                    </a:lnTo>
                    <a:lnTo>
                      <a:pt x="66" y="10"/>
                    </a:lnTo>
                    <a:lnTo>
                      <a:pt x="66" y="10"/>
                    </a:lnTo>
                    <a:lnTo>
                      <a:pt x="64" y="8"/>
                    </a:lnTo>
                    <a:lnTo>
                      <a:pt x="62" y="8"/>
                    </a:lnTo>
                    <a:lnTo>
                      <a:pt x="62" y="6"/>
                    </a:lnTo>
                    <a:lnTo>
                      <a:pt x="60" y="6"/>
                    </a:lnTo>
                    <a:lnTo>
                      <a:pt x="60" y="6"/>
                    </a:lnTo>
                    <a:lnTo>
                      <a:pt x="58" y="4"/>
                    </a:lnTo>
                    <a:lnTo>
                      <a:pt x="56" y="4"/>
                    </a:lnTo>
                    <a:lnTo>
                      <a:pt x="54" y="4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0" y="6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6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0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36" y="4"/>
                    </a:lnTo>
                    <a:lnTo>
                      <a:pt x="36" y="2"/>
                    </a:lnTo>
                    <a:lnTo>
                      <a:pt x="36" y="2"/>
                    </a:lnTo>
                    <a:lnTo>
                      <a:pt x="36" y="2"/>
                    </a:lnTo>
                    <a:lnTo>
                      <a:pt x="34" y="2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28" y="0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0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6" y="2"/>
                    </a:lnTo>
                    <a:lnTo>
                      <a:pt x="16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8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2"/>
                    </a:lnTo>
                    <a:lnTo>
                      <a:pt x="4" y="14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8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0" y="24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2" y="28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0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4" y="34"/>
                    </a:lnTo>
                    <a:lnTo>
                      <a:pt x="16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4" y="40"/>
                    </a:lnTo>
                    <a:lnTo>
                      <a:pt x="28" y="40"/>
                    </a:lnTo>
                    <a:lnTo>
                      <a:pt x="28" y="40"/>
                    </a:lnTo>
                    <a:lnTo>
                      <a:pt x="32" y="40"/>
                    </a:lnTo>
                    <a:lnTo>
                      <a:pt x="34" y="38"/>
                    </a:lnTo>
                    <a:lnTo>
                      <a:pt x="34" y="38"/>
                    </a:lnTo>
                    <a:lnTo>
                      <a:pt x="36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2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40" y="46"/>
                    </a:lnTo>
                    <a:lnTo>
                      <a:pt x="40" y="46"/>
                    </a:lnTo>
                    <a:lnTo>
                      <a:pt x="40" y="50"/>
                    </a:lnTo>
                    <a:lnTo>
                      <a:pt x="40" y="50"/>
                    </a:lnTo>
                    <a:lnTo>
                      <a:pt x="38" y="58"/>
                    </a:lnTo>
                    <a:lnTo>
                      <a:pt x="38" y="68"/>
                    </a:lnTo>
                    <a:lnTo>
                      <a:pt x="38" y="68"/>
                    </a:lnTo>
                    <a:lnTo>
                      <a:pt x="36" y="70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36" y="74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8"/>
                    </a:lnTo>
                    <a:lnTo>
                      <a:pt x="34" y="80"/>
                    </a:lnTo>
                    <a:lnTo>
                      <a:pt x="32" y="82"/>
                    </a:lnTo>
                    <a:lnTo>
                      <a:pt x="34" y="84"/>
                    </a:lnTo>
                    <a:lnTo>
                      <a:pt x="34" y="84"/>
                    </a:lnTo>
                    <a:lnTo>
                      <a:pt x="34" y="84"/>
                    </a:lnTo>
                    <a:lnTo>
                      <a:pt x="36" y="86"/>
                    </a:lnTo>
                    <a:lnTo>
                      <a:pt x="36" y="88"/>
                    </a:lnTo>
                    <a:lnTo>
                      <a:pt x="36" y="88"/>
                    </a:lnTo>
                    <a:lnTo>
                      <a:pt x="36" y="90"/>
                    </a:lnTo>
                    <a:lnTo>
                      <a:pt x="36" y="90"/>
                    </a:lnTo>
                    <a:lnTo>
                      <a:pt x="36" y="92"/>
                    </a:lnTo>
                    <a:lnTo>
                      <a:pt x="34" y="94"/>
                    </a:lnTo>
                    <a:lnTo>
                      <a:pt x="34" y="96"/>
                    </a:lnTo>
                    <a:lnTo>
                      <a:pt x="34" y="98"/>
                    </a:lnTo>
                    <a:lnTo>
                      <a:pt x="34" y="98"/>
                    </a:lnTo>
                    <a:lnTo>
                      <a:pt x="34" y="100"/>
                    </a:lnTo>
                    <a:lnTo>
                      <a:pt x="36" y="104"/>
                    </a:lnTo>
                    <a:lnTo>
                      <a:pt x="36" y="108"/>
                    </a:lnTo>
                    <a:lnTo>
                      <a:pt x="36" y="108"/>
                    </a:lnTo>
                    <a:lnTo>
                      <a:pt x="36" y="110"/>
                    </a:lnTo>
                    <a:lnTo>
                      <a:pt x="36" y="110"/>
                    </a:lnTo>
                    <a:lnTo>
                      <a:pt x="36" y="112"/>
                    </a:lnTo>
                    <a:lnTo>
                      <a:pt x="34" y="112"/>
                    </a:lnTo>
                    <a:lnTo>
                      <a:pt x="34" y="112"/>
                    </a:lnTo>
                    <a:lnTo>
                      <a:pt x="32" y="114"/>
                    </a:lnTo>
                    <a:lnTo>
                      <a:pt x="32" y="116"/>
                    </a:lnTo>
                    <a:lnTo>
                      <a:pt x="30" y="118"/>
                    </a:lnTo>
                    <a:lnTo>
                      <a:pt x="30" y="118"/>
                    </a:lnTo>
                    <a:lnTo>
                      <a:pt x="30" y="122"/>
                    </a:lnTo>
                    <a:lnTo>
                      <a:pt x="30" y="124"/>
                    </a:lnTo>
                    <a:lnTo>
                      <a:pt x="30" y="128"/>
                    </a:lnTo>
                    <a:lnTo>
                      <a:pt x="30" y="128"/>
                    </a:lnTo>
                    <a:lnTo>
                      <a:pt x="32" y="128"/>
                    </a:lnTo>
                    <a:lnTo>
                      <a:pt x="32" y="128"/>
                    </a:lnTo>
                    <a:lnTo>
                      <a:pt x="36" y="130"/>
                    </a:lnTo>
                    <a:lnTo>
                      <a:pt x="36" y="130"/>
                    </a:lnTo>
                    <a:lnTo>
                      <a:pt x="38" y="130"/>
                    </a:lnTo>
                    <a:lnTo>
                      <a:pt x="38" y="132"/>
                    </a:lnTo>
                    <a:lnTo>
                      <a:pt x="40" y="134"/>
                    </a:lnTo>
                    <a:lnTo>
                      <a:pt x="40" y="136"/>
                    </a:lnTo>
                    <a:lnTo>
                      <a:pt x="40" y="136"/>
                    </a:lnTo>
                    <a:lnTo>
                      <a:pt x="42" y="138"/>
                    </a:lnTo>
                    <a:lnTo>
                      <a:pt x="42" y="140"/>
                    </a:lnTo>
                    <a:lnTo>
                      <a:pt x="44" y="142"/>
                    </a:lnTo>
                    <a:lnTo>
                      <a:pt x="46" y="144"/>
                    </a:lnTo>
                    <a:lnTo>
                      <a:pt x="46" y="144"/>
                    </a:lnTo>
                    <a:lnTo>
                      <a:pt x="48" y="144"/>
                    </a:lnTo>
                    <a:lnTo>
                      <a:pt x="50" y="146"/>
                    </a:lnTo>
                    <a:lnTo>
                      <a:pt x="50" y="146"/>
                    </a:lnTo>
                    <a:lnTo>
                      <a:pt x="52" y="148"/>
                    </a:lnTo>
                    <a:lnTo>
                      <a:pt x="52" y="148"/>
                    </a:lnTo>
                    <a:lnTo>
                      <a:pt x="52" y="148"/>
                    </a:lnTo>
                    <a:lnTo>
                      <a:pt x="54" y="148"/>
                    </a:lnTo>
                    <a:lnTo>
                      <a:pt x="56" y="148"/>
                    </a:lnTo>
                    <a:lnTo>
                      <a:pt x="58" y="144"/>
                    </a:lnTo>
                    <a:lnTo>
                      <a:pt x="58" y="144"/>
                    </a:lnTo>
                    <a:lnTo>
                      <a:pt x="60" y="144"/>
                    </a:lnTo>
                    <a:lnTo>
                      <a:pt x="62" y="144"/>
                    </a:lnTo>
                    <a:lnTo>
                      <a:pt x="66" y="144"/>
                    </a:lnTo>
                    <a:lnTo>
                      <a:pt x="66" y="144"/>
                    </a:lnTo>
                    <a:lnTo>
                      <a:pt x="68" y="144"/>
                    </a:lnTo>
                    <a:lnTo>
                      <a:pt x="70" y="144"/>
                    </a:lnTo>
                    <a:lnTo>
                      <a:pt x="72" y="142"/>
                    </a:lnTo>
                    <a:lnTo>
                      <a:pt x="72" y="142"/>
                    </a:lnTo>
                    <a:lnTo>
                      <a:pt x="74" y="140"/>
                    </a:lnTo>
                    <a:lnTo>
                      <a:pt x="76" y="140"/>
                    </a:lnTo>
                    <a:lnTo>
                      <a:pt x="76" y="140"/>
                    </a:lnTo>
                    <a:lnTo>
                      <a:pt x="78" y="138"/>
                    </a:lnTo>
                    <a:lnTo>
                      <a:pt x="80" y="136"/>
                    </a:lnTo>
                    <a:lnTo>
                      <a:pt x="80" y="136"/>
                    </a:lnTo>
                    <a:lnTo>
                      <a:pt x="82" y="136"/>
                    </a:lnTo>
                    <a:lnTo>
                      <a:pt x="84" y="136"/>
                    </a:lnTo>
                    <a:lnTo>
                      <a:pt x="86" y="136"/>
                    </a:lnTo>
                    <a:lnTo>
                      <a:pt x="86" y="136"/>
                    </a:lnTo>
                    <a:lnTo>
                      <a:pt x="92" y="136"/>
                    </a:lnTo>
                    <a:lnTo>
                      <a:pt x="98" y="134"/>
                    </a:lnTo>
                    <a:lnTo>
                      <a:pt x="98" y="134"/>
                    </a:lnTo>
                    <a:lnTo>
                      <a:pt x="102" y="134"/>
                    </a:lnTo>
                    <a:lnTo>
                      <a:pt x="106" y="134"/>
                    </a:lnTo>
                    <a:lnTo>
                      <a:pt x="106" y="134"/>
                    </a:lnTo>
                    <a:lnTo>
                      <a:pt x="108" y="134"/>
                    </a:lnTo>
                    <a:lnTo>
                      <a:pt x="108" y="134"/>
                    </a:lnTo>
                    <a:lnTo>
                      <a:pt x="110" y="132"/>
                    </a:lnTo>
                    <a:lnTo>
                      <a:pt x="110" y="130"/>
                    </a:lnTo>
                    <a:lnTo>
                      <a:pt x="110" y="130"/>
                    </a:lnTo>
                    <a:lnTo>
                      <a:pt x="110" y="128"/>
                    </a:lnTo>
                    <a:lnTo>
                      <a:pt x="110" y="128"/>
                    </a:lnTo>
                    <a:lnTo>
                      <a:pt x="110" y="126"/>
                    </a:lnTo>
                    <a:lnTo>
                      <a:pt x="110" y="126"/>
                    </a:lnTo>
                    <a:lnTo>
                      <a:pt x="112" y="126"/>
                    </a:lnTo>
                    <a:lnTo>
                      <a:pt x="112" y="126"/>
                    </a:lnTo>
                    <a:lnTo>
                      <a:pt x="114" y="124"/>
                    </a:lnTo>
                    <a:lnTo>
                      <a:pt x="114" y="124"/>
                    </a:lnTo>
                    <a:lnTo>
                      <a:pt x="116" y="122"/>
                    </a:lnTo>
                    <a:lnTo>
                      <a:pt x="118" y="120"/>
                    </a:lnTo>
                    <a:lnTo>
                      <a:pt x="118" y="120"/>
                    </a:lnTo>
                    <a:lnTo>
                      <a:pt x="120" y="120"/>
                    </a:lnTo>
                    <a:lnTo>
                      <a:pt x="122" y="120"/>
                    </a:lnTo>
                    <a:lnTo>
                      <a:pt x="122" y="120"/>
                    </a:lnTo>
                    <a:lnTo>
                      <a:pt x="124" y="120"/>
                    </a:lnTo>
                    <a:lnTo>
                      <a:pt x="126" y="118"/>
                    </a:lnTo>
                    <a:lnTo>
                      <a:pt x="126" y="118"/>
                    </a:lnTo>
                    <a:lnTo>
                      <a:pt x="126" y="116"/>
                    </a:lnTo>
                    <a:lnTo>
                      <a:pt x="126" y="116"/>
                    </a:lnTo>
                    <a:lnTo>
                      <a:pt x="126" y="112"/>
                    </a:lnTo>
                    <a:lnTo>
                      <a:pt x="128" y="110"/>
                    </a:lnTo>
                    <a:lnTo>
                      <a:pt x="128" y="108"/>
                    </a:lnTo>
                    <a:lnTo>
                      <a:pt x="128" y="108"/>
                    </a:lnTo>
                    <a:lnTo>
                      <a:pt x="132" y="106"/>
                    </a:lnTo>
                    <a:lnTo>
                      <a:pt x="132" y="106"/>
                    </a:lnTo>
                    <a:lnTo>
                      <a:pt x="134" y="104"/>
                    </a:lnTo>
                    <a:lnTo>
                      <a:pt x="136" y="100"/>
                    </a:lnTo>
                    <a:lnTo>
                      <a:pt x="136" y="100"/>
                    </a:lnTo>
                    <a:lnTo>
                      <a:pt x="138" y="98"/>
                    </a:lnTo>
                    <a:lnTo>
                      <a:pt x="138" y="96"/>
                    </a:lnTo>
                    <a:lnTo>
                      <a:pt x="138" y="96"/>
                    </a:lnTo>
                    <a:lnTo>
                      <a:pt x="138" y="96"/>
                    </a:lnTo>
                    <a:lnTo>
                      <a:pt x="138" y="94"/>
                    </a:lnTo>
                    <a:lnTo>
                      <a:pt x="138" y="92"/>
                    </a:lnTo>
                    <a:lnTo>
                      <a:pt x="136" y="90"/>
                    </a:lnTo>
                    <a:lnTo>
                      <a:pt x="136" y="90"/>
                    </a:lnTo>
                    <a:lnTo>
                      <a:pt x="134" y="88"/>
                    </a:lnTo>
                    <a:lnTo>
                      <a:pt x="134" y="86"/>
                    </a:lnTo>
                    <a:lnTo>
                      <a:pt x="134" y="82"/>
                    </a:lnTo>
                    <a:lnTo>
                      <a:pt x="134" y="80"/>
                    </a:lnTo>
                    <a:lnTo>
                      <a:pt x="134" y="80"/>
                    </a:lnTo>
                    <a:lnTo>
                      <a:pt x="136" y="78"/>
                    </a:lnTo>
                    <a:lnTo>
                      <a:pt x="136" y="76"/>
                    </a:lnTo>
                    <a:lnTo>
                      <a:pt x="136" y="76"/>
                    </a:lnTo>
                    <a:lnTo>
                      <a:pt x="136" y="74"/>
                    </a:lnTo>
                    <a:lnTo>
                      <a:pt x="138" y="72"/>
                    </a:lnTo>
                    <a:lnTo>
                      <a:pt x="138" y="72"/>
                    </a:lnTo>
                    <a:lnTo>
                      <a:pt x="140" y="68"/>
                    </a:lnTo>
                    <a:lnTo>
                      <a:pt x="142" y="66"/>
                    </a:lnTo>
                    <a:lnTo>
                      <a:pt x="142" y="66"/>
                    </a:lnTo>
                    <a:lnTo>
                      <a:pt x="144" y="64"/>
                    </a:lnTo>
                    <a:lnTo>
                      <a:pt x="146" y="62"/>
                    </a:lnTo>
                    <a:lnTo>
                      <a:pt x="146" y="62"/>
                    </a:lnTo>
                    <a:lnTo>
                      <a:pt x="148" y="60"/>
                    </a:lnTo>
                    <a:lnTo>
                      <a:pt x="150" y="58"/>
                    </a:lnTo>
                    <a:lnTo>
                      <a:pt x="150" y="58"/>
                    </a:lnTo>
                    <a:lnTo>
                      <a:pt x="150" y="56"/>
                    </a:lnTo>
                    <a:lnTo>
                      <a:pt x="150" y="56"/>
                    </a:lnTo>
                    <a:lnTo>
                      <a:pt x="152" y="54"/>
                    </a:lnTo>
                    <a:lnTo>
                      <a:pt x="152" y="54"/>
                    </a:lnTo>
                    <a:lnTo>
                      <a:pt x="154" y="54"/>
                    </a:lnTo>
                    <a:lnTo>
                      <a:pt x="156" y="54"/>
                    </a:lnTo>
                    <a:lnTo>
                      <a:pt x="156" y="54"/>
                    </a:lnTo>
                    <a:lnTo>
                      <a:pt x="158" y="52"/>
                    </a:lnTo>
                    <a:lnTo>
                      <a:pt x="162" y="52"/>
                    </a:lnTo>
                    <a:lnTo>
                      <a:pt x="162" y="52"/>
                    </a:lnTo>
                    <a:lnTo>
                      <a:pt x="168" y="50"/>
                    </a:lnTo>
                    <a:lnTo>
                      <a:pt x="172" y="48"/>
                    </a:lnTo>
                    <a:lnTo>
                      <a:pt x="172" y="48"/>
                    </a:lnTo>
                    <a:lnTo>
                      <a:pt x="176" y="46"/>
                    </a:lnTo>
                    <a:lnTo>
                      <a:pt x="180" y="42"/>
                    </a:lnTo>
                    <a:lnTo>
                      <a:pt x="180" y="42"/>
                    </a:lnTo>
                    <a:lnTo>
                      <a:pt x="180" y="42"/>
                    </a:lnTo>
                    <a:lnTo>
                      <a:pt x="182" y="40"/>
                    </a:lnTo>
                    <a:lnTo>
                      <a:pt x="182" y="38"/>
                    </a:lnTo>
                    <a:lnTo>
                      <a:pt x="182" y="36"/>
                    </a:lnTo>
                    <a:lnTo>
                      <a:pt x="182" y="36"/>
                    </a:lnTo>
                    <a:lnTo>
                      <a:pt x="184" y="32"/>
                    </a:lnTo>
                    <a:lnTo>
                      <a:pt x="184" y="28"/>
                    </a:lnTo>
                    <a:lnTo>
                      <a:pt x="184" y="28"/>
                    </a:lnTo>
                    <a:lnTo>
                      <a:pt x="184" y="26"/>
                    </a:lnTo>
                    <a:lnTo>
                      <a:pt x="184" y="26"/>
                    </a:lnTo>
                    <a:lnTo>
                      <a:pt x="184" y="26"/>
                    </a:lnTo>
                    <a:lnTo>
                      <a:pt x="182" y="24"/>
                    </a:lnTo>
                    <a:lnTo>
                      <a:pt x="182" y="24"/>
                    </a:lnTo>
                    <a:lnTo>
                      <a:pt x="180" y="24"/>
                    </a:lnTo>
                    <a:lnTo>
                      <a:pt x="180" y="24"/>
                    </a:lnTo>
                    <a:lnTo>
                      <a:pt x="180" y="24"/>
                    </a:lnTo>
                    <a:lnTo>
                      <a:pt x="180" y="24"/>
                    </a:lnTo>
                    <a:lnTo>
                      <a:pt x="178" y="24"/>
                    </a:lnTo>
                    <a:lnTo>
                      <a:pt x="174" y="24"/>
                    </a:lnTo>
                    <a:lnTo>
                      <a:pt x="170" y="24"/>
                    </a:lnTo>
                    <a:lnTo>
                      <a:pt x="168" y="24"/>
                    </a:lnTo>
                    <a:lnTo>
                      <a:pt x="162" y="22"/>
                    </a:lnTo>
                    <a:lnTo>
                      <a:pt x="156" y="22"/>
                    </a:lnTo>
                    <a:lnTo>
                      <a:pt x="156" y="22"/>
                    </a:lnTo>
                    <a:lnTo>
                      <a:pt x="156" y="22"/>
                    </a:lnTo>
                    <a:lnTo>
                      <a:pt x="156" y="22"/>
                    </a:lnTo>
                    <a:lnTo>
                      <a:pt x="156" y="2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20" name="Freeform 428"/>
              <p:cNvSpPr>
                <a:spLocks/>
              </p:cNvSpPr>
              <p:nvPr/>
            </p:nvSpPr>
            <p:spPr bwMode="auto">
              <a:xfrm>
                <a:off x="2755" y="2158"/>
                <a:ext cx="14" cy="14"/>
              </a:xfrm>
              <a:custGeom>
                <a:avLst/>
                <a:gdLst>
                  <a:gd name="T0" fmla="*/ 8 w 14"/>
                  <a:gd name="T1" fmla="*/ 4 h 14"/>
                  <a:gd name="T2" fmla="*/ 8 w 14"/>
                  <a:gd name="T3" fmla="*/ 4 h 14"/>
                  <a:gd name="T4" fmla="*/ 6 w 14"/>
                  <a:gd name="T5" fmla="*/ 2 h 14"/>
                  <a:gd name="T6" fmla="*/ 6 w 14"/>
                  <a:gd name="T7" fmla="*/ 2 h 14"/>
                  <a:gd name="T8" fmla="*/ 6 w 14"/>
                  <a:gd name="T9" fmla="*/ 2 h 14"/>
                  <a:gd name="T10" fmla="*/ 4 w 14"/>
                  <a:gd name="T11" fmla="*/ 0 h 14"/>
                  <a:gd name="T12" fmla="*/ 4 w 14"/>
                  <a:gd name="T13" fmla="*/ 0 h 14"/>
                  <a:gd name="T14" fmla="*/ 4 w 14"/>
                  <a:gd name="T15" fmla="*/ 0 h 14"/>
                  <a:gd name="T16" fmla="*/ 4 w 14"/>
                  <a:gd name="T17" fmla="*/ 0 h 14"/>
                  <a:gd name="T18" fmla="*/ 2 w 14"/>
                  <a:gd name="T19" fmla="*/ 2 h 14"/>
                  <a:gd name="T20" fmla="*/ 2 w 14"/>
                  <a:gd name="T21" fmla="*/ 2 h 14"/>
                  <a:gd name="T22" fmla="*/ 0 w 14"/>
                  <a:gd name="T23" fmla="*/ 4 h 14"/>
                  <a:gd name="T24" fmla="*/ 0 w 14"/>
                  <a:gd name="T25" fmla="*/ 6 h 14"/>
                  <a:gd name="T26" fmla="*/ 0 w 14"/>
                  <a:gd name="T27" fmla="*/ 6 h 14"/>
                  <a:gd name="T28" fmla="*/ 0 w 14"/>
                  <a:gd name="T29" fmla="*/ 8 h 14"/>
                  <a:gd name="T30" fmla="*/ 2 w 14"/>
                  <a:gd name="T31" fmla="*/ 10 h 14"/>
                  <a:gd name="T32" fmla="*/ 2 w 14"/>
                  <a:gd name="T33" fmla="*/ 10 h 14"/>
                  <a:gd name="T34" fmla="*/ 2 w 14"/>
                  <a:gd name="T35" fmla="*/ 12 h 14"/>
                  <a:gd name="T36" fmla="*/ 2 w 14"/>
                  <a:gd name="T37" fmla="*/ 14 h 14"/>
                  <a:gd name="T38" fmla="*/ 2 w 14"/>
                  <a:gd name="T39" fmla="*/ 14 h 14"/>
                  <a:gd name="T40" fmla="*/ 4 w 14"/>
                  <a:gd name="T41" fmla="*/ 14 h 14"/>
                  <a:gd name="T42" fmla="*/ 4 w 14"/>
                  <a:gd name="T43" fmla="*/ 14 h 14"/>
                  <a:gd name="T44" fmla="*/ 4 w 14"/>
                  <a:gd name="T45" fmla="*/ 14 h 14"/>
                  <a:gd name="T46" fmla="*/ 6 w 14"/>
                  <a:gd name="T47" fmla="*/ 12 h 14"/>
                  <a:gd name="T48" fmla="*/ 6 w 14"/>
                  <a:gd name="T49" fmla="*/ 12 h 14"/>
                  <a:gd name="T50" fmla="*/ 6 w 14"/>
                  <a:gd name="T51" fmla="*/ 12 h 14"/>
                  <a:gd name="T52" fmla="*/ 8 w 14"/>
                  <a:gd name="T53" fmla="*/ 10 h 14"/>
                  <a:gd name="T54" fmla="*/ 10 w 14"/>
                  <a:gd name="T55" fmla="*/ 10 h 14"/>
                  <a:gd name="T56" fmla="*/ 10 w 14"/>
                  <a:gd name="T57" fmla="*/ 10 h 14"/>
                  <a:gd name="T58" fmla="*/ 10 w 14"/>
                  <a:gd name="T59" fmla="*/ 8 h 14"/>
                  <a:gd name="T60" fmla="*/ 12 w 14"/>
                  <a:gd name="T61" fmla="*/ 8 h 14"/>
                  <a:gd name="T62" fmla="*/ 12 w 14"/>
                  <a:gd name="T63" fmla="*/ 8 h 14"/>
                  <a:gd name="T64" fmla="*/ 14 w 14"/>
                  <a:gd name="T65" fmla="*/ 6 h 14"/>
                  <a:gd name="T66" fmla="*/ 14 w 14"/>
                  <a:gd name="T67" fmla="*/ 6 h 14"/>
                  <a:gd name="T68" fmla="*/ 14 w 14"/>
                  <a:gd name="T69" fmla="*/ 6 h 14"/>
                  <a:gd name="T70" fmla="*/ 14 w 14"/>
                  <a:gd name="T71" fmla="*/ 6 h 14"/>
                  <a:gd name="T72" fmla="*/ 14 w 14"/>
                  <a:gd name="T73" fmla="*/ 4 h 14"/>
                  <a:gd name="T74" fmla="*/ 12 w 14"/>
                  <a:gd name="T75" fmla="*/ 2 h 14"/>
                  <a:gd name="T76" fmla="*/ 12 w 14"/>
                  <a:gd name="T77" fmla="*/ 2 h 14"/>
                  <a:gd name="T78" fmla="*/ 12 w 14"/>
                  <a:gd name="T79" fmla="*/ 2 h 14"/>
                  <a:gd name="T80" fmla="*/ 12 w 14"/>
                  <a:gd name="T81" fmla="*/ 2 h 14"/>
                  <a:gd name="T82" fmla="*/ 10 w 14"/>
                  <a:gd name="T83" fmla="*/ 2 h 14"/>
                  <a:gd name="T84" fmla="*/ 10 w 14"/>
                  <a:gd name="T85" fmla="*/ 2 h 14"/>
                  <a:gd name="T86" fmla="*/ 8 w 14"/>
                  <a:gd name="T87" fmla="*/ 2 h 14"/>
                  <a:gd name="T88" fmla="*/ 8 w 14"/>
                  <a:gd name="T89" fmla="*/ 2 h 14"/>
                  <a:gd name="T90" fmla="*/ 8 w 14"/>
                  <a:gd name="T91" fmla="*/ 4 h 14"/>
                  <a:gd name="T92" fmla="*/ 8 w 14"/>
                  <a:gd name="T93" fmla="*/ 4 h 14"/>
                  <a:gd name="T94" fmla="*/ 8 w 14"/>
                  <a:gd name="T95" fmla="*/ 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4" h="14">
                    <a:moveTo>
                      <a:pt x="8" y="4"/>
                    </a:moveTo>
                    <a:lnTo>
                      <a:pt x="8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0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4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21" name="Freeform 430"/>
              <p:cNvSpPr>
                <a:spLocks/>
              </p:cNvSpPr>
              <p:nvPr/>
            </p:nvSpPr>
            <p:spPr bwMode="auto">
              <a:xfrm>
                <a:off x="2771" y="2152"/>
                <a:ext cx="4" cy="6"/>
              </a:xfrm>
              <a:custGeom>
                <a:avLst/>
                <a:gdLst>
                  <a:gd name="T0" fmla="*/ 0 w 4"/>
                  <a:gd name="T1" fmla="*/ 2 h 6"/>
                  <a:gd name="T2" fmla="*/ 0 w 4"/>
                  <a:gd name="T3" fmla="*/ 2 h 6"/>
                  <a:gd name="T4" fmla="*/ 0 w 4"/>
                  <a:gd name="T5" fmla="*/ 4 h 6"/>
                  <a:gd name="T6" fmla="*/ 2 w 4"/>
                  <a:gd name="T7" fmla="*/ 4 h 6"/>
                  <a:gd name="T8" fmla="*/ 2 w 4"/>
                  <a:gd name="T9" fmla="*/ 4 h 6"/>
                  <a:gd name="T10" fmla="*/ 2 w 4"/>
                  <a:gd name="T11" fmla="*/ 4 h 6"/>
                  <a:gd name="T12" fmla="*/ 2 w 4"/>
                  <a:gd name="T13" fmla="*/ 6 h 6"/>
                  <a:gd name="T14" fmla="*/ 2 w 4"/>
                  <a:gd name="T15" fmla="*/ 6 h 6"/>
                  <a:gd name="T16" fmla="*/ 4 w 4"/>
                  <a:gd name="T17" fmla="*/ 6 h 6"/>
                  <a:gd name="T18" fmla="*/ 4 w 4"/>
                  <a:gd name="T19" fmla="*/ 6 h 6"/>
                  <a:gd name="T20" fmla="*/ 4 w 4"/>
                  <a:gd name="T21" fmla="*/ 4 h 6"/>
                  <a:gd name="T22" fmla="*/ 4 w 4"/>
                  <a:gd name="T23" fmla="*/ 4 h 6"/>
                  <a:gd name="T24" fmla="*/ 4 w 4"/>
                  <a:gd name="T25" fmla="*/ 4 h 6"/>
                  <a:gd name="T26" fmla="*/ 4 w 4"/>
                  <a:gd name="T27" fmla="*/ 2 h 6"/>
                  <a:gd name="T28" fmla="*/ 4 w 4"/>
                  <a:gd name="T29" fmla="*/ 2 h 6"/>
                  <a:gd name="T30" fmla="*/ 2 w 4"/>
                  <a:gd name="T31" fmla="*/ 0 h 6"/>
                  <a:gd name="T32" fmla="*/ 2 w 4"/>
                  <a:gd name="T33" fmla="*/ 0 h 6"/>
                  <a:gd name="T34" fmla="*/ 0 w 4"/>
                  <a:gd name="T35" fmla="*/ 0 h 6"/>
                  <a:gd name="T36" fmla="*/ 0 w 4"/>
                  <a:gd name="T37" fmla="*/ 2 h 6"/>
                  <a:gd name="T38" fmla="*/ 0 w 4"/>
                  <a:gd name="T39" fmla="*/ 2 h 6"/>
                  <a:gd name="T40" fmla="*/ 0 w 4"/>
                  <a:gd name="T41" fmla="*/ 2 h 6"/>
                  <a:gd name="T42" fmla="*/ 0 w 4"/>
                  <a:gd name="T43" fmla="*/ 2 h 6"/>
                  <a:gd name="T44" fmla="*/ 0 w 4"/>
                  <a:gd name="T45" fmla="*/ 2 h 6"/>
                  <a:gd name="T46" fmla="*/ 0 w 4"/>
                  <a:gd name="T47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" h="6">
                    <a:moveTo>
                      <a:pt x="0" y="2"/>
                    </a:moveTo>
                    <a:lnTo>
                      <a:pt x="0" y="2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22" name="Freeform 432"/>
              <p:cNvSpPr>
                <a:spLocks/>
              </p:cNvSpPr>
              <p:nvPr/>
            </p:nvSpPr>
            <p:spPr bwMode="auto">
              <a:xfrm>
                <a:off x="2733" y="2174"/>
                <a:ext cx="4" cy="10"/>
              </a:xfrm>
              <a:custGeom>
                <a:avLst/>
                <a:gdLst>
                  <a:gd name="T0" fmla="*/ 0 w 4"/>
                  <a:gd name="T1" fmla="*/ 0 h 10"/>
                  <a:gd name="T2" fmla="*/ 0 w 4"/>
                  <a:gd name="T3" fmla="*/ 0 h 10"/>
                  <a:gd name="T4" fmla="*/ 0 w 4"/>
                  <a:gd name="T5" fmla="*/ 2 h 10"/>
                  <a:gd name="T6" fmla="*/ 0 w 4"/>
                  <a:gd name="T7" fmla="*/ 2 h 10"/>
                  <a:gd name="T8" fmla="*/ 0 w 4"/>
                  <a:gd name="T9" fmla="*/ 4 h 10"/>
                  <a:gd name="T10" fmla="*/ 0 w 4"/>
                  <a:gd name="T11" fmla="*/ 4 h 10"/>
                  <a:gd name="T12" fmla="*/ 0 w 4"/>
                  <a:gd name="T13" fmla="*/ 6 h 10"/>
                  <a:gd name="T14" fmla="*/ 0 w 4"/>
                  <a:gd name="T15" fmla="*/ 8 h 10"/>
                  <a:gd name="T16" fmla="*/ 2 w 4"/>
                  <a:gd name="T17" fmla="*/ 8 h 10"/>
                  <a:gd name="T18" fmla="*/ 2 w 4"/>
                  <a:gd name="T19" fmla="*/ 8 h 10"/>
                  <a:gd name="T20" fmla="*/ 2 w 4"/>
                  <a:gd name="T21" fmla="*/ 8 h 10"/>
                  <a:gd name="T22" fmla="*/ 2 w 4"/>
                  <a:gd name="T23" fmla="*/ 10 h 10"/>
                  <a:gd name="T24" fmla="*/ 2 w 4"/>
                  <a:gd name="T25" fmla="*/ 10 h 10"/>
                  <a:gd name="T26" fmla="*/ 4 w 4"/>
                  <a:gd name="T27" fmla="*/ 10 h 10"/>
                  <a:gd name="T28" fmla="*/ 4 w 4"/>
                  <a:gd name="T29" fmla="*/ 8 h 10"/>
                  <a:gd name="T30" fmla="*/ 4 w 4"/>
                  <a:gd name="T31" fmla="*/ 6 h 10"/>
                  <a:gd name="T32" fmla="*/ 4 w 4"/>
                  <a:gd name="T33" fmla="*/ 6 h 10"/>
                  <a:gd name="T34" fmla="*/ 4 w 4"/>
                  <a:gd name="T35" fmla="*/ 6 h 10"/>
                  <a:gd name="T36" fmla="*/ 4 w 4"/>
                  <a:gd name="T37" fmla="*/ 6 h 10"/>
                  <a:gd name="T38" fmla="*/ 4 w 4"/>
                  <a:gd name="T39" fmla="*/ 4 h 10"/>
                  <a:gd name="T40" fmla="*/ 4 w 4"/>
                  <a:gd name="T41" fmla="*/ 2 h 10"/>
                  <a:gd name="T42" fmla="*/ 4 w 4"/>
                  <a:gd name="T43" fmla="*/ 2 h 10"/>
                  <a:gd name="T44" fmla="*/ 2 w 4"/>
                  <a:gd name="T45" fmla="*/ 0 h 10"/>
                  <a:gd name="T46" fmla="*/ 2 w 4"/>
                  <a:gd name="T47" fmla="*/ 0 h 10"/>
                  <a:gd name="T48" fmla="*/ 0 w 4"/>
                  <a:gd name="T49" fmla="*/ 0 h 10"/>
                  <a:gd name="T50" fmla="*/ 0 w 4"/>
                  <a:gd name="T51" fmla="*/ 0 h 10"/>
                  <a:gd name="T52" fmla="*/ 0 w 4"/>
                  <a:gd name="T53" fmla="*/ 0 h 10"/>
                  <a:gd name="T54" fmla="*/ 0 w 4"/>
                  <a:gd name="T55" fmla="*/ 0 h 10"/>
                  <a:gd name="T56" fmla="*/ 0 w 4"/>
                  <a:gd name="T57" fmla="*/ 0 h 10"/>
                  <a:gd name="T58" fmla="*/ 0 w 4"/>
                  <a:gd name="T5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4" h="10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4" y="10"/>
                    </a:lnTo>
                    <a:lnTo>
                      <a:pt x="4" y="8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23" name="Freeform 433"/>
              <p:cNvSpPr>
                <a:spLocks/>
              </p:cNvSpPr>
              <p:nvPr/>
            </p:nvSpPr>
            <p:spPr bwMode="auto">
              <a:xfrm>
                <a:off x="2757" y="1934"/>
                <a:ext cx="48" cy="36"/>
              </a:xfrm>
              <a:custGeom>
                <a:avLst/>
                <a:gdLst>
                  <a:gd name="T0" fmla="*/ 46 w 48"/>
                  <a:gd name="T1" fmla="*/ 30 h 36"/>
                  <a:gd name="T2" fmla="*/ 48 w 48"/>
                  <a:gd name="T3" fmla="*/ 26 h 36"/>
                  <a:gd name="T4" fmla="*/ 48 w 48"/>
                  <a:gd name="T5" fmla="*/ 26 h 36"/>
                  <a:gd name="T6" fmla="*/ 48 w 48"/>
                  <a:gd name="T7" fmla="*/ 22 h 36"/>
                  <a:gd name="T8" fmla="*/ 48 w 48"/>
                  <a:gd name="T9" fmla="*/ 18 h 36"/>
                  <a:gd name="T10" fmla="*/ 48 w 48"/>
                  <a:gd name="T11" fmla="*/ 16 h 36"/>
                  <a:gd name="T12" fmla="*/ 46 w 48"/>
                  <a:gd name="T13" fmla="*/ 14 h 36"/>
                  <a:gd name="T14" fmla="*/ 42 w 48"/>
                  <a:gd name="T15" fmla="*/ 10 h 36"/>
                  <a:gd name="T16" fmla="*/ 40 w 48"/>
                  <a:gd name="T17" fmla="*/ 8 h 36"/>
                  <a:gd name="T18" fmla="*/ 38 w 48"/>
                  <a:gd name="T19" fmla="*/ 4 h 36"/>
                  <a:gd name="T20" fmla="*/ 36 w 48"/>
                  <a:gd name="T21" fmla="*/ 2 h 36"/>
                  <a:gd name="T22" fmla="*/ 34 w 48"/>
                  <a:gd name="T23" fmla="*/ 2 h 36"/>
                  <a:gd name="T24" fmla="*/ 26 w 48"/>
                  <a:gd name="T25" fmla="*/ 0 h 36"/>
                  <a:gd name="T26" fmla="*/ 24 w 48"/>
                  <a:gd name="T27" fmla="*/ 0 h 36"/>
                  <a:gd name="T28" fmla="*/ 20 w 48"/>
                  <a:gd name="T29" fmla="*/ 2 h 36"/>
                  <a:gd name="T30" fmla="*/ 18 w 48"/>
                  <a:gd name="T31" fmla="*/ 4 h 36"/>
                  <a:gd name="T32" fmla="*/ 14 w 48"/>
                  <a:gd name="T33" fmla="*/ 4 h 36"/>
                  <a:gd name="T34" fmla="*/ 8 w 48"/>
                  <a:gd name="T35" fmla="*/ 2 h 36"/>
                  <a:gd name="T36" fmla="*/ 6 w 48"/>
                  <a:gd name="T37" fmla="*/ 2 h 36"/>
                  <a:gd name="T38" fmla="*/ 2 w 48"/>
                  <a:gd name="T39" fmla="*/ 0 h 36"/>
                  <a:gd name="T40" fmla="*/ 2 w 48"/>
                  <a:gd name="T41" fmla="*/ 0 h 36"/>
                  <a:gd name="T42" fmla="*/ 0 w 48"/>
                  <a:gd name="T43" fmla="*/ 2 h 36"/>
                  <a:gd name="T44" fmla="*/ 0 w 48"/>
                  <a:gd name="T45" fmla="*/ 2 h 36"/>
                  <a:gd name="T46" fmla="*/ 0 w 48"/>
                  <a:gd name="T47" fmla="*/ 2 h 36"/>
                  <a:gd name="T48" fmla="*/ 2 w 48"/>
                  <a:gd name="T49" fmla="*/ 8 h 36"/>
                  <a:gd name="T50" fmla="*/ 2 w 48"/>
                  <a:gd name="T51" fmla="*/ 12 h 36"/>
                  <a:gd name="T52" fmla="*/ 2 w 48"/>
                  <a:gd name="T53" fmla="*/ 14 h 36"/>
                  <a:gd name="T54" fmla="*/ 4 w 48"/>
                  <a:gd name="T55" fmla="*/ 14 h 36"/>
                  <a:gd name="T56" fmla="*/ 6 w 48"/>
                  <a:gd name="T57" fmla="*/ 16 h 36"/>
                  <a:gd name="T58" fmla="*/ 10 w 48"/>
                  <a:gd name="T59" fmla="*/ 18 h 36"/>
                  <a:gd name="T60" fmla="*/ 14 w 48"/>
                  <a:gd name="T61" fmla="*/ 22 h 36"/>
                  <a:gd name="T62" fmla="*/ 18 w 48"/>
                  <a:gd name="T63" fmla="*/ 24 h 36"/>
                  <a:gd name="T64" fmla="*/ 20 w 48"/>
                  <a:gd name="T65" fmla="*/ 24 h 36"/>
                  <a:gd name="T66" fmla="*/ 22 w 48"/>
                  <a:gd name="T67" fmla="*/ 26 h 36"/>
                  <a:gd name="T68" fmla="*/ 26 w 48"/>
                  <a:gd name="T69" fmla="*/ 28 h 36"/>
                  <a:gd name="T70" fmla="*/ 26 w 48"/>
                  <a:gd name="T71" fmla="*/ 28 h 36"/>
                  <a:gd name="T72" fmla="*/ 30 w 48"/>
                  <a:gd name="T73" fmla="*/ 32 h 36"/>
                  <a:gd name="T74" fmla="*/ 30 w 48"/>
                  <a:gd name="T75" fmla="*/ 32 h 36"/>
                  <a:gd name="T76" fmla="*/ 34 w 48"/>
                  <a:gd name="T77" fmla="*/ 34 h 36"/>
                  <a:gd name="T78" fmla="*/ 36 w 48"/>
                  <a:gd name="T79" fmla="*/ 34 h 36"/>
                  <a:gd name="T80" fmla="*/ 38 w 48"/>
                  <a:gd name="T81" fmla="*/ 36 h 36"/>
                  <a:gd name="T82" fmla="*/ 40 w 48"/>
                  <a:gd name="T83" fmla="*/ 36 h 36"/>
                  <a:gd name="T84" fmla="*/ 42 w 48"/>
                  <a:gd name="T85" fmla="*/ 36 h 36"/>
                  <a:gd name="T86" fmla="*/ 42 w 48"/>
                  <a:gd name="T87" fmla="*/ 34 h 36"/>
                  <a:gd name="T88" fmla="*/ 46 w 48"/>
                  <a:gd name="T89" fmla="*/ 30 h 36"/>
                  <a:gd name="T90" fmla="*/ 46 w 48"/>
                  <a:gd name="T91" fmla="*/ 30 h 36"/>
                  <a:gd name="T92" fmla="*/ 46 w 48"/>
                  <a:gd name="T93" fmla="*/ 3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48" h="36">
                    <a:moveTo>
                      <a:pt x="46" y="30"/>
                    </a:moveTo>
                    <a:lnTo>
                      <a:pt x="46" y="30"/>
                    </a:lnTo>
                    <a:lnTo>
                      <a:pt x="46" y="28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4"/>
                    </a:lnTo>
                    <a:lnTo>
                      <a:pt x="48" y="22"/>
                    </a:lnTo>
                    <a:lnTo>
                      <a:pt x="48" y="20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6"/>
                    </a:lnTo>
                    <a:lnTo>
                      <a:pt x="46" y="16"/>
                    </a:lnTo>
                    <a:lnTo>
                      <a:pt x="46" y="14"/>
                    </a:lnTo>
                    <a:lnTo>
                      <a:pt x="44" y="12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0" y="8"/>
                    </a:lnTo>
                    <a:lnTo>
                      <a:pt x="40" y="6"/>
                    </a:lnTo>
                    <a:lnTo>
                      <a:pt x="38" y="4"/>
                    </a:lnTo>
                    <a:lnTo>
                      <a:pt x="36" y="2"/>
                    </a:lnTo>
                    <a:lnTo>
                      <a:pt x="36" y="2"/>
                    </a:lnTo>
                    <a:lnTo>
                      <a:pt x="36" y="2"/>
                    </a:lnTo>
                    <a:lnTo>
                      <a:pt x="34" y="2"/>
                    </a:lnTo>
                    <a:lnTo>
                      <a:pt x="3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4" y="0"/>
                    </a:lnTo>
                    <a:lnTo>
                      <a:pt x="22" y="2"/>
                    </a:lnTo>
                    <a:lnTo>
                      <a:pt x="20" y="2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6" y="4"/>
                    </a:lnTo>
                    <a:lnTo>
                      <a:pt x="14" y="4"/>
                    </a:lnTo>
                    <a:lnTo>
                      <a:pt x="12" y="2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6" y="22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20" y="24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8" y="30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2" y="32"/>
                    </a:lnTo>
                    <a:lnTo>
                      <a:pt x="34" y="34"/>
                    </a:lnTo>
                    <a:lnTo>
                      <a:pt x="34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40" y="36"/>
                    </a:lnTo>
                    <a:lnTo>
                      <a:pt x="42" y="36"/>
                    </a:lnTo>
                    <a:lnTo>
                      <a:pt x="42" y="36"/>
                    </a:lnTo>
                    <a:lnTo>
                      <a:pt x="42" y="34"/>
                    </a:lnTo>
                    <a:lnTo>
                      <a:pt x="42" y="34"/>
                    </a:lnTo>
                    <a:lnTo>
                      <a:pt x="44" y="32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24" name="Freeform 435"/>
              <p:cNvSpPr>
                <a:spLocks/>
              </p:cNvSpPr>
              <p:nvPr/>
            </p:nvSpPr>
            <p:spPr bwMode="auto">
              <a:xfrm>
                <a:off x="2799" y="1962"/>
                <a:ext cx="8" cy="12"/>
              </a:xfrm>
              <a:custGeom>
                <a:avLst/>
                <a:gdLst>
                  <a:gd name="T0" fmla="*/ 8 w 8"/>
                  <a:gd name="T1" fmla="*/ 6 h 12"/>
                  <a:gd name="T2" fmla="*/ 8 w 8"/>
                  <a:gd name="T3" fmla="*/ 6 h 12"/>
                  <a:gd name="T4" fmla="*/ 8 w 8"/>
                  <a:gd name="T5" fmla="*/ 4 h 12"/>
                  <a:gd name="T6" fmla="*/ 8 w 8"/>
                  <a:gd name="T7" fmla="*/ 4 h 12"/>
                  <a:gd name="T8" fmla="*/ 8 w 8"/>
                  <a:gd name="T9" fmla="*/ 4 h 12"/>
                  <a:gd name="T10" fmla="*/ 8 w 8"/>
                  <a:gd name="T11" fmla="*/ 2 h 12"/>
                  <a:gd name="T12" fmla="*/ 6 w 8"/>
                  <a:gd name="T13" fmla="*/ 2 h 12"/>
                  <a:gd name="T14" fmla="*/ 4 w 8"/>
                  <a:gd name="T15" fmla="*/ 0 h 12"/>
                  <a:gd name="T16" fmla="*/ 4 w 8"/>
                  <a:gd name="T17" fmla="*/ 0 h 12"/>
                  <a:gd name="T18" fmla="*/ 4 w 8"/>
                  <a:gd name="T19" fmla="*/ 0 h 12"/>
                  <a:gd name="T20" fmla="*/ 4 w 8"/>
                  <a:gd name="T21" fmla="*/ 2 h 12"/>
                  <a:gd name="T22" fmla="*/ 4 w 8"/>
                  <a:gd name="T23" fmla="*/ 2 h 12"/>
                  <a:gd name="T24" fmla="*/ 2 w 8"/>
                  <a:gd name="T25" fmla="*/ 4 h 12"/>
                  <a:gd name="T26" fmla="*/ 0 w 8"/>
                  <a:gd name="T27" fmla="*/ 6 h 12"/>
                  <a:gd name="T28" fmla="*/ 0 w 8"/>
                  <a:gd name="T29" fmla="*/ 6 h 12"/>
                  <a:gd name="T30" fmla="*/ 0 w 8"/>
                  <a:gd name="T31" fmla="*/ 8 h 12"/>
                  <a:gd name="T32" fmla="*/ 0 w 8"/>
                  <a:gd name="T33" fmla="*/ 8 h 12"/>
                  <a:gd name="T34" fmla="*/ 2 w 8"/>
                  <a:gd name="T35" fmla="*/ 8 h 12"/>
                  <a:gd name="T36" fmla="*/ 2 w 8"/>
                  <a:gd name="T37" fmla="*/ 8 h 12"/>
                  <a:gd name="T38" fmla="*/ 4 w 8"/>
                  <a:gd name="T39" fmla="*/ 10 h 12"/>
                  <a:gd name="T40" fmla="*/ 4 w 8"/>
                  <a:gd name="T41" fmla="*/ 12 h 12"/>
                  <a:gd name="T42" fmla="*/ 4 w 8"/>
                  <a:gd name="T43" fmla="*/ 12 h 12"/>
                  <a:gd name="T44" fmla="*/ 6 w 8"/>
                  <a:gd name="T45" fmla="*/ 12 h 12"/>
                  <a:gd name="T46" fmla="*/ 8 w 8"/>
                  <a:gd name="T47" fmla="*/ 12 h 12"/>
                  <a:gd name="T48" fmla="*/ 8 w 8"/>
                  <a:gd name="T49" fmla="*/ 12 h 12"/>
                  <a:gd name="T50" fmla="*/ 8 w 8"/>
                  <a:gd name="T51" fmla="*/ 10 h 12"/>
                  <a:gd name="T52" fmla="*/ 8 w 8"/>
                  <a:gd name="T53" fmla="*/ 10 h 12"/>
                  <a:gd name="T54" fmla="*/ 8 w 8"/>
                  <a:gd name="T55" fmla="*/ 8 h 12"/>
                  <a:gd name="T56" fmla="*/ 8 w 8"/>
                  <a:gd name="T57" fmla="*/ 6 h 12"/>
                  <a:gd name="T58" fmla="*/ 8 w 8"/>
                  <a:gd name="T59" fmla="*/ 6 h 12"/>
                  <a:gd name="T60" fmla="*/ 8 w 8"/>
                  <a:gd name="T61" fmla="*/ 6 h 12"/>
                  <a:gd name="T62" fmla="*/ 8 w 8"/>
                  <a:gd name="T63" fmla="*/ 6 h 12"/>
                  <a:gd name="T64" fmla="*/ 8 w 8"/>
                  <a:gd name="T65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8" h="12">
                    <a:moveTo>
                      <a:pt x="8" y="6"/>
                    </a:moveTo>
                    <a:lnTo>
                      <a:pt x="8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25" name="Freeform 436"/>
              <p:cNvSpPr>
                <a:spLocks/>
              </p:cNvSpPr>
              <p:nvPr/>
            </p:nvSpPr>
            <p:spPr bwMode="auto">
              <a:xfrm>
                <a:off x="2799" y="1962"/>
                <a:ext cx="8" cy="12"/>
              </a:xfrm>
              <a:custGeom>
                <a:avLst/>
                <a:gdLst>
                  <a:gd name="T0" fmla="*/ 8 w 8"/>
                  <a:gd name="T1" fmla="*/ 6 h 12"/>
                  <a:gd name="T2" fmla="*/ 8 w 8"/>
                  <a:gd name="T3" fmla="*/ 6 h 12"/>
                  <a:gd name="T4" fmla="*/ 8 w 8"/>
                  <a:gd name="T5" fmla="*/ 4 h 12"/>
                  <a:gd name="T6" fmla="*/ 8 w 8"/>
                  <a:gd name="T7" fmla="*/ 4 h 12"/>
                  <a:gd name="T8" fmla="*/ 8 w 8"/>
                  <a:gd name="T9" fmla="*/ 4 h 12"/>
                  <a:gd name="T10" fmla="*/ 8 w 8"/>
                  <a:gd name="T11" fmla="*/ 2 h 12"/>
                  <a:gd name="T12" fmla="*/ 6 w 8"/>
                  <a:gd name="T13" fmla="*/ 2 h 12"/>
                  <a:gd name="T14" fmla="*/ 4 w 8"/>
                  <a:gd name="T15" fmla="*/ 0 h 12"/>
                  <a:gd name="T16" fmla="*/ 4 w 8"/>
                  <a:gd name="T17" fmla="*/ 0 h 12"/>
                  <a:gd name="T18" fmla="*/ 4 w 8"/>
                  <a:gd name="T19" fmla="*/ 0 h 12"/>
                  <a:gd name="T20" fmla="*/ 4 w 8"/>
                  <a:gd name="T21" fmla="*/ 2 h 12"/>
                  <a:gd name="T22" fmla="*/ 4 w 8"/>
                  <a:gd name="T23" fmla="*/ 2 h 12"/>
                  <a:gd name="T24" fmla="*/ 2 w 8"/>
                  <a:gd name="T25" fmla="*/ 4 h 12"/>
                  <a:gd name="T26" fmla="*/ 0 w 8"/>
                  <a:gd name="T27" fmla="*/ 6 h 12"/>
                  <a:gd name="T28" fmla="*/ 0 w 8"/>
                  <a:gd name="T29" fmla="*/ 6 h 12"/>
                  <a:gd name="T30" fmla="*/ 0 w 8"/>
                  <a:gd name="T31" fmla="*/ 8 h 12"/>
                  <a:gd name="T32" fmla="*/ 0 w 8"/>
                  <a:gd name="T33" fmla="*/ 8 h 12"/>
                  <a:gd name="T34" fmla="*/ 2 w 8"/>
                  <a:gd name="T35" fmla="*/ 8 h 12"/>
                  <a:gd name="T36" fmla="*/ 2 w 8"/>
                  <a:gd name="T37" fmla="*/ 8 h 12"/>
                  <a:gd name="T38" fmla="*/ 4 w 8"/>
                  <a:gd name="T39" fmla="*/ 10 h 12"/>
                  <a:gd name="T40" fmla="*/ 4 w 8"/>
                  <a:gd name="T41" fmla="*/ 12 h 12"/>
                  <a:gd name="T42" fmla="*/ 4 w 8"/>
                  <a:gd name="T43" fmla="*/ 12 h 12"/>
                  <a:gd name="T44" fmla="*/ 6 w 8"/>
                  <a:gd name="T45" fmla="*/ 12 h 12"/>
                  <a:gd name="T46" fmla="*/ 8 w 8"/>
                  <a:gd name="T47" fmla="*/ 12 h 12"/>
                  <a:gd name="T48" fmla="*/ 8 w 8"/>
                  <a:gd name="T49" fmla="*/ 12 h 12"/>
                  <a:gd name="T50" fmla="*/ 8 w 8"/>
                  <a:gd name="T51" fmla="*/ 10 h 12"/>
                  <a:gd name="T52" fmla="*/ 8 w 8"/>
                  <a:gd name="T53" fmla="*/ 10 h 12"/>
                  <a:gd name="T54" fmla="*/ 8 w 8"/>
                  <a:gd name="T55" fmla="*/ 8 h 12"/>
                  <a:gd name="T56" fmla="*/ 8 w 8"/>
                  <a:gd name="T57" fmla="*/ 6 h 12"/>
                  <a:gd name="T58" fmla="*/ 8 w 8"/>
                  <a:gd name="T59" fmla="*/ 6 h 12"/>
                  <a:gd name="T60" fmla="*/ 8 w 8"/>
                  <a:gd name="T61" fmla="*/ 6 h 12"/>
                  <a:gd name="T62" fmla="*/ 8 w 8"/>
                  <a:gd name="T63" fmla="*/ 6 h 12"/>
                  <a:gd name="T64" fmla="*/ 8 w 8"/>
                  <a:gd name="T65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8" h="12">
                    <a:moveTo>
                      <a:pt x="8" y="6"/>
                    </a:moveTo>
                    <a:lnTo>
                      <a:pt x="8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26" name="Freeform 437"/>
              <p:cNvSpPr>
                <a:spLocks/>
              </p:cNvSpPr>
              <p:nvPr/>
            </p:nvSpPr>
            <p:spPr bwMode="auto">
              <a:xfrm>
                <a:off x="2759" y="1886"/>
                <a:ext cx="54" cy="62"/>
              </a:xfrm>
              <a:custGeom>
                <a:avLst/>
                <a:gdLst>
                  <a:gd name="T0" fmla="*/ 44 w 54"/>
                  <a:gd name="T1" fmla="*/ 54 h 62"/>
                  <a:gd name="T2" fmla="*/ 42 w 54"/>
                  <a:gd name="T3" fmla="*/ 48 h 62"/>
                  <a:gd name="T4" fmla="*/ 44 w 54"/>
                  <a:gd name="T5" fmla="*/ 42 h 62"/>
                  <a:gd name="T6" fmla="*/ 46 w 54"/>
                  <a:gd name="T7" fmla="*/ 40 h 62"/>
                  <a:gd name="T8" fmla="*/ 46 w 54"/>
                  <a:gd name="T9" fmla="*/ 36 h 62"/>
                  <a:gd name="T10" fmla="*/ 48 w 54"/>
                  <a:gd name="T11" fmla="*/ 32 h 62"/>
                  <a:gd name="T12" fmla="*/ 50 w 54"/>
                  <a:gd name="T13" fmla="*/ 30 h 62"/>
                  <a:gd name="T14" fmla="*/ 54 w 54"/>
                  <a:gd name="T15" fmla="*/ 26 h 62"/>
                  <a:gd name="T16" fmla="*/ 54 w 54"/>
                  <a:gd name="T17" fmla="*/ 18 h 62"/>
                  <a:gd name="T18" fmla="*/ 54 w 54"/>
                  <a:gd name="T19" fmla="*/ 12 h 62"/>
                  <a:gd name="T20" fmla="*/ 52 w 54"/>
                  <a:gd name="T21" fmla="*/ 2 h 62"/>
                  <a:gd name="T22" fmla="*/ 52 w 54"/>
                  <a:gd name="T23" fmla="*/ 0 h 62"/>
                  <a:gd name="T24" fmla="*/ 50 w 54"/>
                  <a:gd name="T25" fmla="*/ 2 h 62"/>
                  <a:gd name="T26" fmla="*/ 48 w 54"/>
                  <a:gd name="T27" fmla="*/ 6 h 62"/>
                  <a:gd name="T28" fmla="*/ 48 w 54"/>
                  <a:gd name="T29" fmla="*/ 6 h 62"/>
                  <a:gd name="T30" fmla="*/ 44 w 54"/>
                  <a:gd name="T31" fmla="*/ 6 h 62"/>
                  <a:gd name="T32" fmla="*/ 40 w 54"/>
                  <a:gd name="T33" fmla="*/ 6 h 62"/>
                  <a:gd name="T34" fmla="*/ 36 w 54"/>
                  <a:gd name="T35" fmla="*/ 6 h 62"/>
                  <a:gd name="T36" fmla="*/ 30 w 54"/>
                  <a:gd name="T37" fmla="*/ 8 h 62"/>
                  <a:gd name="T38" fmla="*/ 26 w 54"/>
                  <a:gd name="T39" fmla="*/ 12 h 62"/>
                  <a:gd name="T40" fmla="*/ 26 w 54"/>
                  <a:gd name="T41" fmla="*/ 16 h 62"/>
                  <a:gd name="T42" fmla="*/ 26 w 54"/>
                  <a:gd name="T43" fmla="*/ 20 h 62"/>
                  <a:gd name="T44" fmla="*/ 30 w 54"/>
                  <a:gd name="T45" fmla="*/ 22 h 62"/>
                  <a:gd name="T46" fmla="*/ 30 w 54"/>
                  <a:gd name="T47" fmla="*/ 28 h 62"/>
                  <a:gd name="T48" fmla="*/ 28 w 54"/>
                  <a:gd name="T49" fmla="*/ 28 h 62"/>
                  <a:gd name="T50" fmla="*/ 28 w 54"/>
                  <a:gd name="T51" fmla="*/ 28 h 62"/>
                  <a:gd name="T52" fmla="*/ 26 w 54"/>
                  <a:gd name="T53" fmla="*/ 26 h 62"/>
                  <a:gd name="T54" fmla="*/ 24 w 54"/>
                  <a:gd name="T55" fmla="*/ 24 h 62"/>
                  <a:gd name="T56" fmla="*/ 22 w 54"/>
                  <a:gd name="T57" fmla="*/ 22 h 62"/>
                  <a:gd name="T58" fmla="*/ 20 w 54"/>
                  <a:gd name="T59" fmla="*/ 20 h 62"/>
                  <a:gd name="T60" fmla="*/ 18 w 54"/>
                  <a:gd name="T61" fmla="*/ 20 h 62"/>
                  <a:gd name="T62" fmla="*/ 16 w 54"/>
                  <a:gd name="T63" fmla="*/ 24 h 62"/>
                  <a:gd name="T64" fmla="*/ 14 w 54"/>
                  <a:gd name="T65" fmla="*/ 28 h 62"/>
                  <a:gd name="T66" fmla="*/ 12 w 54"/>
                  <a:gd name="T67" fmla="*/ 32 h 62"/>
                  <a:gd name="T68" fmla="*/ 8 w 54"/>
                  <a:gd name="T69" fmla="*/ 34 h 62"/>
                  <a:gd name="T70" fmla="*/ 4 w 54"/>
                  <a:gd name="T71" fmla="*/ 42 h 62"/>
                  <a:gd name="T72" fmla="*/ 0 w 54"/>
                  <a:gd name="T73" fmla="*/ 44 h 62"/>
                  <a:gd name="T74" fmla="*/ 0 w 54"/>
                  <a:gd name="T75" fmla="*/ 48 h 62"/>
                  <a:gd name="T76" fmla="*/ 4 w 54"/>
                  <a:gd name="T77" fmla="*/ 50 h 62"/>
                  <a:gd name="T78" fmla="*/ 10 w 54"/>
                  <a:gd name="T79" fmla="*/ 50 h 62"/>
                  <a:gd name="T80" fmla="*/ 16 w 54"/>
                  <a:gd name="T81" fmla="*/ 52 h 62"/>
                  <a:gd name="T82" fmla="*/ 20 w 54"/>
                  <a:gd name="T83" fmla="*/ 50 h 62"/>
                  <a:gd name="T84" fmla="*/ 24 w 54"/>
                  <a:gd name="T85" fmla="*/ 48 h 62"/>
                  <a:gd name="T86" fmla="*/ 34 w 54"/>
                  <a:gd name="T87" fmla="*/ 50 h 62"/>
                  <a:gd name="T88" fmla="*/ 36 w 54"/>
                  <a:gd name="T89" fmla="*/ 52 h 62"/>
                  <a:gd name="T90" fmla="*/ 40 w 54"/>
                  <a:gd name="T91" fmla="*/ 58 h 62"/>
                  <a:gd name="T92" fmla="*/ 44 w 54"/>
                  <a:gd name="T93" fmla="*/ 62 h 62"/>
                  <a:gd name="T94" fmla="*/ 44 w 54"/>
                  <a:gd name="T95" fmla="*/ 62 h 62"/>
                  <a:gd name="T96" fmla="*/ 44 w 54"/>
                  <a:gd name="T97" fmla="*/ 58 h 62"/>
                  <a:gd name="T98" fmla="*/ 44 w 54"/>
                  <a:gd name="T99" fmla="*/ 58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54" h="62">
                    <a:moveTo>
                      <a:pt x="44" y="58"/>
                    </a:moveTo>
                    <a:lnTo>
                      <a:pt x="44" y="58"/>
                    </a:lnTo>
                    <a:lnTo>
                      <a:pt x="44" y="54"/>
                    </a:lnTo>
                    <a:lnTo>
                      <a:pt x="44" y="50"/>
                    </a:lnTo>
                    <a:lnTo>
                      <a:pt x="44" y="50"/>
                    </a:lnTo>
                    <a:lnTo>
                      <a:pt x="42" y="48"/>
                    </a:lnTo>
                    <a:lnTo>
                      <a:pt x="42" y="46"/>
                    </a:lnTo>
                    <a:lnTo>
                      <a:pt x="42" y="44"/>
                    </a:lnTo>
                    <a:lnTo>
                      <a:pt x="44" y="42"/>
                    </a:lnTo>
                    <a:lnTo>
                      <a:pt x="44" y="42"/>
                    </a:lnTo>
                    <a:lnTo>
                      <a:pt x="44" y="40"/>
                    </a:lnTo>
                    <a:lnTo>
                      <a:pt x="46" y="40"/>
                    </a:lnTo>
                    <a:lnTo>
                      <a:pt x="46" y="38"/>
                    </a:lnTo>
                    <a:lnTo>
                      <a:pt x="46" y="38"/>
                    </a:lnTo>
                    <a:lnTo>
                      <a:pt x="46" y="36"/>
                    </a:lnTo>
                    <a:lnTo>
                      <a:pt x="46" y="34"/>
                    </a:lnTo>
                    <a:lnTo>
                      <a:pt x="46" y="34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50" y="30"/>
                    </a:lnTo>
                    <a:lnTo>
                      <a:pt x="52" y="28"/>
                    </a:lnTo>
                    <a:lnTo>
                      <a:pt x="52" y="28"/>
                    </a:lnTo>
                    <a:lnTo>
                      <a:pt x="54" y="26"/>
                    </a:lnTo>
                    <a:lnTo>
                      <a:pt x="54" y="22"/>
                    </a:lnTo>
                    <a:lnTo>
                      <a:pt x="54" y="20"/>
                    </a:lnTo>
                    <a:lnTo>
                      <a:pt x="54" y="18"/>
                    </a:lnTo>
                    <a:lnTo>
                      <a:pt x="54" y="18"/>
                    </a:lnTo>
                    <a:lnTo>
                      <a:pt x="54" y="16"/>
                    </a:lnTo>
                    <a:lnTo>
                      <a:pt x="54" y="12"/>
                    </a:lnTo>
                    <a:lnTo>
                      <a:pt x="54" y="8"/>
                    </a:lnTo>
                    <a:lnTo>
                      <a:pt x="52" y="4"/>
                    </a:lnTo>
                    <a:lnTo>
                      <a:pt x="52" y="2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48" y="6"/>
                    </a:lnTo>
                    <a:lnTo>
                      <a:pt x="48" y="6"/>
                    </a:lnTo>
                    <a:lnTo>
                      <a:pt x="48" y="6"/>
                    </a:lnTo>
                    <a:lnTo>
                      <a:pt x="48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4" y="6"/>
                    </a:lnTo>
                    <a:lnTo>
                      <a:pt x="44" y="6"/>
                    </a:lnTo>
                    <a:lnTo>
                      <a:pt x="42" y="6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28" y="10"/>
                    </a:lnTo>
                    <a:lnTo>
                      <a:pt x="26" y="12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8"/>
                    </a:lnTo>
                    <a:lnTo>
                      <a:pt x="26" y="20"/>
                    </a:lnTo>
                    <a:lnTo>
                      <a:pt x="28" y="20"/>
                    </a:lnTo>
                    <a:lnTo>
                      <a:pt x="28" y="20"/>
                    </a:lnTo>
                    <a:lnTo>
                      <a:pt x="30" y="22"/>
                    </a:lnTo>
                    <a:lnTo>
                      <a:pt x="30" y="24"/>
                    </a:lnTo>
                    <a:lnTo>
                      <a:pt x="30" y="26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28" y="28"/>
                    </a:lnTo>
                    <a:lnTo>
                      <a:pt x="28" y="30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2"/>
                    </a:lnTo>
                    <a:lnTo>
                      <a:pt x="16" y="24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2"/>
                    </a:lnTo>
                    <a:lnTo>
                      <a:pt x="10" y="32"/>
                    </a:lnTo>
                    <a:lnTo>
                      <a:pt x="10" y="32"/>
                    </a:lnTo>
                    <a:lnTo>
                      <a:pt x="8" y="34"/>
                    </a:lnTo>
                    <a:lnTo>
                      <a:pt x="6" y="38"/>
                    </a:lnTo>
                    <a:lnTo>
                      <a:pt x="6" y="40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2" y="44"/>
                    </a:lnTo>
                    <a:lnTo>
                      <a:pt x="0" y="44"/>
                    </a:lnTo>
                    <a:lnTo>
                      <a:pt x="0" y="46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2" y="48"/>
                    </a:lnTo>
                    <a:lnTo>
                      <a:pt x="4" y="50"/>
                    </a:lnTo>
                    <a:lnTo>
                      <a:pt x="6" y="50"/>
                    </a:lnTo>
                    <a:lnTo>
                      <a:pt x="6" y="50"/>
                    </a:lnTo>
                    <a:lnTo>
                      <a:pt x="10" y="50"/>
                    </a:lnTo>
                    <a:lnTo>
                      <a:pt x="12" y="52"/>
                    </a:lnTo>
                    <a:lnTo>
                      <a:pt x="14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8" y="50"/>
                    </a:lnTo>
                    <a:lnTo>
                      <a:pt x="20" y="50"/>
                    </a:lnTo>
                    <a:lnTo>
                      <a:pt x="22" y="48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30" y="48"/>
                    </a:lnTo>
                    <a:lnTo>
                      <a:pt x="32" y="50"/>
                    </a:lnTo>
                    <a:lnTo>
                      <a:pt x="34" y="50"/>
                    </a:lnTo>
                    <a:lnTo>
                      <a:pt x="34" y="50"/>
                    </a:lnTo>
                    <a:lnTo>
                      <a:pt x="34" y="50"/>
                    </a:lnTo>
                    <a:lnTo>
                      <a:pt x="36" y="52"/>
                    </a:lnTo>
                    <a:lnTo>
                      <a:pt x="38" y="54"/>
                    </a:lnTo>
                    <a:lnTo>
                      <a:pt x="38" y="56"/>
                    </a:lnTo>
                    <a:lnTo>
                      <a:pt x="40" y="58"/>
                    </a:lnTo>
                    <a:lnTo>
                      <a:pt x="40" y="58"/>
                    </a:lnTo>
                    <a:lnTo>
                      <a:pt x="42" y="60"/>
                    </a:lnTo>
                    <a:lnTo>
                      <a:pt x="44" y="62"/>
                    </a:lnTo>
                    <a:lnTo>
                      <a:pt x="44" y="62"/>
                    </a:lnTo>
                    <a:lnTo>
                      <a:pt x="44" y="62"/>
                    </a:lnTo>
                    <a:lnTo>
                      <a:pt x="44" y="62"/>
                    </a:lnTo>
                    <a:lnTo>
                      <a:pt x="44" y="60"/>
                    </a:lnTo>
                    <a:lnTo>
                      <a:pt x="44" y="58"/>
                    </a:lnTo>
                    <a:lnTo>
                      <a:pt x="44" y="58"/>
                    </a:lnTo>
                    <a:lnTo>
                      <a:pt x="44" y="58"/>
                    </a:lnTo>
                    <a:lnTo>
                      <a:pt x="44" y="58"/>
                    </a:lnTo>
                    <a:lnTo>
                      <a:pt x="44" y="58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27" name="Freeform 439"/>
              <p:cNvSpPr>
                <a:spLocks/>
              </p:cNvSpPr>
              <p:nvPr/>
            </p:nvSpPr>
            <p:spPr bwMode="auto">
              <a:xfrm>
                <a:off x="2801" y="1860"/>
                <a:ext cx="128" cy="154"/>
              </a:xfrm>
              <a:custGeom>
                <a:avLst/>
                <a:gdLst>
                  <a:gd name="T0" fmla="*/ 30 w 128"/>
                  <a:gd name="T1" fmla="*/ 148 h 154"/>
                  <a:gd name="T2" fmla="*/ 34 w 128"/>
                  <a:gd name="T3" fmla="*/ 146 h 154"/>
                  <a:gd name="T4" fmla="*/ 52 w 128"/>
                  <a:gd name="T5" fmla="*/ 154 h 154"/>
                  <a:gd name="T6" fmla="*/ 56 w 128"/>
                  <a:gd name="T7" fmla="*/ 150 h 154"/>
                  <a:gd name="T8" fmla="*/ 64 w 128"/>
                  <a:gd name="T9" fmla="*/ 148 h 154"/>
                  <a:gd name="T10" fmla="*/ 80 w 128"/>
                  <a:gd name="T11" fmla="*/ 144 h 154"/>
                  <a:gd name="T12" fmla="*/ 88 w 128"/>
                  <a:gd name="T13" fmla="*/ 142 h 154"/>
                  <a:gd name="T14" fmla="*/ 98 w 128"/>
                  <a:gd name="T15" fmla="*/ 144 h 154"/>
                  <a:gd name="T16" fmla="*/ 104 w 128"/>
                  <a:gd name="T17" fmla="*/ 138 h 154"/>
                  <a:gd name="T18" fmla="*/ 106 w 128"/>
                  <a:gd name="T19" fmla="*/ 128 h 154"/>
                  <a:gd name="T20" fmla="*/ 110 w 128"/>
                  <a:gd name="T21" fmla="*/ 120 h 154"/>
                  <a:gd name="T22" fmla="*/ 100 w 128"/>
                  <a:gd name="T23" fmla="*/ 112 h 154"/>
                  <a:gd name="T24" fmla="*/ 94 w 128"/>
                  <a:gd name="T25" fmla="*/ 100 h 154"/>
                  <a:gd name="T26" fmla="*/ 88 w 128"/>
                  <a:gd name="T27" fmla="*/ 94 h 154"/>
                  <a:gd name="T28" fmla="*/ 96 w 128"/>
                  <a:gd name="T29" fmla="*/ 90 h 154"/>
                  <a:gd name="T30" fmla="*/ 100 w 128"/>
                  <a:gd name="T31" fmla="*/ 84 h 154"/>
                  <a:gd name="T32" fmla="*/ 108 w 128"/>
                  <a:gd name="T33" fmla="*/ 84 h 154"/>
                  <a:gd name="T34" fmla="*/ 118 w 128"/>
                  <a:gd name="T35" fmla="*/ 78 h 154"/>
                  <a:gd name="T36" fmla="*/ 128 w 128"/>
                  <a:gd name="T37" fmla="*/ 76 h 154"/>
                  <a:gd name="T38" fmla="*/ 122 w 128"/>
                  <a:gd name="T39" fmla="*/ 62 h 154"/>
                  <a:gd name="T40" fmla="*/ 116 w 128"/>
                  <a:gd name="T41" fmla="*/ 48 h 154"/>
                  <a:gd name="T42" fmla="*/ 112 w 128"/>
                  <a:gd name="T43" fmla="*/ 40 h 154"/>
                  <a:gd name="T44" fmla="*/ 112 w 128"/>
                  <a:gd name="T45" fmla="*/ 30 h 154"/>
                  <a:gd name="T46" fmla="*/ 114 w 128"/>
                  <a:gd name="T47" fmla="*/ 18 h 154"/>
                  <a:gd name="T48" fmla="*/ 104 w 128"/>
                  <a:gd name="T49" fmla="*/ 14 h 154"/>
                  <a:gd name="T50" fmla="*/ 92 w 128"/>
                  <a:gd name="T51" fmla="*/ 10 h 154"/>
                  <a:gd name="T52" fmla="*/ 86 w 128"/>
                  <a:gd name="T53" fmla="*/ 6 h 154"/>
                  <a:gd name="T54" fmla="*/ 80 w 128"/>
                  <a:gd name="T55" fmla="*/ 8 h 154"/>
                  <a:gd name="T56" fmla="*/ 68 w 128"/>
                  <a:gd name="T57" fmla="*/ 12 h 154"/>
                  <a:gd name="T58" fmla="*/ 62 w 128"/>
                  <a:gd name="T59" fmla="*/ 8 h 154"/>
                  <a:gd name="T60" fmla="*/ 56 w 128"/>
                  <a:gd name="T61" fmla="*/ 6 h 154"/>
                  <a:gd name="T62" fmla="*/ 52 w 128"/>
                  <a:gd name="T63" fmla="*/ 0 h 154"/>
                  <a:gd name="T64" fmla="*/ 42 w 128"/>
                  <a:gd name="T65" fmla="*/ 6 h 154"/>
                  <a:gd name="T66" fmla="*/ 30 w 128"/>
                  <a:gd name="T67" fmla="*/ 4 h 154"/>
                  <a:gd name="T68" fmla="*/ 32 w 128"/>
                  <a:gd name="T69" fmla="*/ 12 h 154"/>
                  <a:gd name="T70" fmla="*/ 32 w 128"/>
                  <a:gd name="T71" fmla="*/ 20 h 154"/>
                  <a:gd name="T72" fmla="*/ 26 w 128"/>
                  <a:gd name="T73" fmla="*/ 26 h 154"/>
                  <a:gd name="T74" fmla="*/ 20 w 128"/>
                  <a:gd name="T75" fmla="*/ 22 h 154"/>
                  <a:gd name="T76" fmla="*/ 12 w 128"/>
                  <a:gd name="T77" fmla="*/ 26 h 154"/>
                  <a:gd name="T78" fmla="*/ 12 w 128"/>
                  <a:gd name="T79" fmla="*/ 44 h 154"/>
                  <a:gd name="T80" fmla="*/ 10 w 128"/>
                  <a:gd name="T81" fmla="*/ 54 h 154"/>
                  <a:gd name="T82" fmla="*/ 4 w 128"/>
                  <a:gd name="T83" fmla="*/ 60 h 154"/>
                  <a:gd name="T84" fmla="*/ 2 w 128"/>
                  <a:gd name="T85" fmla="*/ 68 h 154"/>
                  <a:gd name="T86" fmla="*/ 2 w 128"/>
                  <a:gd name="T87" fmla="*/ 76 h 154"/>
                  <a:gd name="T88" fmla="*/ 2 w 128"/>
                  <a:gd name="T89" fmla="*/ 88 h 154"/>
                  <a:gd name="T90" fmla="*/ 4 w 128"/>
                  <a:gd name="T91" fmla="*/ 94 h 154"/>
                  <a:gd name="T92" fmla="*/ 2 w 128"/>
                  <a:gd name="T93" fmla="*/ 102 h 154"/>
                  <a:gd name="T94" fmla="*/ 6 w 128"/>
                  <a:gd name="T95" fmla="*/ 106 h 154"/>
                  <a:gd name="T96" fmla="*/ 6 w 128"/>
                  <a:gd name="T97" fmla="*/ 114 h 154"/>
                  <a:gd name="T98" fmla="*/ 12 w 128"/>
                  <a:gd name="T99" fmla="*/ 116 h 154"/>
                  <a:gd name="T100" fmla="*/ 22 w 128"/>
                  <a:gd name="T101" fmla="*/ 122 h 154"/>
                  <a:gd name="T102" fmla="*/ 20 w 128"/>
                  <a:gd name="T103" fmla="*/ 140 h 154"/>
                  <a:gd name="T104" fmla="*/ 18 w 128"/>
                  <a:gd name="T105" fmla="*/ 146 h 154"/>
                  <a:gd name="T106" fmla="*/ 24 w 128"/>
                  <a:gd name="T107" fmla="*/ 146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28" h="154">
                    <a:moveTo>
                      <a:pt x="24" y="146"/>
                    </a:moveTo>
                    <a:lnTo>
                      <a:pt x="24" y="146"/>
                    </a:lnTo>
                    <a:lnTo>
                      <a:pt x="26" y="146"/>
                    </a:lnTo>
                    <a:lnTo>
                      <a:pt x="26" y="146"/>
                    </a:lnTo>
                    <a:lnTo>
                      <a:pt x="28" y="148"/>
                    </a:lnTo>
                    <a:lnTo>
                      <a:pt x="30" y="148"/>
                    </a:lnTo>
                    <a:lnTo>
                      <a:pt x="30" y="150"/>
                    </a:lnTo>
                    <a:lnTo>
                      <a:pt x="32" y="150"/>
                    </a:lnTo>
                    <a:lnTo>
                      <a:pt x="32" y="150"/>
                    </a:lnTo>
                    <a:lnTo>
                      <a:pt x="32" y="148"/>
                    </a:lnTo>
                    <a:lnTo>
                      <a:pt x="32" y="148"/>
                    </a:lnTo>
                    <a:lnTo>
                      <a:pt x="34" y="146"/>
                    </a:lnTo>
                    <a:lnTo>
                      <a:pt x="34" y="146"/>
                    </a:lnTo>
                    <a:lnTo>
                      <a:pt x="38" y="148"/>
                    </a:lnTo>
                    <a:lnTo>
                      <a:pt x="40" y="148"/>
                    </a:lnTo>
                    <a:lnTo>
                      <a:pt x="48" y="152"/>
                    </a:lnTo>
                    <a:lnTo>
                      <a:pt x="50" y="152"/>
                    </a:lnTo>
                    <a:lnTo>
                      <a:pt x="52" y="154"/>
                    </a:lnTo>
                    <a:lnTo>
                      <a:pt x="52" y="154"/>
                    </a:lnTo>
                    <a:lnTo>
                      <a:pt x="54" y="154"/>
                    </a:lnTo>
                    <a:lnTo>
                      <a:pt x="56" y="152"/>
                    </a:lnTo>
                    <a:lnTo>
                      <a:pt x="56" y="152"/>
                    </a:lnTo>
                    <a:lnTo>
                      <a:pt x="56" y="150"/>
                    </a:lnTo>
                    <a:lnTo>
                      <a:pt x="56" y="150"/>
                    </a:lnTo>
                    <a:lnTo>
                      <a:pt x="56" y="150"/>
                    </a:lnTo>
                    <a:lnTo>
                      <a:pt x="58" y="148"/>
                    </a:lnTo>
                    <a:lnTo>
                      <a:pt x="58" y="148"/>
                    </a:lnTo>
                    <a:lnTo>
                      <a:pt x="58" y="148"/>
                    </a:lnTo>
                    <a:lnTo>
                      <a:pt x="62" y="148"/>
                    </a:lnTo>
                    <a:lnTo>
                      <a:pt x="64" y="148"/>
                    </a:lnTo>
                    <a:lnTo>
                      <a:pt x="68" y="146"/>
                    </a:lnTo>
                    <a:lnTo>
                      <a:pt x="68" y="146"/>
                    </a:lnTo>
                    <a:lnTo>
                      <a:pt x="72" y="146"/>
                    </a:lnTo>
                    <a:lnTo>
                      <a:pt x="76" y="146"/>
                    </a:lnTo>
                    <a:lnTo>
                      <a:pt x="76" y="146"/>
                    </a:lnTo>
                    <a:lnTo>
                      <a:pt x="80" y="144"/>
                    </a:lnTo>
                    <a:lnTo>
                      <a:pt x="80" y="144"/>
                    </a:lnTo>
                    <a:lnTo>
                      <a:pt x="82" y="144"/>
                    </a:lnTo>
                    <a:lnTo>
                      <a:pt x="82" y="144"/>
                    </a:lnTo>
                    <a:lnTo>
                      <a:pt x="86" y="142"/>
                    </a:lnTo>
                    <a:lnTo>
                      <a:pt x="86" y="142"/>
                    </a:lnTo>
                    <a:lnTo>
                      <a:pt x="88" y="142"/>
                    </a:lnTo>
                    <a:lnTo>
                      <a:pt x="88" y="142"/>
                    </a:lnTo>
                    <a:lnTo>
                      <a:pt x="90" y="142"/>
                    </a:lnTo>
                    <a:lnTo>
                      <a:pt x="92" y="142"/>
                    </a:lnTo>
                    <a:lnTo>
                      <a:pt x="96" y="142"/>
                    </a:lnTo>
                    <a:lnTo>
                      <a:pt x="96" y="142"/>
                    </a:lnTo>
                    <a:lnTo>
                      <a:pt x="98" y="144"/>
                    </a:lnTo>
                    <a:lnTo>
                      <a:pt x="100" y="144"/>
                    </a:lnTo>
                    <a:lnTo>
                      <a:pt x="102" y="144"/>
                    </a:lnTo>
                    <a:lnTo>
                      <a:pt x="102" y="144"/>
                    </a:lnTo>
                    <a:lnTo>
                      <a:pt x="104" y="142"/>
                    </a:lnTo>
                    <a:lnTo>
                      <a:pt x="104" y="140"/>
                    </a:lnTo>
                    <a:lnTo>
                      <a:pt x="104" y="138"/>
                    </a:lnTo>
                    <a:lnTo>
                      <a:pt x="104" y="138"/>
                    </a:lnTo>
                    <a:lnTo>
                      <a:pt x="106" y="134"/>
                    </a:lnTo>
                    <a:lnTo>
                      <a:pt x="106" y="130"/>
                    </a:lnTo>
                    <a:lnTo>
                      <a:pt x="106" y="130"/>
                    </a:lnTo>
                    <a:lnTo>
                      <a:pt x="106" y="130"/>
                    </a:lnTo>
                    <a:lnTo>
                      <a:pt x="106" y="128"/>
                    </a:lnTo>
                    <a:lnTo>
                      <a:pt x="108" y="126"/>
                    </a:lnTo>
                    <a:lnTo>
                      <a:pt x="110" y="126"/>
                    </a:lnTo>
                    <a:lnTo>
                      <a:pt x="110" y="126"/>
                    </a:lnTo>
                    <a:lnTo>
                      <a:pt x="110" y="124"/>
                    </a:lnTo>
                    <a:lnTo>
                      <a:pt x="110" y="122"/>
                    </a:lnTo>
                    <a:lnTo>
                      <a:pt x="110" y="120"/>
                    </a:lnTo>
                    <a:lnTo>
                      <a:pt x="110" y="120"/>
                    </a:lnTo>
                    <a:lnTo>
                      <a:pt x="108" y="118"/>
                    </a:lnTo>
                    <a:lnTo>
                      <a:pt x="104" y="116"/>
                    </a:lnTo>
                    <a:lnTo>
                      <a:pt x="104" y="116"/>
                    </a:lnTo>
                    <a:lnTo>
                      <a:pt x="102" y="114"/>
                    </a:lnTo>
                    <a:lnTo>
                      <a:pt x="100" y="112"/>
                    </a:lnTo>
                    <a:lnTo>
                      <a:pt x="98" y="110"/>
                    </a:lnTo>
                    <a:lnTo>
                      <a:pt x="98" y="106"/>
                    </a:lnTo>
                    <a:lnTo>
                      <a:pt x="98" y="106"/>
                    </a:lnTo>
                    <a:lnTo>
                      <a:pt x="96" y="104"/>
                    </a:lnTo>
                    <a:lnTo>
                      <a:pt x="94" y="100"/>
                    </a:lnTo>
                    <a:lnTo>
                      <a:pt x="94" y="100"/>
                    </a:lnTo>
                    <a:lnTo>
                      <a:pt x="92" y="100"/>
                    </a:lnTo>
                    <a:lnTo>
                      <a:pt x="92" y="98"/>
                    </a:lnTo>
                    <a:lnTo>
                      <a:pt x="88" y="96"/>
                    </a:lnTo>
                    <a:lnTo>
                      <a:pt x="88" y="96"/>
                    </a:lnTo>
                    <a:lnTo>
                      <a:pt x="88" y="94"/>
                    </a:lnTo>
                    <a:lnTo>
                      <a:pt x="88" y="94"/>
                    </a:lnTo>
                    <a:lnTo>
                      <a:pt x="88" y="94"/>
                    </a:lnTo>
                    <a:lnTo>
                      <a:pt x="88" y="92"/>
                    </a:lnTo>
                    <a:lnTo>
                      <a:pt x="90" y="92"/>
                    </a:lnTo>
                    <a:lnTo>
                      <a:pt x="94" y="90"/>
                    </a:lnTo>
                    <a:lnTo>
                      <a:pt x="96" y="90"/>
                    </a:lnTo>
                    <a:lnTo>
                      <a:pt x="96" y="90"/>
                    </a:lnTo>
                    <a:lnTo>
                      <a:pt x="96" y="90"/>
                    </a:lnTo>
                    <a:lnTo>
                      <a:pt x="98" y="88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100" y="84"/>
                    </a:lnTo>
                    <a:lnTo>
                      <a:pt x="100" y="84"/>
                    </a:lnTo>
                    <a:lnTo>
                      <a:pt x="102" y="84"/>
                    </a:lnTo>
                    <a:lnTo>
                      <a:pt x="104" y="84"/>
                    </a:lnTo>
                    <a:lnTo>
                      <a:pt x="104" y="86"/>
                    </a:lnTo>
                    <a:lnTo>
                      <a:pt x="106" y="84"/>
                    </a:lnTo>
                    <a:lnTo>
                      <a:pt x="106" y="84"/>
                    </a:lnTo>
                    <a:lnTo>
                      <a:pt x="108" y="84"/>
                    </a:lnTo>
                    <a:lnTo>
                      <a:pt x="110" y="84"/>
                    </a:lnTo>
                    <a:lnTo>
                      <a:pt x="112" y="82"/>
                    </a:lnTo>
                    <a:lnTo>
                      <a:pt x="114" y="80"/>
                    </a:lnTo>
                    <a:lnTo>
                      <a:pt x="116" y="78"/>
                    </a:lnTo>
                    <a:lnTo>
                      <a:pt x="118" y="78"/>
                    </a:lnTo>
                    <a:lnTo>
                      <a:pt x="118" y="78"/>
                    </a:lnTo>
                    <a:lnTo>
                      <a:pt x="120" y="78"/>
                    </a:lnTo>
                    <a:lnTo>
                      <a:pt x="122" y="78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8" y="76"/>
                    </a:lnTo>
                    <a:lnTo>
                      <a:pt x="128" y="76"/>
                    </a:lnTo>
                    <a:lnTo>
                      <a:pt x="128" y="74"/>
                    </a:lnTo>
                    <a:lnTo>
                      <a:pt x="128" y="74"/>
                    </a:lnTo>
                    <a:lnTo>
                      <a:pt x="128" y="70"/>
                    </a:lnTo>
                    <a:lnTo>
                      <a:pt x="126" y="68"/>
                    </a:lnTo>
                    <a:lnTo>
                      <a:pt x="122" y="62"/>
                    </a:lnTo>
                    <a:lnTo>
                      <a:pt x="122" y="62"/>
                    </a:lnTo>
                    <a:lnTo>
                      <a:pt x="120" y="60"/>
                    </a:lnTo>
                    <a:lnTo>
                      <a:pt x="118" y="58"/>
                    </a:lnTo>
                    <a:lnTo>
                      <a:pt x="118" y="54"/>
                    </a:lnTo>
                    <a:lnTo>
                      <a:pt x="118" y="52"/>
                    </a:lnTo>
                    <a:lnTo>
                      <a:pt x="118" y="52"/>
                    </a:lnTo>
                    <a:lnTo>
                      <a:pt x="116" y="48"/>
                    </a:lnTo>
                    <a:lnTo>
                      <a:pt x="116" y="46"/>
                    </a:lnTo>
                    <a:lnTo>
                      <a:pt x="116" y="44"/>
                    </a:lnTo>
                    <a:lnTo>
                      <a:pt x="116" y="44"/>
                    </a:lnTo>
                    <a:lnTo>
                      <a:pt x="116" y="42"/>
                    </a:lnTo>
                    <a:lnTo>
                      <a:pt x="114" y="42"/>
                    </a:lnTo>
                    <a:lnTo>
                      <a:pt x="112" y="40"/>
                    </a:lnTo>
                    <a:lnTo>
                      <a:pt x="112" y="40"/>
                    </a:lnTo>
                    <a:lnTo>
                      <a:pt x="112" y="40"/>
                    </a:lnTo>
                    <a:lnTo>
                      <a:pt x="112" y="38"/>
                    </a:lnTo>
                    <a:lnTo>
                      <a:pt x="110" y="36"/>
                    </a:lnTo>
                    <a:lnTo>
                      <a:pt x="112" y="34"/>
                    </a:lnTo>
                    <a:lnTo>
                      <a:pt x="112" y="30"/>
                    </a:lnTo>
                    <a:lnTo>
                      <a:pt x="114" y="28"/>
                    </a:lnTo>
                    <a:lnTo>
                      <a:pt x="114" y="28"/>
                    </a:lnTo>
                    <a:lnTo>
                      <a:pt x="114" y="22"/>
                    </a:lnTo>
                    <a:lnTo>
                      <a:pt x="116" y="16"/>
                    </a:lnTo>
                    <a:lnTo>
                      <a:pt x="116" y="16"/>
                    </a:lnTo>
                    <a:lnTo>
                      <a:pt x="114" y="18"/>
                    </a:lnTo>
                    <a:lnTo>
                      <a:pt x="112" y="18"/>
                    </a:lnTo>
                    <a:lnTo>
                      <a:pt x="112" y="18"/>
                    </a:lnTo>
                    <a:lnTo>
                      <a:pt x="110" y="18"/>
                    </a:lnTo>
                    <a:lnTo>
                      <a:pt x="108" y="16"/>
                    </a:lnTo>
                    <a:lnTo>
                      <a:pt x="104" y="14"/>
                    </a:lnTo>
                    <a:lnTo>
                      <a:pt x="104" y="14"/>
                    </a:lnTo>
                    <a:lnTo>
                      <a:pt x="102" y="12"/>
                    </a:lnTo>
                    <a:lnTo>
                      <a:pt x="98" y="10"/>
                    </a:lnTo>
                    <a:lnTo>
                      <a:pt x="96" y="10"/>
                    </a:lnTo>
                    <a:lnTo>
                      <a:pt x="94" y="10"/>
                    </a:lnTo>
                    <a:lnTo>
                      <a:pt x="92" y="10"/>
                    </a:lnTo>
                    <a:lnTo>
                      <a:pt x="92" y="10"/>
                    </a:lnTo>
                    <a:lnTo>
                      <a:pt x="90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6"/>
                    </a:lnTo>
                    <a:lnTo>
                      <a:pt x="86" y="6"/>
                    </a:lnTo>
                    <a:lnTo>
                      <a:pt x="84" y="6"/>
                    </a:lnTo>
                    <a:lnTo>
                      <a:pt x="84" y="6"/>
                    </a:lnTo>
                    <a:lnTo>
                      <a:pt x="82" y="6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78" y="10"/>
                    </a:lnTo>
                    <a:lnTo>
                      <a:pt x="76" y="10"/>
                    </a:lnTo>
                    <a:lnTo>
                      <a:pt x="76" y="10"/>
                    </a:lnTo>
                    <a:lnTo>
                      <a:pt x="70" y="12"/>
                    </a:lnTo>
                    <a:lnTo>
                      <a:pt x="70" y="12"/>
                    </a:lnTo>
                    <a:lnTo>
                      <a:pt x="68" y="12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4" y="10"/>
                    </a:lnTo>
                    <a:lnTo>
                      <a:pt x="62" y="8"/>
                    </a:lnTo>
                    <a:lnTo>
                      <a:pt x="62" y="8"/>
                    </a:lnTo>
                    <a:lnTo>
                      <a:pt x="60" y="6"/>
                    </a:lnTo>
                    <a:lnTo>
                      <a:pt x="60" y="6"/>
                    </a:lnTo>
                    <a:lnTo>
                      <a:pt x="58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4"/>
                    </a:lnTo>
                    <a:lnTo>
                      <a:pt x="54" y="4"/>
                    </a:lnTo>
                    <a:lnTo>
                      <a:pt x="52" y="2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50" y="2"/>
                    </a:lnTo>
                    <a:lnTo>
                      <a:pt x="46" y="2"/>
                    </a:lnTo>
                    <a:lnTo>
                      <a:pt x="46" y="2"/>
                    </a:lnTo>
                    <a:lnTo>
                      <a:pt x="46" y="4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32" y="4"/>
                    </a:lnTo>
                    <a:lnTo>
                      <a:pt x="30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30" y="6"/>
                    </a:lnTo>
                    <a:lnTo>
                      <a:pt x="30" y="8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4"/>
                    </a:lnTo>
                    <a:lnTo>
                      <a:pt x="32" y="16"/>
                    </a:lnTo>
                    <a:lnTo>
                      <a:pt x="32" y="18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32" y="22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4" y="24"/>
                    </a:lnTo>
                    <a:lnTo>
                      <a:pt x="22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18" y="22"/>
                    </a:lnTo>
                    <a:lnTo>
                      <a:pt x="16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0" y="28"/>
                    </a:lnTo>
                    <a:lnTo>
                      <a:pt x="10" y="30"/>
                    </a:lnTo>
                    <a:lnTo>
                      <a:pt x="12" y="34"/>
                    </a:lnTo>
                    <a:lnTo>
                      <a:pt x="12" y="38"/>
                    </a:lnTo>
                    <a:lnTo>
                      <a:pt x="12" y="42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6"/>
                    </a:lnTo>
                    <a:lnTo>
                      <a:pt x="12" y="48"/>
                    </a:lnTo>
                    <a:lnTo>
                      <a:pt x="12" y="52"/>
                    </a:lnTo>
                    <a:lnTo>
                      <a:pt x="10" y="54"/>
                    </a:lnTo>
                    <a:lnTo>
                      <a:pt x="10" y="54"/>
                    </a:lnTo>
                    <a:lnTo>
                      <a:pt x="8" y="56"/>
                    </a:lnTo>
                    <a:lnTo>
                      <a:pt x="6" y="58"/>
                    </a:lnTo>
                    <a:lnTo>
                      <a:pt x="6" y="58"/>
                    </a:lnTo>
                    <a:lnTo>
                      <a:pt x="6" y="58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2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6"/>
                    </a:lnTo>
                    <a:lnTo>
                      <a:pt x="2" y="66"/>
                    </a:lnTo>
                    <a:lnTo>
                      <a:pt x="2" y="68"/>
                    </a:lnTo>
                    <a:lnTo>
                      <a:pt x="2" y="68"/>
                    </a:lnTo>
                    <a:lnTo>
                      <a:pt x="0" y="70"/>
                    </a:lnTo>
                    <a:lnTo>
                      <a:pt x="0" y="72"/>
                    </a:lnTo>
                    <a:lnTo>
                      <a:pt x="0" y="74"/>
                    </a:lnTo>
                    <a:lnTo>
                      <a:pt x="2" y="76"/>
                    </a:lnTo>
                    <a:lnTo>
                      <a:pt x="2" y="76"/>
                    </a:lnTo>
                    <a:lnTo>
                      <a:pt x="2" y="80"/>
                    </a:lnTo>
                    <a:lnTo>
                      <a:pt x="2" y="84"/>
                    </a:lnTo>
                    <a:lnTo>
                      <a:pt x="2" y="84"/>
                    </a:lnTo>
                    <a:lnTo>
                      <a:pt x="2" y="86"/>
                    </a:lnTo>
                    <a:lnTo>
                      <a:pt x="2" y="88"/>
                    </a:lnTo>
                    <a:lnTo>
                      <a:pt x="2" y="88"/>
                    </a:lnTo>
                    <a:lnTo>
                      <a:pt x="2" y="88"/>
                    </a:lnTo>
                    <a:lnTo>
                      <a:pt x="2" y="88"/>
                    </a:lnTo>
                    <a:lnTo>
                      <a:pt x="4" y="90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4" y="94"/>
                    </a:lnTo>
                    <a:lnTo>
                      <a:pt x="4" y="96"/>
                    </a:lnTo>
                    <a:lnTo>
                      <a:pt x="4" y="98"/>
                    </a:lnTo>
                    <a:lnTo>
                      <a:pt x="4" y="100"/>
                    </a:lnTo>
                    <a:lnTo>
                      <a:pt x="4" y="100"/>
                    </a:lnTo>
                    <a:lnTo>
                      <a:pt x="4" y="100"/>
                    </a:lnTo>
                    <a:lnTo>
                      <a:pt x="2" y="102"/>
                    </a:lnTo>
                    <a:lnTo>
                      <a:pt x="2" y="102"/>
                    </a:lnTo>
                    <a:lnTo>
                      <a:pt x="4" y="104"/>
                    </a:lnTo>
                    <a:lnTo>
                      <a:pt x="6" y="104"/>
                    </a:lnTo>
                    <a:lnTo>
                      <a:pt x="6" y="106"/>
                    </a:lnTo>
                    <a:lnTo>
                      <a:pt x="6" y="106"/>
                    </a:lnTo>
                    <a:lnTo>
                      <a:pt x="6" y="106"/>
                    </a:lnTo>
                    <a:lnTo>
                      <a:pt x="6" y="108"/>
                    </a:lnTo>
                    <a:lnTo>
                      <a:pt x="6" y="108"/>
                    </a:lnTo>
                    <a:lnTo>
                      <a:pt x="6" y="110"/>
                    </a:lnTo>
                    <a:lnTo>
                      <a:pt x="6" y="112"/>
                    </a:lnTo>
                    <a:lnTo>
                      <a:pt x="6" y="112"/>
                    </a:lnTo>
                    <a:lnTo>
                      <a:pt x="6" y="114"/>
                    </a:lnTo>
                    <a:lnTo>
                      <a:pt x="6" y="114"/>
                    </a:lnTo>
                    <a:lnTo>
                      <a:pt x="6" y="114"/>
                    </a:lnTo>
                    <a:lnTo>
                      <a:pt x="6" y="114"/>
                    </a:lnTo>
                    <a:lnTo>
                      <a:pt x="10" y="116"/>
                    </a:lnTo>
                    <a:lnTo>
                      <a:pt x="12" y="116"/>
                    </a:lnTo>
                    <a:lnTo>
                      <a:pt x="12" y="116"/>
                    </a:lnTo>
                    <a:lnTo>
                      <a:pt x="18" y="118"/>
                    </a:lnTo>
                    <a:lnTo>
                      <a:pt x="20" y="118"/>
                    </a:lnTo>
                    <a:lnTo>
                      <a:pt x="20" y="120"/>
                    </a:lnTo>
                    <a:lnTo>
                      <a:pt x="22" y="120"/>
                    </a:lnTo>
                    <a:lnTo>
                      <a:pt x="22" y="120"/>
                    </a:lnTo>
                    <a:lnTo>
                      <a:pt x="22" y="122"/>
                    </a:lnTo>
                    <a:lnTo>
                      <a:pt x="22" y="126"/>
                    </a:lnTo>
                    <a:lnTo>
                      <a:pt x="22" y="128"/>
                    </a:lnTo>
                    <a:lnTo>
                      <a:pt x="22" y="130"/>
                    </a:lnTo>
                    <a:lnTo>
                      <a:pt x="22" y="130"/>
                    </a:lnTo>
                    <a:lnTo>
                      <a:pt x="22" y="134"/>
                    </a:lnTo>
                    <a:lnTo>
                      <a:pt x="20" y="140"/>
                    </a:lnTo>
                    <a:lnTo>
                      <a:pt x="20" y="140"/>
                    </a:lnTo>
                    <a:lnTo>
                      <a:pt x="18" y="142"/>
                    </a:lnTo>
                    <a:lnTo>
                      <a:pt x="18" y="144"/>
                    </a:lnTo>
                    <a:lnTo>
                      <a:pt x="18" y="144"/>
                    </a:lnTo>
                    <a:lnTo>
                      <a:pt x="18" y="144"/>
                    </a:lnTo>
                    <a:lnTo>
                      <a:pt x="18" y="146"/>
                    </a:lnTo>
                    <a:lnTo>
                      <a:pt x="18" y="146"/>
                    </a:lnTo>
                    <a:lnTo>
                      <a:pt x="20" y="146"/>
                    </a:lnTo>
                    <a:lnTo>
                      <a:pt x="24" y="146"/>
                    </a:lnTo>
                    <a:lnTo>
                      <a:pt x="24" y="146"/>
                    </a:lnTo>
                    <a:lnTo>
                      <a:pt x="24" y="146"/>
                    </a:lnTo>
                    <a:lnTo>
                      <a:pt x="24" y="146"/>
                    </a:lnTo>
                    <a:lnTo>
                      <a:pt x="24" y="14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28" name="Freeform 441"/>
              <p:cNvSpPr>
                <a:spLocks/>
              </p:cNvSpPr>
              <p:nvPr/>
            </p:nvSpPr>
            <p:spPr bwMode="auto">
              <a:xfrm>
                <a:off x="2893" y="1860"/>
                <a:ext cx="12" cy="10"/>
              </a:xfrm>
              <a:custGeom>
                <a:avLst/>
                <a:gdLst>
                  <a:gd name="T0" fmla="*/ 2 w 12"/>
                  <a:gd name="T1" fmla="*/ 0 h 10"/>
                  <a:gd name="T2" fmla="*/ 2 w 12"/>
                  <a:gd name="T3" fmla="*/ 0 h 10"/>
                  <a:gd name="T4" fmla="*/ 2 w 12"/>
                  <a:gd name="T5" fmla="*/ 0 h 10"/>
                  <a:gd name="T6" fmla="*/ 0 w 12"/>
                  <a:gd name="T7" fmla="*/ 0 h 10"/>
                  <a:gd name="T8" fmla="*/ 0 w 12"/>
                  <a:gd name="T9" fmla="*/ 2 h 10"/>
                  <a:gd name="T10" fmla="*/ 0 w 12"/>
                  <a:gd name="T11" fmla="*/ 2 h 10"/>
                  <a:gd name="T12" fmla="*/ 0 w 12"/>
                  <a:gd name="T13" fmla="*/ 2 h 10"/>
                  <a:gd name="T14" fmla="*/ 2 w 12"/>
                  <a:gd name="T15" fmla="*/ 4 h 10"/>
                  <a:gd name="T16" fmla="*/ 2 w 12"/>
                  <a:gd name="T17" fmla="*/ 4 h 10"/>
                  <a:gd name="T18" fmla="*/ 4 w 12"/>
                  <a:gd name="T19" fmla="*/ 6 h 10"/>
                  <a:gd name="T20" fmla="*/ 4 w 12"/>
                  <a:gd name="T21" fmla="*/ 6 h 10"/>
                  <a:gd name="T22" fmla="*/ 6 w 12"/>
                  <a:gd name="T23" fmla="*/ 8 h 10"/>
                  <a:gd name="T24" fmla="*/ 6 w 12"/>
                  <a:gd name="T25" fmla="*/ 10 h 10"/>
                  <a:gd name="T26" fmla="*/ 6 w 12"/>
                  <a:gd name="T27" fmla="*/ 10 h 10"/>
                  <a:gd name="T28" fmla="*/ 6 w 12"/>
                  <a:gd name="T29" fmla="*/ 10 h 10"/>
                  <a:gd name="T30" fmla="*/ 8 w 12"/>
                  <a:gd name="T31" fmla="*/ 10 h 10"/>
                  <a:gd name="T32" fmla="*/ 8 w 12"/>
                  <a:gd name="T33" fmla="*/ 10 h 10"/>
                  <a:gd name="T34" fmla="*/ 10 w 12"/>
                  <a:gd name="T35" fmla="*/ 8 h 10"/>
                  <a:gd name="T36" fmla="*/ 10 w 12"/>
                  <a:gd name="T37" fmla="*/ 6 h 10"/>
                  <a:gd name="T38" fmla="*/ 12 w 12"/>
                  <a:gd name="T39" fmla="*/ 6 h 10"/>
                  <a:gd name="T40" fmla="*/ 12 w 12"/>
                  <a:gd name="T41" fmla="*/ 6 h 10"/>
                  <a:gd name="T42" fmla="*/ 12 w 12"/>
                  <a:gd name="T43" fmla="*/ 4 h 10"/>
                  <a:gd name="T44" fmla="*/ 10 w 12"/>
                  <a:gd name="T45" fmla="*/ 2 h 10"/>
                  <a:gd name="T46" fmla="*/ 10 w 12"/>
                  <a:gd name="T47" fmla="*/ 2 h 10"/>
                  <a:gd name="T48" fmla="*/ 8 w 12"/>
                  <a:gd name="T49" fmla="*/ 0 h 10"/>
                  <a:gd name="T50" fmla="*/ 8 w 12"/>
                  <a:gd name="T51" fmla="*/ 0 h 10"/>
                  <a:gd name="T52" fmla="*/ 6 w 12"/>
                  <a:gd name="T53" fmla="*/ 0 h 10"/>
                  <a:gd name="T54" fmla="*/ 4 w 12"/>
                  <a:gd name="T55" fmla="*/ 0 h 10"/>
                  <a:gd name="T56" fmla="*/ 2 w 12"/>
                  <a:gd name="T57" fmla="*/ 0 h 10"/>
                  <a:gd name="T58" fmla="*/ 2 w 12"/>
                  <a:gd name="T59" fmla="*/ 0 h 10"/>
                  <a:gd name="T60" fmla="*/ 2 w 12"/>
                  <a:gd name="T61" fmla="*/ 0 h 10"/>
                  <a:gd name="T62" fmla="*/ 2 w 12"/>
                  <a:gd name="T63" fmla="*/ 0 h 10"/>
                  <a:gd name="T64" fmla="*/ 2 w 12"/>
                  <a:gd name="T6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2" h="10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8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0" y="8"/>
                    </a:lnTo>
                    <a:lnTo>
                      <a:pt x="10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4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29" name="Freeform 443"/>
              <p:cNvSpPr>
                <a:spLocks/>
              </p:cNvSpPr>
              <p:nvPr/>
            </p:nvSpPr>
            <p:spPr bwMode="auto">
              <a:xfrm>
                <a:off x="2799" y="2006"/>
                <a:ext cx="72" cy="40"/>
              </a:xfrm>
              <a:custGeom>
                <a:avLst/>
                <a:gdLst>
                  <a:gd name="T0" fmla="*/ 30 w 72"/>
                  <a:gd name="T1" fmla="*/ 34 h 40"/>
                  <a:gd name="T2" fmla="*/ 32 w 72"/>
                  <a:gd name="T3" fmla="*/ 32 h 40"/>
                  <a:gd name="T4" fmla="*/ 36 w 72"/>
                  <a:gd name="T5" fmla="*/ 32 h 40"/>
                  <a:gd name="T6" fmla="*/ 40 w 72"/>
                  <a:gd name="T7" fmla="*/ 30 h 40"/>
                  <a:gd name="T8" fmla="*/ 42 w 72"/>
                  <a:gd name="T9" fmla="*/ 30 h 40"/>
                  <a:gd name="T10" fmla="*/ 48 w 72"/>
                  <a:gd name="T11" fmla="*/ 28 h 40"/>
                  <a:gd name="T12" fmla="*/ 50 w 72"/>
                  <a:gd name="T13" fmla="*/ 28 h 40"/>
                  <a:gd name="T14" fmla="*/ 52 w 72"/>
                  <a:gd name="T15" fmla="*/ 28 h 40"/>
                  <a:gd name="T16" fmla="*/ 54 w 72"/>
                  <a:gd name="T17" fmla="*/ 24 h 40"/>
                  <a:gd name="T18" fmla="*/ 54 w 72"/>
                  <a:gd name="T19" fmla="*/ 24 h 40"/>
                  <a:gd name="T20" fmla="*/ 58 w 72"/>
                  <a:gd name="T21" fmla="*/ 22 h 40"/>
                  <a:gd name="T22" fmla="*/ 60 w 72"/>
                  <a:gd name="T23" fmla="*/ 24 h 40"/>
                  <a:gd name="T24" fmla="*/ 64 w 72"/>
                  <a:gd name="T25" fmla="*/ 26 h 40"/>
                  <a:gd name="T26" fmla="*/ 66 w 72"/>
                  <a:gd name="T27" fmla="*/ 24 h 40"/>
                  <a:gd name="T28" fmla="*/ 66 w 72"/>
                  <a:gd name="T29" fmla="*/ 22 h 40"/>
                  <a:gd name="T30" fmla="*/ 66 w 72"/>
                  <a:gd name="T31" fmla="*/ 20 h 40"/>
                  <a:gd name="T32" fmla="*/ 66 w 72"/>
                  <a:gd name="T33" fmla="*/ 18 h 40"/>
                  <a:gd name="T34" fmla="*/ 68 w 72"/>
                  <a:gd name="T35" fmla="*/ 18 h 40"/>
                  <a:gd name="T36" fmla="*/ 70 w 72"/>
                  <a:gd name="T37" fmla="*/ 18 h 40"/>
                  <a:gd name="T38" fmla="*/ 72 w 72"/>
                  <a:gd name="T39" fmla="*/ 16 h 40"/>
                  <a:gd name="T40" fmla="*/ 72 w 72"/>
                  <a:gd name="T41" fmla="*/ 14 h 40"/>
                  <a:gd name="T42" fmla="*/ 72 w 72"/>
                  <a:gd name="T43" fmla="*/ 12 h 40"/>
                  <a:gd name="T44" fmla="*/ 70 w 72"/>
                  <a:gd name="T45" fmla="*/ 10 h 40"/>
                  <a:gd name="T46" fmla="*/ 68 w 72"/>
                  <a:gd name="T47" fmla="*/ 10 h 40"/>
                  <a:gd name="T48" fmla="*/ 64 w 72"/>
                  <a:gd name="T49" fmla="*/ 10 h 40"/>
                  <a:gd name="T50" fmla="*/ 60 w 72"/>
                  <a:gd name="T51" fmla="*/ 12 h 40"/>
                  <a:gd name="T52" fmla="*/ 58 w 72"/>
                  <a:gd name="T53" fmla="*/ 12 h 40"/>
                  <a:gd name="T54" fmla="*/ 58 w 72"/>
                  <a:gd name="T55" fmla="*/ 10 h 40"/>
                  <a:gd name="T56" fmla="*/ 56 w 72"/>
                  <a:gd name="T57" fmla="*/ 8 h 40"/>
                  <a:gd name="T58" fmla="*/ 54 w 72"/>
                  <a:gd name="T59" fmla="*/ 8 h 40"/>
                  <a:gd name="T60" fmla="*/ 50 w 72"/>
                  <a:gd name="T61" fmla="*/ 6 h 40"/>
                  <a:gd name="T62" fmla="*/ 40 w 72"/>
                  <a:gd name="T63" fmla="*/ 2 h 40"/>
                  <a:gd name="T64" fmla="*/ 36 w 72"/>
                  <a:gd name="T65" fmla="*/ 0 h 40"/>
                  <a:gd name="T66" fmla="*/ 34 w 72"/>
                  <a:gd name="T67" fmla="*/ 2 h 40"/>
                  <a:gd name="T68" fmla="*/ 34 w 72"/>
                  <a:gd name="T69" fmla="*/ 4 h 40"/>
                  <a:gd name="T70" fmla="*/ 32 w 72"/>
                  <a:gd name="T71" fmla="*/ 2 h 40"/>
                  <a:gd name="T72" fmla="*/ 28 w 72"/>
                  <a:gd name="T73" fmla="*/ 0 h 40"/>
                  <a:gd name="T74" fmla="*/ 26 w 72"/>
                  <a:gd name="T75" fmla="*/ 0 h 40"/>
                  <a:gd name="T76" fmla="*/ 22 w 72"/>
                  <a:gd name="T77" fmla="*/ 0 h 40"/>
                  <a:gd name="T78" fmla="*/ 20 w 72"/>
                  <a:gd name="T79" fmla="*/ 0 h 40"/>
                  <a:gd name="T80" fmla="*/ 18 w 72"/>
                  <a:gd name="T81" fmla="*/ 2 h 40"/>
                  <a:gd name="T82" fmla="*/ 14 w 72"/>
                  <a:gd name="T83" fmla="*/ 8 h 40"/>
                  <a:gd name="T84" fmla="*/ 10 w 72"/>
                  <a:gd name="T85" fmla="*/ 10 h 40"/>
                  <a:gd name="T86" fmla="*/ 6 w 72"/>
                  <a:gd name="T87" fmla="*/ 14 h 40"/>
                  <a:gd name="T88" fmla="*/ 2 w 72"/>
                  <a:gd name="T89" fmla="*/ 20 h 40"/>
                  <a:gd name="T90" fmla="*/ 2 w 72"/>
                  <a:gd name="T91" fmla="*/ 22 h 40"/>
                  <a:gd name="T92" fmla="*/ 0 w 72"/>
                  <a:gd name="T93" fmla="*/ 26 h 40"/>
                  <a:gd name="T94" fmla="*/ 0 w 72"/>
                  <a:gd name="T95" fmla="*/ 28 h 40"/>
                  <a:gd name="T96" fmla="*/ 2 w 72"/>
                  <a:gd name="T97" fmla="*/ 30 h 40"/>
                  <a:gd name="T98" fmla="*/ 4 w 72"/>
                  <a:gd name="T99" fmla="*/ 30 h 40"/>
                  <a:gd name="T100" fmla="*/ 10 w 72"/>
                  <a:gd name="T101" fmla="*/ 28 h 40"/>
                  <a:gd name="T102" fmla="*/ 12 w 72"/>
                  <a:gd name="T103" fmla="*/ 30 h 40"/>
                  <a:gd name="T104" fmla="*/ 12 w 72"/>
                  <a:gd name="T105" fmla="*/ 30 h 40"/>
                  <a:gd name="T106" fmla="*/ 14 w 72"/>
                  <a:gd name="T107" fmla="*/ 32 h 40"/>
                  <a:gd name="T108" fmla="*/ 16 w 72"/>
                  <a:gd name="T109" fmla="*/ 34 h 40"/>
                  <a:gd name="T110" fmla="*/ 18 w 72"/>
                  <a:gd name="T111" fmla="*/ 36 h 40"/>
                  <a:gd name="T112" fmla="*/ 20 w 72"/>
                  <a:gd name="T113" fmla="*/ 38 h 40"/>
                  <a:gd name="T114" fmla="*/ 20 w 72"/>
                  <a:gd name="T115" fmla="*/ 40 h 40"/>
                  <a:gd name="T116" fmla="*/ 24 w 72"/>
                  <a:gd name="T117" fmla="*/ 40 h 40"/>
                  <a:gd name="T118" fmla="*/ 28 w 72"/>
                  <a:gd name="T119" fmla="*/ 36 h 40"/>
                  <a:gd name="T120" fmla="*/ 30 w 72"/>
                  <a:gd name="T121" fmla="*/ 34 h 40"/>
                  <a:gd name="T122" fmla="*/ 30 w 72"/>
                  <a:gd name="T123" fmla="*/ 34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72" h="40">
                    <a:moveTo>
                      <a:pt x="30" y="34"/>
                    </a:moveTo>
                    <a:lnTo>
                      <a:pt x="30" y="34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4" y="32"/>
                    </a:lnTo>
                    <a:lnTo>
                      <a:pt x="36" y="32"/>
                    </a:lnTo>
                    <a:lnTo>
                      <a:pt x="38" y="30"/>
                    </a:lnTo>
                    <a:lnTo>
                      <a:pt x="40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4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50" y="28"/>
                    </a:lnTo>
                    <a:lnTo>
                      <a:pt x="50" y="28"/>
                    </a:lnTo>
                    <a:lnTo>
                      <a:pt x="52" y="28"/>
                    </a:lnTo>
                    <a:lnTo>
                      <a:pt x="52" y="26"/>
                    </a:lnTo>
                    <a:lnTo>
                      <a:pt x="54" y="24"/>
                    </a:lnTo>
                    <a:lnTo>
                      <a:pt x="54" y="24"/>
                    </a:lnTo>
                    <a:lnTo>
                      <a:pt x="54" y="24"/>
                    </a:lnTo>
                    <a:lnTo>
                      <a:pt x="56" y="24"/>
                    </a:lnTo>
                    <a:lnTo>
                      <a:pt x="58" y="22"/>
                    </a:lnTo>
                    <a:lnTo>
                      <a:pt x="58" y="24"/>
                    </a:lnTo>
                    <a:lnTo>
                      <a:pt x="60" y="24"/>
                    </a:lnTo>
                    <a:lnTo>
                      <a:pt x="62" y="24"/>
                    </a:lnTo>
                    <a:lnTo>
                      <a:pt x="64" y="26"/>
                    </a:lnTo>
                    <a:lnTo>
                      <a:pt x="66" y="24"/>
                    </a:lnTo>
                    <a:lnTo>
                      <a:pt x="66" y="24"/>
                    </a:lnTo>
                    <a:lnTo>
                      <a:pt x="66" y="24"/>
                    </a:lnTo>
                    <a:lnTo>
                      <a:pt x="66" y="22"/>
                    </a:lnTo>
                    <a:lnTo>
                      <a:pt x="66" y="20"/>
                    </a:lnTo>
                    <a:lnTo>
                      <a:pt x="66" y="20"/>
                    </a:lnTo>
                    <a:lnTo>
                      <a:pt x="66" y="20"/>
                    </a:lnTo>
                    <a:lnTo>
                      <a:pt x="66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70" y="18"/>
                    </a:lnTo>
                    <a:lnTo>
                      <a:pt x="70" y="18"/>
                    </a:lnTo>
                    <a:lnTo>
                      <a:pt x="70" y="16"/>
                    </a:lnTo>
                    <a:lnTo>
                      <a:pt x="72" y="16"/>
                    </a:lnTo>
                    <a:lnTo>
                      <a:pt x="72" y="14"/>
                    </a:lnTo>
                    <a:lnTo>
                      <a:pt x="72" y="14"/>
                    </a:lnTo>
                    <a:lnTo>
                      <a:pt x="72" y="12"/>
                    </a:lnTo>
                    <a:lnTo>
                      <a:pt x="72" y="12"/>
                    </a:lnTo>
                    <a:lnTo>
                      <a:pt x="70" y="10"/>
                    </a:lnTo>
                    <a:lnTo>
                      <a:pt x="70" y="10"/>
                    </a:lnTo>
                    <a:lnTo>
                      <a:pt x="70" y="10"/>
                    </a:lnTo>
                    <a:lnTo>
                      <a:pt x="68" y="10"/>
                    </a:lnTo>
                    <a:lnTo>
                      <a:pt x="66" y="10"/>
                    </a:lnTo>
                    <a:lnTo>
                      <a:pt x="64" y="10"/>
                    </a:lnTo>
                    <a:lnTo>
                      <a:pt x="62" y="12"/>
                    </a:lnTo>
                    <a:lnTo>
                      <a:pt x="60" y="12"/>
                    </a:lnTo>
                    <a:lnTo>
                      <a:pt x="58" y="12"/>
                    </a:lnTo>
                    <a:lnTo>
                      <a:pt x="58" y="12"/>
                    </a:lnTo>
                    <a:lnTo>
                      <a:pt x="58" y="10"/>
                    </a:lnTo>
                    <a:lnTo>
                      <a:pt x="58" y="10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2" y="6"/>
                    </a:lnTo>
                    <a:lnTo>
                      <a:pt x="50" y="6"/>
                    </a:lnTo>
                    <a:lnTo>
                      <a:pt x="42" y="2"/>
                    </a:lnTo>
                    <a:lnTo>
                      <a:pt x="40" y="2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2" y="4"/>
                    </a:lnTo>
                    <a:lnTo>
                      <a:pt x="32" y="2"/>
                    </a:lnTo>
                    <a:lnTo>
                      <a:pt x="30" y="2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2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4" y="8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8" y="12"/>
                    </a:lnTo>
                    <a:lnTo>
                      <a:pt x="6" y="14"/>
                    </a:lnTo>
                    <a:lnTo>
                      <a:pt x="4" y="18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22"/>
                    </a:lnTo>
                    <a:lnTo>
                      <a:pt x="0" y="24"/>
                    </a:lnTo>
                    <a:lnTo>
                      <a:pt x="0" y="26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4" y="30"/>
                    </a:lnTo>
                    <a:lnTo>
                      <a:pt x="6" y="30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6" y="34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4" y="40"/>
                    </a:lnTo>
                    <a:lnTo>
                      <a:pt x="26" y="38"/>
                    </a:lnTo>
                    <a:lnTo>
                      <a:pt x="28" y="36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30" name="Freeform 445"/>
              <p:cNvSpPr>
                <a:spLocks/>
              </p:cNvSpPr>
              <p:nvPr/>
            </p:nvSpPr>
            <p:spPr bwMode="auto">
              <a:xfrm>
                <a:off x="2855" y="1980"/>
                <a:ext cx="106" cy="50"/>
              </a:xfrm>
              <a:custGeom>
                <a:avLst/>
                <a:gdLst>
                  <a:gd name="T0" fmla="*/ 30 w 106"/>
                  <a:gd name="T1" fmla="*/ 34 h 50"/>
                  <a:gd name="T2" fmla="*/ 34 w 106"/>
                  <a:gd name="T3" fmla="*/ 34 h 50"/>
                  <a:gd name="T4" fmla="*/ 40 w 106"/>
                  <a:gd name="T5" fmla="*/ 36 h 50"/>
                  <a:gd name="T6" fmla="*/ 44 w 106"/>
                  <a:gd name="T7" fmla="*/ 42 h 50"/>
                  <a:gd name="T8" fmla="*/ 48 w 106"/>
                  <a:gd name="T9" fmla="*/ 46 h 50"/>
                  <a:gd name="T10" fmla="*/ 52 w 106"/>
                  <a:gd name="T11" fmla="*/ 46 h 50"/>
                  <a:gd name="T12" fmla="*/ 60 w 106"/>
                  <a:gd name="T13" fmla="*/ 48 h 50"/>
                  <a:gd name="T14" fmla="*/ 66 w 106"/>
                  <a:gd name="T15" fmla="*/ 48 h 50"/>
                  <a:gd name="T16" fmla="*/ 68 w 106"/>
                  <a:gd name="T17" fmla="*/ 46 h 50"/>
                  <a:gd name="T18" fmla="*/ 70 w 106"/>
                  <a:gd name="T19" fmla="*/ 46 h 50"/>
                  <a:gd name="T20" fmla="*/ 76 w 106"/>
                  <a:gd name="T21" fmla="*/ 44 h 50"/>
                  <a:gd name="T22" fmla="*/ 82 w 106"/>
                  <a:gd name="T23" fmla="*/ 38 h 50"/>
                  <a:gd name="T24" fmla="*/ 84 w 106"/>
                  <a:gd name="T25" fmla="*/ 36 h 50"/>
                  <a:gd name="T26" fmla="*/ 90 w 106"/>
                  <a:gd name="T27" fmla="*/ 36 h 50"/>
                  <a:gd name="T28" fmla="*/ 96 w 106"/>
                  <a:gd name="T29" fmla="*/ 36 h 50"/>
                  <a:gd name="T30" fmla="*/ 98 w 106"/>
                  <a:gd name="T31" fmla="*/ 34 h 50"/>
                  <a:gd name="T32" fmla="*/ 104 w 106"/>
                  <a:gd name="T33" fmla="*/ 22 h 50"/>
                  <a:gd name="T34" fmla="*/ 104 w 106"/>
                  <a:gd name="T35" fmla="*/ 20 h 50"/>
                  <a:gd name="T36" fmla="*/ 100 w 106"/>
                  <a:gd name="T37" fmla="*/ 14 h 50"/>
                  <a:gd name="T38" fmla="*/ 98 w 106"/>
                  <a:gd name="T39" fmla="*/ 12 h 50"/>
                  <a:gd name="T40" fmla="*/ 98 w 106"/>
                  <a:gd name="T41" fmla="*/ 6 h 50"/>
                  <a:gd name="T42" fmla="*/ 92 w 106"/>
                  <a:gd name="T43" fmla="*/ 4 h 50"/>
                  <a:gd name="T44" fmla="*/ 86 w 106"/>
                  <a:gd name="T45" fmla="*/ 2 h 50"/>
                  <a:gd name="T46" fmla="*/ 72 w 106"/>
                  <a:gd name="T47" fmla="*/ 0 h 50"/>
                  <a:gd name="T48" fmla="*/ 66 w 106"/>
                  <a:gd name="T49" fmla="*/ 0 h 50"/>
                  <a:gd name="T50" fmla="*/ 56 w 106"/>
                  <a:gd name="T51" fmla="*/ 4 h 50"/>
                  <a:gd name="T52" fmla="*/ 54 w 106"/>
                  <a:gd name="T53" fmla="*/ 6 h 50"/>
                  <a:gd name="T54" fmla="*/ 52 w 106"/>
                  <a:gd name="T55" fmla="*/ 10 h 50"/>
                  <a:gd name="T56" fmla="*/ 50 w 106"/>
                  <a:gd name="T57" fmla="*/ 18 h 50"/>
                  <a:gd name="T58" fmla="*/ 50 w 106"/>
                  <a:gd name="T59" fmla="*/ 22 h 50"/>
                  <a:gd name="T60" fmla="*/ 46 w 106"/>
                  <a:gd name="T61" fmla="*/ 24 h 50"/>
                  <a:gd name="T62" fmla="*/ 42 w 106"/>
                  <a:gd name="T63" fmla="*/ 22 h 50"/>
                  <a:gd name="T64" fmla="*/ 34 w 106"/>
                  <a:gd name="T65" fmla="*/ 22 h 50"/>
                  <a:gd name="T66" fmla="*/ 32 w 106"/>
                  <a:gd name="T67" fmla="*/ 22 h 50"/>
                  <a:gd name="T68" fmla="*/ 26 w 106"/>
                  <a:gd name="T69" fmla="*/ 24 h 50"/>
                  <a:gd name="T70" fmla="*/ 22 w 106"/>
                  <a:gd name="T71" fmla="*/ 26 h 50"/>
                  <a:gd name="T72" fmla="*/ 14 w 106"/>
                  <a:gd name="T73" fmla="*/ 26 h 50"/>
                  <a:gd name="T74" fmla="*/ 4 w 106"/>
                  <a:gd name="T75" fmla="*/ 28 h 50"/>
                  <a:gd name="T76" fmla="*/ 2 w 106"/>
                  <a:gd name="T77" fmla="*/ 30 h 50"/>
                  <a:gd name="T78" fmla="*/ 2 w 106"/>
                  <a:gd name="T79" fmla="*/ 32 h 50"/>
                  <a:gd name="T80" fmla="*/ 0 w 106"/>
                  <a:gd name="T81" fmla="*/ 34 h 50"/>
                  <a:gd name="T82" fmla="*/ 2 w 106"/>
                  <a:gd name="T83" fmla="*/ 38 h 50"/>
                  <a:gd name="T84" fmla="*/ 6 w 106"/>
                  <a:gd name="T85" fmla="*/ 38 h 50"/>
                  <a:gd name="T86" fmla="*/ 12 w 106"/>
                  <a:gd name="T87" fmla="*/ 36 h 50"/>
                  <a:gd name="T88" fmla="*/ 14 w 106"/>
                  <a:gd name="T89" fmla="*/ 36 h 50"/>
                  <a:gd name="T90" fmla="*/ 16 w 106"/>
                  <a:gd name="T91" fmla="*/ 40 h 50"/>
                  <a:gd name="T92" fmla="*/ 20 w 106"/>
                  <a:gd name="T93" fmla="*/ 38 h 50"/>
                  <a:gd name="T94" fmla="*/ 24 w 106"/>
                  <a:gd name="T95" fmla="*/ 38 h 50"/>
                  <a:gd name="T96" fmla="*/ 26 w 106"/>
                  <a:gd name="T97" fmla="*/ 36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06" h="50">
                    <a:moveTo>
                      <a:pt x="26" y="36"/>
                    </a:moveTo>
                    <a:lnTo>
                      <a:pt x="26" y="36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2" y="34"/>
                    </a:lnTo>
                    <a:lnTo>
                      <a:pt x="34" y="34"/>
                    </a:lnTo>
                    <a:lnTo>
                      <a:pt x="36" y="34"/>
                    </a:lnTo>
                    <a:lnTo>
                      <a:pt x="38" y="34"/>
                    </a:lnTo>
                    <a:lnTo>
                      <a:pt x="40" y="36"/>
                    </a:lnTo>
                    <a:lnTo>
                      <a:pt x="42" y="38"/>
                    </a:lnTo>
                    <a:lnTo>
                      <a:pt x="42" y="38"/>
                    </a:lnTo>
                    <a:lnTo>
                      <a:pt x="44" y="42"/>
                    </a:lnTo>
                    <a:lnTo>
                      <a:pt x="46" y="44"/>
                    </a:lnTo>
                    <a:lnTo>
                      <a:pt x="48" y="44"/>
                    </a:lnTo>
                    <a:lnTo>
                      <a:pt x="48" y="46"/>
                    </a:lnTo>
                    <a:lnTo>
                      <a:pt x="50" y="46"/>
                    </a:lnTo>
                    <a:lnTo>
                      <a:pt x="52" y="46"/>
                    </a:lnTo>
                    <a:lnTo>
                      <a:pt x="52" y="46"/>
                    </a:lnTo>
                    <a:lnTo>
                      <a:pt x="54" y="48"/>
                    </a:lnTo>
                    <a:lnTo>
                      <a:pt x="58" y="48"/>
                    </a:lnTo>
                    <a:lnTo>
                      <a:pt x="60" y="48"/>
                    </a:lnTo>
                    <a:lnTo>
                      <a:pt x="62" y="50"/>
                    </a:lnTo>
                    <a:lnTo>
                      <a:pt x="64" y="48"/>
                    </a:lnTo>
                    <a:lnTo>
                      <a:pt x="66" y="48"/>
                    </a:lnTo>
                    <a:lnTo>
                      <a:pt x="66" y="48"/>
                    </a:lnTo>
                    <a:lnTo>
                      <a:pt x="68" y="48"/>
                    </a:lnTo>
                    <a:lnTo>
                      <a:pt x="68" y="46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4" y="44"/>
                    </a:lnTo>
                    <a:lnTo>
                      <a:pt x="74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8" y="40"/>
                    </a:lnTo>
                    <a:lnTo>
                      <a:pt x="82" y="38"/>
                    </a:lnTo>
                    <a:lnTo>
                      <a:pt x="82" y="38"/>
                    </a:lnTo>
                    <a:lnTo>
                      <a:pt x="84" y="36"/>
                    </a:lnTo>
                    <a:lnTo>
                      <a:pt x="84" y="36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90" y="36"/>
                    </a:lnTo>
                    <a:lnTo>
                      <a:pt x="94" y="36"/>
                    </a:lnTo>
                    <a:lnTo>
                      <a:pt x="96" y="36"/>
                    </a:lnTo>
                    <a:lnTo>
                      <a:pt x="96" y="36"/>
                    </a:lnTo>
                    <a:lnTo>
                      <a:pt x="98" y="34"/>
                    </a:lnTo>
                    <a:lnTo>
                      <a:pt x="98" y="34"/>
                    </a:lnTo>
                    <a:lnTo>
                      <a:pt x="98" y="34"/>
                    </a:lnTo>
                    <a:lnTo>
                      <a:pt x="102" y="28"/>
                    </a:lnTo>
                    <a:lnTo>
                      <a:pt x="104" y="26"/>
                    </a:lnTo>
                    <a:lnTo>
                      <a:pt x="104" y="22"/>
                    </a:lnTo>
                    <a:lnTo>
                      <a:pt x="104" y="22"/>
                    </a:lnTo>
                    <a:lnTo>
                      <a:pt x="106" y="20"/>
                    </a:lnTo>
                    <a:lnTo>
                      <a:pt x="104" y="20"/>
                    </a:lnTo>
                    <a:lnTo>
                      <a:pt x="104" y="18"/>
                    </a:lnTo>
                    <a:lnTo>
                      <a:pt x="102" y="16"/>
                    </a:lnTo>
                    <a:lnTo>
                      <a:pt x="100" y="14"/>
                    </a:lnTo>
                    <a:lnTo>
                      <a:pt x="100" y="14"/>
                    </a:lnTo>
                    <a:lnTo>
                      <a:pt x="98" y="12"/>
                    </a:lnTo>
                    <a:lnTo>
                      <a:pt x="98" y="12"/>
                    </a:lnTo>
                    <a:lnTo>
                      <a:pt x="98" y="10"/>
                    </a:lnTo>
                    <a:lnTo>
                      <a:pt x="98" y="8"/>
                    </a:lnTo>
                    <a:lnTo>
                      <a:pt x="98" y="6"/>
                    </a:lnTo>
                    <a:lnTo>
                      <a:pt x="98" y="6"/>
                    </a:lnTo>
                    <a:lnTo>
                      <a:pt x="94" y="4"/>
                    </a:lnTo>
                    <a:lnTo>
                      <a:pt x="92" y="4"/>
                    </a:lnTo>
                    <a:lnTo>
                      <a:pt x="92" y="4"/>
                    </a:lnTo>
                    <a:lnTo>
                      <a:pt x="88" y="2"/>
                    </a:lnTo>
                    <a:lnTo>
                      <a:pt x="86" y="2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2" y="0"/>
                    </a:lnTo>
                    <a:lnTo>
                      <a:pt x="68" y="0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60" y="2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4" y="6"/>
                    </a:lnTo>
                    <a:lnTo>
                      <a:pt x="52" y="8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4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50" y="20"/>
                    </a:lnTo>
                    <a:lnTo>
                      <a:pt x="50" y="22"/>
                    </a:lnTo>
                    <a:lnTo>
                      <a:pt x="48" y="24"/>
                    </a:lnTo>
                    <a:lnTo>
                      <a:pt x="48" y="24"/>
                    </a:lnTo>
                    <a:lnTo>
                      <a:pt x="46" y="24"/>
                    </a:lnTo>
                    <a:lnTo>
                      <a:pt x="44" y="24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38" y="22"/>
                    </a:lnTo>
                    <a:lnTo>
                      <a:pt x="36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28" y="24"/>
                    </a:lnTo>
                    <a:lnTo>
                      <a:pt x="28" y="24"/>
                    </a:lnTo>
                    <a:lnTo>
                      <a:pt x="26" y="24"/>
                    </a:lnTo>
                    <a:lnTo>
                      <a:pt x="26" y="24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18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0" y="28"/>
                    </a:lnTo>
                    <a:lnTo>
                      <a:pt x="8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2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4" y="38"/>
                    </a:lnTo>
                    <a:lnTo>
                      <a:pt x="6" y="38"/>
                    </a:lnTo>
                    <a:lnTo>
                      <a:pt x="8" y="36"/>
                    </a:lnTo>
                    <a:lnTo>
                      <a:pt x="10" y="36"/>
                    </a:lnTo>
                    <a:lnTo>
                      <a:pt x="12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20" y="40"/>
                    </a:lnTo>
                    <a:lnTo>
                      <a:pt x="20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4" y="38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31" name="Freeform 447"/>
              <p:cNvSpPr>
                <a:spLocks/>
              </p:cNvSpPr>
              <p:nvPr/>
            </p:nvSpPr>
            <p:spPr bwMode="auto">
              <a:xfrm>
                <a:off x="2815" y="2014"/>
                <a:ext cx="168" cy="180"/>
              </a:xfrm>
              <a:custGeom>
                <a:avLst/>
                <a:gdLst>
                  <a:gd name="T0" fmla="*/ 94 w 168"/>
                  <a:gd name="T1" fmla="*/ 20 h 180"/>
                  <a:gd name="T2" fmla="*/ 92 w 168"/>
                  <a:gd name="T3" fmla="*/ 12 h 180"/>
                  <a:gd name="T4" fmla="*/ 82 w 168"/>
                  <a:gd name="T5" fmla="*/ 4 h 180"/>
                  <a:gd name="T6" fmla="*/ 70 w 168"/>
                  <a:gd name="T7" fmla="*/ 0 h 180"/>
                  <a:gd name="T8" fmla="*/ 60 w 168"/>
                  <a:gd name="T9" fmla="*/ 6 h 180"/>
                  <a:gd name="T10" fmla="*/ 54 w 168"/>
                  <a:gd name="T11" fmla="*/ 10 h 180"/>
                  <a:gd name="T12" fmla="*/ 50 w 168"/>
                  <a:gd name="T13" fmla="*/ 14 h 180"/>
                  <a:gd name="T14" fmla="*/ 42 w 168"/>
                  <a:gd name="T15" fmla="*/ 16 h 180"/>
                  <a:gd name="T16" fmla="*/ 36 w 168"/>
                  <a:gd name="T17" fmla="*/ 20 h 180"/>
                  <a:gd name="T18" fmla="*/ 26 w 168"/>
                  <a:gd name="T19" fmla="*/ 22 h 180"/>
                  <a:gd name="T20" fmla="*/ 14 w 168"/>
                  <a:gd name="T21" fmla="*/ 26 h 180"/>
                  <a:gd name="T22" fmla="*/ 4 w 168"/>
                  <a:gd name="T23" fmla="*/ 32 h 180"/>
                  <a:gd name="T24" fmla="*/ 0 w 168"/>
                  <a:gd name="T25" fmla="*/ 38 h 180"/>
                  <a:gd name="T26" fmla="*/ 2 w 168"/>
                  <a:gd name="T27" fmla="*/ 54 h 180"/>
                  <a:gd name="T28" fmla="*/ 14 w 168"/>
                  <a:gd name="T29" fmla="*/ 64 h 180"/>
                  <a:gd name="T30" fmla="*/ 28 w 168"/>
                  <a:gd name="T31" fmla="*/ 62 h 180"/>
                  <a:gd name="T32" fmla="*/ 36 w 168"/>
                  <a:gd name="T33" fmla="*/ 64 h 180"/>
                  <a:gd name="T34" fmla="*/ 42 w 168"/>
                  <a:gd name="T35" fmla="*/ 70 h 180"/>
                  <a:gd name="T36" fmla="*/ 50 w 168"/>
                  <a:gd name="T37" fmla="*/ 76 h 180"/>
                  <a:gd name="T38" fmla="*/ 54 w 168"/>
                  <a:gd name="T39" fmla="*/ 88 h 180"/>
                  <a:gd name="T40" fmla="*/ 62 w 168"/>
                  <a:gd name="T41" fmla="*/ 94 h 180"/>
                  <a:gd name="T42" fmla="*/ 70 w 168"/>
                  <a:gd name="T43" fmla="*/ 106 h 180"/>
                  <a:gd name="T44" fmla="*/ 78 w 168"/>
                  <a:gd name="T45" fmla="*/ 106 h 180"/>
                  <a:gd name="T46" fmla="*/ 84 w 168"/>
                  <a:gd name="T47" fmla="*/ 112 h 180"/>
                  <a:gd name="T48" fmla="*/ 88 w 168"/>
                  <a:gd name="T49" fmla="*/ 118 h 180"/>
                  <a:gd name="T50" fmla="*/ 94 w 168"/>
                  <a:gd name="T51" fmla="*/ 120 h 180"/>
                  <a:gd name="T52" fmla="*/ 104 w 168"/>
                  <a:gd name="T53" fmla="*/ 122 h 180"/>
                  <a:gd name="T54" fmla="*/ 114 w 168"/>
                  <a:gd name="T55" fmla="*/ 126 h 180"/>
                  <a:gd name="T56" fmla="*/ 120 w 168"/>
                  <a:gd name="T57" fmla="*/ 136 h 180"/>
                  <a:gd name="T58" fmla="*/ 132 w 168"/>
                  <a:gd name="T59" fmla="*/ 144 h 180"/>
                  <a:gd name="T60" fmla="*/ 138 w 168"/>
                  <a:gd name="T61" fmla="*/ 158 h 180"/>
                  <a:gd name="T62" fmla="*/ 134 w 168"/>
                  <a:gd name="T63" fmla="*/ 166 h 180"/>
                  <a:gd name="T64" fmla="*/ 130 w 168"/>
                  <a:gd name="T65" fmla="*/ 176 h 180"/>
                  <a:gd name="T66" fmla="*/ 134 w 168"/>
                  <a:gd name="T67" fmla="*/ 180 h 180"/>
                  <a:gd name="T68" fmla="*/ 142 w 168"/>
                  <a:gd name="T69" fmla="*/ 174 h 180"/>
                  <a:gd name="T70" fmla="*/ 148 w 168"/>
                  <a:gd name="T71" fmla="*/ 166 h 180"/>
                  <a:gd name="T72" fmla="*/ 152 w 168"/>
                  <a:gd name="T73" fmla="*/ 158 h 180"/>
                  <a:gd name="T74" fmla="*/ 150 w 168"/>
                  <a:gd name="T75" fmla="*/ 146 h 180"/>
                  <a:gd name="T76" fmla="*/ 144 w 168"/>
                  <a:gd name="T77" fmla="*/ 142 h 180"/>
                  <a:gd name="T78" fmla="*/ 148 w 168"/>
                  <a:gd name="T79" fmla="*/ 134 h 180"/>
                  <a:gd name="T80" fmla="*/ 156 w 168"/>
                  <a:gd name="T81" fmla="*/ 134 h 180"/>
                  <a:gd name="T82" fmla="*/ 166 w 168"/>
                  <a:gd name="T83" fmla="*/ 140 h 180"/>
                  <a:gd name="T84" fmla="*/ 168 w 168"/>
                  <a:gd name="T85" fmla="*/ 136 h 180"/>
                  <a:gd name="T86" fmla="*/ 154 w 168"/>
                  <a:gd name="T87" fmla="*/ 122 h 180"/>
                  <a:gd name="T88" fmla="*/ 138 w 168"/>
                  <a:gd name="T89" fmla="*/ 116 h 180"/>
                  <a:gd name="T90" fmla="*/ 138 w 168"/>
                  <a:gd name="T91" fmla="*/ 108 h 180"/>
                  <a:gd name="T92" fmla="*/ 132 w 168"/>
                  <a:gd name="T93" fmla="*/ 106 h 180"/>
                  <a:gd name="T94" fmla="*/ 122 w 168"/>
                  <a:gd name="T95" fmla="*/ 106 h 180"/>
                  <a:gd name="T96" fmla="*/ 112 w 168"/>
                  <a:gd name="T97" fmla="*/ 100 h 180"/>
                  <a:gd name="T98" fmla="*/ 104 w 168"/>
                  <a:gd name="T99" fmla="*/ 86 h 180"/>
                  <a:gd name="T100" fmla="*/ 96 w 168"/>
                  <a:gd name="T101" fmla="*/ 72 h 180"/>
                  <a:gd name="T102" fmla="*/ 84 w 168"/>
                  <a:gd name="T103" fmla="*/ 64 h 180"/>
                  <a:gd name="T104" fmla="*/ 80 w 168"/>
                  <a:gd name="T105" fmla="*/ 54 h 180"/>
                  <a:gd name="T106" fmla="*/ 78 w 168"/>
                  <a:gd name="T107" fmla="*/ 48 h 180"/>
                  <a:gd name="T108" fmla="*/ 76 w 168"/>
                  <a:gd name="T109" fmla="*/ 36 h 180"/>
                  <a:gd name="T110" fmla="*/ 82 w 168"/>
                  <a:gd name="T111" fmla="*/ 34 h 180"/>
                  <a:gd name="T112" fmla="*/ 92 w 168"/>
                  <a:gd name="T113" fmla="*/ 34 h 180"/>
                  <a:gd name="T114" fmla="*/ 104 w 168"/>
                  <a:gd name="T115" fmla="*/ 30 h 180"/>
                  <a:gd name="T116" fmla="*/ 102 w 168"/>
                  <a:gd name="T117" fmla="*/ 26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68" h="180">
                    <a:moveTo>
                      <a:pt x="102" y="26"/>
                    </a:moveTo>
                    <a:lnTo>
                      <a:pt x="102" y="26"/>
                    </a:lnTo>
                    <a:lnTo>
                      <a:pt x="100" y="24"/>
                    </a:lnTo>
                    <a:lnTo>
                      <a:pt x="98" y="24"/>
                    </a:lnTo>
                    <a:lnTo>
                      <a:pt x="96" y="22"/>
                    </a:lnTo>
                    <a:lnTo>
                      <a:pt x="96" y="22"/>
                    </a:lnTo>
                    <a:lnTo>
                      <a:pt x="94" y="20"/>
                    </a:lnTo>
                    <a:lnTo>
                      <a:pt x="94" y="20"/>
                    </a:lnTo>
                    <a:lnTo>
                      <a:pt x="94" y="18"/>
                    </a:lnTo>
                    <a:lnTo>
                      <a:pt x="94" y="16"/>
                    </a:lnTo>
                    <a:lnTo>
                      <a:pt x="94" y="14"/>
                    </a:lnTo>
                    <a:lnTo>
                      <a:pt x="94" y="14"/>
                    </a:lnTo>
                    <a:lnTo>
                      <a:pt x="92" y="12"/>
                    </a:lnTo>
                    <a:lnTo>
                      <a:pt x="92" y="12"/>
                    </a:lnTo>
                    <a:lnTo>
                      <a:pt x="90" y="12"/>
                    </a:lnTo>
                    <a:lnTo>
                      <a:pt x="88" y="12"/>
                    </a:lnTo>
                    <a:lnTo>
                      <a:pt x="88" y="10"/>
                    </a:lnTo>
                    <a:lnTo>
                      <a:pt x="86" y="10"/>
                    </a:lnTo>
                    <a:lnTo>
                      <a:pt x="84" y="8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0" y="2"/>
                    </a:lnTo>
                    <a:lnTo>
                      <a:pt x="78" y="0"/>
                    </a:lnTo>
                    <a:lnTo>
                      <a:pt x="76" y="0"/>
                    </a:lnTo>
                    <a:lnTo>
                      <a:pt x="74" y="0"/>
                    </a:lnTo>
                    <a:lnTo>
                      <a:pt x="72" y="0"/>
                    </a:lnTo>
                    <a:lnTo>
                      <a:pt x="70" y="0"/>
                    </a:lnTo>
                    <a:lnTo>
                      <a:pt x="70" y="0"/>
                    </a:lnTo>
                    <a:lnTo>
                      <a:pt x="66" y="2"/>
                    </a:lnTo>
                    <a:lnTo>
                      <a:pt x="66" y="2"/>
                    </a:lnTo>
                    <a:lnTo>
                      <a:pt x="64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0" y="4"/>
                    </a:lnTo>
                    <a:lnTo>
                      <a:pt x="60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8"/>
                    </a:lnTo>
                    <a:lnTo>
                      <a:pt x="54" y="8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0" y="10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4"/>
                    </a:lnTo>
                    <a:lnTo>
                      <a:pt x="50" y="16"/>
                    </a:lnTo>
                    <a:lnTo>
                      <a:pt x="50" y="16"/>
                    </a:lnTo>
                    <a:lnTo>
                      <a:pt x="50" y="16"/>
                    </a:lnTo>
                    <a:lnTo>
                      <a:pt x="48" y="18"/>
                    </a:lnTo>
                    <a:lnTo>
                      <a:pt x="46" y="16"/>
                    </a:lnTo>
                    <a:lnTo>
                      <a:pt x="44" y="16"/>
                    </a:lnTo>
                    <a:lnTo>
                      <a:pt x="42" y="16"/>
                    </a:lnTo>
                    <a:lnTo>
                      <a:pt x="42" y="14"/>
                    </a:lnTo>
                    <a:lnTo>
                      <a:pt x="40" y="16"/>
                    </a:lnTo>
                    <a:lnTo>
                      <a:pt x="38" y="16"/>
                    </a:lnTo>
                    <a:lnTo>
                      <a:pt x="38" y="16"/>
                    </a:lnTo>
                    <a:lnTo>
                      <a:pt x="38" y="16"/>
                    </a:lnTo>
                    <a:lnTo>
                      <a:pt x="36" y="18"/>
                    </a:lnTo>
                    <a:lnTo>
                      <a:pt x="36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28" y="20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4" y="22"/>
                    </a:lnTo>
                    <a:lnTo>
                      <a:pt x="22" y="22"/>
                    </a:lnTo>
                    <a:lnTo>
                      <a:pt x="20" y="24"/>
                    </a:lnTo>
                    <a:lnTo>
                      <a:pt x="18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2" y="28"/>
                    </a:lnTo>
                    <a:lnTo>
                      <a:pt x="10" y="30"/>
                    </a:lnTo>
                    <a:lnTo>
                      <a:pt x="8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0" y="38"/>
                    </a:lnTo>
                    <a:lnTo>
                      <a:pt x="0" y="42"/>
                    </a:lnTo>
                    <a:lnTo>
                      <a:pt x="0" y="44"/>
                    </a:lnTo>
                    <a:lnTo>
                      <a:pt x="2" y="46"/>
                    </a:lnTo>
                    <a:lnTo>
                      <a:pt x="2" y="46"/>
                    </a:lnTo>
                    <a:lnTo>
                      <a:pt x="2" y="48"/>
                    </a:lnTo>
                    <a:lnTo>
                      <a:pt x="2" y="50"/>
                    </a:lnTo>
                    <a:lnTo>
                      <a:pt x="2" y="54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8"/>
                    </a:lnTo>
                    <a:lnTo>
                      <a:pt x="6" y="60"/>
                    </a:lnTo>
                    <a:lnTo>
                      <a:pt x="8" y="60"/>
                    </a:lnTo>
                    <a:lnTo>
                      <a:pt x="10" y="62"/>
                    </a:lnTo>
                    <a:lnTo>
                      <a:pt x="14" y="64"/>
                    </a:lnTo>
                    <a:lnTo>
                      <a:pt x="16" y="64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20" y="64"/>
                    </a:lnTo>
                    <a:lnTo>
                      <a:pt x="22" y="64"/>
                    </a:lnTo>
                    <a:lnTo>
                      <a:pt x="24" y="62"/>
                    </a:lnTo>
                    <a:lnTo>
                      <a:pt x="28" y="62"/>
                    </a:lnTo>
                    <a:lnTo>
                      <a:pt x="28" y="62"/>
                    </a:lnTo>
                    <a:lnTo>
                      <a:pt x="32" y="62"/>
                    </a:lnTo>
                    <a:lnTo>
                      <a:pt x="34" y="62"/>
                    </a:lnTo>
                    <a:lnTo>
                      <a:pt x="34" y="62"/>
                    </a:lnTo>
                    <a:lnTo>
                      <a:pt x="34" y="62"/>
                    </a:lnTo>
                    <a:lnTo>
                      <a:pt x="34" y="62"/>
                    </a:lnTo>
                    <a:lnTo>
                      <a:pt x="36" y="64"/>
                    </a:lnTo>
                    <a:lnTo>
                      <a:pt x="36" y="64"/>
                    </a:lnTo>
                    <a:lnTo>
                      <a:pt x="38" y="66"/>
                    </a:lnTo>
                    <a:lnTo>
                      <a:pt x="40" y="68"/>
                    </a:lnTo>
                    <a:lnTo>
                      <a:pt x="42" y="68"/>
                    </a:lnTo>
                    <a:lnTo>
                      <a:pt x="42" y="68"/>
                    </a:lnTo>
                    <a:lnTo>
                      <a:pt x="42" y="70"/>
                    </a:lnTo>
                    <a:lnTo>
                      <a:pt x="42" y="70"/>
                    </a:lnTo>
                    <a:lnTo>
                      <a:pt x="42" y="70"/>
                    </a:lnTo>
                    <a:lnTo>
                      <a:pt x="44" y="72"/>
                    </a:lnTo>
                    <a:lnTo>
                      <a:pt x="46" y="72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50" y="74"/>
                    </a:lnTo>
                    <a:lnTo>
                      <a:pt x="50" y="76"/>
                    </a:lnTo>
                    <a:lnTo>
                      <a:pt x="50" y="76"/>
                    </a:lnTo>
                    <a:lnTo>
                      <a:pt x="52" y="78"/>
                    </a:lnTo>
                    <a:lnTo>
                      <a:pt x="52" y="80"/>
                    </a:lnTo>
                    <a:lnTo>
                      <a:pt x="52" y="80"/>
                    </a:lnTo>
                    <a:lnTo>
                      <a:pt x="54" y="86"/>
                    </a:lnTo>
                    <a:lnTo>
                      <a:pt x="54" y="86"/>
                    </a:lnTo>
                    <a:lnTo>
                      <a:pt x="54" y="88"/>
                    </a:lnTo>
                    <a:lnTo>
                      <a:pt x="54" y="90"/>
                    </a:lnTo>
                    <a:lnTo>
                      <a:pt x="56" y="90"/>
                    </a:lnTo>
                    <a:lnTo>
                      <a:pt x="56" y="92"/>
                    </a:lnTo>
                    <a:lnTo>
                      <a:pt x="56" y="92"/>
                    </a:lnTo>
                    <a:lnTo>
                      <a:pt x="58" y="92"/>
                    </a:lnTo>
                    <a:lnTo>
                      <a:pt x="60" y="94"/>
                    </a:lnTo>
                    <a:lnTo>
                      <a:pt x="62" y="94"/>
                    </a:lnTo>
                    <a:lnTo>
                      <a:pt x="62" y="94"/>
                    </a:lnTo>
                    <a:lnTo>
                      <a:pt x="64" y="98"/>
                    </a:lnTo>
                    <a:lnTo>
                      <a:pt x="66" y="102"/>
                    </a:lnTo>
                    <a:lnTo>
                      <a:pt x="66" y="102"/>
                    </a:lnTo>
                    <a:lnTo>
                      <a:pt x="68" y="104"/>
                    </a:lnTo>
                    <a:lnTo>
                      <a:pt x="68" y="104"/>
                    </a:lnTo>
                    <a:lnTo>
                      <a:pt x="70" y="106"/>
                    </a:lnTo>
                    <a:lnTo>
                      <a:pt x="70" y="106"/>
                    </a:lnTo>
                    <a:lnTo>
                      <a:pt x="70" y="106"/>
                    </a:lnTo>
                    <a:lnTo>
                      <a:pt x="72" y="106"/>
                    </a:lnTo>
                    <a:lnTo>
                      <a:pt x="74" y="106"/>
                    </a:lnTo>
                    <a:lnTo>
                      <a:pt x="74" y="106"/>
                    </a:lnTo>
                    <a:lnTo>
                      <a:pt x="76" y="106"/>
                    </a:lnTo>
                    <a:lnTo>
                      <a:pt x="78" y="106"/>
                    </a:lnTo>
                    <a:lnTo>
                      <a:pt x="78" y="106"/>
                    </a:lnTo>
                    <a:lnTo>
                      <a:pt x="78" y="106"/>
                    </a:lnTo>
                    <a:lnTo>
                      <a:pt x="78" y="108"/>
                    </a:lnTo>
                    <a:lnTo>
                      <a:pt x="80" y="110"/>
                    </a:lnTo>
                    <a:lnTo>
                      <a:pt x="80" y="110"/>
                    </a:lnTo>
                    <a:lnTo>
                      <a:pt x="82" y="110"/>
                    </a:lnTo>
                    <a:lnTo>
                      <a:pt x="84" y="112"/>
                    </a:lnTo>
                    <a:lnTo>
                      <a:pt x="84" y="112"/>
                    </a:lnTo>
                    <a:lnTo>
                      <a:pt x="84" y="114"/>
                    </a:lnTo>
                    <a:lnTo>
                      <a:pt x="86" y="116"/>
                    </a:lnTo>
                    <a:lnTo>
                      <a:pt x="86" y="116"/>
                    </a:lnTo>
                    <a:lnTo>
                      <a:pt x="88" y="116"/>
                    </a:lnTo>
                    <a:lnTo>
                      <a:pt x="88" y="118"/>
                    </a:lnTo>
                    <a:lnTo>
                      <a:pt x="88" y="118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2"/>
                    </a:lnTo>
                    <a:lnTo>
                      <a:pt x="92" y="122"/>
                    </a:lnTo>
                    <a:lnTo>
                      <a:pt x="94" y="120"/>
                    </a:lnTo>
                    <a:lnTo>
                      <a:pt x="94" y="120"/>
                    </a:lnTo>
                    <a:lnTo>
                      <a:pt x="96" y="122"/>
                    </a:lnTo>
                    <a:lnTo>
                      <a:pt x="100" y="122"/>
                    </a:lnTo>
                    <a:lnTo>
                      <a:pt x="100" y="122"/>
                    </a:lnTo>
                    <a:lnTo>
                      <a:pt x="102" y="122"/>
                    </a:lnTo>
                    <a:lnTo>
                      <a:pt x="104" y="122"/>
                    </a:lnTo>
                    <a:lnTo>
                      <a:pt x="104" y="122"/>
                    </a:lnTo>
                    <a:lnTo>
                      <a:pt x="106" y="122"/>
                    </a:lnTo>
                    <a:lnTo>
                      <a:pt x="106" y="122"/>
                    </a:lnTo>
                    <a:lnTo>
                      <a:pt x="110" y="124"/>
                    </a:lnTo>
                    <a:lnTo>
                      <a:pt x="110" y="124"/>
                    </a:lnTo>
                    <a:lnTo>
                      <a:pt x="112" y="124"/>
                    </a:lnTo>
                    <a:lnTo>
                      <a:pt x="112" y="124"/>
                    </a:lnTo>
                    <a:lnTo>
                      <a:pt x="114" y="126"/>
                    </a:lnTo>
                    <a:lnTo>
                      <a:pt x="114" y="126"/>
                    </a:lnTo>
                    <a:lnTo>
                      <a:pt x="114" y="126"/>
                    </a:lnTo>
                    <a:lnTo>
                      <a:pt x="114" y="126"/>
                    </a:lnTo>
                    <a:lnTo>
                      <a:pt x="116" y="130"/>
                    </a:lnTo>
                    <a:lnTo>
                      <a:pt x="116" y="130"/>
                    </a:lnTo>
                    <a:lnTo>
                      <a:pt x="118" y="134"/>
                    </a:lnTo>
                    <a:lnTo>
                      <a:pt x="120" y="136"/>
                    </a:lnTo>
                    <a:lnTo>
                      <a:pt x="122" y="136"/>
                    </a:lnTo>
                    <a:lnTo>
                      <a:pt x="122" y="136"/>
                    </a:lnTo>
                    <a:lnTo>
                      <a:pt x="124" y="138"/>
                    </a:lnTo>
                    <a:lnTo>
                      <a:pt x="126" y="138"/>
                    </a:lnTo>
                    <a:lnTo>
                      <a:pt x="128" y="142"/>
                    </a:lnTo>
                    <a:lnTo>
                      <a:pt x="128" y="142"/>
                    </a:lnTo>
                    <a:lnTo>
                      <a:pt x="132" y="144"/>
                    </a:lnTo>
                    <a:lnTo>
                      <a:pt x="132" y="146"/>
                    </a:lnTo>
                    <a:lnTo>
                      <a:pt x="134" y="148"/>
                    </a:lnTo>
                    <a:lnTo>
                      <a:pt x="134" y="148"/>
                    </a:lnTo>
                    <a:lnTo>
                      <a:pt x="136" y="152"/>
                    </a:lnTo>
                    <a:lnTo>
                      <a:pt x="136" y="156"/>
                    </a:lnTo>
                    <a:lnTo>
                      <a:pt x="136" y="156"/>
                    </a:lnTo>
                    <a:lnTo>
                      <a:pt x="138" y="158"/>
                    </a:lnTo>
                    <a:lnTo>
                      <a:pt x="138" y="160"/>
                    </a:lnTo>
                    <a:lnTo>
                      <a:pt x="136" y="162"/>
                    </a:lnTo>
                    <a:lnTo>
                      <a:pt x="136" y="162"/>
                    </a:lnTo>
                    <a:lnTo>
                      <a:pt x="136" y="164"/>
                    </a:lnTo>
                    <a:lnTo>
                      <a:pt x="136" y="164"/>
                    </a:lnTo>
                    <a:lnTo>
                      <a:pt x="134" y="166"/>
                    </a:lnTo>
                    <a:lnTo>
                      <a:pt x="134" y="166"/>
                    </a:lnTo>
                    <a:lnTo>
                      <a:pt x="134" y="166"/>
                    </a:lnTo>
                    <a:lnTo>
                      <a:pt x="132" y="168"/>
                    </a:lnTo>
                    <a:lnTo>
                      <a:pt x="132" y="172"/>
                    </a:lnTo>
                    <a:lnTo>
                      <a:pt x="132" y="172"/>
                    </a:lnTo>
                    <a:lnTo>
                      <a:pt x="132" y="172"/>
                    </a:lnTo>
                    <a:lnTo>
                      <a:pt x="130" y="174"/>
                    </a:lnTo>
                    <a:lnTo>
                      <a:pt x="130" y="176"/>
                    </a:lnTo>
                    <a:lnTo>
                      <a:pt x="130" y="176"/>
                    </a:lnTo>
                    <a:lnTo>
                      <a:pt x="130" y="176"/>
                    </a:lnTo>
                    <a:lnTo>
                      <a:pt x="130" y="178"/>
                    </a:lnTo>
                    <a:lnTo>
                      <a:pt x="130" y="178"/>
                    </a:lnTo>
                    <a:lnTo>
                      <a:pt x="130" y="180"/>
                    </a:lnTo>
                    <a:lnTo>
                      <a:pt x="132" y="180"/>
                    </a:lnTo>
                    <a:lnTo>
                      <a:pt x="134" y="180"/>
                    </a:lnTo>
                    <a:lnTo>
                      <a:pt x="136" y="180"/>
                    </a:lnTo>
                    <a:lnTo>
                      <a:pt x="136" y="180"/>
                    </a:lnTo>
                    <a:lnTo>
                      <a:pt x="138" y="180"/>
                    </a:lnTo>
                    <a:lnTo>
                      <a:pt x="138" y="178"/>
                    </a:lnTo>
                    <a:lnTo>
                      <a:pt x="140" y="176"/>
                    </a:lnTo>
                    <a:lnTo>
                      <a:pt x="140" y="176"/>
                    </a:lnTo>
                    <a:lnTo>
                      <a:pt x="142" y="174"/>
                    </a:lnTo>
                    <a:lnTo>
                      <a:pt x="144" y="174"/>
                    </a:lnTo>
                    <a:lnTo>
                      <a:pt x="148" y="172"/>
                    </a:lnTo>
                    <a:lnTo>
                      <a:pt x="148" y="172"/>
                    </a:lnTo>
                    <a:lnTo>
                      <a:pt x="148" y="170"/>
                    </a:lnTo>
                    <a:lnTo>
                      <a:pt x="148" y="170"/>
                    </a:lnTo>
                    <a:lnTo>
                      <a:pt x="148" y="168"/>
                    </a:lnTo>
                    <a:lnTo>
                      <a:pt x="148" y="166"/>
                    </a:lnTo>
                    <a:lnTo>
                      <a:pt x="148" y="166"/>
                    </a:lnTo>
                    <a:lnTo>
                      <a:pt x="148" y="166"/>
                    </a:lnTo>
                    <a:lnTo>
                      <a:pt x="148" y="164"/>
                    </a:lnTo>
                    <a:lnTo>
                      <a:pt x="150" y="162"/>
                    </a:lnTo>
                    <a:lnTo>
                      <a:pt x="150" y="160"/>
                    </a:lnTo>
                    <a:lnTo>
                      <a:pt x="152" y="158"/>
                    </a:lnTo>
                    <a:lnTo>
                      <a:pt x="152" y="158"/>
                    </a:lnTo>
                    <a:lnTo>
                      <a:pt x="154" y="158"/>
                    </a:lnTo>
                    <a:lnTo>
                      <a:pt x="154" y="156"/>
                    </a:lnTo>
                    <a:lnTo>
                      <a:pt x="154" y="154"/>
                    </a:lnTo>
                    <a:lnTo>
                      <a:pt x="154" y="152"/>
                    </a:lnTo>
                    <a:lnTo>
                      <a:pt x="154" y="152"/>
                    </a:lnTo>
                    <a:lnTo>
                      <a:pt x="152" y="148"/>
                    </a:lnTo>
                    <a:lnTo>
                      <a:pt x="150" y="146"/>
                    </a:lnTo>
                    <a:lnTo>
                      <a:pt x="150" y="146"/>
                    </a:lnTo>
                    <a:lnTo>
                      <a:pt x="150" y="146"/>
                    </a:lnTo>
                    <a:lnTo>
                      <a:pt x="146" y="144"/>
                    </a:lnTo>
                    <a:lnTo>
                      <a:pt x="146" y="144"/>
                    </a:lnTo>
                    <a:lnTo>
                      <a:pt x="144" y="144"/>
                    </a:lnTo>
                    <a:lnTo>
                      <a:pt x="144" y="144"/>
                    </a:lnTo>
                    <a:lnTo>
                      <a:pt x="144" y="142"/>
                    </a:lnTo>
                    <a:lnTo>
                      <a:pt x="144" y="142"/>
                    </a:lnTo>
                    <a:lnTo>
                      <a:pt x="144" y="142"/>
                    </a:lnTo>
                    <a:lnTo>
                      <a:pt x="146" y="138"/>
                    </a:lnTo>
                    <a:lnTo>
                      <a:pt x="146" y="138"/>
                    </a:lnTo>
                    <a:lnTo>
                      <a:pt x="148" y="136"/>
                    </a:lnTo>
                    <a:lnTo>
                      <a:pt x="148" y="134"/>
                    </a:lnTo>
                    <a:lnTo>
                      <a:pt x="148" y="134"/>
                    </a:lnTo>
                    <a:lnTo>
                      <a:pt x="148" y="134"/>
                    </a:lnTo>
                    <a:lnTo>
                      <a:pt x="150" y="132"/>
                    </a:lnTo>
                    <a:lnTo>
                      <a:pt x="150" y="132"/>
                    </a:lnTo>
                    <a:lnTo>
                      <a:pt x="152" y="132"/>
                    </a:lnTo>
                    <a:lnTo>
                      <a:pt x="154" y="132"/>
                    </a:lnTo>
                    <a:lnTo>
                      <a:pt x="156" y="134"/>
                    </a:lnTo>
                    <a:lnTo>
                      <a:pt x="156" y="134"/>
                    </a:lnTo>
                    <a:lnTo>
                      <a:pt x="158" y="136"/>
                    </a:lnTo>
                    <a:lnTo>
                      <a:pt x="160" y="138"/>
                    </a:lnTo>
                    <a:lnTo>
                      <a:pt x="160" y="138"/>
                    </a:lnTo>
                    <a:lnTo>
                      <a:pt x="162" y="140"/>
                    </a:lnTo>
                    <a:lnTo>
                      <a:pt x="164" y="140"/>
                    </a:lnTo>
                    <a:lnTo>
                      <a:pt x="166" y="140"/>
                    </a:lnTo>
                    <a:lnTo>
                      <a:pt x="166" y="140"/>
                    </a:lnTo>
                    <a:lnTo>
                      <a:pt x="168" y="140"/>
                    </a:lnTo>
                    <a:lnTo>
                      <a:pt x="168" y="140"/>
                    </a:lnTo>
                    <a:lnTo>
                      <a:pt x="168" y="138"/>
                    </a:lnTo>
                    <a:lnTo>
                      <a:pt x="168" y="138"/>
                    </a:lnTo>
                    <a:lnTo>
                      <a:pt x="168" y="138"/>
                    </a:lnTo>
                    <a:lnTo>
                      <a:pt x="168" y="138"/>
                    </a:lnTo>
                    <a:lnTo>
                      <a:pt x="168" y="136"/>
                    </a:lnTo>
                    <a:lnTo>
                      <a:pt x="168" y="136"/>
                    </a:lnTo>
                    <a:lnTo>
                      <a:pt x="166" y="130"/>
                    </a:lnTo>
                    <a:lnTo>
                      <a:pt x="164" y="128"/>
                    </a:lnTo>
                    <a:lnTo>
                      <a:pt x="162" y="126"/>
                    </a:lnTo>
                    <a:lnTo>
                      <a:pt x="162" y="126"/>
                    </a:lnTo>
                    <a:lnTo>
                      <a:pt x="160" y="124"/>
                    </a:lnTo>
                    <a:lnTo>
                      <a:pt x="154" y="122"/>
                    </a:lnTo>
                    <a:lnTo>
                      <a:pt x="150" y="120"/>
                    </a:lnTo>
                    <a:lnTo>
                      <a:pt x="146" y="118"/>
                    </a:lnTo>
                    <a:lnTo>
                      <a:pt x="146" y="118"/>
                    </a:lnTo>
                    <a:lnTo>
                      <a:pt x="142" y="118"/>
                    </a:lnTo>
                    <a:lnTo>
                      <a:pt x="138" y="116"/>
                    </a:lnTo>
                    <a:lnTo>
                      <a:pt x="138" y="116"/>
                    </a:lnTo>
                    <a:lnTo>
                      <a:pt x="138" y="116"/>
                    </a:lnTo>
                    <a:lnTo>
                      <a:pt x="138" y="114"/>
                    </a:lnTo>
                    <a:lnTo>
                      <a:pt x="136" y="114"/>
                    </a:lnTo>
                    <a:lnTo>
                      <a:pt x="136" y="112"/>
                    </a:lnTo>
                    <a:lnTo>
                      <a:pt x="136" y="112"/>
                    </a:lnTo>
                    <a:lnTo>
                      <a:pt x="138" y="110"/>
                    </a:lnTo>
                    <a:lnTo>
                      <a:pt x="138" y="110"/>
                    </a:lnTo>
                    <a:lnTo>
                      <a:pt x="138" y="108"/>
                    </a:lnTo>
                    <a:lnTo>
                      <a:pt x="138" y="108"/>
                    </a:lnTo>
                    <a:lnTo>
                      <a:pt x="138" y="106"/>
                    </a:lnTo>
                    <a:lnTo>
                      <a:pt x="138" y="106"/>
                    </a:lnTo>
                    <a:lnTo>
                      <a:pt x="136" y="106"/>
                    </a:lnTo>
                    <a:lnTo>
                      <a:pt x="134" y="106"/>
                    </a:lnTo>
                    <a:lnTo>
                      <a:pt x="134" y="106"/>
                    </a:lnTo>
                    <a:lnTo>
                      <a:pt x="132" y="106"/>
                    </a:lnTo>
                    <a:lnTo>
                      <a:pt x="128" y="106"/>
                    </a:lnTo>
                    <a:lnTo>
                      <a:pt x="128" y="106"/>
                    </a:lnTo>
                    <a:lnTo>
                      <a:pt x="128" y="106"/>
                    </a:lnTo>
                    <a:lnTo>
                      <a:pt x="126" y="106"/>
                    </a:lnTo>
                    <a:lnTo>
                      <a:pt x="124" y="106"/>
                    </a:lnTo>
                    <a:lnTo>
                      <a:pt x="124" y="106"/>
                    </a:lnTo>
                    <a:lnTo>
                      <a:pt x="122" y="106"/>
                    </a:lnTo>
                    <a:lnTo>
                      <a:pt x="120" y="106"/>
                    </a:lnTo>
                    <a:lnTo>
                      <a:pt x="118" y="106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4" y="102"/>
                    </a:lnTo>
                    <a:lnTo>
                      <a:pt x="112" y="100"/>
                    </a:lnTo>
                    <a:lnTo>
                      <a:pt x="112" y="100"/>
                    </a:lnTo>
                    <a:lnTo>
                      <a:pt x="112" y="98"/>
                    </a:lnTo>
                    <a:lnTo>
                      <a:pt x="110" y="96"/>
                    </a:lnTo>
                    <a:lnTo>
                      <a:pt x="110" y="96"/>
                    </a:lnTo>
                    <a:lnTo>
                      <a:pt x="108" y="94"/>
                    </a:lnTo>
                    <a:lnTo>
                      <a:pt x="106" y="90"/>
                    </a:lnTo>
                    <a:lnTo>
                      <a:pt x="104" y="86"/>
                    </a:lnTo>
                    <a:lnTo>
                      <a:pt x="102" y="84"/>
                    </a:lnTo>
                    <a:lnTo>
                      <a:pt x="102" y="84"/>
                    </a:lnTo>
                    <a:lnTo>
                      <a:pt x="100" y="80"/>
                    </a:lnTo>
                    <a:lnTo>
                      <a:pt x="100" y="78"/>
                    </a:lnTo>
                    <a:lnTo>
                      <a:pt x="98" y="76"/>
                    </a:lnTo>
                    <a:lnTo>
                      <a:pt x="98" y="76"/>
                    </a:lnTo>
                    <a:lnTo>
                      <a:pt x="96" y="72"/>
                    </a:lnTo>
                    <a:lnTo>
                      <a:pt x="92" y="70"/>
                    </a:lnTo>
                    <a:lnTo>
                      <a:pt x="92" y="70"/>
                    </a:lnTo>
                    <a:lnTo>
                      <a:pt x="90" y="68"/>
                    </a:lnTo>
                    <a:lnTo>
                      <a:pt x="88" y="66"/>
                    </a:lnTo>
                    <a:lnTo>
                      <a:pt x="86" y="66"/>
                    </a:lnTo>
                    <a:lnTo>
                      <a:pt x="86" y="66"/>
                    </a:lnTo>
                    <a:lnTo>
                      <a:pt x="84" y="64"/>
                    </a:lnTo>
                    <a:lnTo>
                      <a:pt x="82" y="64"/>
                    </a:lnTo>
                    <a:lnTo>
                      <a:pt x="80" y="64"/>
                    </a:lnTo>
                    <a:lnTo>
                      <a:pt x="80" y="64"/>
                    </a:lnTo>
                    <a:lnTo>
                      <a:pt x="80" y="62"/>
                    </a:lnTo>
                    <a:lnTo>
                      <a:pt x="78" y="58"/>
                    </a:lnTo>
                    <a:lnTo>
                      <a:pt x="80" y="56"/>
                    </a:lnTo>
                    <a:lnTo>
                      <a:pt x="80" y="54"/>
                    </a:lnTo>
                    <a:lnTo>
                      <a:pt x="80" y="54"/>
                    </a:lnTo>
                    <a:lnTo>
                      <a:pt x="80" y="52"/>
                    </a:lnTo>
                    <a:lnTo>
                      <a:pt x="80" y="50"/>
                    </a:lnTo>
                    <a:lnTo>
                      <a:pt x="80" y="50"/>
                    </a:lnTo>
                    <a:lnTo>
                      <a:pt x="80" y="48"/>
                    </a:lnTo>
                    <a:lnTo>
                      <a:pt x="80" y="48"/>
                    </a:lnTo>
                    <a:lnTo>
                      <a:pt x="78" y="48"/>
                    </a:lnTo>
                    <a:lnTo>
                      <a:pt x="78" y="44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76" y="38"/>
                    </a:lnTo>
                    <a:lnTo>
                      <a:pt x="76" y="36"/>
                    </a:lnTo>
                    <a:lnTo>
                      <a:pt x="76" y="36"/>
                    </a:lnTo>
                    <a:lnTo>
                      <a:pt x="76" y="36"/>
                    </a:lnTo>
                    <a:lnTo>
                      <a:pt x="76" y="36"/>
                    </a:lnTo>
                    <a:lnTo>
                      <a:pt x="78" y="36"/>
                    </a:lnTo>
                    <a:lnTo>
                      <a:pt x="78" y="36"/>
                    </a:lnTo>
                    <a:lnTo>
                      <a:pt x="78" y="36"/>
                    </a:lnTo>
                    <a:lnTo>
                      <a:pt x="80" y="36"/>
                    </a:lnTo>
                    <a:lnTo>
                      <a:pt x="82" y="34"/>
                    </a:lnTo>
                    <a:lnTo>
                      <a:pt x="82" y="34"/>
                    </a:lnTo>
                    <a:lnTo>
                      <a:pt x="84" y="32"/>
                    </a:lnTo>
                    <a:lnTo>
                      <a:pt x="84" y="32"/>
                    </a:lnTo>
                    <a:lnTo>
                      <a:pt x="86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2" y="34"/>
                    </a:lnTo>
                    <a:lnTo>
                      <a:pt x="92" y="34"/>
                    </a:lnTo>
                    <a:lnTo>
                      <a:pt x="94" y="32"/>
                    </a:lnTo>
                    <a:lnTo>
                      <a:pt x="96" y="32"/>
                    </a:lnTo>
                    <a:lnTo>
                      <a:pt x="98" y="32"/>
                    </a:lnTo>
                    <a:lnTo>
                      <a:pt x="98" y="32"/>
                    </a:lnTo>
                    <a:lnTo>
                      <a:pt x="102" y="32"/>
                    </a:lnTo>
                    <a:lnTo>
                      <a:pt x="102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28"/>
                    </a:lnTo>
                    <a:lnTo>
                      <a:pt x="102" y="28"/>
                    </a:lnTo>
                    <a:lnTo>
                      <a:pt x="102" y="26"/>
                    </a:lnTo>
                    <a:lnTo>
                      <a:pt x="102" y="26"/>
                    </a:lnTo>
                    <a:lnTo>
                      <a:pt x="102" y="26"/>
                    </a:lnTo>
                    <a:lnTo>
                      <a:pt x="102" y="26"/>
                    </a:lnTo>
                    <a:lnTo>
                      <a:pt x="102" y="2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32" name="Freeform 449"/>
              <p:cNvSpPr>
                <a:spLocks/>
              </p:cNvSpPr>
              <p:nvPr/>
            </p:nvSpPr>
            <p:spPr bwMode="auto">
              <a:xfrm>
                <a:off x="2899" y="2184"/>
                <a:ext cx="42" cy="30"/>
              </a:xfrm>
              <a:custGeom>
                <a:avLst/>
                <a:gdLst>
                  <a:gd name="T0" fmla="*/ 36 w 42"/>
                  <a:gd name="T1" fmla="*/ 0 h 30"/>
                  <a:gd name="T2" fmla="*/ 34 w 42"/>
                  <a:gd name="T3" fmla="*/ 0 h 30"/>
                  <a:gd name="T4" fmla="*/ 30 w 42"/>
                  <a:gd name="T5" fmla="*/ 2 h 30"/>
                  <a:gd name="T6" fmla="*/ 28 w 42"/>
                  <a:gd name="T7" fmla="*/ 6 h 30"/>
                  <a:gd name="T8" fmla="*/ 26 w 42"/>
                  <a:gd name="T9" fmla="*/ 6 h 30"/>
                  <a:gd name="T10" fmla="*/ 18 w 42"/>
                  <a:gd name="T11" fmla="*/ 6 h 30"/>
                  <a:gd name="T12" fmla="*/ 12 w 42"/>
                  <a:gd name="T13" fmla="*/ 6 h 30"/>
                  <a:gd name="T14" fmla="*/ 10 w 42"/>
                  <a:gd name="T15" fmla="*/ 6 h 30"/>
                  <a:gd name="T16" fmla="*/ 6 w 42"/>
                  <a:gd name="T17" fmla="*/ 6 h 30"/>
                  <a:gd name="T18" fmla="*/ 4 w 42"/>
                  <a:gd name="T19" fmla="*/ 6 h 30"/>
                  <a:gd name="T20" fmla="*/ 4 w 42"/>
                  <a:gd name="T21" fmla="*/ 6 h 30"/>
                  <a:gd name="T22" fmla="*/ 2 w 42"/>
                  <a:gd name="T23" fmla="*/ 8 h 30"/>
                  <a:gd name="T24" fmla="*/ 0 w 42"/>
                  <a:gd name="T25" fmla="*/ 12 h 30"/>
                  <a:gd name="T26" fmla="*/ 0 w 42"/>
                  <a:gd name="T27" fmla="*/ 12 h 30"/>
                  <a:gd name="T28" fmla="*/ 2 w 42"/>
                  <a:gd name="T29" fmla="*/ 14 h 30"/>
                  <a:gd name="T30" fmla="*/ 6 w 42"/>
                  <a:gd name="T31" fmla="*/ 16 h 30"/>
                  <a:gd name="T32" fmla="*/ 8 w 42"/>
                  <a:gd name="T33" fmla="*/ 16 h 30"/>
                  <a:gd name="T34" fmla="*/ 12 w 42"/>
                  <a:gd name="T35" fmla="*/ 16 h 30"/>
                  <a:gd name="T36" fmla="*/ 16 w 42"/>
                  <a:gd name="T37" fmla="*/ 16 h 30"/>
                  <a:gd name="T38" fmla="*/ 18 w 42"/>
                  <a:gd name="T39" fmla="*/ 18 h 30"/>
                  <a:gd name="T40" fmla="*/ 20 w 42"/>
                  <a:gd name="T41" fmla="*/ 20 h 30"/>
                  <a:gd name="T42" fmla="*/ 26 w 42"/>
                  <a:gd name="T43" fmla="*/ 24 h 30"/>
                  <a:gd name="T44" fmla="*/ 30 w 42"/>
                  <a:gd name="T45" fmla="*/ 24 h 30"/>
                  <a:gd name="T46" fmla="*/ 32 w 42"/>
                  <a:gd name="T47" fmla="*/ 26 h 30"/>
                  <a:gd name="T48" fmla="*/ 36 w 42"/>
                  <a:gd name="T49" fmla="*/ 28 h 30"/>
                  <a:gd name="T50" fmla="*/ 38 w 42"/>
                  <a:gd name="T51" fmla="*/ 30 h 30"/>
                  <a:gd name="T52" fmla="*/ 40 w 42"/>
                  <a:gd name="T53" fmla="*/ 30 h 30"/>
                  <a:gd name="T54" fmla="*/ 40 w 42"/>
                  <a:gd name="T55" fmla="*/ 30 h 30"/>
                  <a:gd name="T56" fmla="*/ 42 w 42"/>
                  <a:gd name="T57" fmla="*/ 26 h 30"/>
                  <a:gd name="T58" fmla="*/ 42 w 42"/>
                  <a:gd name="T59" fmla="*/ 24 h 30"/>
                  <a:gd name="T60" fmla="*/ 42 w 42"/>
                  <a:gd name="T61" fmla="*/ 18 h 30"/>
                  <a:gd name="T62" fmla="*/ 40 w 42"/>
                  <a:gd name="T63" fmla="*/ 14 h 30"/>
                  <a:gd name="T64" fmla="*/ 40 w 42"/>
                  <a:gd name="T65" fmla="*/ 12 h 30"/>
                  <a:gd name="T66" fmla="*/ 42 w 42"/>
                  <a:gd name="T67" fmla="*/ 8 h 30"/>
                  <a:gd name="T68" fmla="*/ 42 w 42"/>
                  <a:gd name="T69" fmla="*/ 4 h 30"/>
                  <a:gd name="T70" fmla="*/ 42 w 42"/>
                  <a:gd name="T71" fmla="*/ 2 h 30"/>
                  <a:gd name="T72" fmla="*/ 38 w 42"/>
                  <a:gd name="T73" fmla="*/ 0 h 30"/>
                  <a:gd name="T74" fmla="*/ 36 w 42"/>
                  <a:gd name="T75" fmla="*/ 0 h 30"/>
                  <a:gd name="T76" fmla="*/ 36 w 42"/>
                  <a:gd name="T77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2" h="30">
                    <a:moveTo>
                      <a:pt x="36" y="0"/>
                    </a:moveTo>
                    <a:lnTo>
                      <a:pt x="36" y="0"/>
                    </a:lnTo>
                    <a:lnTo>
                      <a:pt x="36" y="0"/>
                    </a:lnTo>
                    <a:lnTo>
                      <a:pt x="34" y="0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28" y="4"/>
                    </a:lnTo>
                    <a:lnTo>
                      <a:pt x="28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4" y="6"/>
                    </a:lnTo>
                    <a:lnTo>
                      <a:pt x="12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4" y="16"/>
                    </a:lnTo>
                    <a:lnTo>
                      <a:pt x="16" y="16"/>
                    </a:lnTo>
                    <a:lnTo>
                      <a:pt x="16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20" y="20"/>
                    </a:lnTo>
                    <a:lnTo>
                      <a:pt x="24" y="22"/>
                    </a:lnTo>
                    <a:lnTo>
                      <a:pt x="26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2" y="26"/>
                    </a:lnTo>
                    <a:lnTo>
                      <a:pt x="34" y="26"/>
                    </a:lnTo>
                    <a:lnTo>
                      <a:pt x="36" y="28"/>
                    </a:lnTo>
                    <a:lnTo>
                      <a:pt x="36" y="28"/>
                    </a:lnTo>
                    <a:lnTo>
                      <a:pt x="38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2" y="28"/>
                    </a:lnTo>
                    <a:lnTo>
                      <a:pt x="42" y="26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42" y="20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0" y="14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0"/>
                    </a:lnTo>
                    <a:lnTo>
                      <a:pt x="42" y="8"/>
                    </a:lnTo>
                    <a:lnTo>
                      <a:pt x="42" y="6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2"/>
                    </a:lnTo>
                    <a:lnTo>
                      <a:pt x="40" y="0"/>
                    </a:lnTo>
                    <a:lnTo>
                      <a:pt x="38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33" name="Freeform 451"/>
              <p:cNvSpPr>
                <a:spLocks/>
              </p:cNvSpPr>
              <p:nvPr/>
            </p:nvSpPr>
            <p:spPr bwMode="auto">
              <a:xfrm>
                <a:off x="2835" y="2134"/>
                <a:ext cx="26" cy="44"/>
              </a:xfrm>
              <a:custGeom>
                <a:avLst/>
                <a:gdLst>
                  <a:gd name="T0" fmla="*/ 12 w 26"/>
                  <a:gd name="T1" fmla="*/ 2 h 44"/>
                  <a:gd name="T2" fmla="*/ 8 w 26"/>
                  <a:gd name="T3" fmla="*/ 8 h 44"/>
                  <a:gd name="T4" fmla="*/ 6 w 26"/>
                  <a:gd name="T5" fmla="*/ 8 h 44"/>
                  <a:gd name="T6" fmla="*/ 0 w 26"/>
                  <a:gd name="T7" fmla="*/ 10 h 44"/>
                  <a:gd name="T8" fmla="*/ 0 w 26"/>
                  <a:gd name="T9" fmla="*/ 10 h 44"/>
                  <a:gd name="T10" fmla="*/ 0 w 26"/>
                  <a:gd name="T11" fmla="*/ 12 h 44"/>
                  <a:gd name="T12" fmla="*/ 0 w 26"/>
                  <a:gd name="T13" fmla="*/ 16 h 44"/>
                  <a:gd name="T14" fmla="*/ 2 w 26"/>
                  <a:gd name="T15" fmla="*/ 18 h 44"/>
                  <a:gd name="T16" fmla="*/ 2 w 26"/>
                  <a:gd name="T17" fmla="*/ 26 h 44"/>
                  <a:gd name="T18" fmla="*/ 2 w 26"/>
                  <a:gd name="T19" fmla="*/ 28 h 44"/>
                  <a:gd name="T20" fmla="*/ 2 w 26"/>
                  <a:gd name="T21" fmla="*/ 32 h 44"/>
                  <a:gd name="T22" fmla="*/ 2 w 26"/>
                  <a:gd name="T23" fmla="*/ 34 h 44"/>
                  <a:gd name="T24" fmla="*/ 4 w 26"/>
                  <a:gd name="T25" fmla="*/ 36 h 44"/>
                  <a:gd name="T26" fmla="*/ 4 w 26"/>
                  <a:gd name="T27" fmla="*/ 38 h 44"/>
                  <a:gd name="T28" fmla="*/ 2 w 26"/>
                  <a:gd name="T29" fmla="*/ 40 h 44"/>
                  <a:gd name="T30" fmla="*/ 2 w 26"/>
                  <a:gd name="T31" fmla="*/ 44 h 44"/>
                  <a:gd name="T32" fmla="*/ 2 w 26"/>
                  <a:gd name="T33" fmla="*/ 44 h 44"/>
                  <a:gd name="T34" fmla="*/ 2 w 26"/>
                  <a:gd name="T35" fmla="*/ 44 h 44"/>
                  <a:gd name="T36" fmla="*/ 6 w 26"/>
                  <a:gd name="T37" fmla="*/ 44 h 44"/>
                  <a:gd name="T38" fmla="*/ 8 w 26"/>
                  <a:gd name="T39" fmla="*/ 44 h 44"/>
                  <a:gd name="T40" fmla="*/ 12 w 26"/>
                  <a:gd name="T41" fmla="*/ 40 h 44"/>
                  <a:gd name="T42" fmla="*/ 14 w 26"/>
                  <a:gd name="T43" fmla="*/ 40 h 44"/>
                  <a:gd name="T44" fmla="*/ 18 w 26"/>
                  <a:gd name="T45" fmla="*/ 40 h 44"/>
                  <a:gd name="T46" fmla="*/ 22 w 26"/>
                  <a:gd name="T47" fmla="*/ 40 h 44"/>
                  <a:gd name="T48" fmla="*/ 22 w 26"/>
                  <a:gd name="T49" fmla="*/ 40 h 44"/>
                  <a:gd name="T50" fmla="*/ 24 w 26"/>
                  <a:gd name="T51" fmla="*/ 34 h 44"/>
                  <a:gd name="T52" fmla="*/ 24 w 26"/>
                  <a:gd name="T53" fmla="*/ 34 h 44"/>
                  <a:gd name="T54" fmla="*/ 26 w 26"/>
                  <a:gd name="T55" fmla="*/ 30 h 44"/>
                  <a:gd name="T56" fmla="*/ 26 w 26"/>
                  <a:gd name="T57" fmla="*/ 28 h 44"/>
                  <a:gd name="T58" fmla="*/ 26 w 26"/>
                  <a:gd name="T59" fmla="*/ 26 h 44"/>
                  <a:gd name="T60" fmla="*/ 24 w 26"/>
                  <a:gd name="T61" fmla="*/ 24 h 44"/>
                  <a:gd name="T62" fmla="*/ 22 w 26"/>
                  <a:gd name="T63" fmla="*/ 22 h 44"/>
                  <a:gd name="T64" fmla="*/ 22 w 26"/>
                  <a:gd name="T65" fmla="*/ 22 h 44"/>
                  <a:gd name="T66" fmla="*/ 22 w 26"/>
                  <a:gd name="T67" fmla="*/ 22 h 44"/>
                  <a:gd name="T68" fmla="*/ 22 w 26"/>
                  <a:gd name="T69" fmla="*/ 20 h 44"/>
                  <a:gd name="T70" fmla="*/ 24 w 26"/>
                  <a:gd name="T71" fmla="*/ 20 h 44"/>
                  <a:gd name="T72" fmla="*/ 24 w 26"/>
                  <a:gd name="T73" fmla="*/ 16 h 44"/>
                  <a:gd name="T74" fmla="*/ 24 w 26"/>
                  <a:gd name="T75" fmla="*/ 12 h 44"/>
                  <a:gd name="T76" fmla="*/ 22 w 26"/>
                  <a:gd name="T77" fmla="*/ 8 h 44"/>
                  <a:gd name="T78" fmla="*/ 20 w 26"/>
                  <a:gd name="T79" fmla="*/ 4 h 44"/>
                  <a:gd name="T80" fmla="*/ 18 w 26"/>
                  <a:gd name="T81" fmla="*/ 2 h 44"/>
                  <a:gd name="T82" fmla="*/ 16 w 26"/>
                  <a:gd name="T83" fmla="*/ 0 h 44"/>
                  <a:gd name="T84" fmla="*/ 14 w 26"/>
                  <a:gd name="T85" fmla="*/ 2 h 44"/>
                  <a:gd name="T86" fmla="*/ 12 w 26"/>
                  <a:gd name="T87" fmla="*/ 2 h 44"/>
                  <a:gd name="T88" fmla="*/ 12 w 26"/>
                  <a:gd name="T89" fmla="*/ 2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6" h="44">
                    <a:moveTo>
                      <a:pt x="12" y="2"/>
                    </a:moveTo>
                    <a:lnTo>
                      <a:pt x="12" y="2"/>
                    </a:lnTo>
                    <a:lnTo>
                      <a:pt x="8" y="6"/>
                    </a:lnTo>
                    <a:lnTo>
                      <a:pt x="8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2" y="8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2" y="22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2" y="28"/>
                    </a:lnTo>
                    <a:lnTo>
                      <a:pt x="0" y="30"/>
                    </a:lnTo>
                    <a:lnTo>
                      <a:pt x="2" y="32"/>
                    </a:lnTo>
                    <a:lnTo>
                      <a:pt x="2" y="32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4" y="36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2" y="40"/>
                    </a:lnTo>
                    <a:lnTo>
                      <a:pt x="2" y="40"/>
                    </a:lnTo>
                    <a:lnTo>
                      <a:pt x="2" y="42"/>
                    </a:lnTo>
                    <a:lnTo>
                      <a:pt x="2" y="44"/>
                    </a:lnTo>
                    <a:lnTo>
                      <a:pt x="2" y="44"/>
                    </a:lnTo>
                    <a:lnTo>
                      <a:pt x="2" y="44"/>
                    </a:lnTo>
                    <a:lnTo>
                      <a:pt x="2" y="44"/>
                    </a:lnTo>
                    <a:lnTo>
                      <a:pt x="2" y="44"/>
                    </a:lnTo>
                    <a:lnTo>
                      <a:pt x="4" y="44"/>
                    </a:lnTo>
                    <a:lnTo>
                      <a:pt x="6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12" y="42"/>
                    </a:lnTo>
                    <a:lnTo>
                      <a:pt x="12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8" y="40"/>
                    </a:lnTo>
                    <a:lnTo>
                      <a:pt x="20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38"/>
                    </a:lnTo>
                    <a:lnTo>
                      <a:pt x="24" y="34"/>
                    </a:lnTo>
                    <a:lnTo>
                      <a:pt x="24" y="34"/>
                    </a:lnTo>
                    <a:lnTo>
                      <a:pt x="24" y="34"/>
                    </a:lnTo>
                    <a:lnTo>
                      <a:pt x="24" y="32"/>
                    </a:lnTo>
                    <a:lnTo>
                      <a:pt x="26" y="30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6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4" y="20"/>
                    </a:lnTo>
                    <a:lnTo>
                      <a:pt x="24" y="20"/>
                    </a:lnTo>
                    <a:lnTo>
                      <a:pt x="24" y="18"/>
                    </a:lnTo>
                    <a:lnTo>
                      <a:pt x="24" y="16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0"/>
                    </a:lnTo>
                    <a:lnTo>
                      <a:pt x="22" y="8"/>
                    </a:lnTo>
                    <a:lnTo>
                      <a:pt x="22" y="6"/>
                    </a:lnTo>
                    <a:lnTo>
                      <a:pt x="20" y="4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34" name="Freeform 453"/>
              <p:cNvSpPr>
                <a:spLocks/>
              </p:cNvSpPr>
              <p:nvPr/>
            </p:nvSpPr>
            <p:spPr bwMode="auto">
              <a:xfrm>
                <a:off x="2909" y="2016"/>
                <a:ext cx="46" cy="28"/>
              </a:xfrm>
              <a:custGeom>
                <a:avLst/>
                <a:gdLst>
                  <a:gd name="T0" fmla="*/ 24 w 46"/>
                  <a:gd name="T1" fmla="*/ 28 h 28"/>
                  <a:gd name="T2" fmla="*/ 26 w 46"/>
                  <a:gd name="T3" fmla="*/ 26 h 28"/>
                  <a:gd name="T4" fmla="*/ 28 w 46"/>
                  <a:gd name="T5" fmla="*/ 24 h 28"/>
                  <a:gd name="T6" fmla="*/ 32 w 46"/>
                  <a:gd name="T7" fmla="*/ 24 h 28"/>
                  <a:gd name="T8" fmla="*/ 32 w 46"/>
                  <a:gd name="T9" fmla="*/ 22 h 28"/>
                  <a:gd name="T10" fmla="*/ 32 w 46"/>
                  <a:gd name="T11" fmla="*/ 20 h 28"/>
                  <a:gd name="T12" fmla="*/ 34 w 46"/>
                  <a:gd name="T13" fmla="*/ 18 h 28"/>
                  <a:gd name="T14" fmla="*/ 34 w 46"/>
                  <a:gd name="T15" fmla="*/ 16 h 28"/>
                  <a:gd name="T16" fmla="*/ 38 w 46"/>
                  <a:gd name="T17" fmla="*/ 16 h 28"/>
                  <a:gd name="T18" fmla="*/ 42 w 46"/>
                  <a:gd name="T19" fmla="*/ 14 h 28"/>
                  <a:gd name="T20" fmla="*/ 42 w 46"/>
                  <a:gd name="T21" fmla="*/ 14 h 28"/>
                  <a:gd name="T22" fmla="*/ 46 w 46"/>
                  <a:gd name="T23" fmla="*/ 10 h 28"/>
                  <a:gd name="T24" fmla="*/ 46 w 46"/>
                  <a:gd name="T25" fmla="*/ 8 h 28"/>
                  <a:gd name="T26" fmla="*/ 44 w 46"/>
                  <a:gd name="T27" fmla="*/ 6 h 28"/>
                  <a:gd name="T28" fmla="*/ 42 w 46"/>
                  <a:gd name="T29" fmla="*/ 4 h 28"/>
                  <a:gd name="T30" fmla="*/ 40 w 46"/>
                  <a:gd name="T31" fmla="*/ 0 h 28"/>
                  <a:gd name="T32" fmla="*/ 36 w 46"/>
                  <a:gd name="T33" fmla="*/ 0 h 28"/>
                  <a:gd name="T34" fmla="*/ 32 w 46"/>
                  <a:gd name="T35" fmla="*/ 0 h 28"/>
                  <a:gd name="T36" fmla="*/ 30 w 46"/>
                  <a:gd name="T37" fmla="*/ 0 h 28"/>
                  <a:gd name="T38" fmla="*/ 28 w 46"/>
                  <a:gd name="T39" fmla="*/ 2 h 28"/>
                  <a:gd name="T40" fmla="*/ 22 w 46"/>
                  <a:gd name="T41" fmla="*/ 8 h 28"/>
                  <a:gd name="T42" fmla="*/ 20 w 46"/>
                  <a:gd name="T43" fmla="*/ 8 h 28"/>
                  <a:gd name="T44" fmla="*/ 16 w 46"/>
                  <a:gd name="T45" fmla="*/ 10 h 28"/>
                  <a:gd name="T46" fmla="*/ 16 w 46"/>
                  <a:gd name="T47" fmla="*/ 10 h 28"/>
                  <a:gd name="T48" fmla="*/ 14 w 46"/>
                  <a:gd name="T49" fmla="*/ 12 h 28"/>
                  <a:gd name="T50" fmla="*/ 12 w 46"/>
                  <a:gd name="T51" fmla="*/ 12 h 28"/>
                  <a:gd name="T52" fmla="*/ 8 w 46"/>
                  <a:gd name="T53" fmla="*/ 14 h 28"/>
                  <a:gd name="T54" fmla="*/ 4 w 46"/>
                  <a:gd name="T55" fmla="*/ 12 h 28"/>
                  <a:gd name="T56" fmla="*/ 0 w 46"/>
                  <a:gd name="T57" fmla="*/ 12 h 28"/>
                  <a:gd name="T58" fmla="*/ 0 w 46"/>
                  <a:gd name="T59" fmla="*/ 16 h 28"/>
                  <a:gd name="T60" fmla="*/ 0 w 46"/>
                  <a:gd name="T61" fmla="*/ 18 h 28"/>
                  <a:gd name="T62" fmla="*/ 2 w 46"/>
                  <a:gd name="T63" fmla="*/ 20 h 28"/>
                  <a:gd name="T64" fmla="*/ 6 w 46"/>
                  <a:gd name="T65" fmla="*/ 22 h 28"/>
                  <a:gd name="T66" fmla="*/ 8 w 46"/>
                  <a:gd name="T67" fmla="*/ 24 h 28"/>
                  <a:gd name="T68" fmla="*/ 10 w 46"/>
                  <a:gd name="T69" fmla="*/ 26 h 28"/>
                  <a:gd name="T70" fmla="*/ 14 w 46"/>
                  <a:gd name="T71" fmla="*/ 28 h 28"/>
                  <a:gd name="T72" fmla="*/ 20 w 46"/>
                  <a:gd name="T73" fmla="*/ 28 h 28"/>
                  <a:gd name="T74" fmla="*/ 24 w 46"/>
                  <a:gd name="T75" fmla="*/ 28 h 28"/>
                  <a:gd name="T76" fmla="*/ 24 w 46"/>
                  <a:gd name="T77" fmla="*/ 28 h 28"/>
                  <a:gd name="T78" fmla="*/ 24 w 46"/>
                  <a:gd name="T79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6" h="28">
                    <a:moveTo>
                      <a:pt x="24" y="28"/>
                    </a:moveTo>
                    <a:lnTo>
                      <a:pt x="24" y="28"/>
                    </a:lnTo>
                    <a:lnTo>
                      <a:pt x="24" y="26"/>
                    </a:lnTo>
                    <a:lnTo>
                      <a:pt x="26" y="26"/>
                    </a:lnTo>
                    <a:lnTo>
                      <a:pt x="28" y="24"/>
                    </a:lnTo>
                    <a:lnTo>
                      <a:pt x="28" y="24"/>
                    </a:lnTo>
                    <a:lnTo>
                      <a:pt x="30" y="24"/>
                    </a:lnTo>
                    <a:lnTo>
                      <a:pt x="32" y="24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6"/>
                    </a:lnTo>
                    <a:lnTo>
                      <a:pt x="36" y="16"/>
                    </a:lnTo>
                    <a:lnTo>
                      <a:pt x="38" y="16"/>
                    </a:lnTo>
                    <a:lnTo>
                      <a:pt x="40" y="14"/>
                    </a:lnTo>
                    <a:lnTo>
                      <a:pt x="42" y="14"/>
                    </a:lnTo>
                    <a:lnTo>
                      <a:pt x="42" y="14"/>
                    </a:lnTo>
                    <a:lnTo>
                      <a:pt x="42" y="14"/>
                    </a:lnTo>
                    <a:lnTo>
                      <a:pt x="44" y="12"/>
                    </a:lnTo>
                    <a:lnTo>
                      <a:pt x="46" y="10"/>
                    </a:lnTo>
                    <a:lnTo>
                      <a:pt x="46" y="10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4" y="6"/>
                    </a:lnTo>
                    <a:lnTo>
                      <a:pt x="44" y="6"/>
                    </a:lnTo>
                    <a:lnTo>
                      <a:pt x="42" y="4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8" y="0"/>
                    </a:lnTo>
                    <a:lnTo>
                      <a:pt x="36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8" y="2"/>
                    </a:lnTo>
                    <a:lnTo>
                      <a:pt x="28" y="2"/>
                    </a:lnTo>
                    <a:lnTo>
                      <a:pt x="24" y="4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4" y="10"/>
                    </a:lnTo>
                    <a:lnTo>
                      <a:pt x="14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0" y="12"/>
                    </a:lnTo>
                    <a:lnTo>
                      <a:pt x="8" y="14"/>
                    </a:lnTo>
                    <a:lnTo>
                      <a:pt x="6" y="12"/>
                    </a:lnTo>
                    <a:lnTo>
                      <a:pt x="4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4" y="22"/>
                    </a:lnTo>
                    <a:lnTo>
                      <a:pt x="6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35" name="Freeform 455"/>
              <p:cNvSpPr>
                <a:spLocks/>
              </p:cNvSpPr>
              <p:nvPr/>
            </p:nvSpPr>
            <p:spPr bwMode="auto">
              <a:xfrm>
                <a:off x="2907" y="2024"/>
                <a:ext cx="84" cy="90"/>
              </a:xfrm>
              <a:custGeom>
                <a:avLst/>
                <a:gdLst>
                  <a:gd name="T0" fmla="*/ 76 w 84"/>
                  <a:gd name="T1" fmla="*/ 78 h 90"/>
                  <a:gd name="T2" fmla="*/ 68 w 84"/>
                  <a:gd name="T3" fmla="*/ 74 h 90"/>
                  <a:gd name="T4" fmla="*/ 62 w 84"/>
                  <a:gd name="T5" fmla="*/ 72 h 90"/>
                  <a:gd name="T6" fmla="*/ 60 w 84"/>
                  <a:gd name="T7" fmla="*/ 66 h 90"/>
                  <a:gd name="T8" fmla="*/ 58 w 84"/>
                  <a:gd name="T9" fmla="*/ 60 h 90"/>
                  <a:gd name="T10" fmla="*/ 50 w 84"/>
                  <a:gd name="T11" fmla="*/ 52 h 90"/>
                  <a:gd name="T12" fmla="*/ 44 w 84"/>
                  <a:gd name="T13" fmla="*/ 46 h 90"/>
                  <a:gd name="T14" fmla="*/ 42 w 84"/>
                  <a:gd name="T15" fmla="*/ 42 h 90"/>
                  <a:gd name="T16" fmla="*/ 40 w 84"/>
                  <a:gd name="T17" fmla="*/ 38 h 90"/>
                  <a:gd name="T18" fmla="*/ 38 w 84"/>
                  <a:gd name="T19" fmla="*/ 32 h 90"/>
                  <a:gd name="T20" fmla="*/ 44 w 84"/>
                  <a:gd name="T21" fmla="*/ 28 h 90"/>
                  <a:gd name="T22" fmla="*/ 50 w 84"/>
                  <a:gd name="T23" fmla="*/ 30 h 90"/>
                  <a:gd name="T24" fmla="*/ 54 w 84"/>
                  <a:gd name="T25" fmla="*/ 30 h 90"/>
                  <a:gd name="T26" fmla="*/ 60 w 84"/>
                  <a:gd name="T27" fmla="*/ 30 h 90"/>
                  <a:gd name="T28" fmla="*/ 64 w 84"/>
                  <a:gd name="T29" fmla="*/ 28 h 90"/>
                  <a:gd name="T30" fmla="*/ 70 w 84"/>
                  <a:gd name="T31" fmla="*/ 26 h 90"/>
                  <a:gd name="T32" fmla="*/ 78 w 84"/>
                  <a:gd name="T33" fmla="*/ 28 h 90"/>
                  <a:gd name="T34" fmla="*/ 82 w 84"/>
                  <a:gd name="T35" fmla="*/ 26 h 90"/>
                  <a:gd name="T36" fmla="*/ 80 w 84"/>
                  <a:gd name="T37" fmla="*/ 18 h 90"/>
                  <a:gd name="T38" fmla="*/ 78 w 84"/>
                  <a:gd name="T39" fmla="*/ 14 h 90"/>
                  <a:gd name="T40" fmla="*/ 66 w 84"/>
                  <a:gd name="T41" fmla="*/ 16 h 90"/>
                  <a:gd name="T42" fmla="*/ 60 w 84"/>
                  <a:gd name="T43" fmla="*/ 14 h 90"/>
                  <a:gd name="T44" fmla="*/ 56 w 84"/>
                  <a:gd name="T45" fmla="*/ 8 h 90"/>
                  <a:gd name="T46" fmla="*/ 50 w 84"/>
                  <a:gd name="T47" fmla="*/ 2 h 90"/>
                  <a:gd name="T48" fmla="*/ 44 w 84"/>
                  <a:gd name="T49" fmla="*/ 6 h 90"/>
                  <a:gd name="T50" fmla="*/ 38 w 84"/>
                  <a:gd name="T51" fmla="*/ 8 h 90"/>
                  <a:gd name="T52" fmla="*/ 34 w 84"/>
                  <a:gd name="T53" fmla="*/ 12 h 90"/>
                  <a:gd name="T54" fmla="*/ 32 w 84"/>
                  <a:gd name="T55" fmla="*/ 16 h 90"/>
                  <a:gd name="T56" fmla="*/ 26 w 84"/>
                  <a:gd name="T57" fmla="*/ 20 h 90"/>
                  <a:gd name="T58" fmla="*/ 16 w 84"/>
                  <a:gd name="T59" fmla="*/ 20 h 90"/>
                  <a:gd name="T60" fmla="*/ 8 w 84"/>
                  <a:gd name="T61" fmla="*/ 22 h 90"/>
                  <a:gd name="T62" fmla="*/ 0 w 84"/>
                  <a:gd name="T63" fmla="*/ 24 h 90"/>
                  <a:gd name="T64" fmla="*/ 2 w 84"/>
                  <a:gd name="T65" fmla="*/ 28 h 90"/>
                  <a:gd name="T66" fmla="*/ 4 w 84"/>
                  <a:gd name="T67" fmla="*/ 34 h 90"/>
                  <a:gd name="T68" fmla="*/ 10 w 84"/>
                  <a:gd name="T69" fmla="*/ 40 h 90"/>
                  <a:gd name="T70" fmla="*/ 12 w 84"/>
                  <a:gd name="T71" fmla="*/ 40 h 90"/>
                  <a:gd name="T72" fmla="*/ 16 w 84"/>
                  <a:gd name="T73" fmla="*/ 36 h 90"/>
                  <a:gd name="T74" fmla="*/ 22 w 84"/>
                  <a:gd name="T75" fmla="*/ 38 h 90"/>
                  <a:gd name="T76" fmla="*/ 26 w 84"/>
                  <a:gd name="T77" fmla="*/ 42 h 90"/>
                  <a:gd name="T78" fmla="*/ 26 w 84"/>
                  <a:gd name="T79" fmla="*/ 52 h 90"/>
                  <a:gd name="T80" fmla="*/ 32 w 84"/>
                  <a:gd name="T81" fmla="*/ 62 h 90"/>
                  <a:gd name="T82" fmla="*/ 38 w 84"/>
                  <a:gd name="T83" fmla="*/ 66 h 90"/>
                  <a:gd name="T84" fmla="*/ 44 w 84"/>
                  <a:gd name="T85" fmla="*/ 74 h 90"/>
                  <a:gd name="T86" fmla="*/ 46 w 84"/>
                  <a:gd name="T87" fmla="*/ 76 h 90"/>
                  <a:gd name="T88" fmla="*/ 58 w 84"/>
                  <a:gd name="T89" fmla="*/ 78 h 90"/>
                  <a:gd name="T90" fmla="*/ 66 w 84"/>
                  <a:gd name="T91" fmla="*/ 82 h 90"/>
                  <a:gd name="T92" fmla="*/ 70 w 84"/>
                  <a:gd name="T93" fmla="*/ 84 h 90"/>
                  <a:gd name="T94" fmla="*/ 74 w 84"/>
                  <a:gd name="T95" fmla="*/ 82 h 90"/>
                  <a:gd name="T96" fmla="*/ 80 w 84"/>
                  <a:gd name="T97" fmla="*/ 86 h 90"/>
                  <a:gd name="T98" fmla="*/ 84 w 84"/>
                  <a:gd name="T99" fmla="*/ 90 h 90"/>
                  <a:gd name="T100" fmla="*/ 82 w 84"/>
                  <a:gd name="T101" fmla="*/ 86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84" h="90">
                    <a:moveTo>
                      <a:pt x="82" y="86"/>
                    </a:moveTo>
                    <a:lnTo>
                      <a:pt x="82" y="86"/>
                    </a:lnTo>
                    <a:lnTo>
                      <a:pt x="78" y="82"/>
                    </a:lnTo>
                    <a:lnTo>
                      <a:pt x="76" y="78"/>
                    </a:lnTo>
                    <a:lnTo>
                      <a:pt x="76" y="78"/>
                    </a:lnTo>
                    <a:lnTo>
                      <a:pt x="74" y="78"/>
                    </a:lnTo>
                    <a:lnTo>
                      <a:pt x="72" y="76"/>
                    </a:lnTo>
                    <a:lnTo>
                      <a:pt x="70" y="76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6" y="74"/>
                    </a:lnTo>
                    <a:lnTo>
                      <a:pt x="66" y="74"/>
                    </a:lnTo>
                    <a:lnTo>
                      <a:pt x="64" y="74"/>
                    </a:lnTo>
                    <a:lnTo>
                      <a:pt x="62" y="72"/>
                    </a:lnTo>
                    <a:lnTo>
                      <a:pt x="62" y="72"/>
                    </a:lnTo>
                    <a:lnTo>
                      <a:pt x="62" y="72"/>
                    </a:lnTo>
                    <a:lnTo>
                      <a:pt x="62" y="70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6"/>
                    </a:lnTo>
                    <a:lnTo>
                      <a:pt x="60" y="66"/>
                    </a:lnTo>
                    <a:lnTo>
                      <a:pt x="60" y="62"/>
                    </a:lnTo>
                    <a:lnTo>
                      <a:pt x="60" y="60"/>
                    </a:lnTo>
                    <a:lnTo>
                      <a:pt x="58" y="60"/>
                    </a:lnTo>
                    <a:lnTo>
                      <a:pt x="58" y="60"/>
                    </a:lnTo>
                    <a:lnTo>
                      <a:pt x="58" y="60"/>
                    </a:lnTo>
                    <a:lnTo>
                      <a:pt x="58" y="58"/>
                    </a:lnTo>
                    <a:lnTo>
                      <a:pt x="56" y="56"/>
                    </a:lnTo>
                    <a:lnTo>
                      <a:pt x="52" y="54"/>
                    </a:lnTo>
                    <a:lnTo>
                      <a:pt x="50" y="52"/>
                    </a:lnTo>
                    <a:lnTo>
                      <a:pt x="48" y="52"/>
                    </a:lnTo>
                    <a:lnTo>
                      <a:pt x="48" y="50"/>
                    </a:lnTo>
                    <a:lnTo>
                      <a:pt x="48" y="50"/>
                    </a:lnTo>
                    <a:lnTo>
                      <a:pt x="46" y="48"/>
                    </a:lnTo>
                    <a:lnTo>
                      <a:pt x="44" y="46"/>
                    </a:lnTo>
                    <a:lnTo>
                      <a:pt x="44" y="46"/>
                    </a:lnTo>
                    <a:lnTo>
                      <a:pt x="44" y="46"/>
                    </a:lnTo>
                    <a:lnTo>
                      <a:pt x="44" y="44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2" y="40"/>
                    </a:lnTo>
                    <a:lnTo>
                      <a:pt x="42" y="40"/>
                    </a:lnTo>
                    <a:lnTo>
                      <a:pt x="40" y="40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38" y="38"/>
                    </a:lnTo>
                    <a:lnTo>
                      <a:pt x="38" y="36"/>
                    </a:lnTo>
                    <a:lnTo>
                      <a:pt x="38" y="34"/>
                    </a:lnTo>
                    <a:lnTo>
                      <a:pt x="38" y="32"/>
                    </a:lnTo>
                    <a:lnTo>
                      <a:pt x="38" y="32"/>
                    </a:lnTo>
                    <a:lnTo>
                      <a:pt x="38" y="30"/>
                    </a:lnTo>
                    <a:lnTo>
                      <a:pt x="40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4" y="28"/>
                    </a:lnTo>
                    <a:lnTo>
                      <a:pt x="46" y="28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50" y="30"/>
                    </a:lnTo>
                    <a:lnTo>
                      <a:pt x="50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4" y="30"/>
                    </a:lnTo>
                    <a:lnTo>
                      <a:pt x="54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2" y="30"/>
                    </a:lnTo>
                    <a:lnTo>
                      <a:pt x="62" y="30"/>
                    </a:lnTo>
                    <a:lnTo>
                      <a:pt x="64" y="28"/>
                    </a:lnTo>
                    <a:lnTo>
                      <a:pt x="64" y="28"/>
                    </a:lnTo>
                    <a:lnTo>
                      <a:pt x="66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2" y="28"/>
                    </a:lnTo>
                    <a:lnTo>
                      <a:pt x="72" y="28"/>
                    </a:lnTo>
                    <a:lnTo>
                      <a:pt x="74" y="28"/>
                    </a:lnTo>
                    <a:lnTo>
                      <a:pt x="74" y="28"/>
                    </a:lnTo>
                    <a:lnTo>
                      <a:pt x="78" y="28"/>
                    </a:lnTo>
                    <a:lnTo>
                      <a:pt x="78" y="28"/>
                    </a:lnTo>
                    <a:lnTo>
                      <a:pt x="80" y="28"/>
                    </a:lnTo>
                    <a:lnTo>
                      <a:pt x="82" y="28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24"/>
                    </a:lnTo>
                    <a:lnTo>
                      <a:pt x="82" y="20"/>
                    </a:lnTo>
                    <a:lnTo>
                      <a:pt x="82" y="20"/>
                    </a:lnTo>
                    <a:lnTo>
                      <a:pt x="80" y="18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4"/>
                    </a:lnTo>
                    <a:lnTo>
                      <a:pt x="78" y="14"/>
                    </a:lnTo>
                    <a:lnTo>
                      <a:pt x="74" y="16"/>
                    </a:lnTo>
                    <a:lnTo>
                      <a:pt x="72" y="16"/>
                    </a:lnTo>
                    <a:lnTo>
                      <a:pt x="70" y="16"/>
                    </a:lnTo>
                    <a:lnTo>
                      <a:pt x="70" y="16"/>
                    </a:lnTo>
                    <a:lnTo>
                      <a:pt x="66" y="16"/>
                    </a:lnTo>
                    <a:lnTo>
                      <a:pt x="66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2" y="14"/>
                    </a:lnTo>
                    <a:lnTo>
                      <a:pt x="60" y="14"/>
                    </a:lnTo>
                    <a:lnTo>
                      <a:pt x="60" y="14"/>
                    </a:lnTo>
                    <a:lnTo>
                      <a:pt x="58" y="12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8"/>
                    </a:lnTo>
                    <a:lnTo>
                      <a:pt x="54" y="6"/>
                    </a:lnTo>
                    <a:lnTo>
                      <a:pt x="54" y="6"/>
                    </a:lnTo>
                    <a:lnTo>
                      <a:pt x="52" y="4"/>
                    </a:lnTo>
                    <a:lnTo>
                      <a:pt x="52" y="2"/>
                    </a:lnTo>
                    <a:lnTo>
                      <a:pt x="50" y="2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8" y="2"/>
                    </a:lnTo>
                    <a:lnTo>
                      <a:pt x="46" y="2"/>
                    </a:lnTo>
                    <a:lnTo>
                      <a:pt x="44" y="6"/>
                    </a:lnTo>
                    <a:lnTo>
                      <a:pt x="44" y="6"/>
                    </a:lnTo>
                    <a:lnTo>
                      <a:pt x="44" y="6"/>
                    </a:lnTo>
                    <a:lnTo>
                      <a:pt x="42" y="6"/>
                    </a:lnTo>
                    <a:lnTo>
                      <a:pt x="40" y="8"/>
                    </a:lnTo>
                    <a:lnTo>
                      <a:pt x="38" y="8"/>
                    </a:lnTo>
                    <a:lnTo>
                      <a:pt x="36" y="8"/>
                    </a:lnTo>
                    <a:lnTo>
                      <a:pt x="36" y="10"/>
                    </a:lnTo>
                    <a:lnTo>
                      <a:pt x="36" y="10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6"/>
                    </a:lnTo>
                    <a:lnTo>
                      <a:pt x="32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28" y="18"/>
                    </a:lnTo>
                    <a:lnTo>
                      <a:pt x="26" y="18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16" y="20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20"/>
                    </a:lnTo>
                    <a:lnTo>
                      <a:pt x="10" y="22"/>
                    </a:lnTo>
                    <a:lnTo>
                      <a:pt x="8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4" y="22"/>
                    </a:lnTo>
                    <a:lnTo>
                      <a:pt x="2" y="22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4"/>
                    </a:lnTo>
                    <a:lnTo>
                      <a:pt x="2" y="28"/>
                    </a:lnTo>
                    <a:lnTo>
                      <a:pt x="2" y="28"/>
                    </a:lnTo>
                    <a:lnTo>
                      <a:pt x="2" y="28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2"/>
                    </a:lnTo>
                    <a:lnTo>
                      <a:pt x="2" y="32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8"/>
                    </a:lnTo>
                    <a:lnTo>
                      <a:pt x="6" y="38"/>
                    </a:lnTo>
                    <a:lnTo>
                      <a:pt x="8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8" y="36"/>
                    </a:lnTo>
                    <a:lnTo>
                      <a:pt x="20" y="36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4" y="38"/>
                    </a:lnTo>
                    <a:lnTo>
                      <a:pt x="26" y="40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4"/>
                    </a:lnTo>
                    <a:lnTo>
                      <a:pt x="26" y="48"/>
                    </a:lnTo>
                    <a:lnTo>
                      <a:pt x="26" y="50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8" y="54"/>
                    </a:lnTo>
                    <a:lnTo>
                      <a:pt x="28" y="56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2" y="62"/>
                    </a:lnTo>
                    <a:lnTo>
                      <a:pt x="34" y="62"/>
                    </a:lnTo>
                    <a:lnTo>
                      <a:pt x="34" y="64"/>
                    </a:lnTo>
                    <a:lnTo>
                      <a:pt x="34" y="64"/>
                    </a:lnTo>
                    <a:lnTo>
                      <a:pt x="38" y="66"/>
                    </a:lnTo>
                    <a:lnTo>
                      <a:pt x="38" y="66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2" y="70"/>
                    </a:lnTo>
                    <a:lnTo>
                      <a:pt x="42" y="72"/>
                    </a:lnTo>
                    <a:lnTo>
                      <a:pt x="44" y="74"/>
                    </a:lnTo>
                    <a:lnTo>
                      <a:pt x="44" y="76"/>
                    </a:lnTo>
                    <a:lnTo>
                      <a:pt x="46" y="76"/>
                    </a:lnTo>
                    <a:lnTo>
                      <a:pt x="46" y="76"/>
                    </a:lnTo>
                    <a:lnTo>
                      <a:pt x="46" y="76"/>
                    </a:lnTo>
                    <a:lnTo>
                      <a:pt x="46" y="76"/>
                    </a:lnTo>
                    <a:lnTo>
                      <a:pt x="48" y="78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8" y="78"/>
                    </a:lnTo>
                    <a:lnTo>
                      <a:pt x="58" y="78"/>
                    </a:lnTo>
                    <a:lnTo>
                      <a:pt x="58" y="78"/>
                    </a:lnTo>
                    <a:lnTo>
                      <a:pt x="60" y="78"/>
                    </a:lnTo>
                    <a:lnTo>
                      <a:pt x="62" y="80"/>
                    </a:lnTo>
                    <a:lnTo>
                      <a:pt x="62" y="80"/>
                    </a:lnTo>
                    <a:lnTo>
                      <a:pt x="66" y="82"/>
                    </a:lnTo>
                    <a:lnTo>
                      <a:pt x="66" y="82"/>
                    </a:lnTo>
                    <a:lnTo>
                      <a:pt x="68" y="82"/>
                    </a:lnTo>
                    <a:lnTo>
                      <a:pt x="68" y="84"/>
                    </a:lnTo>
                    <a:lnTo>
                      <a:pt x="70" y="84"/>
                    </a:lnTo>
                    <a:lnTo>
                      <a:pt x="70" y="84"/>
                    </a:lnTo>
                    <a:lnTo>
                      <a:pt x="70" y="84"/>
                    </a:lnTo>
                    <a:lnTo>
                      <a:pt x="70" y="82"/>
                    </a:lnTo>
                    <a:lnTo>
                      <a:pt x="72" y="82"/>
                    </a:lnTo>
                    <a:lnTo>
                      <a:pt x="72" y="82"/>
                    </a:lnTo>
                    <a:lnTo>
                      <a:pt x="74" y="82"/>
                    </a:lnTo>
                    <a:lnTo>
                      <a:pt x="74" y="82"/>
                    </a:lnTo>
                    <a:lnTo>
                      <a:pt x="76" y="84"/>
                    </a:lnTo>
                    <a:lnTo>
                      <a:pt x="76" y="84"/>
                    </a:lnTo>
                    <a:lnTo>
                      <a:pt x="78" y="84"/>
                    </a:lnTo>
                    <a:lnTo>
                      <a:pt x="80" y="86"/>
                    </a:lnTo>
                    <a:lnTo>
                      <a:pt x="80" y="86"/>
                    </a:lnTo>
                    <a:lnTo>
                      <a:pt x="80" y="86"/>
                    </a:lnTo>
                    <a:lnTo>
                      <a:pt x="82" y="88"/>
                    </a:lnTo>
                    <a:lnTo>
                      <a:pt x="82" y="88"/>
                    </a:lnTo>
                    <a:lnTo>
                      <a:pt x="84" y="90"/>
                    </a:lnTo>
                    <a:lnTo>
                      <a:pt x="84" y="90"/>
                    </a:lnTo>
                    <a:lnTo>
                      <a:pt x="84" y="88"/>
                    </a:lnTo>
                    <a:lnTo>
                      <a:pt x="84" y="88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2" y="8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36" name="Freeform 457"/>
              <p:cNvSpPr>
                <a:spLocks/>
              </p:cNvSpPr>
              <p:nvPr/>
            </p:nvSpPr>
            <p:spPr bwMode="auto">
              <a:xfrm>
                <a:off x="2945" y="2050"/>
                <a:ext cx="56" cy="52"/>
              </a:xfrm>
              <a:custGeom>
                <a:avLst/>
                <a:gdLst>
                  <a:gd name="T0" fmla="*/ 44 w 56"/>
                  <a:gd name="T1" fmla="*/ 40 h 52"/>
                  <a:gd name="T2" fmla="*/ 44 w 56"/>
                  <a:gd name="T3" fmla="*/ 36 h 52"/>
                  <a:gd name="T4" fmla="*/ 46 w 56"/>
                  <a:gd name="T5" fmla="*/ 34 h 52"/>
                  <a:gd name="T6" fmla="*/ 48 w 56"/>
                  <a:gd name="T7" fmla="*/ 32 h 52"/>
                  <a:gd name="T8" fmla="*/ 48 w 56"/>
                  <a:gd name="T9" fmla="*/ 32 h 52"/>
                  <a:gd name="T10" fmla="*/ 54 w 56"/>
                  <a:gd name="T11" fmla="*/ 30 h 52"/>
                  <a:gd name="T12" fmla="*/ 56 w 56"/>
                  <a:gd name="T13" fmla="*/ 28 h 52"/>
                  <a:gd name="T14" fmla="*/ 56 w 56"/>
                  <a:gd name="T15" fmla="*/ 24 h 52"/>
                  <a:gd name="T16" fmla="*/ 54 w 56"/>
                  <a:gd name="T17" fmla="*/ 22 h 52"/>
                  <a:gd name="T18" fmla="*/ 48 w 56"/>
                  <a:gd name="T19" fmla="*/ 16 h 52"/>
                  <a:gd name="T20" fmla="*/ 48 w 56"/>
                  <a:gd name="T21" fmla="*/ 14 h 52"/>
                  <a:gd name="T22" fmla="*/ 48 w 56"/>
                  <a:gd name="T23" fmla="*/ 12 h 52"/>
                  <a:gd name="T24" fmla="*/ 48 w 56"/>
                  <a:gd name="T25" fmla="*/ 8 h 52"/>
                  <a:gd name="T26" fmla="*/ 48 w 56"/>
                  <a:gd name="T27" fmla="*/ 6 h 52"/>
                  <a:gd name="T28" fmla="*/ 48 w 56"/>
                  <a:gd name="T29" fmla="*/ 4 h 52"/>
                  <a:gd name="T30" fmla="*/ 46 w 56"/>
                  <a:gd name="T31" fmla="*/ 2 h 52"/>
                  <a:gd name="T32" fmla="*/ 44 w 56"/>
                  <a:gd name="T33" fmla="*/ 2 h 52"/>
                  <a:gd name="T34" fmla="*/ 42 w 56"/>
                  <a:gd name="T35" fmla="*/ 2 h 52"/>
                  <a:gd name="T36" fmla="*/ 36 w 56"/>
                  <a:gd name="T37" fmla="*/ 2 h 52"/>
                  <a:gd name="T38" fmla="*/ 34 w 56"/>
                  <a:gd name="T39" fmla="*/ 2 h 52"/>
                  <a:gd name="T40" fmla="*/ 32 w 56"/>
                  <a:gd name="T41" fmla="*/ 0 h 52"/>
                  <a:gd name="T42" fmla="*/ 30 w 56"/>
                  <a:gd name="T43" fmla="*/ 0 h 52"/>
                  <a:gd name="T44" fmla="*/ 26 w 56"/>
                  <a:gd name="T45" fmla="*/ 2 h 52"/>
                  <a:gd name="T46" fmla="*/ 24 w 56"/>
                  <a:gd name="T47" fmla="*/ 4 h 52"/>
                  <a:gd name="T48" fmla="*/ 22 w 56"/>
                  <a:gd name="T49" fmla="*/ 4 h 52"/>
                  <a:gd name="T50" fmla="*/ 20 w 56"/>
                  <a:gd name="T51" fmla="*/ 4 h 52"/>
                  <a:gd name="T52" fmla="*/ 18 w 56"/>
                  <a:gd name="T53" fmla="*/ 4 h 52"/>
                  <a:gd name="T54" fmla="*/ 16 w 56"/>
                  <a:gd name="T55" fmla="*/ 4 h 52"/>
                  <a:gd name="T56" fmla="*/ 14 w 56"/>
                  <a:gd name="T57" fmla="*/ 4 h 52"/>
                  <a:gd name="T58" fmla="*/ 14 w 56"/>
                  <a:gd name="T59" fmla="*/ 4 h 52"/>
                  <a:gd name="T60" fmla="*/ 12 w 56"/>
                  <a:gd name="T61" fmla="*/ 4 h 52"/>
                  <a:gd name="T62" fmla="*/ 10 w 56"/>
                  <a:gd name="T63" fmla="*/ 4 h 52"/>
                  <a:gd name="T64" fmla="*/ 6 w 56"/>
                  <a:gd name="T65" fmla="*/ 2 h 52"/>
                  <a:gd name="T66" fmla="*/ 4 w 56"/>
                  <a:gd name="T67" fmla="*/ 2 h 52"/>
                  <a:gd name="T68" fmla="*/ 0 w 56"/>
                  <a:gd name="T69" fmla="*/ 4 h 52"/>
                  <a:gd name="T70" fmla="*/ 0 w 56"/>
                  <a:gd name="T71" fmla="*/ 6 h 52"/>
                  <a:gd name="T72" fmla="*/ 0 w 56"/>
                  <a:gd name="T73" fmla="*/ 10 h 52"/>
                  <a:gd name="T74" fmla="*/ 2 w 56"/>
                  <a:gd name="T75" fmla="*/ 12 h 52"/>
                  <a:gd name="T76" fmla="*/ 2 w 56"/>
                  <a:gd name="T77" fmla="*/ 14 h 52"/>
                  <a:gd name="T78" fmla="*/ 4 w 56"/>
                  <a:gd name="T79" fmla="*/ 14 h 52"/>
                  <a:gd name="T80" fmla="*/ 4 w 56"/>
                  <a:gd name="T81" fmla="*/ 16 h 52"/>
                  <a:gd name="T82" fmla="*/ 6 w 56"/>
                  <a:gd name="T83" fmla="*/ 20 h 52"/>
                  <a:gd name="T84" fmla="*/ 6 w 56"/>
                  <a:gd name="T85" fmla="*/ 20 h 52"/>
                  <a:gd name="T86" fmla="*/ 10 w 56"/>
                  <a:gd name="T87" fmla="*/ 24 h 52"/>
                  <a:gd name="T88" fmla="*/ 10 w 56"/>
                  <a:gd name="T89" fmla="*/ 26 h 52"/>
                  <a:gd name="T90" fmla="*/ 14 w 56"/>
                  <a:gd name="T91" fmla="*/ 28 h 52"/>
                  <a:gd name="T92" fmla="*/ 20 w 56"/>
                  <a:gd name="T93" fmla="*/ 32 h 52"/>
                  <a:gd name="T94" fmla="*/ 20 w 56"/>
                  <a:gd name="T95" fmla="*/ 34 h 52"/>
                  <a:gd name="T96" fmla="*/ 22 w 56"/>
                  <a:gd name="T97" fmla="*/ 34 h 52"/>
                  <a:gd name="T98" fmla="*/ 22 w 56"/>
                  <a:gd name="T99" fmla="*/ 40 h 52"/>
                  <a:gd name="T100" fmla="*/ 22 w 56"/>
                  <a:gd name="T101" fmla="*/ 42 h 52"/>
                  <a:gd name="T102" fmla="*/ 24 w 56"/>
                  <a:gd name="T103" fmla="*/ 44 h 52"/>
                  <a:gd name="T104" fmla="*/ 24 w 56"/>
                  <a:gd name="T105" fmla="*/ 46 h 52"/>
                  <a:gd name="T106" fmla="*/ 26 w 56"/>
                  <a:gd name="T107" fmla="*/ 48 h 52"/>
                  <a:gd name="T108" fmla="*/ 28 w 56"/>
                  <a:gd name="T109" fmla="*/ 48 h 52"/>
                  <a:gd name="T110" fmla="*/ 30 w 56"/>
                  <a:gd name="T111" fmla="*/ 48 h 52"/>
                  <a:gd name="T112" fmla="*/ 34 w 56"/>
                  <a:gd name="T113" fmla="*/ 50 h 52"/>
                  <a:gd name="T114" fmla="*/ 38 w 56"/>
                  <a:gd name="T115" fmla="*/ 52 h 52"/>
                  <a:gd name="T116" fmla="*/ 38 w 56"/>
                  <a:gd name="T117" fmla="*/ 50 h 52"/>
                  <a:gd name="T118" fmla="*/ 42 w 56"/>
                  <a:gd name="T119" fmla="*/ 44 h 52"/>
                  <a:gd name="T120" fmla="*/ 44 w 56"/>
                  <a:gd name="T121" fmla="*/ 42 h 52"/>
                  <a:gd name="T122" fmla="*/ 44 w 56"/>
                  <a:gd name="T123" fmla="*/ 40 h 52"/>
                  <a:gd name="T124" fmla="*/ 44 w 56"/>
                  <a:gd name="T125" fmla="*/ 4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6" h="52">
                    <a:moveTo>
                      <a:pt x="44" y="40"/>
                    </a:moveTo>
                    <a:lnTo>
                      <a:pt x="44" y="40"/>
                    </a:lnTo>
                    <a:lnTo>
                      <a:pt x="44" y="38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6" y="34"/>
                    </a:lnTo>
                    <a:lnTo>
                      <a:pt x="46" y="34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52" y="30"/>
                    </a:lnTo>
                    <a:lnTo>
                      <a:pt x="54" y="30"/>
                    </a:lnTo>
                    <a:lnTo>
                      <a:pt x="54" y="28"/>
                    </a:lnTo>
                    <a:lnTo>
                      <a:pt x="56" y="28"/>
                    </a:lnTo>
                    <a:lnTo>
                      <a:pt x="56" y="26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4" y="22"/>
                    </a:lnTo>
                    <a:lnTo>
                      <a:pt x="52" y="20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4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6"/>
                    </a:lnTo>
                    <a:lnTo>
                      <a:pt x="48" y="6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6" y="2"/>
                    </a:lnTo>
                    <a:lnTo>
                      <a:pt x="46" y="2"/>
                    </a:lnTo>
                    <a:lnTo>
                      <a:pt x="44" y="2"/>
                    </a:lnTo>
                    <a:lnTo>
                      <a:pt x="44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38" y="2"/>
                    </a:lnTo>
                    <a:lnTo>
                      <a:pt x="36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8" y="0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6" y="18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8" y="22"/>
                    </a:lnTo>
                    <a:lnTo>
                      <a:pt x="10" y="24"/>
                    </a:lnTo>
                    <a:lnTo>
                      <a:pt x="10" y="24"/>
                    </a:lnTo>
                    <a:lnTo>
                      <a:pt x="10" y="26"/>
                    </a:lnTo>
                    <a:lnTo>
                      <a:pt x="12" y="26"/>
                    </a:lnTo>
                    <a:lnTo>
                      <a:pt x="14" y="28"/>
                    </a:lnTo>
                    <a:lnTo>
                      <a:pt x="18" y="30"/>
                    </a:lnTo>
                    <a:lnTo>
                      <a:pt x="20" y="32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2" y="34"/>
                    </a:lnTo>
                    <a:lnTo>
                      <a:pt x="22" y="36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4" y="44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6" y="48"/>
                    </a:lnTo>
                    <a:lnTo>
                      <a:pt x="28" y="48"/>
                    </a:lnTo>
                    <a:lnTo>
                      <a:pt x="28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2" y="50"/>
                    </a:lnTo>
                    <a:lnTo>
                      <a:pt x="34" y="50"/>
                    </a:lnTo>
                    <a:lnTo>
                      <a:pt x="36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0"/>
                    </a:lnTo>
                    <a:lnTo>
                      <a:pt x="40" y="48"/>
                    </a:lnTo>
                    <a:lnTo>
                      <a:pt x="42" y="44"/>
                    </a:lnTo>
                    <a:lnTo>
                      <a:pt x="42" y="44"/>
                    </a:lnTo>
                    <a:lnTo>
                      <a:pt x="44" y="42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37" name="Freeform 459"/>
              <p:cNvSpPr>
                <a:spLocks/>
              </p:cNvSpPr>
              <p:nvPr/>
            </p:nvSpPr>
            <p:spPr bwMode="auto">
              <a:xfrm>
                <a:off x="2911" y="1852"/>
                <a:ext cx="142" cy="124"/>
              </a:xfrm>
              <a:custGeom>
                <a:avLst/>
                <a:gdLst>
                  <a:gd name="T0" fmla="*/ 28 w 142"/>
                  <a:gd name="T1" fmla="*/ 86 h 124"/>
                  <a:gd name="T2" fmla="*/ 34 w 142"/>
                  <a:gd name="T3" fmla="*/ 90 h 124"/>
                  <a:gd name="T4" fmla="*/ 42 w 142"/>
                  <a:gd name="T5" fmla="*/ 92 h 124"/>
                  <a:gd name="T6" fmla="*/ 46 w 142"/>
                  <a:gd name="T7" fmla="*/ 96 h 124"/>
                  <a:gd name="T8" fmla="*/ 54 w 142"/>
                  <a:gd name="T9" fmla="*/ 98 h 124"/>
                  <a:gd name="T10" fmla="*/ 64 w 142"/>
                  <a:gd name="T11" fmla="*/ 104 h 124"/>
                  <a:gd name="T12" fmla="*/ 66 w 142"/>
                  <a:gd name="T13" fmla="*/ 108 h 124"/>
                  <a:gd name="T14" fmla="*/ 76 w 142"/>
                  <a:gd name="T15" fmla="*/ 114 h 124"/>
                  <a:gd name="T16" fmla="*/ 82 w 142"/>
                  <a:gd name="T17" fmla="*/ 116 h 124"/>
                  <a:gd name="T18" fmla="*/ 86 w 142"/>
                  <a:gd name="T19" fmla="*/ 120 h 124"/>
                  <a:gd name="T20" fmla="*/ 94 w 142"/>
                  <a:gd name="T21" fmla="*/ 120 h 124"/>
                  <a:gd name="T22" fmla="*/ 100 w 142"/>
                  <a:gd name="T23" fmla="*/ 118 h 124"/>
                  <a:gd name="T24" fmla="*/ 106 w 142"/>
                  <a:gd name="T25" fmla="*/ 114 h 124"/>
                  <a:gd name="T26" fmla="*/ 116 w 142"/>
                  <a:gd name="T27" fmla="*/ 116 h 124"/>
                  <a:gd name="T28" fmla="*/ 118 w 142"/>
                  <a:gd name="T29" fmla="*/ 122 h 124"/>
                  <a:gd name="T30" fmla="*/ 124 w 142"/>
                  <a:gd name="T31" fmla="*/ 124 h 124"/>
                  <a:gd name="T32" fmla="*/ 126 w 142"/>
                  <a:gd name="T33" fmla="*/ 116 h 124"/>
                  <a:gd name="T34" fmla="*/ 128 w 142"/>
                  <a:gd name="T35" fmla="*/ 112 h 124"/>
                  <a:gd name="T36" fmla="*/ 130 w 142"/>
                  <a:gd name="T37" fmla="*/ 108 h 124"/>
                  <a:gd name="T38" fmla="*/ 134 w 142"/>
                  <a:gd name="T39" fmla="*/ 98 h 124"/>
                  <a:gd name="T40" fmla="*/ 140 w 142"/>
                  <a:gd name="T41" fmla="*/ 94 h 124"/>
                  <a:gd name="T42" fmla="*/ 142 w 142"/>
                  <a:gd name="T43" fmla="*/ 84 h 124"/>
                  <a:gd name="T44" fmla="*/ 136 w 142"/>
                  <a:gd name="T45" fmla="*/ 72 h 124"/>
                  <a:gd name="T46" fmla="*/ 132 w 142"/>
                  <a:gd name="T47" fmla="*/ 60 h 124"/>
                  <a:gd name="T48" fmla="*/ 132 w 142"/>
                  <a:gd name="T49" fmla="*/ 52 h 124"/>
                  <a:gd name="T50" fmla="*/ 134 w 142"/>
                  <a:gd name="T51" fmla="*/ 36 h 124"/>
                  <a:gd name="T52" fmla="*/ 130 w 142"/>
                  <a:gd name="T53" fmla="*/ 28 h 124"/>
                  <a:gd name="T54" fmla="*/ 130 w 142"/>
                  <a:gd name="T55" fmla="*/ 18 h 124"/>
                  <a:gd name="T56" fmla="*/ 122 w 142"/>
                  <a:gd name="T57" fmla="*/ 10 h 124"/>
                  <a:gd name="T58" fmla="*/ 114 w 142"/>
                  <a:gd name="T59" fmla="*/ 10 h 124"/>
                  <a:gd name="T60" fmla="*/ 98 w 142"/>
                  <a:gd name="T61" fmla="*/ 14 h 124"/>
                  <a:gd name="T62" fmla="*/ 80 w 142"/>
                  <a:gd name="T63" fmla="*/ 16 h 124"/>
                  <a:gd name="T64" fmla="*/ 72 w 142"/>
                  <a:gd name="T65" fmla="*/ 12 h 124"/>
                  <a:gd name="T66" fmla="*/ 66 w 142"/>
                  <a:gd name="T67" fmla="*/ 12 h 124"/>
                  <a:gd name="T68" fmla="*/ 66 w 142"/>
                  <a:gd name="T69" fmla="*/ 10 h 124"/>
                  <a:gd name="T70" fmla="*/ 60 w 142"/>
                  <a:gd name="T71" fmla="*/ 10 h 124"/>
                  <a:gd name="T72" fmla="*/ 58 w 142"/>
                  <a:gd name="T73" fmla="*/ 4 h 124"/>
                  <a:gd name="T74" fmla="*/ 52 w 142"/>
                  <a:gd name="T75" fmla="*/ 0 h 124"/>
                  <a:gd name="T76" fmla="*/ 42 w 142"/>
                  <a:gd name="T77" fmla="*/ 4 h 124"/>
                  <a:gd name="T78" fmla="*/ 30 w 142"/>
                  <a:gd name="T79" fmla="*/ 8 h 124"/>
                  <a:gd name="T80" fmla="*/ 24 w 142"/>
                  <a:gd name="T81" fmla="*/ 12 h 124"/>
                  <a:gd name="T82" fmla="*/ 18 w 142"/>
                  <a:gd name="T83" fmla="*/ 18 h 124"/>
                  <a:gd name="T84" fmla="*/ 12 w 142"/>
                  <a:gd name="T85" fmla="*/ 18 h 124"/>
                  <a:gd name="T86" fmla="*/ 8 w 142"/>
                  <a:gd name="T87" fmla="*/ 22 h 124"/>
                  <a:gd name="T88" fmla="*/ 6 w 142"/>
                  <a:gd name="T89" fmla="*/ 24 h 124"/>
                  <a:gd name="T90" fmla="*/ 2 w 142"/>
                  <a:gd name="T91" fmla="*/ 42 h 124"/>
                  <a:gd name="T92" fmla="*/ 2 w 142"/>
                  <a:gd name="T93" fmla="*/ 48 h 124"/>
                  <a:gd name="T94" fmla="*/ 6 w 142"/>
                  <a:gd name="T95" fmla="*/ 54 h 124"/>
                  <a:gd name="T96" fmla="*/ 8 w 142"/>
                  <a:gd name="T97" fmla="*/ 66 h 124"/>
                  <a:gd name="T98" fmla="*/ 18 w 142"/>
                  <a:gd name="T99" fmla="*/ 78 h 124"/>
                  <a:gd name="T100" fmla="*/ 18 w 142"/>
                  <a:gd name="T101" fmla="*/ 84 h 124"/>
                  <a:gd name="T102" fmla="*/ 22 w 142"/>
                  <a:gd name="T103" fmla="*/ 86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42" h="124">
                    <a:moveTo>
                      <a:pt x="22" y="86"/>
                    </a:moveTo>
                    <a:lnTo>
                      <a:pt x="22" y="86"/>
                    </a:lnTo>
                    <a:lnTo>
                      <a:pt x="26" y="86"/>
                    </a:lnTo>
                    <a:lnTo>
                      <a:pt x="28" y="86"/>
                    </a:lnTo>
                    <a:lnTo>
                      <a:pt x="28" y="86"/>
                    </a:lnTo>
                    <a:lnTo>
                      <a:pt x="30" y="88"/>
                    </a:lnTo>
                    <a:lnTo>
                      <a:pt x="32" y="90"/>
                    </a:lnTo>
                    <a:lnTo>
                      <a:pt x="32" y="90"/>
                    </a:lnTo>
                    <a:lnTo>
                      <a:pt x="34" y="90"/>
                    </a:lnTo>
                    <a:lnTo>
                      <a:pt x="34" y="90"/>
                    </a:lnTo>
                    <a:lnTo>
                      <a:pt x="38" y="90"/>
                    </a:lnTo>
                    <a:lnTo>
                      <a:pt x="38" y="90"/>
                    </a:lnTo>
                    <a:lnTo>
                      <a:pt x="40" y="90"/>
                    </a:lnTo>
                    <a:lnTo>
                      <a:pt x="40" y="90"/>
                    </a:lnTo>
                    <a:lnTo>
                      <a:pt x="42" y="92"/>
                    </a:lnTo>
                    <a:lnTo>
                      <a:pt x="42" y="92"/>
                    </a:lnTo>
                    <a:lnTo>
                      <a:pt x="42" y="94"/>
                    </a:lnTo>
                    <a:lnTo>
                      <a:pt x="44" y="96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8" y="94"/>
                    </a:lnTo>
                    <a:lnTo>
                      <a:pt x="50" y="94"/>
                    </a:lnTo>
                    <a:lnTo>
                      <a:pt x="50" y="94"/>
                    </a:lnTo>
                    <a:lnTo>
                      <a:pt x="52" y="98"/>
                    </a:lnTo>
                    <a:lnTo>
                      <a:pt x="54" y="98"/>
                    </a:lnTo>
                    <a:lnTo>
                      <a:pt x="56" y="100"/>
                    </a:lnTo>
                    <a:lnTo>
                      <a:pt x="60" y="102"/>
                    </a:lnTo>
                    <a:lnTo>
                      <a:pt x="60" y="102"/>
                    </a:lnTo>
                    <a:lnTo>
                      <a:pt x="62" y="102"/>
                    </a:lnTo>
                    <a:lnTo>
                      <a:pt x="64" y="104"/>
                    </a:lnTo>
                    <a:lnTo>
                      <a:pt x="64" y="104"/>
                    </a:lnTo>
                    <a:lnTo>
                      <a:pt x="66" y="104"/>
                    </a:lnTo>
                    <a:lnTo>
                      <a:pt x="66" y="106"/>
                    </a:lnTo>
                    <a:lnTo>
                      <a:pt x="66" y="108"/>
                    </a:lnTo>
                    <a:lnTo>
                      <a:pt x="66" y="108"/>
                    </a:lnTo>
                    <a:lnTo>
                      <a:pt x="68" y="110"/>
                    </a:lnTo>
                    <a:lnTo>
                      <a:pt x="70" y="112"/>
                    </a:lnTo>
                    <a:lnTo>
                      <a:pt x="72" y="114"/>
                    </a:lnTo>
                    <a:lnTo>
                      <a:pt x="74" y="114"/>
                    </a:lnTo>
                    <a:lnTo>
                      <a:pt x="76" y="114"/>
                    </a:lnTo>
                    <a:lnTo>
                      <a:pt x="76" y="114"/>
                    </a:lnTo>
                    <a:lnTo>
                      <a:pt x="78" y="114"/>
                    </a:lnTo>
                    <a:lnTo>
                      <a:pt x="80" y="114"/>
                    </a:lnTo>
                    <a:lnTo>
                      <a:pt x="82" y="116"/>
                    </a:lnTo>
                    <a:lnTo>
                      <a:pt x="82" y="116"/>
                    </a:lnTo>
                    <a:lnTo>
                      <a:pt x="82" y="116"/>
                    </a:lnTo>
                    <a:lnTo>
                      <a:pt x="84" y="118"/>
                    </a:lnTo>
                    <a:lnTo>
                      <a:pt x="84" y="118"/>
                    </a:lnTo>
                    <a:lnTo>
                      <a:pt x="86" y="120"/>
                    </a:lnTo>
                    <a:lnTo>
                      <a:pt x="86" y="120"/>
                    </a:lnTo>
                    <a:lnTo>
                      <a:pt x="88" y="120"/>
                    </a:lnTo>
                    <a:lnTo>
                      <a:pt x="90" y="120"/>
                    </a:lnTo>
                    <a:lnTo>
                      <a:pt x="92" y="120"/>
                    </a:lnTo>
                    <a:lnTo>
                      <a:pt x="92" y="120"/>
                    </a:lnTo>
                    <a:lnTo>
                      <a:pt x="94" y="120"/>
                    </a:lnTo>
                    <a:lnTo>
                      <a:pt x="96" y="120"/>
                    </a:lnTo>
                    <a:lnTo>
                      <a:pt x="98" y="118"/>
                    </a:lnTo>
                    <a:lnTo>
                      <a:pt x="98" y="118"/>
                    </a:lnTo>
                    <a:lnTo>
                      <a:pt x="98" y="118"/>
                    </a:lnTo>
                    <a:lnTo>
                      <a:pt x="100" y="118"/>
                    </a:lnTo>
                    <a:lnTo>
                      <a:pt x="102" y="116"/>
                    </a:lnTo>
                    <a:lnTo>
                      <a:pt x="104" y="114"/>
                    </a:lnTo>
                    <a:lnTo>
                      <a:pt x="106" y="114"/>
                    </a:lnTo>
                    <a:lnTo>
                      <a:pt x="106" y="114"/>
                    </a:lnTo>
                    <a:lnTo>
                      <a:pt x="106" y="114"/>
                    </a:lnTo>
                    <a:lnTo>
                      <a:pt x="108" y="114"/>
                    </a:lnTo>
                    <a:lnTo>
                      <a:pt x="110" y="114"/>
                    </a:lnTo>
                    <a:lnTo>
                      <a:pt x="112" y="114"/>
                    </a:lnTo>
                    <a:lnTo>
                      <a:pt x="114" y="114"/>
                    </a:lnTo>
                    <a:lnTo>
                      <a:pt x="116" y="116"/>
                    </a:lnTo>
                    <a:lnTo>
                      <a:pt x="116" y="116"/>
                    </a:lnTo>
                    <a:lnTo>
                      <a:pt x="116" y="120"/>
                    </a:lnTo>
                    <a:lnTo>
                      <a:pt x="118" y="120"/>
                    </a:lnTo>
                    <a:lnTo>
                      <a:pt x="118" y="122"/>
                    </a:lnTo>
                    <a:lnTo>
                      <a:pt x="118" y="122"/>
                    </a:lnTo>
                    <a:lnTo>
                      <a:pt x="118" y="122"/>
                    </a:lnTo>
                    <a:lnTo>
                      <a:pt x="120" y="122"/>
                    </a:lnTo>
                    <a:lnTo>
                      <a:pt x="124" y="122"/>
                    </a:lnTo>
                    <a:lnTo>
                      <a:pt x="124" y="122"/>
                    </a:lnTo>
                    <a:lnTo>
                      <a:pt x="124" y="124"/>
                    </a:lnTo>
                    <a:lnTo>
                      <a:pt x="126" y="122"/>
                    </a:lnTo>
                    <a:lnTo>
                      <a:pt x="126" y="122"/>
                    </a:lnTo>
                    <a:lnTo>
                      <a:pt x="126" y="122"/>
                    </a:lnTo>
                    <a:lnTo>
                      <a:pt x="128" y="118"/>
                    </a:lnTo>
                    <a:lnTo>
                      <a:pt x="126" y="116"/>
                    </a:lnTo>
                    <a:lnTo>
                      <a:pt x="126" y="116"/>
                    </a:lnTo>
                    <a:lnTo>
                      <a:pt x="126" y="114"/>
                    </a:lnTo>
                    <a:lnTo>
                      <a:pt x="128" y="112"/>
                    </a:lnTo>
                    <a:lnTo>
                      <a:pt x="128" y="112"/>
                    </a:lnTo>
                    <a:lnTo>
                      <a:pt x="128" y="112"/>
                    </a:lnTo>
                    <a:lnTo>
                      <a:pt x="128" y="110"/>
                    </a:lnTo>
                    <a:lnTo>
                      <a:pt x="130" y="110"/>
                    </a:lnTo>
                    <a:lnTo>
                      <a:pt x="130" y="108"/>
                    </a:lnTo>
                    <a:lnTo>
                      <a:pt x="130" y="108"/>
                    </a:lnTo>
                    <a:lnTo>
                      <a:pt x="130" y="108"/>
                    </a:lnTo>
                    <a:lnTo>
                      <a:pt x="132" y="104"/>
                    </a:lnTo>
                    <a:lnTo>
                      <a:pt x="132" y="102"/>
                    </a:lnTo>
                    <a:lnTo>
                      <a:pt x="134" y="100"/>
                    </a:lnTo>
                    <a:lnTo>
                      <a:pt x="134" y="100"/>
                    </a:lnTo>
                    <a:lnTo>
                      <a:pt x="134" y="98"/>
                    </a:lnTo>
                    <a:lnTo>
                      <a:pt x="134" y="98"/>
                    </a:lnTo>
                    <a:lnTo>
                      <a:pt x="136" y="96"/>
                    </a:lnTo>
                    <a:lnTo>
                      <a:pt x="138" y="96"/>
                    </a:lnTo>
                    <a:lnTo>
                      <a:pt x="138" y="96"/>
                    </a:lnTo>
                    <a:lnTo>
                      <a:pt x="140" y="94"/>
                    </a:lnTo>
                    <a:lnTo>
                      <a:pt x="140" y="92"/>
                    </a:lnTo>
                    <a:lnTo>
                      <a:pt x="140" y="92"/>
                    </a:lnTo>
                    <a:lnTo>
                      <a:pt x="142" y="90"/>
                    </a:lnTo>
                    <a:lnTo>
                      <a:pt x="142" y="86"/>
                    </a:lnTo>
                    <a:lnTo>
                      <a:pt x="142" y="84"/>
                    </a:lnTo>
                    <a:lnTo>
                      <a:pt x="140" y="82"/>
                    </a:lnTo>
                    <a:lnTo>
                      <a:pt x="138" y="78"/>
                    </a:lnTo>
                    <a:lnTo>
                      <a:pt x="138" y="74"/>
                    </a:lnTo>
                    <a:lnTo>
                      <a:pt x="136" y="72"/>
                    </a:lnTo>
                    <a:lnTo>
                      <a:pt x="136" y="72"/>
                    </a:lnTo>
                    <a:lnTo>
                      <a:pt x="136" y="66"/>
                    </a:lnTo>
                    <a:lnTo>
                      <a:pt x="136" y="64"/>
                    </a:lnTo>
                    <a:lnTo>
                      <a:pt x="134" y="62"/>
                    </a:lnTo>
                    <a:lnTo>
                      <a:pt x="134" y="62"/>
                    </a:lnTo>
                    <a:lnTo>
                      <a:pt x="132" y="60"/>
                    </a:lnTo>
                    <a:lnTo>
                      <a:pt x="132" y="58"/>
                    </a:lnTo>
                    <a:lnTo>
                      <a:pt x="132" y="56"/>
                    </a:lnTo>
                    <a:lnTo>
                      <a:pt x="132" y="54"/>
                    </a:lnTo>
                    <a:lnTo>
                      <a:pt x="132" y="52"/>
                    </a:lnTo>
                    <a:lnTo>
                      <a:pt x="132" y="52"/>
                    </a:lnTo>
                    <a:lnTo>
                      <a:pt x="134" y="48"/>
                    </a:lnTo>
                    <a:lnTo>
                      <a:pt x="136" y="44"/>
                    </a:lnTo>
                    <a:lnTo>
                      <a:pt x="136" y="42"/>
                    </a:lnTo>
                    <a:lnTo>
                      <a:pt x="136" y="40"/>
                    </a:lnTo>
                    <a:lnTo>
                      <a:pt x="134" y="36"/>
                    </a:lnTo>
                    <a:lnTo>
                      <a:pt x="134" y="34"/>
                    </a:lnTo>
                    <a:lnTo>
                      <a:pt x="134" y="34"/>
                    </a:lnTo>
                    <a:lnTo>
                      <a:pt x="132" y="32"/>
                    </a:lnTo>
                    <a:lnTo>
                      <a:pt x="132" y="30"/>
                    </a:lnTo>
                    <a:lnTo>
                      <a:pt x="130" y="28"/>
                    </a:lnTo>
                    <a:lnTo>
                      <a:pt x="130" y="26"/>
                    </a:lnTo>
                    <a:lnTo>
                      <a:pt x="130" y="26"/>
                    </a:lnTo>
                    <a:lnTo>
                      <a:pt x="130" y="22"/>
                    </a:lnTo>
                    <a:lnTo>
                      <a:pt x="130" y="20"/>
                    </a:lnTo>
                    <a:lnTo>
                      <a:pt x="130" y="18"/>
                    </a:lnTo>
                    <a:lnTo>
                      <a:pt x="128" y="16"/>
                    </a:lnTo>
                    <a:lnTo>
                      <a:pt x="128" y="16"/>
                    </a:lnTo>
                    <a:lnTo>
                      <a:pt x="126" y="14"/>
                    </a:lnTo>
                    <a:lnTo>
                      <a:pt x="124" y="12"/>
                    </a:lnTo>
                    <a:lnTo>
                      <a:pt x="122" y="10"/>
                    </a:lnTo>
                    <a:lnTo>
                      <a:pt x="118" y="10"/>
                    </a:lnTo>
                    <a:lnTo>
                      <a:pt x="118" y="10"/>
                    </a:lnTo>
                    <a:lnTo>
                      <a:pt x="118" y="10"/>
                    </a:lnTo>
                    <a:lnTo>
                      <a:pt x="116" y="10"/>
                    </a:lnTo>
                    <a:lnTo>
                      <a:pt x="114" y="10"/>
                    </a:lnTo>
                    <a:lnTo>
                      <a:pt x="110" y="12"/>
                    </a:lnTo>
                    <a:lnTo>
                      <a:pt x="110" y="12"/>
                    </a:lnTo>
                    <a:lnTo>
                      <a:pt x="108" y="12"/>
                    </a:lnTo>
                    <a:lnTo>
                      <a:pt x="104" y="12"/>
                    </a:lnTo>
                    <a:lnTo>
                      <a:pt x="98" y="14"/>
                    </a:lnTo>
                    <a:lnTo>
                      <a:pt x="94" y="14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84" y="14"/>
                    </a:lnTo>
                    <a:lnTo>
                      <a:pt x="80" y="16"/>
                    </a:lnTo>
                    <a:lnTo>
                      <a:pt x="76" y="16"/>
                    </a:lnTo>
                    <a:lnTo>
                      <a:pt x="74" y="16"/>
                    </a:lnTo>
                    <a:lnTo>
                      <a:pt x="72" y="14"/>
                    </a:lnTo>
                    <a:lnTo>
                      <a:pt x="72" y="12"/>
                    </a:lnTo>
                    <a:lnTo>
                      <a:pt x="72" y="12"/>
                    </a:lnTo>
                    <a:lnTo>
                      <a:pt x="70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6" y="14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6" y="10"/>
                    </a:lnTo>
                    <a:lnTo>
                      <a:pt x="66" y="10"/>
                    </a:lnTo>
                    <a:lnTo>
                      <a:pt x="64" y="10"/>
                    </a:lnTo>
                    <a:lnTo>
                      <a:pt x="64" y="10"/>
                    </a:lnTo>
                    <a:lnTo>
                      <a:pt x="64" y="10"/>
                    </a:lnTo>
                    <a:lnTo>
                      <a:pt x="62" y="12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0" y="6"/>
                    </a:lnTo>
                    <a:lnTo>
                      <a:pt x="60" y="6"/>
                    </a:lnTo>
                    <a:lnTo>
                      <a:pt x="58" y="4"/>
                    </a:lnTo>
                    <a:lnTo>
                      <a:pt x="56" y="2"/>
                    </a:lnTo>
                    <a:lnTo>
                      <a:pt x="56" y="2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2" y="0"/>
                    </a:lnTo>
                    <a:lnTo>
                      <a:pt x="48" y="2"/>
                    </a:lnTo>
                    <a:lnTo>
                      <a:pt x="48" y="2"/>
                    </a:lnTo>
                    <a:lnTo>
                      <a:pt x="44" y="2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38" y="4"/>
                    </a:lnTo>
                    <a:lnTo>
                      <a:pt x="34" y="6"/>
                    </a:lnTo>
                    <a:lnTo>
                      <a:pt x="32" y="6"/>
                    </a:lnTo>
                    <a:lnTo>
                      <a:pt x="32" y="6"/>
                    </a:lnTo>
                    <a:lnTo>
                      <a:pt x="30" y="8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6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2" y="14"/>
                    </a:lnTo>
                    <a:lnTo>
                      <a:pt x="22" y="16"/>
                    </a:lnTo>
                    <a:lnTo>
                      <a:pt x="20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6" y="18"/>
                    </a:lnTo>
                    <a:lnTo>
                      <a:pt x="14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0" y="18"/>
                    </a:lnTo>
                    <a:lnTo>
                      <a:pt x="10" y="20"/>
                    </a:lnTo>
                    <a:lnTo>
                      <a:pt x="10" y="22"/>
                    </a:lnTo>
                    <a:lnTo>
                      <a:pt x="8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6" y="24"/>
                    </a:lnTo>
                    <a:lnTo>
                      <a:pt x="6" y="24"/>
                    </a:lnTo>
                    <a:lnTo>
                      <a:pt x="4" y="30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2" y="38"/>
                    </a:lnTo>
                    <a:lnTo>
                      <a:pt x="2" y="42"/>
                    </a:lnTo>
                    <a:lnTo>
                      <a:pt x="0" y="44"/>
                    </a:lnTo>
                    <a:lnTo>
                      <a:pt x="2" y="46"/>
                    </a:lnTo>
                    <a:lnTo>
                      <a:pt x="2" y="48"/>
                    </a:lnTo>
                    <a:lnTo>
                      <a:pt x="2" y="48"/>
                    </a:lnTo>
                    <a:lnTo>
                      <a:pt x="2" y="48"/>
                    </a:lnTo>
                    <a:lnTo>
                      <a:pt x="4" y="50"/>
                    </a:lnTo>
                    <a:lnTo>
                      <a:pt x="6" y="50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54"/>
                    </a:lnTo>
                    <a:lnTo>
                      <a:pt x="6" y="56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2"/>
                    </a:lnTo>
                    <a:lnTo>
                      <a:pt x="8" y="66"/>
                    </a:lnTo>
                    <a:lnTo>
                      <a:pt x="10" y="68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6" y="76"/>
                    </a:lnTo>
                    <a:lnTo>
                      <a:pt x="18" y="78"/>
                    </a:lnTo>
                    <a:lnTo>
                      <a:pt x="18" y="82"/>
                    </a:lnTo>
                    <a:lnTo>
                      <a:pt x="18" y="82"/>
                    </a:lnTo>
                    <a:lnTo>
                      <a:pt x="18" y="84"/>
                    </a:lnTo>
                    <a:lnTo>
                      <a:pt x="18" y="84"/>
                    </a:lnTo>
                    <a:lnTo>
                      <a:pt x="18" y="84"/>
                    </a:lnTo>
                    <a:lnTo>
                      <a:pt x="18" y="84"/>
                    </a:lnTo>
                    <a:lnTo>
                      <a:pt x="18" y="84"/>
                    </a:lnTo>
                    <a:lnTo>
                      <a:pt x="20" y="86"/>
                    </a:lnTo>
                    <a:lnTo>
                      <a:pt x="22" y="86"/>
                    </a:lnTo>
                    <a:lnTo>
                      <a:pt x="22" y="86"/>
                    </a:lnTo>
                    <a:lnTo>
                      <a:pt x="22" y="86"/>
                    </a:lnTo>
                    <a:lnTo>
                      <a:pt x="22" y="86"/>
                    </a:lnTo>
                    <a:lnTo>
                      <a:pt x="22" y="8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38" name="Freeform 461"/>
              <p:cNvSpPr>
                <a:spLocks/>
              </p:cNvSpPr>
              <p:nvPr/>
            </p:nvSpPr>
            <p:spPr bwMode="auto">
              <a:xfrm>
                <a:off x="2889" y="1936"/>
                <a:ext cx="92" cy="50"/>
              </a:xfrm>
              <a:custGeom>
                <a:avLst/>
                <a:gdLst>
                  <a:gd name="T0" fmla="*/ 76 w 92"/>
                  <a:gd name="T1" fmla="*/ 44 h 50"/>
                  <a:gd name="T2" fmla="*/ 80 w 92"/>
                  <a:gd name="T3" fmla="*/ 44 h 50"/>
                  <a:gd name="T4" fmla="*/ 82 w 92"/>
                  <a:gd name="T5" fmla="*/ 40 h 50"/>
                  <a:gd name="T6" fmla="*/ 86 w 92"/>
                  <a:gd name="T7" fmla="*/ 34 h 50"/>
                  <a:gd name="T8" fmla="*/ 88 w 92"/>
                  <a:gd name="T9" fmla="*/ 30 h 50"/>
                  <a:gd name="T10" fmla="*/ 92 w 92"/>
                  <a:gd name="T11" fmla="*/ 30 h 50"/>
                  <a:gd name="T12" fmla="*/ 88 w 92"/>
                  <a:gd name="T13" fmla="*/ 24 h 50"/>
                  <a:gd name="T14" fmla="*/ 88 w 92"/>
                  <a:gd name="T15" fmla="*/ 20 h 50"/>
                  <a:gd name="T16" fmla="*/ 84 w 92"/>
                  <a:gd name="T17" fmla="*/ 18 h 50"/>
                  <a:gd name="T18" fmla="*/ 78 w 92"/>
                  <a:gd name="T19" fmla="*/ 16 h 50"/>
                  <a:gd name="T20" fmla="*/ 72 w 92"/>
                  <a:gd name="T21" fmla="*/ 10 h 50"/>
                  <a:gd name="T22" fmla="*/ 68 w 92"/>
                  <a:gd name="T23" fmla="*/ 12 h 50"/>
                  <a:gd name="T24" fmla="*/ 64 w 92"/>
                  <a:gd name="T25" fmla="*/ 10 h 50"/>
                  <a:gd name="T26" fmla="*/ 62 w 92"/>
                  <a:gd name="T27" fmla="*/ 6 h 50"/>
                  <a:gd name="T28" fmla="*/ 60 w 92"/>
                  <a:gd name="T29" fmla="*/ 6 h 50"/>
                  <a:gd name="T30" fmla="*/ 54 w 92"/>
                  <a:gd name="T31" fmla="*/ 6 h 50"/>
                  <a:gd name="T32" fmla="*/ 50 w 92"/>
                  <a:gd name="T33" fmla="*/ 2 h 50"/>
                  <a:gd name="T34" fmla="*/ 44 w 92"/>
                  <a:gd name="T35" fmla="*/ 2 h 50"/>
                  <a:gd name="T36" fmla="*/ 40 w 92"/>
                  <a:gd name="T37" fmla="*/ 0 h 50"/>
                  <a:gd name="T38" fmla="*/ 40 w 92"/>
                  <a:gd name="T39" fmla="*/ 0 h 50"/>
                  <a:gd name="T40" fmla="*/ 36 w 92"/>
                  <a:gd name="T41" fmla="*/ 2 h 50"/>
                  <a:gd name="T42" fmla="*/ 30 w 92"/>
                  <a:gd name="T43" fmla="*/ 2 h 50"/>
                  <a:gd name="T44" fmla="*/ 24 w 92"/>
                  <a:gd name="T45" fmla="*/ 6 h 50"/>
                  <a:gd name="T46" fmla="*/ 18 w 92"/>
                  <a:gd name="T47" fmla="*/ 8 h 50"/>
                  <a:gd name="T48" fmla="*/ 16 w 92"/>
                  <a:gd name="T49" fmla="*/ 8 h 50"/>
                  <a:gd name="T50" fmla="*/ 12 w 92"/>
                  <a:gd name="T51" fmla="*/ 8 h 50"/>
                  <a:gd name="T52" fmla="*/ 10 w 92"/>
                  <a:gd name="T53" fmla="*/ 12 h 50"/>
                  <a:gd name="T54" fmla="*/ 8 w 92"/>
                  <a:gd name="T55" fmla="*/ 14 h 50"/>
                  <a:gd name="T56" fmla="*/ 0 w 92"/>
                  <a:gd name="T57" fmla="*/ 16 h 50"/>
                  <a:gd name="T58" fmla="*/ 0 w 92"/>
                  <a:gd name="T59" fmla="*/ 18 h 50"/>
                  <a:gd name="T60" fmla="*/ 4 w 92"/>
                  <a:gd name="T61" fmla="*/ 22 h 50"/>
                  <a:gd name="T62" fmla="*/ 6 w 92"/>
                  <a:gd name="T63" fmla="*/ 24 h 50"/>
                  <a:gd name="T64" fmla="*/ 10 w 92"/>
                  <a:gd name="T65" fmla="*/ 30 h 50"/>
                  <a:gd name="T66" fmla="*/ 14 w 92"/>
                  <a:gd name="T67" fmla="*/ 38 h 50"/>
                  <a:gd name="T68" fmla="*/ 18 w 92"/>
                  <a:gd name="T69" fmla="*/ 42 h 50"/>
                  <a:gd name="T70" fmla="*/ 22 w 92"/>
                  <a:gd name="T71" fmla="*/ 44 h 50"/>
                  <a:gd name="T72" fmla="*/ 22 w 92"/>
                  <a:gd name="T73" fmla="*/ 48 h 50"/>
                  <a:gd name="T74" fmla="*/ 32 w 92"/>
                  <a:gd name="T75" fmla="*/ 44 h 50"/>
                  <a:gd name="T76" fmla="*/ 44 w 92"/>
                  <a:gd name="T77" fmla="*/ 44 h 50"/>
                  <a:gd name="T78" fmla="*/ 54 w 92"/>
                  <a:gd name="T79" fmla="*/ 46 h 50"/>
                  <a:gd name="T80" fmla="*/ 60 w 92"/>
                  <a:gd name="T81" fmla="*/ 48 h 50"/>
                  <a:gd name="T82" fmla="*/ 64 w 92"/>
                  <a:gd name="T83" fmla="*/ 50 h 50"/>
                  <a:gd name="T84" fmla="*/ 68 w 92"/>
                  <a:gd name="T85" fmla="*/ 44 h 50"/>
                  <a:gd name="T86" fmla="*/ 74 w 92"/>
                  <a:gd name="T87" fmla="*/ 44 h 50"/>
                  <a:gd name="T88" fmla="*/ 74 w 92"/>
                  <a:gd name="T89" fmla="*/ 4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92" h="50">
                    <a:moveTo>
                      <a:pt x="74" y="44"/>
                    </a:moveTo>
                    <a:lnTo>
                      <a:pt x="74" y="44"/>
                    </a:lnTo>
                    <a:lnTo>
                      <a:pt x="76" y="44"/>
                    </a:lnTo>
                    <a:lnTo>
                      <a:pt x="78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2" y="42"/>
                    </a:lnTo>
                    <a:lnTo>
                      <a:pt x="82" y="42"/>
                    </a:lnTo>
                    <a:lnTo>
                      <a:pt x="82" y="40"/>
                    </a:lnTo>
                    <a:lnTo>
                      <a:pt x="84" y="38"/>
                    </a:lnTo>
                    <a:lnTo>
                      <a:pt x="84" y="36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6" y="32"/>
                    </a:lnTo>
                    <a:lnTo>
                      <a:pt x="88" y="30"/>
                    </a:lnTo>
                    <a:lnTo>
                      <a:pt x="90" y="30"/>
                    </a:lnTo>
                    <a:lnTo>
                      <a:pt x="90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0" y="26"/>
                    </a:lnTo>
                    <a:lnTo>
                      <a:pt x="88" y="24"/>
                    </a:lnTo>
                    <a:lnTo>
                      <a:pt x="88" y="24"/>
                    </a:lnTo>
                    <a:lnTo>
                      <a:pt x="88" y="22"/>
                    </a:lnTo>
                    <a:lnTo>
                      <a:pt x="88" y="20"/>
                    </a:lnTo>
                    <a:lnTo>
                      <a:pt x="86" y="20"/>
                    </a:lnTo>
                    <a:lnTo>
                      <a:pt x="86" y="20"/>
                    </a:lnTo>
                    <a:lnTo>
                      <a:pt x="84" y="18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78" y="16"/>
                    </a:lnTo>
                    <a:lnTo>
                      <a:pt x="76" y="14"/>
                    </a:lnTo>
                    <a:lnTo>
                      <a:pt x="74" y="14"/>
                    </a:lnTo>
                    <a:lnTo>
                      <a:pt x="72" y="10"/>
                    </a:lnTo>
                    <a:lnTo>
                      <a:pt x="72" y="10"/>
                    </a:lnTo>
                    <a:lnTo>
                      <a:pt x="70" y="10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6" y="12"/>
                    </a:lnTo>
                    <a:lnTo>
                      <a:pt x="64" y="10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2" y="6"/>
                    </a:lnTo>
                    <a:lnTo>
                      <a:pt x="62" y="6"/>
                    </a:lnTo>
                    <a:lnTo>
                      <a:pt x="60" y="6"/>
                    </a:lnTo>
                    <a:lnTo>
                      <a:pt x="60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4" y="6"/>
                    </a:lnTo>
                    <a:lnTo>
                      <a:pt x="54" y="6"/>
                    </a:lnTo>
                    <a:lnTo>
                      <a:pt x="52" y="4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48" y="2"/>
                    </a:lnTo>
                    <a:lnTo>
                      <a:pt x="44" y="2"/>
                    </a:lnTo>
                    <a:lnTo>
                      <a:pt x="44" y="2"/>
                    </a:lnTo>
                    <a:lnTo>
                      <a:pt x="42" y="2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8" y="2"/>
                    </a:lnTo>
                    <a:lnTo>
                      <a:pt x="36" y="2"/>
                    </a:lnTo>
                    <a:lnTo>
                      <a:pt x="32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28" y="2"/>
                    </a:lnTo>
                    <a:lnTo>
                      <a:pt x="26" y="4"/>
                    </a:lnTo>
                    <a:lnTo>
                      <a:pt x="24" y="6"/>
                    </a:lnTo>
                    <a:lnTo>
                      <a:pt x="22" y="8"/>
                    </a:lnTo>
                    <a:lnTo>
                      <a:pt x="20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6" y="10"/>
                    </a:lnTo>
                    <a:lnTo>
                      <a:pt x="16" y="8"/>
                    </a:lnTo>
                    <a:lnTo>
                      <a:pt x="14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0" y="12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6" y="14"/>
                    </a:lnTo>
                    <a:lnTo>
                      <a:pt x="2" y="16"/>
                    </a:lnTo>
                    <a:lnTo>
                      <a:pt x="0" y="16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4" y="22"/>
                    </a:lnTo>
                    <a:lnTo>
                      <a:pt x="4" y="24"/>
                    </a:lnTo>
                    <a:lnTo>
                      <a:pt x="6" y="24"/>
                    </a:lnTo>
                    <a:lnTo>
                      <a:pt x="6" y="24"/>
                    </a:lnTo>
                    <a:lnTo>
                      <a:pt x="8" y="28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4"/>
                    </a:lnTo>
                    <a:lnTo>
                      <a:pt x="12" y="36"/>
                    </a:lnTo>
                    <a:lnTo>
                      <a:pt x="14" y="38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8" y="42"/>
                    </a:lnTo>
                    <a:lnTo>
                      <a:pt x="20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6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6" y="46"/>
                    </a:lnTo>
                    <a:lnTo>
                      <a:pt x="32" y="44"/>
                    </a:lnTo>
                    <a:lnTo>
                      <a:pt x="32" y="44"/>
                    </a:lnTo>
                    <a:lnTo>
                      <a:pt x="34" y="44"/>
                    </a:lnTo>
                    <a:lnTo>
                      <a:pt x="38" y="44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52" y="46"/>
                    </a:lnTo>
                    <a:lnTo>
                      <a:pt x="54" y="46"/>
                    </a:lnTo>
                    <a:lnTo>
                      <a:pt x="58" y="48"/>
                    </a:lnTo>
                    <a:lnTo>
                      <a:pt x="58" y="48"/>
                    </a:lnTo>
                    <a:lnTo>
                      <a:pt x="60" y="48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4" y="48"/>
                    </a:lnTo>
                    <a:lnTo>
                      <a:pt x="68" y="46"/>
                    </a:lnTo>
                    <a:lnTo>
                      <a:pt x="68" y="44"/>
                    </a:lnTo>
                    <a:lnTo>
                      <a:pt x="70" y="44"/>
                    </a:lnTo>
                    <a:lnTo>
                      <a:pt x="72" y="44"/>
                    </a:lnTo>
                    <a:lnTo>
                      <a:pt x="74" y="44"/>
                    </a:lnTo>
                    <a:lnTo>
                      <a:pt x="74" y="44"/>
                    </a:lnTo>
                    <a:lnTo>
                      <a:pt x="74" y="44"/>
                    </a:lnTo>
                    <a:lnTo>
                      <a:pt x="74" y="44"/>
                    </a:lnTo>
                    <a:lnTo>
                      <a:pt x="74" y="4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39" name="Freeform 463"/>
              <p:cNvSpPr>
                <a:spLocks/>
              </p:cNvSpPr>
              <p:nvPr/>
            </p:nvSpPr>
            <p:spPr bwMode="auto">
              <a:xfrm>
                <a:off x="2953" y="1966"/>
                <a:ext cx="82" cy="34"/>
              </a:xfrm>
              <a:custGeom>
                <a:avLst/>
                <a:gdLst>
                  <a:gd name="T0" fmla="*/ 14 w 82"/>
                  <a:gd name="T1" fmla="*/ 32 h 34"/>
                  <a:gd name="T2" fmla="*/ 22 w 82"/>
                  <a:gd name="T3" fmla="*/ 34 h 34"/>
                  <a:gd name="T4" fmla="*/ 30 w 82"/>
                  <a:gd name="T5" fmla="*/ 34 h 34"/>
                  <a:gd name="T6" fmla="*/ 36 w 82"/>
                  <a:gd name="T7" fmla="*/ 34 h 34"/>
                  <a:gd name="T8" fmla="*/ 40 w 82"/>
                  <a:gd name="T9" fmla="*/ 30 h 34"/>
                  <a:gd name="T10" fmla="*/ 46 w 82"/>
                  <a:gd name="T11" fmla="*/ 28 h 34"/>
                  <a:gd name="T12" fmla="*/ 48 w 82"/>
                  <a:gd name="T13" fmla="*/ 28 h 34"/>
                  <a:gd name="T14" fmla="*/ 52 w 82"/>
                  <a:gd name="T15" fmla="*/ 26 h 34"/>
                  <a:gd name="T16" fmla="*/ 54 w 82"/>
                  <a:gd name="T17" fmla="*/ 26 h 34"/>
                  <a:gd name="T18" fmla="*/ 60 w 82"/>
                  <a:gd name="T19" fmla="*/ 24 h 34"/>
                  <a:gd name="T20" fmla="*/ 62 w 82"/>
                  <a:gd name="T21" fmla="*/ 22 h 34"/>
                  <a:gd name="T22" fmla="*/ 64 w 82"/>
                  <a:gd name="T23" fmla="*/ 20 h 34"/>
                  <a:gd name="T24" fmla="*/ 66 w 82"/>
                  <a:gd name="T25" fmla="*/ 22 h 34"/>
                  <a:gd name="T26" fmla="*/ 70 w 82"/>
                  <a:gd name="T27" fmla="*/ 24 h 34"/>
                  <a:gd name="T28" fmla="*/ 72 w 82"/>
                  <a:gd name="T29" fmla="*/ 24 h 34"/>
                  <a:gd name="T30" fmla="*/ 74 w 82"/>
                  <a:gd name="T31" fmla="*/ 22 h 34"/>
                  <a:gd name="T32" fmla="*/ 80 w 82"/>
                  <a:gd name="T33" fmla="*/ 20 h 34"/>
                  <a:gd name="T34" fmla="*/ 80 w 82"/>
                  <a:gd name="T35" fmla="*/ 18 h 34"/>
                  <a:gd name="T36" fmla="*/ 82 w 82"/>
                  <a:gd name="T37" fmla="*/ 8 h 34"/>
                  <a:gd name="T38" fmla="*/ 76 w 82"/>
                  <a:gd name="T39" fmla="*/ 8 h 34"/>
                  <a:gd name="T40" fmla="*/ 76 w 82"/>
                  <a:gd name="T41" fmla="*/ 6 h 34"/>
                  <a:gd name="T42" fmla="*/ 74 w 82"/>
                  <a:gd name="T43" fmla="*/ 2 h 34"/>
                  <a:gd name="T44" fmla="*/ 68 w 82"/>
                  <a:gd name="T45" fmla="*/ 0 h 34"/>
                  <a:gd name="T46" fmla="*/ 64 w 82"/>
                  <a:gd name="T47" fmla="*/ 0 h 34"/>
                  <a:gd name="T48" fmla="*/ 60 w 82"/>
                  <a:gd name="T49" fmla="*/ 2 h 34"/>
                  <a:gd name="T50" fmla="*/ 56 w 82"/>
                  <a:gd name="T51" fmla="*/ 4 h 34"/>
                  <a:gd name="T52" fmla="*/ 52 w 82"/>
                  <a:gd name="T53" fmla="*/ 6 h 34"/>
                  <a:gd name="T54" fmla="*/ 48 w 82"/>
                  <a:gd name="T55" fmla="*/ 6 h 34"/>
                  <a:gd name="T56" fmla="*/ 44 w 82"/>
                  <a:gd name="T57" fmla="*/ 6 h 34"/>
                  <a:gd name="T58" fmla="*/ 40 w 82"/>
                  <a:gd name="T59" fmla="*/ 2 h 34"/>
                  <a:gd name="T60" fmla="*/ 38 w 82"/>
                  <a:gd name="T61" fmla="*/ 0 h 34"/>
                  <a:gd name="T62" fmla="*/ 34 w 82"/>
                  <a:gd name="T63" fmla="*/ 0 h 34"/>
                  <a:gd name="T64" fmla="*/ 28 w 82"/>
                  <a:gd name="T65" fmla="*/ 0 h 34"/>
                  <a:gd name="T66" fmla="*/ 24 w 82"/>
                  <a:gd name="T67" fmla="*/ 0 h 34"/>
                  <a:gd name="T68" fmla="*/ 22 w 82"/>
                  <a:gd name="T69" fmla="*/ 4 h 34"/>
                  <a:gd name="T70" fmla="*/ 18 w 82"/>
                  <a:gd name="T71" fmla="*/ 10 h 34"/>
                  <a:gd name="T72" fmla="*/ 16 w 82"/>
                  <a:gd name="T73" fmla="*/ 14 h 34"/>
                  <a:gd name="T74" fmla="*/ 12 w 82"/>
                  <a:gd name="T75" fmla="*/ 14 h 34"/>
                  <a:gd name="T76" fmla="*/ 8 w 82"/>
                  <a:gd name="T77" fmla="*/ 14 h 34"/>
                  <a:gd name="T78" fmla="*/ 4 w 82"/>
                  <a:gd name="T79" fmla="*/ 16 h 34"/>
                  <a:gd name="T80" fmla="*/ 0 w 82"/>
                  <a:gd name="T81" fmla="*/ 20 h 34"/>
                  <a:gd name="T82" fmla="*/ 0 w 82"/>
                  <a:gd name="T83" fmla="*/ 26 h 34"/>
                  <a:gd name="T84" fmla="*/ 2 w 82"/>
                  <a:gd name="T85" fmla="*/ 30 h 34"/>
                  <a:gd name="T86" fmla="*/ 6 w 82"/>
                  <a:gd name="T87" fmla="*/ 32 h 34"/>
                  <a:gd name="T88" fmla="*/ 10 w 82"/>
                  <a:gd name="T89" fmla="*/ 32 h 34"/>
                  <a:gd name="T90" fmla="*/ 10 w 82"/>
                  <a:gd name="T91" fmla="*/ 3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82" h="34">
                    <a:moveTo>
                      <a:pt x="10" y="32"/>
                    </a:moveTo>
                    <a:lnTo>
                      <a:pt x="10" y="32"/>
                    </a:lnTo>
                    <a:lnTo>
                      <a:pt x="14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2" y="34"/>
                    </a:lnTo>
                    <a:lnTo>
                      <a:pt x="24" y="34"/>
                    </a:lnTo>
                    <a:lnTo>
                      <a:pt x="28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2" y="34"/>
                    </a:lnTo>
                    <a:lnTo>
                      <a:pt x="36" y="34"/>
                    </a:lnTo>
                    <a:lnTo>
                      <a:pt x="38" y="32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2" y="30"/>
                    </a:lnTo>
                    <a:lnTo>
                      <a:pt x="44" y="28"/>
                    </a:lnTo>
                    <a:lnTo>
                      <a:pt x="46" y="28"/>
                    </a:lnTo>
                    <a:lnTo>
                      <a:pt x="46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50" y="26"/>
                    </a:lnTo>
                    <a:lnTo>
                      <a:pt x="50" y="26"/>
                    </a:lnTo>
                    <a:lnTo>
                      <a:pt x="52" y="26"/>
                    </a:lnTo>
                    <a:lnTo>
                      <a:pt x="54" y="26"/>
                    </a:lnTo>
                    <a:lnTo>
                      <a:pt x="54" y="26"/>
                    </a:lnTo>
                    <a:lnTo>
                      <a:pt x="54" y="26"/>
                    </a:lnTo>
                    <a:lnTo>
                      <a:pt x="56" y="24"/>
                    </a:lnTo>
                    <a:lnTo>
                      <a:pt x="58" y="24"/>
                    </a:lnTo>
                    <a:lnTo>
                      <a:pt x="60" y="24"/>
                    </a:lnTo>
                    <a:lnTo>
                      <a:pt x="60" y="24"/>
                    </a:lnTo>
                    <a:lnTo>
                      <a:pt x="60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4" y="20"/>
                    </a:lnTo>
                    <a:lnTo>
                      <a:pt x="64" y="22"/>
                    </a:lnTo>
                    <a:lnTo>
                      <a:pt x="66" y="22"/>
                    </a:lnTo>
                    <a:lnTo>
                      <a:pt x="66" y="22"/>
                    </a:lnTo>
                    <a:lnTo>
                      <a:pt x="68" y="24"/>
                    </a:lnTo>
                    <a:lnTo>
                      <a:pt x="70" y="24"/>
                    </a:lnTo>
                    <a:lnTo>
                      <a:pt x="70" y="24"/>
                    </a:lnTo>
                    <a:lnTo>
                      <a:pt x="70" y="24"/>
                    </a:lnTo>
                    <a:lnTo>
                      <a:pt x="72" y="24"/>
                    </a:lnTo>
                    <a:lnTo>
                      <a:pt x="72" y="24"/>
                    </a:lnTo>
                    <a:lnTo>
                      <a:pt x="74" y="24"/>
                    </a:lnTo>
                    <a:lnTo>
                      <a:pt x="74" y="24"/>
                    </a:lnTo>
                    <a:lnTo>
                      <a:pt x="74" y="22"/>
                    </a:lnTo>
                    <a:lnTo>
                      <a:pt x="76" y="20"/>
                    </a:lnTo>
                    <a:lnTo>
                      <a:pt x="76" y="20"/>
                    </a:lnTo>
                    <a:lnTo>
                      <a:pt x="80" y="20"/>
                    </a:lnTo>
                    <a:lnTo>
                      <a:pt x="80" y="20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6"/>
                    </a:lnTo>
                    <a:lnTo>
                      <a:pt x="80" y="14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78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76" y="6"/>
                    </a:lnTo>
                    <a:lnTo>
                      <a:pt x="74" y="6"/>
                    </a:lnTo>
                    <a:lnTo>
                      <a:pt x="74" y="2"/>
                    </a:lnTo>
                    <a:lnTo>
                      <a:pt x="74" y="2"/>
                    </a:lnTo>
                    <a:lnTo>
                      <a:pt x="72" y="0"/>
                    </a:lnTo>
                    <a:lnTo>
                      <a:pt x="70" y="0"/>
                    </a:lnTo>
                    <a:lnTo>
                      <a:pt x="68" y="0"/>
                    </a:lnTo>
                    <a:lnTo>
                      <a:pt x="66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2" y="0"/>
                    </a:lnTo>
                    <a:lnTo>
                      <a:pt x="60" y="2"/>
                    </a:lnTo>
                    <a:lnTo>
                      <a:pt x="58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4" y="6"/>
                    </a:lnTo>
                    <a:lnTo>
                      <a:pt x="52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48" y="6"/>
                    </a:lnTo>
                    <a:lnTo>
                      <a:pt x="46" y="6"/>
                    </a:lnTo>
                    <a:lnTo>
                      <a:pt x="44" y="6"/>
                    </a:lnTo>
                    <a:lnTo>
                      <a:pt x="44" y="6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0" y="2"/>
                    </a:lnTo>
                    <a:lnTo>
                      <a:pt x="40" y="2"/>
                    </a:lnTo>
                    <a:lnTo>
                      <a:pt x="40" y="2"/>
                    </a:lnTo>
                    <a:lnTo>
                      <a:pt x="38" y="0"/>
                    </a:lnTo>
                    <a:lnTo>
                      <a:pt x="36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2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4" y="0"/>
                    </a:lnTo>
                    <a:lnTo>
                      <a:pt x="22" y="2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0" y="6"/>
                    </a:lnTo>
                    <a:lnTo>
                      <a:pt x="20" y="8"/>
                    </a:lnTo>
                    <a:lnTo>
                      <a:pt x="18" y="10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4" y="14"/>
                    </a:lnTo>
                    <a:lnTo>
                      <a:pt x="12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8" y="14"/>
                    </a:lnTo>
                    <a:lnTo>
                      <a:pt x="6" y="14"/>
                    </a:lnTo>
                    <a:lnTo>
                      <a:pt x="4" y="14"/>
                    </a:lnTo>
                    <a:lnTo>
                      <a:pt x="4" y="16"/>
                    </a:lnTo>
                    <a:lnTo>
                      <a:pt x="0" y="18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2"/>
                    </a:lnTo>
                    <a:lnTo>
                      <a:pt x="0" y="24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2" y="28"/>
                    </a:lnTo>
                    <a:lnTo>
                      <a:pt x="2" y="30"/>
                    </a:lnTo>
                    <a:lnTo>
                      <a:pt x="4" y="30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8" y="32"/>
                    </a:lnTo>
                    <a:lnTo>
                      <a:pt x="10" y="32"/>
                    </a:lnTo>
                    <a:lnTo>
                      <a:pt x="10" y="32"/>
                    </a:lnTo>
                    <a:lnTo>
                      <a:pt x="10" y="32"/>
                    </a:lnTo>
                    <a:lnTo>
                      <a:pt x="10" y="32"/>
                    </a:lnTo>
                    <a:lnTo>
                      <a:pt x="10" y="3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40" name="Freeform 465"/>
              <p:cNvSpPr>
                <a:spLocks/>
              </p:cNvSpPr>
              <p:nvPr/>
            </p:nvSpPr>
            <p:spPr bwMode="auto">
              <a:xfrm>
                <a:off x="2949" y="1986"/>
                <a:ext cx="92" cy="54"/>
              </a:xfrm>
              <a:custGeom>
                <a:avLst/>
                <a:gdLst>
                  <a:gd name="T0" fmla="*/ 48 w 92"/>
                  <a:gd name="T1" fmla="*/ 46 h 54"/>
                  <a:gd name="T2" fmla="*/ 52 w 92"/>
                  <a:gd name="T3" fmla="*/ 44 h 54"/>
                  <a:gd name="T4" fmla="*/ 58 w 92"/>
                  <a:gd name="T5" fmla="*/ 44 h 54"/>
                  <a:gd name="T6" fmla="*/ 62 w 92"/>
                  <a:gd name="T7" fmla="*/ 44 h 54"/>
                  <a:gd name="T8" fmla="*/ 68 w 92"/>
                  <a:gd name="T9" fmla="*/ 42 h 54"/>
                  <a:gd name="T10" fmla="*/ 70 w 92"/>
                  <a:gd name="T11" fmla="*/ 38 h 54"/>
                  <a:gd name="T12" fmla="*/ 72 w 92"/>
                  <a:gd name="T13" fmla="*/ 34 h 54"/>
                  <a:gd name="T14" fmla="*/ 76 w 92"/>
                  <a:gd name="T15" fmla="*/ 24 h 54"/>
                  <a:gd name="T16" fmla="*/ 80 w 92"/>
                  <a:gd name="T17" fmla="*/ 20 h 54"/>
                  <a:gd name="T18" fmla="*/ 86 w 92"/>
                  <a:gd name="T19" fmla="*/ 16 h 54"/>
                  <a:gd name="T20" fmla="*/ 92 w 92"/>
                  <a:gd name="T21" fmla="*/ 10 h 54"/>
                  <a:gd name="T22" fmla="*/ 92 w 92"/>
                  <a:gd name="T23" fmla="*/ 6 h 54"/>
                  <a:gd name="T24" fmla="*/ 90 w 92"/>
                  <a:gd name="T25" fmla="*/ 2 h 54"/>
                  <a:gd name="T26" fmla="*/ 84 w 92"/>
                  <a:gd name="T27" fmla="*/ 0 h 54"/>
                  <a:gd name="T28" fmla="*/ 82 w 92"/>
                  <a:gd name="T29" fmla="*/ 0 h 54"/>
                  <a:gd name="T30" fmla="*/ 78 w 92"/>
                  <a:gd name="T31" fmla="*/ 2 h 54"/>
                  <a:gd name="T32" fmla="*/ 76 w 92"/>
                  <a:gd name="T33" fmla="*/ 4 h 54"/>
                  <a:gd name="T34" fmla="*/ 74 w 92"/>
                  <a:gd name="T35" fmla="*/ 4 h 54"/>
                  <a:gd name="T36" fmla="*/ 70 w 92"/>
                  <a:gd name="T37" fmla="*/ 2 h 54"/>
                  <a:gd name="T38" fmla="*/ 68 w 92"/>
                  <a:gd name="T39" fmla="*/ 0 h 54"/>
                  <a:gd name="T40" fmla="*/ 66 w 92"/>
                  <a:gd name="T41" fmla="*/ 2 h 54"/>
                  <a:gd name="T42" fmla="*/ 64 w 92"/>
                  <a:gd name="T43" fmla="*/ 4 h 54"/>
                  <a:gd name="T44" fmla="*/ 58 w 92"/>
                  <a:gd name="T45" fmla="*/ 6 h 54"/>
                  <a:gd name="T46" fmla="*/ 56 w 92"/>
                  <a:gd name="T47" fmla="*/ 6 h 54"/>
                  <a:gd name="T48" fmla="*/ 52 w 92"/>
                  <a:gd name="T49" fmla="*/ 8 h 54"/>
                  <a:gd name="T50" fmla="*/ 50 w 92"/>
                  <a:gd name="T51" fmla="*/ 8 h 54"/>
                  <a:gd name="T52" fmla="*/ 44 w 92"/>
                  <a:gd name="T53" fmla="*/ 10 h 54"/>
                  <a:gd name="T54" fmla="*/ 40 w 92"/>
                  <a:gd name="T55" fmla="*/ 14 h 54"/>
                  <a:gd name="T56" fmla="*/ 34 w 92"/>
                  <a:gd name="T57" fmla="*/ 14 h 54"/>
                  <a:gd name="T58" fmla="*/ 26 w 92"/>
                  <a:gd name="T59" fmla="*/ 14 h 54"/>
                  <a:gd name="T60" fmla="*/ 18 w 92"/>
                  <a:gd name="T61" fmla="*/ 12 h 54"/>
                  <a:gd name="T62" fmla="*/ 12 w 92"/>
                  <a:gd name="T63" fmla="*/ 12 h 54"/>
                  <a:gd name="T64" fmla="*/ 10 w 92"/>
                  <a:gd name="T65" fmla="*/ 12 h 54"/>
                  <a:gd name="T66" fmla="*/ 10 w 92"/>
                  <a:gd name="T67" fmla="*/ 16 h 54"/>
                  <a:gd name="T68" fmla="*/ 8 w 92"/>
                  <a:gd name="T69" fmla="*/ 22 h 54"/>
                  <a:gd name="T70" fmla="*/ 4 w 92"/>
                  <a:gd name="T71" fmla="*/ 28 h 54"/>
                  <a:gd name="T72" fmla="*/ 0 w 92"/>
                  <a:gd name="T73" fmla="*/ 30 h 54"/>
                  <a:gd name="T74" fmla="*/ 4 w 92"/>
                  <a:gd name="T75" fmla="*/ 36 h 54"/>
                  <a:gd name="T76" fmla="*/ 6 w 92"/>
                  <a:gd name="T77" fmla="*/ 38 h 54"/>
                  <a:gd name="T78" fmla="*/ 10 w 92"/>
                  <a:gd name="T79" fmla="*/ 40 h 54"/>
                  <a:gd name="T80" fmla="*/ 12 w 92"/>
                  <a:gd name="T81" fmla="*/ 44 h 54"/>
                  <a:gd name="T82" fmla="*/ 14 w 92"/>
                  <a:gd name="T83" fmla="*/ 48 h 54"/>
                  <a:gd name="T84" fmla="*/ 18 w 92"/>
                  <a:gd name="T85" fmla="*/ 52 h 54"/>
                  <a:gd name="T86" fmla="*/ 22 w 92"/>
                  <a:gd name="T87" fmla="*/ 54 h 54"/>
                  <a:gd name="T88" fmla="*/ 28 w 92"/>
                  <a:gd name="T89" fmla="*/ 54 h 54"/>
                  <a:gd name="T90" fmla="*/ 32 w 92"/>
                  <a:gd name="T91" fmla="*/ 54 h 54"/>
                  <a:gd name="T92" fmla="*/ 36 w 92"/>
                  <a:gd name="T93" fmla="*/ 52 h 54"/>
                  <a:gd name="T94" fmla="*/ 42 w 92"/>
                  <a:gd name="T95" fmla="*/ 48 h 54"/>
                  <a:gd name="T96" fmla="*/ 46 w 92"/>
                  <a:gd name="T97" fmla="*/ 48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92" h="54">
                    <a:moveTo>
                      <a:pt x="46" y="48"/>
                    </a:moveTo>
                    <a:lnTo>
                      <a:pt x="46" y="48"/>
                    </a:lnTo>
                    <a:lnTo>
                      <a:pt x="48" y="46"/>
                    </a:lnTo>
                    <a:lnTo>
                      <a:pt x="50" y="46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4" y="42"/>
                    </a:lnTo>
                    <a:lnTo>
                      <a:pt x="56" y="42"/>
                    </a:lnTo>
                    <a:lnTo>
                      <a:pt x="58" y="44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2" y="44"/>
                    </a:lnTo>
                    <a:lnTo>
                      <a:pt x="64" y="46"/>
                    </a:lnTo>
                    <a:lnTo>
                      <a:pt x="66" y="44"/>
                    </a:lnTo>
                    <a:lnTo>
                      <a:pt x="68" y="42"/>
                    </a:lnTo>
                    <a:lnTo>
                      <a:pt x="68" y="42"/>
                    </a:lnTo>
                    <a:lnTo>
                      <a:pt x="70" y="40"/>
                    </a:lnTo>
                    <a:lnTo>
                      <a:pt x="70" y="38"/>
                    </a:lnTo>
                    <a:lnTo>
                      <a:pt x="72" y="36"/>
                    </a:lnTo>
                    <a:lnTo>
                      <a:pt x="72" y="34"/>
                    </a:lnTo>
                    <a:lnTo>
                      <a:pt x="72" y="34"/>
                    </a:lnTo>
                    <a:lnTo>
                      <a:pt x="74" y="30"/>
                    </a:lnTo>
                    <a:lnTo>
                      <a:pt x="74" y="26"/>
                    </a:lnTo>
                    <a:lnTo>
                      <a:pt x="76" y="24"/>
                    </a:lnTo>
                    <a:lnTo>
                      <a:pt x="76" y="22"/>
                    </a:lnTo>
                    <a:lnTo>
                      <a:pt x="78" y="22"/>
                    </a:lnTo>
                    <a:lnTo>
                      <a:pt x="80" y="20"/>
                    </a:lnTo>
                    <a:lnTo>
                      <a:pt x="80" y="20"/>
                    </a:lnTo>
                    <a:lnTo>
                      <a:pt x="84" y="18"/>
                    </a:lnTo>
                    <a:lnTo>
                      <a:pt x="86" y="16"/>
                    </a:lnTo>
                    <a:lnTo>
                      <a:pt x="88" y="14"/>
                    </a:lnTo>
                    <a:lnTo>
                      <a:pt x="90" y="12"/>
                    </a:lnTo>
                    <a:lnTo>
                      <a:pt x="92" y="10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6"/>
                    </a:lnTo>
                    <a:lnTo>
                      <a:pt x="92" y="4"/>
                    </a:lnTo>
                    <a:lnTo>
                      <a:pt x="92" y="4"/>
                    </a:lnTo>
                    <a:lnTo>
                      <a:pt x="90" y="2"/>
                    </a:lnTo>
                    <a:lnTo>
                      <a:pt x="88" y="2"/>
                    </a:lnTo>
                    <a:lnTo>
                      <a:pt x="88" y="0"/>
                    </a:lnTo>
                    <a:lnTo>
                      <a:pt x="84" y="0"/>
                    </a:lnTo>
                    <a:lnTo>
                      <a:pt x="84" y="0"/>
                    </a:lnTo>
                    <a:lnTo>
                      <a:pt x="84" y="0"/>
                    </a:lnTo>
                    <a:lnTo>
                      <a:pt x="82" y="0"/>
                    </a:lnTo>
                    <a:lnTo>
                      <a:pt x="80" y="0"/>
                    </a:lnTo>
                    <a:lnTo>
                      <a:pt x="80" y="0"/>
                    </a:lnTo>
                    <a:lnTo>
                      <a:pt x="78" y="2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2" y="4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68" y="2"/>
                    </a:lnTo>
                    <a:lnTo>
                      <a:pt x="68" y="0"/>
                    </a:lnTo>
                    <a:lnTo>
                      <a:pt x="66" y="2"/>
                    </a:lnTo>
                    <a:lnTo>
                      <a:pt x="66" y="2"/>
                    </a:lnTo>
                    <a:lnTo>
                      <a:pt x="66" y="2"/>
                    </a:lnTo>
                    <a:lnTo>
                      <a:pt x="64" y="2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2" y="4"/>
                    </a:lnTo>
                    <a:lnTo>
                      <a:pt x="60" y="4"/>
                    </a:lnTo>
                    <a:lnTo>
                      <a:pt x="58" y="6"/>
                    </a:lnTo>
                    <a:lnTo>
                      <a:pt x="58" y="6"/>
                    </a:lnTo>
                    <a:lnTo>
                      <a:pt x="58" y="6"/>
                    </a:lnTo>
                    <a:lnTo>
                      <a:pt x="56" y="6"/>
                    </a:lnTo>
                    <a:lnTo>
                      <a:pt x="54" y="6"/>
                    </a:lnTo>
                    <a:lnTo>
                      <a:pt x="54" y="6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48" y="8"/>
                    </a:lnTo>
                    <a:lnTo>
                      <a:pt x="46" y="10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2" y="12"/>
                    </a:lnTo>
                    <a:lnTo>
                      <a:pt x="40" y="14"/>
                    </a:lnTo>
                    <a:lnTo>
                      <a:pt x="36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2" y="14"/>
                    </a:lnTo>
                    <a:lnTo>
                      <a:pt x="28" y="14"/>
                    </a:lnTo>
                    <a:lnTo>
                      <a:pt x="26" y="14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18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2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4"/>
                    </a:lnTo>
                    <a:lnTo>
                      <a:pt x="12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0" y="20"/>
                    </a:lnTo>
                    <a:lnTo>
                      <a:pt x="8" y="22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30"/>
                    </a:lnTo>
                    <a:lnTo>
                      <a:pt x="2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2" y="34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8" y="40"/>
                    </a:lnTo>
                    <a:lnTo>
                      <a:pt x="10" y="40"/>
                    </a:lnTo>
                    <a:lnTo>
                      <a:pt x="10" y="42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4" y="46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6" y="50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20" y="52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24" y="54"/>
                    </a:lnTo>
                    <a:lnTo>
                      <a:pt x="24" y="54"/>
                    </a:lnTo>
                    <a:lnTo>
                      <a:pt x="28" y="54"/>
                    </a:lnTo>
                    <a:lnTo>
                      <a:pt x="28" y="54"/>
                    </a:lnTo>
                    <a:lnTo>
                      <a:pt x="30" y="54"/>
                    </a:lnTo>
                    <a:lnTo>
                      <a:pt x="32" y="54"/>
                    </a:lnTo>
                    <a:lnTo>
                      <a:pt x="34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8" y="52"/>
                    </a:lnTo>
                    <a:lnTo>
                      <a:pt x="40" y="50"/>
                    </a:lnTo>
                    <a:lnTo>
                      <a:pt x="42" y="48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48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41" name="Freeform 467"/>
              <p:cNvSpPr>
                <a:spLocks/>
              </p:cNvSpPr>
              <p:nvPr/>
            </p:nvSpPr>
            <p:spPr bwMode="auto">
              <a:xfrm>
                <a:off x="2985" y="2028"/>
                <a:ext cx="62" cy="74"/>
              </a:xfrm>
              <a:custGeom>
                <a:avLst/>
                <a:gdLst>
                  <a:gd name="T0" fmla="*/ 20 w 62"/>
                  <a:gd name="T1" fmla="*/ 72 h 74"/>
                  <a:gd name="T2" fmla="*/ 28 w 62"/>
                  <a:gd name="T3" fmla="*/ 70 h 74"/>
                  <a:gd name="T4" fmla="*/ 34 w 62"/>
                  <a:gd name="T5" fmla="*/ 62 h 74"/>
                  <a:gd name="T6" fmla="*/ 38 w 62"/>
                  <a:gd name="T7" fmla="*/ 60 h 74"/>
                  <a:gd name="T8" fmla="*/ 42 w 62"/>
                  <a:gd name="T9" fmla="*/ 60 h 74"/>
                  <a:gd name="T10" fmla="*/ 46 w 62"/>
                  <a:gd name="T11" fmla="*/ 62 h 74"/>
                  <a:gd name="T12" fmla="*/ 48 w 62"/>
                  <a:gd name="T13" fmla="*/ 68 h 74"/>
                  <a:gd name="T14" fmla="*/ 50 w 62"/>
                  <a:gd name="T15" fmla="*/ 74 h 74"/>
                  <a:gd name="T16" fmla="*/ 54 w 62"/>
                  <a:gd name="T17" fmla="*/ 74 h 74"/>
                  <a:gd name="T18" fmla="*/ 58 w 62"/>
                  <a:gd name="T19" fmla="*/ 72 h 74"/>
                  <a:gd name="T20" fmla="*/ 60 w 62"/>
                  <a:gd name="T21" fmla="*/ 66 h 74"/>
                  <a:gd name="T22" fmla="*/ 62 w 62"/>
                  <a:gd name="T23" fmla="*/ 58 h 74"/>
                  <a:gd name="T24" fmla="*/ 60 w 62"/>
                  <a:gd name="T25" fmla="*/ 52 h 74"/>
                  <a:gd name="T26" fmla="*/ 58 w 62"/>
                  <a:gd name="T27" fmla="*/ 48 h 74"/>
                  <a:gd name="T28" fmla="*/ 54 w 62"/>
                  <a:gd name="T29" fmla="*/ 44 h 74"/>
                  <a:gd name="T30" fmla="*/ 54 w 62"/>
                  <a:gd name="T31" fmla="*/ 40 h 74"/>
                  <a:gd name="T32" fmla="*/ 52 w 62"/>
                  <a:gd name="T33" fmla="*/ 38 h 74"/>
                  <a:gd name="T34" fmla="*/ 48 w 62"/>
                  <a:gd name="T35" fmla="*/ 36 h 74"/>
                  <a:gd name="T36" fmla="*/ 44 w 62"/>
                  <a:gd name="T37" fmla="*/ 34 h 74"/>
                  <a:gd name="T38" fmla="*/ 40 w 62"/>
                  <a:gd name="T39" fmla="*/ 28 h 74"/>
                  <a:gd name="T40" fmla="*/ 36 w 62"/>
                  <a:gd name="T41" fmla="*/ 20 h 74"/>
                  <a:gd name="T42" fmla="*/ 34 w 62"/>
                  <a:gd name="T43" fmla="*/ 16 h 74"/>
                  <a:gd name="T44" fmla="*/ 34 w 62"/>
                  <a:gd name="T45" fmla="*/ 8 h 74"/>
                  <a:gd name="T46" fmla="*/ 32 w 62"/>
                  <a:gd name="T47" fmla="*/ 6 h 74"/>
                  <a:gd name="T48" fmla="*/ 30 w 62"/>
                  <a:gd name="T49" fmla="*/ 4 h 74"/>
                  <a:gd name="T50" fmla="*/ 28 w 62"/>
                  <a:gd name="T51" fmla="*/ 4 h 74"/>
                  <a:gd name="T52" fmla="*/ 24 w 62"/>
                  <a:gd name="T53" fmla="*/ 2 h 74"/>
                  <a:gd name="T54" fmla="*/ 18 w 62"/>
                  <a:gd name="T55" fmla="*/ 0 h 74"/>
                  <a:gd name="T56" fmla="*/ 14 w 62"/>
                  <a:gd name="T57" fmla="*/ 4 h 74"/>
                  <a:gd name="T58" fmla="*/ 10 w 62"/>
                  <a:gd name="T59" fmla="*/ 6 h 74"/>
                  <a:gd name="T60" fmla="*/ 2 w 62"/>
                  <a:gd name="T61" fmla="*/ 10 h 74"/>
                  <a:gd name="T62" fmla="*/ 2 w 62"/>
                  <a:gd name="T63" fmla="*/ 12 h 74"/>
                  <a:gd name="T64" fmla="*/ 2 w 62"/>
                  <a:gd name="T65" fmla="*/ 12 h 74"/>
                  <a:gd name="T66" fmla="*/ 4 w 62"/>
                  <a:gd name="T67" fmla="*/ 16 h 74"/>
                  <a:gd name="T68" fmla="*/ 4 w 62"/>
                  <a:gd name="T69" fmla="*/ 22 h 74"/>
                  <a:gd name="T70" fmla="*/ 4 w 62"/>
                  <a:gd name="T71" fmla="*/ 24 h 74"/>
                  <a:gd name="T72" fmla="*/ 8 w 62"/>
                  <a:gd name="T73" fmla="*/ 26 h 74"/>
                  <a:gd name="T74" fmla="*/ 8 w 62"/>
                  <a:gd name="T75" fmla="*/ 28 h 74"/>
                  <a:gd name="T76" fmla="*/ 8 w 62"/>
                  <a:gd name="T77" fmla="*/ 34 h 74"/>
                  <a:gd name="T78" fmla="*/ 8 w 62"/>
                  <a:gd name="T79" fmla="*/ 38 h 74"/>
                  <a:gd name="T80" fmla="*/ 14 w 62"/>
                  <a:gd name="T81" fmla="*/ 44 h 74"/>
                  <a:gd name="T82" fmla="*/ 16 w 62"/>
                  <a:gd name="T83" fmla="*/ 48 h 74"/>
                  <a:gd name="T84" fmla="*/ 14 w 62"/>
                  <a:gd name="T85" fmla="*/ 52 h 74"/>
                  <a:gd name="T86" fmla="*/ 8 w 62"/>
                  <a:gd name="T87" fmla="*/ 54 h 74"/>
                  <a:gd name="T88" fmla="*/ 6 w 62"/>
                  <a:gd name="T89" fmla="*/ 56 h 74"/>
                  <a:gd name="T90" fmla="*/ 16 w 62"/>
                  <a:gd name="T91" fmla="*/ 58 h 74"/>
                  <a:gd name="T92" fmla="*/ 16 w 62"/>
                  <a:gd name="T93" fmla="*/ 62 h 74"/>
                  <a:gd name="T94" fmla="*/ 18 w 62"/>
                  <a:gd name="T95" fmla="*/ 68 h 74"/>
                  <a:gd name="T96" fmla="*/ 20 w 62"/>
                  <a:gd name="T97" fmla="*/ 72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62" h="74">
                    <a:moveTo>
                      <a:pt x="20" y="72"/>
                    </a:moveTo>
                    <a:lnTo>
                      <a:pt x="20" y="72"/>
                    </a:lnTo>
                    <a:lnTo>
                      <a:pt x="20" y="72"/>
                    </a:lnTo>
                    <a:lnTo>
                      <a:pt x="22" y="72"/>
                    </a:lnTo>
                    <a:lnTo>
                      <a:pt x="24" y="70"/>
                    </a:lnTo>
                    <a:lnTo>
                      <a:pt x="28" y="70"/>
                    </a:lnTo>
                    <a:lnTo>
                      <a:pt x="28" y="68"/>
                    </a:lnTo>
                    <a:lnTo>
                      <a:pt x="32" y="62"/>
                    </a:lnTo>
                    <a:lnTo>
                      <a:pt x="34" y="62"/>
                    </a:lnTo>
                    <a:lnTo>
                      <a:pt x="36" y="60"/>
                    </a:lnTo>
                    <a:lnTo>
                      <a:pt x="36" y="60"/>
                    </a:lnTo>
                    <a:lnTo>
                      <a:pt x="38" y="60"/>
                    </a:lnTo>
                    <a:lnTo>
                      <a:pt x="40" y="60"/>
                    </a:lnTo>
                    <a:lnTo>
                      <a:pt x="40" y="60"/>
                    </a:lnTo>
                    <a:lnTo>
                      <a:pt x="42" y="60"/>
                    </a:lnTo>
                    <a:lnTo>
                      <a:pt x="44" y="60"/>
                    </a:lnTo>
                    <a:lnTo>
                      <a:pt x="46" y="62"/>
                    </a:lnTo>
                    <a:lnTo>
                      <a:pt x="46" y="62"/>
                    </a:lnTo>
                    <a:lnTo>
                      <a:pt x="48" y="64"/>
                    </a:lnTo>
                    <a:lnTo>
                      <a:pt x="48" y="66"/>
                    </a:lnTo>
                    <a:lnTo>
                      <a:pt x="48" y="68"/>
                    </a:lnTo>
                    <a:lnTo>
                      <a:pt x="48" y="70"/>
                    </a:lnTo>
                    <a:lnTo>
                      <a:pt x="48" y="72"/>
                    </a:lnTo>
                    <a:lnTo>
                      <a:pt x="50" y="74"/>
                    </a:lnTo>
                    <a:lnTo>
                      <a:pt x="50" y="74"/>
                    </a:lnTo>
                    <a:lnTo>
                      <a:pt x="52" y="74"/>
                    </a:lnTo>
                    <a:lnTo>
                      <a:pt x="54" y="74"/>
                    </a:lnTo>
                    <a:lnTo>
                      <a:pt x="54" y="74"/>
                    </a:lnTo>
                    <a:lnTo>
                      <a:pt x="56" y="72"/>
                    </a:lnTo>
                    <a:lnTo>
                      <a:pt x="58" y="72"/>
                    </a:lnTo>
                    <a:lnTo>
                      <a:pt x="58" y="70"/>
                    </a:lnTo>
                    <a:lnTo>
                      <a:pt x="60" y="68"/>
                    </a:lnTo>
                    <a:lnTo>
                      <a:pt x="60" y="66"/>
                    </a:lnTo>
                    <a:lnTo>
                      <a:pt x="60" y="66"/>
                    </a:lnTo>
                    <a:lnTo>
                      <a:pt x="62" y="60"/>
                    </a:lnTo>
                    <a:lnTo>
                      <a:pt x="62" y="58"/>
                    </a:lnTo>
                    <a:lnTo>
                      <a:pt x="62" y="56"/>
                    </a:lnTo>
                    <a:lnTo>
                      <a:pt x="62" y="54"/>
                    </a:lnTo>
                    <a:lnTo>
                      <a:pt x="60" y="52"/>
                    </a:lnTo>
                    <a:lnTo>
                      <a:pt x="60" y="50"/>
                    </a:lnTo>
                    <a:lnTo>
                      <a:pt x="58" y="48"/>
                    </a:lnTo>
                    <a:lnTo>
                      <a:pt x="58" y="48"/>
                    </a:lnTo>
                    <a:lnTo>
                      <a:pt x="56" y="46"/>
                    </a:lnTo>
                    <a:lnTo>
                      <a:pt x="54" y="46"/>
                    </a:lnTo>
                    <a:lnTo>
                      <a:pt x="54" y="44"/>
                    </a:lnTo>
                    <a:lnTo>
                      <a:pt x="54" y="44"/>
                    </a:lnTo>
                    <a:lnTo>
                      <a:pt x="54" y="42"/>
                    </a:lnTo>
                    <a:lnTo>
                      <a:pt x="54" y="40"/>
                    </a:lnTo>
                    <a:lnTo>
                      <a:pt x="54" y="40"/>
                    </a:lnTo>
                    <a:lnTo>
                      <a:pt x="54" y="40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0" y="36"/>
                    </a:lnTo>
                    <a:lnTo>
                      <a:pt x="48" y="36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4" y="34"/>
                    </a:lnTo>
                    <a:lnTo>
                      <a:pt x="42" y="32"/>
                    </a:lnTo>
                    <a:lnTo>
                      <a:pt x="40" y="30"/>
                    </a:lnTo>
                    <a:lnTo>
                      <a:pt x="40" y="28"/>
                    </a:lnTo>
                    <a:lnTo>
                      <a:pt x="40" y="28"/>
                    </a:lnTo>
                    <a:lnTo>
                      <a:pt x="36" y="22"/>
                    </a:lnTo>
                    <a:lnTo>
                      <a:pt x="36" y="20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6"/>
                    </a:lnTo>
                    <a:lnTo>
                      <a:pt x="34" y="12"/>
                    </a:lnTo>
                    <a:lnTo>
                      <a:pt x="34" y="10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2" y="8"/>
                    </a:lnTo>
                    <a:lnTo>
                      <a:pt x="32" y="6"/>
                    </a:lnTo>
                    <a:lnTo>
                      <a:pt x="30" y="6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28" y="4"/>
                    </a:lnTo>
                    <a:lnTo>
                      <a:pt x="26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2" y="2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4" y="4"/>
                    </a:lnTo>
                    <a:lnTo>
                      <a:pt x="12" y="4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6" y="6"/>
                    </a:lnTo>
                    <a:lnTo>
                      <a:pt x="4" y="8"/>
                    </a:lnTo>
                    <a:lnTo>
                      <a:pt x="2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20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6" y="24"/>
                    </a:lnTo>
                    <a:lnTo>
                      <a:pt x="6" y="24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6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12" y="42"/>
                    </a:lnTo>
                    <a:lnTo>
                      <a:pt x="14" y="44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8"/>
                    </a:lnTo>
                    <a:lnTo>
                      <a:pt x="16" y="50"/>
                    </a:lnTo>
                    <a:lnTo>
                      <a:pt x="14" y="50"/>
                    </a:lnTo>
                    <a:lnTo>
                      <a:pt x="14" y="52"/>
                    </a:lnTo>
                    <a:lnTo>
                      <a:pt x="12" y="52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10" y="58"/>
                    </a:lnTo>
                    <a:lnTo>
                      <a:pt x="12" y="58"/>
                    </a:lnTo>
                    <a:lnTo>
                      <a:pt x="16" y="58"/>
                    </a:lnTo>
                    <a:lnTo>
                      <a:pt x="16" y="58"/>
                    </a:lnTo>
                    <a:lnTo>
                      <a:pt x="16" y="60"/>
                    </a:lnTo>
                    <a:lnTo>
                      <a:pt x="16" y="62"/>
                    </a:lnTo>
                    <a:lnTo>
                      <a:pt x="18" y="62"/>
                    </a:lnTo>
                    <a:lnTo>
                      <a:pt x="18" y="64"/>
                    </a:lnTo>
                    <a:lnTo>
                      <a:pt x="18" y="68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42" name="Freeform 469"/>
              <p:cNvSpPr>
                <a:spLocks/>
              </p:cNvSpPr>
              <p:nvPr/>
            </p:nvSpPr>
            <p:spPr bwMode="auto">
              <a:xfrm>
                <a:off x="2983" y="2084"/>
                <a:ext cx="20" cy="34"/>
              </a:xfrm>
              <a:custGeom>
                <a:avLst/>
                <a:gdLst>
                  <a:gd name="T0" fmla="*/ 18 w 20"/>
                  <a:gd name="T1" fmla="*/ 26 h 34"/>
                  <a:gd name="T2" fmla="*/ 18 w 20"/>
                  <a:gd name="T3" fmla="*/ 26 h 34"/>
                  <a:gd name="T4" fmla="*/ 18 w 20"/>
                  <a:gd name="T5" fmla="*/ 24 h 34"/>
                  <a:gd name="T6" fmla="*/ 18 w 20"/>
                  <a:gd name="T7" fmla="*/ 20 h 34"/>
                  <a:gd name="T8" fmla="*/ 20 w 20"/>
                  <a:gd name="T9" fmla="*/ 18 h 34"/>
                  <a:gd name="T10" fmla="*/ 20 w 20"/>
                  <a:gd name="T11" fmla="*/ 16 h 34"/>
                  <a:gd name="T12" fmla="*/ 20 w 20"/>
                  <a:gd name="T13" fmla="*/ 14 h 34"/>
                  <a:gd name="T14" fmla="*/ 20 w 20"/>
                  <a:gd name="T15" fmla="*/ 14 h 34"/>
                  <a:gd name="T16" fmla="*/ 20 w 20"/>
                  <a:gd name="T17" fmla="*/ 8 h 34"/>
                  <a:gd name="T18" fmla="*/ 20 w 20"/>
                  <a:gd name="T19" fmla="*/ 6 h 34"/>
                  <a:gd name="T20" fmla="*/ 18 w 20"/>
                  <a:gd name="T21" fmla="*/ 4 h 34"/>
                  <a:gd name="T22" fmla="*/ 18 w 20"/>
                  <a:gd name="T23" fmla="*/ 4 h 34"/>
                  <a:gd name="T24" fmla="*/ 18 w 20"/>
                  <a:gd name="T25" fmla="*/ 2 h 34"/>
                  <a:gd name="T26" fmla="*/ 18 w 20"/>
                  <a:gd name="T27" fmla="*/ 2 h 34"/>
                  <a:gd name="T28" fmla="*/ 14 w 20"/>
                  <a:gd name="T29" fmla="*/ 2 h 34"/>
                  <a:gd name="T30" fmla="*/ 12 w 20"/>
                  <a:gd name="T31" fmla="*/ 2 h 34"/>
                  <a:gd name="T32" fmla="*/ 8 w 20"/>
                  <a:gd name="T33" fmla="*/ 0 h 34"/>
                  <a:gd name="T34" fmla="*/ 8 w 20"/>
                  <a:gd name="T35" fmla="*/ 0 h 34"/>
                  <a:gd name="T36" fmla="*/ 6 w 20"/>
                  <a:gd name="T37" fmla="*/ 2 h 34"/>
                  <a:gd name="T38" fmla="*/ 6 w 20"/>
                  <a:gd name="T39" fmla="*/ 2 h 34"/>
                  <a:gd name="T40" fmla="*/ 6 w 20"/>
                  <a:gd name="T41" fmla="*/ 4 h 34"/>
                  <a:gd name="T42" fmla="*/ 6 w 20"/>
                  <a:gd name="T43" fmla="*/ 6 h 34"/>
                  <a:gd name="T44" fmla="*/ 6 w 20"/>
                  <a:gd name="T45" fmla="*/ 6 h 34"/>
                  <a:gd name="T46" fmla="*/ 6 w 20"/>
                  <a:gd name="T47" fmla="*/ 8 h 34"/>
                  <a:gd name="T48" fmla="*/ 4 w 20"/>
                  <a:gd name="T49" fmla="*/ 10 h 34"/>
                  <a:gd name="T50" fmla="*/ 4 w 20"/>
                  <a:gd name="T51" fmla="*/ 10 h 34"/>
                  <a:gd name="T52" fmla="*/ 2 w 20"/>
                  <a:gd name="T53" fmla="*/ 14 h 34"/>
                  <a:gd name="T54" fmla="*/ 0 w 20"/>
                  <a:gd name="T55" fmla="*/ 16 h 34"/>
                  <a:gd name="T56" fmla="*/ 0 w 20"/>
                  <a:gd name="T57" fmla="*/ 18 h 34"/>
                  <a:gd name="T58" fmla="*/ 0 w 20"/>
                  <a:gd name="T59" fmla="*/ 18 h 34"/>
                  <a:gd name="T60" fmla="*/ 0 w 20"/>
                  <a:gd name="T61" fmla="*/ 18 h 34"/>
                  <a:gd name="T62" fmla="*/ 2 w 20"/>
                  <a:gd name="T63" fmla="*/ 22 h 34"/>
                  <a:gd name="T64" fmla="*/ 6 w 20"/>
                  <a:gd name="T65" fmla="*/ 26 h 34"/>
                  <a:gd name="T66" fmla="*/ 6 w 20"/>
                  <a:gd name="T67" fmla="*/ 26 h 34"/>
                  <a:gd name="T68" fmla="*/ 6 w 20"/>
                  <a:gd name="T69" fmla="*/ 26 h 34"/>
                  <a:gd name="T70" fmla="*/ 8 w 20"/>
                  <a:gd name="T71" fmla="*/ 28 h 34"/>
                  <a:gd name="T72" fmla="*/ 8 w 20"/>
                  <a:gd name="T73" fmla="*/ 28 h 34"/>
                  <a:gd name="T74" fmla="*/ 8 w 20"/>
                  <a:gd name="T75" fmla="*/ 30 h 34"/>
                  <a:gd name="T76" fmla="*/ 8 w 20"/>
                  <a:gd name="T77" fmla="*/ 30 h 34"/>
                  <a:gd name="T78" fmla="*/ 8 w 20"/>
                  <a:gd name="T79" fmla="*/ 30 h 34"/>
                  <a:gd name="T80" fmla="*/ 8 w 20"/>
                  <a:gd name="T81" fmla="*/ 30 h 34"/>
                  <a:gd name="T82" fmla="*/ 10 w 20"/>
                  <a:gd name="T83" fmla="*/ 30 h 34"/>
                  <a:gd name="T84" fmla="*/ 12 w 20"/>
                  <a:gd name="T85" fmla="*/ 32 h 34"/>
                  <a:gd name="T86" fmla="*/ 12 w 20"/>
                  <a:gd name="T87" fmla="*/ 32 h 34"/>
                  <a:gd name="T88" fmla="*/ 14 w 20"/>
                  <a:gd name="T89" fmla="*/ 32 h 34"/>
                  <a:gd name="T90" fmla="*/ 14 w 20"/>
                  <a:gd name="T91" fmla="*/ 34 h 34"/>
                  <a:gd name="T92" fmla="*/ 16 w 20"/>
                  <a:gd name="T93" fmla="*/ 34 h 34"/>
                  <a:gd name="T94" fmla="*/ 18 w 20"/>
                  <a:gd name="T95" fmla="*/ 34 h 34"/>
                  <a:gd name="T96" fmla="*/ 18 w 20"/>
                  <a:gd name="T97" fmla="*/ 34 h 34"/>
                  <a:gd name="T98" fmla="*/ 18 w 20"/>
                  <a:gd name="T99" fmla="*/ 34 h 34"/>
                  <a:gd name="T100" fmla="*/ 18 w 20"/>
                  <a:gd name="T101" fmla="*/ 34 h 34"/>
                  <a:gd name="T102" fmla="*/ 18 w 20"/>
                  <a:gd name="T103" fmla="*/ 32 h 34"/>
                  <a:gd name="T104" fmla="*/ 18 w 20"/>
                  <a:gd name="T105" fmla="*/ 30 h 34"/>
                  <a:gd name="T106" fmla="*/ 18 w 20"/>
                  <a:gd name="T107" fmla="*/ 28 h 34"/>
                  <a:gd name="T108" fmla="*/ 18 w 20"/>
                  <a:gd name="T109" fmla="*/ 26 h 34"/>
                  <a:gd name="T110" fmla="*/ 18 w 20"/>
                  <a:gd name="T111" fmla="*/ 26 h 34"/>
                  <a:gd name="T112" fmla="*/ 18 w 20"/>
                  <a:gd name="T113" fmla="*/ 26 h 34"/>
                  <a:gd name="T114" fmla="*/ 18 w 20"/>
                  <a:gd name="T115" fmla="*/ 26 h 34"/>
                  <a:gd name="T116" fmla="*/ 18 w 20"/>
                  <a:gd name="T117" fmla="*/ 26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0" h="34">
                    <a:moveTo>
                      <a:pt x="18" y="26"/>
                    </a:moveTo>
                    <a:lnTo>
                      <a:pt x="18" y="26"/>
                    </a:lnTo>
                    <a:lnTo>
                      <a:pt x="18" y="24"/>
                    </a:lnTo>
                    <a:lnTo>
                      <a:pt x="18" y="20"/>
                    </a:lnTo>
                    <a:lnTo>
                      <a:pt x="20" y="18"/>
                    </a:lnTo>
                    <a:lnTo>
                      <a:pt x="20" y="16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8"/>
                    </a:lnTo>
                    <a:lnTo>
                      <a:pt x="20" y="6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4" y="2"/>
                    </a:lnTo>
                    <a:lnTo>
                      <a:pt x="12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4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10" y="30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4" y="32"/>
                    </a:lnTo>
                    <a:lnTo>
                      <a:pt x="14" y="34"/>
                    </a:lnTo>
                    <a:lnTo>
                      <a:pt x="16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2"/>
                    </a:lnTo>
                    <a:lnTo>
                      <a:pt x="18" y="30"/>
                    </a:lnTo>
                    <a:lnTo>
                      <a:pt x="18" y="28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43" name="Freeform 471"/>
              <p:cNvSpPr>
                <a:spLocks/>
              </p:cNvSpPr>
              <p:nvPr/>
            </p:nvSpPr>
            <p:spPr bwMode="auto">
              <a:xfrm>
                <a:off x="3009" y="2088"/>
                <a:ext cx="26" cy="26"/>
              </a:xfrm>
              <a:custGeom>
                <a:avLst/>
                <a:gdLst>
                  <a:gd name="T0" fmla="*/ 14 w 26"/>
                  <a:gd name="T1" fmla="*/ 24 h 26"/>
                  <a:gd name="T2" fmla="*/ 14 w 26"/>
                  <a:gd name="T3" fmla="*/ 24 h 26"/>
                  <a:gd name="T4" fmla="*/ 16 w 26"/>
                  <a:gd name="T5" fmla="*/ 24 h 26"/>
                  <a:gd name="T6" fmla="*/ 16 w 26"/>
                  <a:gd name="T7" fmla="*/ 22 h 26"/>
                  <a:gd name="T8" fmla="*/ 18 w 26"/>
                  <a:gd name="T9" fmla="*/ 20 h 26"/>
                  <a:gd name="T10" fmla="*/ 20 w 26"/>
                  <a:gd name="T11" fmla="*/ 18 h 26"/>
                  <a:gd name="T12" fmla="*/ 20 w 26"/>
                  <a:gd name="T13" fmla="*/ 18 h 26"/>
                  <a:gd name="T14" fmla="*/ 22 w 26"/>
                  <a:gd name="T15" fmla="*/ 16 h 26"/>
                  <a:gd name="T16" fmla="*/ 24 w 26"/>
                  <a:gd name="T17" fmla="*/ 14 h 26"/>
                  <a:gd name="T18" fmla="*/ 26 w 26"/>
                  <a:gd name="T19" fmla="*/ 14 h 26"/>
                  <a:gd name="T20" fmla="*/ 26 w 26"/>
                  <a:gd name="T21" fmla="*/ 14 h 26"/>
                  <a:gd name="T22" fmla="*/ 24 w 26"/>
                  <a:gd name="T23" fmla="*/ 12 h 26"/>
                  <a:gd name="T24" fmla="*/ 24 w 26"/>
                  <a:gd name="T25" fmla="*/ 10 h 26"/>
                  <a:gd name="T26" fmla="*/ 24 w 26"/>
                  <a:gd name="T27" fmla="*/ 8 h 26"/>
                  <a:gd name="T28" fmla="*/ 24 w 26"/>
                  <a:gd name="T29" fmla="*/ 6 h 26"/>
                  <a:gd name="T30" fmla="*/ 24 w 26"/>
                  <a:gd name="T31" fmla="*/ 4 h 26"/>
                  <a:gd name="T32" fmla="*/ 22 w 26"/>
                  <a:gd name="T33" fmla="*/ 2 h 26"/>
                  <a:gd name="T34" fmla="*/ 22 w 26"/>
                  <a:gd name="T35" fmla="*/ 2 h 26"/>
                  <a:gd name="T36" fmla="*/ 20 w 26"/>
                  <a:gd name="T37" fmla="*/ 0 h 26"/>
                  <a:gd name="T38" fmla="*/ 18 w 26"/>
                  <a:gd name="T39" fmla="*/ 0 h 26"/>
                  <a:gd name="T40" fmla="*/ 16 w 26"/>
                  <a:gd name="T41" fmla="*/ 0 h 26"/>
                  <a:gd name="T42" fmla="*/ 16 w 26"/>
                  <a:gd name="T43" fmla="*/ 0 h 26"/>
                  <a:gd name="T44" fmla="*/ 14 w 26"/>
                  <a:gd name="T45" fmla="*/ 0 h 26"/>
                  <a:gd name="T46" fmla="*/ 12 w 26"/>
                  <a:gd name="T47" fmla="*/ 0 h 26"/>
                  <a:gd name="T48" fmla="*/ 12 w 26"/>
                  <a:gd name="T49" fmla="*/ 0 h 26"/>
                  <a:gd name="T50" fmla="*/ 10 w 26"/>
                  <a:gd name="T51" fmla="*/ 0 h 26"/>
                  <a:gd name="T52" fmla="*/ 10 w 26"/>
                  <a:gd name="T53" fmla="*/ 2 h 26"/>
                  <a:gd name="T54" fmla="*/ 6 w 26"/>
                  <a:gd name="T55" fmla="*/ 6 h 26"/>
                  <a:gd name="T56" fmla="*/ 4 w 26"/>
                  <a:gd name="T57" fmla="*/ 8 h 26"/>
                  <a:gd name="T58" fmla="*/ 2 w 26"/>
                  <a:gd name="T59" fmla="*/ 10 h 26"/>
                  <a:gd name="T60" fmla="*/ 0 w 26"/>
                  <a:gd name="T61" fmla="*/ 10 h 26"/>
                  <a:gd name="T62" fmla="*/ 0 w 26"/>
                  <a:gd name="T63" fmla="*/ 10 h 26"/>
                  <a:gd name="T64" fmla="*/ 2 w 26"/>
                  <a:gd name="T65" fmla="*/ 14 h 26"/>
                  <a:gd name="T66" fmla="*/ 4 w 26"/>
                  <a:gd name="T67" fmla="*/ 16 h 26"/>
                  <a:gd name="T68" fmla="*/ 6 w 26"/>
                  <a:gd name="T69" fmla="*/ 20 h 26"/>
                  <a:gd name="T70" fmla="*/ 8 w 26"/>
                  <a:gd name="T71" fmla="*/ 24 h 26"/>
                  <a:gd name="T72" fmla="*/ 10 w 26"/>
                  <a:gd name="T73" fmla="*/ 24 h 26"/>
                  <a:gd name="T74" fmla="*/ 10 w 26"/>
                  <a:gd name="T75" fmla="*/ 26 h 26"/>
                  <a:gd name="T76" fmla="*/ 12 w 26"/>
                  <a:gd name="T77" fmla="*/ 26 h 26"/>
                  <a:gd name="T78" fmla="*/ 12 w 26"/>
                  <a:gd name="T79" fmla="*/ 26 h 26"/>
                  <a:gd name="T80" fmla="*/ 14 w 26"/>
                  <a:gd name="T81" fmla="*/ 24 h 26"/>
                  <a:gd name="T82" fmla="*/ 14 w 26"/>
                  <a:gd name="T83" fmla="*/ 24 h 26"/>
                  <a:gd name="T84" fmla="*/ 14 w 26"/>
                  <a:gd name="T85" fmla="*/ 24 h 26"/>
                  <a:gd name="T86" fmla="*/ 14 w 26"/>
                  <a:gd name="T87" fmla="*/ 24 h 26"/>
                  <a:gd name="T88" fmla="*/ 14 w 26"/>
                  <a:gd name="T89" fmla="*/ 24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6" h="26">
                    <a:moveTo>
                      <a:pt x="14" y="24"/>
                    </a:moveTo>
                    <a:lnTo>
                      <a:pt x="14" y="24"/>
                    </a:lnTo>
                    <a:lnTo>
                      <a:pt x="16" y="24"/>
                    </a:lnTo>
                    <a:lnTo>
                      <a:pt x="16" y="22"/>
                    </a:lnTo>
                    <a:lnTo>
                      <a:pt x="18" y="20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2" y="16"/>
                    </a:lnTo>
                    <a:lnTo>
                      <a:pt x="24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4" y="12"/>
                    </a:lnTo>
                    <a:lnTo>
                      <a:pt x="24" y="10"/>
                    </a:lnTo>
                    <a:lnTo>
                      <a:pt x="24" y="8"/>
                    </a:lnTo>
                    <a:lnTo>
                      <a:pt x="24" y="6"/>
                    </a:lnTo>
                    <a:lnTo>
                      <a:pt x="24" y="4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10" y="2"/>
                    </a:lnTo>
                    <a:lnTo>
                      <a:pt x="6" y="6"/>
                    </a:lnTo>
                    <a:lnTo>
                      <a:pt x="4" y="8"/>
                    </a:lnTo>
                    <a:lnTo>
                      <a:pt x="2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6" y="20"/>
                    </a:lnTo>
                    <a:lnTo>
                      <a:pt x="8" y="24"/>
                    </a:lnTo>
                    <a:lnTo>
                      <a:pt x="10" y="24"/>
                    </a:lnTo>
                    <a:lnTo>
                      <a:pt x="10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4" y="24"/>
                    </a:lnTo>
                    <a:lnTo>
                      <a:pt x="14" y="24"/>
                    </a:lnTo>
                    <a:lnTo>
                      <a:pt x="14" y="24"/>
                    </a:lnTo>
                    <a:lnTo>
                      <a:pt x="14" y="24"/>
                    </a:lnTo>
                    <a:lnTo>
                      <a:pt x="14" y="2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44" name="Freeform 473"/>
              <p:cNvSpPr>
                <a:spLocks/>
              </p:cNvSpPr>
              <p:nvPr/>
            </p:nvSpPr>
            <p:spPr bwMode="auto">
              <a:xfrm>
                <a:off x="2999" y="2098"/>
                <a:ext cx="26" cy="60"/>
              </a:xfrm>
              <a:custGeom>
                <a:avLst/>
                <a:gdLst>
                  <a:gd name="T0" fmla="*/ 16 w 26"/>
                  <a:gd name="T1" fmla="*/ 52 h 60"/>
                  <a:gd name="T2" fmla="*/ 18 w 26"/>
                  <a:gd name="T3" fmla="*/ 52 h 60"/>
                  <a:gd name="T4" fmla="*/ 20 w 26"/>
                  <a:gd name="T5" fmla="*/ 52 h 60"/>
                  <a:gd name="T6" fmla="*/ 22 w 26"/>
                  <a:gd name="T7" fmla="*/ 50 h 60"/>
                  <a:gd name="T8" fmla="*/ 24 w 26"/>
                  <a:gd name="T9" fmla="*/ 46 h 60"/>
                  <a:gd name="T10" fmla="*/ 24 w 26"/>
                  <a:gd name="T11" fmla="*/ 42 h 60"/>
                  <a:gd name="T12" fmla="*/ 26 w 26"/>
                  <a:gd name="T13" fmla="*/ 38 h 60"/>
                  <a:gd name="T14" fmla="*/ 26 w 26"/>
                  <a:gd name="T15" fmla="*/ 36 h 60"/>
                  <a:gd name="T16" fmla="*/ 22 w 26"/>
                  <a:gd name="T17" fmla="*/ 32 h 60"/>
                  <a:gd name="T18" fmla="*/ 20 w 26"/>
                  <a:gd name="T19" fmla="*/ 28 h 60"/>
                  <a:gd name="T20" fmla="*/ 20 w 26"/>
                  <a:gd name="T21" fmla="*/ 26 h 60"/>
                  <a:gd name="T22" fmla="*/ 20 w 26"/>
                  <a:gd name="T23" fmla="*/ 20 h 60"/>
                  <a:gd name="T24" fmla="*/ 20 w 26"/>
                  <a:gd name="T25" fmla="*/ 16 h 60"/>
                  <a:gd name="T26" fmla="*/ 18 w 26"/>
                  <a:gd name="T27" fmla="*/ 12 h 60"/>
                  <a:gd name="T28" fmla="*/ 14 w 26"/>
                  <a:gd name="T29" fmla="*/ 4 h 60"/>
                  <a:gd name="T30" fmla="*/ 10 w 26"/>
                  <a:gd name="T31" fmla="*/ 0 h 60"/>
                  <a:gd name="T32" fmla="*/ 6 w 26"/>
                  <a:gd name="T33" fmla="*/ 2 h 60"/>
                  <a:gd name="T34" fmla="*/ 6 w 26"/>
                  <a:gd name="T35" fmla="*/ 2 h 60"/>
                  <a:gd name="T36" fmla="*/ 4 w 26"/>
                  <a:gd name="T37" fmla="*/ 0 h 60"/>
                  <a:gd name="T38" fmla="*/ 4 w 26"/>
                  <a:gd name="T39" fmla="*/ 4 h 60"/>
                  <a:gd name="T40" fmla="*/ 2 w 26"/>
                  <a:gd name="T41" fmla="*/ 10 h 60"/>
                  <a:gd name="T42" fmla="*/ 2 w 26"/>
                  <a:gd name="T43" fmla="*/ 12 h 60"/>
                  <a:gd name="T44" fmla="*/ 2 w 26"/>
                  <a:gd name="T45" fmla="*/ 16 h 60"/>
                  <a:gd name="T46" fmla="*/ 2 w 26"/>
                  <a:gd name="T47" fmla="*/ 20 h 60"/>
                  <a:gd name="T48" fmla="*/ 2 w 26"/>
                  <a:gd name="T49" fmla="*/ 20 h 60"/>
                  <a:gd name="T50" fmla="*/ 2 w 26"/>
                  <a:gd name="T51" fmla="*/ 20 h 60"/>
                  <a:gd name="T52" fmla="*/ 2 w 26"/>
                  <a:gd name="T53" fmla="*/ 24 h 60"/>
                  <a:gd name="T54" fmla="*/ 2 w 26"/>
                  <a:gd name="T55" fmla="*/ 24 h 60"/>
                  <a:gd name="T56" fmla="*/ 2 w 26"/>
                  <a:gd name="T57" fmla="*/ 28 h 60"/>
                  <a:gd name="T58" fmla="*/ 2 w 26"/>
                  <a:gd name="T59" fmla="*/ 28 h 60"/>
                  <a:gd name="T60" fmla="*/ 2 w 26"/>
                  <a:gd name="T61" fmla="*/ 32 h 60"/>
                  <a:gd name="T62" fmla="*/ 2 w 26"/>
                  <a:gd name="T63" fmla="*/ 34 h 60"/>
                  <a:gd name="T64" fmla="*/ 0 w 26"/>
                  <a:gd name="T65" fmla="*/ 36 h 60"/>
                  <a:gd name="T66" fmla="*/ 2 w 26"/>
                  <a:gd name="T67" fmla="*/ 40 h 60"/>
                  <a:gd name="T68" fmla="*/ 4 w 26"/>
                  <a:gd name="T69" fmla="*/ 48 h 60"/>
                  <a:gd name="T70" fmla="*/ 4 w 26"/>
                  <a:gd name="T71" fmla="*/ 50 h 60"/>
                  <a:gd name="T72" fmla="*/ 6 w 26"/>
                  <a:gd name="T73" fmla="*/ 52 h 60"/>
                  <a:gd name="T74" fmla="*/ 8 w 26"/>
                  <a:gd name="T75" fmla="*/ 54 h 60"/>
                  <a:gd name="T76" fmla="*/ 10 w 26"/>
                  <a:gd name="T77" fmla="*/ 58 h 60"/>
                  <a:gd name="T78" fmla="*/ 12 w 26"/>
                  <a:gd name="T79" fmla="*/ 60 h 60"/>
                  <a:gd name="T80" fmla="*/ 14 w 26"/>
                  <a:gd name="T81" fmla="*/ 58 h 60"/>
                  <a:gd name="T82" fmla="*/ 16 w 26"/>
                  <a:gd name="T83" fmla="*/ 54 h 60"/>
                  <a:gd name="T84" fmla="*/ 16 w 26"/>
                  <a:gd name="T85" fmla="*/ 52 h 60"/>
                  <a:gd name="T86" fmla="*/ 16 w 26"/>
                  <a:gd name="T87" fmla="*/ 52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6" h="60">
                    <a:moveTo>
                      <a:pt x="16" y="52"/>
                    </a:moveTo>
                    <a:lnTo>
                      <a:pt x="16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2" y="50"/>
                    </a:lnTo>
                    <a:lnTo>
                      <a:pt x="22" y="48"/>
                    </a:lnTo>
                    <a:lnTo>
                      <a:pt x="24" y="46"/>
                    </a:lnTo>
                    <a:lnTo>
                      <a:pt x="24" y="44"/>
                    </a:lnTo>
                    <a:lnTo>
                      <a:pt x="24" y="42"/>
                    </a:lnTo>
                    <a:lnTo>
                      <a:pt x="24" y="40"/>
                    </a:lnTo>
                    <a:lnTo>
                      <a:pt x="26" y="38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4"/>
                    </a:lnTo>
                    <a:lnTo>
                      <a:pt x="22" y="32"/>
                    </a:lnTo>
                    <a:lnTo>
                      <a:pt x="20" y="30"/>
                    </a:lnTo>
                    <a:lnTo>
                      <a:pt x="20" y="28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4"/>
                    </a:lnTo>
                    <a:lnTo>
                      <a:pt x="20" y="20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18" y="14"/>
                    </a:lnTo>
                    <a:lnTo>
                      <a:pt x="18" y="12"/>
                    </a:lnTo>
                    <a:lnTo>
                      <a:pt x="16" y="10"/>
                    </a:lnTo>
                    <a:lnTo>
                      <a:pt x="14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4"/>
                    </a:lnTo>
                    <a:lnTo>
                      <a:pt x="2" y="16"/>
                    </a:lnTo>
                    <a:lnTo>
                      <a:pt x="2" y="18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22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6"/>
                    </a:lnTo>
                    <a:lnTo>
                      <a:pt x="2" y="28"/>
                    </a:lnTo>
                    <a:lnTo>
                      <a:pt x="2" y="28"/>
                    </a:lnTo>
                    <a:lnTo>
                      <a:pt x="2" y="28"/>
                    </a:lnTo>
                    <a:lnTo>
                      <a:pt x="2" y="30"/>
                    </a:lnTo>
                    <a:lnTo>
                      <a:pt x="2" y="32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2" y="40"/>
                    </a:lnTo>
                    <a:lnTo>
                      <a:pt x="2" y="4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50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10" y="56"/>
                    </a:lnTo>
                    <a:lnTo>
                      <a:pt x="10" y="58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4" y="58"/>
                    </a:lnTo>
                    <a:lnTo>
                      <a:pt x="14" y="58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45" name="Freeform 475"/>
              <p:cNvSpPr>
                <a:spLocks/>
              </p:cNvSpPr>
              <p:nvPr/>
            </p:nvSpPr>
            <p:spPr bwMode="auto">
              <a:xfrm>
                <a:off x="2997" y="1816"/>
                <a:ext cx="78" cy="56"/>
              </a:xfrm>
              <a:custGeom>
                <a:avLst/>
                <a:gdLst>
                  <a:gd name="T0" fmla="*/ 76 w 78"/>
                  <a:gd name="T1" fmla="*/ 18 h 56"/>
                  <a:gd name="T2" fmla="*/ 72 w 78"/>
                  <a:gd name="T3" fmla="*/ 14 h 56"/>
                  <a:gd name="T4" fmla="*/ 64 w 78"/>
                  <a:gd name="T5" fmla="*/ 10 h 56"/>
                  <a:gd name="T6" fmla="*/ 58 w 78"/>
                  <a:gd name="T7" fmla="*/ 8 h 56"/>
                  <a:gd name="T8" fmla="*/ 54 w 78"/>
                  <a:gd name="T9" fmla="*/ 6 h 56"/>
                  <a:gd name="T10" fmla="*/ 52 w 78"/>
                  <a:gd name="T11" fmla="*/ 2 h 56"/>
                  <a:gd name="T12" fmla="*/ 48 w 78"/>
                  <a:gd name="T13" fmla="*/ 2 h 56"/>
                  <a:gd name="T14" fmla="*/ 42 w 78"/>
                  <a:gd name="T15" fmla="*/ 2 h 56"/>
                  <a:gd name="T16" fmla="*/ 34 w 78"/>
                  <a:gd name="T17" fmla="*/ 0 h 56"/>
                  <a:gd name="T18" fmla="*/ 28 w 78"/>
                  <a:gd name="T19" fmla="*/ 2 h 56"/>
                  <a:gd name="T20" fmla="*/ 24 w 78"/>
                  <a:gd name="T21" fmla="*/ 4 h 56"/>
                  <a:gd name="T22" fmla="*/ 16 w 78"/>
                  <a:gd name="T23" fmla="*/ 6 h 56"/>
                  <a:gd name="T24" fmla="*/ 10 w 78"/>
                  <a:gd name="T25" fmla="*/ 8 h 56"/>
                  <a:gd name="T26" fmla="*/ 0 w 78"/>
                  <a:gd name="T27" fmla="*/ 14 h 56"/>
                  <a:gd name="T28" fmla="*/ 2 w 78"/>
                  <a:gd name="T29" fmla="*/ 22 h 56"/>
                  <a:gd name="T30" fmla="*/ 6 w 78"/>
                  <a:gd name="T31" fmla="*/ 26 h 56"/>
                  <a:gd name="T32" fmla="*/ 10 w 78"/>
                  <a:gd name="T33" fmla="*/ 30 h 56"/>
                  <a:gd name="T34" fmla="*/ 12 w 78"/>
                  <a:gd name="T35" fmla="*/ 30 h 56"/>
                  <a:gd name="T36" fmla="*/ 14 w 78"/>
                  <a:gd name="T37" fmla="*/ 30 h 56"/>
                  <a:gd name="T38" fmla="*/ 16 w 78"/>
                  <a:gd name="T39" fmla="*/ 32 h 56"/>
                  <a:gd name="T40" fmla="*/ 20 w 78"/>
                  <a:gd name="T41" fmla="*/ 34 h 56"/>
                  <a:gd name="T42" fmla="*/ 24 w 78"/>
                  <a:gd name="T43" fmla="*/ 34 h 56"/>
                  <a:gd name="T44" fmla="*/ 26 w 78"/>
                  <a:gd name="T45" fmla="*/ 36 h 56"/>
                  <a:gd name="T46" fmla="*/ 28 w 78"/>
                  <a:gd name="T47" fmla="*/ 42 h 56"/>
                  <a:gd name="T48" fmla="*/ 30 w 78"/>
                  <a:gd name="T49" fmla="*/ 44 h 56"/>
                  <a:gd name="T50" fmla="*/ 32 w 78"/>
                  <a:gd name="T51" fmla="*/ 46 h 56"/>
                  <a:gd name="T52" fmla="*/ 36 w 78"/>
                  <a:gd name="T53" fmla="*/ 46 h 56"/>
                  <a:gd name="T54" fmla="*/ 42 w 78"/>
                  <a:gd name="T55" fmla="*/ 52 h 56"/>
                  <a:gd name="T56" fmla="*/ 44 w 78"/>
                  <a:gd name="T57" fmla="*/ 56 h 56"/>
                  <a:gd name="T58" fmla="*/ 46 w 78"/>
                  <a:gd name="T59" fmla="*/ 56 h 56"/>
                  <a:gd name="T60" fmla="*/ 52 w 78"/>
                  <a:gd name="T61" fmla="*/ 56 h 56"/>
                  <a:gd name="T62" fmla="*/ 56 w 78"/>
                  <a:gd name="T63" fmla="*/ 54 h 56"/>
                  <a:gd name="T64" fmla="*/ 64 w 78"/>
                  <a:gd name="T65" fmla="*/ 48 h 56"/>
                  <a:gd name="T66" fmla="*/ 68 w 78"/>
                  <a:gd name="T67" fmla="*/ 46 h 56"/>
                  <a:gd name="T68" fmla="*/ 70 w 78"/>
                  <a:gd name="T69" fmla="*/ 42 h 56"/>
                  <a:gd name="T70" fmla="*/ 70 w 78"/>
                  <a:gd name="T71" fmla="*/ 36 h 56"/>
                  <a:gd name="T72" fmla="*/ 70 w 78"/>
                  <a:gd name="T73" fmla="*/ 32 h 56"/>
                  <a:gd name="T74" fmla="*/ 74 w 78"/>
                  <a:gd name="T75" fmla="*/ 30 h 56"/>
                  <a:gd name="T76" fmla="*/ 76 w 78"/>
                  <a:gd name="T77" fmla="*/ 28 h 56"/>
                  <a:gd name="T78" fmla="*/ 78 w 78"/>
                  <a:gd name="T79" fmla="*/ 26 h 56"/>
                  <a:gd name="T80" fmla="*/ 78 w 78"/>
                  <a:gd name="T81" fmla="*/ 22 h 56"/>
                  <a:gd name="T82" fmla="*/ 78 w 78"/>
                  <a:gd name="T83" fmla="*/ 2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78" h="56">
                    <a:moveTo>
                      <a:pt x="78" y="20"/>
                    </a:moveTo>
                    <a:lnTo>
                      <a:pt x="78" y="20"/>
                    </a:lnTo>
                    <a:lnTo>
                      <a:pt x="76" y="18"/>
                    </a:lnTo>
                    <a:lnTo>
                      <a:pt x="76" y="16"/>
                    </a:lnTo>
                    <a:lnTo>
                      <a:pt x="74" y="14"/>
                    </a:lnTo>
                    <a:lnTo>
                      <a:pt x="72" y="14"/>
                    </a:lnTo>
                    <a:lnTo>
                      <a:pt x="68" y="12"/>
                    </a:lnTo>
                    <a:lnTo>
                      <a:pt x="64" y="10"/>
                    </a:lnTo>
                    <a:lnTo>
                      <a:pt x="64" y="10"/>
                    </a:lnTo>
                    <a:lnTo>
                      <a:pt x="62" y="8"/>
                    </a:lnTo>
                    <a:lnTo>
                      <a:pt x="60" y="8"/>
                    </a:lnTo>
                    <a:lnTo>
                      <a:pt x="58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4" y="6"/>
                    </a:lnTo>
                    <a:lnTo>
                      <a:pt x="54" y="4"/>
                    </a:lnTo>
                    <a:lnTo>
                      <a:pt x="52" y="2"/>
                    </a:lnTo>
                    <a:lnTo>
                      <a:pt x="52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48" y="2"/>
                    </a:lnTo>
                    <a:lnTo>
                      <a:pt x="46" y="2"/>
                    </a:lnTo>
                    <a:lnTo>
                      <a:pt x="44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36" y="0"/>
                    </a:lnTo>
                    <a:lnTo>
                      <a:pt x="34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28" y="2"/>
                    </a:lnTo>
                    <a:lnTo>
                      <a:pt x="28" y="2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2" y="6"/>
                    </a:lnTo>
                    <a:lnTo>
                      <a:pt x="18" y="6"/>
                    </a:lnTo>
                    <a:lnTo>
                      <a:pt x="16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0" y="8"/>
                    </a:lnTo>
                    <a:lnTo>
                      <a:pt x="6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22"/>
                    </a:lnTo>
                    <a:lnTo>
                      <a:pt x="4" y="24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4" y="30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4" y="34"/>
                    </a:lnTo>
                    <a:lnTo>
                      <a:pt x="24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6"/>
                    </a:lnTo>
                    <a:lnTo>
                      <a:pt x="28" y="38"/>
                    </a:lnTo>
                    <a:lnTo>
                      <a:pt x="28" y="40"/>
                    </a:lnTo>
                    <a:lnTo>
                      <a:pt x="28" y="42"/>
                    </a:lnTo>
                    <a:lnTo>
                      <a:pt x="28" y="42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2" y="46"/>
                    </a:lnTo>
                    <a:lnTo>
                      <a:pt x="32" y="46"/>
                    </a:lnTo>
                    <a:lnTo>
                      <a:pt x="32" y="46"/>
                    </a:lnTo>
                    <a:lnTo>
                      <a:pt x="32" y="46"/>
                    </a:lnTo>
                    <a:lnTo>
                      <a:pt x="36" y="46"/>
                    </a:lnTo>
                    <a:lnTo>
                      <a:pt x="38" y="48"/>
                    </a:lnTo>
                    <a:lnTo>
                      <a:pt x="40" y="50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4" y="54"/>
                    </a:lnTo>
                    <a:lnTo>
                      <a:pt x="44" y="56"/>
                    </a:lnTo>
                    <a:lnTo>
                      <a:pt x="44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50" y="56"/>
                    </a:lnTo>
                    <a:lnTo>
                      <a:pt x="50" y="56"/>
                    </a:lnTo>
                    <a:lnTo>
                      <a:pt x="52" y="56"/>
                    </a:lnTo>
                    <a:lnTo>
                      <a:pt x="54" y="56"/>
                    </a:lnTo>
                    <a:lnTo>
                      <a:pt x="56" y="54"/>
                    </a:lnTo>
                    <a:lnTo>
                      <a:pt x="56" y="54"/>
                    </a:lnTo>
                    <a:lnTo>
                      <a:pt x="60" y="52"/>
                    </a:lnTo>
                    <a:lnTo>
                      <a:pt x="62" y="50"/>
                    </a:lnTo>
                    <a:lnTo>
                      <a:pt x="64" y="48"/>
                    </a:lnTo>
                    <a:lnTo>
                      <a:pt x="64" y="48"/>
                    </a:lnTo>
                    <a:lnTo>
                      <a:pt x="66" y="48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0"/>
                    </a:lnTo>
                    <a:lnTo>
                      <a:pt x="70" y="38"/>
                    </a:lnTo>
                    <a:lnTo>
                      <a:pt x="70" y="36"/>
                    </a:lnTo>
                    <a:lnTo>
                      <a:pt x="70" y="34"/>
                    </a:lnTo>
                    <a:lnTo>
                      <a:pt x="70" y="34"/>
                    </a:lnTo>
                    <a:lnTo>
                      <a:pt x="70" y="32"/>
                    </a:lnTo>
                    <a:lnTo>
                      <a:pt x="72" y="30"/>
                    </a:lnTo>
                    <a:lnTo>
                      <a:pt x="72" y="30"/>
                    </a:lnTo>
                    <a:lnTo>
                      <a:pt x="74" y="30"/>
                    </a:lnTo>
                    <a:lnTo>
                      <a:pt x="76" y="30"/>
                    </a:lnTo>
                    <a:lnTo>
                      <a:pt x="76" y="30"/>
                    </a:lnTo>
                    <a:lnTo>
                      <a:pt x="76" y="28"/>
                    </a:lnTo>
                    <a:lnTo>
                      <a:pt x="76" y="28"/>
                    </a:lnTo>
                    <a:lnTo>
                      <a:pt x="78" y="28"/>
                    </a:lnTo>
                    <a:lnTo>
                      <a:pt x="78" y="26"/>
                    </a:lnTo>
                    <a:lnTo>
                      <a:pt x="78" y="26"/>
                    </a:lnTo>
                    <a:lnTo>
                      <a:pt x="78" y="24"/>
                    </a:lnTo>
                    <a:lnTo>
                      <a:pt x="78" y="22"/>
                    </a:lnTo>
                    <a:lnTo>
                      <a:pt x="78" y="20"/>
                    </a:lnTo>
                    <a:lnTo>
                      <a:pt x="78" y="20"/>
                    </a:lnTo>
                    <a:lnTo>
                      <a:pt x="78" y="20"/>
                    </a:lnTo>
                    <a:lnTo>
                      <a:pt x="78" y="20"/>
                    </a:lnTo>
                    <a:lnTo>
                      <a:pt x="78" y="2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46" name="Freeform 477"/>
              <p:cNvSpPr>
                <a:spLocks/>
              </p:cNvSpPr>
              <p:nvPr/>
            </p:nvSpPr>
            <p:spPr bwMode="auto">
              <a:xfrm>
                <a:off x="3021" y="1742"/>
                <a:ext cx="62" cy="50"/>
              </a:xfrm>
              <a:custGeom>
                <a:avLst/>
                <a:gdLst>
                  <a:gd name="T0" fmla="*/ 42 w 62"/>
                  <a:gd name="T1" fmla="*/ 42 h 50"/>
                  <a:gd name="T2" fmla="*/ 46 w 62"/>
                  <a:gd name="T3" fmla="*/ 48 h 50"/>
                  <a:gd name="T4" fmla="*/ 50 w 62"/>
                  <a:gd name="T5" fmla="*/ 50 h 50"/>
                  <a:gd name="T6" fmla="*/ 54 w 62"/>
                  <a:gd name="T7" fmla="*/ 50 h 50"/>
                  <a:gd name="T8" fmla="*/ 58 w 62"/>
                  <a:gd name="T9" fmla="*/ 44 h 50"/>
                  <a:gd name="T10" fmla="*/ 60 w 62"/>
                  <a:gd name="T11" fmla="*/ 38 h 50"/>
                  <a:gd name="T12" fmla="*/ 58 w 62"/>
                  <a:gd name="T13" fmla="*/ 28 h 50"/>
                  <a:gd name="T14" fmla="*/ 58 w 62"/>
                  <a:gd name="T15" fmla="*/ 14 h 50"/>
                  <a:gd name="T16" fmla="*/ 60 w 62"/>
                  <a:gd name="T17" fmla="*/ 10 h 50"/>
                  <a:gd name="T18" fmla="*/ 62 w 62"/>
                  <a:gd name="T19" fmla="*/ 6 h 50"/>
                  <a:gd name="T20" fmla="*/ 62 w 62"/>
                  <a:gd name="T21" fmla="*/ 0 h 50"/>
                  <a:gd name="T22" fmla="*/ 54 w 62"/>
                  <a:gd name="T23" fmla="*/ 6 h 50"/>
                  <a:gd name="T24" fmla="*/ 52 w 62"/>
                  <a:gd name="T25" fmla="*/ 6 h 50"/>
                  <a:gd name="T26" fmla="*/ 48 w 62"/>
                  <a:gd name="T27" fmla="*/ 8 h 50"/>
                  <a:gd name="T28" fmla="*/ 46 w 62"/>
                  <a:gd name="T29" fmla="*/ 8 h 50"/>
                  <a:gd name="T30" fmla="*/ 46 w 62"/>
                  <a:gd name="T31" fmla="*/ 6 h 50"/>
                  <a:gd name="T32" fmla="*/ 44 w 62"/>
                  <a:gd name="T33" fmla="*/ 6 h 50"/>
                  <a:gd name="T34" fmla="*/ 42 w 62"/>
                  <a:gd name="T35" fmla="*/ 6 h 50"/>
                  <a:gd name="T36" fmla="*/ 40 w 62"/>
                  <a:gd name="T37" fmla="*/ 4 h 50"/>
                  <a:gd name="T38" fmla="*/ 36 w 62"/>
                  <a:gd name="T39" fmla="*/ 4 h 50"/>
                  <a:gd name="T40" fmla="*/ 30 w 62"/>
                  <a:gd name="T41" fmla="*/ 4 h 50"/>
                  <a:gd name="T42" fmla="*/ 24 w 62"/>
                  <a:gd name="T43" fmla="*/ 4 h 50"/>
                  <a:gd name="T44" fmla="*/ 20 w 62"/>
                  <a:gd name="T45" fmla="*/ 6 h 50"/>
                  <a:gd name="T46" fmla="*/ 12 w 62"/>
                  <a:gd name="T47" fmla="*/ 8 h 50"/>
                  <a:gd name="T48" fmla="*/ 4 w 62"/>
                  <a:gd name="T49" fmla="*/ 14 h 50"/>
                  <a:gd name="T50" fmla="*/ 0 w 62"/>
                  <a:gd name="T51" fmla="*/ 18 h 50"/>
                  <a:gd name="T52" fmla="*/ 0 w 62"/>
                  <a:gd name="T53" fmla="*/ 22 h 50"/>
                  <a:gd name="T54" fmla="*/ 4 w 62"/>
                  <a:gd name="T55" fmla="*/ 24 h 50"/>
                  <a:gd name="T56" fmla="*/ 4 w 62"/>
                  <a:gd name="T57" fmla="*/ 26 h 50"/>
                  <a:gd name="T58" fmla="*/ 4 w 62"/>
                  <a:gd name="T59" fmla="*/ 26 h 50"/>
                  <a:gd name="T60" fmla="*/ 4 w 62"/>
                  <a:gd name="T61" fmla="*/ 28 h 50"/>
                  <a:gd name="T62" fmla="*/ 4 w 62"/>
                  <a:gd name="T63" fmla="*/ 32 h 50"/>
                  <a:gd name="T64" fmla="*/ 4 w 62"/>
                  <a:gd name="T65" fmla="*/ 34 h 50"/>
                  <a:gd name="T66" fmla="*/ 6 w 62"/>
                  <a:gd name="T67" fmla="*/ 34 h 50"/>
                  <a:gd name="T68" fmla="*/ 10 w 62"/>
                  <a:gd name="T69" fmla="*/ 34 h 50"/>
                  <a:gd name="T70" fmla="*/ 12 w 62"/>
                  <a:gd name="T71" fmla="*/ 32 h 50"/>
                  <a:gd name="T72" fmla="*/ 16 w 62"/>
                  <a:gd name="T73" fmla="*/ 30 h 50"/>
                  <a:gd name="T74" fmla="*/ 16 w 62"/>
                  <a:gd name="T75" fmla="*/ 34 h 50"/>
                  <a:gd name="T76" fmla="*/ 16 w 62"/>
                  <a:gd name="T77" fmla="*/ 38 h 50"/>
                  <a:gd name="T78" fmla="*/ 22 w 62"/>
                  <a:gd name="T79" fmla="*/ 40 h 50"/>
                  <a:gd name="T80" fmla="*/ 28 w 62"/>
                  <a:gd name="T81" fmla="*/ 40 h 50"/>
                  <a:gd name="T82" fmla="*/ 38 w 62"/>
                  <a:gd name="T83" fmla="*/ 40 h 50"/>
                  <a:gd name="T84" fmla="*/ 40 w 62"/>
                  <a:gd name="T85" fmla="*/ 40 h 50"/>
                  <a:gd name="T86" fmla="*/ 40 w 62"/>
                  <a:gd name="T87" fmla="*/ 4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62" h="50">
                    <a:moveTo>
                      <a:pt x="40" y="40"/>
                    </a:moveTo>
                    <a:lnTo>
                      <a:pt x="40" y="40"/>
                    </a:lnTo>
                    <a:lnTo>
                      <a:pt x="42" y="42"/>
                    </a:lnTo>
                    <a:lnTo>
                      <a:pt x="42" y="44"/>
                    </a:lnTo>
                    <a:lnTo>
                      <a:pt x="44" y="46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8" y="48"/>
                    </a:lnTo>
                    <a:lnTo>
                      <a:pt x="50" y="50"/>
                    </a:lnTo>
                    <a:lnTo>
                      <a:pt x="52" y="50"/>
                    </a:lnTo>
                    <a:lnTo>
                      <a:pt x="54" y="50"/>
                    </a:lnTo>
                    <a:lnTo>
                      <a:pt x="54" y="50"/>
                    </a:lnTo>
                    <a:lnTo>
                      <a:pt x="56" y="48"/>
                    </a:lnTo>
                    <a:lnTo>
                      <a:pt x="58" y="46"/>
                    </a:lnTo>
                    <a:lnTo>
                      <a:pt x="58" y="44"/>
                    </a:lnTo>
                    <a:lnTo>
                      <a:pt x="60" y="42"/>
                    </a:lnTo>
                    <a:lnTo>
                      <a:pt x="60" y="40"/>
                    </a:lnTo>
                    <a:lnTo>
                      <a:pt x="60" y="38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8" y="28"/>
                    </a:lnTo>
                    <a:lnTo>
                      <a:pt x="56" y="24"/>
                    </a:lnTo>
                    <a:lnTo>
                      <a:pt x="58" y="18"/>
                    </a:lnTo>
                    <a:lnTo>
                      <a:pt x="58" y="14"/>
                    </a:lnTo>
                    <a:lnTo>
                      <a:pt x="58" y="14"/>
                    </a:lnTo>
                    <a:lnTo>
                      <a:pt x="58" y="12"/>
                    </a:lnTo>
                    <a:lnTo>
                      <a:pt x="60" y="10"/>
                    </a:lnTo>
                    <a:lnTo>
                      <a:pt x="60" y="6"/>
                    </a:lnTo>
                    <a:lnTo>
                      <a:pt x="60" y="6"/>
                    </a:lnTo>
                    <a:lnTo>
                      <a:pt x="62" y="6"/>
                    </a:lnTo>
                    <a:lnTo>
                      <a:pt x="62" y="4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0" y="2"/>
                    </a:lnTo>
                    <a:lnTo>
                      <a:pt x="56" y="4"/>
                    </a:lnTo>
                    <a:lnTo>
                      <a:pt x="54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0" y="6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4" y="6"/>
                    </a:lnTo>
                    <a:lnTo>
                      <a:pt x="44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38" y="4"/>
                    </a:lnTo>
                    <a:lnTo>
                      <a:pt x="36" y="4"/>
                    </a:lnTo>
                    <a:lnTo>
                      <a:pt x="34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2" y="4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16" y="8"/>
                    </a:lnTo>
                    <a:lnTo>
                      <a:pt x="12" y="8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4" y="14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0" y="18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2" y="34"/>
                    </a:lnTo>
                    <a:lnTo>
                      <a:pt x="12" y="32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2"/>
                    </a:lnTo>
                    <a:lnTo>
                      <a:pt x="16" y="34"/>
                    </a:lnTo>
                    <a:lnTo>
                      <a:pt x="16" y="36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22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8" y="40"/>
                    </a:lnTo>
                    <a:lnTo>
                      <a:pt x="34" y="38"/>
                    </a:lnTo>
                    <a:lnTo>
                      <a:pt x="36" y="38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47" name="Freeform 479"/>
              <p:cNvSpPr>
                <a:spLocks/>
              </p:cNvSpPr>
              <p:nvPr/>
            </p:nvSpPr>
            <p:spPr bwMode="auto">
              <a:xfrm>
                <a:off x="3001" y="1762"/>
                <a:ext cx="20" cy="24"/>
              </a:xfrm>
              <a:custGeom>
                <a:avLst/>
                <a:gdLst>
                  <a:gd name="T0" fmla="*/ 10 w 20"/>
                  <a:gd name="T1" fmla="*/ 0 h 24"/>
                  <a:gd name="T2" fmla="*/ 6 w 20"/>
                  <a:gd name="T3" fmla="*/ 2 h 24"/>
                  <a:gd name="T4" fmla="*/ 4 w 20"/>
                  <a:gd name="T5" fmla="*/ 2 h 24"/>
                  <a:gd name="T6" fmla="*/ 6 w 20"/>
                  <a:gd name="T7" fmla="*/ 4 h 24"/>
                  <a:gd name="T8" fmla="*/ 6 w 20"/>
                  <a:gd name="T9" fmla="*/ 6 h 24"/>
                  <a:gd name="T10" fmla="*/ 8 w 20"/>
                  <a:gd name="T11" fmla="*/ 8 h 24"/>
                  <a:gd name="T12" fmla="*/ 8 w 20"/>
                  <a:gd name="T13" fmla="*/ 10 h 24"/>
                  <a:gd name="T14" fmla="*/ 4 w 20"/>
                  <a:gd name="T15" fmla="*/ 10 h 24"/>
                  <a:gd name="T16" fmla="*/ 2 w 20"/>
                  <a:gd name="T17" fmla="*/ 12 h 24"/>
                  <a:gd name="T18" fmla="*/ 0 w 20"/>
                  <a:gd name="T19" fmla="*/ 14 h 24"/>
                  <a:gd name="T20" fmla="*/ 2 w 20"/>
                  <a:gd name="T21" fmla="*/ 14 h 24"/>
                  <a:gd name="T22" fmla="*/ 4 w 20"/>
                  <a:gd name="T23" fmla="*/ 14 h 24"/>
                  <a:gd name="T24" fmla="*/ 4 w 20"/>
                  <a:gd name="T25" fmla="*/ 16 h 24"/>
                  <a:gd name="T26" fmla="*/ 4 w 20"/>
                  <a:gd name="T27" fmla="*/ 18 h 24"/>
                  <a:gd name="T28" fmla="*/ 4 w 20"/>
                  <a:gd name="T29" fmla="*/ 20 h 24"/>
                  <a:gd name="T30" fmla="*/ 4 w 20"/>
                  <a:gd name="T31" fmla="*/ 22 h 24"/>
                  <a:gd name="T32" fmla="*/ 4 w 20"/>
                  <a:gd name="T33" fmla="*/ 24 h 24"/>
                  <a:gd name="T34" fmla="*/ 6 w 20"/>
                  <a:gd name="T35" fmla="*/ 22 h 24"/>
                  <a:gd name="T36" fmla="*/ 10 w 20"/>
                  <a:gd name="T37" fmla="*/ 20 h 24"/>
                  <a:gd name="T38" fmla="*/ 12 w 20"/>
                  <a:gd name="T39" fmla="*/ 20 h 24"/>
                  <a:gd name="T40" fmla="*/ 14 w 20"/>
                  <a:gd name="T41" fmla="*/ 20 h 24"/>
                  <a:gd name="T42" fmla="*/ 18 w 20"/>
                  <a:gd name="T43" fmla="*/ 20 h 24"/>
                  <a:gd name="T44" fmla="*/ 20 w 20"/>
                  <a:gd name="T45" fmla="*/ 18 h 24"/>
                  <a:gd name="T46" fmla="*/ 20 w 20"/>
                  <a:gd name="T47" fmla="*/ 18 h 24"/>
                  <a:gd name="T48" fmla="*/ 20 w 20"/>
                  <a:gd name="T49" fmla="*/ 14 h 24"/>
                  <a:gd name="T50" fmla="*/ 20 w 20"/>
                  <a:gd name="T51" fmla="*/ 14 h 24"/>
                  <a:gd name="T52" fmla="*/ 20 w 20"/>
                  <a:gd name="T53" fmla="*/ 12 h 24"/>
                  <a:gd name="T54" fmla="*/ 20 w 20"/>
                  <a:gd name="T55" fmla="*/ 10 h 24"/>
                  <a:gd name="T56" fmla="*/ 18 w 20"/>
                  <a:gd name="T57" fmla="*/ 8 h 24"/>
                  <a:gd name="T58" fmla="*/ 16 w 20"/>
                  <a:gd name="T59" fmla="*/ 8 h 24"/>
                  <a:gd name="T60" fmla="*/ 16 w 20"/>
                  <a:gd name="T61" fmla="*/ 6 h 24"/>
                  <a:gd name="T62" fmla="*/ 18 w 20"/>
                  <a:gd name="T63" fmla="*/ 4 h 24"/>
                  <a:gd name="T64" fmla="*/ 16 w 20"/>
                  <a:gd name="T65" fmla="*/ 2 h 24"/>
                  <a:gd name="T66" fmla="*/ 16 w 20"/>
                  <a:gd name="T67" fmla="*/ 2 h 24"/>
                  <a:gd name="T68" fmla="*/ 14 w 20"/>
                  <a:gd name="T69" fmla="*/ 0 h 24"/>
                  <a:gd name="T70" fmla="*/ 10 w 20"/>
                  <a:gd name="T71" fmla="*/ 0 h 24"/>
                  <a:gd name="T72" fmla="*/ 10 w 20"/>
                  <a:gd name="T73" fmla="*/ 0 h 24"/>
                  <a:gd name="T74" fmla="*/ 10 w 20"/>
                  <a:gd name="T75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0" h="24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10"/>
                    </a:lnTo>
                    <a:lnTo>
                      <a:pt x="6" y="10"/>
                    </a:lnTo>
                    <a:lnTo>
                      <a:pt x="4" y="10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4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20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4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8" y="20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4" y="20"/>
                    </a:lnTo>
                    <a:lnTo>
                      <a:pt x="16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6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0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8" y="4"/>
                    </a:lnTo>
                    <a:lnTo>
                      <a:pt x="18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48" name="Freeform 481"/>
              <p:cNvSpPr>
                <a:spLocks/>
              </p:cNvSpPr>
              <p:nvPr/>
            </p:nvSpPr>
            <p:spPr bwMode="auto">
              <a:xfrm>
                <a:off x="2991" y="1780"/>
                <a:ext cx="106" cy="54"/>
              </a:xfrm>
              <a:custGeom>
                <a:avLst/>
                <a:gdLst>
                  <a:gd name="T0" fmla="*/ 100 w 106"/>
                  <a:gd name="T1" fmla="*/ 48 h 54"/>
                  <a:gd name="T2" fmla="*/ 102 w 106"/>
                  <a:gd name="T3" fmla="*/ 44 h 54"/>
                  <a:gd name="T4" fmla="*/ 106 w 106"/>
                  <a:gd name="T5" fmla="*/ 44 h 54"/>
                  <a:gd name="T6" fmla="*/ 106 w 106"/>
                  <a:gd name="T7" fmla="*/ 40 h 54"/>
                  <a:gd name="T8" fmla="*/ 104 w 106"/>
                  <a:gd name="T9" fmla="*/ 34 h 54"/>
                  <a:gd name="T10" fmla="*/ 100 w 106"/>
                  <a:gd name="T11" fmla="*/ 28 h 54"/>
                  <a:gd name="T12" fmla="*/ 98 w 106"/>
                  <a:gd name="T13" fmla="*/ 22 h 54"/>
                  <a:gd name="T14" fmla="*/ 96 w 106"/>
                  <a:gd name="T15" fmla="*/ 20 h 54"/>
                  <a:gd name="T16" fmla="*/ 92 w 106"/>
                  <a:gd name="T17" fmla="*/ 18 h 54"/>
                  <a:gd name="T18" fmla="*/ 92 w 106"/>
                  <a:gd name="T19" fmla="*/ 14 h 54"/>
                  <a:gd name="T20" fmla="*/ 90 w 106"/>
                  <a:gd name="T21" fmla="*/ 10 h 54"/>
                  <a:gd name="T22" fmla="*/ 86 w 106"/>
                  <a:gd name="T23" fmla="*/ 10 h 54"/>
                  <a:gd name="T24" fmla="*/ 82 w 106"/>
                  <a:gd name="T25" fmla="*/ 12 h 54"/>
                  <a:gd name="T26" fmla="*/ 76 w 106"/>
                  <a:gd name="T27" fmla="*/ 10 h 54"/>
                  <a:gd name="T28" fmla="*/ 72 w 106"/>
                  <a:gd name="T29" fmla="*/ 6 h 54"/>
                  <a:gd name="T30" fmla="*/ 70 w 106"/>
                  <a:gd name="T31" fmla="*/ 2 h 54"/>
                  <a:gd name="T32" fmla="*/ 66 w 106"/>
                  <a:gd name="T33" fmla="*/ 0 h 54"/>
                  <a:gd name="T34" fmla="*/ 56 w 106"/>
                  <a:gd name="T35" fmla="*/ 2 h 54"/>
                  <a:gd name="T36" fmla="*/ 46 w 106"/>
                  <a:gd name="T37" fmla="*/ 2 h 54"/>
                  <a:gd name="T38" fmla="*/ 46 w 106"/>
                  <a:gd name="T39" fmla="*/ 8 h 54"/>
                  <a:gd name="T40" fmla="*/ 46 w 106"/>
                  <a:gd name="T41" fmla="*/ 20 h 54"/>
                  <a:gd name="T42" fmla="*/ 46 w 106"/>
                  <a:gd name="T43" fmla="*/ 24 h 54"/>
                  <a:gd name="T44" fmla="*/ 44 w 106"/>
                  <a:gd name="T45" fmla="*/ 28 h 54"/>
                  <a:gd name="T46" fmla="*/ 38 w 106"/>
                  <a:gd name="T47" fmla="*/ 28 h 54"/>
                  <a:gd name="T48" fmla="*/ 34 w 106"/>
                  <a:gd name="T49" fmla="*/ 28 h 54"/>
                  <a:gd name="T50" fmla="*/ 34 w 106"/>
                  <a:gd name="T51" fmla="*/ 24 h 54"/>
                  <a:gd name="T52" fmla="*/ 34 w 106"/>
                  <a:gd name="T53" fmla="*/ 20 h 54"/>
                  <a:gd name="T54" fmla="*/ 30 w 106"/>
                  <a:gd name="T55" fmla="*/ 16 h 54"/>
                  <a:gd name="T56" fmla="*/ 22 w 106"/>
                  <a:gd name="T57" fmla="*/ 10 h 54"/>
                  <a:gd name="T58" fmla="*/ 20 w 106"/>
                  <a:gd name="T59" fmla="*/ 8 h 54"/>
                  <a:gd name="T60" fmla="*/ 18 w 106"/>
                  <a:gd name="T61" fmla="*/ 8 h 54"/>
                  <a:gd name="T62" fmla="*/ 16 w 106"/>
                  <a:gd name="T63" fmla="*/ 12 h 54"/>
                  <a:gd name="T64" fmla="*/ 10 w 106"/>
                  <a:gd name="T65" fmla="*/ 16 h 54"/>
                  <a:gd name="T66" fmla="*/ 10 w 106"/>
                  <a:gd name="T67" fmla="*/ 20 h 54"/>
                  <a:gd name="T68" fmla="*/ 8 w 106"/>
                  <a:gd name="T69" fmla="*/ 24 h 54"/>
                  <a:gd name="T70" fmla="*/ 6 w 106"/>
                  <a:gd name="T71" fmla="*/ 28 h 54"/>
                  <a:gd name="T72" fmla="*/ 4 w 106"/>
                  <a:gd name="T73" fmla="*/ 32 h 54"/>
                  <a:gd name="T74" fmla="*/ 2 w 106"/>
                  <a:gd name="T75" fmla="*/ 32 h 54"/>
                  <a:gd name="T76" fmla="*/ 0 w 106"/>
                  <a:gd name="T77" fmla="*/ 34 h 54"/>
                  <a:gd name="T78" fmla="*/ 0 w 106"/>
                  <a:gd name="T79" fmla="*/ 36 h 54"/>
                  <a:gd name="T80" fmla="*/ 2 w 106"/>
                  <a:gd name="T81" fmla="*/ 44 h 54"/>
                  <a:gd name="T82" fmla="*/ 6 w 106"/>
                  <a:gd name="T83" fmla="*/ 50 h 54"/>
                  <a:gd name="T84" fmla="*/ 20 w 106"/>
                  <a:gd name="T85" fmla="*/ 42 h 54"/>
                  <a:gd name="T86" fmla="*/ 24 w 106"/>
                  <a:gd name="T87" fmla="*/ 42 h 54"/>
                  <a:gd name="T88" fmla="*/ 30 w 106"/>
                  <a:gd name="T89" fmla="*/ 40 h 54"/>
                  <a:gd name="T90" fmla="*/ 38 w 106"/>
                  <a:gd name="T91" fmla="*/ 36 h 54"/>
                  <a:gd name="T92" fmla="*/ 42 w 106"/>
                  <a:gd name="T93" fmla="*/ 36 h 54"/>
                  <a:gd name="T94" fmla="*/ 50 w 106"/>
                  <a:gd name="T95" fmla="*/ 38 h 54"/>
                  <a:gd name="T96" fmla="*/ 56 w 106"/>
                  <a:gd name="T97" fmla="*/ 38 h 54"/>
                  <a:gd name="T98" fmla="*/ 58 w 106"/>
                  <a:gd name="T99" fmla="*/ 38 h 54"/>
                  <a:gd name="T100" fmla="*/ 62 w 106"/>
                  <a:gd name="T101" fmla="*/ 44 h 54"/>
                  <a:gd name="T102" fmla="*/ 66 w 106"/>
                  <a:gd name="T103" fmla="*/ 44 h 54"/>
                  <a:gd name="T104" fmla="*/ 70 w 106"/>
                  <a:gd name="T105" fmla="*/ 46 h 54"/>
                  <a:gd name="T106" fmla="*/ 82 w 106"/>
                  <a:gd name="T107" fmla="*/ 52 h 54"/>
                  <a:gd name="T108" fmla="*/ 84 w 106"/>
                  <a:gd name="T109" fmla="*/ 54 h 54"/>
                  <a:gd name="T110" fmla="*/ 92 w 106"/>
                  <a:gd name="T111" fmla="*/ 52 h 54"/>
                  <a:gd name="T112" fmla="*/ 98 w 106"/>
                  <a:gd name="T113" fmla="*/ 50 h 54"/>
                  <a:gd name="T114" fmla="*/ 98 w 106"/>
                  <a:gd name="T115" fmla="*/ 5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06" h="54">
                    <a:moveTo>
                      <a:pt x="98" y="50"/>
                    </a:moveTo>
                    <a:lnTo>
                      <a:pt x="98" y="50"/>
                    </a:lnTo>
                    <a:lnTo>
                      <a:pt x="100" y="48"/>
                    </a:lnTo>
                    <a:lnTo>
                      <a:pt x="100" y="46"/>
                    </a:lnTo>
                    <a:lnTo>
                      <a:pt x="102" y="44"/>
                    </a:lnTo>
                    <a:lnTo>
                      <a:pt x="102" y="44"/>
                    </a:lnTo>
                    <a:lnTo>
                      <a:pt x="102" y="44"/>
                    </a:lnTo>
                    <a:lnTo>
                      <a:pt x="104" y="44"/>
                    </a:lnTo>
                    <a:lnTo>
                      <a:pt x="106" y="44"/>
                    </a:lnTo>
                    <a:lnTo>
                      <a:pt x="106" y="42"/>
                    </a:lnTo>
                    <a:lnTo>
                      <a:pt x="106" y="40"/>
                    </a:lnTo>
                    <a:lnTo>
                      <a:pt x="106" y="40"/>
                    </a:lnTo>
                    <a:lnTo>
                      <a:pt x="106" y="38"/>
                    </a:lnTo>
                    <a:lnTo>
                      <a:pt x="106" y="38"/>
                    </a:lnTo>
                    <a:lnTo>
                      <a:pt x="104" y="34"/>
                    </a:lnTo>
                    <a:lnTo>
                      <a:pt x="104" y="34"/>
                    </a:lnTo>
                    <a:lnTo>
                      <a:pt x="102" y="32"/>
                    </a:lnTo>
                    <a:lnTo>
                      <a:pt x="100" y="28"/>
                    </a:lnTo>
                    <a:lnTo>
                      <a:pt x="100" y="28"/>
                    </a:lnTo>
                    <a:lnTo>
                      <a:pt x="98" y="26"/>
                    </a:lnTo>
                    <a:lnTo>
                      <a:pt x="98" y="22"/>
                    </a:lnTo>
                    <a:lnTo>
                      <a:pt x="98" y="22"/>
                    </a:lnTo>
                    <a:lnTo>
                      <a:pt x="98" y="20"/>
                    </a:lnTo>
                    <a:lnTo>
                      <a:pt x="96" y="20"/>
                    </a:lnTo>
                    <a:lnTo>
                      <a:pt x="96" y="20"/>
                    </a:lnTo>
                    <a:lnTo>
                      <a:pt x="92" y="18"/>
                    </a:lnTo>
                    <a:lnTo>
                      <a:pt x="92" y="18"/>
                    </a:lnTo>
                    <a:lnTo>
                      <a:pt x="92" y="16"/>
                    </a:lnTo>
                    <a:lnTo>
                      <a:pt x="92" y="14"/>
                    </a:lnTo>
                    <a:lnTo>
                      <a:pt x="92" y="14"/>
                    </a:lnTo>
                    <a:lnTo>
                      <a:pt x="90" y="12"/>
                    </a:lnTo>
                    <a:lnTo>
                      <a:pt x="90" y="12"/>
                    </a:lnTo>
                    <a:lnTo>
                      <a:pt x="90" y="10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6" y="10"/>
                    </a:lnTo>
                    <a:lnTo>
                      <a:pt x="84" y="12"/>
                    </a:lnTo>
                    <a:lnTo>
                      <a:pt x="84" y="12"/>
                    </a:lnTo>
                    <a:lnTo>
                      <a:pt x="82" y="12"/>
                    </a:lnTo>
                    <a:lnTo>
                      <a:pt x="80" y="12"/>
                    </a:lnTo>
                    <a:lnTo>
                      <a:pt x="78" y="10"/>
                    </a:lnTo>
                    <a:lnTo>
                      <a:pt x="76" y="10"/>
                    </a:lnTo>
                    <a:lnTo>
                      <a:pt x="76" y="10"/>
                    </a:lnTo>
                    <a:lnTo>
                      <a:pt x="74" y="8"/>
                    </a:lnTo>
                    <a:lnTo>
                      <a:pt x="72" y="6"/>
                    </a:lnTo>
                    <a:lnTo>
                      <a:pt x="72" y="4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6" y="0"/>
                    </a:lnTo>
                    <a:lnTo>
                      <a:pt x="64" y="0"/>
                    </a:lnTo>
                    <a:lnTo>
                      <a:pt x="58" y="2"/>
                    </a:lnTo>
                    <a:lnTo>
                      <a:pt x="56" y="2"/>
                    </a:lnTo>
                    <a:lnTo>
                      <a:pt x="56" y="2"/>
                    </a:lnTo>
                    <a:lnTo>
                      <a:pt x="52" y="2"/>
                    </a:lnTo>
                    <a:lnTo>
                      <a:pt x="46" y="2"/>
                    </a:lnTo>
                    <a:lnTo>
                      <a:pt x="46" y="2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18"/>
                    </a:lnTo>
                    <a:lnTo>
                      <a:pt x="46" y="18"/>
                    </a:lnTo>
                    <a:lnTo>
                      <a:pt x="46" y="20"/>
                    </a:lnTo>
                    <a:lnTo>
                      <a:pt x="46" y="22"/>
                    </a:lnTo>
                    <a:lnTo>
                      <a:pt x="46" y="24"/>
                    </a:lnTo>
                    <a:lnTo>
                      <a:pt x="46" y="24"/>
                    </a:lnTo>
                    <a:lnTo>
                      <a:pt x="46" y="26"/>
                    </a:lnTo>
                    <a:lnTo>
                      <a:pt x="44" y="26"/>
                    </a:lnTo>
                    <a:lnTo>
                      <a:pt x="44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38" y="28"/>
                    </a:lnTo>
                    <a:lnTo>
                      <a:pt x="36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6"/>
                    </a:lnTo>
                    <a:lnTo>
                      <a:pt x="34" y="26"/>
                    </a:lnTo>
                    <a:lnTo>
                      <a:pt x="34" y="24"/>
                    </a:lnTo>
                    <a:lnTo>
                      <a:pt x="34" y="22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2" y="18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26" y="14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12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0" y="16"/>
                    </a:lnTo>
                    <a:lnTo>
                      <a:pt x="10" y="18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8" y="20"/>
                    </a:lnTo>
                    <a:lnTo>
                      <a:pt x="8" y="22"/>
                    </a:lnTo>
                    <a:lnTo>
                      <a:pt x="8" y="24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6" y="28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2" y="32"/>
                    </a:lnTo>
                    <a:lnTo>
                      <a:pt x="2" y="32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40"/>
                    </a:lnTo>
                    <a:lnTo>
                      <a:pt x="2" y="44"/>
                    </a:lnTo>
                    <a:lnTo>
                      <a:pt x="2" y="44"/>
                    </a:lnTo>
                    <a:lnTo>
                      <a:pt x="4" y="46"/>
                    </a:lnTo>
                    <a:lnTo>
                      <a:pt x="6" y="50"/>
                    </a:lnTo>
                    <a:lnTo>
                      <a:pt x="6" y="50"/>
                    </a:lnTo>
                    <a:lnTo>
                      <a:pt x="12" y="46"/>
                    </a:lnTo>
                    <a:lnTo>
                      <a:pt x="16" y="44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2" y="42"/>
                    </a:lnTo>
                    <a:lnTo>
                      <a:pt x="24" y="42"/>
                    </a:lnTo>
                    <a:lnTo>
                      <a:pt x="28" y="42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34" y="38"/>
                    </a:lnTo>
                    <a:lnTo>
                      <a:pt x="34" y="38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40" y="36"/>
                    </a:lnTo>
                    <a:lnTo>
                      <a:pt x="42" y="36"/>
                    </a:lnTo>
                    <a:lnTo>
                      <a:pt x="48" y="38"/>
                    </a:lnTo>
                    <a:lnTo>
                      <a:pt x="48" y="38"/>
                    </a:lnTo>
                    <a:lnTo>
                      <a:pt x="50" y="38"/>
                    </a:lnTo>
                    <a:lnTo>
                      <a:pt x="52" y="38"/>
                    </a:lnTo>
                    <a:lnTo>
                      <a:pt x="54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8" y="38"/>
                    </a:lnTo>
                    <a:lnTo>
                      <a:pt x="58" y="38"/>
                    </a:lnTo>
                    <a:lnTo>
                      <a:pt x="60" y="40"/>
                    </a:lnTo>
                    <a:lnTo>
                      <a:pt x="60" y="42"/>
                    </a:lnTo>
                    <a:lnTo>
                      <a:pt x="62" y="44"/>
                    </a:lnTo>
                    <a:lnTo>
                      <a:pt x="62" y="44"/>
                    </a:lnTo>
                    <a:lnTo>
                      <a:pt x="64" y="44"/>
                    </a:lnTo>
                    <a:lnTo>
                      <a:pt x="66" y="44"/>
                    </a:lnTo>
                    <a:lnTo>
                      <a:pt x="68" y="44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8" y="48"/>
                    </a:lnTo>
                    <a:lnTo>
                      <a:pt x="82" y="50"/>
                    </a:lnTo>
                    <a:lnTo>
                      <a:pt x="82" y="52"/>
                    </a:lnTo>
                    <a:lnTo>
                      <a:pt x="82" y="54"/>
                    </a:lnTo>
                    <a:lnTo>
                      <a:pt x="82" y="54"/>
                    </a:lnTo>
                    <a:lnTo>
                      <a:pt x="84" y="54"/>
                    </a:lnTo>
                    <a:lnTo>
                      <a:pt x="86" y="52"/>
                    </a:lnTo>
                    <a:lnTo>
                      <a:pt x="86" y="52"/>
                    </a:lnTo>
                    <a:lnTo>
                      <a:pt x="92" y="52"/>
                    </a:lnTo>
                    <a:lnTo>
                      <a:pt x="96" y="52"/>
                    </a:lnTo>
                    <a:lnTo>
                      <a:pt x="98" y="50"/>
                    </a:lnTo>
                    <a:lnTo>
                      <a:pt x="98" y="50"/>
                    </a:lnTo>
                    <a:lnTo>
                      <a:pt x="98" y="50"/>
                    </a:lnTo>
                    <a:lnTo>
                      <a:pt x="98" y="50"/>
                    </a:lnTo>
                    <a:lnTo>
                      <a:pt x="98" y="50"/>
                    </a:lnTo>
                    <a:lnTo>
                      <a:pt x="98" y="5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49" name="Freeform 483"/>
              <p:cNvSpPr>
                <a:spLocks/>
              </p:cNvSpPr>
              <p:nvPr/>
            </p:nvSpPr>
            <p:spPr bwMode="auto">
              <a:xfrm>
                <a:off x="3041" y="1820"/>
                <a:ext cx="122" cy="100"/>
              </a:xfrm>
              <a:custGeom>
                <a:avLst/>
                <a:gdLst>
                  <a:gd name="T0" fmla="*/ 22 w 122"/>
                  <a:gd name="T1" fmla="*/ 92 h 100"/>
                  <a:gd name="T2" fmla="*/ 28 w 122"/>
                  <a:gd name="T3" fmla="*/ 90 h 100"/>
                  <a:gd name="T4" fmla="*/ 34 w 122"/>
                  <a:gd name="T5" fmla="*/ 92 h 100"/>
                  <a:gd name="T6" fmla="*/ 46 w 122"/>
                  <a:gd name="T7" fmla="*/ 90 h 100"/>
                  <a:gd name="T8" fmla="*/ 54 w 122"/>
                  <a:gd name="T9" fmla="*/ 94 h 100"/>
                  <a:gd name="T10" fmla="*/ 58 w 122"/>
                  <a:gd name="T11" fmla="*/ 96 h 100"/>
                  <a:gd name="T12" fmla="*/ 62 w 122"/>
                  <a:gd name="T13" fmla="*/ 98 h 100"/>
                  <a:gd name="T14" fmla="*/ 68 w 122"/>
                  <a:gd name="T15" fmla="*/ 96 h 100"/>
                  <a:gd name="T16" fmla="*/ 74 w 122"/>
                  <a:gd name="T17" fmla="*/ 98 h 100"/>
                  <a:gd name="T18" fmla="*/ 80 w 122"/>
                  <a:gd name="T19" fmla="*/ 98 h 100"/>
                  <a:gd name="T20" fmla="*/ 88 w 122"/>
                  <a:gd name="T21" fmla="*/ 98 h 100"/>
                  <a:gd name="T22" fmla="*/ 98 w 122"/>
                  <a:gd name="T23" fmla="*/ 100 h 100"/>
                  <a:gd name="T24" fmla="*/ 102 w 122"/>
                  <a:gd name="T25" fmla="*/ 98 h 100"/>
                  <a:gd name="T26" fmla="*/ 104 w 122"/>
                  <a:gd name="T27" fmla="*/ 92 h 100"/>
                  <a:gd name="T28" fmla="*/ 104 w 122"/>
                  <a:gd name="T29" fmla="*/ 86 h 100"/>
                  <a:gd name="T30" fmla="*/ 108 w 122"/>
                  <a:gd name="T31" fmla="*/ 84 h 100"/>
                  <a:gd name="T32" fmla="*/ 110 w 122"/>
                  <a:gd name="T33" fmla="*/ 82 h 100"/>
                  <a:gd name="T34" fmla="*/ 112 w 122"/>
                  <a:gd name="T35" fmla="*/ 74 h 100"/>
                  <a:gd name="T36" fmla="*/ 108 w 122"/>
                  <a:gd name="T37" fmla="*/ 72 h 100"/>
                  <a:gd name="T38" fmla="*/ 106 w 122"/>
                  <a:gd name="T39" fmla="*/ 68 h 100"/>
                  <a:gd name="T40" fmla="*/ 110 w 122"/>
                  <a:gd name="T41" fmla="*/ 62 h 100"/>
                  <a:gd name="T42" fmla="*/ 120 w 122"/>
                  <a:gd name="T43" fmla="*/ 60 h 100"/>
                  <a:gd name="T44" fmla="*/ 122 w 122"/>
                  <a:gd name="T45" fmla="*/ 54 h 100"/>
                  <a:gd name="T46" fmla="*/ 120 w 122"/>
                  <a:gd name="T47" fmla="*/ 50 h 100"/>
                  <a:gd name="T48" fmla="*/ 114 w 122"/>
                  <a:gd name="T49" fmla="*/ 44 h 100"/>
                  <a:gd name="T50" fmla="*/ 110 w 122"/>
                  <a:gd name="T51" fmla="*/ 40 h 100"/>
                  <a:gd name="T52" fmla="*/ 106 w 122"/>
                  <a:gd name="T53" fmla="*/ 38 h 100"/>
                  <a:gd name="T54" fmla="*/ 104 w 122"/>
                  <a:gd name="T55" fmla="*/ 34 h 100"/>
                  <a:gd name="T56" fmla="*/ 102 w 122"/>
                  <a:gd name="T57" fmla="*/ 30 h 100"/>
                  <a:gd name="T58" fmla="*/ 98 w 122"/>
                  <a:gd name="T59" fmla="*/ 26 h 100"/>
                  <a:gd name="T60" fmla="*/ 100 w 122"/>
                  <a:gd name="T61" fmla="*/ 18 h 100"/>
                  <a:gd name="T62" fmla="*/ 100 w 122"/>
                  <a:gd name="T63" fmla="*/ 14 h 100"/>
                  <a:gd name="T64" fmla="*/ 94 w 122"/>
                  <a:gd name="T65" fmla="*/ 10 h 100"/>
                  <a:gd name="T66" fmla="*/ 90 w 122"/>
                  <a:gd name="T67" fmla="*/ 4 h 100"/>
                  <a:gd name="T68" fmla="*/ 82 w 122"/>
                  <a:gd name="T69" fmla="*/ 6 h 100"/>
                  <a:gd name="T70" fmla="*/ 76 w 122"/>
                  <a:gd name="T71" fmla="*/ 6 h 100"/>
                  <a:gd name="T72" fmla="*/ 68 w 122"/>
                  <a:gd name="T73" fmla="*/ 4 h 100"/>
                  <a:gd name="T74" fmla="*/ 58 w 122"/>
                  <a:gd name="T75" fmla="*/ 2 h 100"/>
                  <a:gd name="T76" fmla="*/ 56 w 122"/>
                  <a:gd name="T77" fmla="*/ 4 h 100"/>
                  <a:gd name="T78" fmla="*/ 52 w 122"/>
                  <a:gd name="T79" fmla="*/ 4 h 100"/>
                  <a:gd name="T80" fmla="*/ 48 w 122"/>
                  <a:gd name="T81" fmla="*/ 10 h 100"/>
                  <a:gd name="T82" fmla="*/ 36 w 122"/>
                  <a:gd name="T83" fmla="*/ 12 h 100"/>
                  <a:gd name="T84" fmla="*/ 32 w 122"/>
                  <a:gd name="T85" fmla="*/ 14 h 100"/>
                  <a:gd name="T86" fmla="*/ 34 w 122"/>
                  <a:gd name="T87" fmla="*/ 20 h 100"/>
                  <a:gd name="T88" fmla="*/ 32 w 122"/>
                  <a:gd name="T89" fmla="*/ 24 h 100"/>
                  <a:gd name="T90" fmla="*/ 30 w 122"/>
                  <a:gd name="T91" fmla="*/ 26 h 100"/>
                  <a:gd name="T92" fmla="*/ 26 w 122"/>
                  <a:gd name="T93" fmla="*/ 30 h 100"/>
                  <a:gd name="T94" fmla="*/ 26 w 122"/>
                  <a:gd name="T95" fmla="*/ 36 h 100"/>
                  <a:gd name="T96" fmla="*/ 24 w 122"/>
                  <a:gd name="T97" fmla="*/ 42 h 100"/>
                  <a:gd name="T98" fmla="*/ 18 w 122"/>
                  <a:gd name="T99" fmla="*/ 46 h 100"/>
                  <a:gd name="T100" fmla="*/ 10 w 122"/>
                  <a:gd name="T101" fmla="*/ 52 h 100"/>
                  <a:gd name="T102" fmla="*/ 2 w 122"/>
                  <a:gd name="T103" fmla="*/ 52 h 100"/>
                  <a:gd name="T104" fmla="*/ 0 w 122"/>
                  <a:gd name="T105" fmla="*/ 54 h 100"/>
                  <a:gd name="T106" fmla="*/ 2 w 122"/>
                  <a:gd name="T107" fmla="*/ 62 h 100"/>
                  <a:gd name="T108" fmla="*/ 4 w 122"/>
                  <a:gd name="T109" fmla="*/ 68 h 100"/>
                  <a:gd name="T110" fmla="*/ 4 w 122"/>
                  <a:gd name="T111" fmla="*/ 80 h 100"/>
                  <a:gd name="T112" fmla="*/ 2 w 122"/>
                  <a:gd name="T113" fmla="*/ 88 h 100"/>
                  <a:gd name="T114" fmla="*/ 4 w 122"/>
                  <a:gd name="T115" fmla="*/ 94 h 100"/>
                  <a:gd name="T116" fmla="*/ 8 w 122"/>
                  <a:gd name="T117" fmla="*/ 96 h 100"/>
                  <a:gd name="T118" fmla="*/ 14 w 122"/>
                  <a:gd name="T119" fmla="*/ 94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22" h="100">
                    <a:moveTo>
                      <a:pt x="14" y="94"/>
                    </a:moveTo>
                    <a:lnTo>
                      <a:pt x="14" y="94"/>
                    </a:lnTo>
                    <a:lnTo>
                      <a:pt x="18" y="92"/>
                    </a:lnTo>
                    <a:lnTo>
                      <a:pt x="22" y="92"/>
                    </a:lnTo>
                    <a:lnTo>
                      <a:pt x="22" y="90"/>
                    </a:lnTo>
                    <a:lnTo>
                      <a:pt x="24" y="90"/>
                    </a:lnTo>
                    <a:lnTo>
                      <a:pt x="26" y="90"/>
                    </a:lnTo>
                    <a:lnTo>
                      <a:pt x="28" y="90"/>
                    </a:lnTo>
                    <a:lnTo>
                      <a:pt x="28" y="90"/>
                    </a:lnTo>
                    <a:lnTo>
                      <a:pt x="32" y="92"/>
                    </a:lnTo>
                    <a:lnTo>
                      <a:pt x="32" y="92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38" y="92"/>
                    </a:lnTo>
                    <a:lnTo>
                      <a:pt x="40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8" y="92"/>
                    </a:lnTo>
                    <a:lnTo>
                      <a:pt x="50" y="92"/>
                    </a:lnTo>
                    <a:lnTo>
                      <a:pt x="54" y="94"/>
                    </a:lnTo>
                    <a:lnTo>
                      <a:pt x="54" y="94"/>
                    </a:lnTo>
                    <a:lnTo>
                      <a:pt x="56" y="94"/>
                    </a:lnTo>
                    <a:lnTo>
                      <a:pt x="56" y="96"/>
                    </a:lnTo>
                    <a:lnTo>
                      <a:pt x="58" y="96"/>
                    </a:lnTo>
                    <a:lnTo>
                      <a:pt x="58" y="98"/>
                    </a:lnTo>
                    <a:lnTo>
                      <a:pt x="58" y="98"/>
                    </a:lnTo>
                    <a:lnTo>
                      <a:pt x="60" y="98"/>
                    </a:lnTo>
                    <a:lnTo>
                      <a:pt x="62" y="98"/>
                    </a:lnTo>
                    <a:lnTo>
                      <a:pt x="64" y="96"/>
                    </a:lnTo>
                    <a:lnTo>
                      <a:pt x="66" y="96"/>
                    </a:lnTo>
                    <a:lnTo>
                      <a:pt x="66" y="96"/>
                    </a:lnTo>
                    <a:lnTo>
                      <a:pt x="68" y="96"/>
                    </a:lnTo>
                    <a:lnTo>
                      <a:pt x="70" y="96"/>
                    </a:lnTo>
                    <a:lnTo>
                      <a:pt x="72" y="98"/>
                    </a:lnTo>
                    <a:lnTo>
                      <a:pt x="74" y="98"/>
                    </a:lnTo>
                    <a:lnTo>
                      <a:pt x="74" y="98"/>
                    </a:lnTo>
                    <a:lnTo>
                      <a:pt x="76" y="98"/>
                    </a:lnTo>
                    <a:lnTo>
                      <a:pt x="76" y="98"/>
                    </a:lnTo>
                    <a:lnTo>
                      <a:pt x="78" y="100"/>
                    </a:lnTo>
                    <a:lnTo>
                      <a:pt x="80" y="98"/>
                    </a:lnTo>
                    <a:lnTo>
                      <a:pt x="80" y="98"/>
                    </a:lnTo>
                    <a:lnTo>
                      <a:pt x="84" y="98"/>
                    </a:lnTo>
                    <a:lnTo>
                      <a:pt x="86" y="98"/>
                    </a:lnTo>
                    <a:lnTo>
                      <a:pt x="88" y="98"/>
                    </a:lnTo>
                    <a:lnTo>
                      <a:pt x="88" y="98"/>
                    </a:lnTo>
                    <a:lnTo>
                      <a:pt x="92" y="100"/>
                    </a:lnTo>
                    <a:lnTo>
                      <a:pt x="96" y="100"/>
                    </a:lnTo>
                    <a:lnTo>
                      <a:pt x="98" y="100"/>
                    </a:lnTo>
                    <a:lnTo>
                      <a:pt x="100" y="100"/>
                    </a:lnTo>
                    <a:lnTo>
                      <a:pt x="100" y="100"/>
                    </a:lnTo>
                    <a:lnTo>
                      <a:pt x="102" y="98"/>
                    </a:lnTo>
                    <a:lnTo>
                      <a:pt x="102" y="98"/>
                    </a:lnTo>
                    <a:lnTo>
                      <a:pt x="104" y="98"/>
                    </a:lnTo>
                    <a:lnTo>
                      <a:pt x="104" y="96"/>
                    </a:lnTo>
                    <a:lnTo>
                      <a:pt x="104" y="92"/>
                    </a:lnTo>
                    <a:lnTo>
                      <a:pt x="104" y="92"/>
                    </a:lnTo>
                    <a:lnTo>
                      <a:pt x="104" y="90"/>
                    </a:lnTo>
                    <a:lnTo>
                      <a:pt x="104" y="88"/>
                    </a:lnTo>
                    <a:lnTo>
                      <a:pt x="104" y="86"/>
                    </a:lnTo>
                    <a:lnTo>
                      <a:pt x="104" y="86"/>
                    </a:lnTo>
                    <a:lnTo>
                      <a:pt x="104" y="84"/>
                    </a:lnTo>
                    <a:lnTo>
                      <a:pt x="106" y="84"/>
                    </a:lnTo>
                    <a:lnTo>
                      <a:pt x="106" y="84"/>
                    </a:lnTo>
                    <a:lnTo>
                      <a:pt x="108" y="84"/>
                    </a:lnTo>
                    <a:lnTo>
                      <a:pt x="110" y="84"/>
                    </a:lnTo>
                    <a:lnTo>
                      <a:pt x="110" y="84"/>
                    </a:lnTo>
                    <a:lnTo>
                      <a:pt x="110" y="84"/>
                    </a:lnTo>
                    <a:lnTo>
                      <a:pt x="110" y="82"/>
                    </a:lnTo>
                    <a:lnTo>
                      <a:pt x="110" y="80"/>
                    </a:lnTo>
                    <a:lnTo>
                      <a:pt x="110" y="78"/>
                    </a:lnTo>
                    <a:lnTo>
                      <a:pt x="110" y="78"/>
                    </a:lnTo>
                    <a:lnTo>
                      <a:pt x="112" y="74"/>
                    </a:lnTo>
                    <a:lnTo>
                      <a:pt x="110" y="74"/>
                    </a:lnTo>
                    <a:lnTo>
                      <a:pt x="110" y="72"/>
                    </a:lnTo>
                    <a:lnTo>
                      <a:pt x="110" y="72"/>
                    </a:lnTo>
                    <a:lnTo>
                      <a:pt x="108" y="72"/>
                    </a:lnTo>
                    <a:lnTo>
                      <a:pt x="108" y="70"/>
                    </a:lnTo>
                    <a:lnTo>
                      <a:pt x="106" y="70"/>
                    </a:lnTo>
                    <a:lnTo>
                      <a:pt x="106" y="68"/>
                    </a:lnTo>
                    <a:lnTo>
                      <a:pt x="106" y="68"/>
                    </a:lnTo>
                    <a:lnTo>
                      <a:pt x="106" y="66"/>
                    </a:lnTo>
                    <a:lnTo>
                      <a:pt x="106" y="64"/>
                    </a:lnTo>
                    <a:lnTo>
                      <a:pt x="108" y="64"/>
                    </a:lnTo>
                    <a:lnTo>
                      <a:pt x="110" y="62"/>
                    </a:lnTo>
                    <a:lnTo>
                      <a:pt x="112" y="62"/>
                    </a:lnTo>
                    <a:lnTo>
                      <a:pt x="116" y="60"/>
                    </a:lnTo>
                    <a:lnTo>
                      <a:pt x="118" y="60"/>
                    </a:lnTo>
                    <a:lnTo>
                      <a:pt x="120" y="60"/>
                    </a:lnTo>
                    <a:lnTo>
                      <a:pt x="122" y="58"/>
                    </a:lnTo>
                    <a:lnTo>
                      <a:pt x="122" y="58"/>
                    </a:lnTo>
                    <a:lnTo>
                      <a:pt x="122" y="56"/>
                    </a:lnTo>
                    <a:lnTo>
                      <a:pt x="122" y="54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0" y="50"/>
                    </a:lnTo>
                    <a:lnTo>
                      <a:pt x="118" y="50"/>
                    </a:lnTo>
                    <a:lnTo>
                      <a:pt x="118" y="50"/>
                    </a:lnTo>
                    <a:lnTo>
                      <a:pt x="116" y="46"/>
                    </a:lnTo>
                    <a:lnTo>
                      <a:pt x="114" y="44"/>
                    </a:lnTo>
                    <a:lnTo>
                      <a:pt x="114" y="44"/>
                    </a:lnTo>
                    <a:lnTo>
                      <a:pt x="112" y="42"/>
                    </a:lnTo>
                    <a:lnTo>
                      <a:pt x="112" y="40"/>
                    </a:lnTo>
                    <a:lnTo>
                      <a:pt x="110" y="40"/>
                    </a:lnTo>
                    <a:lnTo>
                      <a:pt x="110" y="40"/>
                    </a:lnTo>
                    <a:lnTo>
                      <a:pt x="108" y="40"/>
                    </a:lnTo>
                    <a:lnTo>
                      <a:pt x="106" y="38"/>
                    </a:lnTo>
                    <a:lnTo>
                      <a:pt x="106" y="38"/>
                    </a:lnTo>
                    <a:lnTo>
                      <a:pt x="104" y="38"/>
                    </a:lnTo>
                    <a:lnTo>
                      <a:pt x="104" y="38"/>
                    </a:lnTo>
                    <a:lnTo>
                      <a:pt x="104" y="36"/>
                    </a:lnTo>
                    <a:lnTo>
                      <a:pt x="104" y="34"/>
                    </a:lnTo>
                    <a:lnTo>
                      <a:pt x="104" y="32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2" y="30"/>
                    </a:lnTo>
                    <a:lnTo>
                      <a:pt x="100" y="28"/>
                    </a:lnTo>
                    <a:lnTo>
                      <a:pt x="100" y="26"/>
                    </a:lnTo>
                    <a:lnTo>
                      <a:pt x="98" y="26"/>
                    </a:lnTo>
                    <a:lnTo>
                      <a:pt x="98" y="26"/>
                    </a:lnTo>
                    <a:lnTo>
                      <a:pt x="98" y="24"/>
                    </a:lnTo>
                    <a:lnTo>
                      <a:pt x="100" y="24"/>
                    </a:lnTo>
                    <a:lnTo>
                      <a:pt x="100" y="20"/>
                    </a:lnTo>
                    <a:lnTo>
                      <a:pt x="100" y="18"/>
                    </a:lnTo>
                    <a:lnTo>
                      <a:pt x="100" y="18"/>
                    </a:lnTo>
                    <a:lnTo>
                      <a:pt x="100" y="16"/>
                    </a:lnTo>
                    <a:lnTo>
                      <a:pt x="100" y="14"/>
                    </a:lnTo>
                    <a:lnTo>
                      <a:pt x="100" y="14"/>
                    </a:lnTo>
                    <a:lnTo>
                      <a:pt x="98" y="14"/>
                    </a:lnTo>
                    <a:lnTo>
                      <a:pt x="96" y="12"/>
                    </a:lnTo>
                    <a:lnTo>
                      <a:pt x="96" y="10"/>
                    </a:lnTo>
                    <a:lnTo>
                      <a:pt x="94" y="10"/>
                    </a:lnTo>
                    <a:lnTo>
                      <a:pt x="94" y="10"/>
                    </a:lnTo>
                    <a:lnTo>
                      <a:pt x="92" y="6"/>
                    </a:lnTo>
                    <a:lnTo>
                      <a:pt x="92" y="6"/>
                    </a:lnTo>
                    <a:lnTo>
                      <a:pt x="90" y="4"/>
                    </a:lnTo>
                    <a:lnTo>
                      <a:pt x="90" y="4"/>
                    </a:lnTo>
                    <a:lnTo>
                      <a:pt x="88" y="4"/>
                    </a:lnTo>
                    <a:lnTo>
                      <a:pt x="86" y="4"/>
                    </a:lnTo>
                    <a:lnTo>
                      <a:pt x="82" y="6"/>
                    </a:lnTo>
                    <a:lnTo>
                      <a:pt x="80" y="6"/>
                    </a:lnTo>
                    <a:lnTo>
                      <a:pt x="78" y="6"/>
                    </a:lnTo>
                    <a:lnTo>
                      <a:pt x="76" y="6"/>
                    </a:lnTo>
                    <a:lnTo>
                      <a:pt x="76" y="6"/>
                    </a:lnTo>
                    <a:lnTo>
                      <a:pt x="76" y="6"/>
                    </a:lnTo>
                    <a:lnTo>
                      <a:pt x="74" y="6"/>
                    </a:lnTo>
                    <a:lnTo>
                      <a:pt x="70" y="4"/>
                    </a:lnTo>
                    <a:lnTo>
                      <a:pt x="68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0" y="2"/>
                    </a:lnTo>
                    <a:lnTo>
                      <a:pt x="58" y="2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2"/>
                    </a:lnTo>
                    <a:lnTo>
                      <a:pt x="56" y="4"/>
                    </a:lnTo>
                    <a:lnTo>
                      <a:pt x="54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0" y="6"/>
                    </a:lnTo>
                    <a:lnTo>
                      <a:pt x="50" y="8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6" y="12"/>
                    </a:lnTo>
                    <a:lnTo>
                      <a:pt x="42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4" y="14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8"/>
                    </a:lnTo>
                    <a:lnTo>
                      <a:pt x="34" y="20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4"/>
                    </a:lnTo>
                    <a:lnTo>
                      <a:pt x="32" y="24"/>
                    </a:lnTo>
                    <a:lnTo>
                      <a:pt x="32" y="24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0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6" y="28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2"/>
                    </a:lnTo>
                    <a:lnTo>
                      <a:pt x="26" y="34"/>
                    </a:lnTo>
                    <a:lnTo>
                      <a:pt x="26" y="36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2" y="44"/>
                    </a:lnTo>
                    <a:lnTo>
                      <a:pt x="20" y="44"/>
                    </a:lnTo>
                    <a:lnTo>
                      <a:pt x="20" y="44"/>
                    </a:lnTo>
                    <a:lnTo>
                      <a:pt x="18" y="46"/>
                    </a:lnTo>
                    <a:lnTo>
                      <a:pt x="16" y="48"/>
                    </a:lnTo>
                    <a:lnTo>
                      <a:pt x="12" y="50"/>
                    </a:lnTo>
                    <a:lnTo>
                      <a:pt x="12" y="50"/>
                    </a:lnTo>
                    <a:lnTo>
                      <a:pt x="10" y="52"/>
                    </a:lnTo>
                    <a:lnTo>
                      <a:pt x="8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2" y="52"/>
                    </a:lnTo>
                    <a:lnTo>
                      <a:pt x="2" y="52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54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60"/>
                    </a:lnTo>
                    <a:lnTo>
                      <a:pt x="2" y="62"/>
                    </a:lnTo>
                    <a:lnTo>
                      <a:pt x="2" y="64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8"/>
                    </a:lnTo>
                    <a:lnTo>
                      <a:pt x="6" y="72"/>
                    </a:lnTo>
                    <a:lnTo>
                      <a:pt x="6" y="74"/>
                    </a:lnTo>
                    <a:lnTo>
                      <a:pt x="6" y="76"/>
                    </a:lnTo>
                    <a:lnTo>
                      <a:pt x="4" y="80"/>
                    </a:lnTo>
                    <a:lnTo>
                      <a:pt x="2" y="84"/>
                    </a:lnTo>
                    <a:lnTo>
                      <a:pt x="2" y="84"/>
                    </a:lnTo>
                    <a:lnTo>
                      <a:pt x="2" y="86"/>
                    </a:lnTo>
                    <a:lnTo>
                      <a:pt x="2" y="88"/>
                    </a:lnTo>
                    <a:lnTo>
                      <a:pt x="2" y="90"/>
                    </a:lnTo>
                    <a:lnTo>
                      <a:pt x="2" y="92"/>
                    </a:lnTo>
                    <a:lnTo>
                      <a:pt x="4" y="94"/>
                    </a:lnTo>
                    <a:lnTo>
                      <a:pt x="4" y="94"/>
                    </a:lnTo>
                    <a:lnTo>
                      <a:pt x="6" y="96"/>
                    </a:lnTo>
                    <a:lnTo>
                      <a:pt x="6" y="98"/>
                    </a:lnTo>
                    <a:lnTo>
                      <a:pt x="6" y="98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12" y="96"/>
                    </a:lnTo>
                    <a:lnTo>
                      <a:pt x="14" y="94"/>
                    </a:lnTo>
                    <a:lnTo>
                      <a:pt x="14" y="94"/>
                    </a:lnTo>
                    <a:lnTo>
                      <a:pt x="14" y="94"/>
                    </a:lnTo>
                    <a:lnTo>
                      <a:pt x="14" y="94"/>
                    </a:lnTo>
                    <a:lnTo>
                      <a:pt x="14" y="9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50" name="Freeform 485"/>
              <p:cNvSpPr>
                <a:spLocks/>
              </p:cNvSpPr>
              <p:nvPr/>
            </p:nvSpPr>
            <p:spPr bwMode="auto">
              <a:xfrm>
                <a:off x="3097" y="1982"/>
                <a:ext cx="40" cy="56"/>
              </a:xfrm>
              <a:custGeom>
                <a:avLst/>
                <a:gdLst>
                  <a:gd name="T0" fmla="*/ 2 w 40"/>
                  <a:gd name="T1" fmla="*/ 8 h 56"/>
                  <a:gd name="T2" fmla="*/ 4 w 40"/>
                  <a:gd name="T3" fmla="*/ 10 h 56"/>
                  <a:gd name="T4" fmla="*/ 4 w 40"/>
                  <a:gd name="T5" fmla="*/ 14 h 56"/>
                  <a:gd name="T6" fmla="*/ 6 w 40"/>
                  <a:gd name="T7" fmla="*/ 16 h 56"/>
                  <a:gd name="T8" fmla="*/ 10 w 40"/>
                  <a:gd name="T9" fmla="*/ 18 h 56"/>
                  <a:gd name="T10" fmla="*/ 12 w 40"/>
                  <a:gd name="T11" fmla="*/ 20 h 56"/>
                  <a:gd name="T12" fmla="*/ 14 w 40"/>
                  <a:gd name="T13" fmla="*/ 20 h 56"/>
                  <a:gd name="T14" fmla="*/ 16 w 40"/>
                  <a:gd name="T15" fmla="*/ 24 h 56"/>
                  <a:gd name="T16" fmla="*/ 16 w 40"/>
                  <a:gd name="T17" fmla="*/ 28 h 56"/>
                  <a:gd name="T18" fmla="*/ 14 w 40"/>
                  <a:gd name="T19" fmla="*/ 30 h 56"/>
                  <a:gd name="T20" fmla="*/ 14 w 40"/>
                  <a:gd name="T21" fmla="*/ 32 h 56"/>
                  <a:gd name="T22" fmla="*/ 14 w 40"/>
                  <a:gd name="T23" fmla="*/ 34 h 56"/>
                  <a:gd name="T24" fmla="*/ 14 w 40"/>
                  <a:gd name="T25" fmla="*/ 34 h 56"/>
                  <a:gd name="T26" fmla="*/ 16 w 40"/>
                  <a:gd name="T27" fmla="*/ 36 h 56"/>
                  <a:gd name="T28" fmla="*/ 16 w 40"/>
                  <a:gd name="T29" fmla="*/ 38 h 56"/>
                  <a:gd name="T30" fmla="*/ 16 w 40"/>
                  <a:gd name="T31" fmla="*/ 38 h 56"/>
                  <a:gd name="T32" fmla="*/ 14 w 40"/>
                  <a:gd name="T33" fmla="*/ 40 h 56"/>
                  <a:gd name="T34" fmla="*/ 14 w 40"/>
                  <a:gd name="T35" fmla="*/ 44 h 56"/>
                  <a:gd name="T36" fmla="*/ 14 w 40"/>
                  <a:gd name="T37" fmla="*/ 44 h 56"/>
                  <a:gd name="T38" fmla="*/ 16 w 40"/>
                  <a:gd name="T39" fmla="*/ 46 h 56"/>
                  <a:gd name="T40" fmla="*/ 16 w 40"/>
                  <a:gd name="T41" fmla="*/ 46 h 56"/>
                  <a:gd name="T42" fmla="*/ 16 w 40"/>
                  <a:gd name="T43" fmla="*/ 50 h 56"/>
                  <a:gd name="T44" fmla="*/ 18 w 40"/>
                  <a:gd name="T45" fmla="*/ 52 h 56"/>
                  <a:gd name="T46" fmla="*/ 18 w 40"/>
                  <a:gd name="T47" fmla="*/ 56 h 56"/>
                  <a:gd name="T48" fmla="*/ 20 w 40"/>
                  <a:gd name="T49" fmla="*/ 56 h 56"/>
                  <a:gd name="T50" fmla="*/ 22 w 40"/>
                  <a:gd name="T51" fmla="*/ 56 h 56"/>
                  <a:gd name="T52" fmla="*/ 22 w 40"/>
                  <a:gd name="T53" fmla="*/ 56 h 56"/>
                  <a:gd name="T54" fmla="*/ 26 w 40"/>
                  <a:gd name="T55" fmla="*/ 54 h 56"/>
                  <a:gd name="T56" fmla="*/ 26 w 40"/>
                  <a:gd name="T57" fmla="*/ 50 h 56"/>
                  <a:gd name="T58" fmla="*/ 26 w 40"/>
                  <a:gd name="T59" fmla="*/ 46 h 56"/>
                  <a:gd name="T60" fmla="*/ 28 w 40"/>
                  <a:gd name="T61" fmla="*/ 42 h 56"/>
                  <a:gd name="T62" fmla="*/ 28 w 40"/>
                  <a:gd name="T63" fmla="*/ 38 h 56"/>
                  <a:gd name="T64" fmla="*/ 32 w 40"/>
                  <a:gd name="T65" fmla="*/ 36 h 56"/>
                  <a:gd name="T66" fmla="*/ 34 w 40"/>
                  <a:gd name="T67" fmla="*/ 36 h 56"/>
                  <a:gd name="T68" fmla="*/ 38 w 40"/>
                  <a:gd name="T69" fmla="*/ 34 h 56"/>
                  <a:gd name="T70" fmla="*/ 40 w 40"/>
                  <a:gd name="T71" fmla="*/ 32 h 56"/>
                  <a:gd name="T72" fmla="*/ 40 w 40"/>
                  <a:gd name="T73" fmla="*/ 28 h 56"/>
                  <a:gd name="T74" fmla="*/ 38 w 40"/>
                  <a:gd name="T75" fmla="*/ 26 h 56"/>
                  <a:gd name="T76" fmla="*/ 36 w 40"/>
                  <a:gd name="T77" fmla="*/ 22 h 56"/>
                  <a:gd name="T78" fmla="*/ 32 w 40"/>
                  <a:gd name="T79" fmla="*/ 18 h 56"/>
                  <a:gd name="T80" fmla="*/ 30 w 40"/>
                  <a:gd name="T81" fmla="*/ 14 h 56"/>
                  <a:gd name="T82" fmla="*/ 30 w 40"/>
                  <a:gd name="T83" fmla="*/ 14 h 56"/>
                  <a:gd name="T84" fmla="*/ 28 w 40"/>
                  <a:gd name="T85" fmla="*/ 10 h 56"/>
                  <a:gd name="T86" fmla="*/ 22 w 40"/>
                  <a:gd name="T87" fmla="*/ 6 h 56"/>
                  <a:gd name="T88" fmla="*/ 22 w 40"/>
                  <a:gd name="T89" fmla="*/ 6 h 56"/>
                  <a:gd name="T90" fmla="*/ 20 w 40"/>
                  <a:gd name="T91" fmla="*/ 2 h 56"/>
                  <a:gd name="T92" fmla="*/ 18 w 40"/>
                  <a:gd name="T93" fmla="*/ 2 h 56"/>
                  <a:gd name="T94" fmla="*/ 16 w 40"/>
                  <a:gd name="T95" fmla="*/ 2 h 56"/>
                  <a:gd name="T96" fmla="*/ 14 w 40"/>
                  <a:gd name="T97" fmla="*/ 2 h 56"/>
                  <a:gd name="T98" fmla="*/ 12 w 40"/>
                  <a:gd name="T99" fmla="*/ 2 h 56"/>
                  <a:gd name="T100" fmla="*/ 8 w 40"/>
                  <a:gd name="T101" fmla="*/ 0 h 56"/>
                  <a:gd name="T102" fmla="*/ 4 w 40"/>
                  <a:gd name="T103" fmla="*/ 2 h 56"/>
                  <a:gd name="T104" fmla="*/ 0 w 40"/>
                  <a:gd name="T105" fmla="*/ 4 h 56"/>
                  <a:gd name="T106" fmla="*/ 0 w 40"/>
                  <a:gd name="T107" fmla="*/ 4 h 56"/>
                  <a:gd name="T108" fmla="*/ 2 w 40"/>
                  <a:gd name="T109" fmla="*/ 8 h 56"/>
                  <a:gd name="T110" fmla="*/ 2 w 40"/>
                  <a:gd name="T111" fmla="*/ 8 h 56"/>
                  <a:gd name="T112" fmla="*/ 2 w 40"/>
                  <a:gd name="T113" fmla="*/ 8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0" h="56">
                    <a:moveTo>
                      <a:pt x="2" y="8"/>
                    </a:moveTo>
                    <a:lnTo>
                      <a:pt x="2" y="8"/>
                    </a:lnTo>
                    <a:lnTo>
                      <a:pt x="4" y="8"/>
                    </a:lnTo>
                    <a:lnTo>
                      <a:pt x="4" y="10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4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2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2"/>
                    </a:lnTo>
                    <a:lnTo>
                      <a:pt x="16" y="24"/>
                    </a:lnTo>
                    <a:lnTo>
                      <a:pt x="16" y="26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40"/>
                    </a:lnTo>
                    <a:lnTo>
                      <a:pt x="14" y="40"/>
                    </a:lnTo>
                    <a:lnTo>
                      <a:pt x="14" y="42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8"/>
                    </a:lnTo>
                    <a:lnTo>
                      <a:pt x="16" y="50"/>
                    </a:lnTo>
                    <a:lnTo>
                      <a:pt x="16" y="50"/>
                    </a:lnTo>
                    <a:lnTo>
                      <a:pt x="18" y="52"/>
                    </a:lnTo>
                    <a:lnTo>
                      <a:pt x="18" y="54"/>
                    </a:lnTo>
                    <a:lnTo>
                      <a:pt x="18" y="56"/>
                    </a:lnTo>
                    <a:lnTo>
                      <a:pt x="18" y="56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26" y="52"/>
                    </a:lnTo>
                    <a:lnTo>
                      <a:pt x="26" y="50"/>
                    </a:lnTo>
                    <a:lnTo>
                      <a:pt x="26" y="48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8" y="42"/>
                    </a:lnTo>
                    <a:lnTo>
                      <a:pt x="28" y="38"/>
                    </a:lnTo>
                    <a:lnTo>
                      <a:pt x="28" y="38"/>
                    </a:lnTo>
                    <a:lnTo>
                      <a:pt x="30" y="38"/>
                    </a:lnTo>
                    <a:lnTo>
                      <a:pt x="32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6" y="34"/>
                    </a:lnTo>
                    <a:lnTo>
                      <a:pt x="38" y="34"/>
                    </a:lnTo>
                    <a:lnTo>
                      <a:pt x="38" y="32"/>
                    </a:lnTo>
                    <a:lnTo>
                      <a:pt x="40" y="32"/>
                    </a:lnTo>
                    <a:lnTo>
                      <a:pt x="40" y="30"/>
                    </a:lnTo>
                    <a:lnTo>
                      <a:pt x="40" y="28"/>
                    </a:lnTo>
                    <a:lnTo>
                      <a:pt x="40" y="28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6" y="22"/>
                    </a:lnTo>
                    <a:lnTo>
                      <a:pt x="34" y="20"/>
                    </a:lnTo>
                    <a:lnTo>
                      <a:pt x="32" y="18"/>
                    </a:lnTo>
                    <a:lnTo>
                      <a:pt x="30" y="16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28" y="12"/>
                    </a:lnTo>
                    <a:lnTo>
                      <a:pt x="28" y="10"/>
                    </a:lnTo>
                    <a:lnTo>
                      <a:pt x="26" y="8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0" y="4"/>
                    </a:lnTo>
                    <a:lnTo>
                      <a:pt x="20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51" name="Freeform 487"/>
              <p:cNvSpPr>
                <a:spLocks/>
              </p:cNvSpPr>
              <p:nvPr/>
            </p:nvSpPr>
            <p:spPr bwMode="auto">
              <a:xfrm>
                <a:off x="3015" y="1986"/>
                <a:ext cx="126" cy="98"/>
              </a:xfrm>
              <a:custGeom>
                <a:avLst/>
                <a:gdLst>
                  <a:gd name="T0" fmla="*/ 30 w 126"/>
                  <a:gd name="T1" fmla="*/ 86 h 98"/>
                  <a:gd name="T2" fmla="*/ 36 w 126"/>
                  <a:gd name="T3" fmla="*/ 88 h 98"/>
                  <a:gd name="T4" fmla="*/ 42 w 126"/>
                  <a:gd name="T5" fmla="*/ 94 h 98"/>
                  <a:gd name="T6" fmla="*/ 50 w 126"/>
                  <a:gd name="T7" fmla="*/ 94 h 98"/>
                  <a:gd name="T8" fmla="*/ 58 w 126"/>
                  <a:gd name="T9" fmla="*/ 94 h 98"/>
                  <a:gd name="T10" fmla="*/ 62 w 126"/>
                  <a:gd name="T11" fmla="*/ 96 h 98"/>
                  <a:gd name="T12" fmla="*/ 72 w 126"/>
                  <a:gd name="T13" fmla="*/ 98 h 98"/>
                  <a:gd name="T14" fmla="*/ 78 w 126"/>
                  <a:gd name="T15" fmla="*/ 94 h 98"/>
                  <a:gd name="T16" fmla="*/ 80 w 126"/>
                  <a:gd name="T17" fmla="*/ 88 h 98"/>
                  <a:gd name="T18" fmla="*/ 84 w 126"/>
                  <a:gd name="T19" fmla="*/ 84 h 98"/>
                  <a:gd name="T20" fmla="*/ 92 w 126"/>
                  <a:gd name="T21" fmla="*/ 82 h 98"/>
                  <a:gd name="T22" fmla="*/ 96 w 126"/>
                  <a:gd name="T23" fmla="*/ 84 h 98"/>
                  <a:gd name="T24" fmla="*/ 102 w 126"/>
                  <a:gd name="T25" fmla="*/ 88 h 98"/>
                  <a:gd name="T26" fmla="*/ 114 w 126"/>
                  <a:gd name="T27" fmla="*/ 86 h 98"/>
                  <a:gd name="T28" fmla="*/ 110 w 126"/>
                  <a:gd name="T29" fmla="*/ 82 h 98"/>
                  <a:gd name="T30" fmla="*/ 112 w 126"/>
                  <a:gd name="T31" fmla="*/ 78 h 98"/>
                  <a:gd name="T32" fmla="*/ 118 w 126"/>
                  <a:gd name="T33" fmla="*/ 78 h 98"/>
                  <a:gd name="T34" fmla="*/ 122 w 126"/>
                  <a:gd name="T35" fmla="*/ 76 h 98"/>
                  <a:gd name="T36" fmla="*/ 126 w 126"/>
                  <a:gd name="T37" fmla="*/ 68 h 98"/>
                  <a:gd name="T38" fmla="*/ 124 w 126"/>
                  <a:gd name="T39" fmla="*/ 54 h 98"/>
                  <a:gd name="T40" fmla="*/ 122 w 126"/>
                  <a:gd name="T41" fmla="*/ 52 h 98"/>
                  <a:gd name="T42" fmla="*/ 116 w 126"/>
                  <a:gd name="T43" fmla="*/ 52 h 98"/>
                  <a:gd name="T44" fmla="*/ 110 w 126"/>
                  <a:gd name="T45" fmla="*/ 52 h 98"/>
                  <a:gd name="T46" fmla="*/ 108 w 126"/>
                  <a:gd name="T47" fmla="*/ 50 h 98"/>
                  <a:gd name="T48" fmla="*/ 104 w 126"/>
                  <a:gd name="T49" fmla="*/ 52 h 98"/>
                  <a:gd name="T50" fmla="*/ 100 w 126"/>
                  <a:gd name="T51" fmla="*/ 52 h 98"/>
                  <a:gd name="T52" fmla="*/ 98 w 126"/>
                  <a:gd name="T53" fmla="*/ 46 h 98"/>
                  <a:gd name="T54" fmla="*/ 98 w 126"/>
                  <a:gd name="T55" fmla="*/ 42 h 98"/>
                  <a:gd name="T56" fmla="*/ 96 w 126"/>
                  <a:gd name="T57" fmla="*/ 40 h 98"/>
                  <a:gd name="T58" fmla="*/ 98 w 126"/>
                  <a:gd name="T59" fmla="*/ 34 h 98"/>
                  <a:gd name="T60" fmla="*/ 98 w 126"/>
                  <a:gd name="T61" fmla="*/ 32 h 98"/>
                  <a:gd name="T62" fmla="*/ 96 w 126"/>
                  <a:gd name="T63" fmla="*/ 30 h 98"/>
                  <a:gd name="T64" fmla="*/ 96 w 126"/>
                  <a:gd name="T65" fmla="*/ 26 h 98"/>
                  <a:gd name="T66" fmla="*/ 98 w 126"/>
                  <a:gd name="T67" fmla="*/ 20 h 98"/>
                  <a:gd name="T68" fmla="*/ 94 w 126"/>
                  <a:gd name="T69" fmla="*/ 16 h 98"/>
                  <a:gd name="T70" fmla="*/ 88 w 126"/>
                  <a:gd name="T71" fmla="*/ 12 h 98"/>
                  <a:gd name="T72" fmla="*/ 86 w 126"/>
                  <a:gd name="T73" fmla="*/ 6 h 98"/>
                  <a:gd name="T74" fmla="*/ 84 w 126"/>
                  <a:gd name="T75" fmla="*/ 2 h 98"/>
                  <a:gd name="T76" fmla="*/ 78 w 126"/>
                  <a:gd name="T77" fmla="*/ 4 h 98"/>
                  <a:gd name="T78" fmla="*/ 62 w 126"/>
                  <a:gd name="T79" fmla="*/ 8 h 98"/>
                  <a:gd name="T80" fmla="*/ 50 w 126"/>
                  <a:gd name="T81" fmla="*/ 10 h 98"/>
                  <a:gd name="T82" fmla="*/ 44 w 126"/>
                  <a:gd name="T83" fmla="*/ 8 h 98"/>
                  <a:gd name="T84" fmla="*/ 34 w 126"/>
                  <a:gd name="T85" fmla="*/ 4 h 98"/>
                  <a:gd name="T86" fmla="*/ 26 w 126"/>
                  <a:gd name="T87" fmla="*/ 6 h 98"/>
                  <a:gd name="T88" fmla="*/ 26 w 126"/>
                  <a:gd name="T89" fmla="*/ 10 h 98"/>
                  <a:gd name="T90" fmla="*/ 18 w 126"/>
                  <a:gd name="T91" fmla="*/ 18 h 98"/>
                  <a:gd name="T92" fmla="*/ 10 w 126"/>
                  <a:gd name="T93" fmla="*/ 22 h 98"/>
                  <a:gd name="T94" fmla="*/ 6 w 126"/>
                  <a:gd name="T95" fmla="*/ 34 h 98"/>
                  <a:gd name="T96" fmla="*/ 4 w 126"/>
                  <a:gd name="T97" fmla="*/ 40 h 98"/>
                  <a:gd name="T98" fmla="*/ 0 w 126"/>
                  <a:gd name="T99" fmla="*/ 44 h 98"/>
                  <a:gd name="T100" fmla="*/ 0 w 126"/>
                  <a:gd name="T101" fmla="*/ 48 h 98"/>
                  <a:gd name="T102" fmla="*/ 4 w 126"/>
                  <a:gd name="T103" fmla="*/ 50 h 98"/>
                  <a:gd name="T104" fmla="*/ 4 w 126"/>
                  <a:gd name="T105" fmla="*/ 60 h 98"/>
                  <a:gd name="T106" fmla="*/ 10 w 126"/>
                  <a:gd name="T107" fmla="*/ 70 h 98"/>
                  <a:gd name="T108" fmla="*/ 14 w 126"/>
                  <a:gd name="T109" fmla="*/ 76 h 98"/>
                  <a:gd name="T110" fmla="*/ 20 w 126"/>
                  <a:gd name="T111" fmla="*/ 78 h 98"/>
                  <a:gd name="T112" fmla="*/ 24 w 126"/>
                  <a:gd name="T113" fmla="*/ 82 h 98"/>
                  <a:gd name="T114" fmla="*/ 28 w 126"/>
                  <a:gd name="T115" fmla="*/ 84 h 98"/>
                  <a:gd name="T116" fmla="*/ 28 w 126"/>
                  <a:gd name="T117" fmla="*/ 84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26" h="98">
                    <a:moveTo>
                      <a:pt x="28" y="84"/>
                    </a:moveTo>
                    <a:lnTo>
                      <a:pt x="28" y="84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34" y="86"/>
                    </a:lnTo>
                    <a:lnTo>
                      <a:pt x="34" y="86"/>
                    </a:lnTo>
                    <a:lnTo>
                      <a:pt x="34" y="88"/>
                    </a:lnTo>
                    <a:lnTo>
                      <a:pt x="36" y="88"/>
                    </a:lnTo>
                    <a:lnTo>
                      <a:pt x="40" y="92"/>
                    </a:lnTo>
                    <a:lnTo>
                      <a:pt x="40" y="92"/>
                    </a:lnTo>
                    <a:lnTo>
                      <a:pt x="42" y="94"/>
                    </a:lnTo>
                    <a:lnTo>
                      <a:pt x="42" y="94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8" y="94"/>
                    </a:lnTo>
                    <a:lnTo>
                      <a:pt x="50" y="94"/>
                    </a:lnTo>
                    <a:lnTo>
                      <a:pt x="54" y="94"/>
                    </a:lnTo>
                    <a:lnTo>
                      <a:pt x="54" y="94"/>
                    </a:lnTo>
                    <a:lnTo>
                      <a:pt x="54" y="94"/>
                    </a:lnTo>
                    <a:lnTo>
                      <a:pt x="58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2" y="96"/>
                    </a:lnTo>
                    <a:lnTo>
                      <a:pt x="62" y="96"/>
                    </a:lnTo>
                    <a:lnTo>
                      <a:pt x="66" y="96"/>
                    </a:lnTo>
                    <a:lnTo>
                      <a:pt x="66" y="96"/>
                    </a:lnTo>
                    <a:lnTo>
                      <a:pt x="68" y="98"/>
                    </a:lnTo>
                    <a:lnTo>
                      <a:pt x="72" y="98"/>
                    </a:lnTo>
                    <a:lnTo>
                      <a:pt x="74" y="96"/>
                    </a:lnTo>
                    <a:lnTo>
                      <a:pt x="74" y="96"/>
                    </a:lnTo>
                    <a:lnTo>
                      <a:pt x="76" y="96"/>
                    </a:lnTo>
                    <a:lnTo>
                      <a:pt x="78" y="94"/>
                    </a:lnTo>
                    <a:lnTo>
                      <a:pt x="78" y="92"/>
                    </a:lnTo>
                    <a:lnTo>
                      <a:pt x="80" y="92"/>
                    </a:lnTo>
                    <a:lnTo>
                      <a:pt x="80" y="92"/>
                    </a:lnTo>
                    <a:lnTo>
                      <a:pt x="80" y="88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4" y="84"/>
                    </a:lnTo>
                    <a:lnTo>
                      <a:pt x="88" y="84"/>
                    </a:lnTo>
                    <a:lnTo>
                      <a:pt x="88" y="84"/>
                    </a:lnTo>
                    <a:lnTo>
                      <a:pt x="92" y="82"/>
                    </a:lnTo>
                    <a:lnTo>
                      <a:pt x="92" y="82"/>
                    </a:lnTo>
                    <a:lnTo>
                      <a:pt x="94" y="82"/>
                    </a:lnTo>
                    <a:lnTo>
                      <a:pt x="94" y="82"/>
                    </a:lnTo>
                    <a:lnTo>
                      <a:pt x="96" y="84"/>
                    </a:lnTo>
                    <a:lnTo>
                      <a:pt x="96" y="84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102" y="88"/>
                    </a:lnTo>
                    <a:lnTo>
                      <a:pt x="106" y="88"/>
                    </a:lnTo>
                    <a:lnTo>
                      <a:pt x="110" y="86"/>
                    </a:lnTo>
                    <a:lnTo>
                      <a:pt x="114" y="86"/>
                    </a:lnTo>
                    <a:lnTo>
                      <a:pt x="114" y="86"/>
                    </a:lnTo>
                    <a:lnTo>
                      <a:pt x="112" y="84"/>
                    </a:lnTo>
                    <a:lnTo>
                      <a:pt x="112" y="84"/>
                    </a:lnTo>
                    <a:lnTo>
                      <a:pt x="112" y="82"/>
                    </a:lnTo>
                    <a:lnTo>
                      <a:pt x="110" y="82"/>
                    </a:lnTo>
                    <a:lnTo>
                      <a:pt x="110" y="82"/>
                    </a:lnTo>
                    <a:lnTo>
                      <a:pt x="110" y="80"/>
                    </a:lnTo>
                    <a:lnTo>
                      <a:pt x="112" y="80"/>
                    </a:lnTo>
                    <a:lnTo>
                      <a:pt x="112" y="78"/>
                    </a:lnTo>
                    <a:lnTo>
                      <a:pt x="114" y="78"/>
                    </a:lnTo>
                    <a:lnTo>
                      <a:pt x="116" y="78"/>
                    </a:lnTo>
                    <a:lnTo>
                      <a:pt x="116" y="78"/>
                    </a:lnTo>
                    <a:lnTo>
                      <a:pt x="118" y="78"/>
                    </a:lnTo>
                    <a:lnTo>
                      <a:pt x="120" y="78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2" y="76"/>
                    </a:lnTo>
                    <a:lnTo>
                      <a:pt x="124" y="74"/>
                    </a:lnTo>
                    <a:lnTo>
                      <a:pt x="124" y="74"/>
                    </a:lnTo>
                    <a:lnTo>
                      <a:pt x="126" y="70"/>
                    </a:lnTo>
                    <a:lnTo>
                      <a:pt x="126" y="68"/>
                    </a:lnTo>
                    <a:lnTo>
                      <a:pt x="126" y="66"/>
                    </a:lnTo>
                    <a:lnTo>
                      <a:pt x="126" y="64"/>
                    </a:lnTo>
                    <a:lnTo>
                      <a:pt x="126" y="58"/>
                    </a:lnTo>
                    <a:lnTo>
                      <a:pt x="124" y="54"/>
                    </a:lnTo>
                    <a:lnTo>
                      <a:pt x="124" y="54"/>
                    </a:lnTo>
                    <a:lnTo>
                      <a:pt x="124" y="54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0" y="52"/>
                    </a:lnTo>
                    <a:lnTo>
                      <a:pt x="118" y="52"/>
                    </a:lnTo>
                    <a:lnTo>
                      <a:pt x="116" y="52"/>
                    </a:lnTo>
                    <a:lnTo>
                      <a:pt x="116" y="52"/>
                    </a:lnTo>
                    <a:lnTo>
                      <a:pt x="114" y="54"/>
                    </a:lnTo>
                    <a:lnTo>
                      <a:pt x="114" y="54"/>
                    </a:lnTo>
                    <a:lnTo>
                      <a:pt x="112" y="54"/>
                    </a:lnTo>
                    <a:lnTo>
                      <a:pt x="110" y="52"/>
                    </a:lnTo>
                    <a:lnTo>
                      <a:pt x="110" y="52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0"/>
                    </a:lnTo>
                    <a:lnTo>
                      <a:pt x="108" y="50"/>
                    </a:lnTo>
                    <a:lnTo>
                      <a:pt x="104" y="52"/>
                    </a:lnTo>
                    <a:lnTo>
                      <a:pt x="104" y="52"/>
                    </a:lnTo>
                    <a:lnTo>
                      <a:pt x="104" y="52"/>
                    </a:lnTo>
                    <a:lnTo>
                      <a:pt x="102" y="52"/>
                    </a:lnTo>
                    <a:lnTo>
                      <a:pt x="102" y="52"/>
                    </a:lnTo>
                    <a:lnTo>
                      <a:pt x="100" y="52"/>
                    </a:lnTo>
                    <a:lnTo>
                      <a:pt x="100" y="52"/>
                    </a:lnTo>
                    <a:lnTo>
                      <a:pt x="100" y="50"/>
                    </a:lnTo>
                    <a:lnTo>
                      <a:pt x="100" y="48"/>
                    </a:lnTo>
                    <a:lnTo>
                      <a:pt x="98" y="46"/>
                    </a:lnTo>
                    <a:lnTo>
                      <a:pt x="98" y="46"/>
                    </a:lnTo>
                    <a:lnTo>
                      <a:pt x="98" y="44"/>
                    </a:lnTo>
                    <a:lnTo>
                      <a:pt x="98" y="42"/>
                    </a:lnTo>
                    <a:lnTo>
                      <a:pt x="98" y="42"/>
                    </a:lnTo>
                    <a:lnTo>
                      <a:pt x="98" y="42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96" y="38"/>
                    </a:lnTo>
                    <a:lnTo>
                      <a:pt x="96" y="36"/>
                    </a:lnTo>
                    <a:lnTo>
                      <a:pt x="98" y="36"/>
                    </a:lnTo>
                    <a:lnTo>
                      <a:pt x="98" y="34"/>
                    </a:lnTo>
                    <a:lnTo>
                      <a:pt x="98" y="34"/>
                    </a:lnTo>
                    <a:lnTo>
                      <a:pt x="98" y="34"/>
                    </a:lnTo>
                    <a:lnTo>
                      <a:pt x="98" y="34"/>
                    </a:lnTo>
                    <a:lnTo>
                      <a:pt x="98" y="32"/>
                    </a:lnTo>
                    <a:lnTo>
                      <a:pt x="98" y="32"/>
                    </a:lnTo>
                    <a:lnTo>
                      <a:pt x="96" y="30"/>
                    </a:lnTo>
                    <a:lnTo>
                      <a:pt x="96" y="30"/>
                    </a:lnTo>
                    <a:lnTo>
                      <a:pt x="96" y="30"/>
                    </a:lnTo>
                    <a:lnTo>
                      <a:pt x="96" y="28"/>
                    </a:lnTo>
                    <a:lnTo>
                      <a:pt x="96" y="28"/>
                    </a:lnTo>
                    <a:lnTo>
                      <a:pt x="96" y="26"/>
                    </a:lnTo>
                    <a:lnTo>
                      <a:pt x="96" y="26"/>
                    </a:lnTo>
                    <a:lnTo>
                      <a:pt x="98" y="24"/>
                    </a:lnTo>
                    <a:lnTo>
                      <a:pt x="98" y="24"/>
                    </a:lnTo>
                    <a:lnTo>
                      <a:pt x="98" y="22"/>
                    </a:lnTo>
                    <a:lnTo>
                      <a:pt x="98" y="20"/>
                    </a:lnTo>
                    <a:lnTo>
                      <a:pt x="96" y="18"/>
                    </a:lnTo>
                    <a:lnTo>
                      <a:pt x="96" y="16"/>
                    </a:lnTo>
                    <a:lnTo>
                      <a:pt x="96" y="16"/>
                    </a:lnTo>
                    <a:lnTo>
                      <a:pt x="94" y="16"/>
                    </a:lnTo>
                    <a:lnTo>
                      <a:pt x="94" y="14"/>
                    </a:lnTo>
                    <a:lnTo>
                      <a:pt x="92" y="14"/>
                    </a:lnTo>
                    <a:lnTo>
                      <a:pt x="90" y="12"/>
                    </a:lnTo>
                    <a:lnTo>
                      <a:pt x="88" y="12"/>
                    </a:lnTo>
                    <a:lnTo>
                      <a:pt x="88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6" y="6"/>
                    </a:lnTo>
                    <a:lnTo>
                      <a:pt x="86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4" y="2"/>
                    </a:lnTo>
                    <a:lnTo>
                      <a:pt x="82" y="0"/>
                    </a:lnTo>
                    <a:lnTo>
                      <a:pt x="82" y="0"/>
                    </a:lnTo>
                    <a:lnTo>
                      <a:pt x="80" y="4"/>
                    </a:lnTo>
                    <a:lnTo>
                      <a:pt x="78" y="4"/>
                    </a:lnTo>
                    <a:lnTo>
                      <a:pt x="74" y="6"/>
                    </a:lnTo>
                    <a:lnTo>
                      <a:pt x="68" y="6"/>
                    </a:lnTo>
                    <a:lnTo>
                      <a:pt x="68" y="6"/>
                    </a:lnTo>
                    <a:lnTo>
                      <a:pt x="62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4" y="10"/>
                    </a:lnTo>
                    <a:lnTo>
                      <a:pt x="50" y="10"/>
                    </a:lnTo>
                    <a:lnTo>
                      <a:pt x="48" y="8"/>
                    </a:lnTo>
                    <a:lnTo>
                      <a:pt x="46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2" y="6"/>
                    </a:lnTo>
                    <a:lnTo>
                      <a:pt x="40" y="4"/>
                    </a:lnTo>
                    <a:lnTo>
                      <a:pt x="36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0" y="4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10"/>
                    </a:lnTo>
                    <a:lnTo>
                      <a:pt x="24" y="12"/>
                    </a:lnTo>
                    <a:lnTo>
                      <a:pt x="22" y="14"/>
                    </a:lnTo>
                    <a:lnTo>
                      <a:pt x="20" y="16"/>
                    </a:lnTo>
                    <a:lnTo>
                      <a:pt x="18" y="18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2" y="22"/>
                    </a:lnTo>
                    <a:lnTo>
                      <a:pt x="10" y="22"/>
                    </a:lnTo>
                    <a:lnTo>
                      <a:pt x="10" y="24"/>
                    </a:lnTo>
                    <a:lnTo>
                      <a:pt x="8" y="26"/>
                    </a:lnTo>
                    <a:lnTo>
                      <a:pt x="8" y="30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6" y="36"/>
                    </a:lnTo>
                    <a:lnTo>
                      <a:pt x="4" y="38"/>
                    </a:lnTo>
                    <a:lnTo>
                      <a:pt x="4" y="40"/>
                    </a:lnTo>
                    <a:lnTo>
                      <a:pt x="2" y="42"/>
                    </a:lnTo>
                    <a:lnTo>
                      <a:pt x="2" y="42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6"/>
                    </a:lnTo>
                    <a:lnTo>
                      <a:pt x="0" y="46"/>
                    </a:lnTo>
                    <a:lnTo>
                      <a:pt x="0" y="48"/>
                    </a:lnTo>
                    <a:lnTo>
                      <a:pt x="2" y="48"/>
                    </a:lnTo>
                    <a:lnTo>
                      <a:pt x="2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2"/>
                    </a:lnTo>
                    <a:lnTo>
                      <a:pt x="4" y="54"/>
                    </a:lnTo>
                    <a:lnTo>
                      <a:pt x="4" y="58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6" y="62"/>
                    </a:lnTo>
                    <a:lnTo>
                      <a:pt x="6" y="64"/>
                    </a:lnTo>
                    <a:lnTo>
                      <a:pt x="10" y="70"/>
                    </a:lnTo>
                    <a:lnTo>
                      <a:pt x="10" y="70"/>
                    </a:lnTo>
                    <a:lnTo>
                      <a:pt x="10" y="72"/>
                    </a:lnTo>
                    <a:lnTo>
                      <a:pt x="12" y="74"/>
                    </a:lnTo>
                    <a:lnTo>
                      <a:pt x="14" y="76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8" y="78"/>
                    </a:lnTo>
                    <a:lnTo>
                      <a:pt x="20" y="78"/>
                    </a:lnTo>
                    <a:lnTo>
                      <a:pt x="22" y="80"/>
                    </a:lnTo>
                    <a:lnTo>
                      <a:pt x="22" y="80"/>
                    </a:lnTo>
                    <a:lnTo>
                      <a:pt x="24" y="82"/>
                    </a:lnTo>
                    <a:lnTo>
                      <a:pt x="24" y="82"/>
                    </a:lnTo>
                    <a:lnTo>
                      <a:pt x="24" y="82"/>
                    </a:lnTo>
                    <a:lnTo>
                      <a:pt x="24" y="82"/>
                    </a:lnTo>
                    <a:lnTo>
                      <a:pt x="26" y="82"/>
                    </a:lnTo>
                    <a:lnTo>
                      <a:pt x="28" y="84"/>
                    </a:lnTo>
                    <a:lnTo>
                      <a:pt x="28" y="84"/>
                    </a:lnTo>
                    <a:lnTo>
                      <a:pt x="28" y="84"/>
                    </a:lnTo>
                    <a:lnTo>
                      <a:pt x="28" y="84"/>
                    </a:lnTo>
                    <a:lnTo>
                      <a:pt x="28" y="8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52" name="Freeform 489"/>
              <p:cNvSpPr>
                <a:spLocks/>
              </p:cNvSpPr>
              <p:nvPr/>
            </p:nvSpPr>
            <p:spPr bwMode="auto">
              <a:xfrm>
                <a:off x="3039" y="2068"/>
                <a:ext cx="90" cy="56"/>
              </a:xfrm>
              <a:custGeom>
                <a:avLst/>
                <a:gdLst>
                  <a:gd name="T0" fmla="*/ 12 w 90"/>
                  <a:gd name="T1" fmla="*/ 46 h 56"/>
                  <a:gd name="T2" fmla="*/ 16 w 90"/>
                  <a:gd name="T3" fmla="*/ 54 h 56"/>
                  <a:gd name="T4" fmla="*/ 16 w 90"/>
                  <a:gd name="T5" fmla="*/ 54 h 56"/>
                  <a:gd name="T6" fmla="*/ 24 w 90"/>
                  <a:gd name="T7" fmla="*/ 54 h 56"/>
                  <a:gd name="T8" fmla="*/ 38 w 90"/>
                  <a:gd name="T9" fmla="*/ 56 h 56"/>
                  <a:gd name="T10" fmla="*/ 48 w 90"/>
                  <a:gd name="T11" fmla="*/ 56 h 56"/>
                  <a:gd name="T12" fmla="*/ 52 w 90"/>
                  <a:gd name="T13" fmla="*/ 56 h 56"/>
                  <a:gd name="T14" fmla="*/ 56 w 90"/>
                  <a:gd name="T15" fmla="*/ 56 h 56"/>
                  <a:gd name="T16" fmla="*/ 60 w 90"/>
                  <a:gd name="T17" fmla="*/ 54 h 56"/>
                  <a:gd name="T18" fmla="*/ 60 w 90"/>
                  <a:gd name="T19" fmla="*/ 48 h 56"/>
                  <a:gd name="T20" fmla="*/ 62 w 90"/>
                  <a:gd name="T21" fmla="*/ 44 h 56"/>
                  <a:gd name="T22" fmla="*/ 68 w 90"/>
                  <a:gd name="T23" fmla="*/ 42 h 56"/>
                  <a:gd name="T24" fmla="*/ 72 w 90"/>
                  <a:gd name="T25" fmla="*/ 40 h 56"/>
                  <a:gd name="T26" fmla="*/ 78 w 90"/>
                  <a:gd name="T27" fmla="*/ 40 h 56"/>
                  <a:gd name="T28" fmla="*/ 80 w 90"/>
                  <a:gd name="T29" fmla="*/ 36 h 56"/>
                  <a:gd name="T30" fmla="*/ 80 w 90"/>
                  <a:gd name="T31" fmla="*/ 28 h 56"/>
                  <a:gd name="T32" fmla="*/ 82 w 90"/>
                  <a:gd name="T33" fmla="*/ 22 h 56"/>
                  <a:gd name="T34" fmla="*/ 88 w 90"/>
                  <a:gd name="T35" fmla="*/ 16 h 56"/>
                  <a:gd name="T36" fmla="*/ 90 w 90"/>
                  <a:gd name="T37" fmla="*/ 14 h 56"/>
                  <a:gd name="T38" fmla="*/ 90 w 90"/>
                  <a:gd name="T39" fmla="*/ 6 h 56"/>
                  <a:gd name="T40" fmla="*/ 88 w 90"/>
                  <a:gd name="T41" fmla="*/ 4 h 56"/>
                  <a:gd name="T42" fmla="*/ 82 w 90"/>
                  <a:gd name="T43" fmla="*/ 6 h 56"/>
                  <a:gd name="T44" fmla="*/ 74 w 90"/>
                  <a:gd name="T45" fmla="*/ 4 h 56"/>
                  <a:gd name="T46" fmla="*/ 72 w 90"/>
                  <a:gd name="T47" fmla="*/ 2 h 56"/>
                  <a:gd name="T48" fmla="*/ 68 w 90"/>
                  <a:gd name="T49" fmla="*/ 0 h 56"/>
                  <a:gd name="T50" fmla="*/ 64 w 90"/>
                  <a:gd name="T51" fmla="*/ 2 h 56"/>
                  <a:gd name="T52" fmla="*/ 58 w 90"/>
                  <a:gd name="T53" fmla="*/ 4 h 56"/>
                  <a:gd name="T54" fmla="*/ 56 w 90"/>
                  <a:gd name="T55" fmla="*/ 10 h 56"/>
                  <a:gd name="T56" fmla="*/ 54 w 90"/>
                  <a:gd name="T57" fmla="*/ 12 h 56"/>
                  <a:gd name="T58" fmla="*/ 50 w 90"/>
                  <a:gd name="T59" fmla="*/ 14 h 56"/>
                  <a:gd name="T60" fmla="*/ 42 w 90"/>
                  <a:gd name="T61" fmla="*/ 14 h 56"/>
                  <a:gd name="T62" fmla="*/ 38 w 90"/>
                  <a:gd name="T63" fmla="*/ 14 h 56"/>
                  <a:gd name="T64" fmla="*/ 34 w 90"/>
                  <a:gd name="T65" fmla="*/ 12 h 56"/>
                  <a:gd name="T66" fmla="*/ 30 w 90"/>
                  <a:gd name="T67" fmla="*/ 12 h 56"/>
                  <a:gd name="T68" fmla="*/ 20 w 90"/>
                  <a:gd name="T69" fmla="*/ 12 h 56"/>
                  <a:gd name="T70" fmla="*/ 18 w 90"/>
                  <a:gd name="T71" fmla="*/ 12 h 56"/>
                  <a:gd name="T72" fmla="*/ 12 w 90"/>
                  <a:gd name="T73" fmla="*/ 6 h 56"/>
                  <a:gd name="T74" fmla="*/ 10 w 90"/>
                  <a:gd name="T75" fmla="*/ 4 h 56"/>
                  <a:gd name="T76" fmla="*/ 4 w 90"/>
                  <a:gd name="T77" fmla="*/ 2 h 56"/>
                  <a:gd name="T78" fmla="*/ 0 w 90"/>
                  <a:gd name="T79" fmla="*/ 0 h 56"/>
                  <a:gd name="T80" fmla="*/ 0 w 90"/>
                  <a:gd name="T81" fmla="*/ 0 h 56"/>
                  <a:gd name="T82" fmla="*/ 0 w 90"/>
                  <a:gd name="T83" fmla="*/ 4 h 56"/>
                  <a:gd name="T84" fmla="*/ 4 w 90"/>
                  <a:gd name="T85" fmla="*/ 8 h 56"/>
                  <a:gd name="T86" fmla="*/ 6 w 90"/>
                  <a:gd name="T87" fmla="*/ 12 h 56"/>
                  <a:gd name="T88" fmla="*/ 8 w 90"/>
                  <a:gd name="T89" fmla="*/ 18 h 56"/>
                  <a:gd name="T90" fmla="*/ 6 w 90"/>
                  <a:gd name="T91" fmla="*/ 26 h 56"/>
                  <a:gd name="T92" fmla="*/ 2 w 90"/>
                  <a:gd name="T93" fmla="*/ 32 h 56"/>
                  <a:gd name="T94" fmla="*/ 6 w 90"/>
                  <a:gd name="T95" fmla="*/ 38 h 56"/>
                  <a:gd name="T96" fmla="*/ 10 w 90"/>
                  <a:gd name="T97" fmla="*/ 42 h 56"/>
                  <a:gd name="T98" fmla="*/ 10 w 90"/>
                  <a:gd name="T99" fmla="*/ 4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90" h="56">
                    <a:moveTo>
                      <a:pt x="10" y="44"/>
                    </a:moveTo>
                    <a:lnTo>
                      <a:pt x="10" y="44"/>
                    </a:lnTo>
                    <a:lnTo>
                      <a:pt x="12" y="46"/>
                    </a:lnTo>
                    <a:lnTo>
                      <a:pt x="12" y="48"/>
                    </a:lnTo>
                    <a:lnTo>
                      <a:pt x="14" y="52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20" y="54"/>
                    </a:lnTo>
                    <a:lnTo>
                      <a:pt x="24" y="54"/>
                    </a:lnTo>
                    <a:lnTo>
                      <a:pt x="24" y="54"/>
                    </a:lnTo>
                    <a:lnTo>
                      <a:pt x="32" y="54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42" y="56"/>
                    </a:lnTo>
                    <a:lnTo>
                      <a:pt x="48" y="56"/>
                    </a:lnTo>
                    <a:lnTo>
                      <a:pt x="48" y="56"/>
                    </a:lnTo>
                    <a:lnTo>
                      <a:pt x="50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4" y="56"/>
                    </a:lnTo>
                    <a:lnTo>
                      <a:pt x="54" y="56"/>
                    </a:lnTo>
                    <a:lnTo>
                      <a:pt x="56" y="56"/>
                    </a:lnTo>
                    <a:lnTo>
                      <a:pt x="58" y="56"/>
                    </a:lnTo>
                    <a:lnTo>
                      <a:pt x="58" y="54"/>
                    </a:lnTo>
                    <a:lnTo>
                      <a:pt x="60" y="54"/>
                    </a:lnTo>
                    <a:lnTo>
                      <a:pt x="60" y="50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6"/>
                    </a:lnTo>
                    <a:lnTo>
                      <a:pt x="62" y="44"/>
                    </a:lnTo>
                    <a:lnTo>
                      <a:pt x="62" y="44"/>
                    </a:lnTo>
                    <a:lnTo>
                      <a:pt x="64" y="44"/>
                    </a:lnTo>
                    <a:lnTo>
                      <a:pt x="64" y="44"/>
                    </a:lnTo>
                    <a:lnTo>
                      <a:pt x="68" y="42"/>
                    </a:lnTo>
                    <a:lnTo>
                      <a:pt x="70" y="42"/>
                    </a:lnTo>
                    <a:lnTo>
                      <a:pt x="72" y="40"/>
                    </a:lnTo>
                    <a:lnTo>
                      <a:pt x="72" y="40"/>
                    </a:lnTo>
                    <a:lnTo>
                      <a:pt x="74" y="40"/>
                    </a:lnTo>
                    <a:lnTo>
                      <a:pt x="78" y="40"/>
                    </a:lnTo>
                    <a:lnTo>
                      <a:pt x="78" y="40"/>
                    </a:lnTo>
                    <a:lnTo>
                      <a:pt x="80" y="38"/>
                    </a:lnTo>
                    <a:lnTo>
                      <a:pt x="80" y="38"/>
                    </a:lnTo>
                    <a:lnTo>
                      <a:pt x="80" y="36"/>
                    </a:lnTo>
                    <a:lnTo>
                      <a:pt x="80" y="36"/>
                    </a:lnTo>
                    <a:lnTo>
                      <a:pt x="80" y="32"/>
                    </a:lnTo>
                    <a:lnTo>
                      <a:pt x="80" y="28"/>
                    </a:lnTo>
                    <a:lnTo>
                      <a:pt x="82" y="26"/>
                    </a:lnTo>
                    <a:lnTo>
                      <a:pt x="82" y="22"/>
                    </a:lnTo>
                    <a:lnTo>
                      <a:pt x="82" y="22"/>
                    </a:lnTo>
                    <a:lnTo>
                      <a:pt x="84" y="20"/>
                    </a:lnTo>
                    <a:lnTo>
                      <a:pt x="86" y="18"/>
                    </a:lnTo>
                    <a:lnTo>
                      <a:pt x="88" y="16"/>
                    </a:lnTo>
                    <a:lnTo>
                      <a:pt x="88" y="16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0"/>
                    </a:lnTo>
                    <a:lnTo>
                      <a:pt x="90" y="8"/>
                    </a:lnTo>
                    <a:lnTo>
                      <a:pt x="90" y="6"/>
                    </a:lnTo>
                    <a:lnTo>
                      <a:pt x="90" y="6"/>
                    </a:lnTo>
                    <a:lnTo>
                      <a:pt x="90" y="4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84" y="4"/>
                    </a:lnTo>
                    <a:lnTo>
                      <a:pt x="82" y="6"/>
                    </a:lnTo>
                    <a:lnTo>
                      <a:pt x="78" y="6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2" y="2"/>
                    </a:lnTo>
                    <a:lnTo>
                      <a:pt x="72" y="2"/>
                    </a:lnTo>
                    <a:lnTo>
                      <a:pt x="70" y="0"/>
                    </a:lnTo>
                    <a:lnTo>
                      <a:pt x="70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60" y="2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6" y="6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4" y="10"/>
                    </a:lnTo>
                    <a:lnTo>
                      <a:pt x="54" y="12"/>
                    </a:lnTo>
                    <a:lnTo>
                      <a:pt x="52" y="14"/>
                    </a:lnTo>
                    <a:lnTo>
                      <a:pt x="50" y="14"/>
                    </a:lnTo>
                    <a:lnTo>
                      <a:pt x="50" y="14"/>
                    </a:lnTo>
                    <a:lnTo>
                      <a:pt x="48" y="16"/>
                    </a:lnTo>
                    <a:lnTo>
                      <a:pt x="44" y="16"/>
                    </a:lnTo>
                    <a:lnTo>
                      <a:pt x="42" y="14"/>
                    </a:lnTo>
                    <a:lnTo>
                      <a:pt x="42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4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26" y="12"/>
                    </a:lnTo>
                    <a:lnTo>
                      <a:pt x="24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2" y="6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10"/>
                    </a:lnTo>
                    <a:lnTo>
                      <a:pt x="6" y="12"/>
                    </a:lnTo>
                    <a:lnTo>
                      <a:pt x="8" y="14"/>
                    </a:lnTo>
                    <a:lnTo>
                      <a:pt x="8" y="16"/>
                    </a:lnTo>
                    <a:lnTo>
                      <a:pt x="8" y="18"/>
                    </a:lnTo>
                    <a:lnTo>
                      <a:pt x="8" y="20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4" y="30"/>
                    </a:lnTo>
                    <a:lnTo>
                      <a:pt x="4" y="32"/>
                    </a:lnTo>
                    <a:lnTo>
                      <a:pt x="2" y="32"/>
                    </a:lnTo>
                    <a:lnTo>
                      <a:pt x="2" y="3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40"/>
                    </a:lnTo>
                    <a:lnTo>
                      <a:pt x="8" y="40"/>
                    </a:lnTo>
                    <a:lnTo>
                      <a:pt x="10" y="42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10" y="4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53" name="Freeform 491"/>
              <p:cNvSpPr>
                <a:spLocks/>
              </p:cNvSpPr>
              <p:nvPr/>
            </p:nvSpPr>
            <p:spPr bwMode="auto">
              <a:xfrm>
                <a:off x="3019" y="2100"/>
                <a:ext cx="38" cy="34"/>
              </a:xfrm>
              <a:custGeom>
                <a:avLst/>
                <a:gdLst>
                  <a:gd name="T0" fmla="*/ 8 w 38"/>
                  <a:gd name="T1" fmla="*/ 34 h 34"/>
                  <a:gd name="T2" fmla="*/ 10 w 38"/>
                  <a:gd name="T3" fmla="*/ 32 h 34"/>
                  <a:gd name="T4" fmla="*/ 12 w 38"/>
                  <a:gd name="T5" fmla="*/ 32 h 34"/>
                  <a:gd name="T6" fmla="*/ 14 w 38"/>
                  <a:gd name="T7" fmla="*/ 30 h 34"/>
                  <a:gd name="T8" fmla="*/ 20 w 38"/>
                  <a:gd name="T9" fmla="*/ 30 h 34"/>
                  <a:gd name="T10" fmla="*/ 24 w 38"/>
                  <a:gd name="T11" fmla="*/ 30 h 34"/>
                  <a:gd name="T12" fmla="*/ 28 w 38"/>
                  <a:gd name="T13" fmla="*/ 26 h 34"/>
                  <a:gd name="T14" fmla="*/ 30 w 38"/>
                  <a:gd name="T15" fmla="*/ 26 h 34"/>
                  <a:gd name="T16" fmla="*/ 32 w 38"/>
                  <a:gd name="T17" fmla="*/ 26 h 34"/>
                  <a:gd name="T18" fmla="*/ 36 w 38"/>
                  <a:gd name="T19" fmla="*/ 24 h 34"/>
                  <a:gd name="T20" fmla="*/ 38 w 38"/>
                  <a:gd name="T21" fmla="*/ 22 h 34"/>
                  <a:gd name="T22" fmla="*/ 36 w 38"/>
                  <a:gd name="T23" fmla="*/ 22 h 34"/>
                  <a:gd name="T24" fmla="*/ 36 w 38"/>
                  <a:gd name="T25" fmla="*/ 22 h 34"/>
                  <a:gd name="T26" fmla="*/ 32 w 38"/>
                  <a:gd name="T27" fmla="*/ 16 h 34"/>
                  <a:gd name="T28" fmla="*/ 30 w 38"/>
                  <a:gd name="T29" fmla="*/ 12 h 34"/>
                  <a:gd name="T30" fmla="*/ 30 w 38"/>
                  <a:gd name="T31" fmla="*/ 10 h 34"/>
                  <a:gd name="T32" fmla="*/ 26 w 38"/>
                  <a:gd name="T33" fmla="*/ 8 h 34"/>
                  <a:gd name="T34" fmla="*/ 26 w 38"/>
                  <a:gd name="T35" fmla="*/ 6 h 34"/>
                  <a:gd name="T36" fmla="*/ 22 w 38"/>
                  <a:gd name="T37" fmla="*/ 0 h 34"/>
                  <a:gd name="T38" fmla="*/ 20 w 38"/>
                  <a:gd name="T39" fmla="*/ 2 h 34"/>
                  <a:gd name="T40" fmla="*/ 16 w 38"/>
                  <a:gd name="T41" fmla="*/ 2 h 34"/>
                  <a:gd name="T42" fmla="*/ 16 w 38"/>
                  <a:gd name="T43" fmla="*/ 2 h 34"/>
                  <a:gd name="T44" fmla="*/ 12 w 38"/>
                  <a:gd name="T45" fmla="*/ 4 h 34"/>
                  <a:gd name="T46" fmla="*/ 10 w 38"/>
                  <a:gd name="T47" fmla="*/ 6 h 34"/>
                  <a:gd name="T48" fmla="*/ 6 w 38"/>
                  <a:gd name="T49" fmla="*/ 10 h 34"/>
                  <a:gd name="T50" fmla="*/ 4 w 38"/>
                  <a:gd name="T51" fmla="*/ 12 h 34"/>
                  <a:gd name="T52" fmla="*/ 2 w 38"/>
                  <a:gd name="T53" fmla="*/ 14 h 34"/>
                  <a:gd name="T54" fmla="*/ 0 w 38"/>
                  <a:gd name="T55" fmla="*/ 14 h 34"/>
                  <a:gd name="T56" fmla="*/ 0 w 38"/>
                  <a:gd name="T57" fmla="*/ 22 h 34"/>
                  <a:gd name="T58" fmla="*/ 0 w 38"/>
                  <a:gd name="T59" fmla="*/ 24 h 34"/>
                  <a:gd name="T60" fmla="*/ 0 w 38"/>
                  <a:gd name="T61" fmla="*/ 28 h 34"/>
                  <a:gd name="T62" fmla="*/ 6 w 38"/>
                  <a:gd name="T63" fmla="*/ 32 h 34"/>
                  <a:gd name="T64" fmla="*/ 6 w 38"/>
                  <a:gd name="T65" fmla="*/ 34 h 34"/>
                  <a:gd name="T66" fmla="*/ 8 w 38"/>
                  <a:gd name="T67" fmla="*/ 34 h 34"/>
                  <a:gd name="T68" fmla="*/ 8 w 38"/>
                  <a:gd name="T6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8" h="34">
                    <a:moveTo>
                      <a:pt x="8" y="34"/>
                    </a:moveTo>
                    <a:lnTo>
                      <a:pt x="8" y="34"/>
                    </a:lnTo>
                    <a:lnTo>
                      <a:pt x="10" y="34"/>
                    </a:lnTo>
                    <a:lnTo>
                      <a:pt x="10" y="32"/>
                    </a:lnTo>
                    <a:lnTo>
                      <a:pt x="10" y="32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20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6" y="28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30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4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4" y="20"/>
                    </a:lnTo>
                    <a:lnTo>
                      <a:pt x="32" y="16"/>
                    </a:lnTo>
                    <a:lnTo>
                      <a:pt x="32" y="14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0"/>
                    </a:lnTo>
                    <a:lnTo>
                      <a:pt x="28" y="8"/>
                    </a:lnTo>
                    <a:lnTo>
                      <a:pt x="26" y="8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2"/>
                    </a:lnTo>
                    <a:lnTo>
                      <a:pt x="20" y="2"/>
                    </a:lnTo>
                    <a:lnTo>
                      <a:pt x="18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4" y="2"/>
                    </a:lnTo>
                    <a:lnTo>
                      <a:pt x="12" y="4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8" y="8"/>
                    </a:lnTo>
                    <a:lnTo>
                      <a:pt x="6" y="10"/>
                    </a:lnTo>
                    <a:lnTo>
                      <a:pt x="6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0" y="22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6"/>
                    </a:lnTo>
                    <a:lnTo>
                      <a:pt x="0" y="28"/>
                    </a:lnTo>
                    <a:lnTo>
                      <a:pt x="2" y="30"/>
                    </a:lnTo>
                    <a:lnTo>
                      <a:pt x="6" y="32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54" name="Freeform 493"/>
              <p:cNvSpPr>
                <a:spLocks/>
              </p:cNvSpPr>
              <p:nvPr/>
            </p:nvSpPr>
            <p:spPr bwMode="auto">
              <a:xfrm>
                <a:off x="3011" y="2110"/>
                <a:ext cx="98" cy="108"/>
              </a:xfrm>
              <a:custGeom>
                <a:avLst/>
                <a:gdLst>
                  <a:gd name="T0" fmla="*/ 90 w 98"/>
                  <a:gd name="T1" fmla="*/ 2 h 108"/>
                  <a:gd name="T2" fmla="*/ 88 w 98"/>
                  <a:gd name="T3" fmla="*/ 12 h 108"/>
                  <a:gd name="T4" fmla="*/ 80 w 98"/>
                  <a:gd name="T5" fmla="*/ 14 h 108"/>
                  <a:gd name="T6" fmla="*/ 66 w 98"/>
                  <a:gd name="T7" fmla="*/ 14 h 108"/>
                  <a:gd name="T8" fmla="*/ 46 w 98"/>
                  <a:gd name="T9" fmla="*/ 12 h 108"/>
                  <a:gd name="T10" fmla="*/ 40 w 98"/>
                  <a:gd name="T11" fmla="*/ 16 h 108"/>
                  <a:gd name="T12" fmla="*/ 32 w 98"/>
                  <a:gd name="T13" fmla="*/ 20 h 108"/>
                  <a:gd name="T14" fmla="*/ 18 w 98"/>
                  <a:gd name="T15" fmla="*/ 22 h 108"/>
                  <a:gd name="T16" fmla="*/ 14 w 98"/>
                  <a:gd name="T17" fmla="*/ 24 h 108"/>
                  <a:gd name="T18" fmla="*/ 12 w 98"/>
                  <a:gd name="T19" fmla="*/ 34 h 108"/>
                  <a:gd name="T20" fmla="*/ 6 w 98"/>
                  <a:gd name="T21" fmla="*/ 40 h 108"/>
                  <a:gd name="T22" fmla="*/ 2 w 98"/>
                  <a:gd name="T23" fmla="*/ 46 h 108"/>
                  <a:gd name="T24" fmla="*/ 4 w 98"/>
                  <a:gd name="T25" fmla="*/ 54 h 108"/>
                  <a:gd name="T26" fmla="*/ 14 w 98"/>
                  <a:gd name="T27" fmla="*/ 64 h 108"/>
                  <a:gd name="T28" fmla="*/ 18 w 98"/>
                  <a:gd name="T29" fmla="*/ 70 h 108"/>
                  <a:gd name="T30" fmla="*/ 22 w 98"/>
                  <a:gd name="T31" fmla="*/ 72 h 108"/>
                  <a:gd name="T32" fmla="*/ 28 w 98"/>
                  <a:gd name="T33" fmla="*/ 72 h 108"/>
                  <a:gd name="T34" fmla="*/ 36 w 98"/>
                  <a:gd name="T35" fmla="*/ 74 h 108"/>
                  <a:gd name="T36" fmla="*/ 44 w 98"/>
                  <a:gd name="T37" fmla="*/ 72 h 108"/>
                  <a:gd name="T38" fmla="*/ 44 w 98"/>
                  <a:gd name="T39" fmla="*/ 76 h 108"/>
                  <a:gd name="T40" fmla="*/ 32 w 98"/>
                  <a:gd name="T41" fmla="*/ 76 h 108"/>
                  <a:gd name="T42" fmla="*/ 22 w 98"/>
                  <a:gd name="T43" fmla="*/ 76 h 108"/>
                  <a:gd name="T44" fmla="*/ 18 w 98"/>
                  <a:gd name="T45" fmla="*/ 78 h 108"/>
                  <a:gd name="T46" fmla="*/ 18 w 98"/>
                  <a:gd name="T47" fmla="*/ 84 h 108"/>
                  <a:gd name="T48" fmla="*/ 22 w 98"/>
                  <a:gd name="T49" fmla="*/ 90 h 108"/>
                  <a:gd name="T50" fmla="*/ 24 w 98"/>
                  <a:gd name="T51" fmla="*/ 96 h 108"/>
                  <a:gd name="T52" fmla="*/ 30 w 98"/>
                  <a:gd name="T53" fmla="*/ 102 h 108"/>
                  <a:gd name="T54" fmla="*/ 34 w 98"/>
                  <a:gd name="T55" fmla="*/ 100 h 108"/>
                  <a:gd name="T56" fmla="*/ 38 w 98"/>
                  <a:gd name="T57" fmla="*/ 104 h 108"/>
                  <a:gd name="T58" fmla="*/ 44 w 98"/>
                  <a:gd name="T59" fmla="*/ 108 h 108"/>
                  <a:gd name="T60" fmla="*/ 48 w 98"/>
                  <a:gd name="T61" fmla="*/ 106 h 108"/>
                  <a:gd name="T62" fmla="*/ 50 w 98"/>
                  <a:gd name="T63" fmla="*/ 106 h 108"/>
                  <a:gd name="T64" fmla="*/ 50 w 98"/>
                  <a:gd name="T65" fmla="*/ 100 h 108"/>
                  <a:gd name="T66" fmla="*/ 48 w 98"/>
                  <a:gd name="T67" fmla="*/ 94 h 108"/>
                  <a:gd name="T68" fmla="*/ 52 w 98"/>
                  <a:gd name="T69" fmla="*/ 82 h 108"/>
                  <a:gd name="T70" fmla="*/ 58 w 98"/>
                  <a:gd name="T71" fmla="*/ 82 h 108"/>
                  <a:gd name="T72" fmla="*/ 62 w 98"/>
                  <a:gd name="T73" fmla="*/ 78 h 108"/>
                  <a:gd name="T74" fmla="*/ 56 w 98"/>
                  <a:gd name="T75" fmla="*/ 70 h 108"/>
                  <a:gd name="T76" fmla="*/ 52 w 98"/>
                  <a:gd name="T77" fmla="*/ 66 h 108"/>
                  <a:gd name="T78" fmla="*/ 48 w 98"/>
                  <a:gd name="T79" fmla="*/ 62 h 108"/>
                  <a:gd name="T80" fmla="*/ 44 w 98"/>
                  <a:gd name="T81" fmla="*/ 52 h 108"/>
                  <a:gd name="T82" fmla="*/ 38 w 98"/>
                  <a:gd name="T83" fmla="*/ 44 h 108"/>
                  <a:gd name="T84" fmla="*/ 36 w 98"/>
                  <a:gd name="T85" fmla="*/ 32 h 108"/>
                  <a:gd name="T86" fmla="*/ 42 w 98"/>
                  <a:gd name="T87" fmla="*/ 36 h 108"/>
                  <a:gd name="T88" fmla="*/ 48 w 98"/>
                  <a:gd name="T89" fmla="*/ 42 h 108"/>
                  <a:gd name="T90" fmla="*/ 54 w 98"/>
                  <a:gd name="T91" fmla="*/ 40 h 108"/>
                  <a:gd name="T92" fmla="*/ 58 w 98"/>
                  <a:gd name="T93" fmla="*/ 36 h 108"/>
                  <a:gd name="T94" fmla="*/ 54 w 98"/>
                  <a:gd name="T95" fmla="*/ 32 h 108"/>
                  <a:gd name="T96" fmla="*/ 54 w 98"/>
                  <a:gd name="T97" fmla="*/ 26 h 108"/>
                  <a:gd name="T98" fmla="*/ 58 w 98"/>
                  <a:gd name="T99" fmla="*/ 26 h 108"/>
                  <a:gd name="T100" fmla="*/ 64 w 98"/>
                  <a:gd name="T101" fmla="*/ 26 h 108"/>
                  <a:gd name="T102" fmla="*/ 68 w 98"/>
                  <a:gd name="T103" fmla="*/ 28 h 108"/>
                  <a:gd name="T104" fmla="*/ 78 w 98"/>
                  <a:gd name="T105" fmla="*/ 24 h 108"/>
                  <a:gd name="T106" fmla="*/ 84 w 98"/>
                  <a:gd name="T107" fmla="*/ 28 h 108"/>
                  <a:gd name="T108" fmla="*/ 88 w 98"/>
                  <a:gd name="T109" fmla="*/ 28 h 108"/>
                  <a:gd name="T110" fmla="*/ 98 w 98"/>
                  <a:gd name="T111" fmla="*/ 4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98" h="108">
                    <a:moveTo>
                      <a:pt x="98" y="0"/>
                    </a:moveTo>
                    <a:lnTo>
                      <a:pt x="98" y="0"/>
                    </a:lnTo>
                    <a:lnTo>
                      <a:pt x="96" y="0"/>
                    </a:lnTo>
                    <a:lnTo>
                      <a:pt x="92" y="2"/>
                    </a:lnTo>
                    <a:lnTo>
                      <a:pt x="92" y="2"/>
                    </a:lnTo>
                    <a:lnTo>
                      <a:pt x="90" y="2"/>
                    </a:lnTo>
                    <a:lnTo>
                      <a:pt x="90" y="2"/>
                    </a:lnTo>
                    <a:lnTo>
                      <a:pt x="88" y="4"/>
                    </a:lnTo>
                    <a:lnTo>
                      <a:pt x="88" y="6"/>
                    </a:lnTo>
                    <a:lnTo>
                      <a:pt x="88" y="6"/>
                    </a:lnTo>
                    <a:lnTo>
                      <a:pt x="88" y="8"/>
                    </a:lnTo>
                    <a:lnTo>
                      <a:pt x="88" y="12"/>
                    </a:lnTo>
                    <a:lnTo>
                      <a:pt x="86" y="12"/>
                    </a:lnTo>
                    <a:lnTo>
                      <a:pt x="86" y="14"/>
                    </a:lnTo>
                    <a:lnTo>
                      <a:pt x="84" y="14"/>
                    </a:lnTo>
                    <a:lnTo>
                      <a:pt x="82" y="14"/>
                    </a:lnTo>
                    <a:lnTo>
                      <a:pt x="82" y="14"/>
                    </a:lnTo>
                    <a:lnTo>
                      <a:pt x="80" y="14"/>
                    </a:lnTo>
                    <a:lnTo>
                      <a:pt x="80" y="14"/>
                    </a:lnTo>
                    <a:lnTo>
                      <a:pt x="78" y="14"/>
                    </a:lnTo>
                    <a:lnTo>
                      <a:pt x="76" y="14"/>
                    </a:lnTo>
                    <a:lnTo>
                      <a:pt x="76" y="14"/>
                    </a:lnTo>
                    <a:lnTo>
                      <a:pt x="70" y="14"/>
                    </a:lnTo>
                    <a:lnTo>
                      <a:pt x="66" y="14"/>
                    </a:lnTo>
                    <a:lnTo>
                      <a:pt x="66" y="14"/>
                    </a:lnTo>
                    <a:lnTo>
                      <a:pt x="60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48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2" y="14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38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4" y="18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28" y="20"/>
                    </a:lnTo>
                    <a:lnTo>
                      <a:pt x="26" y="20"/>
                    </a:lnTo>
                    <a:lnTo>
                      <a:pt x="22" y="20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4" y="24"/>
                    </a:lnTo>
                    <a:lnTo>
                      <a:pt x="14" y="24"/>
                    </a:lnTo>
                    <a:lnTo>
                      <a:pt x="14" y="24"/>
                    </a:lnTo>
                    <a:lnTo>
                      <a:pt x="14" y="26"/>
                    </a:lnTo>
                    <a:lnTo>
                      <a:pt x="12" y="28"/>
                    </a:lnTo>
                    <a:lnTo>
                      <a:pt x="12" y="30"/>
                    </a:lnTo>
                    <a:lnTo>
                      <a:pt x="12" y="32"/>
                    </a:lnTo>
                    <a:lnTo>
                      <a:pt x="12" y="34"/>
                    </a:lnTo>
                    <a:lnTo>
                      <a:pt x="10" y="36"/>
                    </a:lnTo>
                    <a:lnTo>
                      <a:pt x="10" y="38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2" y="46"/>
                    </a:lnTo>
                    <a:lnTo>
                      <a:pt x="2" y="46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2" y="50"/>
                    </a:lnTo>
                    <a:lnTo>
                      <a:pt x="2" y="50"/>
                    </a:lnTo>
                    <a:lnTo>
                      <a:pt x="4" y="54"/>
                    </a:lnTo>
                    <a:lnTo>
                      <a:pt x="6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12" y="60"/>
                    </a:lnTo>
                    <a:lnTo>
                      <a:pt x="14" y="64"/>
                    </a:lnTo>
                    <a:lnTo>
                      <a:pt x="14" y="64"/>
                    </a:lnTo>
                    <a:lnTo>
                      <a:pt x="16" y="64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6" y="68"/>
                    </a:lnTo>
                    <a:lnTo>
                      <a:pt x="16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2" y="72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4" y="70"/>
                    </a:lnTo>
                    <a:lnTo>
                      <a:pt x="24" y="70"/>
                    </a:lnTo>
                    <a:lnTo>
                      <a:pt x="26" y="70"/>
                    </a:lnTo>
                    <a:lnTo>
                      <a:pt x="28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2" y="72"/>
                    </a:lnTo>
                    <a:lnTo>
                      <a:pt x="34" y="74"/>
                    </a:lnTo>
                    <a:lnTo>
                      <a:pt x="34" y="74"/>
                    </a:lnTo>
                    <a:lnTo>
                      <a:pt x="36" y="74"/>
                    </a:lnTo>
                    <a:lnTo>
                      <a:pt x="38" y="74"/>
                    </a:lnTo>
                    <a:lnTo>
                      <a:pt x="38" y="74"/>
                    </a:lnTo>
                    <a:lnTo>
                      <a:pt x="38" y="74"/>
                    </a:lnTo>
                    <a:lnTo>
                      <a:pt x="40" y="74"/>
                    </a:lnTo>
                    <a:lnTo>
                      <a:pt x="42" y="74"/>
                    </a:lnTo>
                    <a:lnTo>
                      <a:pt x="44" y="72"/>
                    </a:lnTo>
                    <a:lnTo>
                      <a:pt x="44" y="72"/>
                    </a:lnTo>
                    <a:lnTo>
                      <a:pt x="44" y="74"/>
                    </a:lnTo>
                    <a:lnTo>
                      <a:pt x="46" y="74"/>
                    </a:lnTo>
                    <a:lnTo>
                      <a:pt x="46" y="74"/>
                    </a:lnTo>
                    <a:lnTo>
                      <a:pt x="46" y="74"/>
                    </a:lnTo>
                    <a:lnTo>
                      <a:pt x="44" y="76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40" y="78"/>
                    </a:lnTo>
                    <a:lnTo>
                      <a:pt x="38" y="78"/>
                    </a:lnTo>
                    <a:lnTo>
                      <a:pt x="32" y="76"/>
                    </a:lnTo>
                    <a:lnTo>
                      <a:pt x="32" y="76"/>
                    </a:lnTo>
                    <a:lnTo>
                      <a:pt x="30" y="76"/>
                    </a:lnTo>
                    <a:lnTo>
                      <a:pt x="28" y="76"/>
                    </a:lnTo>
                    <a:lnTo>
                      <a:pt x="28" y="76"/>
                    </a:lnTo>
                    <a:lnTo>
                      <a:pt x="26" y="76"/>
                    </a:lnTo>
                    <a:lnTo>
                      <a:pt x="22" y="76"/>
                    </a:lnTo>
                    <a:lnTo>
                      <a:pt x="22" y="76"/>
                    </a:lnTo>
                    <a:lnTo>
                      <a:pt x="20" y="76"/>
                    </a:lnTo>
                    <a:lnTo>
                      <a:pt x="20" y="76"/>
                    </a:lnTo>
                    <a:lnTo>
                      <a:pt x="18" y="76"/>
                    </a:lnTo>
                    <a:lnTo>
                      <a:pt x="18" y="76"/>
                    </a:lnTo>
                    <a:lnTo>
                      <a:pt x="18" y="78"/>
                    </a:lnTo>
                    <a:lnTo>
                      <a:pt x="18" y="78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6" y="82"/>
                    </a:lnTo>
                    <a:lnTo>
                      <a:pt x="16" y="84"/>
                    </a:lnTo>
                    <a:lnTo>
                      <a:pt x="18" y="84"/>
                    </a:lnTo>
                    <a:lnTo>
                      <a:pt x="18" y="84"/>
                    </a:lnTo>
                    <a:lnTo>
                      <a:pt x="18" y="86"/>
                    </a:lnTo>
                    <a:lnTo>
                      <a:pt x="20" y="86"/>
                    </a:lnTo>
                    <a:lnTo>
                      <a:pt x="20" y="88"/>
                    </a:lnTo>
                    <a:lnTo>
                      <a:pt x="22" y="88"/>
                    </a:lnTo>
                    <a:lnTo>
                      <a:pt x="22" y="88"/>
                    </a:lnTo>
                    <a:lnTo>
                      <a:pt x="22" y="90"/>
                    </a:lnTo>
                    <a:lnTo>
                      <a:pt x="22" y="90"/>
                    </a:lnTo>
                    <a:lnTo>
                      <a:pt x="22" y="90"/>
                    </a:lnTo>
                    <a:lnTo>
                      <a:pt x="22" y="92"/>
                    </a:lnTo>
                    <a:lnTo>
                      <a:pt x="24" y="94"/>
                    </a:lnTo>
                    <a:lnTo>
                      <a:pt x="24" y="94"/>
                    </a:lnTo>
                    <a:lnTo>
                      <a:pt x="24" y="96"/>
                    </a:lnTo>
                    <a:lnTo>
                      <a:pt x="24" y="96"/>
                    </a:lnTo>
                    <a:lnTo>
                      <a:pt x="26" y="98"/>
                    </a:lnTo>
                    <a:lnTo>
                      <a:pt x="26" y="98"/>
                    </a:lnTo>
                    <a:lnTo>
                      <a:pt x="26" y="100"/>
                    </a:lnTo>
                    <a:lnTo>
                      <a:pt x="28" y="100"/>
                    </a:lnTo>
                    <a:lnTo>
                      <a:pt x="30" y="102"/>
                    </a:lnTo>
                    <a:lnTo>
                      <a:pt x="30" y="102"/>
                    </a:lnTo>
                    <a:lnTo>
                      <a:pt x="30" y="102"/>
                    </a:lnTo>
                    <a:lnTo>
                      <a:pt x="32" y="102"/>
                    </a:lnTo>
                    <a:lnTo>
                      <a:pt x="32" y="100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6" y="100"/>
                    </a:lnTo>
                    <a:lnTo>
                      <a:pt x="36" y="100"/>
                    </a:lnTo>
                    <a:lnTo>
                      <a:pt x="38" y="102"/>
                    </a:lnTo>
                    <a:lnTo>
                      <a:pt x="38" y="102"/>
                    </a:lnTo>
                    <a:lnTo>
                      <a:pt x="38" y="102"/>
                    </a:lnTo>
                    <a:lnTo>
                      <a:pt x="38" y="104"/>
                    </a:lnTo>
                    <a:lnTo>
                      <a:pt x="40" y="106"/>
                    </a:lnTo>
                    <a:lnTo>
                      <a:pt x="42" y="108"/>
                    </a:lnTo>
                    <a:lnTo>
                      <a:pt x="42" y="108"/>
                    </a:lnTo>
                    <a:lnTo>
                      <a:pt x="42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6" y="108"/>
                    </a:lnTo>
                    <a:lnTo>
                      <a:pt x="46" y="108"/>
                    </a:lnTo>
                    <a:lnTo>
                      <a:pt x="46" y="106"/>
                    </a:lnTo>
                    <a:lnTo>
                      <a:pt x="48" y="106"/>
                    </a:lnTo>
                    <a:lnTo>
                      <a:pt x="48" y="106"/>
                    </a:lnTo>
                    <a:lnTo>
                      <a:pt x="48" y="106"/>
                    </a:lnTo>
                    <a:lnTo>
                      <a:pt x="48" y="106"/>
                    </a:lnTo>
                    <a:lnTo>
                      <a:pt x="50" y="106"/>
                    </a:lnTo>
                    <a:lnTo>
                      <a:pt x="50" y="108"/>
                    </a:lnTo>
                    <a:lnTo>
                      <a:pt x="50" y="108"/>
                    </a:lnTo>
                    <a:lnTo>
                      <a:pt x="50" y="108"/>
                    </a:lnTo>
                    <a:lnTo>
                      <a:pt x="50" y="106"/>
                    </a:lnTo>
                    <a:lnTo>
                      <a:pt x="50" y="106"/>
                    </a:lnTo>
                    <a:lnTo>
                      <a:pt x="50" y="104"/>
                    </a:lnTo>
                    <a:lnTo>
                      <a:pt x="50" y="104"/>
                    </a:lnTo>
                    <a:lnTo>
                      <a:pt x="50" y="102"/>
                    </a:lnTo>
                    <a:lnTo>
                      <a:pt x="50" y="100"/>
                    </a:lnTo>
                    <a:lnTo>
                      <a:pt x="50" y="100"/>
                    </a:lnTo>
                    <a:lnTo>
                      <a:pt x="50" y="100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6"/>
                    </a:lnTo>
                    <a:lnTo>
                      <a:pt x="48" y="96"/>
                    </a:lnTo>
                    <a:lnTo>
                      <a:pt x="48" y="94"/>
                    </a:lnTo>
                    <a:lnTo>
                      <a:pt x="48" y="94"/>
                    </a:lnTo>
                    <a:lnTo>
                      <a:pt x="48" y="92"/>
                    </a:lnTo>
                    <a:lnTo>
                      <a:pt x="48" y="92"/>
                    </a:lnTo>
                    <a:lnTo>
                      <a:pt x="50" y="88"/>
                    </a:lnTo>
                    <a:lnTo>
                      <a:pt x="50" y="86"/>
                    </a:lnTo>
                    <a:lnTo>
                      <a:pt x="52" y="82"/>
                    </a:lnTo>
                    <a:lnTo>
                      <a:pt x="52" y="82"/>
                    </a:lnTo>
                    <a:lnTo>
                      <a:pt x="54" y="82"/>
                    </a:lnTo>
                    <a:lnTo>
                      <a:pt x="54" y="82"/>
                    </a:lnTo>
                    <a:lnTo>
                      <a:pt x="58" y="82"/>
                    </a:lnTo>
                    <a:lnTo>
                      <a:pt x="58" y="82"/>
                    </a:lnTo>
                    <a:lnTo>
                      <a:pt x="58" y="82"/>
                    </a:lnTo>
                    <a:lnTo>
                      <a:pt x="60" y="82"/>
                    </a:lnTo>
                    <a:lnTo>
                      <a:pt x="62" y="80"/>
                    </a:lnTo>
                    <a:lnTo>
                      <a:pt x="62" y="80"/>
                    </a:lnTo>
                    <a:lnTo>
                      <a:pt x="62" y="80"/>
                    </a:lnTo>
                    <a:lnTo>
                      <a:pt x="62" y="78"/>
                    </a:lnTo>
                    <a:lnTo>
                      <a:pt x="62" y="78"/>
                    </a:lnTo>
                    <a:lnTo>
                      <a:pt x="62" y="76"/>
                    </a:lnTo>
                    <a:lnTo>
                      <a:pt x="62" y="74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58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4" y="68"/>
                    </a:lnTo>
                    <a:lnTo>
                      <a:pt x="54" y="68"/>
                    </a:lnTo>
                    <a:lnTo>
                      <a:pt x="52" y="66"/>
                    </a:lnTo>
                    <a:lnTo>
                      <a:pt x="52" y="66"/>
                    </a:lnTo>
                    <a:lnTo>
                      <a:pt x="50" y="66"/>
                    </a:lnTo>
                    <a:lnTo>
                      <a:pt x="50" y="66"/>
                    </a:lnTo>
                    <a:lnTo>
                      <a:pt x="50" y="64"/>
                    </a:lnTo>
                    <a:lnTo>
                      <a:pt x="50" y="64"/>
                    </a:lnTo>
                    <a:lnTo>
                      <a:pt x="48" y="64"/>
                    </a:lnTo>
                    <a:lnTo>
                      <a:pt x="48" y="62"/>
                    </a:lnTo>
                    <a:lnTo>
                      <a:pt x="48" y="60"/>
                    </a:lnTo>
                    <a:lnTo>
                      <a:pt x="48" y="60"/>
                    </a:lnTo>
                    <a:lnTo>
                      <a:pt x="48" y="58"/>
                    </a:lnTo>
                    <a:lnTo>
                      <a:pt x="48" y="56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48"/>
                    </a:lnTo>
                    <a:lnTo>
                      <a:pt x="42" y="48"/>
                    </a:lnTo>
                    <a:lnTo>
                      <a:pt x="40" y="46"/>
                    </a:lnTo>
                    <a:lnTo>
                      <a:pt x="40" y="46"/>
                    </a:lnTo>
                    <a:lnTo>
                      <a:pt x="38" y="46"/>
                    </a:lnTo>
                    <a:lnTo>
                      <a:pt x="38" y="44"/>
                    </a:lnTo>
                    <a:lnTo>
                      <a:pt x="38" y="44"/>
                    </a:lnTo>
                    <a:lnTo>
                      <a:pt x="38" y="44"/>
                    </a:lnTo>
                    <a:lnTo>
                      <a:pt x="36" y="40"/>
                    </a:lnTo>
                    <a:lnTo>
                      <a:pt x="36" y="38"/>
                    </a:lnTo>
                    <a:lnTo>
                      <a:pt x="36" y="34"/>
                    </a:lnTo>
                    <a:lnTo>
                      <a:pt x="36" y="32"/>
                    </a:lnTo>
                    <a:lnTo>
                      <a:pt x="36" y="32"/>
                    </a:lnTo>
                    <a:lnTo>
                      <a:pt x="38" y="32"/>
                    </a:lnTo>
                    <a:lnTo>
                      <a:pt x="38" y="32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2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50" y="42"/>
                    </a:lnTo>
                    <a:lnTo>
                      <a:pt x="50" y="42"/>
                    </a:lnTo>
                    <a:lnTo>
                      <a:pt x="52" y="40"/>
                    </a:lnTo>
                    <a:lnTo>
                      <a:pt x="54" y="40"/>
                    </a:lnTo>
                    <a:lnTo>
                      <a:pt x="54" y="40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8" y="38"/>
                    </a:lnTo>
                    <a:lnTo>
                      <a:pt x="58" y="38"/>
                    </a:lnTo>
                    <a:lnTo>
                      <a:pt x="58" y="36"/>
                    </a:lnTo>
                    <a:lnTo>
                      <a:pt x="58" y="36"/>
                    </a:lnTo>
                    <a:lnTo>
                      <a:pt x="58" y="36"/>
                    </a:lnTo>
                    <a:lnTo>
                      <a:pt x="58" y="34"/>
                    </a:lnTo>
                    <a:lnTo>
                      <a:pt x="56" y="34"/>
                    </a:lnTo>
                    <a:lnTo>
                      <a:pt x="54" y="32"/>
                    </a:lnTo>
                    <a:lnTo>
                      <a:pt x="54" y="32"/>
                    </a:lnTo>
                    <a:lnTo>
                      <a:pt x="54" y="32"/>
                    </a:lnTo>
                    <a:lnTo>
                      <a:pt x="52" y="30"/>
                    </a:lnTo>
                    <a:lnTo>
                      <a:pt x="52" y="28"/>
                    </a:lnTo>
                    <a:lnTo>
                      <a:pt x="54" y="28"/>
                    </a:lnTo>
                    <a:lnTo>
                      <a:pt x="54" y="28"/>
                    </a:lnTo>
                    <a:lnTo>
                      <a:pt x="54" y="26"/>
                    </a:lnTo>
                    <a:lnTo>
                      <a:pt x="54" y="26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8" y="26"/>
                    </a:lnTo>
                    <a:lnTo>
                      <a:pt x="58" y="26"/>
                    </a:lnTo>
                    <a:lnTo>
                      <a:pt x="58" y="26"/>
                    </a:lnTo>
                    <a:lnTo>
                      <a:pt x="60" y="24"/>
                    </a:lnTo>
                    <a:lnTo>
                      <a:pt x="60" y="24"/>
                    </a:lnTo>
                    <a:lnTo>
                      <a:pt x="62" y="24"/>
                    </a:lnTo>
                    <a:lnTo>
                      <a:pt x="62" y="24"/>
                    </a:lnTo>
                    <a:lnTo>
                      <a:pt x="62" y="24"/>
                    </a:lnTo>
                    <a:lnTo>
                      <a:pt x="64" y="26"/>
                    </a:lnTo>
                    <a:lnTo>
                      <a:pt x="64" y="28"/>
                    </a:lnTo>
                    <a:lnTo>
                      <a:pt x="66" y="28"/>
                    </a:lnTo>
                    <a:lnTo>
                      <a:pt x="66" y="28"/>
                    </a:lnTo>
                    <a:lnTo>
                      <a:pt x="68" y="28"/>
                    </a:lnTo>
                    <a:lnTo>
                      <a:pt x="68" y="28"/>
                    </a:lnTo>
                    <a:lnTo>
                      <a:pt x="68" y="28"/>
                    </a:lnTo>
                    <a:lnTo>
                      <a:pt x="70" y="26"/>
                    </a:lnTo>
                    <a:lnTo>
                      <a:pt x="72" y="24"/>
                    </a:lnTo>
                    <a:lnTo>
                      <a:pt x="72" y="24"/>
                    </a:lnTo>
                    <a:lnTo>
                      <a:pt x="72" y="24"/>
                    </a:lnTo>
                    <a:lnTo>
                      <a:pt x="76" y="24"/>
                    </a:lnTo>
                    <a:lnTo>
                      <a:pt x="78" y="24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80" y="28"/>
                    </a:lnTo>
                    <a:lnTo>
                      <a:pt x="82" y="28"/>
                    </a:lnTo>
                    <a:lnTo>
                      <a:pt x="82" y="28"/>
                    </a:lnTo>
                    <a:lnTo>
                      <a:pt x="84" y="28"/>
                    </a:lnTo>
                    <a:lnTo>
                      <a:pt x="84" y="28"/>
                    </a:lnTo>
                    <a:lnTo>
                      <a:pt x="86" y="28"/>
                    </a:lnTo>
                    <a:lnTo>
                      <a:pt x="86" y="28"/>
                    </a:lnTo>
                    <a:lnTo>
                      <a:pt x="88" y="28"/>
                    </a:lnTo>
                    <a:lnTo>
                      <a:pt x="88" y="28"/>
                    </a:lnTo>
                    <a:lnTo>
                      <a:pt x="88" y="28"/>
                    </a:lnTo>
                    <a:lnTo>
                      <a:pt x="90" y="22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94" y="12"/>
                    </a:lnTo>
                    <a:lnTo>
                      <a:pt x="96" y="8"/>
                    </a:lnTo>
                    <a:lnTo>
                      <a:pt x="98" y="4"/>
                    </a:lnTo>
                    <a:lnTo>
                      <a:pt x="98" y="0"/>
                    </a:lnTo>
                    <a:lnTo>
                      <a:pt x="98" y="0"/>
                    </a:lnTo>
                    <a:lnTo>
                      <a:pt x="98" y="0"/>
                    </a:lnTo>
                    <a:lnTo>
                      <a:pt x="98" y="0"/>
                    </a:lnTo>
                    <a:lnTo>
                      <a:pt x="98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55" name="Freeform 495"/>
              <p:cNvSpPr>
                <a:spLocks/>
              </p:cNvSpPr>
              <p:nvPr/>
            </p:nvSpPr>
            <p:spPr bwMode="auto">
              <a:xfrm>
                <a:off x="3063" y="2168"/>
                <a:ext cx="20" cy="16"/>
              </a:xfrm>
              <a:custGeom>
                <a:avLst/>
                <a:gdLst>
                  <a:gd name="T0" fmla="*/ 8 w 20"/>
                  <a:gd name="T1" fmla="*/ 6 h 16"/>
                  <a:gd name="T2" fmla="*/ 8 w 20"/>
                  <a:gd name="T3" fmla="*/ 6 h 16"/>
                  <a:gd name="T4" fmla="*/ 6 w 20"/>
                  <a:gd name="T5" fmla="*/ 4 h 16"/>
                  <a:gd name="T6" fmla="*/ 4 w 20"/>
                  <a:gd name="T7" fmla="*/ 2 h 16"/>
                  <a:gd name="T8" fmla="*/ 2 w 20"/>
                  <a:gd name="T9" fmla="*/ 0 h 16"/>
                  <a:gd name="T10" fmla="*/ 2 w 20"/>
                  <a:gd name="T11" fmla="*/ 0 h 16"/>
                  <a:gd name="T12" fmla="*/ 0 w 20"/>
                  <a:gd name="T13" fmla="*/ 0 h 16"/>
                  <a:gd name="T14" fmla="*/ 0 w 20"/>
                  <a:gd name="T15" fmla="*/ 0 h 16"/>
                  <a:gd name="T16" fmla="*/ 0 w 20"/>
                  <a:gd name="T17" fmla="*/ 0 h 16"/>
                  <a:gd name="T18" fmla="*/ 0 w 20"/>
                  <a:gd name="T19" fmla="*/ 2 h 16"/>
                  <a:gd name="T20" fmla="*/ 0 w 20"/>
                  <a:gd name="T21" fmla="*/ 4 h 16"/>
                  <a:gd name="T22" fmla="*/ 2 w 20"/>
                  <a:gd name="T23" fmla="*/ 6 h 16"/>
                  <a:gd name="T24" fmla="*/ 2 w 20"/>
                  <a:gd name="T25" fmla="*/ 8 h 16"/>
                  <a:gd name="T26" fmla="*/ 2 w 20"/>
                  <a:gd name="T27" fmla="*/ 8 h 16"/>
                  <a:gd name="T28" fmla="*/ 6 w 20"/>
                  <a:gd name="T29" fmla="*/ 10 h 16"/>
                  <a:gd name="T30" fmla="*/ 8 w 20"/>
                  <a:gd name="T31" fmla="*/ 12 h 16"/>
                  <a:gd name="T32" fmla="*/ 10 w 20"/>
                  <a:gd name="T33" fmla="*/ 12 h 16"/>
                  <a:gd name="T34" fmla="*/ 10 w 20"/>
                  <a:gd name="T35" fmla="*/ 12 h 16"/>
                  <a:gd name="T36" fmla="*/ 16 w 20"/>
                  <a:gd name="T37" fmla="*/ 16 h 16"/>
                  <a:gd name="T38" fmla="*/ 16 w 20"/>
                  <a:gd name="T39" fmla="*/ 16 h 16"/>
                  <a:gd name="T40" fmla="*/ 16 w 20"/>
                  <a:gd name="T41" fmla="*/ 16 h 16"/>
                  <a:gd name="T42" fmla="*/ 18 w 20"/>
                  <a:gd name="T43" fmla="*/ 16 h 16"/>
                  <a:gd name="T44" fmla="*/ 18 w 20"/>
                  <a:gd name="T45" fmla="*/ 16 h 16"/>
                  <a:gd name="T46" fmla="*/ 20 w 20"/>
                  <a:gd name="T47" fmla="*/ 14 h 16"/>
                  <a:gd name="T48" fmla="*/ 20 w 20"/>
                  <a:gd name="T49" fmla="*/ 14 h 16"/>
                  <a:gd name="T50" fmla="*/ 20 w 20"/>
                  <a:gd name="T51" fmla="*/ 12 h 16"/>
                  <a:gd name="T52" fmla="*/ 20 w 20"/>
                  <a:gd name="T53" fmla="*/ 12 h 16"/>
                  <a:gd name="T54" fmla="*/ 18 w 20"/>
                  <a:gd name="T55" fmla="*/ 10 h 16"/>
                  <a:gd name="T56" fmla="*/ 18 w 20"/>
                  <a:gd name="T57" fmla="*/ 10 h 16"/>
                  <a:gd name="T58" fmla="*/ 18 w 20"/>
                  <a:gd name="T59" fmla="*/ 10 h 16"/>
                  <a:gd name="T60" fmla="*/ 16 w 20"/>
                  <a:gd name="T61" fmla="*/ 8 h 16"/>
                  <a:gd name="T62" fmla="*/ 14 w 20"/>
                  <a:gd name="T63" fmla="*/ 8 h 16"/>
                  <a:gd name="T64" fmla="*/ 12 w 20"/>
                  <a:gd name="T65" fmla="*/ 8 h 16"/>
                  <a:gd name="T66" fmla="*/ 10 w 20"/>
                  <a:gd name="T67" fmla="*/ 8 h 16"/>
                  <a:gd name="T68" fmla="*/ 10 w 20"/>
                  <a:gd name="T69" fmla="*/ 6 h 16"/>
                  <a:gd name="T70" fmla="*/ 8 w 20"/>
                  <a:gd name="T71" fmla="*/ 6 h 16"/>
                  <a:gd name="T72" fmla="*/ 8 w 20"/>
                  <a:gd name="T73" fmla="*/ 6 h 16"/>
                  <a:gd name="T74" fmla="*/ 8 w 20"/>
                  <a:gd name="T75" fmla="*/ 6 h 16"/>
                  <a:gd name="T76" fmla="*/ 8 w 20"/>
                  <a:gd name="T77" fmla="*/ 6 h 16"/>
                  <a:gd name="T78" fmla="*/ 8 w 20"/>
                  <a:gd name="T79" fmla="*/ 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0" h="16">
                    <a:moveTo>
                      <a:pt x="8" y="6"/>
                    </a:moveTo>
                    <a:lnTo>
                      <a:pt x="8" y="6"/>
                    </a:lnTo>
                    <a:lnTo>
                      <a:pt x="6" y="4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6" y="10"/>
                    </a:lnTo>
                    <a:lnTo>
                      <a:pt x="8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8"/>
                    </a:lnTo>
                    <a:lnTo>
                      <a:pt x="14" y="8"/>
                    </a:lnTo>
                    <a:lnTo>
                      <a:pt x="12" y="8"/>
                    </a:lnTo>
                    <a:lnTo>
                      <a:pt x="10" y="8"/>
                    </a:lnTo>
                    <a:lnTo>
                      <a:pt x="10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56" name="Freeform 497"/>
              <p:cNvSpPr>
                <a:spLocks/>
              </p:cNvSpPr>
              <p:nvPr/>
            </p:nvSpPr>
            <p:spPr bwMode="auto">
              <a:xfrm>
                <a:off x="3069" y="2232"/>
                <a:ext cx="46" cy="16"/>
              </a:xfrm>
              <a:custGeom>
                <a:avLst/>
                <a:gdLst>
                  <a:gd name="T0" fmla="*/ 10 w 46"/>
                  <a:gd name="T1" fmla="*/ 0 h 16"/>
                  <a:gd name="T2" fmla="*/ 4 w 46"/>
                  <a:gd name="T3" fmla="*/ 0 h 16"/>
                  <a:gd name="T4" fmla="*/ 4 w 46"/>
                  <a:gd name="T5" fmla="*/ 0 h 16"/>
                  <a:gd name="T6" fmla="*/ 2 w 46"/>
                  <a:gd name="T7" fmla="*/ 4 h 16"/>
                  <a:gd name="T8" fmla="*/ 0 w 46"/>
                  <a:gd name="T9" fmla="*/ 4 h 16"/>
                  <a:gd name="T10" fmla="*/ 0 w 46"/>
                  <a:gd name="T11" fmla="*/ 6 h 16"/>
                  <a:gd name="T12" fmla="*/ 2 w 46"/>
                  <a:gd name="T13" fmla="*/ 6 h 16"/>
                  <a:gd name="T14" fmla="*/ 6 w 46"/>
                  <a:gd name="T15" fmla="*/ 6 h 16"/>
                  <a:gd name="T16" fmla="*/ 6 w 46"/>
                  <a:gd name="T17" fmla="*/ 8 h 16"/>
                  <a:gd name="T18" fmla="*/ 12 w 46"/>
                  <a:gd name="T19" fmla="*/ 10 h 16"/>
                  <a:gd name="T20" fmla="*/ 18 w 46"/>
                  <a:gd name="T21" fmla="*/ 14 h 16"/>
                  <a:gd name="T22" fmla="*/ 22 w 46"/>
                  <a:gd name="T23" fmla="*/ 14 h 16"/>
                  <a:gd name="T24" fmla="*/ 26 w 46"/>
                  <a:gd name="T25" fmla="*/ 16 h 16"/>
                  <a:gd name="T26" fmla="*/ 28 w 46"/>
                  <a:gd name="T27" fmla="*/ 14 h 16"/>
                  <a:gd name="T28" fmla="*/ 32 w 46"/>
                  <a:gd name="T29" fmla="*/ 12 h 16"/>
                  <a:gd name="T30" fmla="*/ 38 w 46"/>
                  <a:gd name="T31" fmla="*/ 12 h 16"/>
                  <a:gd name="T32" fmla="*/ 42 w 46"/>
                  <a:gd name="T33" fmla="*/ 12 h 16"/>
                  <a:gd name="T34" fmla="*/ 44 w 46"/>
                  <a:gd name="T35" fmla="*/ 10 h 16"/>
                  <a:gd name="T36" fmla="*/ 46 w 46"/>
                  <a:gd name="T37" fmla="*/ 8 h 16"/>
                  <a:gd name="T38" fmla="*/ 46 w 46"/>
                  <a:gd name="T39" fmla="*/ 6 h 16"/>
                  <a:gd name="T40" fmla="*/ 46 w 46"/>
                  <a:gd name="T41" fmla="*/ 4 h 16"/>
                  <a:gd name="T42" fmla="*/ 42 w 46"/>
                  <a:gd name="T43" fmla="*/ 2 h 16"/>
                  <a:gd name="T44" fmla="*/ 40 w 46"/>
                  <a:gd name="T45" fmla="*/ 2 h 16"/>
                  <a:gd name="T46" fmla="*/ 36 w 46"/>
                  <a:gd name="T47" fmla="*/ 2 h 16"/>
                  <a:gd name="T48" fmla="*/ 34 w 46"/>
                  <a:gd name="T49" fmla="*/ 2 h 16"/>
                  <a:gd name="T50" fmla="*/ 32 w 46"/>
                  <a:gd name="T51" fmla="*/ 6 h 16"/>
                  <a:gd name="T52" fmla="*/ 32 w 46"/>
                  <a:gd name="T53" fmla="*/ 6 h 16"/>
                  <a:gd name="T54" fmla="*/ 30 w 46"/>
                  <a:gd name="T55" fmla="*/ 6 h 16"/>
                  <a:gd name="T56" fmla="*/ 24 w 46"/>
                  <a:gd name="T57" fmla="*/ 6 h 16"/>
                  <a:gd name="T58" fmla="*/ 14 w 46"/>
                  <a:gd name="T59" fmla="*/ 2 h 16"/>
                  <a:gd name="T60" fmla="*/ 10 w 46"/>
                  <a:gd name="T61" fmla="*/ 0 h 16"/>
                  <a:gd name="T62" fmla="*/ 10 w 46"/>
                  <a:gd name="T63" fmla="*/ 0 h 16"/>
                  <a:gd name="T64" fmla="*/ 10 w 46"/>
                  <a:gd name="T65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6" h="16">
                    <a:moveTo>
                      <a:pt x="10" y="0"/>
                    </a:moveTo>
                    <a:lnTo>
                      <a:pt x="10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10" y="8"/>
                    </a:lnTo>
                    <a:lnTo>
                      <a:pt x="12" y="10"/>
                    </a:lnTo>
                    <a:lnTo>
                      <a:pt x="14" y="12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22" y="14"/>
                    </a:lnTo>
                    <a:lnTo>
                      <a:pt x="24" y="16"/>
                    </a:lnTo>
                    <a:lnTo>
                      <a:pt x="26" y="16"/>
                    </a:lnTo>
                    <a:lnTo>
                      <a:pt x="28" y="14"/>
                    </a:lnTo>
                    <a:lnTo>
                      <a:pt x="28" y="14"/>
                    </a:lnTo>
                    <a:lnTo>
                      <a:pt x="30" y="14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6" y="8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4"/>
                    </a:lnTo>
                    <a:lnTo>
                      <a:pt x="44" y="4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0" y="2"/>
                    </a:lnTo>
                    <a:lnTo>
                      <a:pt x="38" y="2"/>
                    </a:lnTo>
                    <a:lnTo>
                      <a:pt x="36" y="2"/>
                    </a:lnTo>
                    <a:lnTo>
                      <a:pt x="36" y="2"/>
                    </a:lnTo>
                    <a:lnTo>
                      <a:pt x="34" y="2"/>
                    </a:lnTo>
                    <a:lnTo>
                      <a:pt x="34" y="4"/>
                    </a:lnTo>
                    <a:lnTo>
                      <a:pt x="32" y="6"/>
                    </a:lnTo>
                    <a:lnTo>
                      <a:pt x="32" y="6"/>
                    </a:lnTo>
                    <a:lnTo>
                      <a:pt x="32" y="6"/>
                    </a:lnTo>
                    <a:lnTo>
                      <a:pt x="32" y="6"/>
                    </a:lnTo>
                    <a:lnTo>
                      <a:pt x="30" y="6"/>
                    </a:lnTo>
                    <a:lnTo>
                      <a:pt x="28" y="6"/>
                    </a:lnTo>
                    <a:lnTo>
                      <a:pt x="24" y="6"/>
                    </a:lnTo>
                    <a:lnTo>
                      <a:pt x="22" y="4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57" name="Freeform 500"/>
              <p:cNvSpPr>
                <a:spLocks/>
              </p:cNvSpPr>
              <p:nvPr/>
            </p:nvSpPr>
            <p:spPr bwMode="auto">
              <a:xfrm>
                <a:off x="3089" y="2154"/>
                <a:ext cx="6" cy="2"/>
              </a:xfrm>
              <a:custGeom>
                <a:avLst/>
                <a:gdLst>
                  <a:gd name="T0" fmla="*/ 2 w 6"/>
                  <a:gd name="T1" fmla="*/ 2 h 2"/>
                  <a:gd name="T2" fmla="*/ 2 w 6"/>
                  <a:gd name="T3" fmla="*/ 2 h 2"/>
                  <a:gd name="T4" fmla="*/ 2 w 6"/>
                  <a:gd name="T5" fmla="*/ 2 h 2"/>
                  <a:gd name="T6" fmla="*/ 4 w 6"/>
                  <a:gd name="T7" fmla="*/ 2 h 2"/>
                  <a:gd name="T8" fmla="*/ 4 w 6"/>
                  <a:gd name="T9" fmla="*/ 2 h 2"/>
                  <a:gd name="T10" fmla="*/ 4 w 6"/>
                  <a:gd name="T11" fmla="*/ 2 h 2"/>
                  <a:gd name="T12" fmla="*/ 6 w 6"/>
                  <a:gd name="T13" fmla="*/ 2 h 2"/>
                  <a:gd name="T14" fmla="*/ 4 w 6"/>
                  <a:gd name="T15" fmla="*/ 0 h 2"/>
                  <a:gd name="T16" fmla="*/ 4 w 6"/>
                  <a:gd name="T17" fmla="*/ 0 h 2"/>
                  <a:gd name="T18" fmla="*/ 4 w 6"/>
                  <a:gd name="T19" fmla="*/ 0 h 2"/>
                  <a:gd name="T20" fmla="*/ 4 w 6"/>
                  <a:gd name="T21" fmla="*/ 0 h 2"/>
                  <a:gd name="T22" fmla="*/ 2 w 6"/>
                  <a:gd name="T23" fmla="*/ 0 h 2"/>
                  <a:gd name="T24" fmla="*/ 2 w 6"/>
                  <a:gd name="T25" fmla="*/ 0 h 2"/>
                  <a:gd name="T26" fmla="*/ 2 w 6"/>
                  <a:gd name="T27" fmla="*/ 0 h 2"/>
                  <a:gd name="T28" fmla="*/ 0 w 6"/>
                  <a:gd name="T29" fmla="*/ 2 h 2"/>
                  <a:gd name="T30" fmla="*/ 0 w 6"/>
                  <a:gd name="T31" fmla="*/ 2 h 2"/>
                  <a:gd name="T32" fmla="*/ 0 w 6"/>
                  <a:gd name="T33" fmla="*/ 2 h 2"/>
                  <a:gd name="T34" fmla="*/ 2 w 6"/>
                  <a:gd name="T35" fmla="*/ 2 h 2"/>
                  <a:gd name="T36" fmla="*/ 2 w 6"/>
                  <a:gd name="T37" fmla="*/ 2 h 2"/>
                  <a:gd name="T38" fmla="*/ 2 w 6"/>
                  <a:gd name="T39" fmla="*/ 2 h 2"/>
                  <a:gd name="T40" fmla="*/ 2 w 6"/>
                  <a:gd name="T41" fmla="*/ 2 h 2"/>
                  <a:gd name="T42" fmla="*/ 2 w 6"/>
                  <a:gd name="T4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" h="2">
                    <a:moveTo>
                      <a:pt x="2" y="2"/>
                    </a:moveTo>
                    <a:lnTo>
                      <a:pt x="2" y="2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58" name="Freeform 501"/>
              <p:cNvSpPr>
                <a:spLocks/>
              </p:cNvSpPr>
              <p:nvPr/>
            </p:nvSpPr>
            <p:spPr bwMode="auto">
              <a:xfrm>
                <a:off x="3203" y="2228"/>
                <a:ext cx="22" cy="18"/>
              </a:xfrm>
              <a:custGeom>
                <a:avLst/>
                <a:gdLst>
                  <a:gd name="T0" fmla="*/ 18 w 22"/>
                  <a:gd name="T1" fmla="*/ 6 h 18"/>
                  <a:gd name="T2" fmla="*/ 18 w 22"/>
                  <a:gd name="T3" fmla="*/ 6 h 18"/>
                  <a:gd name="T4" fmla="*/ 18 w 22"/>
                  <a:gd name="T5" fmla="*/ 4 h 18"/>
                  <a:gd name="T6" fmla="*/ 18 w 22"/>
                  <a:gd name="T7" fmla="*/ 4 h 18"/>
                  <a:gd name="T8" fmla="*/ 16 w 22"/>
                  <a:gd name="T9" fmla="*/ 2 h 18"/>
                  <a:gd name="T10" fmla="*/ 16 w 22"/>
                  <a:gd name="T11" fmla="*/ 2 h 18"/>
                  <a:gd name="T12" fmla="*/ 16 w 22"/>
                  <a:gd name="T13" fmla="*/ 0 h 18"/>
                  <a:gd name="T14" fmla="*/ 14 w 22"/>
                  <a:gd name="T15" fmla="*/ 0 h 18"/>
                  <a:gd name="T16" fmla="*/ 14 w 22"/>
                  <a:gd name="T17" fmla="*/ 0 h 18"/>
                  <a:gd name="T18" fmla="*/ 12 w 22"/>
                  <a:gd name="T19" fmla="*/ 0 h 18"/>
                  <a:gd name="T20" fmla="*/ 12 w 22"/>
                  <a:gd name="T21" fmla="*/ 0 h 18"/>
                  <a:gd name="T22" fmla="*/ 12 w 22"/>
                  <a:gd name="T23" fmla="*/ 0 h 18"/>
                  <a:gd name="T24" fmla="*/ 6 w 22"/>
                  <a:gd name="T25" fmla="*/ 2 h 18"/>
                  <a:gd name="T26" fmla="*/ 6 w 22"/>
                  <a:gd name="T27" fmla="*/ 2 h 18"/>
                  <a:gd name="T28" fmla="*/ 4 w 22"/>
                  <a:gd name="T29" fmla="*/ 4 h 18"/>
                  <a:gd name="T30" fmla="*/ 4 w 22"/>
                  <a:gd name="T31" fmla="*/ 4 h 18"/>
                  <a:gd name="T32" fmla="*/ 2 w 22"/>
                  <a:gd name="T33" fmla="*/ 4 h 18"/>
                  <a:gd name="T34" fmla="*/ 0 w 22"/>
                  <a:gd name="T35" fmla="*/ 4 h 18"/>
                  <a:gd name="T36" fmla="*/ 0 w 22"/>
                  <a:gd name="T37" fmla="*/ 4 h 18"/>
                  <a:gd name="T38" fmla="*/ 0 w 22"/>
                  <a:gd name="T39" fmla="*/ 6 h 18"/>
                  <a:gd name="T40" fmla="*/ 0 w 22"/>
                  <a:gd name="T41" fmla="*/ 8 h 18"/>
                  <a:gd name="T42" fmla="*/ 0 w 22"/>
                  <a:gd name="T43" fmla="*/ 10 h 18"/>
                  <a:gd name="T44" fmla="*/ 0 w 22"/>
                  <a:gd name="T45" fmla="*/ 14 h 18"/>
                  <a:gd name="T46" fmla="*/ 0 w 22"/>
                  <a:gd name="T47" fmla="*/ 16 h 18"/>
                  <a:gd name="T48" fmla="*/ 0 w 22"/>
                  <a:gd name="T49" fmla="*/ 16 h 18"/>
                  <a:gd name="T50" fmla="*/ 2 w 22"/>
                  <a:gd name="T51" fmla="*/ 18 h 18"/>
                  <a:gd name="T52" fmla="*/ 4 w 22"/>
                  <a:gd name="T53" fmla="*/ 18 h 18"/>
                  <a:gd name="T54" fmla="*/ 6 w 22"/>
                  <a:gd name="T55" fmla="*/ 18 h 18"/>
                  <a:gd name="T56" fmla="*/ 6 w 22"/>
                  <a:gd name="T57" fmla="*/ 18 h 18"/>
                  <a:gd name="T58" fmla="*/ 10 w 22"/>
                  <a:gd name="T59" fmla="*/ 18 h 18"/>
                  <a:gd name="T60" fmla="*/ 14 w 22"/>
                  <a:gd name="T61" fmla="*/ 18 h 18"/>
                  <a:gd name="T62" fmla="*/ 14 w 22"/>
                  <a:gd name="T63" fmla="*/ 18 h 18"/>
                  <a:gd name="T64" fmla="*/ 14 w 22"/>
                  <a:gd name="T65" fmla="*/ 16 h 18"/>
                  <a:gd name="T66" fmla="*/ 16 w 22"/>
                  <a:gd name="T67" fmla="*/ 16 h 18"/>
                  <a:gd name="T68" fmla="*/ 16 w 22"/>
                  <a:gd name="T69" fmla="*/ 14 h 18"/>
                  <a:gd name="T70" fmla="*/ 18 w 22"/>
                  <a:gd name="T71" fmla="*/ 12 h 18"/>
                  <a:gd name="T72" fmla="*/ 20 w 22"/>
                  <a:gd name="T73" fmla="*/ 10 h 18"/>
                  <a:gd name="T74" fmla="*/ 20 w 22"/>
                  <a:gd name="T75" fmla="*/ 10 h 18"/>
                  <a:gd name="T76" fmla="*/ 20 w 22"/>
                  <a:gd name="T77" fmla="*/ 10 h 18"/>
                  <a:gd name="T78" fmla="*/ 22 w 22"/>
                  <a:gd name="T79" fmla="*/ 10 h 18"/>
                  <a:gd name="T80" fmla="*/ 22 w 22"/>
                  <a:gd name="T81" fmla="*/ 10 h 18"/>
                  <a:gd name="T82" fmla="*/ 20 w 22"/>
                  <a:gd name="T83" fmla="*/ 8 h 18"/>
                  <a:gd name="T84" fmla="*/ 18 w 22"/>
                  <a:gd name="T85" fmla="*/ 6 h 18"/>
                  <a:gd name="T86" fmla="*/ 18 w 22"/>
                  <a:gd name="T87" fmla="*/ 6 h 18"/>
                  <a:gd name="T88" fmla="*/ 18 w 22"/>
                  <a:gd name="T89" fmla="*/ 6 h 18"/>
                  <a:gd name="T90" fmla="*/ 18 w 22"/>
                  <a:gd name="T91" fmla="*/ 6 h 18"/>
                  <a:gd name="T92" fmla="*/ 18 w 22"/>
                  <a:gd name="T93" fmla="*/ 6 h 18"/>
                  <a:gd name="T94" fmla="*/ 18 w 22"/>
                  <a:gd name="T95" fmla="*/ 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" h="18">
                    <a:moveTo>
                      <a:pt x="18" y="6"/>
                    </a:moveTo>
                    <a:lnTo>
                      <a:pt x="18" y="6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2" y="18"/>
                    </a:lnTo>
                    <a:lnTo>
                      <a:pt x="4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6"/>
                    </a:lnTo>
                    <a:lnTo>
                      <a:pt x="16" y="16"/>
                    </a:lnTo>
                    <a:lnTo>
                      <a:pt x="16" y="14"/>
                    </a:lnTo>
                    <a:lnTo>
                      <a:pt x="18" y="12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0" y="8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59" name="Freeform 503"/>
              <p:cNvSpPr>
                <a:spLocks/>
              </p:cNvSpPr>
              <p:nvPr/>
            </p:nvSpPr>
            <p:spPr bwMode="auto">
              <a:xfrm>
                <a:off x="3961" y="1802"/>
                <a:ext cx="466" cy="218"/>
              </a:xfrm>
              <a:custGeom>
                <a:avLst/>
                <a:gdLst>
                  <a:gd name="T0" fmla="*/ 38 w 466"/>
                  <a:gd name="T1" fmla="*/ 116 h 218"/>
                  <a:gd name="T2" fmla="*/ 56 w 466"/>
                  <a:gd name="T3" fmla="*/ 128 h 218"/>
                  <a:gd name="T4" fmla="*/ 62 w 466"/>
                  <a:gd name="T5" fmla="*/ 152 h 218"/>
                  <a:gd name="T6" fmla="*/ 70 w 466"/>
                  <a:gd name="T7" fmla="*/ 168 h 218"/>
                  <a:gd name="T8" fmla="*/ 116 w 466"/>
                  <a:gd name="T9" fmla="*/ 182 h 218"/>
                  <a:gd name="T10" fmla="*/ 142 w 466"/>
                  <a:gd name="T11" fmla="*/ 188 h 218"/>
                  <a:gd name="T12" fmla="*/ 156 w 466"/>
                  <a:gd name="T13" fmla="*/ 208 h 218"/>
                  <a:gd name="T14" fmla="*/ 200 w 466"/>
                  <a:gd name="T15" fmla="*/ 214 h 218"/>
                  <a:gd name="T16" fmla="*/ 230 w 466"/>
                  <a:gd name="T17" fmla="*/ 208 h 218"/>
                  <a:gd name="T18" fmla="*/ 274 w 466"/>
                  <a:gd name="T19" fmla="*/ 218 h 218"/>
                  <a:gd name="T20" fmla="*/ 314 w 466"/>
                  <a:gd name="T21" fmla="*/ 204 h 218"/>
                  <a:gd name="T22" fmla="*/ 352 w 466"/>
                  <a:gd name="T23" fmla="*/ 192 h 218"/>
                  <a:gd name="T24" fmla="*/ 366 w 466"/>
                  <a:gd name="T25" fmla="*/ 176 h 218"/>
                  <a:gd name="T26" fmla="*/ 376 w 466"/>
                  <a:gd name="T27" fmla="*/ 156 h 218"/>
                  <a:gd name="T28" fmla="*/ 376 w 466"/>
                  <a:gd name="T29" fmla="*/ 138 h 218"/>
                  <a:gd name="T30" fmla="*/ 392 w 466"/>
                  <a:gd name="T31" fmla="*/ 142 h 218"/>
                  <a:gd name="T32" fmla="*/ 406 w 466"/>
                  <a:gd name="T33" fmla="*/ 130 h 218"/>
                  <a:gd name="T34" fmla="*/ 414 w 466"/>
                  <a:gd name="T35" fmla="*/ 118 h 218"/>
                  <a:gd name="T36" fmla="*/ 428 w 466"/>
                  <a:gd name="T37" fmla="*/ 116 h 218"/>
                  <a:gd name="T38" fmla="*/ 428 w 466"/>
                  <a:gd name="T39" fmla="*/ 96 h 218"/>
                  <a:gd name="T40" fmla="*/ 442 w 466"/>
                  <a:gd name="T41" fmla="*/ 92 h 218"/>
                  <a:gd name="T42" fmla="*/ 442 w 466"/>
                  <a:gd name="T43" fmla="*/ 80 h 218"/>
                  <a:gd name="T44" fmla="*/ 462 w 466"/>
                  <a:gd name="T45" fmla="*/ 82 h 218"/>
                  <a:gd name="T46" fmla="*/ 464 w 466"/>
                  <a:gd name="T47" fmla="*/ 70 h 218"/>
                  <a:gd name="T48" fmla="*/ 444 w 466"/>
                  <a:gd name="T49" fmla="*/ 54 h 218"/>
                  <a:gd name="T50" fmla="*/ 424 w 466"/>
                  <a:gd name="T51" fmla="*/ 58 h 218"/>
                  <a:gd name="T52" fmla="*/ 406 w 466"/>
                  <a:gd name="T53" fmla="*/ 62 h 218"/>
                  <a:gd name="T54" fmla="*/ 398 w 466"/>
                  <a:gd name="T55" fmla="*/ 64 h 218"/>
                  <a:gd name="T56" fmla="*/ 394 w 466"/>
                  <a:gd name="T57" fmla="*/ 50 h 218"/>
                  <a:gd name="T58" fmla="*/ 400 w 466"/>
                  <a:gd name="T59" fmla="*/ 18 h 218"/>
                  <a:gd name="T60" fmla="*/ 390 w 466"/>
                  <a:gd name="T61" fmla="*/ 10 h 218"/>
                  <a:gd name="T62" fmla="*/ 376 w 466"/>
                  <a:gd name="T63" fmla="*/ 14 h 218"/>
                  <a:gd name="T64" fmla="*/ 368 w 466"/>
                  <a:gd name="T65" fmla="*/ 8 h 218"/>
                  <a:gd name="T66" fmla="*/ 352 w 466"/>
                  <a:gd name="T67" fmla="*/ 16 h 218"/>
                  <a:gd name="T68" fmla="*/ 352 w 466"/>
                  <a:gd name="T69" fmla="*/ 26 h 218"/>
                  <a:gd name="T70" fmla="*/ 322 w 466"/>
                  <a:gd name="T71" fmla="*/ 34 h 218"/>
                  <a:gd name="T72" fmla="*/ 308 w 466"/>
                  <a:gd name="T73" fmla="*/ 42 h 218"/>
                  <a:gd name="T74" fmla="*/ 282 w 466"/>
                  <a:gd name="T75" fmla="*/ 42 h 218"/>
                  <a:gd name="T76" fmla="*/ 268 w 466"/>
                  <a:gd name="T77" fmla="*/ 34 h 218"/>
                  <a:gd name="T78" fmla="*/ 244 w 466"/>
                  <a:gd name="T79" fmla="*/ 30 h 218"/>
                  <a:gd name="T80" fmla="*/ 224 w 466"/>
                  <a:gd name="T81" fmla="*/ 34 h 218"/>
                  <a:gd name="T82" fmla="*/ 210 w 466"/>
                  <a:gd name="T83" fmla="*/ 40 h 218"/>
                  <a:gd name="T84" fmla="*/ 194 w 466"/>
                  <a:gd name="T85" fmla="*/ 32 h 218"/>
                  <a:gd name="T86" fmla="*/ 186 w 466"/>
                  <a:gd name="T87" fmla="*/ 20 h 218"/>
                  <a:gd name="T88" fmla="*/ 156 w 466"/>
                  <a:gd name="T89" fmla="*/ 6 h 218"/>
                  <a:gd name="T90" fmla="*/ 134 w 466"/>
                  <a:gd name="T91" fmla="*/ 0 h 218"/>
                  <a:gd name="T92" fmla="*/ 126 w 466"/>
                  <a:gd name="T93" fmla="*/ 12 h 218"/>
                  <a:gd name="T94" fmla="*/ 118 w 466"/>
                  <a:gd name="T95" fmla="*/ 22 h 218"/>
                  <a:gd name="T96" fmla="*/ 134 w 466"/>
                  <a:gd name="T97" fmla="*/ 38 h 218"/>
                  <a:gd name="T98" fmla="*/ 134 w 466"/>
                  <a:gd name="T99" fmla="*/ 52 h 218"/>
                  <a:gd name="T100" fmla="*/ 108 w 466"/>
                  <a:gd name="T101" fmla="*/ 58 h 218"/>
                  <a:gd name="T102" fmla="*/ 88 w 466"/>
                  <a:gd name="T103" fmla="*/ 52 h 218"/>
                  <a:gd name="T104" fmla="*/ 70 w 466"/>
                  <a:gd name="T105" fmla="*/ 46 h 218"/>
                  <a:gd name="T106" fmla="*/ 44 w 466"/>
                  <a:gd name="T107" fmla="*/ 46 h 218"/>
                  <a:gd name="T108" fmla="*/ 30 w 466"/>
                  <a:gd name="T109" fmla="*/ 60 h 218"/>
                  <a:gd name="T110" fmla="*/ 20 w 466"/>
                  <a:gd name="T111" fmla="*/ 66 h 218"/>
                  <a:gd name="T112" fmla="*/ 14 w 466"/>
                  <a:gd name="T113" fmla="*/ 76 h 218"/>
                  <a:gd name="T114" fmla="*/ 6 w 466"/>
                  <a:gd name="T115" fmla="*/ 82 h 218"/>
                  <a:gd name="T116" fmla="*/ 4 w 466"/>
                  <a:gd name="T117" fmla="*/ 98 h 218"/>
                  <a:gd name="T118" fmla="*/ 20 w 466"/>
                  <a:gd name="T119" fmla="*/ 112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466" h="218">
                    <a:moveTo>
                      <a:pt x="20" y="112"/>
                    </a:moveTo>
                    <a:lnTo>
                      <a:pt x="20" y="112"/>
                    </a:lnTo>
                    <a:lnTo>
                      <a:pt x="26" y="112"/>
                    </a:lnTo>
                    <a:lnTo>
                      <a:pt x="30" y="112"/>
                    </a:lnTo>
                    <a:lnTo>
                      <a:pt x="32" y="114"/>
                    </a:lnTo>
                    <a:lnTo>
                      <a:pt x="34" y="114"/>
                    </a:lnTo>
                    <a:lnTo>
                      <a:pt x="36" y="116"/>
                    </a:lnTo>
                    <a:lnTo>
                      <a:pt x="38" y="116"/>
                    </a:lnTo>
                    <a:lnTo>
                      <a:pt x="38" y="116"/>
                    </a:lnTo>
                    <a:lnTo>
                      <a:pt x="40" y="118"/>
                    </a:lnTo>
                    <a:lnTo>
                      <a:pt x="42" y="120"/>
                    </a:lnTo>
                    <a:lnTo>
                      <a:pt x="46" y="122"/>
                    </a:lnTo>
                    <a:lnTo>
                      <a:pt x="50" y="122"/>
                    </a:lnTo>
                    <a:lnTo>
                      <a:pt x="52" y="124"/>
                    </a:lnTo>
                    <a:lnTo>
                      <a:pt x="54" y="124"/>
                    </a:lnTo>
                    <a:lnTo>
                      <a:pt x="54" y="124"/>
                    </a:lnTo>
                    <a:lnTo>
                      <a:pt x="56" y="126"/>
                    </a:lnTo>
                    <a:lnTo>
                      <a:pt x="56" y="128"/>
                    </a:lnTo>
                    <a:lnTo>
                      <a:pt x="56" y="128"/>
                    </a:lnTo>
                    <a:lnTo>
                      <a:pt x="58" y="130"/>
                    </a:lnTo>
                    <a:lnTo>
                      <a:pt x="58" y="134"/>
                    </a:lnTo>
                    <a:lnTo>
                      <a:pt x="58" y="138"/>
                    </a:lnTo>
                    <a:lnTo>
                      <a:pt x="58" y="138"/>
                    </a:lnTo>
                    <a:lnTo>
                      <a:pt x="60" y="140"/>
                    </a:lnTo>
                    <a:lnTo>
                      <a:pt x="60" y="144"/>
                    </a:lnTo>
                    <a:lnTo>
                      <a:pt x="62" y="148"/>
                    </a:lnTo>
                    <a:lnTo>
                      <a:pt x="62" y="152"/>
                    </a:lnTo>
                    <a:lnTo>
                      <a:pt x="62" y="152"/>
                    </a:lnTo>
                    <a:lnTo>
                      <a:pt x="64" y="156"/>
                    </a:lnTo>
                    <a:lnTo>
                      <a:pt x="64" y="158"/>
                    </a:lnTo>
                    <a:lnTo>
                      <a:pt x="64" y="160"/>
                    </a:lnTo>
                    <a:lnTo>
                      <a:pt x="64" y="160"/>
                    </a:lnTo>
                    <a:lnTo>
                      <a:pt x="64" y="164"/>
                    </a:lnTo>
                    <a:lnTo>
                      <a:pt x="66" y="164"/>
                    </a:lnTo>
                    <a:lnTo>
                      <a:pt x="68" y="166"/>
                    </a:lnTo>
                    <a:lnTo>
                      <a:pt x="70" y="168"/>
                    </a:lnTo>
                    <a:lnTo>
                      <a:pt x="74" y="170"/>
                    </a:lnTo>
                    <a:lnTo>
                      <a:pt x="76" y="170"/>
                    </a:lnTo>
                    <a:lnTo>
                      <a:pt x="76" y="170"/>
                    </a:lnTo>
                    <a:lnTo>
                      <a:pt x="88" y="174"/>
                    </a:lnTo>
                    <a:lnTo>
                      <a:pt x="98" y="178"/>
                    </a:lnTo>
                    <a:lnTo>
                      <a:pt x="102" y="180"/>
                    </a:lnTo>
                    <a:lnTo>
                      <a:pt x="106" y="180"/>
                    </a:lnTo>
                    <a:lnTo>
                      <a:pt x="112" y="182"/>
                    </a:lnTo>
                    <a:lnTo>
                      <a:pt x="116" y="182"/>
                    </a:lnTo>
                    <a:lnTo>
                      <a:pt x="116" y="182"/>
                    </a:lnTo>
                    <a:lnTo>
                      <a:pt x="126" y="182"/>
                    </a:lnTo>
                    <a:lnTo>
                      <a:pt x="132" y="182"/>
                    </a:lnTo>
                    <a:lnTo>
                      <a:pt x="134" y="184"/>
                    </a:lnTo>
                    <a:lnTo>
                      <a:pt x="136" y="184"/>
                    </a:lnTo>
                    <a:lnTo>
                      <a:pt x="136" y="184"/>
                    </a:lnTo>
                    <a:lnTo>
                      <a:pt x="138" y="186"/>
                    </a:lnTo>
                    <a:lnTo>
                      <a:pt x="140" y="188"/>
                    </a:lnTo>
                    <a:lnTo>
                      <a:pt x="142" y="188"/>
                    </a:lnTo>
                    <a:lnTo>
                      <a:pt x="144" y="190"/>
                    </a:lnTo>
                    <a:lnTo>
                      <a:pt x="144" y="196"/>
                    </a:lnTo>
                    <a:lnTo>
                      <a:pt x="146" y="200"/>
                    </a:lnTo>
                    <a:lnTo>
                      <a:pt x="146" y="200"/>
                    </a:lnTo>
                    <a:lnTo>
                      <a:pt x="148" y="202"/>
                    </a:lnTo>
                    <a:lnTo>
                      <a:pt x="148" y="204"/>
                    </a:lnTo>
                    <a:lnTo>
                      <a:pt x="150" y="206"/>
                    </a:lnTo>
                    <a:lnTo>
                      <a:pt x="152" y="206"/>
                    </a:lnTo>
                    <a:lnTo>
                      <a:pt x="156" y="208"/>
                    </a:lnTo>
                    <a:lnTo>
                      <a:pt x="160" y="210"/>
                    </a:lnTo>
                    <a:lnTo>
                      <a:pt x="160" y="210"/>
                    </a:lnTo>
                    <a:lnTo>
                      <a:pt x="170" y="212"/>
                    </a:lnTo>
                    <a:lnTo>
                      <a:pt x="180" y="214"/>
                    </a:lnTo>
                    <a:lnTo>
                      <a:pt x="180" y="214"/>
                    </a:lnTo>
                    <a:lnTo>
                      <a:pt x="184" y="216"/>
                    </a:lnTo>
                    <a:lnTo>
                      <a:pt x="190" y="216"/>
                    </a:lnTo>
                    <a:lnTo>
                      <a:pt x="196" y="216"/>
                    </a:lnTo>
                    <a:lnTo>
                      <a:pt x="200" y="214"/>
                    </a:lnTo>
                    <a:lnTo>
                      <a:pt x="200" y="214"/>
                    </a:lnTo>
                    <a:lnTo>
                      <a:pt x="206" y="212"/>
                    </a:lnTo>
                    <a:lnTo>
                      <a:pt x="210" y="212"/>
                    </a:lnTo>
                    <a:lnTo>
                      <a:pt x="214" y="210"/>
                    </a:lnTo>
                    <a:lnTo>
                      <a:pt x="220" y="208"/>
                    </a:lnTo>
                    <a:lnTo>
                      <a:pt x="220" y="208"/>
                    </a:lnTo>
                    <a:lnTo>
                      <a:pt x="222" y="208"/>
                    </a:lnTo>
                    <a:lnTo>
                      <a:pt x="224" y="208"/>
                    </a:lnTo>
                    <a:lnTo>
                      <a:pt x="230" y="208"/>
                    </a:lnTo>
                    <a:lnTo>
                      <a:pt x="234" y="208"/>
                    </a:lnTo>
                    <a:lnTo>
                      <a:pt x="240" y="210"/>
                    </a:lnTo>
                    <a:lnTo>
                      <a:pt x="250" y="214"/>
                    </a:lnTo>
                    <a:lnTo>
                      <a:pt x="254" y="216"/>
                    </a:lnTo>
                    <a:lnTo>
                      <a:pt x="260" y="216"/>
                    </a:lnTo>
                    <a:lnTo>
                      <a:pt x="260" y="216"/>
                    </a:lnTo>
                    <a:lnTo>
                      <a:pt x="264" y="218"/>
                    </a:lnTo>
                    <a:lnTo>
                      <a:pt x="268" y="218"/>
                    </a:lnTo>
                    <a:lnTo>
                      <a:pt x="274" y="218"/>
                    </a:lnTo>
                    <a:lnTo>
                      <a:pt x="280" y="218"/>
                    </a:lnTo>
                    <a:lnTo>
                      <a:pt x="284" y="218"/>
                    </a:lnTo>
                    <a:lnTo>
                      <a:pt x="290" y="218"/>
                    </a:lnTo>
                    <a:lnTo>
                      <a:pt x="294" y="216"/>
                    </a:lnTo>
                    <a:lnTo>
                      <a:pt x="298" y="214"/>
                    </a:lnTo>
                    <a:lnTo>
                      <a:pt x="298" y="214"/>
                    </a:lnTo>
                    <a:lnTo>
                      <a:pt x="306" y="210"/>
                    </a:lnTo>
                    <a:lnTo>
                      <a:pt x="310" y="206"/>
                    </a:lnTo>
                    <a:lnTo>
                      <a:pt x="314" y="204"/>
                    </a:lnTo>
                    <a:lnTo>
                      <a:pt x="314" y="204"/>
                    </a:lnTo>
                    <a:lnTo>
                      <a:pt x="326" y="200"/>
                    </a:lnTo>
                    <a:lnTo>
                      <a:pt x="330" y="198"/>
                    </a:lnTo>
                    <a:lnTo>
                      <a:pt x="336" y="196"/>
                    </a:lnTo>
                    <a:lnTo>
                      <a:pt x="336" y="196"/>
                    </a:lnTo>
                    <a:lnTo>
                      <a:pt x="340" y="196"/>
                    </a:lnTo>
                    <a:lnTo>
                      <a:pt x="344" y="196"/>
                    </a:lnTo>
                    <a:lnTo>
                      <a:pt x="348" y="194"/>
                    </a:lnTo>
                    <a:lnTo>
                      <a:pt x="352" y="192"/>
                    </a:lnTo>
                    <a:lnTo>
                      <a:pt x="354" y="192"/>
                    </a:lnTo>
                    <a:lnTo>
                      <a:pt x="354" y="192"/>
                    </a:lnTo>
                    <a:lnTo>
                      <a:pt x="356" y="190"/>
                    </a:lnTo>
                    <a:lnTo>
                      <a:pt x="356" y="188"/>
                    </a:lnTo>
                    <a:lnTo>
                      <a:pt x="360" y="184"/>
                    </a:lnTo>
                    <a:lnTo>
                      <a:pt x="364" y="180"/>
                    </a:lnTo>
                    <a:lnTo>
                      <a:pt x="366" y="178"/>
                    </a:lnTo>
                    <a:lnTo>
                      <a:pt x="366" y="176"/>
                    </a:lnTo>
                    <a:lnTo>
                      <a:pt x="366" y="176"/>
                    </a:lnTo>
                    <a:lnTo>
                      <a:pt x="370" y="172"/>
                    </a:lnTo>
                    <a:lnTo>
                      <a:pt x="372" y="172"/>
                    </a:lnTo>
                    <a:lnTo>
                      <a:pt x="374" y="170"/>
                    </a:lnTo>
                    <a:lnTo>
                      <a:pt x="374" y="168"/>
                    </a:lnTo>
                    <a:lnTo>
                      <a:pt x="376" y="166"/>
                    </a:lnTo>
                    <a:lnTo>
                      <a:pt x="376" y="164"/>
                    </a:lnTo>
                    <a:lnTo>
                      <a:pt x="376" y="160"/>
                    </a:lnTo>
                    <a:lnTo>
                      <a:pt x="376" y="160"/>
                    </a:lnTo>
                    <a:lnTo>
                      <a:pt x="376" y="156"/>
                    </a:lnTo>
                    <a:lnTo>
                      <a:pt x="374" y="150"/>
                    </a:lnTo>
                    <a:lnTo>
                      <a:pt x="374" y="148"/>
                    </a:lnTo>
                    <a:lnTo>
                      <a:pt x="374" y="146"/>
                    </a:lnTo>
                    <a:lnTo>
                      <a:pt x="374" y="142"/>
                    </a:lnTo>
                    <a:lnTo>
                      <a:pt x="374" y="140"/>
                    </a:lnTo>
                    <a:lnTo>
                      <a:pt x="374" y="140"/>
                    </a:lnTo>
                    <a:lnTo>
                      <a:pt x="374" y="138"/>
                    </a:lnTo>
                    <a:lnTo>
                      <a:pt x="376" y="138"/>
                    </a:lnTo>
                    <a:lnTo>
                      <a:pt x="376" y="138"/>
                    </a:lnTo>
                    <a:lnTo>
                      <a:pt x="378" y="138"/>
                    </a:lnTo>
                    <a:lnTo>
                      <a:pt x="380" y="138"/>
                    </a:lnTo>
                    <a:lnTo>
                      <a:pt x="382" y="140"/>
                    </a:lnTo>
                    <a:lnTo>
                      <a:pt x="384" y="140"/>
                    </a:lnTo>
                    <a:lnTo>
                      <a:pt x="386" y="142"/>
                    </a:lnTo>
                    <a:lnTo>
                      <a:pt x="386" y="142"/>
                    </a:lnTo>
                    <a:lnTo>
                      <a:pt x="388" y="142"/>
                    </a:lnTo>
                    <a:lnTo>
                      <a:pt x="390" y="142"/>
                    </a:lnTo>
                    <a:lnTo>
                      <a:pt x="392" y="142"/>
                    </a:lnTo>
                    <a:lnTo>
                      <a:pt x="394" y="142"/>
                    </a:lnTo>
                    <a:lnTo>
                      <a:pt x="396" y="142"/>
                    </a:lnTo>
                    <a:lnTo>
                      <a:pt x="398" y="140"/>
                    </a:lnTo>
                    <a:lnTo>
                      <a:pt x="400" y="140"/>
                    </a:lnTo>
                    <a:lnTo>
                      <a:pt x="402" y="140"/>
                    </a:lnTo>
                    <a:lnTo>
                      <a:pt x="402" y="140"/>
                    </a:lnTo>
                    <a:lnTo>
                      <a:pt x="402" y="136"/>
                    </a:lnTo>
                    <a:lnTo>
                      <a:pt x="404" y="134"/>
                    </a:lnTo>
                    <a:lnTo>
                      <a:pt x="406" y="130"/>
                    </a:lnTo>
                    <a:lnTo>
                      <a:pt x="406" y="124"/>
                    </a:lnTo>
                    <a:lnTo>
                      <a:pt x="408" y="122"/>
                    </a:lnTo>
                    <a:lnTo>
                      <a:pt x="408" y="120"/>
                    </a:lnTo>
                    <a:lnTo>
                      <a:pt x="408" y="120"/>
                    </a:lnTo>
                    <a:lnTo>
                      <a:pt x="410" y="118"/>
                    </a:lnTo>
                    <a:lnTo>
                      <a:pt x="410" y="118"/>
                    </a:lnTo>
                    <a:lnTo>
                      <a:pt x="412" y="118"/>
                    </a:lnTo>
                    <a:lnTo>
                      <a:pt x="412" y="118"/>
                    </a:lnTo>
                    <a:lnTo>
                      <a:pt x="414" y="118"/>
                    </a:lnTo>
                    <a:lnTo>
                      <a:pt x="418" y="118"/>
                    </a:lnTo>
                    <a:lnTo>
                      <a:pt x="420" y="118"/>
                    </a:lnTo>
                    <a:lnTo>
                      <a:pt x="422" y="118"/>
                    </a:lnTo>
                    <a:lnTo>
                      <a:pt x="424" y="118"/>
                    </a:lnTo>
                    <a:lnTo>
                      <a:pt x="426" y="118"/>
                    </a:lnTo>
                    <a:lnTo>
                      <a:pt x="426" y="116"/>
                    </a:lnTo>
                    <a:lnTo>
                      <a:pt x="426" y="116"/>
                    </a:lnTo>
                    <a:lnTo>
                      <a:pt x="428" y="116"/>
                    </a:lnTo>
                    <a:lnTo>
                      <a:pt x="428" y="116"/>
                    </a:lnTo>
                    <a:lnTo>
                      <a:pt x="426" y="112"/>
                    </a:lnTo>
                    <a:lnTo>
                      <a:pt x="426" y="108"/>
                    </a:lnTo>
                    <a:lnTo>
                      <a:pt x="426" y="108"/>
                    </a:lnTo>
                    <a:lnTo>
                      <a:pt x="424" y="106"/>
                    </a:lnTo>
                    <a:lnTo>
                      <a:pt x="424" y="104"/>
                    </a:lnTo>
                    <a:lnTo>
                      <a:pt x="424" y="102"/>
                    </a:lnTo>
                    <a:lnTo>
                      <a:pt x="426" y="98"/>
                    </a:lnTo>
                    <a:lnTo>
                      <a:pt x="426" y="98"/>
                    </a:lnTo>
                    <a:lnTo>
                      <a:pt x="428" y="96"/>
                    </a:lnTo>
                    <a:lnTo>
                      <a:pt x="430" y="96"/>
                    </a:lnTo>
                    <a:lnTo>
                      <a:pt x="432" y="94"/>
                    </a:lnTo>
                    <a:lnTo>
                      <a:pt x="434" y="94"/>
                    </a:lnTo>
                    <a:lnTo>
                      <a:pt x="434" y="94"/>
                    </a:lnTo>
                    <a:lnTo>
                      <a:pt x="438" y="94"/>
                    </a:lnTo>
                    <a:lnTo>
                      <a:pt x="438" y="94"/>
                    </a:lnTo>
                    <a:lnTo>
                      <a:pt x="440" y="92"/>
                    </a:lnTo>
                    <a:lnTo>
                      <a:pt x="440" y="92"/>
                    </a:lnTo>
                    <a:lnTo>
                      <a:pt x="442" y="92"/>
                    </a:lnTo>
                    <a:lnTo>
                      <a:pt x="442" y="92"/>
                    </a:lnTo>
                    <a:lnTo>
                      <a:pt x="442" y="92"/>
                    </a:lnTo>
                    <a:lnTo>
                      <a:pt x="442" y="90"/>
                    </a:lnTo>
                    <a:lnTo>
                      <a:pt x="442" y="88"/>
                    </a:lnTo>
                    <a:lnTo>
                      <a:pt x="442" y="86"/>
                    </a:lnTo>
                    <a:lnTo>
                      <a:pt x="442" y="82"/>
                    </a:lnTo>
                    <a:lnTo>
                      <a:pt x="442" y="82"/>
                    </a:lnTo>
                    <a:lnTo>
                      <a:pt x="442" y="80"/>
                    </a:lnTo>
                    <a:lnTo>
                      <a:pt x="442" y="80"/>
                    </a:lnTo>
                    <a:lnTo>
                      <a:pt x="444" y="80"/>
                    </a:lnTo>
                    <a:lnTo>
                      <a:pt x="444" y="80"/>
                    </a:lnTo>
                    <a:lnTo>
                      <a:pt x="448" y="78"/>
                    </a:lnTo>
                    <a:lnTo>
                      <a:pt x="450" y="78"/>
                    </a:lnTo>
                    <a:lnTo>
                      <a:pt x="452" y="78"/>
                    </a:lnTo>
                    <a:lnTo>
                      <a:pt x="452" y="78"/>
                    </a:lnTo>
                    <a:lnTo>
                      <a:pt x="458" y="80"/>
                    </a:lnTo>
                    <a:lnTo>
                      <a:pt x="460" y="82"/>
                    </a:lnTo>
                    <a:lnTo>
                      <a:pt x="462" y="82"/>
                    </a:lnTo>
                    <a:lnTo>
                      <a:pt x="464" y="82"/>
                    </a:lnTo>
                    <a:lnTo>
                      <a:pt x="464" y="82"/>
                    </a:lnTo>
                    <a:lnTo>
                      <a:pt x="464" y="80"/>
                    </a:lnTo>
                    <a:lnTo>
                      <a:pt x="464" y="80"/>
                    </a:lnTo>
                    <a:lnTo>
                      <a:pt x="466" y="78"/>
                    </a:lnTo>
                    <a:lnTo>
                      <a:pt x="464" y="76"/>
                    </a:lnTo>
                    <a:lnTo>
                      <a:pt x="464" y="74"/>
                    </a:lnTo>
                    <a:lnTo>
                      <a:pt x="464" y="74"/>
                    </a:lnTo>
                    <a:lnTo>
                      <a:pt x="464" y="70"/>
                    </a:lnTo>
                    <a:lnTo>
                      <a:pt x="462" y="68"/>
                    </a:lnTo>
                    <a:lnTo>
                      <a:pt x="462" y="66"/>
                    </a:lnTo>
                    <a:lnTo>
                      <a:pt x="460" y="64"/>
                    </a:lnTo>
                    <a:lnTo>
                      <a:pt x="458" y="62"/>
                    </a:lnTo>
                    <a:lnTo>
                      <a:pt x="456" y="62"/>
                    </a:lnTo>
                    <a:lnTo>
                      <a:pt x="454" y="60"/>
                    </a:lnTo>
                    <a:lnTo>
                      <a:pt x="454" y="60"/>
                    </a:lnTo>
                    <a:lnTo>
                      <a:pt x="450" y="58"/>
                    </a:lnTo>
                    <a:lnTo>
                      <a:pt x="444" y="54"/>
                    </a:lnTo>
                    <a:lnTo>
                      <a:pt x="440" y="52"/>
                    </a:lnTo>
                    <a:lnTo>
                      <a:pt x="438" y="52"/>
                    </a:lnTo>
                    <a:lnTo>
                      <a:pt x="436" y="52"/>
                    </a:lnTo>
                    <a:lnTo>
                      <a:pt x="436" y="52"/>
                    </a:lnTo>
                    <a:lnTo>
                      <a:pt x="434" y="52"/>
                    </a:lnTo>
                    <a:lnTo>
                      <a:pt x="432" y="52"/>
                    </a:lnTo>
                    <a:lnTo>
                      <a:pt x="430" y="54"/>
                    </a:lnTo>
                    <a:lnTo>
                      <a:pt x="428" y="54"/>
                    </a:lnTo>
                    <a:lnTo>
                      <a:pt x="424" y="58"/>
                    </a:lnTo>
                    <a:lnTo>
                      <a:pt x="422" y="58"/>
                    </a:lnTo>
                    <a:lnTo>
                      <a:pt x="420" y="60"/>
                    </a:lnTo>
                    <a:lnTo>
                      <a:pt x="420" y="60"/>
                    </a:lnTo>
                    <a:lnTo>
                      <a:pt x="418" y="60"/>
                    </a:lnTo>
                    <a:lnTo>
                      <a:pt x="416" y="62"/>
                    </a:lnTo>
                    <a:lnTo>
                      <a:pt x="412" y="62"/>
                    </a:lnTo>
                    <a:lnTo>
                      <a:pt x="412" y="62"/>
                    </a:lnTo>
                    <a:lnTo>
                      <a:pt x="408" y="62"/>
                    </a:lnTo>
                    <a:lnTo>
                      <a:pt x="406" y="62"/>
                    </a:lnTo>
                    <a:lnTo>
                      <a:pt x="406" y="62"/>
                    </a:lnTo>
                    <a:lnTo>
                      <a:pt x="406" y="62"/>
                    </a:lnTo>
                    <a:lnTo>
                      <a:pt x="404" y="62"/>
                    </a:lnTo>
                    <a:lnTo>
                      <a:pt x="404" y="62"/>
                    </a:lnTo>
                    <a:lnTo>
                      <a:pt x="402" y="64"/>
                    </a:lnTo>
                    <a:lnTo>
                      <a:pt x="402" y="64"/>
                    </a:lnTo>
                    <a:lnTo>
                      <a:pt x="402" y="64"/>
                    </a:lnTo>
                    <a:lnTo>
                      <a:pt x="400" y="64"/>
                    </a:lnTo>
                    <a:lnTo>
                      <a:pt x="398" y="64"/>
                    </a:lnTo>
                    <a:lnTo>
                      <a:pt x="398" y="64"/>
                    </a:lnTo>
                    <a:lnTo>
                      <a:pt x="396" y="64"/>
                    </a:lnTo>
                    <a:lnTo>
                      <a:pt x="396" y="64"/>
                    </a:lnTo>
                    <a:lnTo>
                      <a:pt x="396" y="62"/>
                    </a:lnTo>
                    <a:lnTo>
                      <a:pt x="394" y="60"/>
                    </a:lnTo>
                    <a:lnTo>
                      <a:pt x="394" y="58"/>
                    </a:lnTo>
                    <a:lnTo>
                      <a:pt x="394" y="54"/>
                    </a:lnTo>
                    <a:lnTo>
                      <a:pt x="394" y="50"/>
                    </a:lnTo>
                    <a:lnTo>
                      <a:pt x="394" y="50"/>
                    </a:lnTo>
                    <a:lnTo>
                      <a:pt x="396" y="46"/>
                    </a:lnTo>
                    <a:lnTo>
                      <a:pt x="396" y="42"/>
                    </a:lnTo>
                    <a:lnTo>
                      <a:pt x="396" y="36"/>
                    </a:lnTo>
                    <a:lnTo>
                      <a:pt x="398" y="32"/>
                    </a:lnTo>
                    <a:lnTo>
                      <a:pt x="398" y="32"/>
                    </a:lnTo>
                    <a:lnTo>
                      <a:pt x="398" y="24"/>
                    </a:lnTo>
                    <a:lnTo>
                      <a:pt x="398" y="22"/>
                    </a:lnTo>
                    <a:lnTo>
                      <a:pt x="400" y="18"/>
                    </a:lnTo>
                    <a:lnTo>
                      <a:pt x="400" y="18"/>
                    </a:lnTo>
                    <a:lnTo>
                      <a:pt x="400" y="18"/>
                    </a:lnTo>
                    <a:lnTo>
                      <a:pt x="398" y="16"/>
                    </a:lnTo>
                    <a:lnTo>
                      <a:pt x="398" y="14"/>
                    </a:lnTo>
                    <a:lnTo>
                      <a:pt x="396" y="14"/>
                    </a:lnTo>
                    <a:lnTo>
                      <a:pt x="394" y="12"/>
                    </a:lnTo>
                    <a:lnTo>
                      <a:pt x="394" y="12"/>
                    </a:lnTo>
                    <a:lnTo>
                      <a:pt x="394" y="12"/>
                    </a:lnTo>
                    <a:lnTo>
                      <a:pt x="392" y="10"/>
                    </a:lnTo>
                    <a:lnTo>
                      <a:pt x="390" y="10"/>
                    </a:lnTo>
                    <a:lnTo>
                      <a:pt x="386" y="12"/>
                    </a:lnTo>
                    <a:lnTo>
                      <a:pt x="384" y="12"/>
                    </a:lnTo>
                    <a:lnTo>
                      <a:pt x="384" y="12"/>
                    </a:lnTo>
                    <a:lnTo>
                      <a:pt x="382" y="14"/>
                    </a:lnTo>
                    <a:lnTo>
                      <a:pt x="380" y="16"/>
                    </a:lnTo>
                    <a:lnTo>
                      <a:pt x="380" y="16"/>
                    </a:lnTo>
                    <a:lnTo>
                      <a:pt x="378" y="16"/>
                    </a:lnTo>
                    <a:lnTo>
                      <a:pt x="378" y="16"/>
                    </a:lnTo>
                    <a:lnTo>
                      <a:pt x="376" y="14"/>
                    </a:lnTo>
                    <a:lnTo>
                      <a:pt x="376" y="14"/>
                    </a:lnTo>
                    <a:lnTo>
                      <a:pt x="376" y="14"/>
                    </a:lnTo>
                    <a:lnTo>
                      <a:pt x="374" y="12"/>
                    </a:lnTo>
                    <a:lnTo>
                      <a:pt x="374" y="10"/>
                    </a:lnTo>
                    <a:lnTo>
                      <a:pt x="374" y="10"/>
                    </a:lnTo>
                    <a:lnTo>
                      <a:pt x="372" y="8"/>
                    </a:lnTo>
                    <a:lnTo>
                      <a:pt x="370" y="8"/>
                    </a:lnTo>
                    <a:lnTo>
                      <a:pt x="368" y="8"/>
                    </a:lnTo>
                    <a:lnTo>
                      <a:pt x="368" y="8"/>
                    </a:lnTo>
                    <a:lnTo>
                      <a:pt x="364" y="8"/>
                    </a:lnTo>
                    <a:lnTo>
                      <a:pt x="360" y="8"/>
                    </a:lnTo>
                    <a:lnTo>
                      <a:pt x="358" y="8"/>
                    </a:lnTo>
                    <a:lnTo>
                      <a:pt x="356" y="10"/>
                    </a:lnTo>
                    <a:lnTo>
                      <a:pt x="356" y="10"/>
                    </a:lnTo>
                    <a:lnTo>
                      <a:pt x="354" y="12"/>
                    </a:lnTo>
                    <a:lnTo>
                      <a:pt x="354" y="12"/>
                    </a:lnTo>
                    <a:lnTo>
                      <a:pt x="352" y="14"/>
                    </a:lnTo>
                    <a:lnTo>
                      <a:pt x="352" y="16"/>
                    </a:lnTo>
                    <a:lnTo>
                      <a:pt x="350" y="18"/>
                    </a:lnTo>
                    <a:lnTo>
                      <a:pt x="350" y="18"/>
                    </a:lnTo>
                    <a:lnTo>
                      <a:pt x="352" y="18"/>
                    </a:lnTo>
                    <a:lnTo>
                      <a:pt x="352" y="20"/>
                    </a:lnTo>
                    <a:lnTo>
                      <a:pt x="352" y="22"/>
                    </a:lnTo>
                    <a:lnTo>
                      <a:pt x="352" y="22"/>
                    </a:lnTo>
                    <a:lnTo>
                      <a:pt x="352" y="22"/>
                    </a:lnTo>
                    <a:lnTo>
                      <a:pt x="352" y="24"/>
                    </a:lnTo>
                    <a:lnTo>
                      <a:pt x="352" y="26"/>
                    </a:lnTo>
                    <a:lnTo>
                      <a:pt x="350" y="26"/>
                    </a:lnTo>
                    <a:lnTo>
                      <a:pt x="346" y="28"/>
                    </a:lnTo>
                    <a:lnTo>
                      <a:pt x="344" y="28"/>
                    </a:lnTo>
                    <a:lnTo>
                      <a:pt x="344" y="28"/>
                    </a:lnTo>
                    <a:lnTo>
                      <a:pt x="338" y="32"/>
                    </a:lnTo>
                    <a:lnTo>
                      <a:pt x="334" y="32"/>
                    </a:lnTo>
                    <a:lnTo>
                      <a:pt x="332" y="34"/>
                    </a:lnTo>
                    <a:lnTo>
                      <a:pt x="332" y="34"/>
                    </a:lnTo>
                    <a:lnTo>
                      <a:pt x="322" y="34"/>
                    </a:lnTo>
                    <a:lnTo>
                      <a:pt x="322" y="34"/>
                    </a:lnTo>
                    <a:lnTo>
                      <a:pt x="320" y="36"/>
                    </a:lnTo>
                    <a:lnTo>
                      <a:pt x="318" y="36"/>
                    </a:lnTo>
                    <a:lnTo>
                      <a:pt x="318" y="36"/>
                    </a:lnTo>
                    <a:lnTo>
                      <a:pt x="314" y="38"/>
                    </a:lnTo>
                    <a:lnTo>
                      <a:pt x="312" y="38"/>
                    </a:lnTo>
                    <a:lnTo>
                      <a:pt x="312" y="38"/>
                    </a:lnTo>
                    <a:lnTo>
                      <a:pt x="310" y="40"/>
                    </a:lnTo>
                    <a:lnTo>
                      <a:pt x="308" y="42"/>
                    </a:lnTo>
                    <a:lnTo>
                      <a:pt x="308" y="42"/>
                    </a:lnTo>
                    <a:lnTo>
                      <a:pt x="308" y="42"/>
                    </a:lnTo>
                    <a:lnTo>
                      <a:pt x="300" y="42"/>
                    </a:lnTo>
                    <a:lnTo>
                      <a:pt x="294" y="42"/>
                    </a:lnTo>
                    <a:lnTo>
                      <a:pt x="294" y="42"/>
                    </a:lnTo>
                    <a:lnTo>
                      <a:pt x="292" y="42"/>
                    </a:lnTo>
                    <a:lnTo>
                      <a:pt x="288" y="42"/>
                    </a:lnTo>
                    <a:lnTo>
                      <a:pt x="282" y="42"/>
                    </a:lnTo>
                    <a:lnTo>
                      <a:pt x="282" y="42"/>
                    </a:lnTo>
                    <a:lnTo>
                      <a:pt x="278" y="42"/>
                    </a:lnTo>
                    <a:lnTo>
                      <a:pt x="278" y="40"/>
                    </a:lnTo>
                    <a:lnTo>
                      <a:pt x="276" y="40"/>
                    </a:lnTo>
                    <a:lnTo>
                      <a:pt x="274" y="38"/>
                    </a:lnTo>
                    <a:lnTo>
                      <a:pt x="274" y="38"/>
                    </a:lnTo>
                    <a:lnTo>
                      <a:pt x="274" y="38"/>
                    </a:lnTo>
                    <a:lnTo>
                      <a:pt x="272" y="36"/>
                    </a:lnTo>
                    <a:lnTo>
                      <a:pt x="268" y="34"/>
                    </a:lnTo>
                    <a:lnTo>
                      <a:pt x="268" y="34"/>
                    </a:lnTo>
                    <a:lnTo>
                      <a:pt x="266" y="34"/>
                    </a:lnTo>
                    <a:lnTo>
                      <a:pt x="264" y="32"/>
                    </a:lnTo>
                    <a:lnTo>
                      <a:pt x="260" y="32"/>
                    </a:lnTo>
                    <a:lnTo>
                      <a:pt x="258" y="32"/>
                    </a:lnTo>
                    <a:lnTo>
                      <a:pt x="258" y="32"/>
                    </a:lnTo>
                    <a:lnTo>
                      <a:pt x="250" y="32"/>
                    </a:lnTo>
                    <a:lnTo>
                      <a:pt x="246" y="30"/>
                    </a:lnTo>
                    <a:lnTo>
                      <a:pt x="244" y="30"/>
                    </a:lnTo>
                    <a:lnTo>
                      <a:pt x="244" y="30"/>
                    </a:lnTo>
                    <a:lnTo>
                      <a:pt x="240" y="30"/>
                    </a:lnTo>
                    <a:lnTo>
                      <a:pt x="236" y="30"/>
                    </a:lnTo>
                    <a:lnTo>
                      <a:pt x="232" y="30"/>
                    </a:lnTo>
                    <a:lnTo>
                      <a:pt x="228" y="30"/>
                    </a:lnTo>
                    <a:lnTo>
                      <a:pt x="228" y="30"/>
                    </a:lnTo>
                    <a:lnTo>
                      <a:pt x="226" y="32"/>
                    </a:lnTo>
                    <a:lnTo>
                      <a:pt x="226" y="32"/>
                    </a:lnTo>
                    <a:lnTo>
                      <a:pt x="224" y="34"/>
                    </a:lnTo>
                    <a:lnTo>
                      <a:pt x="224" y="34"/>
                    </a:lnTo>
                    <a:lnTo>
                      <a:pt x="224" y="36"/>
                    </a:lnTo>
                    <a:lnTo>
                      <a:pt x="222" y="38"/>
                    </a:lnTo>
                    <a:lnTo>
                      <a:pt x="222" y="38"/>
                    </a:lnTo>
                    <a:lnTo>
                      <a:pt x="222" y="38"/>
                    </a:lnTo>
                    <a:lnTo>
                      <a:pt x="220" y="40"/>
                    </a:lnTo>
                    <a:lnTo>
                      <a:pt x="218" y="40"/>
                    </a:lnTo>
                    <a:lnTo>
                      <a:pt x="216" y="40"/>
                    </a:lnTo>
                    <a:lnTo>
                      <a:pt x="214" y="40"/>
                    </a:lnTo>
                    <a:lnTo>
                      <a:pt x="210" y="40"/>
                    </a:lnTo>
                    <a:lnTo>
                      <a:pt x="206" y="40"/>
                    </a:lnTo>
                    <a:lnTo>
                      <a:pt x="206" y="40"/>
                    </a:lnTo>
                    <a:lnTo>
                      <a:pt x="204" y="38"/>
                    </a:lnTo>
                    <a:lnTo>
                      <a:pt x="200" y="36"/>
                    </a:lnTo>
                    <a:lnTo>
                      <a:pt x="198" y="34"/>
                    </a:lnTo>
                    <a:lnTo>
                      <a:pt x="196" y="32"/>
                    </a:lnTo>
                    <a:lnTo>
                      <a:pt x="196" y="32"/>
                    </a:lnTo>
                    <a:lnTo>
                      <a:pt x="196" y="32"/>
                    </a:lnTo>
                    <a:lnTo>
                      <a:pt x="194" y="32"/>
                    </a:lnTo>
                    <a:lnTo>
                      <a:pt x="192" y="30"/>
                    </a:lnTo>
                    <a:lnTo>
                      <a:pt x="190" y="30"/>
                    </a:lnTo>
                    <a:lnTo>
                      <a:pt x="190" y="30"/>
                    </a:lnTo>
                    <a:lnTo>
                      <a:pt x="190" y="28"/>
                    </a:lnTo>
                    <a:lnTo>
                      <a:pt x="190" y="28"/>
                    </a:lnTo>
                    <a:lnTo>
                      <a:pt x="188" y="24"/>
                    </a:lnTo>
                    <a:lnTo>
                      <a:pt x="188" y="22"/>
                    </a:lnTo>
                    <a:lnTo>
                      <a:pt x="188" y="22"/>
                    </a:lnTo>
                    <a:lnTo>
                      <a:pt x="186" y="20"/>
                    </a:lnTo>
                    <a:lnTo>
                      <a:pt x="186" y="20"/>
                    </a:lnTo>
                    <a:lnTo>
                      <a:pt x="184" y="18"/>
                    </a:lnTo>
                    <a:lnTo>
                      <a:pt x="182" y="18"/>
                    </a:lnTo>
                    <a:lnTo>
                      <a:pt x="176" y="16"/>
                    </a:lnTo>
                    <a:lnTo>
                      <a:pt x="176" y="16"/>
                    </a:lnTo>
                    <a:lnTo>
                      <a:pt x="168" y="12"/>
                    </a:lnTo>
                    <a:lnTo>
                      <a:pt x="160" y="8"/>
                    </a:lnTo>
                    <a:lnTo>
                      <a:pt x="160" y="8"/>
                    </a:lnTo>
                    <a:lnTo>
                      <a:pt x="156" y="6"/>
                    </a:lnTo>
                    <a:lnTo>
                      <a:pt x="152" y="4"/>
                    </a:lnTo>
                    <a:lnTo>
                      <a:pt x="148" y="4"/>
                    </a:lnTo>
                    <a:lnTo>
                      <a:pt x="146" y="2"/>
                    </a:lnTo>
                    <a:lnTo>
                      <a:pt x="146" y="2"/>
                    </a:lnTo>
                    <a:lnTo>
                      <a:pt x="142" y="2"/>
                    </a:lnTo>
                    <a:lnTo>
                      <a:pt x="140" y="0"/>
                    </a:lnTo>
                    <a:lnTo>
                      <a:pt x="138" y="0"/>
                    </a:lnTo>
                    <a:lnTo>
                      <a:pt x="134" y="0"/>
                    </a:lnTo>
                    <a:lnTo>
                      <a:pt x="134" y="0"/>
                    </a:lnTo>
                    <a:lnTo>
                      <a:pt x="132" y="2"/>
                    </a:lnTo>
                    <a:lnTo>
                      <a:pt x="130" y="4"/>
                    </a:lnTo>
                    <a:lnTo>
                      <a:pt x="128" y="6"/>
                    </a:lnTo>
                    <a:lnTo>
                      <a:pt x="126" y="8"/>
                    </a:lnTo>
                    <a:lnTo>
                      <a:pt x="126" y="8"/>
                    </a:lnTo>
                    <a:lnTo>
                      <a:pt x="126" y="10"/>
                    </a:lnTo>
                    <a:lnTo>
                      <a:pt x="126" y="12"/>
                    </a:lnTo>
                    <a:lnTo>
                      <a:pt x="126" y="12"/>
                    </a:lnTo>
                    <a:lnTo>
                      <a:pt x="126" y="12"/>
                    </a:lnTo>
                    <a:lnTo>
                      <a:pt x="124" y="14"/>
                    </a:lnTo>
                    <a:lnTo>
                      <a:pt x="124" y="14"/>
                    </a:lnTo>
                    <a:lnTo>
                      <a:pt x="122" y="16"/>
                    </a:lnTo>
                    <a:lnTo>
                      <a:pt x="122" y="16"/>
                    </a:lnTo>
                    <a:lnTo>
                      <a:pt x="122" y="16"/>
                    </a:lnTo>
                    <a:lnTo>
                      <a:pt x="120" y="18"/>
                    </a:lnTo>
                    <a:lnTo>
                      <a:pt x="120" y="18"/>
                    </a:lnTo>
                    <a:lnTo>
                      <a:pt x="118" y="20"/>
                    </a:lnTo>
                    <a:lnTo>
                      <a:pt x="118" y="22"/>
                    </a:lnTo>
                    <a:lnTo>
                      <a:pt x="120" y="22"/>
                    </a:lnTo>
                    <a:lnTo>
                      <a:pt x="120" y="24"/>
                    </a:lnTo>
                    <a:lnTo>
                      <a:pt x="122" y="28"/>
                    </a:lnTo>
                    <a:lnTo>
                      <a:pt x="124" y="30"/>
                    </a:lnTo>
                    <a:lnTo>
                      <a:pt x="126" y="34"/>
                    </a:lnTo>
                    <a:lnTo>
                      <a:pt x="126" y="34"/>
                    </a:lnTo>
                    <a:lnTo>
                      <a:pt x="128" y="36"/>
                    </a:lnTo>
                    <a:lnTo>
                      <a:pt x="132" y="38"/>
                    </a:lnTo>
                    <a:lnTo>
                      <a:pt x="134" y="38"/>
                    </a:lnTo>
                    <a:lnTo>
                      <a:pt x="134" y="40"/>
                    </a:lnTo>
                    <a:lnTo>
                      <a:pt x="136" y="42"/>
                    </a:lnTo>
                    <a:lnTo>
                      <a:pt x="136" y="42"/>
                    </a:lnTo>
                    <a:lnTo>
                      <a:pt x="136" y="42"/>
                    </a:lnTo>
                    <a:lnTo>
                      <a:pt x="136" y="44"/>
                    </a:lnTo>
                    <a:lnTo>
                      <a:pt x="136" y="46"/>
                    </a:lnTo>
                    <a:lnTo>
                      <a:pt x="134" y="48"/>
                    </a:lnTo>
                    <a:lnTo>
                      <a:pt x="134" y="52"/>
                    </a:lnTo>
                    <a:lnTo>
                      <a:pt x="134" y="52"/>
                    </a:lnTo>
                    <a:lnTo>
                      <a:pt x="132" y="52"/>
                    </a:lnTo>
                    <a:lnTo>
                      <a:pt x="132" y="54"/>
                    </a:lnTo>
                    <a:lnTo>
                      <a:pt x="128" y="54"/>
                    </a:lnTo>
                    <a:lnTo>
                      <a:pt x="128" y="54"/>
                    </a:lnTo>
                    <a:lnTo>
                      <a:pt x="124" y="54"/>
                    </a:lnTo>
                    <a:lnTo>
                      <a:pt x="120" y="56"/>
                    </a:lnTo>
                    <a:lnTo>
                      <a:pt x="120" y="56"/>
                    </a:lnTo>
                    <a:lnTo>
                      <a:pt x="114" y="58"/>
                    </a:lnTo>
                    <a:lnTo>
                      <a:pt x="108" y="58"/>
                    </a:lnTo>
                    <a:lnTo>
                      <a:pt x="108" y="58"/>
                    </a:lnTo>
                    <a:lnTo>
                      <a:pt x="104" y="58"/>
                    </a:lnTo>
                    <a:lnTo>
                      <a:pt x="102" y="60"/>
                    </a:lnTo>
                    <a:lnTo>
                      <a:pt x="100" y="58"/>
                    </a:lnTo>
                    <a:lnTo>
                      <a:pt x="96" y="58"/>
                    </a:lnTo>
                    <a:lnTo>
                      <a:pt x="96" y="58"/>
                    </a:lnTo>
                    <a:lnTo>
                      <a:pt x="92" y="56"/>
                    </a:lnTo>
                    <a:lnTo>
                      <a:pt x="90" y="54"/>
                    </a:lnTo>
                    <a:lnTo>
                      <a:pt x="88" y="52"/>
                    </a:lnTo>
                    <a:lnTo>
                      <a:pt x="88" y="52"/>
                    </a:lnTo>
                    <a:lnTo>
                      <a:pt x="82" y="48"/>
                    </a:lnTo>
                    <a:lnTo>
                      <a:pt x="80" y="46"/>
                    </a:lnTo>
                    <a:lnTo>
                      <a:pt x="78" y="46"/>
                    </a:lnTo>
                    <a:lnTo>
                      <a:pt x="78" y="46"/>
                    </a:lnTo>
                    <a:lnTo>
                      <a:pt x="78" y="46"/>
                    </a:lnTo>
                    <a:lnTo>
                      <a:pt x="74" y="46"/>
                    </a:lnTo>
                    <a:lnTo>
                      <a:pt x="74" y="46"/>
                    </a:lnTo>
                    <a:lnTo>
                      <a:pt x="70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2" y="44"/>
                    </a:lnTo>
                    <a:lnTo>
                      <a:pt x="56" y="44"/>
                    </a:lnTo>
                    <a:lnTo>
                      <a:pt x="52" y="44"/>
                    </a:lnTo>
                    <a:lnTo>
                      <a:pt x="50" y="44"/>
                    </a:lnTo>
                    <a:lnTo>
                      <a:pt x="46" y="46"/>
                    </a:lnTo>
                    <a:lnTo>
                      <a:pt x="46" y="46"/>
                    </a:lnTo>
                    <a:lnTo>
                      <a:pt x="44" y="46"/>
                    </a:lnTo>
                    <a:lnTo>
                      <a:pt x="42" y="48"/>
                    </a:lnTo>
                    <a:lnTo>
                      <a:pt x="40" y="50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4" y="54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28" y="62"/>
                    </a:lnTo>
                    <a:lnTo>
                      <a:pt x="28" y="62"/>
                    </a:lnTo>
                    <a:lnTo>
                      <a:pt x="28" y="62"/>
                    </a:lnTo>
                    <a:lnTo>
                      <a:pt x="28" y="62"/>
                    </a:lnTo>
                    <a:lnTo>
                      <a:pt x="24" y="64"/>
                    </a:lnTo>
                    <a:lnTo>
                      <a:pt x="24" y="64"/>
                    </a:lnTo>
                    <a:lnTo>
                      <a:pt x="24" y="64"/>
                    </a:lnTo>
                    <a:lnTo>
                      <a:pt x="22" y="64"/>
                    </a:lnTo>
                    <a:lnTo>
                      <a:pt x="20" y="66"/>
                    </a:lnTo>
                    <a:lnTo>
                      <a:pt x="20" y="66"/>
                    </a:lnTo>
                    <a:lnTo>
                      <a:pt x="16" y="68"/>
                    </a:lnTo>
                    <a:lnTo>
                      <a:pt x="14" y="68"/>
                    </a:lnTo>
                    <a:lnTo>
                      <a:pt x="14" y="70"/>
                    </a:lnTo>
                    <a:lnTo>
                      <a:pt x="12" y="70"/>
                    </a:lnTo>
                    <a:lnTo>
                      <a:pt x="12" y="72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4" y="76"/>
                    </a:lnTo>
                    <a:lnTo>
                      <a:pt x="14" y="78"/>
                    </a:lnTo>
                    <a:lnTo>
                      <a:pt x="14" y="78"/>
                    </a:lnTo>
                    <a:lnTo>
                      <a:pt x="14" y="78"/>
                    </a:lnTo>
                    <a:lnTo>
                      <a:pt x="12" y="80"/>
                    </a:lnTo>
                    <a:lnTo>
                      <a:pt x="12" y="80"/>
                    </a:lnTo>
                    <a:lnTo>
                      <a:pt x="10" y="80"/>
                    </a:lnTo>
                    <a:lnTo>
                      <a:pt x="8" y="82"/>
                    </a:lnTo>
                    <a:lnTo>
                      <a:pt x="6" y="82"/>
                    </a:lnTo>
                    <a:lnTo>
                      <a:pt x="6" y="82"/>
                    </a:lnTo>
                    <a:lnTo>
                      <a:pt x="4" y="84"/>
                    </a:lnTo>
                    <a:lnTo>
                      <a:pt x="4" y="84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2" y="88"/>
                    </a:lnTo>
                    <a:lnTo>
                      <a:pt x="0" y="88"/>
                    </a:lnTo>
                    <a:lnTo>
                      <a:pt x="0" y="88"/>
                    </a:lnTo>
                    <a:lnTo>
                      <a:pt x="4" y="94"/>
                    </a:lnTo>
                    <a:lnTo>
                      <a:pt x="4" y="98"/>
                    </a:lnTo>
                    <a:lnTo>
                      <a:pt x="8" y="102"/>
                    </a:lnTo>
                    <a:lnTo>
                      <a:pt x="10" y="106"/>
                    </a:lnTo>
                    <a:lnTo>
                      <a:pt x="12" y="108"/>
                    </a:lnTo>
                    <a:lnTo>
                      <a:pt x="14" y="110"/>
                    </a:lnTo>
                    <a:lnTo>
                      <a:pt x="16" y="110"/>
                    </a:lnTo>
                    <a:lnTo>
                      <a:pt x="18" y="112"/>
                    </a:lnTo>
                    <a:lnTo>
                      <a:pt x="20" y="112"/>
                    </a:lnTo>
                    <a:lnTo>
                      <a:pt x="20" y="112"/>
                    </a:lnTo>
                    <a:lnTo>
                      <a:pt x="20" y="112"/>
                    </a:lnTo>
                    <a:lnTo>
                      <a:pt x="20" y="112"/>
                    </a:lnTo>
                    <a:lnTo>
                      <a:pt x="20" y="11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60" name="Freeform 505"/>
              <p:cNvSpPr>
                <a:spLocks/>
              </p:cNvSpPr>
              <p:nvPr/>
            </p:nvSpPr>
            <p:spPr bwMode="auto">
              <a:xfrm>
                <a:off x="4557" y="1946"/>
                <a:ext cx="74" cy="124"/>
              </a:xfrm>
              <a:custGeom>
                <a:avLst/>
                <a:gdLst>
                  <a:gd name="T0" fmla="*/ 50 w 74"/>
                  <a:gd name="T1" fmla="*/ 108 h 124"/>
                  <a:gd name="T2" fmla="*/ 58 w 74"/>
                  <a:gd name="T3" fmla="*/ 106 h 124"/>
                  <a:gd name="T4" fmla="*/ 62 w 74"/>
                  <a:gd name="T5" fmla="*/ 102 h 124"/>
                  <a:gd name="T6" fmla="*/ 64 w 74"/>
                  <a:gd name="T7" fmla="*/ 98 h 124"/>
                  <a:gd name="T8" fmla="*/ 60 w 74"/>
                  <a:gd name="T9" fmla="*/ 90 h 124"/>
                  <a:gd name="T10" fmla="*/ 56 w 74"/>
                  <a:gd name="T11" fmla="*/ 86 h 124"/>
                  <a:gd name="T12" fmla="*/ 52 w 74"/>
                  <a:gd name="T13" fmla="*/ 84 h 124"/>
                  <a:gd name="T14" fmla="*/ 50 w 74"/>
                  <a:gd name="T15" fmla="*/ 76 h 124"/>
                  <a:gd name="T16" fmla="*/ 52 w 74"/>
                  <a:gd name="T17" fmla="*/ 72 h 124"/>
                  <a:gd name="T18" fmla="*/ 56 w 74"/>
                  <a:gd name="T19" fmla="*/ 70 h 124"/>
                  <a:gd name="T20" fmla="*/ 56 w 74"/>
                  <a:gd name="T21" fmla="*/ 64 h 124"/>
                  <a:gd name="T22" fmla="*/ 58 w 74"/>
                  <a:gd name="T23" fmla="*/ 60 h 124"/>
                  <a:gd name="T24" fmla="*/ 66 w 74"/>
                  <a:gd name="T25" fmla="*/ 52 h 124"/>
                  <a:gd name="T26" fmla="*/ 70 w 74"/>
                  <a:gd name="T27" fmla="*/ 44 h 124"/>
                  <a:gd name="T28" fmla="*/ 68 w 74"/>
                  <a:gd name="T29" fmla="*/ 40 h 124"/>
                  <a:gd name="T30" fmla="*/ 66 w 74"/>
                  <a:gd name="T31" fmla="*/ 36 h 124"/>
                  <a:gd name="T32" fmla="*/ 64 w 74"/>
                  <a:gd name="T33" fmla="*/ 30 h 124"/>
                  <a:gd name="T34" fmla="*/ 64 w 74"/>
                  <a:gd name="T35" fmla="*/ 22 h 124"/>
                  <a:gd name="T36" fmla="*/ 68 w 74"/>
                  <a:gd name="T37" fmla="*/ 20 h 124"/>
                  <a:gd name="T38" fmla="*/ 70 w 74"/>
                  <a:gd name="T39" fmla="*/ 14 h 124"/>
                  <a:gd name="T40" fmla="*/ 74 w 74"/>
                  <a:gd name="T41" fmla="*/ 6 h 124"/>
                  <a:gd name="T42" fmla="*/ 72 w 74"/>
                  <a:gd name="T43" fmla="*/ 6 h 124"/>
                  <a:gd name="T44" fmla="*/ 66 w 74"/>
                  <a:gd name="T45" fmla="*/ 4 h 124"/>
                  <a:gd name="T46" fmla="*/ 62 w 74"/>
                  <a:gd name="T47" fmla="*/ 2 h 124"/>
                  <a:gd name="T48" fmla="*/ 58 w 74"/>
                  <a:gd name="T49" fmla="*/ 0 h 124"/>
                  <a:gd name="T50" fmla="*/ 54 w 74"/>
                  <a:gd name="T51" fmla="*/ 2 h 124"/>
                  <a:gd name="T52" fmla="*/ 52 w 74"/>
                  <a:gd name="T53" fmla="*/ 8 h 124"/>
                  <a:gd name="T54" fmla="*/ 52 w 74"/>
                  <a:gd name="T55" fmla="*/ 14 h 124"/>
                  <a:gd name="T56" fmla="*/ 46 w 74"/>
                  <a:gd name="T57" fmla="*/ 20 h 124"/>
                  <a:gd name="T58" fmla="*/ 42 w 74"/>
                  <a:gd name="T59" fmla="*/ 24 h 124"/>
                  <a:gd name="T60" fmla="*/ 40 w 74"/>
                  <a:gd name="T61" fmla="*/ 32 h 124"/>
                  <a:gd name="T62" fmla="*/ 36 w 74"/>
                  <a:gd name="T63" fmla="*/ 38 h 124"/>
                  <a:gd name="T64" fmla="*/ 30 w 74"/>
                  <a:gd name="T65" fmla="*/ 40 h 124"/>
                  <a:gd name="T66" fmla="*/ 28 w 74"/>
                  <a:gd name="T67" fmla="*/ 38 h 124"/>
                  <a:gd name="T68" fmla="*/ 24 w 74"/>
                  <a:gd name="T69" fmla="*/ 34 h 124"/>
                  <a:gd name="T70" fmla="*/ 20 w 74"/>
                  <a:gd name="T71" fmla="*/ 34 h 124"/>
                  <a:gd name="T72" fmla="*/ 14 w 74"/>
                  <a:gd name="T73" fmla="*/ 44 h 124"/>
                  <a:gd name="T74" fmla="*/ 10 w 74"/>
                  <a:gd name="T75" fmla="*/ 56 h 124"/>
                  <a:gd name="T76" fmla="*/ 4 w 74"/>
                  <a:gd name="T77" fmla="*/ 64 h 124"/>
                  <a:gd name="T78" fmla="*/ 2 w 74"/>
                  <a:gd name="T79" fmla="*/ 68 h 124"/>
                  <a:gd name="T80" fmla="*/ 0 w 74"/>
                  <a:gd name="T81" fmla="*/ 76 h 124"/>
                  <a:gd name="T82" fmla="*/ 0 w 74"/>
                  <a:gd name="T83" fmla="*/ 78 h 124"/>
                  <a:gd name="T84" fmla="*/ 8 w 74"/>
                  <a:gd name="T85" fmla="*/ 84 h 124"/>
                  <a:gd name="T86" fmla="*/ 12 w 74"/>
                  <a:gd name="T87" fmla="*/ 84 h 124"/>
                  <a:gd name="T88" fmla="*/ 16 w 74"/>
                  <a:gd name="T89" fmla="*/ 86 h 124"/>
                  <a:gd name="T90" fmla="*/ 18 w 74"/>
                  <a:gd name="T91" fmla="*/ 92 h 124"/>
                  <a:gd name="T92" fmla="*/ 18 w 74"/>
                  <a:gd name="T93" fmla="*/ 96 h 124"/>
                  <a:gd name="T94" fmla="*/ 16 w 74"/>
                  <a:gd name="T95" fmla="*/ 100 h 124"/>
                  <a:gd name="T96" fmla="*/ 18 w 74"/>
                  <a:gd name="T97" fmla="*/ 108 h 124"/>
                  <a:gd name="T98" fmla="*/ 18 w 74"/>
                  <a:gd name="T99" fmla="*/ 116 h 124"/>
                  <a:gd name="T100" fmla="*/ 24 w 74"/>
                  <a:gd name="T101" fmla="*/ 118 h 124"/>
                  <a:gd name="T102" fmla="*/ 28 w 74"/>
                  <a:gd name="T103" fmla="*/ 122 h 124"/>
                  <a:gd name="T104" fmla="*/ 30 w 74"/>
                  <a:gd name="T105" fmla="*/ 122 h 124"/>
                  <a:gd name="T106" fmla="*/ 32 w 74"/>
                  <a:gd name="T107" fmla="*/ 120 h 124"/>
                  <a:gd name="T108" fmla="*/ 34 w 74"/>
                  <a:gd name="T109" fmla="*/ 118 h 124"/>
                  <a:gd name="T110" fmla="*/ 36 w 74"/>
                  <a:gd name="T111" fmla="*/ 124 h 124"/>
                  <a:gd name="T112" fmla="*/ 38 w 74"/>
                  <a:gd name="T113" fmla="*/ 124 h 124"/>
                  <a:gd name="T114" fmla="*/ 42 w 74"/>
                  <a:gd name="T115" fmla="*/ 122 h 124"/>
                  <a:gd name="T116" fmla="*/ 44 w 74"/>
                  <a:gd name="T117" fmla="*/ 124 h 124"/>
                  <a:gd name="T118" fmla="*/ 46 w 74"/>
                  <a:gd name="T119" fmla="*/ 114 h 124"/>
                  <a:gd name="T120" fmla="*/ 48 w 74"/>
                  <a:gd name="T121" fmla="*/ 108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74" h="124">
                    <a:moveTo>
                      <a:pt x="48" y="108"/>
                    </a:moveTo>
                    <a:lnTo>
                      <a:pt x="48" y="108"/>
                    </a:lnTo>
                    <a:lnTo>
                      <a:pt x="50" y="108"/>
                    </a:lnTo>
                    <a:lnTo>
                      <a:pt x="50" y="108"/>
                    </a:lnTo>
                    <a:lnTo>
                      <a:pt x="54" y="106"/>
                    </a:lnTo>
                    <a:lnTo>
                      <a:pt x="56" y="106"/>
                    </a:lnTo>
                    <a:lnTo>
                      <a:pt x="58" y="106"/>
                    </a:lnTo>
                    <a:lnTo>
                      <a:pt x="58" y="106"/>
                    </a:lnTo>
                    <a:lnTo>
                      <a:pt x="58" y="106"/>
                    </a:lnTo>
                    <a:lnTo>
                      <a:pt x="60" y="104"/>
                    </a:lnTo>
                    <a:lnTo>
                      <a:pt x="62" y="102"/>
                    </a:lnTo>
                    <a:lnTo>
                      <a:pt x="62" y="102"/>
                    </a:lnTo>
                    <a:lnTo>
                      <a:pt x="62" y="100"/>
                    </a:lnTo>
                    <a:lnTo>
                      <a:pt x="64" y="100"/>
                    </a:lnTo>
                    <a:lnTo>
                      <a:pt x="64" y="98"/>
                    </a:lnTo>
                    <a:lnTo>
                      <a:pt x="64" y="98"/>
                    </a:lnTo>
                    <a:lnTo>
                      <a:pt x="62" y="96"/>
                    </a:lnTo>
                    <a:lnTo>
                      <a:pt x="62" y="92"/>
                    </a:lnTo>
                    <a:lnTo>
                      <a:pt x="62" y="92"/>
                    </a:lnTo>
                    <a:lnTo>
                      <a:pt x="60" y="90"/>
                    </a:lnTo>
                    <a:lnTo>
                      <a:pt x="58" y="88"/>
                    </a:lnTo>
                    <a:lnTo>
                      <a:pt x="58" y="88"/>
                    </a:lnTo>
                    <a:lnTo>
                      <a:pt x="58" y="88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4" y="86"/>
                    </a:lnTo>
                    <a:lnTo>
                      <a:pt x="54" y="86"/>
                    </a:lnTo>
                    <a:lnTo>
                      <a:pt x="52" y="84"/>
                    </a:lnTo>
                    <a:lnTo>
                      <a:pt x="50" y="80"/>
                    </a:lnTo>
                    <a:lnTo>
                      <a:pt x="50" y="78"/>
                    </a:lnTo>
                    <a:lnTo>
                      <a:pt x="50" y="76"/>
                    </a:lnTo>
                    <a:lnTo>
                      <a:pt x="50" y="76"/>
                    </a:lnTo>
                    <a:lnTo>
                      <a:pt x="50" y="76"/>
                    </a:lnTo>
                    <a:lnTo>
                      <a:pt x="50" y="74"/>
                    </a:lnTo>
                    <a:lnTo>
                      <a:pt x="50" y="74"/>
                    </a:lnTo>
                    <a:lnTo>
                      <a:pt x="52" y="72"/>
                    </a:lnTo>
                    <a:lnTo>
                      <a:pt x="54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6" y="68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2"/>
                    </a:lnTo>
                    <a:lnTo>
                      <a:pt x="58" y="62"/>
                    </a:lnTo>
                    <a:lnTo>
                      <a:pt x="58" y="60"/>
                    </a:lnTo>
                    <a:lnTo>
                      <a:pt x="58" y="60"/>
                    </a:lnTo>
                    <a:lnTo>
                      <a:pt x="58" y="60"/>
                    </a:lnTo>
                    <a:lnTo>
                      <a:pt x="62" y="58"/>
                    </a:lnTo>
                    <a:lnTo>
                      <a:pt x="64" y="56"/>
                    </a:lnTo>
                    <a:lnTo>
                      <a:pt x="66" y="52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48"/>
                    </a:lnTo>
                    <a:lnTo>
                      <a:pt x="70" y="44"/>
                    </a:lnTo>
                    <a:lnTo>
                      <a:pt x="70" y="44"/>
                    </a:lnTo>
                    <a:lnTo>
                      <a:pt x="70" y="42"/>
                    </a:lnTo>
                    <a:lnTo>
                      <a:pt x="70" y="40"/>
                    </a:lnTo>
                    <a:lnTo>
                      <a:pt x="68" y="40"/>
                    </a:lnTo>
                    <a:lnTo>
                      <a:pt x="68" y="40"/>
                    </a:lnTo>
                    <a:lnTo>
                      <a:pt x="68" y="38"/>
                    </a:lnTo>
                    <a:lnTo>
                      <a:pt x="66" y="38"/>
                    </a:lnTo>
                    <a:lnTo>
                      <a:pt x="66" y="36"/>
                    </a:lnTo>
                    <a:lnTo>
                      <a:pt x="64" y="36"/>
                    </a:lnTo>
                    <a:lnTo>
                      <a:pt x="64" y="36"/>
                    </a:lnTo>
                    <a:lnTo>
                      <a:pt x="64" y="34"/>
                    </a:lnTo>
                    <a:lnTo>
                      <a:pt x="64" y="30"/>
                    </a:lnTo>
                    <a:lnTo>
                      <a:pt x="64" y="26"/>
                    </a:lnTo>
                    <a:lnTo>
                      <a:pt x="64" y="24"/>
                    </a:lnTo>
                    <a:lnTo>
                      <a:pt x="64" y="24"/>
                    </a:lnTo>
                    <a:lnTo>
                      <a:pt x="64" y="22"/>
                    </a:lnTo>
                    <a:lnTo>
                      <a:pt x="66" y="20"/>
                    </a:lnTo>
                    <a:lnTo>
                      <a:pt x="66" y="20"/>
                    </a:lnTo>
                    <a:lnTo>
                      <a:pt x="66" y="20"/>
                    </a:lnTo>
                    <a:lnTo>
                      <a:pt x="68" y="20"/>
                    </a:lnTo>
                    <a:lnTo>
                      <a:pt x="68" y="18"/>
                    </a:lnTo>
                    <a:lnTo>
                      <a:pt x="70" y="16"/>
                    </a:lnTo>
                    <a:lnTo>
                      <a:pt x="70" y="16"/>
                    </a:lnTo>
                    <a:lnTo>
                      <a:pt x="70" y="14"/>
                    </a:lnTo>
                    <a:lnTo>
                      <a:pt x="72" y="12"/>
                    </a:lnTo>
                    <a:lnTo>
                      <a:pt x="74" y="10"/>
                    </a:lnTo>
                    <a:lnTo>
                      <a:pt x="74" y="8"/>
                    </a:lnTo>
                    <a:lnTo>
                      <a:pt x="74" y="6"/>
                    </a:lnTo>
                    <a:lnTo>
                      <a:pt x="74" y="6"/>
                    </a:lnTo>
                    <a:lnTo>
                      <a:pt x="74" y="6"/>
                    </a:lnTo>
                    <a:lnTo>
                      <a:pt x="74" y="6"/>
                    </a:lnTo>
                    <a:lnTo>
                      <a:pt x="72" y="6"/>
                    </a:lnTo>
                    <a:lnTo>
                      <a:pt x="70" y="6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6" y="4"/>
                    </a:lnTo>
                    <a:lnTo>
                      <a:pt x="66" y="2"/>
                    </a:lnTo>
                    <a:lnTo>
                      <a:pt x="66" y="2"/>
                    </a:lnTo>
                    <a:lnTo>
                      <a:pt x="64" y="2"/>
                    </a:lnTo>
                    <a:lnTo>
                      <a:pt x="62" y="2"/>
                    </a:lnTo>
                    <a:lnTo>
                      <a:pt x="62" y="2"/>
                    </a:lnTo>
                    <a:lnTo>
                      <a:pt x="60" y="2"/>
                    </a:lnTo>
                    <a:lnTo>
                      <a:pt x="58" y="0"/>
                    </a:lnTo>
                    <a:lnTo>
                      <a:pt x="58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4" y="0"/>
                    </a:lnTo>
                    <a:lnTo>
                      <a:pt x="54" y="2"/>
                    </a:lnTo>
                    <a:lnTo>
                      <a:pt x="52" y="2"/>
                    </a:lnTo>
                    <a:lnTo>
                      <a:pt x="52" y="4"/>
                    </a:lnTo>
                    <a:lnTo>
                      <a:pt x="52" y="6"/>
                    </a:lnTo>
                    <a:lnTo>
                      <a:pt x="52" y="8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6"/>
                    </a:lnTo>
                    <a:lnTo>
                      <a:pt x="50" y="18"/>
                    </a:lnTo>
                    <a:lnTo>
                      <a:pt x="48" y="20"/>
                    </a:lnTo>
                    <a:lnTo>
                      <a:pt x="46" y="20"/>
                    </a:lnTo>
                    <a:lnTo>
                      <a:pt x="46" y="20"/>
                    </a:lnTo>
                    <a:lnTo>
                      <a:pt x="44" y="22"/>
                    </a:lnTo>
                    <a:lnTo>
                      <a:pt x="42" y="22"/>
                    </a:lnTo>
                    <a:lnTo>
                      <a:pt x="42" y="24"/>
                    </a:lnTo>
                    <a:lnTo>
                      <a:pt x="42" y="26"/>
                    </a:lnTo>
                    <a:lnTo>
                      <a:pt x="40" y="30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34"/>
                    </a:lnTo>
                    <a:lnTo>
                      <a:pt x="38" y="36"/>
                    </a:lnTo>
                    <a:lnTo>
                      <a:pt x="38" y="38"/>
                    </a:lnTo>
                    <a:lnTo>
                      <a:pt x="36" y="38"/>
                    </a:lnTo>
                    <a:lnTo>
                      <a:pt x="34" y="40"/>
                    </a:lnTo>
                    <a:lnTo>
                      <a:pt x="32" y="40"/>
                    </a:lnTo>
                    <a:lnTo>
                      <a:pt x="32" y="40"/>
                    </a:lnTo>
                    <a:lnTo>
                      <a:pt x="30" y="40"/>
                    </a:lnTo>
                    <a:lnTo>
                      <a:pt x="28" y="40"/>
                    </a:lnTo>
                    <a:lnTo>
                      <a:pt x="28" y="40"/>
                    </a:lnTo>
                    <a:lnTo>
                      <a:pt x="28" y="38"/>
                    </a:lnTo>
                    <a:lnTo>
                      <a:pt x="28" y="38"/>
                    </a:lnTo>
                    <a:lnTo>
                      <a:pt x="26" y="36"/>
                    </a:lnTo>
                    <a:lnTo>
                      <a:pt x="26" y="34"/>
                    </a:lnTo>
                    <a:lnTo>
                      <a:pt x="24" y="34"/>
                    </a:lnTo>
                    <a:lnTo>
                      <a:pt x="24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18" y="38"/>
                    </a:lnTo>
                    <a:lnTo>
                      <a:pt x="16" y="40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2" y="48"/>
                    </a:lnTo>
                    <a:lnTo>
                      <a:pt x="12" y="52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0" y="58"/>
                    </a:lnTo>
                    <a:lnTo>
                      <a:pt x="8" y="58"/>
                    </a:lnTo>
                    <a:lnTo>
                      <a:pt x="6" y="62"/>
                    </a:lnTo>
                    <a:lnTo>
                      <a:pt x="4" y="64"/>
                    </a:lnTo>
                    <a:lnTo>
                      <a:pt x="2" y="64"/>
                    </a:lnTo>
                    <a:lnTo>
                      <a:pt x="2" y="66"/>
                    </a:lnTo>
                    <a:lnTo>
                      <a:pt x="2" y="68"/>
                    </a:lnTo>
                    <a:lnTo>
                      <a:pt x="2" y="68"/>
                    </a:lnTo>
                    <a:lnTo>
                      <a:pt x="2" y="72"/>
                    </a:lnTo>
                    <a:lnTo>
                      <a:pt x="2" y="74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80"/>
                    </a:lnTo>
                    <a:lnTo>
                      <a:pt x="0" y="80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2" y="80"/>
                    </a:lnTo>
                    <a:lnTo>
                      <a:pt x="6" y="82"/>
                    </a:lnTo>
                    <a:lnTo>
                      <a:pt x="6" y="84"/>
                    </a:lnTo>
                    <a:lnTo>
                      <a:pt x="8" y="84"/>
                    </a:lnTo>
                    <a:lnTo>
                      <a:pt x="8" y="84"/>
                    </a:lnTo>
                    <a:lnTo>
                      <a:pt x="10" y="84"/>
                    </a:lnTo>
                    <a:lnTo>
                      <a:pt x="10" y="84"/>
                    </a:lnTo>
                    <a:lnTo>
                      <a:pt x="12" y="84"/>
                    </a:lnTo>
                    <a:lnTo>
                      <a:pt x="12" y="84"/>
                    </a:lnTo>
                    <a:lnTo>
                      <a:pt x="14" y="84"/>
                    </a:lnTo>
                    <a:lnTo>
                      <a:pt x="14" y="84"/>
                    </a:lnTo>
                    <a:lnTo>
                      <a:pt x="16" y="86"/>
                    </a:lnTo>
                    <a:lnTo>
                      <a:pt x="16" y="86"/>
                    </a:lnTo>
                    <a:lnTo>
                      <a:pt x="16" y="90"/>
                    </a:lnTo>
                    <a:lnTo>
                      <a:pt x="16" y="90"/>
                    </a:lnTo>
                    <a:lnTo>
                      <a:pt x="18" y="92"/>
                    </a:lnTo>
                    <a:lnTo>
                      <a:pt x="18" y="94"/>
                    </a:lnTo>
                    <a:lnTo>
                      <a:pt x="18" y="94"/>
                    </a:lnTo>
                    <a:lnTo>
                      <a:pt x="18" y="94"/>
                    </a:lnTo>
                    <a:lnTo>
                      <a:pt x="18" y="96"/>
                    </a:lnTo>
                    <a:lnTo>
                      <a:pt x="18" y="98"/>
                    </a:lnTo>
                    <a:lnTo>
                      <a:pt x="16" y="98"/>
                    </a:lnTo>
                    <a:lnTo>
                      <a:pt x="16" y="98"/>
                    </a:lnTo>
                    <a:lnTo>
                      <a:pt x="16" y="100"/>
                    </a:lnTo>
                    <a:lnTo>
                      <a:pt x="16" y="102"/>
                    </a:lnTo>
                    <a:lnTo>
                      <a:pt x="16" y="104"/>
                    </a:lnTo>
                    <a:lnTo>
                      <a:pt x="18" y="108"/>
                    </a:lnTo>
                    <a:lnTo>
                      <a:pt x="18" y="108"/>
                    </a:lnTo>
                    <a:lnTo>
                      <a:pt x="18" y="110"/>
                    </a:lnTo>
                    <a:lnTo>
                      <a:pt x="18" y="112"/>
                    </a:lnTo>
                    <a:lnTo>
                      <a:pt x="18" y="116"/>
                    </a:lnTo>
                    <a:lnTo>
                      <a:pt x="18" y="116"/>
                    </a:lnTo>
                    <a:lnTo>
                      <a:pt x="20" y="118"/>
                    </a:lnTo>
                    <a:lnTo>
                      <a:pt x="20" y="118"/>
                    </a:lnTo>
                    <a:lnTo>
                      <a:pt x="22" y="118"/>
                    </a:lnTo>
                    <a:lnTo>
                      <a:pt x="24" y="118"/>
                    </a:lnTo>
                    <a:lnTo>
                      <a:pt x="24" y="118"/>
                    </a:lnTo>
                    <a:lnTo>
                      <a:pt x="24" y="120"/>
                    </a:lnTo>
                    <a:lnTo>
                      <a:pt x="26" y="120"/>
                    </a:lnTo>
                    <a:lnTo>
                      <a:pt x="28" y="122"/>
                    </a:lnTo>
                    <a:lnTo>
                      <a:pt x="28" y="122"/>
                    </a:lnTo>
                    <a:lnTo>
                      <a:pt x="30" y="122"/>
                    </a:lnTo>
                    <a:lnTo>
                      <a:pt x="30" y="122"/>
                    </a:lnTo>
                    <a:lnTo>
                      <a:pt x="30" y="122"/>
                    </a:lnTo>
                    <a:lnTo>
                      <a:pt x="30" y="122"/>
                    </a:lnTo>
                    <a:lnTo>
                      <a:pt x="32" y="122"/>
                    </a:lnTo>
                    <a:lnTo>
                      <a:pt x="32" y="120"/>
                    </a:lnTo>
                    <a:lnTo>
                      <a:pt x="32" y="120"/>
                    </a:lnTo>
                    <a:lnTo>
                      <a:pt x="32" y="120"/>
                    </a:lnTo>
                    <a:lnTo>
                      <a:pt x="32" y="118"/>
                    </a:lnTo>
                    <a:lnTo>
                      <a:pt x="32" y="118"/>
                    </a:lnTo>
                    <a:lnTo>
                      <a:pt x="34" y="118"/>
                    </a:lnTo>
                    <a:lnTo>
                      <a:pt x="34" y="118"/>
                    </a:lnTo>
                    <a:lnTo>
                      <a:pt x="34" y="120"/>
                    </a:lnTo>
                    <a:lnTo>
                      <a:pt x="36" y="122"/>
                    </a:lnTo>
                    <a:lnTo>
                      <a:pt x="36" y="124"/>
                    </a:lnTo>
                    <a:lnTo>
                      <a:pt x="36" y="124"/>
                    </a:lnTo>
                    <a:lnTo>
                      <a:pt x="38" y="124"/>
                    </a:lnTo>
                    <a:lnTo>
                      <a:pt x="38" y="124"/>
                    </a:lnTo>
                    <a:lnTo>
                      <a:pt x="38" y="124"/>
                    </a:lnTo>
                    <a:lnTo>
                      <a:pt x="38" y="122"/>
                    </a:lnTo>
                    <a:lnTo>
                      <a:pt x="40" y="122"/>
                    </a:lnTo>
                    <a:lnTo>
                      <a:pt x="40" y="122"/>
                    </a:lnTo>
                    <a:lnTo>
                      <a:pt x="42" y="122"/>
                    </a:lnTo>
                    <a:lnTo>
                      <a:pt x="42" y="122"/>
                    </a:lnTo>
                    <a:lnTo>
                      <a:pt x="42" y="122"/>
                    </a:lnTo>
                    <a:lnTo>
                      <a:pt x="44" y="124"/>
                    </a:lnTo>
                    <a:lnTo>
                      <a:pt x="44" y="124"/>
                    </a:lnTo>
                    <a:lnTo>
                      <a:pt x="44" y="120"/>
                    </a:lnTo>
                    <a:lnTo>
                      <a:pt x="46" y="118"/>
                    </a:lnTo>
                    <a:lnTo>
                      <a:pt x="46" y="118"/>
                    </a:lnTo>
                    <a:lnTo>
                      <a:pt x="46" y="114"/>
                    </a:lnTo>
                    <a:lnTo>
                      <a:pt x="46" y="112"/>
                    </a:lnTo>
                    <a:lnTo>
                      <a:pt x="48" y="110"/>
                    </a:lnTo>
                    <a:lnTo>
                      <a:pt x="48" y="108"/>
                    </a:lnTo>
                    <a:lnTo>
                      <a:pt x="48" y="108"/>
                    </a:lnTo>
                    <a:lnTo>
                      <a:pt x="48" y="108"/>
                    </a:lnTo>
                    <a:lnTo>
                      <a:pt x="48" y="108"/>
                    </a:lnTo>
                    <a:lnTo>
                      <a:pt x="48" y="108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61" name="Freeform 507"/>
              <p:cNvSpPr>
                <a:spLocks/>
              </p:cNvSpPr>
              <p:nvPr/>
            </p:nvSpPr>
            <p:spPr bwMode="auto">
              <a:xfrm>
                <a:off x="4601" y="2044"/>
                <a:ext cx="62" cy="96"/>
              </a:xfrm>
              <a:custGeom>
                <a:avLst/>
                <a:gdLst>
                  <a:gd name="T0" fmla="*/ 62 w 62"/>
                  <a:gd name="T1" fmla="*/ 66 h 96"/>
                  <a:gd name="T2" fmla="*/ 62 w 62"/>
                  <a:gd name="T3" fmla="*/ 60 h 96"/>
                  <a:gd name="T4" fmla="*/ 60 w 62"/>
                  <a:gd name="T5" fmla="*/ 54 h 96"/>
                  <a:gd name="T6" fmla="*/ 56 w 62"/>
                  <a:gd name="T7" fmla="*/ 52 h 96"/>
                  <a:gd name="T8" fmla="*/ 56 w 62"/>
                  <a:gd name="T9" fmla="*/ 44 h 96"/>
                  <a:gd name="T10" fmla="*/ 54 w 62"/>
                  <a:gd name="T11" fmla="*/ 38 h 96"/>
                  <a:gd name="T12" fmla="*/ 50 w 62"/>
                  <a:gd name="T13" fmla="*/ 32 h 96"/>
                  <a:gd name="T14" fmla="*/ 48 w 62"/>
                  <a:gd name="T15" fmla="*/ 28 h 96"/>
                  <a:gd name="T16" fmla="*/ 38 w 62"/>
                  <a:gd name="T17" fmla="*/ 14 h 96"/>
                  <a:gd name="T18" fmla="*/ 28 w 62"/>
                  <a:gd name="T19" fmla="*/ 6 h 96"/>
                  <a:gd name="T20" fmla="*/ 20 w 62"/>
                  <a:gd name="T21" fmla="*/ 0 h 96"/>
                  <a:gd name="T22" fmla="*/ 18 w 62"/>
                  <a:gd name="T23" fmla="*/ 4 h 96"/>
                  <a:gd name="T24" fmla="*/ 14 w 62"/>
                  <a:gd name="T25" fmla="*/ 8 h 96"/>
                  <a:gd name="T26" fmla="*/ 6 w 62"/>
                  <a:gd name="T27" fmla="*/ 10 h 96"/>
                  <a:gd name="T28" fmla="*/ 4 w 62"/>
                  <a:gd name="T29" fmla="*/ 12 h 96"/>
                  <a:gd name="T30" fmla="*/ 2 w 62"/>
                  <a:gd name="T31" fmla="*/ 20 h 96"/>
                  <a:gd name="T32" fmla="*/ 0 w 62"/>
                  <a:gd name="T33" fmla="*/ 26 h 96"/>
                  <a:gd name="T34" fmla="*/ 4 w 62"/>
                  <a:gd name="T35" fmla="*/ 26 h 96"/>
                  <a:gd name="T36" fmla="*/ 6 w 62"/>
                  <a:gd name="T37" fmla="*/ 28 h 96"/>
                  <a:gd name="T38" fmla="*/ 10 w 62"/>
                  <a:gd name="T39" fmla="*/ 34 h 96"/>
                  <a:gd name="T40" fmla="*/ 8 w 62"/>
                  <a:gd name="T41" fmla="*/ 36 h 96"/>
                  <a:gd name="T42" fmla="*/ 8 w 62"/>
                  <a:gd name="T43" fmla="*/ 40 h 96"/>
                  <a:gd name="T44" fmla="*/ 6 w 62"/>
                  <a:gd name="T45" fmla="*/ 42 h 96"/>
                  <a:gd name="T46" fmla="*/ 2 w 62"/>
                  <a:gd name="T47" fmla="*/ 40 h 96"/>
                  <a:gd name="T48" fmla="*/ 2 w 62"/>
                  <a:gd name="T49" fmla="*/ 44 h 96"/>
                  <a:gd name="T50" fmla="*/ 8 w 62"/>
                  <a:gd name="T51" fmla="*/ 48 h 96"/>
                  <a:gd name="T52" fmla="*/ 8 w 62"/>
                  <a:gd name="T53" fmla="*/ 52 h 96"/>
                  <a:gd name="T54" fmla="*/ 10 w 62"/>
                  <a:gd name="T55" fmla="*/ 56 h 96"/>
                  <a:gd name="T56" fmla="*/ 16 w 62"/>
                  <a:gd name="T57" fmla="*/ 62 h 96"/>
                  <a:gd name="T58" fmla="*/ 18 w 62"/>
                  <a:gd name="T59" fmla="*/ 68 h 96"/>
                  <a:gd name="T60" fmla="*/ 16 w 62"/>
                  <a:gd name="T61" fmla="*/ 74 h 96"/>
                  <a:gd name="T62" fmla="*/ 16 w 62"/>
                  <a:gd name="T63" fmla="*/ 78 h 96"/>
                  <a:gd name="T64" fmla="*/ 20 w 62"/>
                  <a:gd name="T65" fmla="*/ 86 h 96"/>
                  <a:gd name="T66" fmla="*/ 22 w 62"/>
                  <a:gd name="T67" fmla="*/ 88 h 96"/>
                  <a:gd name="T68" fmla="*/ 18 w 62"/>
                  <a:gd name="T69" fmla="*/ 92 h 96"/>
                  <a:gd name="T70" fmla="*/ 20 w 62"/>
                  <a:gd name="T71" fmla="*/ 94 h 96"/>
                  <a:gd name="T72" fmla="*/ 24 w 62"/>
                  <a:gd name="T73" fmla="*/ 96 h 96"/>
                  <a:gd name="T74" fmla="*/ 28 w 62"/>
                  <a:gd name="T75" fmla="*/ 96 h 96"/>
                  <a:gd name="T76" fmla="*/ 30 w 62"/>
                  <a:gd name="T77" fmla="*/ 94 h 96"/>
                  <a:gd name="T78" fmla="*/ 34 w 62"/>
                  <a:gd name="T79" fmla="*/ 92 h 96"/>
                  <a:gd name="T80" fmla="*/ 38 w 62"/>
                  <a:gd name="T81" fmla="*/ 88 h 96"/>
                  <a:gd name="T82" fmla="*/ 40 w 62"/>
                  <a:gd name="T83" fmla="*/ 82 h 96"/>
                  <a:gd name="T84" fmla="*/ 44 w 62"/>
                  <a:gd name="T85" fmla="*/ 86 h 96"/>
                  <a:gd name="T86" fmla="*/ 46 w 62"/>
                  <a:gd name="T87" fmla="*/ 84 h 96"/>
                  <a:gd name="T88" fmla="*/ 48 w 62"/>
                  <a:gd name="T89" fmla="*/ 80 h 96"/>
                  <a:gd name="T90" fmla="*/ 52 w 62"/>
                  <a:gd name="T91" fmla="*/ 78 h 96"/>
                  <a:gd name="T92" fmla="*/ 48 w 62"/>
                  <a:gd name="T93" fmla="*/ 74 h 96"/>
                  <a:gd name="T94" fmla="*/ 46 w 62"/>
                  <a:gd name="T95" fmla="*/ 70 h 96"/>
                  <a:gd name="T96" fmla="*/ 52 w 62"/>
                  <a:gd name="T97" fmla="*/ 70 h 96"/>
                  <a:gd name="T98" fmla="*/ 58 w 62"/>
                  <a:gd name="T99" fmla="*/ 74 h 96"/>
                  <a:gd name="T100" fmla="*/ 62 w 62"/>
                  <a:gd name="T101" fmla="*/ 76 h 96"/>
                  <a:gd name="T102" fmla="*/ 62 w 62"/>
                  <a:gd name="T103" fmla="*/ 7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62" h="96">
                    <a:moveTo>
                      <a:pt x="62" y="70"/>
                    </a:moveTo>
                    <a:lnTo>
                      <a:pt x="62" y="70"/>
                    </a:lnTo>
                    <a:lnTo>
                      <a:pt x="62" y="68"/>
                    </a:lnTo>
                    <a:lnTo>
                      <a:pt x="62" y="66"/>
                    </a:lnTo>
                    <a:lnTo>
                      <a:pt x="62" y="66"/>
                    </a:lnTo>
                    <a:lnTo>
                      <a:pt x="62" y="64"/>
                    </a:lnTo>
                    <a:lnTo>
                      <a:pt x="62" y="64"/>
                    </a:lnTo>
                    <a:lnTo>
                      <a:pt x="62" y="60"/>
                    </a:lnTo>
                    <a:lnTo>
                      <a:pt x="62" y="56"/>
                    </a:lnTo>
                    <a:lnTo>
                      <a:pt x="62" y="56"/>
                    </a:lnTo>
                    <a:lnTo>
                      <a:pt x="62" y="56"/>
                    </a:lnTo>
                    <a:lnTo>
                      <a:pt x="60" y="54"/>
                    </a:lnTo>
                    <a:lnTo>
                      <a:pt x="60" y="54"/>
                    </a:lnTo>
                    <a:lnTo>
                      <a:pt x="58" y="54"/>
                    </a:lnTo>
                    <a:lnTo>
                      <a:pt x="58" y="54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0"/>
                    </a:lnTo>
                    <a:lnTo>
                      <a:pt x="56" y="48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0"/>
                    </a:lnTo>
                    <a:lnTo>
                      <a:pt x="56" y="38"/>
                    </a:lnTo>
                    <a:lnTo>
                      <a:pt x="54" y="38"/>
                    </a:lnTo>
                    <a:lnTo>
                      <a:pt x="54" y="36"/>
                    </a:lnTo>
                    <a:lnTo>
                      <a:pt x="54" y="36"/>
                    </a:lnTo>
                    <a:lnTo>
                      <a:pt x="52" y="34"/>
                    </a:lnTo>
                    <a:lnTo>
                      <a:pt x="50" y="32"/>
                    </a:lnTo>
                    <a:lnTo>
                      <a:pt x="50" y="32"/>
                    </a:lnTo>
                    <a:lnTo>
                      <a:pt x="48" y="30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4" y="22"/>
                    </a:lnTo>
                    <a:lnTo>
                      <a:pt x="40" y="18"/>
                    </a:lnTo>
                    <a:lnTo>
                      <a:pt x="40" y="18"/>
                    </a:lnTo>
                    <a:lnTo>
                      <a:pt x="38" y="14"/>
                    </a:lnTo>
                    <a:lnTo>
                      <a:pt x="36" y="12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28" y="6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2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2"/>
                    </a:lnTo>
                    <a:lnTo>
                      <a:pt x="18" y="2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6" y="6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2" y="8"/>
                    </a:lnTo>
                    <a:lnTo>
                      <a:pt x="10" y="8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2" y="16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0" y="22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6" y="28"/>
                    </a:lnTo>
                    <a:lnTo>
                      <a:pt x="6" y="28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10" y="32"/>
                    </a:lnTo>
                    <a:lnTo>
                      <a:pt x="10" y="34"/>
                    </a:lnTo>
                    <a:lnTo>
                      <a:pt x="8" y="34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8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2" y="40"/>
                    </a:lnTo>
                    <a:lnTo>
                      <a:pt x="2" y="40"/>
                    </a:lnTo>
                    <a:lnTo>
                      <a:pt x="2" y="40"/>
                    </a:lnTo>
                    <a:lnTo>
                      <a:pt x="2" y="42"/>
                    </a:lnTo>
                    <a:lnTo>
                      <a:pt x="2" y="44"/>
                    </a:lnTo>
                    <a:lnTo>
                      <a:pt x="2" y="44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6" y="48"/>
                    </a:lnTo>
                    <a:lnTo>
                      <a:pt x="8" y="48"/>
                    </a:lnTo>
                    <a:lnTo>
                      <a:pt x="8" y="50"/>
                    </a:lnTo>
                    <a:lnTo>
                      <a:pt x="8" y="50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10" y="54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0" y="58"/>
                    </a:lnTo>
                    <a:lnTo>
                      <a:pt x="12" y="60"/>
                    </a:lnTo>
                    <a:lnTo>
                      <a:pt x="14" y="60"/>
                    </a:lnTo>
                    <a:lnTo>
                      <a:pt x="16" y="62"/>
                    </a:lnTo>
                    <a:lnTo>
                      <a:pt x="16" y="62"/>
                    </a:lnTo>
                    <a:lnTo>
                      <a:pt x="18" y="64"/>
                    </a:lnTo>
                    <a:lnTo>
                      <a:pt x="18" y="66"/>
                    </a:lnTo>
                    <a:lnTo>
                      <a:pt x="18" y="68"/>
                    </a:lnTo>
                    <a:lnTo>
                      <a:pt x="16" y="70"/>
                    </a:lnTo>
                    <a:lnTo>
                      <a:pt x="16" y="70"/>
                    </a:lnTo>
                    <a:lnTo>
                      <a:pt x="16" y="72"/>
                    </a:lnTo>
                    <a:lnTo>
                      <a:pt x="16" y="74"/>
                    </a:lnTo>
                    <a:lnTo>
                      <a:pt x="16" y="76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8" y="80"/>
                    </a:lnTo>
                    <a:lnTo>
                      <a:pt x="18" y="80"/>
                    </a:lnTo>
                    <a:lnTo>
                      <a:pt x="18" y="84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8"/>
                    </a:lnTo>
                    <a:lnTo>
                      <a:pt x="22" y="88"/>
                    </a:lnTo>
                    <a:lnTo>
                      <a:pt x="22" y="88"/>
                    </a:lnTo>
                    <a:lnTo>
                      <a:pt x="22" y="90"/>
                    </a:lnTo>
                    <a:lnTo>
                      <a:pt x="22" y="90"/>
                    </a:lnTo>
                    <a:lnTo>
                      <a:pt x="20" y="90"/>
                    </a:lnTo>
                    <a:lnTo>
                      <a:pt x="18" y="92"/>
                    </a:lnTo>
                    <a:lnTo>
                      <a:pt x="18" y="92"/>
                    </a:lnTo>
                    <a:lnTo>
                      <a:pt x="18" y="92"/>
                    </a:lnTo>
                    <a:lnTo>
                      <a:pt x="18" y="94"/>
                    </a:lnTo>
                    <a:lnTo>
                      <a:pt x="20" y="94"/>
                    </a:lnTo>
                    <a:lnTo>
                      <a:pt x="20" y="94"/>
                    </a:lnTo>
                    <a:lnTo>
                      <a:pt x="20" y="96"/>
                    </a:lnTo>
                    <a:lnTo>
                      <a:pt x="22" y="96"/>
                    </a:lnTo>
                    <a:lnTo>
                      <a:pt x="24" y="96"/>
                    </a:lnTo>
                    <a:lnTo>
                      <a:pt x="24" y="96"/>
                    </a:lnTo>
                    <a:lnTo>
                      <a:pt x="26" y="96"/>
                    </a:lnTo>
                    <a:lnTo>
                      <a:pt x="28" y="96"/>
                    </a:lnTo>
                    <a:lnTo>
                      <a:pt x="28" y="96"/>
                    </a:lnTo>
                    <a:lnTo>
                      <a:pt x="28" y="96"/>
                    </a:lnTo>
                    <a:lnTo>
                      <a:pt x="28" y="96"/>
                    </a:lnTo>
                    <a:lnTo>
                      <a:pt x="30" y="96"/>
                    </a:lnTo>
                    <a:lnTo>
                      <a:pt x="30" y="94"/>
                    </a:lnTo>
                    <a:lnTo>
                      <a:pt x="32" y="94"/>
                    </a:lnTo>
                    <a:lnTo>
                      <a:pt x="32" y="94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38" y="92"/>
                    </a:lnTo>
                    <a:lnTo>
                      <a:pt x="38" y="92"/>
                    </a:lnTo>
                    <a:lnTo>
                      <a:pt x="38" y="90"/>
                    </a:lnTo>
                    <a:lnTo>
                      <a:pt x="38" y="88"/>
                    </a:lnTo>
                    <a:lnTo>
                      <a:pt x="38" y="86"/>
                    </a:lnTo>
                    <a:lnTo>
                      <a:pt x="40" y="84"/>
                    </a:lnTo>
                    <a:lnTo>
                      <a:pt x="40" y="84"/>
                    </a:lnTo>
                    <a:lnTo>
                      <a:pt x="40" y="82"/>
                    </a:lnTo>
                    <a:lnTo>
                      <a:pt x="40" y="82"/>
                    </a:lnTo>
                    <a:lnTo>
                      <a:pt x="42" y="82"/>
                    </a:lnTo>
                    <a:lnTo>
                      <a:pt x="42" y="84"/>
                    </a:lnTo>
                    <a:lnTo>
                      <a:pt x="44" y="86"/>
                    </a:lnTo>
                    <a:lnTo>
                      <a:pt x="46" y="86"/>
                    </a:lnTo>
                    <a:lnTo>
                      <a:pt x="46" y="88"/>
                    </a:lnTo>
                    <a:lnTo>
                      <a:pt x="46" y="88"/>
                    </a:lnTo>
                    <a:lnTo>
                      <a:pt x="46" y="84"/>
                    </a:lnTo>
                    <a:lnTo>
                      <a:pt x="46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0"/>
                    </a:lnTo>
                    <a:lnTo>
                      <a:pt x="50" y="80"/>
                    </a:lnTo>
                    <a:lnTo>
                      <a:pt x="50" y="80"/>
                    </a:lnTo>
                    <a:lnTo>
                      <a:pt x="52" y="78"/>
                    </a:lnTo>
                    <a:lnTo>
                      <a:pt x="52" y="78"/>
                    </a:lnTo>
                    <a:lnTo>
                      <a:pt x="52" y="78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48" y="74"/>
                    </a:lnTo>
                    <a:lnTo>
                      <a:pt x="48" y="72"/>
                    </a:lnTo>
                    <a:lnTo>
                      <a:pt x="46" y="72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50" y="70"/>
                    </a:lnTo>
                    <a:lnTo>
                      <a:pt x="52" y="70"/>
                    </a:lnTo>
                    <a:lnTo>
                      <a:pt x="54" y="72"/>
                    </a:lnTo>
                    <a:lnTo>
                      <a:pt x="54" y="72"/>
                    </a:lnTo>
                    <a:lnTo>
                      <a:pt x="56" y="74"/>
                    </a:lnTo>
                    <a:lnTo>
                      <a:pt x="58" y="74"/>
                    </a:lnTo>
                    <a:lnTo>
                      <a:pt x="58" y="74"/>
                    </a:lnTo>
                    <a:lnTo>
                      <a:pt x="60" y="76"/>
                    </a:lnTo>
                    <a:lnTo>
                      <a:pt x="60" y="76"/>
                    </a:lnTo>
                    <a:lnTo>
                      <a:pt x="62" y="76"/>
                    </a:lnTo>
                    <a:lnTo>
                      <a:pt x="62" y="76"/>
                    </a:lnTo>
                    <a:lnTo>
                      <a:pt x="62" y="72"/>
                    </a:lnTo>
                    <a:lnTo>
                      <a:pt x="62" y="70"/>
                    </a:lnTo>
                    <a:lnTo>
                      <a:pt x="62" y="70"/>
                    </a:lnTo>
                    <a:lnTo>
                      <a:pt x="62" y="70"/>
                    </a:lnTo>
                    <a:lnTo>
                      <a:pt x="62" y="70"/>
                    </a:lnTo>
                    <a:lnTo>
                      <a:pt x="62" y="7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62" name="Freeform 510"/>
              <p:cNvSpPr>
                <a:spLocks/>
              </p:cNvSpPr>
              <p:nvPr/>
            </p:nvSpPr>
            <p:spPr bwMode="auto">
              <a:xfrm>
                <a:off x="4629" y="2144"/>
                <a:ext cx="6" cy="4"/>
              </a:xfrm>
              <a:custGeom>
                <a:avLst/>
                <a:gdLst>
                  <a:gd name="T0" fmla="*/ 4 w 6"/>
                  <a:gd name="T1" fmla="*/ 0 h 4"/>
                  <a:gd name="T2" fmla="*/ 4 w 6"/>
                  <a:gd name="T3" fmla="*/ 0 h 4"/>
                  <a:gd name="T4" fmla="*/ 2 w 6"/>
                  <a:gd name="T5" fmla="*/ 0 h 4"/>
                  <a:gd name="T6" fmla="*/ 2 w 6"/>
                  <a:gd name="T7" fmla="*/ 2 h 4"/>
                  <a:gd name="T8" fmla="*/ 0 w 6"/>
                  <a:gd name="T9" fmla="*/ 2 h 4"/>
                  <a:gd name="T10" fmla="*/ 0 w 6"/>
                  <a:gd name="T11" fmla="*/ 2 h 4"/>
                  <a:gd name="T12" fmla="*/ 2 w 6"/>
                  <a:gd name="T13" fmla="*/ 4 h 4"/>
                  <a:gd name="T14" fmla="*/ 4 w 6"/>
                  <a:gd name="T15" fmla="*/ 4 h 4"/>
                  <a:gd name="T16" fmla="*/ 4 w 6"/>
                  <a:gd name="T17" fmla="*/ 4 h 4"/>
                  <a:gd name="T18" fmla="*/ 6 w 6"/>
                  <a:gd name="T19" fmla="*/ 2 h 4"/>
                  <a:gd name="T20" fmla="*/ 6 w 6"/>
                  <a:gd name="T21" fmla="*/ 0 h 4"/>
                  <a:gd name="T22" fmla="*/ 6 w 6"/>
                  <a:gd name="T23" fmla="*/ 0 h 4"/>
                  <a:gd name="T24" fmla="*/ 4 w 6"/>
                  <a:gd name="T25" fmla="*/ 0 h 4"/>
                  <a:gd name="T26" fmla="*/ 4 w 6"/>
                  <a:gd name="T27" fmla="*/ 0 h 4"/>
                  <a:gd name="T28" fmla="*/ 4 w 6"/>
                  <a:gd name="T29" fmla="*/ 0 h 4"/>
                  <a:gd name="T30" fmla="*/ 4 w 6"/>
                  <a:gd name="T3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" h="4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63" name="Freeform 511"/>
              <p:cNvSpPr>
                <a:spLocks/>
              </p:cNvSpPr>
              <p:nvPr/>
            </p:nvSpPr>
            <p:spPr bwMode="auto">
              <a:xfrm>
                <a:off x="4649" y="2126"/>
                <a:ext cx="6" cy="6"/>
              </a:xfrm>
              <a:custGeom>
                <a:avLst/>
                <a:gdLst>
                  <a:gd name="T0" fmla="*/ 0 w 6"/>
                  <a:gd name="T1" fmla="*/ 6 h 6"/>
                  <a:gd name="T2" fmla="*/ 0 w 6"/>
                  <a:gd name="T3" fmla="*/ 6 h 6"/>
                  <a:gd name="T4" fmla="*/ 2 w 6"/>
                  <a:gd name="T5" fmla="*/ 6 h 6"/>
                  <a:gd name="T6" fmla="*/ 2 w 6"/>
                  <a:gd name="T7" fmla="*/ 6 h 6"/>
                  <a:gd name="T8" fmla="*/ 4 w 6"/>
                  <a:gd name="T9" fmla="*/ 6 h 6"/>
                  <a:gd name="T10" fmla="*/ 6 w 6"/>
                  <a:gd name="T11" fmla="*/ 4 h 6"/>
                  <a:gd name="T12" fmla="*/ 6 w 6"/>
                  <a:gd name="T13" fmla="*/ 2 h 6"/>
                  <a:gd name="T14" fmla="*/ 6 w 6"/>
                  <a:gd name="T15" fmla="*/ 2 h 6"/>
                  <a:gd name="T16" fmla="*/ 6 w 6"/>
                  <a:gd name="T17" fmla="*/ 2 h 6"/>
                  <a:gd name="T18" fmla="*/ 4 w 6"/>
                  <a:gd name="T19" fmla="*/ 0 h 6"/>
                  <a:gd name="T20" fmla="*/ 4 w 6"/>
                  <a:gd name="T21" fmla="*/ 0 h 6"/>
                  <a:gd name="T22" fmla="*/ 2 w 6"/>
                  <a:gd name="T23" fmla="*/ 2 h 6"/>
                  <a:gd name="T24" fmla="*/ 2 w 6"/>
                  <a:gd name="T25" fmla="*/ 2 h 6"/>
                  <a:gd name="T26" fmla="*/ 0 w 6"/>
                  <a:gd name="T27" fmla="*/ 4 h 6"/>
                  <a:gd name="T28" fmla="*/ 0 w 6"/>
                  <a:gd name="T29" fmla="*/ 4 h 6"/>
                  <a:gd name="T30" fmla="*/ 0 w 6"/>
                  <a:gd name="T31" fmla="*/ 6 h 6"/>
                  <a:gd name="T32" fmla="*/ 0 w 6"/>
                  <a:gd name="T33" fmla="*/ 6 h 6"/>
                  <a:gd name="T34" fmla="*/ 0 w 6"/>
                  <a:gd name="T35" fmla="*/ 6 h 6"/>
                  <a:gd name="T36" fmla="*/ 0 w 6"/>
                  <a:gd name="T37" fmla="*/ 6 h 6"/>
                  <a:gd name="T38" fmla="*/ 0 w 6"/>
                  <a:gd name="T39" fmla="*/ 6 h 6"/>
                  <a:gd name="T40" fmla="*/ 0 w 6"/>
                  <a:gd name="T4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" h="6">
                    <a:moveTo>
                      <a:pt x="0" y="6"/>
                    </a:moveTo>
                    <a:lnTo>
                      <a:pt x="0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64" name="Freeform 512"/>
              <p:cNvSpPr>
                <a:spLocks/>
              </p:cNvSpPr>
              <p:nvPr/>
            </p:nvSpPr>
            <p:spPr bwMode="auto">
              <a:xfrm>
                <a:off x="4649" y="2126"/>
                <a:ext cx="6" cy="6"/>
              </a:xfrm>
              <a:custGeom>
                <a:avLst/>
                <a:gdLst>
                  <a:gd name="T0" fmla="*/ 0 w 6"/>
                  <a:gd name="T1" fmla="*/ 6 h 6"/>
                  <a:gd name="T2" fmla="*/ 0 w 6"/>
                  <a:gd name="T3" fmla="*/ 6 h 6"/>
                  <a:gd name="T4" fmla="*/ 2 w 6"/>
                  <a:gd name="T5" fmla="*/ 6 h 6"/>
                  <a:gd name="T6" fmla="*/ 2 w 6"/>
                  <a:gd name="T7" fmla="*/ 6 h 6"/>
                  <a:gd name="T8" fmla="*/ 4 w 6"/>
                  <a:gd name="T9" fmla="*/ 6 h 6"/>
                  <a:gd name="T10" fmla="*/ 6 w 6"/>
                  <a:gd name="T11" fmla="*/ 4 h 6"/>
                  <a:gd name="T12" fmla="*/ 6 w 6"/>
                  <a:gd name="T13" fmla="*/ 2 h 6"/>
                  <a:gd name="T14" fmla="*/ 6 w 6"/>
                  <a:gd name="T15" fmla="*/ 2 h 6"/>
                  <a:gd name="T16" fmla="*/ 6 w 6"/>
                  <a:gd name="T17" fmla="*/ 2 h 6"/>
                  <a:gd name="T18" fmla="*/ 4 w 6"/>
                  <a:gd name="T19" fmla="*/ 0 h 6"/>
                  <a:gd name="T20" fmla="*/ 4 w 6"/>
                  <a:gd name="T21" fmla="*/ 0 h 6"/>
                  <a:gd name="T22" fmla="*/ 2 w 6"/>
                  <a:gd name="T23" fmla="*/ 2 h 6"/>
                  <a:gd name="T24" fmla="*/ 2 w 6"/>
                  <a:gd name="T25" fmla="*/ 2 h 6"/>
                  <a:gd name="T26" fmla="*/ 0 w 6"/>
                  <a:gd name="T27" fmla="*/ 4 h 6"/>
                  <a:gd name="T28" fmla="*/ 0 w 6"/>
                  <a:gd name="T29" fmla="*/ 4 h 6"/>
                  <a:gd name="T30" fmla="*/ 0 w 6"/>
                  <a:gd name="T31" fmla="*/ 6 h 6"/>
                  <a:gd name="T32" fmla="*/ 0 w 6"/>
                  <a:gd name="T33" fmla="*/ 6 h 6"/>
                  <a:gd name="T34" fmla="*/ 0 w 6"/>
                  <a:gd name="T35" fmla="*/ 6 h 6"/>
                  <a:gd name="T36" fmla="*/ 0 w 6"/>
                  <a:gd name="T37" fmla="*/ 6 h 6"/>
                  <a:gd name="T38" fmla="*/ 0 w 6"/>
                  <a:gd name="T39" fmla="*/ 6 h 6"/>
                  <a:gd name="T40" fmla="*/ 0 w 6"/>
                  <a:gd name="T4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" h="6">
                    <a:moveTo>
                      <a:pt x="0" y="6"/>
                    </a:moveTo>
                    <a:lnTo>
                      <a:pt x="0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65" name="Freeform 514"/>
              <p:cNvSpPr>
                <a:spLocks/>
              </p:cNvSpPr>
              <p:nvPr/>
            </p:nvSpPr>
            <p:spPr bwMode="auto">
              <a:xfrm>
                <a:off x="4631" y="2162"/>
                <a:ext cx="8" cy="8"/>
              </a:xfrm>
              <a:custGeom>
                <a:avLst/>
                <a:gdLst>
                  <a:gd name="T0" fmla="*/ 4 w 8"/>
                  <a:gd name="T1" fmla="*/ 2 h 8"/>
                  <a:gd name="T2" fmla="*/ 4 w 8"/>
                  <a:gd name="T3" fmla="*/ 2 h 8"/>
                  <a:gd name="T4" fmla="*/ 2 w 8"/>
                  <a:gd name="T5" fmla="*/ 2 h 8"/>
                  <a:gd name="T6" fmla="*/ 0 w 8"/>
                  <a:gd name="T7" fmla="*/ 0 h 8"/>
                  <a:gd name="T8" fmla="*/ 0 w 8"/>
                  <a:gd name="T9" fmla="*/ 0 h 8"/>
                  <a:gd name="T10" fmla="*/ 0 w 8"/>
                  <a:gd name="T11" fmla="*/ 2 h 8"/>
                  <a:gd name="T12" fmla="*/ 0 w 8"/>
                  <a:gd name="T13" fmla="*/ 2 h 8"/>
                  <a:gd name="T14" fmla="*/ 0 w 8"/>
                  <a:gd name="T15" fmla="*/ 2 h 8"/>
                  <a:gd name="T16" fmla="*/ 0 w 8"/>
                  <a:gd name="T17" fmla="*/ 2 h 8"/>
                  <a:gd name="T18" fmla="*/ 0 w 8"/>
                  <a:gd name="T19" fmla="*/ 4 h 8"/>
                  <a:gd name="T20" fmla="*/ 0 w 8"/>
                  <a:gd name="T21" fmla="*/ 6 h 8"/>
                  <a:gd name="T22" fmla="*/ 0 w 8"/>
                  <a:gd name="T23" fmla="*/ 6 h 8"/>
                  <a:gd name="T24" fmla="*/ 2 w 8"/>
                  <a:gd name="T25" fmla="*/ 6 h 8"/>
                  <a:gd name="T26" fmla="*/ 2 w 8"/>
                  <a:gd name="T27" fmla="*/ 6 h 8"/>
                  <a:gd name="T28" fmla="*/ 4 w 8"/>
                  <a:gd name="T29" fmla="*/ 8 h 8"/>
                  <a:gd name="T30" fmla="*/ 6 w 8"/>
                  <a:gd name="T31" fmla="*/ 6 h 8"/>
                  <a:gd name="T32" fmla="*/ 6 w 8"/>
                  <a:gd name="T33" fmla="*/ 6 h 8"/>
                  <a:gd name="T34" fmla="*/ 6 w 8"/>
                  <a:gd name="T35" fmla="*/ 6 h 8"/>
                  <a:gd name="T36" fmla="*/ 8 w 8"/>
                  <a:gd name="T37" fmla="*/ 6 h 8"/>
                  <a:gd name="T38" fmla="*/ 8 w 8"/>
                  <a:gd name="T39" fmla="*/ 4 h 8"/>
                  <a:gd name="T40" fmla="*/ 8 w 8"/>
                  <a:gd name="T41" fmla="*/ 4 h 8"/>
                  <a:gd name="T42" fmla="*/ 8 w 8"/>
                  <a:gd name="T43" fmla="*/ 4 h 8"/>
                  <a:gd name="T44" fmla="*/ 8 w 8"/>
                  <a:gd name="T45" fmla="*/ 2 h 8"/>
                  <a:gd name="T46" fmla="*/ 8 w 8"/>
                  <a:gd name="T47" fmla="*/ 0 h 8"/>
                  <a:gd name="T48" fmla="*/ 8 w 8"/>
                  <a:gd name="T49" fmla="*/ 0 h 8"/>
                  <a:gd name="T50" fmla="*/ 6 w 8"/>
                  <a:gd name="T51" fmla="*/ 0 h 8"/>
                  <a:gd name="T52" fmla="*/ 6 w 8"/>
                  <a:gd name="T53" fmla="*/ 0 h 8"/>
                  <a:gd name="T54" fmla="*/ 4 w 8"/>
                  <a:gd name="T55" fmla="*/ 2 h 8"/>
                  <a:gd name="T56" fmla="*/ 4 w 8"/>
                  <a:gd name="T57" fmla="*/ 2 h 8"/>
                  <a:gd name="T58" fmla="*/ 4 w 8"/>
                  <a:gd name="T59" fmla="*/ 2 h 8"/>
                  <a:gd name="T60" fmla="*/ 4 w 8"/>
                  <a:gd name="T61" fmla="*/ 2 h 8"/>
                  <a:gd name="T62" fmla="*/ 4 w 8"/>
                  <a:gd name="T63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8" h="8">
                    <a:moveTo>
                      <a:pt x="4" y="2"/>
                    </a:moveTo>
                    <a:lnTo>
                      <a:pt x="4" y="2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66" name="Freeform 515"/>
              <p:cNvSpPr>
                <a:spLocks/>
              </p:cNvSpPr>
              <p:nvPr/>
            </p:nvSpPr>
            <p:spPr bwMode="auto">
              <a:xfrm>
                <a:off x="4695" y="1964"/>
                <a:ext cx="140" cy="204"/>
              </a:xfrm>
              <a:custGeom>
                <a:avLst/>
                <a:gdLst>
                  <a:gd name="T0" fmla="*/ 26 w 140"/>
                  <a:gd name="T1" fmla="*/ 138 h 204"/>
                  <a:gd name="T2" fmla="*/ 14 w 140"/>
                  <a:gd name="T3" fmla="*/ 142 h 204"/>
                  <a:gd name="T4" fmla="*/ 12 w 140"/>
                  <a:gd name="T5" fmla="*/ 152 h 204"/>
                  <a:gd name="T6" fmla="*/ 2 w 140"/>
                  <a:gd name="T7" fmla="*/ 166 h 204"/>
                  <a:gd name="T8" fmla="*/ 6 w 140"/>
                  <a:gd name="T9" fmla="*/ 180 h 204"/>
                  <a:gd name="T10" fmla="*/ 16 w 140"/>
                  <a:gd name="T11" fmla="*/ 180 h 204"/>
                  <a:gd name="T12" fmla="*/ 22 w 140"/>
                  <a:gd name="T13" fmla="*/ 174 h 204"/>
                  <a:gd name="T14" fmla="*/ 34 w 140"/>
                  <a:gd name="T15" fmla="*/ 170 h 204"/>
                  <a:gd name="T16" fmla="*/ 42 w 140"/>
                  <a:gd name="T17" fmla="*/ 162 h 204"/>
                  <a:gd name="T18" fmla="*/ 56 w 140"/>
                  <a:gd name="T19" fmla="*/ 152 h 204"/>
                  <a:gd name="T20" fmla="*/ 60 w 140"/>
                  <a:gd name="T21" fmla="*/ 164 h 204"/>
                  <a:gd name="T22" fmla="*/ 44 w 140"/>
                  <a:gd name="T23" fmla="*/ 168 h 204"/>
                  <a:gd name="T24" fmla="*/ 34 w 140"/>
                  <a:gd name="T25" fmla="*/ 174 h 204"/>
                  <a:gd name="T26" fmla="*/ 30 w 140"/>
                  <a:gd name="T27" fmla="*/ 182 h 204"/>
                  <a:gd name="T28" fmla="*/ 30 w 140"/>
                  <a:gd name="T29" fmla="*/ 192 h 204"/>
                  <a:gd name="T30" fmla="*/ 36 w 140"/>
                  <a:gd name="T31" fmla="*/ 200 h 204"/>
                  <a:gd name="T32" fmla="*/ 44 w 140"/>
                  <a:gd name="T33" fmla="*/ 204 h 204"/>
                  <a:gd name="T34" fmla="*/ 44 w 140"/>
                  <a:gd name="T35" fmla="*/ 192 h 204"/>
                  <a:gd name="T36" fmla="*/ 54 w 140"/>
                  <a:gd name="T37" fmla="*/ 184 h 204"/>
                  <a:gd name="T38" fmla="*/ 58 w 140"/>
                  <a:gd name="T39" fmla="*/ 192 h 204"/>
                  <a:gd name="T40" fmla="*/ 62 w 140"/>
                  <a:gd name="T41" fmla="*/ 176 h 204"/>
                  <a:gd name="T42" fmla="*/ 68 w 140"/>
                  <a:gd name="T43" fmla="*/ 172 h 204"/>
                  <a:gd name="T44" fmla="*/ 74 w 140"/>
                  <a:gd name="T45" fmla="*/ 180 h 204"/>
                  <a:gd name="T46" fmla="*/ 86 w 140"/>
                  <a:gd name="T47" fmla="*/ 182 h 204"/>
                  <a:gd name="T48" fmla="*/ 90 w 140"/>
                  <a:gd name="T49" fmla="*/ 168 h 204"/>
                  <a:gd name="T50" fmla="*/ 94 w 140"/>
                  <a:gd name="T51" fmla="*/ 158 h 204"/>
                  <a:gd name="T52" fmla="*/ 86 w 140"/>
                  <a:gd name="T53" fmla="*/ 144 h 204"/>
                  <a:gd name="T54" fmla="*/ 92 w 140"/>
                  <a:gd name="T55" fmla="*/ 148 h 204"/>
                  <a:gd name="T56" fmla="*/ 100 w 140"/>
                  <a:gd name="T57" fmla="*/ 156 h 204"/>
                  <a:gd name="T58" fmla="*/ 108 w 140"/>
                  <a:gd name="T59" fmla="*/ 156 h 204"/>
                  <a:gd name="T60" fmla="*/ 120 w 140"/>
                  <a:gd name="T61" fmla="*/ 152 h 204"/>
                  <a:gd name="T62" fmla="*/ 122 w 140"/>
                  <a:gd name="T63" fmla="*/ 138 h 204"/>
                  <a:gd name="T64" fmla="*/ 128 w 140"/>
                  <a:gd name="T65" fmla="*/ 144 h 204"/>
                  <a:gd name="T66" fmla="*/ 138 w 140"/>
                  <a:gd name="T67" fmla="*/ 134 h 204"/>
                  <a:gd name="T68" fmla="*/ 140 w 140"/>
                  <a:gd name="T69" fmla="*/ 126 h 204"/>
                  <a:gd name="T70" fmla="*/ 134 w 140"/>
                  <a:gd name="T71" fmla="*/ 112 h 204"/>
                  <a:gd name="T72" fmla="*/ 128 w 140"/>
                  <a:gd name="T73" fmla="*/ 80 h 204"/>
                  <a:gd name="T74" fmla="*/ 122 w 140"/>
                  <a:gd name="T75" fmla="*/ 66 h 204"/>
                  <a:gd name="T76" fmla="*/ 130 w 140"/>
                  <a:gd name="T77" fmla="*/ 58 h 204"/>
                  <a:gd name="T78" fmla="*/ 132 w 140"/>
                  <a:gd name="T79" fmla="*/ 48 h 204"/>
                  <a:gd name="T80" fmla="*/ 128 w 140"/>
                  <a:gd name="T81" fmla="*/ 36 h 204"/>
                  <a:gd name="T82" fmla="*/ 122 w 140"/>
                  <a:gd name="T83" fmla="*/ 26 h 204"/>
                  <a:gd name="T84" fmla="*/ 108 w 140"/>
                  <a:gd name="T85" fmla="*/ 8 h 204"/>
                  <a:gd name="T86" fmla="*/ 100 w 140"/>
                  <a:gd name="T87" fmla="*/ 2 h 204"/>
                  <a:gd name="T88" fmla="*/ 102 w 140"/>
                  <a:gd name="T89" fmla="*/ 8 h 204"/>
                  <a:gd name="T90" fmla="*/ 96 w 140"/>
                  <a:gd name="T91" fmla="*/ 8 h 204"/>
                  <a:gd name="T92" fmla="*/ 90 w 140"/>
                  <a:gd name="T93" fmla="*/ 16 h 204"/>
                  <a:gd name="T94" fmla="*/ 86 w 140"/>
                  <a:gd name="T95" fmla="*/ 24 h 204"/>
                  <a:gd name="T96" fmla="*/ 94 w 140"/>
                  <a:gd name="T97" fmla="*/ 42 h 204"/>
                  <a:gd name="T98" fmla="*/ 94 w 140"/>
                  <a:gd name="T99" fmla="*/ 52 h 204"/>
                  <a:gd name="T100" fmla="*/ 92 w 140"/>
                  <a:gd name="T101" fmla="*/ 76 h 204"/>
                  <a:gd name="T102" fmla="*/ 80 w 140"/>
                  <a:gd name="T103" fmla="*/ 98 h 204"/>
                  <a:gd name="T104" fmla="*/ 72 w 140"/>
                  <a:gd name="T105" fmla="*/ 94 h 204"/>
                  <a:gd name="T106" fmla="*/ 66 w 140"/>
                  <a:gd name="T107" fmla="*/ 84 h 204"/>
                  <a:gd name="T108" fmla="*/ 66 w 140"/>
                  <a:gd name="T109" fmla="*/ 98 h 204"/>
                  <a:gd name="T110" fmla="*/ 62 w 140"/>
                  <a:gd name="T111" fmla="*/ 118 h 204"/>
                  <a:gd name="T112" fmla="*/ 64 w 140"/>
                  <a:gd name="T113" fmla="*/ 130 h 204"/>
                  <a:gd name="T114" fmla="*/ 60 w 140"/>
                  <a:gd name="T115" fmla="*/ 136 h 204"/>
                  <a:gd name="T116" fmla="*/ 50 w 140"/>
                  <a:gd name="T117" fmla="*/ 128 h 204"/>
                  <a:gd name="T118" fmla="*/ 38 w 140"/>
                  <a:gd name="T119" fmla="*/ 134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40" h="204">
                    <a:moveTo>
                      <a:pt x="38" y="134"/>
                    </a:moveTo>
                    <a:lnTo>
                      <a:pt x="38" y="134"/>
                    </a:lnTo>
                    <a:lnTo>
                      <a:pt x="36" y="134"/>
                    </a:lnTo>
                    <a:lnTo>
                      <a:pt x="34" y="134"/>
                    </a:lnTo>
                    <a:lnTo>
                      <a:pt x="32" y="136"/>
                    </a:lnTo>
                    <a:lnTo>
                      <a:pt x="30" y="138"/>
                    </a:lnTo>
                    <a:lnTo>
                      <a:pt x="28" y="138"/>
                    </a:lnTo>
                    <a:lnTo>
                      <a:pt x="28" y="138"/>
                    </a:lnTo>
                    <a:lnTo>
                      <a:pt x="28" y="138"/>
                    </a:lnTo>
                    <a:lnTo>
                      <a:pt x="26" y="138"/>
                    </a:lnTo>
                    <a:lnTo>
                      <a:pt x="26" y="136"/>
                    </a:lnTo>
                    <a:lnTo>
                      <a:pt x="24" y="136"/>
                    </a:lnTo>
                    <a:lnTo>
                      <a:pt x="24" y="136"/>
                    </a:lnTo>
                    <a:lnTo>
                      <a:pt x="24" y="136"/>
                    </a:lnTo>
                    <a:lnTo>
                      <a:pt x="22" y="136"/>
                    </a:lnTo>
                    <a:lnTo>
                      <a:pt x="20" y="136"/>
                    </a:lnTo>
                    <a:lnTo>
                      <a:pt x="18" y="138"/>
                    </a:lnTo>
                    <a:lnTo>
                      <a:pt x="18" y="138"/>
                    </a:lnTo>
                    <a:lnTo>
                      <a:pt x="16" y="140"/>
                    </a:lnTo>
                    <a:lnTo>
                      <a:pt x="14" y="142"/>
                    </a:lnTo>
                    <a:lnTo>
                      <a:pt x="12" y="144"/>
                    </a:lnTo>
                    <a:lnTo>
                      <a:pt x="12" y="144"/>
                    </a:lnTo>
                    <a:lnTo>
                      <a:pt x="12" y="144"/>
                    </a:lnTo>
                    <a:lnTo>
                      <a:pt x="12" y="146"/>
                    </a:lnTo>
                    <a:lnTo>
                      <a:pt x="12" y="148"/>
                    </a:lnTo>
                    <a:lnTo>
                      <a:pt x="12" y="148"/>
                    </a:lnTo>
                    <a:lnTo>
                      <a:pt x="12" y="148"/>
                    </a:lnTo>
                    <a:lnTo>
                      <a:pt x="12" y="150"/>
                    </a:lnTo>
                    <a:lnTo>
                      <a:pt x="12" y="152"/>
                    </a:lnTo>
                    <a:lnTo>
                      <a:pt x="12" y="152"/>
                    </a:lnTo>
                    <a:lnTo>
                      <a:pt x="10" y="156"/>
                    </a:lnTo>
                    <a:lnTo>
                      <a:pt x="8" y="162"/>
                    </a:lnTo>
                    <a:lnTo>
                      <a:pt x="8" y="162"/>
                    </a:lnTo>
                    <a:lnTo>
                      <a:pt x="8" y="164"/>
                    </a:lnTo>
                    <a:lnTo>
                      <a:pt x="6" y="164"/>
                    </a:lnTo>
                    <a:lnTo>
                      <a:pt x="6" y="166"/>
                    </a:lnTo>
                    <a:lnTo>
                      <a:pt x="6" y="166"/>
                    </a:lnTo>
                    <a:lnTo>
                      <a:pt x="4" y="166"/>
                    </a:lnTo>
                    <a:lnTo>
                      <a:pt x="4" y="166"/>
                    </a:lnTo>
                    <a:lnTo>
                      <a:pt x="2" y="166"/>
                    </a:lnTo>
                    <a:lnTo>
                      <a:pt x="2" y="166"/>
                    </a:lnTo>
                    <a:lnTo>
                      <a:pt x="2" y="166"/>
                    </a:lnTo>
                    <a:lnTo>
                      <a:pt x="0" y="168"/>
                    </a:lnTo>
                    <a:lnTo>
                      <a:pt x="0" y="170"/>
                    </a:lnTo>
                    <a:lnTo>
                      <a:pt x="0" y="172"/>
                    </a:lnTo>
                    <a:lnTo>
                      <a:pt x="2" y="174"/>
                    </a:lnTo>
                    <a:lnTo>
                      <a:pt x="2" y="174"/>
                    </a:lnTo>
                    <a:lnTo>
                      <a:pt x="2" y="176"/>
                    </a:lnTo>
                    <a:lnTo>
                      <a:pt x="4" y="178"/>
                    </a:lnTo>
                    <a:lnTo>
                      <a:pt x="6" y="180"/>
                    </a:lnTo>
                    <a:lnTo>
                      <a:pt x="8" y="180"/>
                    </a:lnTo>
                    <a:lnTo>
                      <a:pt x="8" y="180"/>
                    </a:lnTo>
                    <a:lnTo>
                      <a:pt x="10" y="180"/>
                    </a:lnTo>
                    <a:lnTo>
                      <a:pt x="10" y="180"/>
                    </a:lnTo>
                    <a:lnTo>
                      <a:pt x="12" y="178"/>
                    </a:lnTo>
                    <a:lnTo>
                      <a:pt x="12" y="178"/>
                    </a:lnTo>
                    <a:lnTo>
                      <a:pt x="14" y="180"/>
                    </a:lnTo>
                    <a:lnTo>
                      <a:pt x="16" y="180"/>
                    </a:lnTo>
                    <a:lnTo>
                      <a:pt x="16" y="180"/>
                    </a:lnTo>
                    <a:lnTo>
                      <a:pt x="16" y="180"/>
                    </a:lnTo>
                    <a:lnTo>
                      <a:pt x="18" y="180"/>
                    </a:lnTo>
                    <a:lnTo>
                      <a:pt x="20" y="180"/>
                    </a:lnTo>
                    <a:lnTo>
                      <a:pt x="20" y="180"/>
                    </a:lnTo>
                    <a:lnTo>
                      <a:pt x="22" y="178"/>
                    </a:lnTo>
                    <a:lnTo>
                      <a:pt x="22" y="178"/>
                    </a:lnTo>
                    <a:lnTo>
                      <a:pt x="22" y="178"/>
                    </a:lnTo>
                    <a:lnTo>
                      <a:pt x="22" y="176"/>
                    </a:lnTo>
                    <a:lnTo>
                      <a:pt x="22" y="174"/>
                    </a:lnTo>
                    <a:lnTo>
                      <a:pt x="22" y="174"/>
                    </a:lnTo>
                    <a:lnTo>
                      <a:pt x="22" y="174"/>
                    </a:lnTo>
                    <a:lnTo>
                      <a:pt x="22" y="172"/>
                    </a:lnTo>
                    <a:lnTo>
                      <a:pt x="22" y="172"/>
                    </a:lnTo>
                    <a:lnTo>
                      <a:pt x="24" y="170"/>
                    </a:lnTo>
                    <a:lnTo>
                      <a:pt x="24" y="170"/>
                    </a:lnTo>
                    <a:lnTo>
                      <a:pt x="28" y="168"/>
                    </a:lnTo>
                    <a:lnTo>
                      <a:pt x="28" y="168"/>
                    </a:lnTo>
                    <a:lnTo>
                      <a:pt x="30" y="168"/>
                    </a:lnTo>
                    <a:lnTo>
                      <a:pt x="30" y="170"/>
                    </a:lnTo>
                    <a:lnTo>
                      <a:pt x="32" y="170"/>
                    </a:lnTo>
                    <a:lnTo>
                      <a:pt x="34" y="170"/>
                    </a:lnTo>
                    <a:lnTo>
                      <a:pt x="34" y="170"/>
                    </a:lnTo>
                    <a:lnTo>
                      <a:pt x="36" y="168"/>
                    </a:lnTo>
                    <a:lnTo>
                      <a:pt x="38" y="168"/>
                    </a:lnTo>
                    <a:lnTo>
                      <a:pt x="38" y="168"/>
                    </a:lnTo>
                    <a:lnTo>
                      <a:pt x="38" y="166"/>
                    </a:lnTo>
                    <a:lnTo>
                      <a:pt x="40" y="166"/>
                    </a:lnTo>
                    <a:lnTo>
                      <a:pt x="40" y="164"/>
                    </a:lnTo>
                    <a:lnTo>
                      <a:pt x="40" y="164"/>
                    </a:lnTo>
                    <a:lnTo>
                      <a:pt x="40" y="164"/>
                    </a:lnTo>
                    <a:lnTo>
                      <a:pt x="42" y="162"/>
                    </a:lnTo>
                    <a:lnTo>
                      <a:pt x="44" y="160"/>
                    </a:lnTo>
                    <a:lnTo>
                      <a:pt x="44" y="160"/>
                    </a:lnTo>
                    <a:lnTo>
                      <a:pt x="44" y="158"/>
                    </a:lnTo>
                    <a:lnTo>
                      <a:pt x="46" y="158"/>
                    </a:lnTo>
                    <a:lnTo>
                      <a:pt x="48" y="156"/>
                    </a:lnTo>
                    <a:lnTo>
                      <a:pt x="50" y="154"/>
                    </a:lnTo>
                    <a:lnTo>
                      <a:pt x="50" y="154"/>
                    </a:lnTo>
                    <a:lnTo>
                      <a:pt x="52" y="154"/>
                    </a:lnTo>
                    <a:lnTo>
                      <a:pt x="54" y="152"/>
                    </a:lnTo>
                    <a:lnTo>
                      <a:pt x="56" y="152"/>
                    </a:lnTo>
                    <a:lnTo>
                      <a:pt x="56" y="152"/>
                    </a:lnTo>
                    <a:lnTo>
                      <a:pt x="58" y="152"/>
                    </a:lnTo>
                    <a:lnTo>
                      <a:pt x="58" y="152"/>
                    </a:lnTo>
                    <a:lnTo>
                      <a:pt x="58" y="152"/>
                    </a:lnTo>
                    <a:lnTo>
                      <a:pt x="60" y="154"/>
                    </a:lnTo>
                    <a:lnTo>
                      <a:pt x="60" y="158"/>
                    </a:lnTo>
                    <a:lnTo>
                      <a:pt x="60" y="160"/>
                    </a:lnTo>
                    <a:lnTo>
                      <a:pt x="60" y="162"/>
                    </a:lnTo>
                    <a:lnTo>
                      <a:pt x="60" y="162"/>
                    </a:lnTo>
                    <a:lnTo>
                      <a:pt x="60" y="164"/>
                    </a:lnTo>
                    <a:lnTo>
                      <a:pt x="58" y="164"/>
                    </a:lnTo>
                    <a:lnTo>
                      <a:pt x="58" y="164"/>
                    </a:lnTo>
                    <a:lnTo>
                      <a:pt x="56" y="164"/>
                    </a:lnTo>
                    <a:lnTo>
                      <a:pt x="54" y="164"/>
                    </a:lnTo>
                    <a:lnTo>
                      <a:pt x="52" y="164"/>
                    </a:lnTo>
                    <a:lnTo>
                      <a:pt x="50" y="164"/>
                    </a:lnTo>
                    <a:lnTo>
                      <a:pt x="50" y="164"/>
                    </a:lnTo>
                    <a:lnTo>
                      <a:pt x="46" y="166"/>
                    </a:lnTo>
                    <a:lnTo>
                      <a:pt x="46" y="166"/>
                    </a:lnTo>
                    <a:lnTo>
                      <a:pt x="44" y="168"/>
                    </a:lnTo>
                    <a:lnTo>
                      <a:pt x="42" y="168"/>
                    </a:lnTo>
                    <a:lnTo>
                      <a:pt x="42" y="168"/>
                    </a:lnTo>
                    <a:lnTo>
                      <a:pt x="42" y="170"/>
                    </a:lnTo>
                    <a:lnTo>
                      <a:pt x="40" y="170"/>
                    </a:lnTo>
                    <a:lnTo>
                      <a:pt x="40" y="172"/>
                    </a:lnTo>
                    <a:lnTo>
                      <a:pt x="40" y="172"/>
                    </a:lnTo>
                    <a:lnTo>
                      <a:pt x="40" y="172"/>
                    </a:lnTo>
                    <a:lnTo>
                      <a:pt x="40" y="174"/>
                    </a:lnTo>
                    <a:lnTo>
                      <a:pt x="38" y="174"/>
                    </a:lnTo>
                    <a:lnTo>
                      <a:pt x="34" y="174"/>
                    </a:lnTo>
                    <a:lnTo>
                      <a:pt x="34" y="174"/>
                    </a:lnTo>
                    <a:lnTo>
                      <a:pt x="34" y="174"/>
                    </a:lnTo>
                    <a:lnTo>
                      <a:pt x="32" y="174"/>
                    </a:lnTo>
                    <a:lnTo>
                      <a:pt x="32" y="174"/>
                    </a:lnTo>
                    <a:lnTo>
                      <a:pt x="32" y="176"/>
                    </a:lnTo>
                    <a:lnTo>
                      <a:pt x="32" y="178"/>
                    </a:lnTo>
                    <a:lnTo>
                      <a:pt x="32" y="180"/>
                    </a:lnTo>
                    <a:lnTo>
                      <a:pt x="32" y="180"/>
                    </a:lnTo>
                    <a:lnTo>
                      <a:pt x="32" y="180"/>
                    </a:lnTo>
                    <a:lnTo>
                      <a:pt x="30" y="182"/>
                    </a:lnTo>
                    <a:lnTo>
                      <a:pt x="28" y="184"/>
                    </a:lnTo>
                    <a:lnTo>
                      <a:pt x="26" y="186"/>
                    </a:lnTo>
                    <a:lnTo>
                      <a:pt x="26" y="188"/>
                    </a:lnTo>
                    <a:lnTo>
                      <a:pt x="26" y="188"/>
                    </a:lnTo>
                    <a:lnTo>
                      <a:pt x="26" y="188"/>
                    </a:lnTo>
                    <a:lnTo>
                      <a:pt x="26" y="190"/>
                    </a:lnTo>
                    <a:lnTo>
                      <a:pt x="26" y="190"/>
                    </a:lnTo>
                    <a:lnTo>
                      <a:pt x="28" y="192"/>
                    </a:lnTo>
                    <a:lnTo>
                      <a:pt x="28" y="192"/>
                    </a:lnTo>
                    <a:lnTo>
                      <a:pt x="30" y="192"/>
                    </a:lnTo>
                    <a:lnTo>
                      <a:pt x="32" y="192"/>
                    </a:lnTo>
                    <a:lnTo>
                      <a:pt x="32" y="194"/>
                    </a:lnTo>
                    <a:lnTo>
                      <a:pt x="32" y="194"/>
                    </a:lnTo>
                    <a:lnTo>
                      <a:pt x="34" y="196"/>
                    </a:lnTo>
                    <a:lnTo>
                      <a:pt x="34" y="198"/>
                    </a:lnTo>
                    <a:lnTo>
                      <a:pt x="34" y="198"/>
                    </a:lnTo>
                    <a:lnTo>
                      <a:pt x="36" y="198"/>
                    </a:lnTo>
                    <a:lnTo>
                      <a:pt x="36" y="198"/>
                    </a:lnTo>
                    <a:lnTo>
                      <a:pt x="36" y="198"/>
                    </a:lnTo>
                    <a:lnTo>
                      <a:pt x="36" y="200"/>
                    </a:lnTo>
                    <a:lnTo>
                      <a:pt x="36" y="202"/>
                    </a:lnTo>
                    <a:lnTo>
                      <a:pt x="36" y="202"/>
                    </a:lnTo>
                    <a:lnTo>
                      <a:pt x="36" y="202"/>
                    </a:lnTo>
                    <a:lnTo>
                      <a:pt x="38" y="204"/>
                    </a:lnTo>
                    <a:lnTo>
                      <a:pt x="40" y="204"/>
                    </a:lnTo>
                    <a:lnTo>
                      <a:pt x="40" y="204"/>
                    </a:lnTo>
                    <a:lnTo>
                      <a:pt x="42" y="204"/>
                    </a:lnTo>
                    <a:lnTo>
                      <a:pt x="42" y="204"/>
                    </a:lnTo>
                    <a:lnTo>
                      <a:pt x="42" y="204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4" y="202"/>
                    </a:lnTo>
                    <a:lnTo>
                      <a:pt x="44" y="200"/>
                    </a:lnTo>
                    <a:lnTo>
                      <a:pt x="44" y="198"/>
                    </a:lnTo>
                    <a:lnTo>
                      <a:pt x="42" y="196"/>
                    </a:lnTo>
                    <a:lnTo>
                      <a:pt x="42" y="196"/>
                    </a:lnTo>
                    <a:lnTo>
                      <a:pt x="42" y="194"/>
                    </a:lnTo>
                    <a:lnTo>
                      <a:pt x="42" y="192"/>
                    </a:lnTo>
                    <a:lnTo>
                      <a:pt x="42" y="192"/>
                    </a:lnTo>
                    <a:lnTo>
                      <a:pt x="44" y="192"/>
                    </a:lnTo>
                    <a:lnTo>
                      <a:pt x="44" y="192"/>
                    </a:lnTo>
                    <a:lnTo>
                      <a:pt x="44" y="192"/>
                    </a:lnTo>
                    <a:lnTo>
                      <a:pt x="46" y="192"/>
                    </a:lnTo>
                    <a:lnTo>
                      <a:pt x="46" y="192"/>
                    </a:lnTo>
                    <a:lnTo>
                      <a:pt x="48" y="190"/>
                    </a:lnTo>
                    <a:lnTo>
                      <a:pt x="48" y="188"/>
                    </a:lnTo>
                    <a:lnTo>
                      <a:pt x="48" y="188"/>
                    </a:lnTo>
                    <a:lnTo>
                      <a:pt x="50" y="186"/>
                    </a:lnTo>
                    <a:lnTo>
                      <a:pt x="52" y="186"/>
                    </a:lnTo>
                    <a:lnTo>
                      <a:pt x="54" y="184"/>
                    </a:lnTo>
                    <a:lnTo>
                      <a:pt x="54" y="184"/>
                    </a:lnTo>
                    <a:lnTo>
                      <a:pt x="54" y="186"/>
                    </a:lnTo>
                    <a:lnTo>
                      <a:pt x="54" y="186"/>
                    </a:lnTo>
                    <a:lnTo>
                      <a:pt x="54" y="186"/>
                    </a:lnTo>
                    <a:lnTo>
                      <a:pt x="56" y="188"/>
                    </a:lnTo>
                    <a:lnTo>
                      <a:pt x="56" y="190"/>
                    </a:lnTo>
                    <a:lnTo>
                      <a:pt x="56" y="190"/>
                    </a:lnTo>
                    <a:lnTo>
                      <a:pt x="56" y="190"/>
                    </a:lnTo>
                    <a:lnTo>
                      <a:pt x="58" y="192"/>
                    </a:lnTo>
                    <a:lnTo>
                      <a:pt x="58" y="192"/>
                    </a:lnTo>
                    <a:lnTo>
                      <a:pt x="58" y="190"/>
                    </a:lnTo>
                    <a:lnTo>
                      <a:pt x="58" y="190"/>
                    </a:lnTo>
                    <a:lnTo>
                      <a:pt x="60" y="190"/>
                    </a:lnTo>
                    <a:lnTo>
                      <a:pt x="60" y="188"/>
                    </a:lnTo>
                    <a:lnTo>
                      <a:pt x="60" y="186"/>
                    </a:lnTo>
                    <a:lnTo>
                      <a:pt x="60" y="186"/>
                    </a:lnTo>
                    <a:lnTo>
                      <a:pt x="60" y="182"/>
                    </a:lnTo>
                    <a:lnTo>
                      <a:pt x="60" y="180"/>
                    </a:lnTo>
                    <a:lnTo>
                      <a:pt x="62" y="178"/>
                    </a:lnTo>
                    <a:lnTo>
                      <a:pt x="62" y="176"/>
                    </a:lnTo>
                    <a:lnTo>
                      <a:pt x="62" y="176"/>
                    </a:lnTo>
                    <a:lnTo>
                      <a:pt x="62" y="174"/>
                    </a:lnTo>
                    <a:lnTo>
                      <a:pt x="64" y="172"/>
                    </a:lnTo>
                    <a:lnTo>
                      <a:pt x="64" y="172"/>
                    </a:lnTo>
                    <a:lnTo>
                      <a:pt x="64" y="172"/>
                    </a:lnTo>
                    <a:lnTo>
                      <a:pt x="66" y="172"/>
                    </a:lnTo>
                    <a:lnTo>
                      <a:pt x="66" y="172"/>
                    </a:lnTo>
                    <a:lnTo>
                      <a:pt x="68" y="172"/>
                    </a:lnTo>
                    <a:lnTo>
                      <a:pt x="68" y="172"/>
                    </a:lnTo>
                    <a:lnTo>
                      <a:pt x="68" y="172"/>
                    </a:lnTo>
                    <a:lnTo>
                      <a:pt x="72" y="174"/>
                    </a:lnTo>
                    <a:lnTo>
                      <a:pt x="72" y="174"/>
                    </a:lnTo>
                    <a:lnTo>
                      <a:pt x="72" y="174"/>
                    </a:lnTo>
                    <a:lnTo>
                      <a:pt x="72" y="174"/>
                    </a:lnTo>
                    <a:lnTo>
                      <a:pt x="72" y="174"/>
                    </a:lnTo>
                    <a:lnTo>
                      <a:pt x="72" y="176"/>
                    </a:lnTo>
                    <a:lnTo>
                      <a:pt x="72" y="178"/>
                    </a:lnTo>
                    <a:lnTo>
                      <a:pt x="72" y="178"/>
                    </a:lnTo>
                    <a:lnTo>
                      <a:pt x="74" y="178"/>
                    </a:lnTo>
                    <a:lnTo>
                      <a:pt x="74" y="180"/>
                    </a:lnTo>
                    <a:lnTo>
                      <a:pt x="76" y="182"/>
                    </a:lnTo>
                    <a:lnTo>
                      <a:pt x="76" y="182"/>
                    </a:lnTo>
                    <a:lnTo>
                      <a:pt x="78" y="182"/>
                    </a:lnTo>
                    <a:lnTo>
                      <a:pt x="80" y="184"/>
                    </a:lnTo>
                    <a:lnTo>
                      <a:pt x="82" y="184"/>
                    </a:lnTo>
                    <a:lnTo>
                      <a:pt x="82" y="184"/>
                    </a:lnTo>
                    <a:lnTo>
                      <a:pt x="84" y="182"/>
                    </a:lnTo>
                    <a:lnTo>
                      <a:pt x="84" y="182"/>
                    </a:lnTo>
                    <a:lnTo>
                      <a:pt x="84" y="182"/>
                    </a:lnTo>
                    <a:lnTo>
                      <a:pt x="86" y="182"/>
                    </a:lnTo>
                    <a:lnTo>
                      <a:pt x="86" y="180"/>
                    </a:lnTo>
                    <a:lnTo>
                      <a:pt x="86" y="178"/>
                    </a:lnTo>
                    <a:lnTo>
                      <a:pt x="86" y="174"/>
                    </a:lnTo>
                    <a:lnTo>
                      <a:pt x="86" y="172"/>
                    </a:lnTo>
                    <a:lnTo>
                      <a:pt x="86" y="172"/>
                    </a:lnTo>
                    <a:lnTo>
                      <a:pt x="86" y="170"/>
                    </a:lnTo>
                    <a:lnTo>
                      <a:pt x="86" y="170"/>
                    </a:lnTo>
                    <a:lnTo>
                      <a:pt x="88" y="168"/>
                    </a:lnTo>
                    <a:lnTo>
                      <a:pt x="88" y="168"/>
                    </a:lnTo>
                    <a:lnTo>
                      <a:pt x="90" y="168"/>
                    </a:lnTo>
                    <a:lnTo>
                      <a:pt x="92" y="168"/>
                    </a:lnTo>
                    <a:lnTo>
                      <a:pt x="92" y="168"/>
                    </a:lnTo>
                    <a:lnTo>
                      <a:pt x="94" y="166"/>
                    </a:lnTo>
                    <a:lnTo>
                      <a:pt x="94" y="166"/>
                    </a:lnTo>
                    <a:lnTo>
                      <a:pt x="94" y="164"/>
                    </a:lnTo>
                    <a:lnTo>
                      <a:pt x="96" y="162"/>
                    </a:lnTo>
                    <a:lnTo>
                      <a:pt x="96" y="162"/>
                    </a:lnTo>
                    <a:lnTo>
                      <a:pt x="94" y="160"/>
                    </a:lnTo>
                    <a:lnTo>
                      <a:pt x="94" y="158"/>
                    </a:lnTo>
                    <a:lnTo>
                      <a:pt x="94" y="158"/>
                    </a:lnTo>
                    <a:lnTo>
                      <a:pt x="92" y="156"/>
                    </a:lnTo>
                    <a:lnTo>
                      <a:pt x="90" y="154"/>
                    </a:lnTo>
                    <a:lnTo>
                      <a:pt x="90" y="154"/>
                    </a:lnTo>
                    <a:lnTo>
                      <a:pt x="88" y="154"/>
                    </a:lnTo>
                    <a:lnTo>
                      <a:pt x="88" y="152"/>
                    </a:lnTo>
                    <a:lnTo>
                      <a:pt x="86" y="152"/>
                    </a:lnTo>
                    <a:lnTo>
                      <a:pt x="86" y="152"/>
                    </a:lnTo>
                    <a:lnTo>
                      <a:pt x="86" y="150"/>
                    </a:lnTo>
                    <a:lnTo>
                      <a:pt x="86" y="146"/>
                    </a:lnTo>
                    <a:lnTo>
                      <a:pt x="86" y="144"/>
                    </a:lnTo>
                    <a:lnTo>
                      <a:pt x="86" y="142"/>
                    </a:lnTo>
                    <a:lnTo>
                      <a:pt x="88" y="142"/>
                    </a:lnTo>
                    <a:lnTo>
                      <a:pt x="88" y="142"/>
                    </a:lnTo>
                    <a:lnTo>
                      <a:pt x="88" y="142"/>
                    </a:lnTo>
                    <a:lnTo>
                      <a:pt x="88" y="142"/>
                    </a:lnTo>
                    <a:lnTo>
                      <a:pt x="90" y="144"/>
                    </a:lnTo>
                    <a:lnTo>
                      <a:pt x="90" y="144"/>
                    </a:lnTo>
                    <a:lnTo>
                      <a:pt x="90" y="146"/>
                    </a:lnTo>
                    <a:lnTo>
                      <a:pt x="92" y="148"/>
                    </a:lnTo>
                    <a:lnTo>
                      <a:pt x="92" y="148"/>
                    </a:lnTo>
                    <a:lnTo>
                      <a:pt x="92" y="150"/>
                    </a:lnTo>
                    <a:lnTo>
                      <a:pt x="94" y="150"/>
                    </a:lnTo>
                    <a:lnTo>
                      <a:pt x="94" y="150"/>
                    </a:lnTo>
                    <a:lnTo>
                      <a:pt x="96" y="150"/>
                    </a:lnTo>
                    <a:lnTo>
                      <a:pt x="96" y="150"/>
                    </a:lnTo>
                    <a:lnTo>
                      <a:pt x="96" y="154"/>
                    </a:lnTo>
                    <a:lnTo>
                      <a:pt x="96" y="156"/>
                    </a:lnTo>
                    <a:lnTo>
                      <a:pt x="98" y="156"/>
                    </a:lnTo>
                    <a:lnTo>
                      <a:pt x="98" y="156"/>
                    </a:lnTo>
                    <a:lnTo>
                      <a:pt x="100" y="156"/>
                    </a:lnTo>
                    <a:lnTo>
                      <a:pt x="102" y="156"/>
                    </a:lnTo>
                    <a:lnTo>
                      <a:pt x="102" y="156"/>
                    </a:lnTo>
                    <a:lnTo>
                      <a:pt x="102" y="156"/>
                    </a:lnTo>
                    <a:lnTo>
                      <a:pt x="104" y="156"/>
                    </a:lnTo>
                    <a:lnTo>
                      <a:pt x="104" y="156"/>
                    </a:lnTo>
                    <a:lnTo>
                      <a:pt x="104" y="156"/>
                    </a:lnTo>
                    <a:lnTo>
                      <a:pt x="106" y="156"/>
                    </a:lnTo>
                    <a:lnTo>
                      <a:pt x="106" y="156"/>
                    </a:lnTo>
                    <a:lnTo>
                      <a:pt x="108" y="156"/>
                    </a:lnTo>
                    <a:lnTo>
                      <a:pt x="108" y="156"/>
                    </a:lnTo>
                    <a:lnTo>
                      <a:pt x="110" y="154"/>
                    </a:lnTo>
                    <a:lnTo>
                      <a:pt x="112" y="152"/>
                    </a:lnTo>
                    <a:lnTo>
                      <a:pt x="114" y="150"/>
                    </a:lnTo>
                    <a:lnTo>
                      <a:pt x="114" y="150"/>
                    </a:lnTo>
                    <a:lnTo>
                      <a:pt x="114" y="150"/>
                    </a:lnTo>
                    <a:lnTo>
                      <a:pt x="114" y="150"/>
                    </a:lnTo>
                    <a:lnTo>
                      <a:pt x="116" y="150"/>
                    </a:lnTo>
                    <a:lnTo>
                      <a:pt x="118" y="152"/>
                    </a:lnTo>
                    <a:lnTo>
                      <a:pt x="120" y="152"/>
                    </a:lnTo>
                    <a:lnTo>
                      <a:pt x="120" y="152"/>
                    </a:lnTo>
                    <a:lnTo>
                      <a:pt x="122" y="152"/>
                    </a:lnTo>
                    <a:lnTo>
                      <a:pt x="122" y="150"/>
                    </a:lnTo>
                    <a:lnTo>
                      <a:pt x="122" y="150"/>
                    </a:lnTo>
                    <a:lnTo>
                      <a:pt x="122" y="148"/>
                    </a:lnTo>
                    <a:lnTo>
                      <a:pt x="122" y="144"/>
                    </a:lnTo>
                    <a:lnTo>
                      <a:pt x="120" y="142"/>
                    </a:lnTo>
                    <a:lnTo>
                      <a:pt x="122" y="140"/>
                    </a:lnTo>
                    <a:lnTo>
                      <a:pt x="122" y="140"/>
                    </a:lnTo>
                    <a:lnTo>
                      <a:pt x="122" y="138"/>
                    </a:lnTo>
                    <a:lnTo>
                      <a:pt x="122" y="138"/>
                    </a:lnTo>
                    <a:lnTo>
                      <a:pt x="124" y="138"/>
                    </a:lnTo>
                    <a:lnTo>
                      <a:pt x="124" y="136"/>
                    </a:lnTo>
                    <a:lnTo>
                      <a:pt x="124" y="136"/>
                    </a:lnTo>
                    <a:lnTo>
                      <a:pt x="126" y="138"/>
                    </a:lnTo>
                    <a:lnTo>
                      <a:pt x="128" y="138"/>
                    </a:lnTo>
                    <a:lnTo>
                      <a:pt x="128" y="138"/>
                    </a:lnTo>
                    <a:lnTo>
                      <a:pt x="128" y="140"/>
                    </a:lnTo>
                    <a:lnTo>
                      <a:pt x="128" y="140"/>
                    </a:lnTo>
                    <a:lnTo>
                      <a:pt x="128" y="142"/>
                    </a:lnTo>
                    <a:lnTo>
                      <a:pt x="128" y="144"/>
                    </a:lnTo>
                    <a:lnTo>
                      <a:pt x="128" y="144"/>
                    </a:lnTo>
                    <a:lnTo>
                      <a:pt x="130" y="144"/>
                    </a:lnTo>
                    <a:lnTo>
                      <a:pt x="130" y="142"/>
                    </a:lnTo>
                    <a:lnTo>
                      <a:pt x="132" y="140"/>
                    </a:lnTo>
                    <a:lnTo>
                      <a:pt x="132" y="140"/>
                    </a:lnTo>
                    <a:lnTo>
                      <a:pt x="136" y="138"/>
                    </a:lnTo>
                    <a:lnTo>
                      <a:pt x="138" y="138"/>
                    </a:lnTo>
                    <a:lnTo>
                      <a:pt x="138" y="136"/>
                    </a:lnTo>
                    <a:lnTo>
                      <a:pt x="138" y="136"/>
                    </a:lnTo>
                    <a:lnTo>
                      <a:pt x="138" y="134"/>
                    </a:lnTo>
                    <a:lnTo>
                      <a:pt x="138" y="132"/>
                    </a:lnTo>
                    <a:lnTo>
                      <a:pt x="138" y="132"/>
                    </a:lnTo>
                    <a:lnTo>
                      <a:pt x="138" y="130"/>
                    </a:lnTo>
                    <a:lnTo>
                      <a:pt x="138" y="130"/>
                    </a:lnTo>
                    <a:lnTo>
                      <a:pt x="138" y="128"/>
                    </a:lnTo>
                    <a:lnTo>
                      <a:pt x="138" y="128"/>
                    </a:lnTo>
                    <a:lnTo>
                      <a:pt x="140" y="126"/>
                    </a:lnTo>
                    <a:lnTo>
                      <a:pt x="140" y="126"/>
                    </a:lnTo>
                    <a:lnTo>
                      <a:pt x="140" y="126"/>
                    </a:lnTo>
                    <a:lnTo>
                      <a:pt x="140" y="126"/>
                    </a:lnTo>
                    <a:lnTo>
                      <a:pt x="140" y="124"/>
                    </a:lnTo>
                    <a:lnTo>
                      <a:pt x="140" y="122"/>
                    </a:lnTo>
                    <a:lnTo>
                      <a:pt x="140" y="122"/>
                    </a:lnTo>
                    <a:lnTo>
                      <a:pt x="138" y="120"/>
                    </a:lnTo>
                    <a:lnTo>
                      <a:pt x="138" y="120"/>
                    </a:lnTo>
                    <a:lnTo>
                      <a:pt x="136" y="120"/>
                    </a:lnTo>
                    <a:lnTo>
                      <a:pt x="136" y="118"/>
                    </a:lnTo>
                    <a:lnTo>
                      <a:pt x="136" y="118"/>
                    </a:lnTo>
                    <a:lnTo>
                      <a:pt x="134" y="116"/>
                    </a:lnTo>
                    <a:lnTo>
                      <a:pt x="134" y="112"/>
                    </a:lnTo>
                    <a:lnTo>
                      <a:pt x="134" y="106"/>
                    </a:lnTo>
                    <a:lnTo>
                      <a:pt x="134" y="106"/>
                    </a:lnTo>
                    <a:lnTo>
                      <a:pt x="134" y="100"/>
                    </a:lnTo>
                    <a:lnTo>
                      <a:pt x="134" y="96"/>
                    </a:lnTo>
                    <a:lnTo>
                      <a:pt x="132" y="90"/>
                    </a:lnTo>
                    <a:lnTo>
                      <a:pt x="132" y="86"/>
                    </a:lnTo>
                    <a:lnTo>
                      <a:pt x="130" y="84"/>
                    </a:lnTo>
                    <a:lnTo>
                      <a:pt x="130" y="84"/>
                    </a:lnTo>
                    <a:lnTo>
                      <a:pt x="130" y="82"/>
                    </a:lnTo>
                    <a:lnTo>
                      <a:pt x="128" y="80"/>
                    </a:lnTo>
                    <a:lnTo>
                      <a:pt x="126" y="78"/>
                    </a:lnTo>
                    <a:lnTo>
                      <a:pt x="124" y="74"/>
                    </a:lnTo>
                    <a:lnTo>
                      <a:pt x="124" y="74"/>
                    </a:lnTo>
                    <a:lnTo>
                      <a:pt x="124" y="74"/>
                    </a:lnTo>
                    <a:lnTo>
                      <a:pt x="124" y="72"/>
                    </a:lnTo>
                    <a:lnTo>
                      <a:pt x="124" y="70"/>
                    </a:lnTo>
                    <a:lnTo>
                      <a:pt x="124" y="70"/>
                    </a:lnTo>
                    <a:lnTo>
                      <a:pt x="124" y="68"/>
                    </a:lnTo>
                    <a:lnTo>
                      <a:pt x="122" y="68"/>
                    </a:lnTo>
                    <a:lnTo>
                      <a:pt x="122" y="66"/>
                    </a:lnTo>
                    <a:lnTo>
                      <a:pt x="122" y="64"/>
                    </a:lnTo>
                    <a:lnTo>
                      <a:pt x="122" y="64"/>
                    </a:lnTo>
                    <a:lnTo>
                      <a:pt x="122" y="62"/>
                    </a:lnTo>
                    <a:lnTo>
                      <a:pt x="124" y="62"/>
                    </a:lnTo>
                    <a:lnTo>
                      <a:pt x="124" y="62"/>
                    </a:lnTo>
                    <a:lnTo>
                      <a:pt x="126" y="60"/>
                    </a:lnTo>
                    <a:lnTo>
                      <a:pt x="128" y="60"/>
                    </a:lnTo>
                    <a:lnTo>
                      <a:pt x="128" y="60"/>
                    </a:lnTo>
                    <a:lnTo>
                      <a:pt x="130" y="58"/>
                    </a:lnTo>
                    <a:lnTo>
                      <a:pt x="130" y="58"/>
                    </a:lnTo>
                    <a:lnTo>
                      <a:pt x="130" y="58"/>
                    </a:lnTo>
                    <a:lnTo>
                      <a:pt x="130" y="56"/>
                    </a:lnTo>
                    <a:lnTo>
                      <a:pt x="128" y="54"/>
                    </a:lnTo>
                    <a:lnTo>
                      <a:pt x="128" y="50"/>
                    </a:lnTo>
                    <a:lnTo>
                      <a:pt x="128" y="50"/>
                    </a:lnTo>
                    <a:lnTo>
                      <a:pt x="128" y="50"/>
                    </a:lnTo>
                    <a:lnTo>
                      <a:pt x="128" y="50"/>
                    </a:lnTo>
                    <a:lnTo>
                      <a:pt x="130" y="48"/>
                    </a:lnTo>
                    <a:lnTo>
                      <a:pt x="132" y="48"/>
                    </a:lnTo>
                    <a:lnTo>
                      <a:pt x="132" y="48"/>
                    </a:lnTo>
                    <a:lnTo>
                      <a:pt x="132" y="46"/>
                    </a:lnTo>
                    <a:lnTo>
                      <a:pt x="132" y="46"/>
                    </a:lnTo>
                    <a:lnTo>
                      <a:pt x="132" y="44"/>
                    </a:lnTo>
                    <a:lnTo>
                      <a:pt x="132" y="42"/>
                    </a:lnTo>
                    <a:lnTo>
                      <a:pt x="130" y="42"/>
                    </a:lnTo>
                    <a:lnTo>
                      <a:pt x="130" y="40"/>
                    </a:lnTo>
                    <a:lnTo>
                      <a:pt x="130" y="40"/>
                    </a:lnTo>
                    <a:lnTo>
                      <a:pt x="130" y="38"/>
                    </a:lnTo>
                    <a:lnTo>
                      <a:pt x="128" y="38"/>
                    </a:lnTo>
                    <a:lnTo>
                      <a:pt x="128" y="36"/>
                    </a:lnTo>
                    <a:lnTo>
                      <a:pt x="128" y="34"/>
                    </a:lnTo>
                    <a:lnTo>
                      <a:pt x="128" y="34"/>
                    </a:lnTo>
                    <a:lnTo>
                      <a:pt x="126" y="34"/>
                    </a:lnTo>
                    <a:lnTo>
                      <a:pt x="126" y="32"/>
                    </a:lnTo>
                    <a:lnTo>
                      <a:pt x="126" y="30"/>
                    </a:lnTo>
                    <a:lnTo>
                      <a:pt x="126" y="30"/>
                    </a:lnTo>
                    <a:lnTo>
                      <a:pt x="124" y="28"/>
                    </a:lnTo>
                    <a:lnTo>
                      <a:pt x="124" y="28"/>
                    </a:lnTo>
                    <a:lnTo>
                      <a:pt x="122" y="26"/>
                    </a:lnTo>
                    <a:lnTo>
                      <a:pt x="122" y="26"/>
                    </a:lnTo>
                    <a:lnTo>
                      <a:pt x="120" y="26"/>
                    </a:lnTo>
                    <a:lnTo>
                      <a:pt x="118" y="26"/>
                    </a:lnTo>
                    <a:lnTo>
                      <a:pt x="116" y="24"/>
                    </a:lnTo>
                    <a:lnTo>
                      <a:pt x="116" y="24"/>
                    </a:lnTo>
                    <a:lnTo>
                      <a:pt x="114" y="20"/>
                    </a:lnTo>
                    <a:lnTo>
                      <a:pt x="114" y="16"/>
                    </a:lnTo>
                    <a:lnTo>
                      <a:pt x="114" y="16"/>
                    </a:lnTo>
                    <a:lnTo>
                      <a:pt x="110" y="12"/>
                    </a:lnTo>
                    <a:lnTo>
                      <a:pt x="110" y="10"/>
                    </a:lnTo>
                    <a:lnTo>
                      <a:pt x="108" y="8"/>
                    </a:lnTo>
                    <a:lnTo>
                      <a:pt x="108" y="8"/>
                    </a:lnTo>
                    <a:lnTo>
                      <a:pt x="106" y="6"/>
                    </a:lnTo>
                    <a:lnTo>
                      <a:pt x="106" y="2"/>
                    </a:lnTo>
                    <a:lnTo>
                      <a:pt x="104" y="2"/>
                    </a:lnTo>
                    <a:lnTo>
                      <a:pt x="102" y="0"/>
                    </a:lnTo>
                    <a:lnTo>
                      <a:pt x="102" y="0"/>
                    </a:lnTo>
                    <a:lnTo>
                      <a:pt x="102" y="0"/>
                    </a:lnTo>
                    <a:lnTo>
                      <a:pt x="100" y="0"/>
                    </a:lnTo>
                    <a:lnTo>
                      <a:pt x="100" y="0"/>
                    </a:lnTo>
                    <a:lnTo>
                      <a:pt x="100" y="2"/>
                    </a:lnTo>
                    <a:lnTo>
                      <a:pt x="102" y="2"/>
                    </a:lnTo>
                    <a:lnTo>
                      <a:pt x="102" y="4"/>
                    </a:lnTo>
                    <a:lnTo>
                      <a:pt x="104" y="6"/>
                    </a:lnTo>
                    <a:lnTo>
                      <a:pt x="104" y="6"/>
                    </a:lnTo>
                    <a:lnTo>
                      <a:pt x="104" y="6"/>
                    </a:lnTo>
                    <a:lnTo>
                      <a:pt x="102" y="8"/>
                    </a:lnTo>
                    <a:lnTo>
                      <a:pt x="102" y="8"/>
                    </a:lnTo>
                    <a:lnTo>
                      <a:pt x="102" y="8"/>
                    </a:lnTo>
                    <a:lnTo>
                      <a:pt x="102" y="8"/>
                    </a:lnTo>
                    <a:lnTo>
                      <a:pt x="102" y="8"/>
                    </a:lnTo>
                    <a:lnTo>
                      <a:pt x="100" y="10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98" y="10"/>
                    </a:lnTo>
                    <a:lnTo>
                      <a:pt x="98" y="10"/>
                    </a:lnTo>
                    <a:lnTo>
                      <a:pt x="98" y="8"/>
                    </a:lnTo>
                    <a:lnTo>
                      <a:pt x="98" y="8"/>
                    </a:lnTo>
                    <a:lnTo>
                      <a:pt x="96" y="8"/>
                    </a:lnTo>
                    <a:lnTo>
                      <a:pt x="96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0" y="8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2"/>
                    </a:lnTo>
                    <a:lnTo>
                      <a:pt x="90" y="14"/>
                    </a:lnTo>
                    <a:lnTo>
                      <a:pt x="90" y="16"/>
                    </a:lnTo>
                    <a:lnTo>
                      <a:pt x="90" y="16"/>
                    </a:lnTo>
                    <a:lnTo>
                      <a:pt x="90" y="16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88" y="18"/>
                    </a:lnTo>
                    <a:lnTo>
                      <a:pt x="88" y="20"/>
                    </a:lnTo>
                    <a:lnTo>
                      <a:pt x="88" y="20"/>
                    </a:lnTo>
                    <a:lnTo>
                      <a:pt x="86" y="20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4"/>
                    </a:lnTo>
                    <a:lnTo>
                      <a:pt x="86" y="24"/>
                    </a:lnTo>
                    <a:lnTo>
                      <a:pt x="86" y="26"/>
                    </a:lnTo>
                    <a:lnTo>
                      <a:pt x="86" y="26"/>
                    </a:lnTo>
                    <a:lnTo>
                      <a:pt x="88" y="28"/>
                    </a:lnTo>
                    <a:lnTo>
                      <a:pt x="90" y="30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2" y="36"/>
                    </a:lnTo>
                    <a:lnTo>
                      <a:pt x="94" y="40"/>
                    </a:lnTo>
                    <a:lnTo>
                      <a:pt x="94" y="42"/>
                    </a:lnTo>
                    <a:lnTo>
                      <a:pt x="94" y="42"/>
                    </a:lnTo>
                    <a:lnTo>
                      <a:pt x="94" y="44"/>
                    </a:lnTo>
                    <a:lnTo>
                      <a:pt x="92" y="44"/>
                    </a:lnTo>
                    <a:lnTo>
                      <a:pt x="92" y="46"/>
                    </a:lnTo>
                    <a:lnTo>
                      <a:pt x="92" y="46"/>
                    </a:lnTo>
                    <a:lnTo>
                      <a:pt x="92" y="48"/>
                    </a:lnTo>
                    <a:lnTo>
                      <a:pt x="92" y="50"/>
                    </a:lnTo>
                    <a:lnTo>
                      <a:pt x="92" y="50"/>
                    </a:lnTo>
                    <a:lnTo>
                      <a:pt x="92" y="50"/>
                    </a:lnTo>
                    <a:lnTo>
                      <a:pt x="94" y="52"/>
                    </a:lnTo>
                    <a:lnTo>
                      <a:pt x="94" y="52"/>
                    </a:lnTo>
                    <a:lnTo>
                      <a:pt x="94" y="56"/>
                    </a:lnTo>
                    <a:lnTo>
                      <a:pt x="94" y="58"/>
                    </a:lnTo>
                    <a:lnTo>
                      <a:pt x="94" y="60"/>
                    </a:lnTo>
                    <a:lnTo>
                      <a:pt x="94" y="60"/>
                    </a:lnTo>
                    <a:lnTo>
                      <a:pt x="92" y="66"/>
                    </a:lnTo>
                    <a:lnTo>
                      <a:pt x="92" y="72"/>
                    </a:lnTo>
                    <a:lnTo>
                      <a:pt x="92" y="72"/>
                    </a:lnTo>
                    <a:lnTo>
                      <a:pt x="92" y="74"/>
                    </a:lnTo>
                    <a:lnTo>
                      <a:pt x="92" y="76"/>
                    </a:lnTo>
                    <a:lnTo>
                      <a:pt x="90" y="80"/>
                    </a:lnTo>
                    <a:lnTo>
                      <a:pt x="90" y="80"/>
                    </a:lnTo>
                    <a:lnTo>
                      <a:pt x="88" y="84"/>
                    </a:lnTo>
                    <a:lnTo>
                      <a:pt x="88" y="86"/>
                    </a:lnTo>
                    <a:lnTo>
                      <a:pt x="86" y="88"/>
                    </a:lnTo>
                    <a:lnTo>
                      <a:pt x="84" y="90"/>
                    </a:lnTo>
                    <a:lnTo>
                      <a:pt x="84" y="90"/>
                    </a:lnTo>
                    <a:lnTo>
                      <a:pt x="82" y="94"/>
                    </a:lnTo>
                    <a:lnTo>
                      <a:pt x="80" y="98"/>
                    </a:lnTo>
                    <a:lnTo>
                      <a:pt x="80" y="98"/>
                    </a:lnTo>
                    <a:lnTo>
                      <a:pt x="78" y="100"/>
                    </a:lnTo>
                    <a:lnTo>
                      <a:pt x="78" y="100"/>
                    </a:lnTo>
                    <a:lnTo>
                      <a:pt x="76" y="100"/>
                    </a:lnTo>
                    <a:lnTo>
                      <a:pt x="76" y="100"/>
                    </a:lnTo>
                    <a:lnTo>
                      <a:pt x="76" y="100"/>
                    </a:lnTo>
                    <a:lnTo>
                      <a:pt x="74" y="100"/>
                    </a:lnTo>
                    <a:lnTo>
                      <a:pt x="74" y="98"/>
                    </a:lnTo>
                    <a:lnTo>
                      <a:pt x="74" y="98"/>
                    </a:lnTo>
                    <a:lnTo>
                      <a:pt x="72" y="98"/>
                    </a:lnTo>
                    <a:lnTo>
                      <a:pt x="72" y="94"/>
                    </a:lnTo>
                    <a:lnTo>
                      <a:pt x="72" y="92"/>
                    </a:lnTo>
                    <a:lnTo>
                      <a:pt x="72" y="90"/>
                    </a:lnTo>
                    <a:lnTo>
                      <a:pt x="72" y="90"/>
                    </a:lnTo>
                    <a:lnTo>
                      <a:pt x="72" y="88"/>
                    </a:lnTo>
                    <a:lnTo>
                      <a:pt x="68" y="86"/>
                    </a:lnTo>
                    <a:lnTo>
                      <a:pt x="68" y="84"/>
                    </a:lnTo>
                    <a:lnTo>
                      <a:pt x="66" y="84"/>
                    </a:lnTo>
                    <a:lnTo>
                      <a:pt x="66" y="84"/>
                    </a:lnTo>
                    <a:lnTo>
                      <a:pt x="66" y="84"/>
                    </a:lnTo>
                    <a:lnTo>
                      <a:pt x="66" y="84"/>
                    </a:lnTo>
                    <a:lnTo>
                      <a:pt x="64" y="84"/>
                    </a:lnTo>
                    <a:lnTo>
                      <a:pt x="64" y="86"/>
                    </a:lnTo>
                    <a:lnTo>
                      <a:pt x="64" y="88"/>
                    </a:lnTo>
                    <a:lnTo>
                      <a:pt x="64" y="88"/>
                    </a:lnTo>
                    <a:lnTo>
                      <a:pt x="64" y="90"/>
                    </a:lnTo>
                    <a:lnTo>
                      <a:pt x="64" y="92"/>
                    </a:lnTo>
                    <a:lnTo>
                      <a:pt x="64" y="94"/>
                    </a:lnTo>
                    <a:lnTo>
                      <a:pt x="64" y="94"/>
                    </a:lnTo>
                    <a:lnTo>
                      <a:pt x="66" y="96"/>
                    </a:lnTo>
                    <a:lnTo>
                      <a:pt x="66" y="98"/>
                    </a:lnTo>
                    <a:lnTo>
                      <a:pt x="66" y="100"/>
                    </a:lnTo>
                    <a:lnTo>
                      <a:pt x="66" y="102"/>
                    </a:lnTo>
                    <a:lnTo>
                      <a:pt x="66" y="102"/>
                    </a:lnTo>
                    <a:lnTo>
                      <a:pt x="66" y="104"/>
                    </a:lnTo>
                    <a:lnTo>
                      <a:pt x="64" y="104"/>
                    </a:lnTo>
                    <a:lnTo>
                      <a:pt x="64" y="108"/>
                    </a:lnTo>
                    <a:lnTo>
                      <a:pt x="64" y="108"/>
                    </a:lnTo>
                    <a:lnTo>
                      <a:pt x="62" y="110"/>
                    </a:lnTo>
                    <a:lnTo>
                      <a:pt x="62" y="114"/>
                    </a:lnTo>
                    <a:lnTo>
                      <a:pt x="62" y="118"/>
                    </a:lnTo>
                    <a:lnTo>
                      <a:pt x="62" y="118"/>
                    </a:lnTo>
                    <a:lnTo>
                      <a:pt x="62" y="120"/>
                    </a:lnTo>
                    <a:lnTo>
                      <a:pt x="62" y="124"/>
                    </a:lnTo>
                    <a:lnTo>
                      <a:pt x="62" y="124"/>
                    </a:lnTo>
                    <a:lnTo>
                      <a:pt x="62" y="126"/>
                    </a:lnTo>
                    <a:lnTo>
                      <a:pt x="62" y="126"/>
                    </a:lnTo>
                    <a:lnTo>
                      <a:pt x="62" y="128"/>
                    </a:lnTo>
                    <a:lnTo>
                      <a:pt x="62" y="128"/>
                    </a:lnTo>
                    <a:lnTo>
                      <a:pt x="64" y="130"/>
                    </a:lnTo>
                    <a:lnTo>
                      <a:pt x="64" y="130"/>
                    </a:lnTo>
                    <a:lnTo>
                      <a:pt x="64" y="132"/>
                    </a:lnTo>
                    <a:lnTo>
                      <a:pt x="64" y="132"/>
                    </a:lnTo>
                    <a:lnTo>
                      <a:pt x="64" y="132"/>
                    </a:lnTo>
                    <a:lnTo>
                      <a:pt x="62" y="132"/>
                    </a:lnTo>
                    <a:lnTo>
                      <a:pt x="62" y="132"/>
                    </a:lnTo>
                    <a:lnTo>
                      <a:pt x="62" y="134"/>
                    </a:lnTo>
                    <a:lnTo>
                      <a:pt x="62" y="134"/>
                    </a:lnTo>
                    <a:lnTo>
                      <a:pt x="62" y="134"/>
                    </a:lnTo>
                    <a:lnTo>
                      <a:pt x="60" y="136"/>
                    </a:lnTo>
                    <a:lnTo>
                      <a:pt x="60" y="136"/>
                    </a:lnTo>
                    <a:lnTo>
                      <a:pt x="60" y="138"/>
                    </a:lnTo>
                    <a:lnTo>
                      <a:pt x="58" y="138"/>
                    </a:lnTo>
                    <a:lnTo>
                      <a:pt x="58" y="138"/>
                    </a:lnTo>
                    <a:lnTo>
                      <a:pt x="58" y="138"/>
                    </a:lnTo>
                    <a:lnTo>
                      <a:pt x="56" y="136"/>
                    </a:lnTo>
                    <a:lnTo>
                      <a:pt x="54" y="134"/>
                    </a:lnTo>
                    <a:lnTo>
                      <a:pt x="52" y="130"/>
                    </a:lnTo>
                    <a:lnTo>
                      <a:pt x="52" y="130"/>
                    </a:lnTo>
                    <a:lnTo>
                      <a:pt x="52" y="130"/>
                    </a:lnTo>
                    <a:lnTo>
                      <a:pt x="50" y="128"/>
                    </a:lnTo>
                    <a:lnTo>
                      <a:pt x="50" y="128"/>
                    </a:lnTo>
                    <a:lnTo>
                      <a:pt x="48" y="130"/>
                    </a:lnTo>
                    <a:lnTo>
                      <a:pt x="48" y="130"/>
                    </a:lnTo>
                    <a:lnTo>
                      <a:pt x="46" y="132"/>
                    </a:lnTo>
                    <a:lnTo>
                      <a:pt x="46" y="132"/>
                    </a:lnTo>
                    <a:lnTo>
                      <a:pt x="44" y="132"/>
                    </a:lnTo>
                    <a:lnTo>
                      <a:pt x="44" y="134"/>
                    </a:lnTo>
                    <a:lnTo>
                      <a:pt x="42" y="134"/>
                    </a:lnTo>
                    <a:lnTo>
                      <a:pt x="38" y="134"/>
                    </a:lnTo>
                    <a:lnTo>
                      <a:pt x="38" y="134"/>
                    </a:lnTo>
                    <a:lnTo>
                      <a:pt x="38" y="134"/>
                    </a:lnTo>
                    <a:lnTo>
                      <a:pt x="38" y="134"/>
                    </a:lnTo>
                    <a:lnTo>
                      <a:pt x="38" y="13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67" name="Freeform 517"/>
              <p:cNvSpPr>
                <a:spLocks/>
              </p:cNvSpPr>
              <p:nvPr/>
            </p:nvSpPr>
            <p:spPr bwMode="auto">
              <a:xfrm>
                <a:off x="4881" y="1798"/>
                <a:ext cx="4" cy="6"/>
              </a:xfrm>
              <a:custGeom>
                <a:avLst/>
                <a:gdLst>
                  <a:gd name="T0" fmla="*/ 2 w 4"/>
                  <a:gd name="T1" fmla="*/ 0 h 6"/>
                  <a:gd name="T2" fmla="*/ 2 w 4"/>
                  <a:gd name="T3" fmla="*/ 0 h 6"/>
                  <a:gd name="T4" fmla="*/ 0 w 4"/>
                  <a:gd name="T5" fmla="*/ 2 h 6"/>
                  <a:gd name="T6" fmla="*/ 0 w 4"/>
                  <a:gd name="T7" fmla="*/ 2 h 6"/>
                  <a:gd name="T8" fmla="*/ 0 w 4"/>
                  <a:gd name="T9" fmla="*/ 4 h 6"/>
                  <a:gd name="T10" fmla="*/ 0 w 4"/>
                  <a:gd name="T11" fmla="*/ 4 h 6"/>
                  <a:gd name="T12" fmla="*/ 0 w 4"/>
                  <a:gd name="T13" fmla="*/ 6 h 6"/>
                  <a:gd name="T14" fmla="*/ 0 w 4"/>
                  <a:gd name="T15" fmla="*/ 6 h 6"/>
                  <a:gd name="T16" fmla="*/ 2 w 4"/>
                  <a:gd name="T17" fmla="*/ 6 h 6"/>
                  <a:gd name="T18" fmla="*/ 2 w 4"/>
                  <a:gd name="T19" fmla="*/ 6 h 6"/>
                  <a:gd name="T20" fmla="*/ 4 w 4"/>
                  <a:gd name="T21" fmla="*/ 4 h 6"/>
                  <a:gd name="T22" fmla="*/ 4 w 4"/>
                  <a:gd name="T23" fmla="*/ 4 h 6"/>
                  <a:gd name="T24" fmla="*/ 4 w 4"/>
                  <a:gd name="T25" fmla="*/ 2 h 6"/>
                  <a:gd name="T26" fmla="*/ 4 w 4"/>
                  <a:gd name="T27" fmla="*/ 2 h 6"/>
                  <a:gd name="T28" fmla="*/ 4 w 4"/>
                  <a:gd name="T29" fmla="*/ 0 h 6"/>
                  <a:gd name="T30" fmla="*/ 2 w 4"/>
                  <a:gd name="T31" fmla="*/ 0 h 6"/>
                  <a:gd name="T32" fmla="*/ 2 w 4"/>
                  <a:gd name="T33" fmla="*/ 0 h 6"/>
                  <a:gd name="T34" fmla="*/ 2 w 4"/>
                  <a:gd name="T35" fmla="*/ 0 h 6"/>
                  <a:gd name="T36" fmla="*/ 2 w 4"/>
                  <a:gd name="T3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" h="6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68" name="Freeform 519"/>
              <p:cNvSpPr>
                <a:spLocks/>
              </p:cNvSpPr>
              <p:nvPr/>
            </p:nvSpPr>
            <p:spPr bwMode="auto">
              <a:xfrm>
                <a:off x="4863" y="1818"/>
                <a:ext cx="12" cy="22"/>
              </a:xfrm>
              <a:custGeom>
                <a:avLst/>
                <a:gdLst>
                  <a:gd name="T0" fmla="*/ 2 w 12"/>
                  <a:gd name="T1" fmla="*/ 10 h 22"/>
                  <a:gd name="T2" fmla="*/ 2 w 12"/>
                  <a:gd name="T3" fmla="*/ 10 h 22"/>
                  <a:gd name="T4" fmla="*/ 2 w 12"/>
                  <a:gd name="T5" fmla="*/ 16 h 22"/>
                  <a:gd name="T6" fmla="*/ 2 w 12"/>
                  <a:gd name="T7" fmla="*/ 16 h 22"/>
                  <a:gd name="T8" fmla="*/ 0 w 12"/>
                  <a:gd name="T9" fmla="*/ 20 h 22"/>
                  <a:gd name="T10" fmla="*/ 0 w 12"/>
                  <a:gd name="T11" fmla="*/ 20 h 22"/>
                  <a:gd name="T12" fmla="*/ 0 w 12"/>
                  <a:gd name="T13" fmla="*/ 22 h 22"/>
                  <a:gd name="T14" fmla="*/ 0 w 12"/>
                  <a:gd name="T15" fmla="*/ 22 h 22"/>
                  <a:gd name="T16" fmla="*/ 2 w 12"/>
                  <a:gd name="T17" fmla="*/ 22 h 22"/>
                  <a:gd name="T18" fmla="*/ 2 w 12"/>
                  <a:gd name="T19" fmla="*/ 22 h 22"/>
                  <a:gd name="T20" fmla="*/ 4 w 12"/>
                  <a:gd name="T21" fmla="*/ 20 h 22"/>
                  <a:gd name="T22" fmla="*/ 4 w 12"/>
                  <a:gd name="T23" fmla="*/ 20 h 22"/>
                  <a:gd name="T24" fmla="*/ 6 w 12"/>
                  <a:gd name="T25" fmla="*/ 18 h 22"/>
                  <a:gd name="T26" fmla="*/ 6 w 12"/>
                  <a:gd name="T27" fmla="*/ 18 h 22"/>
                  <a:gd name="T28" fmla="*/ 6 w 12"/>
                  <a:gd name="T29" fmla="*/ 16 h 22"/>
                  <a:gd name="T30" fmla="*/ 6 w 12"/>
                  <a:gd name="T31" fmla="*/ 14 h 22"/>
                  <a:gd name="T32" fmla="*/ 6 w 12"/>
                  <a:gd name="T33" fmla="*/ 12 h 22"/>
                  <a:gd name="T34" fmla="*/ 6 w 12"/>
                  <a:gd name="T35" fmla="*/ 10 h 22"/>
                  <a:gd name="T36" fmla="*/ 6 w 12"/>
                  <a:gd name="T37" fmla="*/ 10 h 22"/>
                  <a:gd name="T38" fmla="*/ 8 w 12"/>
                  <a:gd name="T39" fmla="*/ 10 h 22"/>
                  <a:gd name="T40" fmla="*/ 8 w 12"/>
                  <a:gd name="T41" fmla="*/ 8 h 22"/>
                  <a:gd name="T42" fmla="*/ 10 w 12"/>
                  <a:gd name="T43" fmla="*/ 6 h 22"/>
                  <a:gd name="T44" fmla="*/ 10 w 12"/>
                  <a:gd name="T45" fmla="*/ 6 h 22"/>
                  <a:gd name="T46" fmla="*/ 12 w 12"/>
                  <a:gd name="T47" fmla="*/ 4 h 22"/>
                  <a:gd name="T48" fmla="*/ 12 w 12"/>
                  <a:gd name="T49" fmla="*/ 2 h 22"/>
                  <a:gd name="T50" fmla="*/ 12 w 12"/>
                  <a:gd name="T51" fmla="*/ 0 h 22"/>
                  <a:gd name="T52" fmla="*/ 12 w 12"/>
                  <a:gd name="T53" fmla="*/ 0 h 22"/>
                  <a:gd name="T54" fmla="*/ 10 w 12"/>
                  <a:gd name="T55" fmla="*/ 0 h 22"/>
                  <a:gd name="T56" fmla="*/ 8 w 12"/>
                  <a:gd name="T57" fmla="*/ 0 h 22"/>
                  <a:gd name="T58" fmla="*/ 8 w 12"/>
                  <a:gd name="T59" fmla="*/ 0 h 22"/>
                  <a:gd name="T60" fmla="*/ 8 w 12"/>
                  <a:gd name="T61" fmla="*/ 2 h 22"/>
                  <a:gd name="T62" fmla="*/ 6 w 12"/>
                  <a:gd name="T63" fmla="*/ 2 h 22"/>
                  <a:gd name="T64" fmla="*/ 4 w 12"/>
                  <a:gd name="T65" fmla="*/ 6 h 22"/>
                  <a:gd name="T66" fmla="*/ 4 w 12"/>
                  <a:gd name="T67" fmla="*/ 8 h 22"/>
                  <a:gd name="T68" fmla="*/ 2 w 12"/>
                  <a:gd name="T69" fmla="*/ 10 h 22"/>
                  <a:gd name="T70" fmla="*/ 2 w 12"/>
                  <a:gd name="T71" fmla="*/ 10 h 22"/>
                  <a:gd name="T72" fmla="*/ 2 w 12"/>
                  <a:gd name="T73" fmla="*/ 10 h 22"/>
                  <a:gd name="T74" fmla="*/ 2 w 12"/>
                  <a:gd name="T75" fmla="*/ 10 h 22"/>
                  <a:gd name="T76" fmla="*/ 2 w 12"/>
                  <a:gd name="T77" fmla="*/ 1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2" h="22">
                    <a:moveTo>
                      <a:pt x="2" y="10"/>
                    </a:moveTo>
                    <a:lnTo>
                      <a:pt x="2" y="10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6"/>
                    </a:lnTo>
                    <a:lnTo>
                      <a:pt x="6" y="14"/>
                    </a:lnTo>
                    <a:lnTo>
                      <a:pt x="6" y="12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8" y="10"/>
                    </a:lnTo>
                    <a:lnTo>
                      <a:pt x="8" y="8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2" y="4"/>
                    </a:lnTo>
                    <a:lnTo>
                      <a:pt x="12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4" y="6"/>
                    </a:lnTo>
                    <a:lnTo>
                      <a:pt x="4" y="8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1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69" name="Freeform 521"/>
              <p:cNvSpPr>
                <a:spLocks/>
              </p:cNvSpPr>
              <p:nvPr/>
            </p:nvSpPr>
            <p:spPr bwMode="auto">
              <a:xfrm>
                <a:off x="4841" y="1846"/>
                <a:ext cx="16" cy="22"/>
              </a:xfrm>
              <a:custGeom>
                <a:avLst/>
                <a:gdLst>
                  <a:gd name="T0" fmla="*/ 12 w 16"/>
                  <a:gd name="T1" fmla="*/ 0 h 22"/>
                  <a:gd name="T2" fmla="*/ 12 w 16"/>
                  <a:gd name="T3" fmla="*/ 0 h 22"/>
                  <a:gd name="T4" fmla="*/ 12 w 16"/>
                  <a:gd name="T5" fmla="*/ 2 h 22"/>
                  <a:gd name="T6" fmla="*/ 10 w 16"/>
                  <a:gd name="T7" fmla="*/ 2 h 22"/>
                  <a:gd name="T8" fmla="*/ 10 w 16"/>
                  <a:gd name="T9" fmla="*/ 2 h 22"/>
                  <a:gd name="T10" fmla="*/ 10 w 16"/>
                  <a:gd name="T11" fmla="*/ 2 h 22"/>
                  <a:gd name="T12" fmla="*/ 8 w 16"/>
                  <a:gd name="T13" fmla="*/ 2 h 22"/>
                  <a:gd name="T14" fmla="*/ 8 w 16"/>
                  <a:gd name="T15" fmla="*/ 4 h 22"/>
                  <a:gd name="T16" fmla="*/ 6 w 16"/>
                  <a:gd name="T17" fmla="*/ 4 h 22"/>
                  <a:gd name="T18" fmla="*/ 6 w 16"/>
                  <a:gd name="T19" fmla="*/ 4 h 22"/>
                  <a:gd name="T20" fmla="*/ 4 w 16"/>
                  <a:gd name="T21" fmla="*/ 6 h 22"/>
                  <a:gd name="T22" fmla="*/ 4 w 16"/>
                  <a:gd name="T23" fmla="*/ 6 h 22"/>
                  <a:gd name="T24" fmla="*/ 4 w 16"/>
                  <a:gd name="T25" fmla="*/ 8 h 22"/>
                  <a:gd name="T26" fmla="*/ 4 w 16"/>
                  <a:gd name="T27" fmla="*/ 8 h 22"/>
                  <a:gd name="T28" fmla="*/ 2 w 16"/>
                  <a:gd name="T29" fmla="*/ 10 h 22"/>
                  <a:gd name="T30" fmla="*/ 2 w 16"/>
                  <a:gd name="T31" fmla="*/ 10 h 22"/>
                  <a:gd name="T32" fmla="*/ 2 w 16"/>
                  <a:gd name="T33" fmla="*/ 12 h 22"/>
                  <a:gd name="T34" fmla="*/ 2 w 16"/>
                  <a:gd name="T35" fmla="*/ 12 h 22"/>
                  <a:gd name="T36" fmla="*/ 0 w 16"/>
                  <a:gd name="T37" fmla="*/ 12 h 22"/>
                  <a:gd name="T38" fmla="*/ 0 w 16"/>
                  <a:gd name="T39" fmla="*/ 14 h 22"/>
                  <a:gd name="T40" fmla="*/ 0 w 16"/>
                  <a:gd name="T41" fmla="*/ 14 h 22"/>
                  <a:gd name="T42" fmla="*/ 0 w 16"/>
                  <a:gd name="T43" fmla="*/ 14 h 22"/>
                  <a:gd name="T44" fmla="*/ 0 w 16"/>
                  <a:gd name="T45" fmla="*/ 16 h 22"/>
                  <a:gd name="T46" fmla="*/ 0 w 16"/>
                  <a:gd name="T47" fmla="*/ 18 h 22"/>
                  <a:gd name="T48" fmla="*/ 0 w 16"/>
                  <a:gd name="T49" fmla="*/ 22 h 22"/>
                  <a:gd name="T50" fmla="*/ 0 w 16"/>
                  <a:gd name="T51" fmla="*/ 22 h 22"/>
                  <a:gd name="T52" fmla="*/ 0 w 16"/>
                  <a:gd name="T53" fmla="*/ 22 h 22"/>
                  <a:gd name="T54" fmla="*/ 2 w 16"/>
                  <a:gd name="T55" fmla="*/ 22 h 22"/>
                  <a:gd name="T56" fmla="*/ 2 w 16"/>
                  <a:gd name="T57" fmla="*/ 20 h 22"/>
                  <a:gd name="T58" fmla="*/ 4 w 16"/>
                  <a:gd name="T59" fmla="*/ 18 h 22"/>
                  <a:gd name="T60" fmla="*/ 6 w 16"/>
                  <a:gd name="T61" fmla="*/ 18 h 22"/>
                  <a:gd name="T62" fmla="*/ 6 w 16"/>
                  <a:gd name="T63" fmla="*/ 18 h 22"/>
                  <a:gd name="T64" fmla="*/ 6 w 16"/>
                  <a:gd name="T65" fmla="*/ 16 h 22"/>
                  <a:gd name="T66" fmla="*/ 6 w 16"/>
                  <a:gd name="T67" fmla="*/ 14 h 22"/>
                  <a:gd name="T68" fmla="*/ 8 w 16"/>
                  <a:gd name="T69" fmla="*/ 12 h 22"/>
                  <a:gd name="T70" fmla="*/ 10 w 16"/>
                  <a:gd name="T71" fmla="*/ 10 h 22"/>
                  <a:gd name="T72" fmla="*/ 10 w 16"/>
                  <a:gd name="T73" fmla="*/ 10 h 22"/>
                  <a:gd name="T74" fmla="*/ 10 w 16"/>
                  <a:gd name="T75" fmla="*/ 8 h 22"/>
                  <a:gd name="T76" fmla="*/ 12 w 16"/>
                  <a:gd name="T77" fmla="*/ 6 h 22"/>
                  <a:gd name="T78" fmla="*/ 14 w 16"/>
                  <a:gd name="T79" fmla="*/ 6 h 22"/>
                  <a:gd name="T80" fmla="*/ 16 w 16"/>
                  <a:gd name="T81" fmla="*/ 4 h 22"/>
                  <a:gd name="T82" fmla="*/ 16 w 16"/>
                  <a:gd name="T83" fmla="*/ 4 h 22"/>
                  <a:gd name="T84" fmla="*/ 16 w 16"/>
                  <a:gd name="T85" fmla="*/ 4 h 22"/>
                  <a:gd name="T86" fmla="*/ 16 w 16"/>
                  <a:gd name="T87" fmla="*/ 2 h 22"/>
                  <a:gd name="T88" fmla="*/ 16 w 16"/>
                  <a:gd name="T89" fmla="*/ 0 h 22"/>
                  <a:gd name="T90" fmla="*/ 16 w 16"/>
                  <a:gd name="T91" fmla="*/ 0 h 22"/>
                  <a:gd name="T92" fmla="*/ 16 w 16"/>
                  <a:gd name="T93" fmla="*/ 0 h 22"/>
                  <a:gd name="T94" fmla="*/ 14 w 16"/>
                  <a:gd name="T95" fmla="*/ 0 h 22"/>
                  <a:gd name="T96" fmla="*/ 14 w 16"/>
                  <a:gd name="T97" fmla="*/ 0 h 22"/>
                  <a:gd name="T98" fmla="*/ 12 w 16"/>
                  <a:gd name="T99" fmla="*/ 0 h 22"/>
                  <a:gd name="T100" fmla="*/ 12 w 16"/>
                  <a:gd name="T101" fmla="*/ 0 h 22"/>
                  <a:gd name="T102" fmla="*/ 12 w 16"/>
                  <a:gd name="T103" fmla="*/ 0 h 22"/>
                  <a:gd name="T104" fmla="*/ 12 w 16"/>
                  <a:gd name="T105" fmla="*/ 0 h 22"/>
                  <a:gd name="T106" fmla="*/ 12 w 16"/>
                  <a:gd name="T107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6" h="22">
                    <a:moveTo>
                      <a:pt x="12" y="0"/>
                    </a:moveTo>
                    <a:lnTo>
                      <a:pt x="12" y="0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8" y="2"/>
                    </a:lnTo>
                    <a:lnTo>
                      <a:pt x="8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0" y="18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2"/>
                    </a:lnTo>
                    <a:lnTo>
                      <a:pt x="2" y="20"/>
                    </a:lnTo>
                    <a:lnTo>
                      <a:pt x="4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6"/>
                    </a:lnTo>
                    <a:lnTo>
                      <a:pt x="6" y="14"/>
                    </a:lnTo>
                    <a:lnTo>
                      <a:pt x="8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0" y="8"/>
                    </a:lnTo>
                    <a:lnTo>
                      <a:pt x="12" y="6"/>
                    </a:lnTo>
                    <a:lnTo>
                      <a:pt x="14" y="6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70" name="Freeform 523"/>
              <p:cNvSpPr>
                <a:spLocks/>
              </p:cNvSpPr>
              <p:nvPr/>
            </p:nvSpPr>
            <p:spPr bwMode="auto">
              <a:xfrm>
                <a:off x="4833" y="1872"/>
                <a:ext cx="4" cy="16"/>
              </a:xfrm>
              <a:custGeom>
                <a:avLst/>
                <a:gdLst>
                  <a:gd name="T0" fmla="*/ 0 w 4"/>
                  <a:gd name="T1" fmla="*/ 10 h 16"/>
                  <a:gd name="T2" fmla="*/ 0 w 4"/>
                  <a:gd name="T3" fmla="*/ 10 h 16"/>
                  <a:gd name="T4" fmla="*/ 0 w 4"/>
                  <a:gd name="T5" fmla="*/ 14 h 16"/>
                  <a:gd name="T6" fmla="*/ 0 w 4"/>
                  <a:gd name="T7" fmla="*/ 16 h 16"/>
                  <a:gd name="T8" fmla="*/ 0 w 4"/>
                  <a:gd name="T9" fmla="*/ 16 h 16"/>
                  <a:gd name="T10" fmla="*/ 0 w 4"/>
                  <a:gd name="T11" fmla="*/ 16 h 16"/>
                  <a:gd name="T12" fmla="*/ 0 w 4"/>
                  <a:gd name="T13" fmla="*/ 16 h 16"/>
                  <a:gd name="T14" fmla="*/ 0 w 4"/>
                  <a:gd name="T15" fmla="*/ 16 h 16"/>
                  <a:gd name="T16" fmla="*/ 2 w 4"/>
                  <a:gd name="T17" fmla="*/ 16 h 16"/>
                  <a:gd name="T18" fmla="*/ 2 w 4"/>
                  <a:gd name="T19" fmla="*/ 14 h 16"/>
                  <a:gd name="T20" fmla="*/ 2 w 4"/>
                  <a:gd name="T21" fmla="*/ 12 h 16"/>
                  <a:gd name="T22" fmla="*/ 2 w 4"/>
                  <a:gd name="T23" fmla="*/ 8 h 16"/>
                  <a:gd name="T24" fmla="*/ 4 w 4"/>
                  <a:gd name="T25" fmla="*/ 6 h 16"/>
                  <a:gd name="T26" fmla="*/ 4 w 4"/>
                  <a:gd name="T27" fmla="*/ 6 h 16"/>
                  <a:gd name="T28" fmla="*/ 4 w 4"/>
                  <a:gd name="T29" fmla="*/ 6 h 16"/>
                  <a:gd name="T30" fmla="*/ 4 w 4"/>
                  <a:gd name="T31" fmla="*/ 4 h 16"/>
                  <a:gd name="T32" fmla="*/ 4 w 4"/>
                  <a:gd name="T33" fmla="*/ 2 h 16"/>
                  <a:gd name="T34" fmla="*/ 2 w 4"/>
                  <a:gd name="T35" fmla="*/ 2 h 16"/>
                  <a:gd name="T36" fmla="*/ 2 w 4"/>
                  <a:gd name="T37" fmla="*/ 2 h 16"/>
                  <a:gd name="T38" fmla="*/ 2 w 4"/>
                  <a:gd name="T39" fmla="*/ 0 h 16"/>
                  <a:gd name="T40" fmla="*/ 0 w 4"/>
                  <a:gd name="T41" fmla="*/ 0 h 16"/>
                  <a:gd name="T42" fmla="*/ 0 w 4"/>
                  <a:gd name="T43" fmla="*/ 0 h 16"/>
                  <a:gd name="T44" fmla="*/ 0 w 4"/>
                  <a:gd name="T45" fmla="*/ 0 h 16"/>
                  <a:gd name="T46" fmla="*/ 0 w 4"/>
                  <a:gd name="T47" fmla="*/ 2 h 16"/>
                  <a:gd name="T48" fmla="*/ 0 w 4"/>
                  <a:gd name="T49" fmla="*/ 2 h 16"/>
                  <a:gd name="T50" fmla="*/ 0 w 4"/>
                  <a:gd name="T51" fmla="*/ 4 h 16"/>
                  <a:gd name="T52" fmla="*/ 0 w 4"/>
                  <a:gd name="T53" fmla="*/ 6 h 16"/>
                  <a:gd name="T54" fmla="*/ 0 w 4"/>
                  <a:gd name="T55" fmla="*/ 8 h 16"/>
                  <a:gd name="T56" fmla="*/ 0 w 4"/>
                  <a:gd name="T57" fmla="*/ 10 h 16"/>
                  <a:gd name="T58" fmla="*/ 0 w 4"/>
                  <a:gd name="T59" fmla="*/ 10 h 16"/>
                  <a:gd name="T60" fmla="*/ 0 w 4"/>
                  <a:gd name="T61" fmla="*/ 10 h 16"/>
                  <a:gd name="T62" fmla="*/ 0 w 4"/>
                  <a:gd name="T63" fmla="*/ 10 h 16"/>
                  <a:gd name="T64" fmla="*/ 0 w 4"/>
                  <a:gd name="T65" fmla="*/ 1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" h="16">
                    <a:moveTo>
                      <a:pt x="0" y="10"/>
                    </a:moveTo>
                    <a:lnTo>
                      <a:pt x="0" y="10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2" y="16"/>
                    </a:lnTo>
                    <a:lnTo>
                      <a:pt x="2" y="14"/>
                    </a:lnTo>
                    <a:lnTo>
                      <a:pt x="2" y="12"/>
                    </a:lnTo>
                    <a:lnTo>
                      <a:pt x="2" y="8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71" name="Freeform 525"/>
              <p:cNvSpPr>
                <a:spLocks/>
              </p:cNvSpPr>
              <p:nvPr/>
            </p:nvSpPr>
            <p:spPr bwMode="auto">
              <a:xfrm>
                <a:off x="4749" y="1860"/>
                <a:ext cx="90" cy="108"/>
              </a:xfrm>
              <a:custGeom>
                <a:avLst/>
                <a:gdLst>
                  <a:gd name="T0" fmla="*/ 70 w 90"/>
                  <a:gd name="T1" fmla="*/ 24 h 108"/>
                  <a:gd name="T2" fmla="*/ 60 w 90"/>
                  <a:gd name="T3" fmla="*/ 28 h 108"/>
                  <a:gd name="T4" fmla="*/ 58 w 90"/>
                  <a:gd name="T5" fmla="*/ 24 h 108"/>
                  <a:gd name="T6" fmla="*/ 54 w 90"/>
                  <a:gd name="T7" fmla="*/ 22 h 108"/>
                  <a:gd name="T8" fmla="*/ 40 w 90"/>
                  <a:gd name="T9" fmla="*/ 20 h 108"/>
                  <a:gd name="T10" fmla="*/ 32 w 90"/>
                  <a:gd name="T11" fmla="*/ 12 h 108"/>
                  <a:gd name="T12" fmla="*/ 22 w 90"/>
                  <a:gd name="T13" fmla="*/ 4 h 108"/>
                  <a:gd name="T14" fmla="*/ 12 w 90"/>
                  <a:gd name="T15" fmla="*/ 0 h 108"/>
                  <a:gd name="T16" fmla="*/ 12 w 90"/>
                  <a:gd name="T17" fmla="*/ 10 h 108"/>
                  <a:gd name="T18" fmla="*/ 20 w 90"/>
                  <a:gd name="T19" fmla="*/ 18 h 108"/>
                  <a:gd name="T20" fmla="*/ 24 w 90"/>
                  <a:gd name="T21" fmla="*/ 26 h 108"/>
                  <a:gd name="T22" fmla="*/ 20 w 90"/>
                  <a:gd name="T23" fmla="*/ 32 h 108"/>
                  <a:gd name="T24" fmla="*/ 22 w 90"/>
                  <a:gd name="T25" fmla="*/ 40 h 108"/>
                  <a:gd name="T26" fmla="*/ 24 w 90"/>
                  <a:gd name="T27" fmla="*/ 50 h 108"/>
                  <a:gd name="T28" fmla="*/ 22 w 90"/>
                  <a:gd name="T29" fmla="*/ 54 h 108"/>
                  <a:gd name="T30" fmla="*/ 12 w 90"/>
                  <a:gd name="T31" fmla="*/ 54 h 108"/>
                  <a:gd name="T32" fmla="*/ 10 w 90"/>
                  <a:gd name="T33" fmla="*/ 58 h 108"/>
                  <a:gd name="T34" fmla="*/ 10 w 90"/>
                  <a:gd name="T35" fmla="*/ 60 h 108"/>
                  <a:gd name="T36" fmla="*/ 10 w 90"/>
                  <a:gd name="T37" fmla="*/ 70 h 108"/>
                  <a:gd name="T38" fmla="*/ 6 w 90"/>
                  <a:gd name="T39" fmla="*/ 72 h 108"/>
                  <a:gd name="T40" fmla="*/ 0 w 90"/>
                  <a:gd name="T41" fmla="*/ 72 h 108"/>
                  <a:gd name="T42" fmla="*/ 2 w 90"/>
                  <a:gd name="T43" fmla="*/ 76 h 108"/>
                  <a:gd name="T44" fmla="*/ 12 w 90"/>
                  <a:gd name="T45" fmla="*/ 82 h 108"/>
                  <a:gd name="T46" fmla="*/ 20 w 90"/>
                  <a:gd name="T47" fmla="*/ 88 h 108"/>
                  <a:gd name="T48" fmla="*/ 28 w 90"/>
                  <a:gd name="T49" fmla="*/ 96 h 108"/>
                  <a:gd name="T50" fmla="*/ 34 w 90"/>
                  <a:gd name="T51" fmla="*/ 106 h 108"/>
                  <a:gd name="T52" fmla="*/ 38 w 90"/>
                  <a:gd name="T53" fmla="*/ 108 h 108"/>
                  <a:gd name="T54" fmla="*/ 38 w 90"/>
                  <a:gd name="T55" fmla="*/ 102 h 108"/>
                  <a:gd name="T56" fmla="*/ 40 w 90"/>
                  <a:gd name="T57" fmla="*/ 98 h 108"/>
                  <a:gd name="T58" fmla="*/ 42 w 90"/>
                  <a:gd name="T59" fmla="*/ 100 h 108"/>
                  <a:gd name="T60" fmla="*/ 48 w 90"/>
                  <a:gd name="T61" fmla="*/ 100 h 108"/>
                  <a:gd name="T62" fmla="*/ 48 w 90"/>
                  <a:gd name="T63" fmla="*/ 92 h 108"/>
                  <a:gd name="T64" fmla="*/ 42 w 90"/>
                  <a:gd name="T65" fmla="*/ 90 h 108"/>
                  <a:gd name="T66" fmla="*/ 26 w 90"/>
                  <a:gd name="T67" fmla="*/ 84 h 108"/>
                  <a:gd name="T68" fmla="*/ 24 w 90"/>
                  <a:gd name="T69" fmla="*/ 80 h 108"/>
                  <a:gd name="T70" fmla="*/ 30 w 90"/>
                  <a:gd name="T71" fmla="*/ 76 h 108"/>
                  <a:gd name="T72" fmla="*/ 32 w 90"/>
                  <a:gd name="T73" fmla="*/ 74 h 108"/>
                  <a:gd name="T74" fmla="*/ 36 w 90"/>
                  <a:gd name="T75" fmla="*/ 70 h 108"/>
                  <a:gd name="T76" fmla="*/ 42 w 90"/>
                  <a:gd name="T77" fmla="*/ 66 h 108"/>
                  <a:gd name="T78" fmla="*/ 50 w 90"/>
                  <a:gd name="T79" fmla="*/ 72 h 108"/>
                  <a:gd name="T80" fmla="*/ 58 w 90"/>
                  <a:gd name="T81" fmla="*/ 76 h 108"/>
                  <a:gd name="T82" fmla="*/ 64 w 90"/>
                  <a:gd name="T83" fmla="*/ 82 h 108"/>
                  <a:gd name="T84" fmla="*/ 66 w 90"/>
                  <a:gd name="T85" fmla="*/ 84 h 108"/>
                  <a:gd name="T86" fmla="*/ 68 w 90"/>
                  <a:gd name="T87" fmla="*/ 82 h 108"/>
                  <a:gd name="T88" fmla="*/ 64 w 90"/>
                  <a:gd name="T89" fmla="*/ 74 h 108"/>
                  <a:gd name="T90" fmla="*/ 60 w 90"/>
                  <a:gd name="T91" fmla="*/ 62 h 108"/>
                  <a:gd name="T92" fmla="*/ 64 w 90"/>
                  <a:gd name="T93" fmla="*/ 56 h 108"/>
                  <a:gd name="T94" fmla="*/ 72 w 90"/>
                  <a:gd name="T95" fmla="*/ 54 h 108"/>
                  <a:gd name="T96" fmla="*/ 78 w 90"/>
                  <a:gd name="T97" fmla="*/ 50 h 108"/>
                  <a:gd name="T98" fmla="*/ 86 w 90"/>
                  <a:gd name="T99" fmla="*/ 44 h 108"/>
                  <a:gd name="T100" fmla="*/ 90 w 90"/>
                  <a:gd name="T101" fmla="*/ 36 h 108"/>
                  <a:gd name="T102" fmla="*/ 86 w 90"/>
                  <a:gd name="T103" fmla="*/ 36 h 108"/>
                  <a:gd name="T104" fmla="*/ 84 w 90"/>
                  <a:gd name="T105" fmla="*/ 34 h 108"/>
                  <a:gd name="T106" fmla="*/ 82 w 90"/>
                  <a:gd name="T107" fmla="*/ 30 h 108"/>
                  <a:gd name="T108" fmla="*/ 78 w 90"/>
                  <a:gd name="T109" fmla="*/ 28 h 108"/>
                  <a:gd name="T110" fmla="*/ 80 w 90"/>
                  <a:gd name="T111" fmla="*/ 18 h 108"/>
                  <a:gd name="T112" fmla="*/ 78 w 90"/>
                  <a:gd name="T113" fmla="*/ 14 h 108"/>
                  <a:gd name="T114" fmla="*/ 74 w 90"/>
                  <a:gd name="T115" fmla="*/ 2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90" h="108">
                    <a:moveTo>
                      <a:pt x="74" y="20"/>
                    </a:moveTo>
                    <a:lnTo>
                      <a:pt x="74" y="20"/>
                    </a:lnTo>
                    <a:lnTo>
                      <a:pt x="72" y="22"/>
                    </a:lnTo>
                    <a:lnTo>
                      <a:pt x="70" y="24"/>
                    </a:lnTo>
                    <a:lnTo>
                      <a:pt x="70" y="24"/>
                    </a:lnTo>
                    <a:lnTo>
                      <a:pt x="68" y="26"/>
                    </a:lnTo>
                    <a:lnTo>
                      <a:pt x="66" y="28"/>
                    </a:lnTo>
                    <a:lnTo>
                      <a:pt x="62" y="28"/>
                    </a:lnTo>
                    <a:lnTo>
                      <a:pt x="62" y="28"/>
                    </a:lnTo>
                    <a:lnTo>
                      <a:pt x="60" y="28"/>
                    </a:lnTo>
                    <a:lnTo>
                      <a:pt x="60" y="28"/>
                    </a:lnTo>
                    <a:lnTo>
                      <a:pt x="60" y="28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58" y="24"/>
                    </a:lnTo>
                    <a:lnTo>
                      <a:pt x="58" y="24"/>
                    </a:lnTo>
                    <a:lnTo>
                      <a:pt x="58" y="24"/>
                    </a:lnTo>
                    <a:lnTo>
                      <a:pt x="56" y="22"/>
                    </a:lnTo>
                    <a:lnTo>
                      <a:pt x="54" y="22"/>
                    </a:lnTo>
                    <a:lnTo>
                      <a:pt x="54" y="22"/>
                    </a:lnTo>
                    <a:lnTo>
                      <a:pt x="52" y="22"/>
                    </a:lnTo>
                    <a:lnTo>
                      <a:pt x="48" y="22"/>
                    </a:lnTo>
                    <a:lnTo>
                      <a:pt x="44" y="22"/>
                    </a:lnTo>
                    <a:lnTo>
                      <a:pt x="42" y="20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38" y="18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28" y="10"/>
                    </a:lnTo>
                    <a:lnTo>
                      <a:pt x="26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0" y="4"/>
                    </a:lnTo>
                    <a:lnTo>
                      <a:pt x="10" y="8"/>
                    </a:lnTo>
                    <a:lnTo>
                      <a:pt x="12" y="10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4" y="14"/>
                    </a:lnTo>
                    <a:lnTo>
                      <a:pt x="18" y="16"/>
                    </a:lnTo>
                    <a:lnTo>
                      <a:pt x="20" y="18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2" y="22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8"/>
                    </a:lnTo>
                    <a:lnTo>
                      <a:pt x="22" y="28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2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6"/>
                    </a:lnTo>
                    <a:lnTo>
                      <a:pt x="20" y="38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44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24" y="50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20" y="54"/>
                    </a:lnTo>
                    <a:lnTo>
                      <a:pt x="18" y="54"/>
                    </a:lnTo>
                    <a:lnTo>
                      <a:pt x="14" y="52"/>
                    </a:lnTo>
                    <a:lnTo>
                      <a:pt x="12" y="52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10" y="54"/>
                    </a:lnTo>
                    <a:lnTo>
                      <a:pt x="10" y="56"/>
                    </a:lnTo>
                    <a:lnTo>
                      <a:pt x="10" y="58"/>
                    </a:lnTo>
                    <a:lnTo>
                      <a:pt x="10" y="58"/>
                    </a:lnTo>
                    <a:lnTo>
                      <a:pt x="10" y="58"/>
                    </a:lnTo>
                    <a:lnTo>
                      <a:pt x="10" y="58"/>
                    </a:lnTo>
                    <a:lnTo>
                      <a:pt x="10" y="60"/>
                    </a:lnTo>
                    <a:lnTo>
                      <a:pt x="10" y="60"/>
                    </a:lnTo>
                    <a:lnTo>
                      <a:pt x="10" y="60"/>
                    </a:lnTo>
                    <a:lnTo>
                      <a:pt x="10" y="62"/>
                    </a:lnTo>
                    <a:lnTo>
                      <a:pt x="10" y="64"/>
                    </a:lnTo>
                    <a:lnTo>
                      <a:pt x="10" y="68"/>
                    </a:lnTo>
                    <a:lnTo>
                      <a:pt x="10" y="68"/>
                    </a:lnTo>
                    <a:lnTo>
                      <a:pt x="10" y="70"/>
                    </a:lnTo>
                    <a:lnTo>
                      <a:pt x="10" y="72"/>
                    </a:lnTo>
                    <a:lnTo>
                      <a:pt x="8" y="72"/>
                    </a:lnTo>
                    <a:lnTo>
                      <a:pt x="8" y="72"/>
                    </a:lnTo>
                    <a:lnTo>
                      <a:pt x="6" y="72"/>
                    </a:lnTo>
                    <a:lnTo>
                      <a:pt x="6" y="72"/>
                    </a:lnTo>
                    <a:lnTo>
                      <a:pt x="2" y="72"/>
                    </a:lnTo>
                    <a:lnTo>
                      <a:pt x="2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2" y="76"/>
                    </a:lnTo>
                    <a:lnTo>
                      <a:pt x="2" y="76"/>
                    </a:lnTo>
                    <a:lnTo>
                      <a:pt x="4" y="78"/>
                    </a:lnTo>
                    <a:lnTo>
                      <a:pt x="8" y="78"/>
                    </a:lnTo>
                    <a:lnTo>
                      <a:pt x="10" y="80"/>
                    </a:lnTo>
                    <a:lnTo>
                      <a:pt x="10" y="80"/>
                    </a:lnTo>
                    <a:lnTo>
                      <a:pt x="12" y="82"/>
                    </a:lnTo>
                    <a:lnTo>
                      <a:pt x="14" y="82"/>
                    </a:lnTo>
                    <a:lnTo>
                      <a:pt x="14" y="82"/>
                    </a:lnTo>
                    <a:lnTo>
                      <a:pt x="18" y="86"/>
                    </a:lnTo>
                    <a:lnTo>
                      <a:pt x="20" y="88"/>
                    </a:lnTo>
                    <a:lnTo>
                      <a:pt x="20" y="88"/>
                    </a:lnTo>
                    <a:lnTo>
                      <a:pt x="22" y="90"/>
                    </a:lnTo>
                    <a:lnTo>
                      <a:pt x="26" y="94"/>
                    </a:lnTo>
                    <a:lnTo>
                      <a:pt x="26" y="94"/>
                    </a:lnTo>
                    <a:lnTo>
                      <a:pt x="26" y="96"/>
                    </a:lnTo>
                    <a:lnTo>
                      <a:pt x="28" y="96"/>
                    </a:lnTo>
                    <a:lnTo>
                      <a:pt x="30" y="100"/>
                    </a:lnTo>
                    <a:lnTo>
                      <a:pt x="30" y="100"/>
                    </a:lnTo>
                    <a:lnTo>
                      <a:pt x="30" y="104"/>
                    </a:lnTo>
                    <a:lnTo>
                      <a:pt x="32" y="106"/>
                    </a:lnTo>
                    <a:lnTo>
                      <a:pt x="34" y="106"/>
                    </a:lnTo>
                    <a:lnTo>
                      <a:pt x="34" y="108"/>
                    </a:lnTo>
                    <a:lnTo>
                      <a:pt x="36" y="108"/>
                    </a:lnTo>
                    <a:lnTo>
                      <a:pt x="38" y="108"/>
                    </a:lnTo>
                    <a:lnTo>
                      <a:pt x="38" y="108"/>
                    </a:lnTo>
                    <a:lnTo>
                      <a:pt x="38" y="108"/>
                    </a:lnTo>
                    <a:lnTo>
                      <a:pt x="38" y="106"/>
                    </a:lnTo>
                    <a:lnTo>
                      <a:pt x="38" y="106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2"/>
                    </a:lnTo>
                    <a:lnTo>
                      <a:pt x="38" y="100"/>
                    </a:lnTo>
                    <a:lnTo>
                      <a:pt x="38" y="98"/>
                    </a:lnTo>
                    <a:lnTo>
                      <a:pt x="38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2" y="98"/>
                    </a:lnTo>
                    <a:lnTo>
                      <a:pt x="42" y="98"/>
                    </a:lnTo>
                    <a:lnTo>
                      <a:pt x="42" y="100"/>
                    </a:lnTo>
                    <a:lnTo>
                      <a:pt x="42" y="100"/>
                    </a:lnTo>
                    <a:lnTo>
                      <a:pt x="44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8" y="100"/>
                    </a:lnTo>
                    <a:lnTo>
                      <a:pt x="48" y="100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6"/>
                    </a:lnTo>
                    <a:lnTo>
                      <a:pt x="48" y="92"/>
                    </a:lnTo>
                    <a:lnTo>
                      <a:pt x="48" y="92"/>
                    </a:lnTo>
                    <a:lnTo>
                      <a:pt x="48" y="92"/>
                    </a:lnTo>
                    <a:lnTo>
                      <a:pt x="46" y="92"/>
                    </a:lnTo>
                    <a:lnTo>
                      <a:pt x="46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38" y="88"/>
                    </a:lnTo>
                    <a:lnTo>
                      <a:pt x="36" y="86"/>
                    </a:lnTo>
                    <a:lnTo>
                      <a:pt x="36" y="86"/>
                    </a:lnTo>
                    <a:lnTo>
                      <a:pt x="30" y="84"/>
                    </a:lnTo>
                    <a:lnTo>
                      <a:pt x="26" y="84"/>
                    </a:lnTo>
                    <a:lnTo>
                      <a:pt x="26" y="82"/>
                    </a:lnTo>
                    <a:lnTo>
                      <a:pt x="24" y="82"/>
                    </a:lnTo>
                    <a:lnTo>
                      <a:pt x="24" y="82"/>
                    </a:lnTo>
                    <a:lnTo>
                      <a:pt x="24" y="80"/>
                    </a:lnTo>
                    <a:lnTo>
                      <a:pt x="24" y="80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8" y="78"/>
                    </a:lnTo>
                    <a:lnTo>
                      <a:pt x="30" y="76"/>
                    </a:lnTo>
                    <a:lnTo>
                      <a:pt x="32" y="78"/>
                    </a:lnTo>
                    <a:lnTo>
                      <a:pt x="32" y="78"/>
                    </a:lnTo>
                    <a:lnTo>
                      <a:pt x="32" y="76"/>
                    </a:lnTo>
                    <a:lnTo>
                      <a:pt x="32" y="74"/>
                    </a:lnTo>
                    <a:lnTo>
                      <a:pt x="32" y="74"/>
                    </a:lnTo>
                    <a:lnTo>
                      <a:pt x="32" y="72"/>
                    </a:lnTo>
                    <a:lnTo>
                      <a:pt x="32" y="72"/>
                    </a:lnTo>
                    <a:lnTo>
                      <a:pt x="34" y="72"/>
                    </a:lnTo>
                    <a:lnTo>
                      <a:pt x="34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40" y="68"/>
                    </a:lnTo>
                    <a:lnTo>
                      <a:pt x="42" y="68"/>
                    </a:lnTo>
                    <a:lnTo>
                      <a:pt x="42" y="66"/>
                    </a:lnTo>
                    <a:lnTo>
                      <a:pt x="44" y="66"/>
                    </a:lnTo>
                    <a:lnTo>
                      <a:pt x="46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50" y="72"/>
                    </a:lnTo>
                    <a:lnTo>
                      <a:pt x="52" y="74"/>
                    </a:lnTo>
                    <a:lnTo>
                      <a:pt x="54" y="74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8" y="76"/>
                    </a:lnTo>
                    <a:lnTo>
                      <a:pt x="60" y="76"/>
                    </a:lnTo>
                    <a:lnTo>
                      <a:pt x="60" y="78"/>
                    </a:lnTo>
                    <a:lnTo>
                      <a:pt x="62" y="80"/>
                    </a:lnTo>
                    <a:lnTo>
                      <a:pt x="62" y="80"/>
                    </a:lnTo>
                    <a:lnTo>
                      <a:pt x="64" y="82"/>
                    </a:lnTo>
                    <a:lnTo>
                      <a:pt x="64" y="82"/>
                    </a:lnTo>
                    <a:lnTo>
                      <a:pt x="64" y="84"/>
                    </a:lnTo>
                    <a:lnTo>
                      <a:pt x="64" y="84"/>
                    </a:lnTo>
                    <a:lnTo>
                      <a:pt x="64" y="84"/>
                    </a:lnTo>
                    <a:lnTo>
                      <a:pt x="66" y="84"/>
                    </a:lnTo>
                    <a:lnTo>
                      <a:pt x="66" y="84"/>
                    </a:lnTo>
                    <a:lnTo>
                      <a:pt x="66" y="84"/>
                    </a:lnTo>
                    <a:lnTo>
                      <a:pt x="68" y="84"/>
                    </a:lnTo>
                    <a:lnTo>
                      <a:pt x="68" y="82"/>
                    </a:lnTo>
                    <a:lnTo>
                      <a:pt x="68" y="82"/>
                    </a:lnTo>
                    <a:lnTo>
                      <a:pt x="68" y="82"/>
                    </a:lnTo>
                    <a:lnTo>
                      <a:pt x="68" y="80"/>
                    </a:lnTo>
                    <a:lnTo>
                      <a:pt x="66" y="78"/>
                    </a:lnTo>
                    <a:lnTo>
                      <a:pt x="66" y="78"/>
                    </a:lnTo>
                    <a:lnTo>
                      <a:pt x="64" y="74"/>
                    </a:lnTo>
                    <a:lnTo>
                      <a:pt x="62" y="72"/>
                    </a:lnTo>
                    <a:lnTo>
                      <a:pt x="62" y="72"/>
                    </a:lnTo>
                    <a:lnTo>
                      <a:pt x="60" y="70"/>
                    </a:lnTo>
                    <a:lnTo>
                      <a:pt x="60" y="66"/>
                    </a:lnTo>
                    <a:lnTo>
                      <a:pt x="60" y="62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62" y="58"/>
                    </a:lnTo>
                    <a:lnTo>
                      <a:pt x="64" y="56"/>
                    </a:lnTo>
                    <a:lnTo>
                      <a:pt x="66" y="54"/>
                    </a:lnTo>
                    <a:lnTo>
                      <a:pt x="68" y="52"/>
                    </a:lnTo>
                    <a:lnTo>
                      <a:pt x="68" y="52"/>
                    </a:lnTo>
                    <a:lnTo>
                      <a:pt x="70" y="52"/>
                    </a:lnTo>
                    <a:lnTo>
                      <a:pt x="72" y="54"/>
                    </a:lnTo>
                    <a:lnTo>
                      <a:pt x="74" y="54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8" y="52"/>
                    </a:lnTo>
                    <a:lnTo>
                      <a:pt x="78" y="50"/>
                    </a:lnTo>
                    <a:lnTo>
                      <a:pt x="80" y="48"/>
                    </a:lnTo>
                    <a:lnTo>
                      <a:pt x="82" y="46"/>
                    </a:lnTo>
                    <a:lnTo>
                      <a:pt x="82" y="46"/>
                    </a:lnTo>
                    <a:lnTo>
                      <a:pt x="84" y="46"/>
                    </a:lnTo>
                    <a:lnTo>
                      <a:pt x="86" y="44"/>
                    </a:lnTo>
                    <a:lnTo>
                      <a:pt x="88" y="44"/>
                    </a:lnTo>
                    <a:lnTo>
                      <a:pt x="88" y="42"/>
                    </a:lnTo>
                    <a:lnTo>
                      <a:pt x="90" y="40"/>
                    </a:lnTo>
                    <a:lnTo>
                      <a:pt x="90" y="38"/>
                    </a:lnTo>
                    <a:lnTo>
                      <a:pt x="90" y="36"/>
                    </a:lnTo>
                    <a:lnTo>
                      <a:pt x="90" y="36"/>
                    </a:lnTo>
                    <a:lnTo>
                      <a:pt x="90" y="36"/>
                    </a:lnTo>
                    <a:lnTo>
                      <a:pt x="88" y="36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84" y="36"/>
                    </a:lnTo>
                    <a:lnTo>
                      <a:pt x="84" y="34"/>
                    </a:lnTo>
                    <a:lnTo>
                      <a:pt x="84" y="34"/>
                    </a:lnTo>
                    <a:lnTo>
                      <a:pt x="84" y="34"/>
                    </a:lnTo>
                    <a:lnTo>
                      <a:pt x="84" y="34"/>
                    </a:lnTo>
                    <a:lnTo>
                      <a:pt x="84" y="32"/>
                    </a:lnTo>
                    <a:lnTo>
                      <a:pt x="84" y="32"/>
                    </a:lnTo>
                    <a:lnTo>
                      <a:pt x="84" y="30"/>
                    </a:lnTo>
                    <a:lnTo>
                      <a:pt x="82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28"/>
                    </a:lnTo>
                    <a:lnTo>
                      <a:pt x="78" y="28"/>
                    </a:lnTo>
                    <a:lnTo>
                      <a:pt x="78" y="28"/>
                    </a:lnTo>
                    <a:lnTo>
                      <a:pt x="78" y="26"/>
                    </a:lnTo>
                    <a:lnTo>
                      <a:pt x="78" y="24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18"/>
                    </a:lnTo>
                    <a:lnTo>
                      <a:pt x="80" y="16"/>
                    </a:lnTo>
                    <a:lnTo>
                      <a:pt x="78" y="16"/>
                    </a:lnTo>
                    <a:lnTo>
                      <a:pt x="78" y="16"/>
                    </a:lnTo>
                    <a:lnTo>
                      <a:pt x="78" y="14"/>
                    </a:lnTo>
                    <a:lnTo>
                      <a:pt x="78" y="14"/>
                    </a:lnTo>
                    <a:lnTo>
                      <a:pt x="78" y="16"/>
                    </a:lnTo>
                    <a:lnTo>
                      <a:pt x="76" y="16"/>
                    </a:lnTo>
                    <a:lnTo>
                      <a:pt x="76" y="18"/>
                    </a:lnTo>
                    <a:lnTo>
                      <a:pt x="74" y="20"/>
                    </a:lnTo>
                    <a:lnTo>
                      <a:pt x="74" y="20"/>
                    </a:lnTo>
                    <a:lnTo>
                      <a:pt x="74" y="20"/>
                    </a:lnTo>
                    <a:lnTo>
                      <a:pt x="74" y="20"/>
                    </a:lnTo>
                    <a:lnTo>
                      <a:pt x="74" y="2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72" name="Freeform 528"/>
              <p:cNvSpPr>
                <a:spLocks/>
              </p:cNvSpPr>
              <p:nvPr/>
            </p:nvSpPr>
            <p:spPr bwMode="auto">
              <a:xfrm>
                <a:off x="4667" y="2132"/>
                <a:ext cx="6" cy="8"/>
              </a:xfrm>
              <a:custGeom>
                <a:avLst/>
                <a:gdLst>
                  <a:gd name="T0" fmla="*/ 4 w 6"/>
                  <a:gd name="T1" fmla="*/ 8 h 8"/>
                  <a:gd name="T2" fmla="*/ 4 w 6"/>
                  <a:gd name="T3" fmla="*/ 8 h 8"/>
                  <a:gd name="T4" fmla="*/ 4 w 6"/>
                  <a:gd name="T5" fmla="*/ 8 h 8"/>
                  <a:gd name="T6" fmla="*/ 4 w 6"/>
                  <a:gd name="T7" fmla="*/ 8 h 8"/>
                  <a:gd name="T8" fmla="*/ 6 w 6"/>
                  <a:gd name="T9" fmla="*/ 8 h 8"/>
                  <a:gd name="T10" fmla="*/ 6 w 6"/>
                  <a:gd name="T11" fmla="*/ 8 h 8"/>
                  <a:gd name="T12" fmla="*/ 6 w 6"/>
                  <a:gd name="T13" fmla="*/ 4 h 8"/>
                  <a:gd name="T14" fmla="*/ 6 w 6"/>
                  <a:gd name="T15" fmla="*/ 4 h 8"/>
                  <a:gd name="T16" fmla="*/ 6 w 6"/>
                  <a:gd name="T17" fmla="*/ 2 h 8"/>
                  <a:gd name="T18" fmla="*/ 6 w 6"/>
                  <a:gd name="T19" fmla="*/ 0 h 8"/>
                  <a:gd name="T20" fmla="*/ 4 w 6"/>
                  <a:gd name="T21" fmla="*/ 0 h 8"/>
                  <a:gd name="T22" fmla="*/ 4 w 6"/>
                  <a:gd name="T23" fmla="*/ 0 h 8"/>
                  <a:gd name="T24" fmla="*/ 4 w 6"/>
                  <a:gd name="T25" fmla="*/ 0 h 8"/>
                  <a:gd name="T26" fmla="*/ 4 w 6"/>
                  <a:gd name="T27" fmla="*/ 0 h 8"/>
                  <a:gd name="T28" fmla="*/ 2 w 6"/>
                  <a:gd name="T29" fmla="*/ 0 h 8"/>
                  <a:gd name="T30" fmla="*/ 0 w 6"/>
                  <a:gd name="T31" fmla="*/ 0 h 8"/>
                  <a:gd name="T32" fmla="*/ 0 w 6"/>
                  <a:gd name="T33" fmla="*/ 0 h 8"/>
                  <a:gd name="T34" fmla="*/ 0 w 6"/>
                  <a:gd name="T35" fmla="*/ 0 h 8"/>
                  <a:gd name="T36" fmla="*/ 0 w 6"/>
                  <a:gd name="T37" fmla="*/ 2 h 8"/>
                  <a:gd name="T38" fmla="*/ 0 w 6"/>
                  <a:gd name="T39" fmla="*/ 4 h 8"/>
                  <a:gd name="T40" fmla="*/ 2 w 6"/>
                  <a:gd name="T41" fmla="*/ 6 h 8"/>
                  <a:gd name="T42" fmla="*/ 2 w 6"/>
                  <a:gd name="T43" fmla="*/ 8 h 8"/>
                  <a:gd name="T44" fmla="*/ 4 w 6"/>
                  <a:gd name="T45" fmla="*/ 8 h 8"/>
                  <a:gd name="T46" fmla="*/ 4 w 6"/>
                  <a:gd name="T47" fmla="*/ 8 h 8"/>
                  <a:gd name="T48" fmla="*/ 4 w 6"/>
                  <a:gd name="T49" fmla="*/ 8 h 8"/>
                  <a:gd name="T50" fmla="*/ 4 w 6"/>
                  <a:gd name="T51" fmla="*/ 8 h 8"/>
                  <a:gd name="T52" fmla="*/ 4 w 6"/>
                  <a:gd name="T53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" h="8">
                    <a:moveTo>
                      <a:pt x="4" y="8"/>
                    </a:move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73" name="Freeform 530"/>
              <p:cNvSpPr>
                <a:spLocks/>
              </p:cNvSpPr>
              <p:nvPr/>
            </p:nvSpPr>
            <p:spPr bwMode="auto">
              <a:xfrm>
                <a:off x="4673" y="2144"/>
                <a:ext cx="4" cy="6"/>
              </a:xfrm>
              <a:custGeom>
                <a:avLst/>
                <a:gdLst>
                  <a:gd name="T0" fmla="*/ 2 w 4"/>
                  <a:gd name="T1" fmla="*/ 6 h 6"/>
                  <a:gd name="T2" fmla="*/ 2 w 4"/>
                  <a:gd name="T3" fmla="*/ 6 h 6"/>
                  <a:gd name="T4" fmla="*/ 2 w 4"/>
                  <a:gd name="T5" fmla="*/ 6 h 6"/>
                  <a:gd name="T6" fmla="*/ 2 w 4"/>
                  <a:gd name="T7" fmla="*/ 6 h 6"/>
                  <a:gd name="T8" fmla="*/ 4 w 4"/>
                  <a:gd name="T9" fmla="*/ 4 h 6"/>
                  <a:gd name="T10" fmla="*/ 4 w 4"/>
                  <a:gd name="T11" fmla="*/ 4 h 6"/>
                  <a:gd name="T12" fmla="*/ 4 w 4"/>
                  <a:gd name="T13" fmla="*/ 2 h 6"/>
                  <a:gd name="T14" fmla="*/ 4 w 4"/>
                  <a:gd name="T15" fmla="*/ 2 h 6"/>
                  <a:gd name="T16" fmla="*/ 4 w 4"/>
                  <a:gd name="T17" fmla="*/ 2 h 6"/>
                  <a:gd name="T18" fmla="*/ 2 w 4"/>
                  <a:gd name="T19" fmla="*/ 0 h 6"/>
                  <a:gd name="T20" fmla="*/ 2 w 4"/>
                  <a:gd name="T21" fmla="*/ 2 h 6"/>
                  <a:gd name="T22" fmla="*/ 2 w 4"/>
                  <a:gd name="T23" fmla="*/ 2 h 6"/>
                  <a:gd name="T24" fmla="*/ 0 w 4"/>
                  <a:gd name="T25" fmla="*/ 2 h 6"/>
                  <a:gd name="T26" fmla="*/ 0 w 4"/>
                  <a:gd name="T27" fmla="*/ 4 h 6"/>
                  <a:gd name="T28" fmla="*/ 0 w 4"/>
                  <a:gd name="T29" fmla="*/ 4 h 6"/>
                  <a:gd name="T30" fmla="*/ 2 w 4"/>
                  <a:gd name="T31" fmla="*/ 6 h 6"/>
                  <a:gd name="T32" fmla="*/ 2 w 4"/>
                  <a:gd name="T33" fmla="*/ 6 h 6"/>
                  <a:gd name="T34" fmla="*/ 2 w 4"/>
                  <a:gd name="T35" fmla="*/ 6 h 6"/>
                  <a:gd name="T36" fmla="*/ 2 w 4"/>
                  <a:gd name="T37" fmla="*/ 6 h 6"/>
                  <a:gd name="T38" fmla="*/ 2 w 4"/>
                  <a:gd name="T3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" h="6">
                    <a:moveTo>
                      <a:pt x="2" y="6"/>
                    </a:move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74" name="Freeform 531"/>
              <p:cNvSpPr>
                <a:spLocks/>
              </p:cNvSpPr>
              <p:nvPr/>
            </p:nvSpPr>
            <p:spPr bwMode="auto">
              <a:xfrm>
                <a:off x="4683" y="2144"/>
                <a:ext cx="42" cy="62"/>
              </a:xfrm>
              <a:custGeom>
                <a:avLst/>
                <a:gdLst>
                  <a:gd name="T0" fmla="*/ 8 w 42"/>
                  <a:gd name="T1" fmla="*/ 4 h 62"/>
                  <a:gd name="T2" fmla="*/ 6 w 42"/>
                  <a:gd name="T3" fmla="*/ 8 h 62"/>
                  <a:gd name="T4" fmla="*/ 4 w 42"/>
                  <a:gd name="T5" fmla="*/ 10 h 62"/>
                  <a:gd name="T6" fmla="*/ 2 w 42"/>
                  <a:gd name="T7" fmla="*/ 12 h 62"/>
                  <a:gd name="T8" fmla="*/ 2 w 42"/>
                  <a:gd name="T9" fmla="*/ 14 h 62"/>
                  <a:gd name="T10" fmla="*/ 0 w 42"/>
                  <a:gd name="T11" fmla="*/ 18 h 62"/>
                  <a:gd name="T12" fmla="*/ 0 w 42"/>
                  <a:gd name="T13" fmla="*/ 22 h 62"/>
                  <a:gd name="T14" fmla="*/ 4 w 42"/>
                  <a:gd name="T15" fmla="*/ 22 h 62"/>
                  <a:gd name="T16" fmla="*/ 4 w 42"/>
                  <a:gd name="T17" fmla="*/ 24 h 62"/>
                  <a:gd name="T18" fmla="*/ 4 w 42"/>
                  <a:gd name="T19" fmla="*/ 28 h 62"/>
                  <a:gd name="T20" fmla="*/ 6 w 42"/>
                  <a:gd name="T21" fmla="*/ 28 h 62"/>
                  <a:gd name="T22" fmla="*/ 8 w 42"/>
                  <a:gd name="T23" fmla="*/ 28 h 62"/>
                  <a:gd name="T24" fmla="*/ 8 w 42"/>
                  <a:gd name="T25" fmla="*/ 32 h 62"/>
                  <a:gd name="T26" fmla="*/ 8 w 42"/>
                  <a:gd name="T27" fmla="*/ 34 h 62"/>
                  <a:gd name="T28" fmla="*/ 10 w 42"/>
                  <a:gd name="T29" fmla="*/ 34 h 62"/>
                  <a:gd name="T30" fmla="*/ 12 w 42"/>
                  <a:gd name="T31" fmla="*/ 34 h 62"/>
                  <a:gd name="T32" fmla="*/ 12 w 42"/>
                  <a:gd name="T33" fmla="*/ 34 h 62"/>
                  <a:gd name="T34" fmla="*/ 14 w 42"/>
                  <a:gd name="T35" fmla="*/ 34 h 62"/>
                  <a:gd name="T36" fmla="*/ 16 w 42"/>
                  <a:gd name="T37" fmla="*/ 32 h 62"/>
                  <a:gd name="T38" fmla="*/ 18 w 42"/>
                  <a:gd name="T39" fmla="*/ 32 h 62"/>
                  <a:gd name="T40" fmla="*/ 20 w 42"/>
                  <a:gd name="T41" fmla="*/ 36 h 62"/>
                  <a:gd name="T42" fmla="*/ 20 w 42"/>
                  <a:gd name="T43" fmla="*/ 40 h 62"/>
                  <a:gd name="T44" fmla="*/ 18 w 42"/>
                  <a:gd name="T45" fmla="*/ 40 h 62"/>
                  <a:gd name="T46" fmla="*/ 14 w 42"/>
                  <a:gd name="T47" fmla="*/ 40 h 62"/>
                  <a:gd name="T48" fmla="*/ 14 w 42"/>
                  <a:gd name="T49" fmla="*/ 40 h 62"/>
                  <a:gd name="T50" fmla="*/ 16 w 42"/>
                  <a:gd name="T51" fmla="*/ 42 h 62"/>
                  <a:gd name="T52" fmla="*/ 18 w 42"/>
                  <a:gd name="T53" fmla="*/ 44 h 62"/>
                  <a:gd name="T54" fmla="*/ 20 w 42"/>
                  <a:gd name="T55" fmla="*/ 50 h 62"/>
                  <a:gd name="T56" fmla="*/ 22 w 42"/>
                  <a:gd name="T57" fmla="*/ 56 h 62"/>
                  <a:gd name="T58" fmla="*/ 22 w 42"/>
                  <a:gd name="T59" fmla="*/ 60 h 62"/>
                  <a:gd name="T60" fmla="*/ 24 w 42"/>
                  <a:gd name="T61" fmla="*/ 60 h 62"/>
                  <a:gd name="T62" fmla="*/ 26 w 42"/>
                  <a:gd name="T63" fmla="*/ 60 h 62"/>
                  <a:gd name="T64" fmla="*/ 28 w 42"/>
                  <a:gd name="T65" fmla="*/ 62 h 62"/>
                  <a:gd name="T66" fmla="*/ 34 w 42"/>
                  <a:gd name="T67" fmla="*/ 62 h 62"/>
                  <a:gd name="T68" fmla="*/ 36 w 42"/>
                  <a:gd name="T69" fmla="*/ 62 h 62"/>
                  <a:gd name="T70" fmla="*/ 38 w 42"/>
                  <a:gd name="T71" fmla="*/ 58 h 62"/>
                  <a:gd name="T72" fmla="*/ 38 w 42"/>
                  <a:gd name="T73" fmla="*/ 52 h 62"/>
                  <a:gd name="T74" fmla="*/ 40 w 42"/>
                  <a:gd name="T75" fmla="*/ 50 h 62"/>
                  <a:gd name="T76" fmla="*/ 42 w 42"/>
                  <a:gd name="T77" fmla="*/ 46 h 62"/>
                  <a:gd name="T78" fmla="*/ 42 w 42"/>
                  <a:gd name="T79" fmla="*/ 44 h 62"/>
                  <a:gd name="T80" fmla="*/ 38 w 42"/>
                  <a:gd name="T81" fmla="*/ 42 h 62"/>
                  <a:gd name="T82" fmla="*/ 38 w 42"/>
                  <a:gd name="T83" fmla="*/ 42 h 62"/>
                  <a:gd name="T84" fmla="*/ 40 w 42"/>
                  <a:gd name="T85" fmla="*/ 40 h 62"/>
                  <a:gd name="T86" fmla="*/ 40 w 42"/>
                  <a:gd name="T87" fmla="*/ 38 h 62"/>
                  <a:gd name="T88" fmla="*/ 38 w 42"/>
                  <a:gd name="T89" fmla="*/ 36 h 62"/>
                  <a:gd name="T90" fmla="*/ 40 w 42"/>
                  <a:gd name="T91" fmla="*/ 32 h 62"/>
                  <a:gd name="T92" fmla="*/ 40 w 42"/>
                  <a:gd name="T93" fmla="*/ 28 h 62"/>
                  <a:gd name="T94" fmla="*/ 38 w 42"/>
                  <a:gd name="T95" fmla="*/ 22 h 62"/>
                  <a:gd name="T96" fmla="*/ 40 w 42"/>
                  <a:gd name="T97" fmla="*/ 18 h 62"/>
                  <a:gd name="T98" fmla="*/ 40 w 42"/>
                  <a:gd name="T99" fmla="*/ 16 h 62"/>
                  <a:gd name="T100" fmla="*/ 36 w 42"/>
                  <a:gd name="T101" fmla="*/ 12 h 62"/>
                  <a:gd name="T102" fmla="*/ 28 w 42"/>
                  <a:gd name="T103" fmla="*/ 4 h 62"/>
                  <a:gd name="T104" fmla="*/ 26 w 42"/>
                  <a:gd name="T105" fmla="*/ 4 h 62"/>
                  <a:gd name="T106" fmla="*/ 22 w 42"/>
                  <a:gd name="T107" fmla="*/ 6 h 62"/>
                  <a:gd name="T108" fmla="*/ 18 w 42"/>
                  <a:gd name="T109" fmla="*/ 4 h 62"/>
                  <a:gd name="T110" fmla="*/ 12 w 42"/>
                  <a:gd name="T111" fmla="*/ 0 h 62"/>
                  <a:gd name="T112" fmla="*/ 8 w 42"/>
                  <a:gd name="T113" fmla="*/ 2 h 62"/>
                  <a:gd name="T114" fmla="*/ 8 w 42"/>
                  <a:gd name="T115" fmla="*/ 2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42" h="62">
                    <a:moveTo>
                      <a:pt x="8" y="2"/>
                    </a:moveTo>
                    <a:lnTo>
                      <a:pt x="8" y="2"/>
                    </a:lnTo>
                    <a:lnTo>
                      <a:pt x="8" y="4"/>
                    </a:lnTo>
                    <a:lnTo>
                      <a:pt x="6" y="4"/>
                    </a:lnTo>
                    <a:lnTo>
                      <a:pt x="6" y="6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4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0" y="18"/>
                    </a:lnTo>
                    <a:lnTo>
                      <a:pt x="0" y="20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4" y="22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6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6" y="28"/>
                    </a:lnTo>
                    <a:lnTo>
                      <a:pt x="6" y="28"/>
                    </a:lnTo>
                    <a:lnTo>
                      <a:pt x="6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30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6"/>
                    </a:lnTo>
                    <a:lnTo>
                      <a:pt x="20" y="38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6" y="42"/>
                    </a:lnTo>
                    <a:lnTo>
                      <a:pt x="18" y="42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20" y="44"/>
                    </a:lnTo>
                    <a:lnTo>
                      <a:pt x="20" y="46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2" y="54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8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4" y="60"/>
                    </a:lnTo>
                    <a:lnTo>
                      <a:pt x="24" y="60"/>
                    </a:lnTo>
                    <a:lnTo>
                      <a:pt x="24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8" y="60"/>
                    </a:lnTo>
                    <a:lnTo>
                      <a:pt x="28" y="62"/>
                    </a:lnTo>
                    <a:lnTo>
                      <a:pt x="28" y="62"/>
                    </a:lnTo>
                    <a:lnTo>
                      <a:pt x="30" y="62"/>
                    </a:lnTo>
                    <a:lnTo>
                      <a:pt x="34" y="62"/>
                    </a:lnTo>
                    <a:lnTo>
                      <a:pt x="34" y="62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6" y="60"/>
                    </a:lnTo>
                    <a:lnTo>
                      <a:pt x="36" y="60"/>
                    </a:lnTo>
                    <a:lnTo>
                      <a:pt x="38" y="58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38" y="52"/>
                    </a:lnTo>
                    <a:lnTo>
                      <a:pt x="38" y="50"/>
                    </a:lnTo>
                    <a:lnTo>
                      <a:pt x="40" y="50"/>
                    </a:lnTo>
                    <a:lnTo>
                      <a:pt x="40" y="50"/>
                    </a:lnTo>
                    <a:lnTo>
                      <a:pt x="40" y="48"/>
                    </a:lnTo>
                    <a:lnTo>
                      <a:pt x="42" y="48"/>
                    </a:lnTo>
                    <a:lnTo>
                      <a:pt x="42" y="46"/>
                    </a:lnTo>
                    <a:lnTo>
                      <a:pt x="42" y="46"/>
                    </a:lnTo>
                    <a:lnTo>
                      <a:pt x="42" y="44"/>
                    </a:lnTo>
                    <a:lnTo>
                      <a:pt x="42" y="44"/>
                    </a:lnTo>
                    <a:lnTo>
                      <a:pt x="40" y="44"/>
                    </a:lnTo>
                    <a:lnTo>
                      <a:pt x="38" y="44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4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30"/>
                    </a:lnTo>
                    <a:lnTo>
                      <a:pt x="40" y="28"/>
                    </a:lnTo>
                    <a:lnTo>
                      <a:pt x="40" y="24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0"/>
                    </a:lnTo>
                    <a:lnTo>
                      <a:pt x="40" y="20"/>
                    </a:lnTo>
                    <a:lnTo>
                      <a:pt x="40" y="18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38" y="14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4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0" y="4"/>
                    </a:lnTo>
                    <a:lnTo>
                      <a:pt x="18" y="4"/>
                    </a:lnTo>
                    <a:lnTo>
                      <a:pt x="14" y="2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8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75" name="Freeform 533"/>
              <p:cNvSpPr>
                <a:spLocks/>
              </p:cNvSpPr>
              <p:nvPr/>
            </p:nvSpPr>
            <p:spPr bwMode="auto">
              <a:xfrm>
                <a:off x="3809" y="1716"/>
                <a:ext cx="826" cy="726"/>
              </a:xfrm>
              <a:custGeom>
                <a:avLst/>
                <a:gdLst>
                  <a:gd name="T0" fmla="*/ 822 w 826"/>
                  <a:gd name="T1" fmla="*/ 86 h 726"/>
                  <a:gd name="T2" fmla="*/ 796 w 826"/>
                  <a:gd name="T3" fmla="*/ 100 h 726"/>
                  <a:gd name="T4" fmla="*/ 760 w 826"/>
                  <a:gd name="T5" fmla="*/ 102 h 726"/>
                  <a:gd name="T6" fmla="*/ 696 w 826"/>
                  <a:gd name="T7" fmla="*/ 68 h 726"/>
                  <a:gd name="T8" fmla="*/ 624 w 826"/>
                  <a:gd name="T9" fmla="*/ 4 h 726"/>
                  <a:gd name="T10" fmla="*/ 572 w 826"/>
                  <a:gd name="T11" fmla="*/ 24 h 726"/>
                  <a:gd name="T12" fmla="*/ 582 w 826"/>
                  <a:gd name="T13" fmla="*/ 76 h 726"/>
                  <a:gd name="T14" fmla="*/ 550 w 826"/>
                  <a:gd name="T15" fmla="*/ 108 h 726"/>
                  <a:gd name="T16" fmla="*/ 572 w 826"/>
                  <a:gd name="T17" fmla="*/ 146 h 726"/>
                  <a:gd name="T18" fmla="*/ 612 w 826"/>
                  <a:gd name="T19" fmla="*/ 168 h 726"/>
                  <a:gd name="T20" fmla="*/ 576 w 826"/>
                  <a:gd name="T21" fmla="*/ 192 h 726"/>
                  <a:gd name="T22" fmla="*/ 544 w 826"/>
                  <a:gd name="T23" fmla="*/ 228 h 726"/>
                  <a:gd name="T24" fmla="*/ 512 w 826"/>
                  <a:gd name="T25" fmla="*/ 270 h 726"/>
                  <a:gd name="T26" fmla="*/ 386 w 826"/>
                  <a:gd name="T27" fmla="*/ 294 h 726"/>
                  <a:gd name="T28" fmla="*/ 288 w 826"/>
                  <a:gd name="T29" fmla="*/ 270 h 726"/>
                  <a:gd name="T30" fmla="*/ 210 w 826"/>
                  <a:gd name="T31" fmla="*/ 216 h 726"/>
                  <a:gd name="T32" fmla="*/ 146 w 826"/>
                  <a:gd name="T33" fmla="*/ 174 h 726"/>
                  <a:gd name="T34" fmla="*/ 128 w 826"/>
                  <a:gd name="T35" fmla="*/ 218 h 726"/>
                  <a:gd name="T36" fmla="*/ 98 w 826"/>
                  <a:gd name="T37" fmla="*/ 264 h 726"/>
                  <a:gd name="T38" fmla="*/ 74 w 826"/>
                  <a:gd name="T39" fmla="*/ 282 h 726"/>
                  <a:gd name="T40" fmla="*/ 66 w 826"/>
                  <a:gd name="T41" fmla="*/ 352 h 726"/>
                  <a:gd name="T42" fmla="*/ 18 w 826"/>
                  <a:gd name="T43" fmla="*/ 378 h 726"/>
                  <a:gd name="T44" fmla="*/ 16 w 826"/>
                  <a:gd name="T45" fmla="*/ 410 h 726"/>
                  <a:gd name="T46" fmla="*/ 52 w 826"/>
                  <a:gd name="T47" fmla="*/ 440 h 726"/>
                  <a:gd name="T48" fmla="*/ 100 w 826"/>
                  <a:gd name="T49" fmla="*/ 474 h 726"/>
                  <a:gd name="T50" fmla="*/ 116 w 826"/>
                  <a:gd name="T51" fmla="*/ 526 h 726"/>
                  <a:gd name="T52" fmla="*/ 156 w 826"/>
                  <a:gd name="T53" fmla="*/ 568 h 726"/>
                  <a:gd name="T54" fmla="*/ 212 w 826"/>
                  <a:gd name="T55" fmla="*/ 588 h 726"/>
                  <a:gd name="T56" fmla="*/ 286 w 826"/>
                  <a:gd name="T57" fmla="*/ 602 h 726"/>
                  <a:gd name="T58" fmla="*/ 348 w 826"/>
                  <a:gd name="T59" fmla="*/ 586 h 726"/>
                  <a:gd name="T60" fmla="*/ 396 w 826"/>
                  <a:gd name="T61" fmla="*/ 588 h 726"/>
                  <a:gd name="T62" fmla="*/ 436 w 826"/>
                  <a:gd name="T63" fmla="*/ 642 h 726"/>
                  <a:gd name="T64" fmla="*/ 448 w 826"/>
                  <a:gd name="T65" fmla="*/ 678 h 726"/>
                  <a:gd name="T66" fmla="*/ 482 w 826"/>
                  <a:gd name="T67" fmla="*/ 708 h 726"/>
                  <a:gd name="T68" fmla="*/ 520 w 826"/>
                  <a:gd name="T69" fmla="*/ 690 h 726"/>
                  <a:gd name="T70" fmla="*/ 560 w 826"/>
                  <a:gd name="T71" fmla="*/ 678 h 726"/>
                  <a:gd name="T72" fmla="*/ 592 w 826"/>
                  <a:gd name="T73" fmla="*/ 708 h 726"/>
                  <a:gd name="T74" fmla="*/ 626 w 826"/>
                  <a:gd name="T75" fmla="*/ 704 h 726"/>
                  <a:gd name="T76" fmla="*/ 638 w 826"/>
                  <a:gd name="T77" fmla="*/ 718 h 726"/>
                  <a:gd name="T78" fmla="*/ 678 w 826"/>
                  <a:gd name="T79" fmla="*/ 678 h 726"/>
                  <a:gd name="T80" fmla="*/ 714 w 826"/>
                  <a:gd name="T81" fmla="*/ 670 h 726"/>
                  <a:gd name="T82" fmla="*/ 740 w 826"/>
                  <a:gd name="T83" fmla="*/ 636 h 726"/>
                  <a:gd name="T84" fmla="*/ 758 w 826"/>
                  <a:gd name="T85" fmla="*/ 610 h 726"/>
                  <a:gd name="T86" fmla="*/ 768 w 826"/>
                  <a:gd name="T87" fmla="*/ 572 h 726"/>
                  <a:gd name="T88" fmla="*/ 778 w 826"/>
                  <a:gd name="T89" fmla="*/ 542 h 726"/>
                  <a:gd name="T90" fmla="*/ 754 w 826"/>
                  <a:gd name="T91" fmla="*/ 520 h 726"/>
                  <a:gd name="T92" fmla="*/ 752 w 826"/>
                  <a:gd name="T93" fmla="*/ 514 h 726"/>
                  <a:gd name="T94" fmla="*/ 750 w 826"/>
                  <a:gd name="T95" fmla="*/ 488 h 726"/>
                  <a:gd name="T96" fmla="*/ 756 w 826"/>
                  <a:gd name="T97" fmla="*/ 474 h 726"/>
                  <a:gd name="T98" fmla="*/ 708 w 826"/>
                  <a:gd name="T99" fmla="*/ 424 h 726"/>
                  <a:gd name="T100" fmla="*/ 726 w 826"/>
                  <a:gd name="T101" fmla="*/ 378 h 726"/>
                  <a:gd name="T102" fmla="*/ 738 w 826"/>
                  <a:gd name="T103" fmla="*/ 360 h 726"/>
                  <a:gd name="T104" fmla="*/ 706 w 826"/>
                  <a:gd name="T105" fmla="*/ 358 h 726"/>
                  <a:gd name="T106" fmla="*/ 676 w 826"/>
                  <a:gd name="T107" fmla="*/ 368 h 726"/>
                  <a:gd name="T108" fmla="*/ 654 w 826"/>
                  <a:gd name="T109" fmla="*/ 338 h 726"/>
                  <a:gd name="T110" fmla="*/ 684 w 826"/>
                  <a:gd name="T111" fmla="*/ 310 h 726"/>
                  <a:gd name="T112" fmla="*/ 708 w 826"/>
                  <a:gd name="T113" fmla="*/ 306 h 726"/>
                  <a:gd name="T114" fmla="*/ 708 w 826"/>
                  <a:gd name="T115" fmla="*/ 336 h 726"/>
                  <a:gd name="T116" fmla="*/ 748 w 826"/>
                  <a:gd name="T117" fmla="*/ 310 h 726"/>
                  <a:gd name="T118" fmla="*/ 776 w 826"/>
                  <a:gd name="T119" fmla="*/ 268 h 726"/>
                  <a:gd name="T120" fmla="*/ 802 w 826"/>
                  <a:gd name="T121" fmla="*/ 232 h 726"/>
                  <a:gd name="T122" fmla="*/ 804 w 826"/>
                  <a:gd name="T123" fmla="*/ 196 h 726"/>
                  <a:gd name="T124" fmla="*/ 826 w 826"/>
                  <a:gd name="T125" fmla="*/ 158 h 7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826" h="726">
                    <a:moveTo>
                      <a:pt x="826" y="158"/>
                    </a:moveTo>
                    <a:lnTo>
                      <a:pt x="826" y="158"/>
                    </a:lnTo>
                    <a:lnTo>
                      <a:pt x="824" y="154"/>
                    </a:lnTo>
                    <a:lnTo>
                      <a:pt x="822" y="150"/>
                    </a:lnTo>
                    <a:lnTo>
                      <a:pt x="820" y="146"/>
                    </a:lnTo>
                    <a:lnTo>
                      <a:pt x="820" y="146"/>
                    </a:lnTo>
                    <a:lnTo>
                      <a:pt x="820" y="144"/>
                    </a:lnTo>
                    <a:lnTo>
                      <a:pt x="822" y="142"/>
                    </a:lnTo>
                    <a:lnTo>
                      <a:pt x="822" y="138"/>
                    </a:lnTo>
                    <a:lnTo>
                      <a:pt x="822" y="136"/>
                    </a:lnTo>
                    <a:lnTo>
                      <a:pt x="822" y="136"/>
                    </a:lnTo>
                    <a:lnTo>
                      <a:pt x="822" y="132"/>
                    </a:lnTo>
                    <a:lnTo>
                      <a:pt x="822" y="130"/>
                    </a:lnTo>
                    <a:lnTo>
                      <a:pt x="822" y="124"/>
                    </a:lnTo>
                    <a:lnTo>
                      <a:pt x="822" y="124"/>
                    </a:lnTo>
                    <a:lnTo>
                      <a:pt x="822" y="120"/>
                    </a:lnTo>
                    <a:lnTo>
                      <a:pt x="820" y="116"/>
                    </a:lnTo>
                    <a:lnTo>
                      <a:pt x="820" y="114"/>
                    </a:lnTo>
                    <a:lnTo>
                      <a:pt x="820" y="112"/>
                    </a:lnTo>
                    <a:lnTo>
                      <a:pt x="822" y="110"/>
                    </a:lnTo>
                    <a:lnTo>
                      <a:pt x="822" y="110"/>
                    </a:lnTo>
                    <a:lnTo>
                      <a:pt x="822" y="108"/>
                    </a:lnTo>
                    <a:lnTo>
                      <a:pt x="824" y="106"/>
                    </a:lnTo>
                    <a:lnTo>
                      <a:pt x="824" y="106"/>
                    </a:lnTo>
                    <a:lnTo>
                      <a:pt x="824" y="102"/>
                    </a:lnTo>
                    <a:lnTo>
                      <a:pt x="824" y="100"/>
                    </a:lnTo>
                    <a:lnTo>
                      <a:pt x="824" y="100"/>
                    </a:lnTo>
                    <a:lnTo>
                      <a:pt x="824" y="96"/>
                    </a:lnTo>
                    <a:lnTo>
                      <a:pt x="824" y="94"/>
                    </a:lnTo>
                    <a:lnTo>
                      <a:pt x="822" y="90"/>
                    </a:lnTo>
                    <a:lnTo>
                      <a:pt x="822" y="86"/>
                    </a:lnTo>
                    <a:lnTo>
                      <a:pt x="822" y="86"/>
                    </a:lnTo>
                    <a:lnTo>
                      <a:pt x="822" y="84"/>
                    </a:lnTo>
                    <a:lnTo>
                      <a:pt x="822" y="84"/>
                    </a:lnTo>
                    <a:lnTo>
                      <a:pt x="820" y="82"/>
                    </a:lnTo>
                    <a:lnTo>
                      <a:pt x="820" y="82"/>
                    </a:lnTo>
                    <a:lnTo>
                      <a:pt x="820" y="80"/>
                    </a:lnTo>
                    <a:lnTo>
                      <a:pt x="818" y="80"/>
                    </a:lnTo>
                    <a:lnTo>
                      <a:pt x="818" y="80"/>
                    </a:lnTo>
                    <a:lnTo>
                      <a:pt x="818" y="80"/>
                    </a:lnTo>
                    <a:lnTo>
                      <a:pt x="816" y="80"/>
                    </a:lnTo>
                    <a:lnTo>
                      <a:pt x="814" y="82"/>
                    </a:lnTo>
                    <a:lnTo>
                      <a:pt x="812" y="84"/>
                    </a:lnTo>
                    <a:lnTo>
                      <a:pt x="810" y="84"/>
                    </a:lnTo>
                    <a:lnTo>
                      <a:pt x="810" y="84"/>
                    </a:lnTo>
                    <a:lnTo>
                      <a:pt x="808" y="86"/>
                    </a:lnTo>
                    <a:lnTo>
                      <a:pt x="808" y="88"/>
                    </a:lnTo>
                    <a:lnTo>
                      <a:pt x="808" y="90"/>
                    </a:lnTo>
                    <a:lnTo>
                      <a:pt x="808" y="92"/>
                    </a:lnTo>
                    <a:lnTo>
                      <a:pt x="806" y="92"/>
                    </a:lnTo>
                    <a:lnTo>
                      <a:pt x="806" y="92"/>
                    </a:lnTo>
                    <a:lnTo>
                      <a:pt x="806" y="94"/>
                    </a:lnTo>
                    <a:lnTo>
                      <a:pt x="804" y="96"/>
                    </a:lnTo>
                    <a:lnTo>
                      <a:pt x="804" y="96"/>
                    </a:lnTo>
                    <a:lnTo>
                      <a:pt x="802" y="96"/>
                    </a:lnTo>
                    <a:lnTo>
                      <a:pt x="798" y="96"/>
                    </a:lnTo>
                    <a:lnTo>
                      <a:pt x="798" y="96"/>
                    </a:lnTo>
                    <a:lnTo>
                      <a:pt x="798" y="96"/>
                    </a:lnTo>
                    <a:lnTo>
                      <a:pt x="796" y="96"/>
                    </a:lnTo>
                    <a:lnTo>
                      <a:pt x="796" y="98"/>
                    </a:lnTo>
                    <a:lnTo>
                      <a:pt x="796" y="98"/>
                    </a:lnTo>
                    <a:lnTo>
                      <a:pt x="796" y="100"/>
                    </a:lnTo>
                    <a:lnTo>
                      <a:pt x="794" y="104"/>
                    </a:lnTo>
                    <a:lnTo>
                      <a:pt x="794" y="104"/>
                    </a:lnTo>
                    <a:lnTo>
                      <a:pt x="794" y="106"/>
                    </a:lnTo>
                    <a:lnTo>
                      <a:pt x="794" y="108"/>
                    </a:lnTo>
                    <a:lnTo>
                      <a:pt x="792" y="108"/>
                    </a:lnTo>
                    <a:lnTo>
                      <a:pt x="790" y="108"/>
                    </a:lnTo>
                    <a:lnTo>
                      <a:pt x="790" y="108"/>
                    </a:lnTo>
                    <a:lnTo>
                      <a:pt x="788" y="108"/>
                    </a:lnTo>
                    <a:lnTo>
                      <a:pt x="784" y="108"/>
                    </a:lnTo>
                    <a:lnTo>
                      <a:pt x="784" y="108"/>
                    </a:lnTo>
                    <a:lnTo>
                      <a:pt x="782" y="110"/>
                    </a:lnTo>
                    <a:lnTo>
                      <a:pt x="780" y="110"/>
                    </a:lnTo>
                    <a:lnTo>
                      <a:pt x="780" y="110"/>
                    </a:lnTo>
                    <a:lnTo>
                      <a:pt x="778" y="110"/>
                    </a:lnTo>
                    <a:lnTo>
                      <a:pt x="776" y="110"/>
                    </a:lnTo>
                    <a:lnTo>
                      <a:pt x="776" y="110"/>
                    </a:lnTo>
                    <a:lnTo>
                      <a:pt x="776" y="110"/>
                    </a:lnTo>
                    <a:lnTo>
                      <a:pt x="774" y="108"/>
                    </a:lnTo>
                    <a:lnTo>
                      <a:pt x="774" y="108"/>
                    </a:lnTo>
                    <a:lnTo>
                      <a:pt x="772" y="106"/>
                    </a:lnTo>
                    <a:lnTo>
                      <a:pt x="772" y="106"/>
                    </a:lnTo>
                    <a:lnTo>
                      <a:pt x="770" y="104"/>
                    </a:lnTo>
                    <a:lnTo>
                      <a:pt x="770" y="102"/>
                    </a:lnTo>
                    <a:lnTo>
                      <a:pt x="768" y="102"/>
                    </a:lnTo>
                    <a:lnTo>
                      <a:pt x="768" y="102"/>
                    </a:lnTo>
                    <a:lnTo>
                      <a:pt x="768" y="102"/>
                    </a:lnTo>
                    <a:lnTo>
                      <a:pt x="766" y="102"/>
                    </a:lnTo>
                    <a:lnTo>
                      <a:pt x="764" y="102"/>
                    </a:lnTo>
                    <a:lnTo>
                      <a:pt x="764" y="102"/>
                    </a:lnTo>
                    <a:lnTo>
                      <a:pt x="762" y="102"/>
                    </a:lnTo>
                    <a:lnTo>
                      <a:pt x="760" y="102"/>
                    </a:lnTo>
                    <a:lnTo>
                      <a:pt x="758" y="102"/>
                    </a:lnTo>
                    <a:lnTo>
                      <a:pt x="758" y="100"/>
                    </a:lnTo>
                    <a:lnTo>
                      <a:pt x="756" y="100"/>
                    </a:lnTo>
                    <a:lnTo>
                      <a:pt x="756" y="100"/>
                    </a:lnTo>
                    <a:lnTo>
                      <a:pt x="754" y="94"/>
                    </a:lnTo>
                    <a:lnTo>
                      <a:pt x="750" y="90"/>
                    </a:lnTo>
                    <a:lnTo>
                      <a:pt x="750" y="90"/>
                    </a:lnTo>
                    <a:lnTo>
                      <a:pt x="748" y="88"/>
                    </a:lnTo>
                    <a:lnTo>
                      <a:pt x="746" y="86"/>
                    </a:lnTo>
                    <a:lnTo>
                      <a:pt x="740" y="82"/>
                    </a:lnTo>
                    <a:lnTo>
                      <a:pt x="740" y="82"/>
                    </a:lnTo>
                    <a:lnTo>
                      <a:pt x="738" y="82"/>
                    </a:lnTo>
                    <a:lnTo>
                      <a:pt x="736" y="80"/>
                    </a:lnTo>
                    <a:lnTo>
                      <a:pt x="734" y="80"/>
                    </a:lnTo>
                    <a:lnTo>
                      <a:pt x="730" y="78"/>
                    </a:lnTo>
                    <a:lnTo>
                      <a:pt x="730" y="78"/>
                    </a:lnTo>
                    <a:lnTo>
                      <a:pt x="726" y="80"/>
                    </a:lnTo>
                    <a:lnTo>
                      <a:pt x="724" y="80"/>
                    </a:lnTo>
                    <a:lnTo>
                      <a:pt x="722" y="80"/>
                    </a:lnTo>
                    <a:lnTo>
                      <a:pt x="718" y="80"/>
                    </a:lnTo>
                    <a:lnTo>
                      <a:pt x="718" y="80"/>
                    </a:lnTo>
                    <a:lnTo>
                      <a:pt x="714" y="80"/>
                    </a:lnTo>
                    <a:lnTo>
                      <a:pt x="710" y="80"/>
                    </a:lnTo>
                    <a:lnTo>
                      <a:pt x="710" y="80"/>
                    </a:lnTo>
                    <a:lnTo>
                      <a:pt x="708" y="78"/>
                    </a:lnTo>
                    <a:lnTo>
                      <a:pt x="706" y="78"/>
                    </a:lnTo>
                    <a:lnTo>
                      <a:pt x="700" y="74"/>
                    </a:lnTo>
                    <a:lnTo>
                      <a:pt x="700" y="74"/>
                    </a:lnTo>
                    <a:lnTo>
                      <a:pt x="698" y="72"/>
                    </a:lnTo>
                    <a:lnTo>
                      <a:pt x="696" y="70"/>
                    </a:lnTo>
                    <a:lnTo>
                      <a:pt x="696" y="68"/>
                    </a:lnTo>
                    <a:lnTo>
                      <a:pt x="696" y="64"/>
                    </a:lnTo>
                    <a:lnTo>
                      <a:pt x="696" y="64"/>
                    </a:lnTo>
                    <a:lnTo>
                      <a:pt x="696" y="62"/>
                    </a:lnTo>
                    <a:lnTo>
                      <a:pt x="694" y="60"/>
                    </a:lnTo>
                    <a:lnTo>
                      <a:pt x="694" y="58"/>
                    </a:lnTo>
                    <a:lnTo>
                      <a:pt x="692" y="56"/>
                    </a:lnTo>
                    <a:lnTo>
                      <a:pt x="688" y="52"/>
                    </a:lnTo>
                    <a:lnTo>
                      <a:pt x="684" y="48"/>
                    </a:lnTo>
                    <a:lnTo>
                      <a:pt x="684" y="48"/>
                    </a:lnTo>
                    <a:lnTo>
                      <a:pt x="682" y="44"/>
                    </a:lnTo>
                    <a:lnTo>
                      <a:pt x="676" y="40"/>
                    </a:lnTo>
                    <a:lnTo>
                      <a:pt x="670" y="36"/>
                    </a:lnTo>
                    <a:lnTo>
                      <a:pt x="666" y="34"/>
                    </a:lnTo>
                    <a:lnTo>
                      <a:pt x="666" y="34"/>
                    </a:lnTo>
                    <a:lnTo>
                      <a:pt x="662" y="28"/>
                    </a:lnTo>
                    <a:lnTo>
                      <a:pt x="658" y="24"/>
                    </a:lnTo>
                    <a:lnTo>
                      <a:pt x="650" y="12"/>
                    </a:lnTo>
                    <a:lnTo>
                      <a:pt x="650" y="12"/>
                    </a:lnTo>
                    <a:lnTo>
                      <a:pt x="648" y="12"/>
                    </a:lnTo>
                    <a:lnTo>
                      <a:pt x="644" y="8"/>
                    </a:lnTo>
                    <a:lnTo>
                      <a:pt x="642" y="6"/>
                    </a:lnTo>
                    <a:lnTo>
                      <a:pt x="640" y="6"/>
                    </a:lnTo>
                    <a:lnTo>
                      <a:pt x="640" y="6"/>
                    </a:lnTo>
                    <a:lnTo>
                      <a:pt x="640" y="6"/>
                    </a:lnTo>
                    <a:lnTo>
                      <a:pt x="638" y="6"/>
                    </a:lnTo>
                    <a:lnTo>
                      <a:pt x="634" y="6"/>
                    </a:lnTo>
                    <a:lnTo>
                      <a:pt x="630" y="6"/>
                    </a:lnTo>
                    <a:lnTo>
                      <a:pt x="630" y="6"/>
                    </a:lnTo>
                    <a:lnTo>
                      <a:pt x="626" y="4"/>
                    </a:lnTo>
                    <a:lnTo>
                      <a:pt x="624" y="4"/>
                    </a:lnTo>
                    <a:lnTo>
                      <a:pt x="624" y="4"/>
                    </a:lnTo>
                    <a:lnTo>
                      <a:pt x="624" y="4"/>
                    </a:lnTo>
                    <a:lnTo>
                      <a:pt x="622" y="4"/>
                    </a:lnTo>
                    <a:lnTo>
                      <a:pt x="622" y="2"/>
                    </a:lnTo>
                    <a:lnTo>
                      <a:pt x="622" y="2"/>
                    </a:lnTo>
                    <a:lnTo>
                      <a:pt x="620" y="0"/>
                    </a:lnTo>
                    <a:lnTo>
                      <a:pt x="620" y="0"/>
                    </a:lnTo>
                    <a:lnTo>
                      <a:pt x="620" y="0"/>
                    </a:lnTo>
                    <a:lnTo>
                      <a:pt x="618" y="0"/>
                    </a:lnTo>
                    <a:lnTo>
                      <a:pt x="616" y="0"/>
                    </a:lnTo>
                    <a:lnTo>
                      <a:pt x="614" y="0"/>
                    </a:lnTo>
                    <a:lnTo>
                      <a:pt x="612" y="0"/>
                    </a:lnTo>
                    <a:lnTo>
                      <a:pt x="612" y="0"/>
                    </a:lnTo>
                    <a:lnTo>
                      <a:pt x="608" y="0"/>
                    </a:lnTo>
                    <a:lnTo>
                      <a:pt x="606" y="0"/>
                    </a:lnTo>
                    <a:lnTo>
                      <a:pt x="600" y="0"/>
                    </a:lnTo>
                    <a:lnTo>
                      <a:pt x="596" y="0"/>
                    </a:lnTo>
                    <a:lnTo>
                      <a:pt x="594" y="2"/>
                    </a:lnTo>
                    <a:lnTo>
                      <a:pt x="590" y="2"/>
                    </a:lnTo>
                    <a:lnTo>
                      <a:pt x="588" y="4"/>
                    </a:lnTo>
                    <a:lnTo>
                      <a:pt x="588" y="4"/>
                    </a:lnTo>
                    <a:lnTo>
                      <a:pt x="584" y="6"/>
                    </a:lnTo>
                    <a:lnTo>
                      <a:pt x="578" y="10"/>
                    </a:lnTo>
                    <a:lnTo>
                      <a:pt x="578" y="10"/>
                    </a:lnTo>
                    <a:lnTo>
                      <a:pt x="576" y="12"/>
                    </a:lnTo>
                    <a:lnTo>
                      <a:pt x="574" y="12"/>
                    </a:lnTo>
                    <a:lnTo>
                      <a:pt x="572" y="14"/>
                    </a:lnTo>
                    <a:lnTo>
                      <a:pt x="572" y="16"/>
                    </a:lnTo>
                    <a:lnTo>
                      <a:pt x="572" y="16"/>
                    </a:lnTo>
                    <a:lnTo>
                      <a:pt x="572" y="20"/>
                    </a:lnTo>
                    <a:lnTo>
                      <a:pt x="572" y="24"/>
                    </a:lnTo>
                    <a:lnTo>
                      <a:pt x="572" y="24"/>
                    </a:lnTo>
                    <a:lnTo>
                      <a:pt x="570" y="26"/>
                    </a:lnTo>
                    <a:lnTo>
                      <a:pt x="570" y="28"/>
                    </a:lnTo>
                    <a:lnTo>
                      <a:pt x="570" y="28"/>
                    </a:lnTo>
                    <a:lnTo>
                      <a:pt x="570" y="28"/>
                    </a:lnTo>
                    <a:lnTo>
                      <a:pt x="570" y="30"/>
                    </a:lnTo>
                    <a:lnTo>
                      <a:pt x="572" y="32"/>
                    </a:lnTo>
                    <a:lnTo>
                      <a:pt x="572" y="32"/>
                    </a:lnTo>
                    <a:lnTo>
                      <a:pt x="574" y="32"/>
                    </a:lnTo>
                    <a:lnTo>
                      <a:pt x="576" y="32"/>
                    </a:lnTo>
                    <a:lnTo>
                      <a:pt x="578" y="32"/>
                    </a:lnTo>
                    <a:lnTo>
                      <a:pt x="580" y="32"/>
                    </a:lnTo>
                    <a:lnTo>
                      <a:pt x="580" y="32"/>
                    </a:lnTo>
                    <a:lnTo>
                      <a:pt x="580" y="34"/>
                    </a:lnTo>
                    <a:lnTo>
                      <a:pt x="582" y="34"/>
                    </a:lnTo>
                    <a:lnTo>
                      <a:pt x="582" y="36"/>
                    </a:lnTo>
                    <a:lnTo>
                      <a:pt x="582" y="36"/>
                    </a:lnTo>
                    <a:lnTo>
                      <a:pt x="584" y="38"/>
                    </a:lnTo>
                    <a:lnTo>
                      <a:pt x="584" y="42"/>
                    </a:lnTo>
                    <a:lnTo>
                      <a:pt x="584" y="42"/>
                    </a:lnTo>
                    <a:lnTo>
                      <a:pt x="584" y="48"/>
                    </a:lnTo>
                    <a:lnTo>
                      <a:pt x="584" y="52"/>
                    </a:lnTo>
                    <a:lnTo>
                      <a:pt x="586" y="56"/>
                    </a:lnTo>
                    <a:lnTo>
                      <a:pt x="586" y="56"/>
                    </a:lnTo>
                    <a:lnTo>
                      <a:pt x="586" y="60"/>
                    </a:lnTo>
                    <a:lnTo>
                      <a:pt x="586" y="62"/>
                    </a:lnTo>
                    <a:lnTo>
                      <a:pt x="586" y="66"/>
                    </a:lnTo>
                    <a:lnTo>
                      <a:pt x="586" y="66"/>
                    </a:lnTo>
                    <a:lnTo>
                      <a:pt x="586" y="68"/>
                    </a:lnTo>
                    <a:lnTo>
                      <a:pt x="586" y="72"/>
                    </a:lnTo>
                    <a:lnTo>
                      <a:pt x="586" y="74"/>
                    </a:lnTo>
                    <a:lnTo>
                      <a:pt x="582" y="76"/>
                    </a:lnTo>
                    <a:lnTo>
                      <a:pt x="582" y="76"/>
                    </a:lnTo>
                    <a:lnTo>
                      <a:pt x="580" y="78"/>
                    </a:lnTo>
                    <a:lnTo>
                      <a:pt x="578" y="82"/>
                    </a:lnTo>
                    <a:lnTo>
                      <a:pt x="578" y="84"/>
                    </a:lnTo>
                    <a:lnTo>
                      <a:pt x="576" y="86"/>
                    </a:lnTo>
                    <a:lnTo>
                      <a:pt x="576" y="86"/>
                    </a:lnTo>
                    <a:lnTo>
                      <a:pt x="576" y="88"/>
                    </a:lnTo>
                    <a:lnTo>
                      <a:pt x="576" y="90"/>
                    </a:lnTo>
                    <a:lnTo>
                      <a:pt x="576" y="94"/>
                    </a:lnTo>
                    <a:lnTo>
                      <a:pt x="576" y="94"/>
                    </a:lnTo>
                    <a:lnTo>
                      <a:pt x="576" y="96"/>
                    </a:lnTo>
                    <a:lnTo>
                      <a:pt x="576" y="98"/>
                    </a:lnTo>
                    <a:lnTo>
                      <a:pt x="574" y="100"/>
                    </a:lnTo>
                    <a:lnTo>
                      <a:pt x="574" y="102"/>
                    </a:lnTo>
                    <a:lnTo>
                      <a:pt x="574" y="102"/>
                    </a:lnTo>
                    <a:lnTo>
                      <a:pt x="572" y="102"/>
                    </a:lnTo>
                    <a:lnTo>
                      <a:pt x="570" y="104"/>
                    </a:lnTo>
                    <a:lnTo>
                      <a:pt x="570" y="104"/>
                    </a:lnTo>
                    <a:lnTo>
                      <a:pt x="570" y="106"/>
                    </a:lnTo>
                    <a:lnTo>
                      <a:pt x="568" y="106"/>
                    </a:lnTo>
                    <a:lnTo>
                      <a:pt x="568" y="106"/>
                    </a:lnTo>
                    <a:lnTo>
                      <a:pt x="566" y="106"/>
                    </a:lnTo>
                    <a:lnTo>
                      <a:pt x="566" y="108"/>
                    </a:lnTo>
                    <a:lnTo>
                      <a:pt x="562" y="108"/>
                    </a:lnTo>
                    <a:lnTo>
                      <a:pt x="558" y="106"/>
                    </a:lnTo>
                    <a:lnTo>
                      <a:pt x="558" y="106"/>
                    </a:lnTo>
                    <a:lnTo>
                      <a:pt x="554" y="104"/>
                    </a:lnTo>
                    <a:lnTo>
                      <a:pt x="552" y="104"/>
                    </a:lnTo>
                    <a:lnTo>
                      <a:pt x="552" y="104"/>
                    </a:lnTo>
                    <a:lnTo>
                      <a:pt x="552" y="104"/>
                    </a:lnTo>
                    <a:lnTo>
                      <a:pt x="550" y="108"/>
                    </a:lnTo>
                    <a:lnTo>
                      <a:pt x="550" y="110"/>
                    </a:lnTo>
                    <a:lnTo>
                      <a:pt x="550" y="118"/>
                    </a:lnTo>
                    <a:lnTo>
                      <a:pt x="550" y="118"/>
                    </a:lnTo>
                    <a:lnTo>
                      <a:pt x="548" y="122"/>
                    </a:lnTo>
                    <a:lnTo>
                      <a:pt x="548" y="128"/>
                    </a:lnTo>
                    <a:lnTo>
                      <a:pt x="548" y="132"/>
                    </a:lnTo>
                    <a:lnTo>
                      <a:pt x="546" y="136"/>
                    </a:lnTo>
                    <a:lnTo>
                      <a:pt x="546" y="136"/>
                    </a:lnTo>
                    <a:lnTo>
                      <a:pt x="546" y="140"/>
                    </a:lnTo>
                    <a:lnTo>
                      <a:pt x="546" y="144"/>
                    </a:lnTo>
                    <a:lnTo>
                      <a:pt x="546" y="146"/>
                    </a:lnTo>
                    <a:lnTo>
                      <a:pt x="548" y="148"/>
                    </a:lnTo>
                    <a:lnTo>
                      <a:pt x="548" y="150"/>
                    </a:lnTo>
                    <a:lnTo>
                      <a:pt x="548" y="150"/>
                    </a:lnTo>
                    <a:lnTo>
                      <a:pt x="550" y="150"/>
                    </a:lnTo>
                    <a:lnTo>
                      <a:pt x="550" y="150"/>
                    </a:lnTo>
                    <a:lnTo>
                      <a:pt x="552" y="150"/>
                    </a:lnTo>
                    <a:lnTo>
                      <a:pt x="554" y="150"/>
                    </a:lnTo>
                    <a:lnTo>
                      <a:pt x="554" y="150"/>
                    </a:lnTo>
                    <a:lnTo>
                      <a:pt x="554" y="150"/>
                    </a:lnTo>
                    <a:lnTo>
                      <a:pt x="556" y="148"/>
                    </a:lnTo>
                    <a:lnTo>
                      <a:pt x="556" y="148"/>
                    </a:lnTo>
                    <a:lnTo>
                      <a:pt x="558" y="148"/>
                    </a:lnTo>
                    <a:lnTo>
                      <a:pt x="558" y="148"/>
                    </a:lnTo>
                    <a:lnTo>
                      <a:pt x="558" y="148"/>
                    </a:lnTo>
                    <a:lnTo>
                      <a:pt x="560" y="148"/>
                    </a:lnTo>
                    <a:lnTo>
                      <a:pt x="564" y="148"/>
                    </a:lnTo>
                    <a:lnTo>
                      <a:pt x="564" y="148"/>
                    </a:lnTo>
                    <a:lnTo>
                      <a:pt x="568" y="148"/>
                    </a:lnTo>
                    <a:lnTo>
                      <a:pt x="570" y="146"/>
                    </a:lnTo>
                    <a:lnTo>
                      <a:pt x="572" y="146"/>
                    </a:lnTo>
                    <a:lnTo>
                      <a:pt x="572" y="146"/>
                    </a:lnTo>
                    <a:lnTo>
                      <a:pt x="574" y="144"/>
                    </a:lnTo>
                    <a:lnTo>
                      <a:pt x="576" y="144"/>
                    </a:lnTo>
                    <a:lnTo>
                      <a:pt x="580" y="140"/>
                    </a:lnTo>
                    <a:lnTo>
                      <a:pt x="582" y="140"/>
                    </a:lnTo>
                    <a:lnTo>
                      <a:pt x="584" y="138"/>
                    </a:lnTo>
                    <a:lnTo>
                      <a:pt x="586" y="138"/>
                    </a:lnTo>
                    <a:lnTo>
                      <a:pt x="588" y="138"/>
                    </a:lnTo>
                    <a:lnTo>
                      <a:pt x="588" y="138"/>
                    </a:lnTo>
                    <a:lnTo>
                      <a:pt x="590" y="138"/>
                    </a:lnTo>
                    <a:lnTo>
                      <a:pt x="592" y="138"/>
                    </a:lnTo>
                    <a:lnTo>
                      <a:pt x="596" y="140"/>
                    </a:lnTo>
                    <a:lnTo>
                      <a:pt x="602" y="144"/>
                    </a:lnTo>
                    <a:lnTo>
                      <a:pt x="606" y="146"/>
                    </a:lnTo>
                    <a:lnTo>
                      <a:pt x="606" y="146"/>
                    </a:lnTo>
                    <a:lnTo>
                      <a:pt x="608" y="148"/>
                    </a:lnTo>
                    <a:lnTo>
                      <a:pt x="610" y="148"/>
                    </a:lnTo>
                    <a:lnTo>
                      <a:pt x="612" y="150"/>
                    </a:lnTo>
                    <a:lnTo>
                      <a:pt x="614" y="152"/>
                    </a:lnTo>
                    <a:lnTo>
                      <a:pt x="614" y="154"/>
                    </a:lnTo>
                    <a:lnTo>
                      <a:pt x="616" y="156"/>
                    </a:lnTo>
                    <a:lnTo>
                      <a:pt x="616" y="160"/>
                    </a:lnTo>
                    <a:lnTo>
                      <a:pt x="616" y="160"/>
                    </a:lnTo>
                    <a:lnTo>
                      <a:pt x="616" y="162"/>
                    </a:lnTo>
                    <a:lnTo>
                      <a:pt x="618" y="164"/>
                    </a:lnTo>
                    <a:lnTo>
                      <a:pt x="616" y="166"/>
                    </a:lnTo>
                    <a:lnTo>
                      <a:pt x="616" y="166"/>
                    </a:lnTo>
                    <a:lnTo>
                      <a:pt x="616" y="168"/>
                    </a:lnTo>
                    <a:lnTo>
                      <a:pt x="616" y="168"/>
                    </a:lnTo>
                    <a:lnTo>
                      <a:pt x="614" y="168"/>
                    </a:lnTo>
                    <a:lnTo>
                      <a:pt x="612" y="168"/>
                    </a:lnTo>
                    <a:lnTo>
                      <a:pt x="610" y="166"/>
                    </a:lnTo>
                    <a:lnTo>
                      <a:pt x="604" y="164"/>
                    </a:lnTo>
                    <a:lnTo>
                      <a:pt x="604" y="164"/>
                    </a:lnTo>
                    <a:lnTo>
                      <a:pt x="602" y="164"/>
                    </a:lnTo>
                    <a:lnTo>
                      <a:pt x="600" y="164"/>
                    </a:lnTo>
                    <a:lnTo>
                      <a:pt x="596" y="166"/>
                    </a:lnTo>
                    <a:lnTo>
                      <a:pt x="596" y="166"/>
                    </a:lnTo>
                    <a:lnTo>
                      <a:pt x="594" y="166"/>
                    </a:lnTo>
                    <a:lnTo>
                      <a:pt x="594" y="166"/>
                    </a:lnTo>
                    <a:lnTo>
                      <a:pt x="594" y="168"/>
                    </a:lnTo>
                    <a:lnTo>
                      <a:pt x="594" y="168"/>
                    </a:lnTo>
                    <a:lnTo>
                      <a:pt x="594" y="172"/>
                    </a:lnTo>
                    <a:lnTo>
                      <a:pt x="594" y="174"/>
                    </a:lnTo>
                    <a:lnTo>
                      <a:pt x="594" y="176"/>
                    </a:lnTo>
                    <a:lnTo>
                      <a:pt x="594" y="178"/>
                    </a:lnTo>
                    <a:lnTo>
                      <a:pt x="594" y="178"/>
                    </a:lnTo>
                    <a:lnTo>
                      <a:pt x="594" y="178"/>
                    </a:lnTo>
                    <a:lnTo>
                      <a:pt x="592" y="178"/>
                    </a:lnTo>
                    <a:lnTo>
                      <a:pt x="592" y="178"/>
                    </a:lnTo>
                    <a:lnTo>
                      <a:pt x="590" y="180"/>
                    </a:lnTo>
                    <a:lnTo>
                      <a:pt x="590" y="180"/>
                    </a:lnTo>
                    <a:lnTo>
                      <a:pt x="586" y="180"/>
                    </a:lnTo>
                    <a:lnTo>
                      <a:pt x="586" y="180"/>
                    </a:lnTo>
                    <a:lnTo>
                      <a:pt x="584" y="180"/>
                    </a:lnTo>
                    <a:lnTo>
                      <a:pt x="582" y="182"/>
                    </a:lnTo>
                    <a:lnTo>
                      <a:pt x="580" y="182"/>
                    </a:lnTo>
                    <a:lnTo>
                      <a:pt x="578" y="184"/>
                    </a:lnTo>
                    <a:lnTo>
                      <a:pt x="578" y="184"/>
                    </a:lnTo>
                    <a:lnTo>
                      <a:pt x="576" y="188"/>
                    </a:lnTo>
                    <a:lnTo>
                      <a:pt x="576" y="190"/>
                    </a:lnTo>
                    <a:lnTo>
                      <a:pt x="576" y="192"/>
                    </a:lnTo>
                    <a:lnTo>
                      <a:pt x="578" y="194"/>
                    </a:lnTo>
                    <a:lnTo>
                      <a:pt x="578" y="194"/>
                    </a:lnTo>
                    <a:lnTo>
                      <a:pt x="578" y="198"/>
                    </a:lnTo>
                    <a:lnTo>
                      <a:pt x="580" y="202"/>
                    </a:lnTo>
                    <a:lnTo>
                      <a:pt x="580" y="202"/>
                    </a:lnTo>
                    <a:lnTo>
                      <a:pt x="578" y="202"/>
                    </a:lnTo>
                    <a:lnTo>
                      <a:pt x="578" y="202"/>
                    </a:lnTo>
                    <a:lnTo>
                      <a:pt x="578" y="204"/>
                    </a:lnTo>
                    <a:lnTo>
                      <a:pt x="576" y="204"/>
                    </a:lnTo>
                    <a:lnTo>
                      <a:pt x="574" y="204"/>
                    </a:lnTo>
                    <a:lnTo>
                      <a:pt x="572" y="204"/>
                    </a:lnTo>
                    <a:lnTo>
                      <a:pt x="570" y="204"/>
                    </a:lnTo>
                    <a:lnTo>
                      <a:pt x="566" y="204"/>
                    </a:lnTo>
                    <a:lnTo>
                      <a:pt x="564" y="204"/>
                    </a:lnTo>
                    <a:lnTo>
                      <a:pt x="564" y="204"/>
                    </a:lnTo>
                    <a:lnTo>
                      <a:pt x="562" y="204"/>
                    </a:lnTo>
                    <a:lnTo>
                      <a:pt x="562" y="204"/>
                    </a:lnTo>
                    <a:lnTo>
                      <a:pt x="560" y="206"/>
                    </a:lnTo>
                    <a:lnTo>
                      <a:pt x="560" y="206"/>
                    </a:lnTo>
                    <a:lnTo>
                      <a:pt x="560" y="208"/>
                    </a:lnTo>
                    <a:lnTo>
                      <a:pt x="558" y="210"/>
                    </a:lnTo>
                    <a:lnTo>
                      <a:pt x="558" y="216"/>
                    </a:lnTo>
                    <a:lnTo>
                      <a:pt x="556" y="220"/>
                    </a:lnTo>
                    <a:lnTo>
                      <a:pt x="554" y="222"/>
                    </a:lnTo>
                    <a:lnTo>
                      <a:pt x="554" y="226"/>
                    </a:lnTo>
                    <a:lnTo>
                      <a:pt x="554" y="226"/>
                    </a:lnTo>
                    <a:lnTo>
                      <a:pt x="552" y="226"/>
                    </a:lnTo>
                    <a:lnTo>
                      <a:pt x="550" y="226"/>
                    </a:lnTo>
                    <a:lnTo>
                      <a:pt x="548" y="228"/>
                    </a:lnTo>
                    <a:lnTo>
                      <a:pt x="546" y="228"/>
                    </a:lnTo>
                    <a:lnTo>
                      <a:pt x="544" y="228"/>
                    </a:lnTo>
                    <a:lnTo>
                      <a:pt x="542" y="228"/>
                    </a:lnTo>
                    <a:lnTo>
                      <a:pt x="540" y="228"/>
                    </a:lnTo>
                    <a:lnTo>
                      <a:pt x="538" y="228"/>
                    </a:lnTo>
                    <a:lnTo>
                      <a:pt x="538" y="228"/>
                    </a:lnTo>
                    <a:lnTo>
                      <a:pt x="536" y="226"/>
                    </a:lnTo>
                    <a:lnTo>
                      <a:pt x="534" y="226"/>
                    </a:lnTo>
                    <a:lnTo>
                      <a:pt x="532" y="224"/>
                    </a:lnTo>
                    <a:lnTo>
                      <a:pt x="530" y="224"/>
                    </a:lnTo>
                    <a:lnTo>
                      <a:pt x="528" y="224"/>
                    </a:lnTo>
                    <a:lnTo>
                      <a:pt x="528" y="224"/>
                    </a:lnTo>
                    <a:lnTo>
                      <a:pt x="526" y="224"/>
                    </a:lnTo>
                    <a:lnTo>
                      <a:pt x="526" y="226"/>
                    </a:lnTo>
                    <a:lnTo>
                      <a:pt x="526" y="226"/>
                    </a:lnTo>
                    <a:lnTo>
                      <a:pt x="526" y="228"/>
                    </a:lnTo>
                    <a:lnTo>
                      <a:pt x="526" y="232"/>
                    </a:lnTo>
                    <a:lnTo>
                      <a:pt x="526" y="234"/>
                    </a:lnTo>
                    <a:lnTo>
                      <a:pt x="526" y="236"/>
                    </a:lnTo>
                    <a:lnTo>
                      <a:pt x="528" y="242"/>
                    </a:lnTo>
                    <a:lnTo>
                      <a:pt x="528" y="246"/>
                    </a:lnTo>
                    <a:lnTo>
                      <a:pt x="528" y="246"/>
                    </a:lnTo>
                    <a:lnTo>
                      <a:pt x="528" y="250"/>
                    </a:lnTo>
                    <a:lnTo>
                      <a:pt x="528" y="252"/>
                    </a:lnTo>
                    <a:lnTo>
                      <a:pt x="526" y="254"/>
                    </a:lnTo>
                    <a:lnTo>
                      <a:pt x="526" y="256"/>
                    </a:lnTo>
                    <a:lnTo>
                      <a:pt x="524" y="258"/>
                    </a:lnTo>
                    <a:lnTo>
                      <a:pt x="522" y="258"/>
                    </a:lnTo>
                    <a:lnTo>
                      <a:pt x="518" y="262"/>
                    </a:lnTo>
                    <a:lnTo>
                      <a:pt x="518" y="262"/>
                    </a:lnTo>
                    <a:lnTo>
                      <a:pt x="518" y="264"/>
                    </a:lnTo>
                    <a:lnTo>
                      <a:pt x="516" y="266"/>
                    </a:lnTo>
                    <a:lnTo>
                      <a:pt x="512" y="270"/>
                    </a:lnTo>
                    <a:lnTo>
                      <a:pt x="508" y="274"/>
                    </a:lnTo>
                    <a:lnTo>
                      <a:pt x="508" y="276"/>
                    </a:lnTo>
                    <a:lnTo>
                      <a:pt x="506" y="278"/>
                    </a:lnTo>
                    <a:lnTo>
                      <a:pt x="506" y="278"/>
                    </a:lnTo>
                    <a:lnTo>
                      <a:pt x="504" y="278"/>
                    </a:lnTo>
                    <a:lnTo>
                      <a:pt x="500" y="280"/>
                    </a:lnTo>
                    <a:lnTo>
                      <a:pt x="496" y="282"/>
                    </a:lnTo>
                    <a:lnTo>
                      <a:pt x="492" y="282"/>
                    </a:lnTo>
                    <a:lnTo>
                      <a:pt x="488" y="282"/>
                    </a:lnTo>
                    <a:lnTo>
                      <a:pt x="488" y="282"/>
                    </a:lnTo>
                    <a:lnTo>
                      <a:pt x="482" y="284"/>
                    </a:lnTo>
                    <a:lnTo>
                      <a:pt x="478" y="286"/>
                    </a:lnTo>
                    <a:lnTo>
                      <a:pt x="466" y="290"/>
                    </a:lnTo>
                    <a:lnTo>
                      <a:pt x="466" y="290"/>
                    </a:lnTo>
                    <a:lnTo>
                      <a:pt x="462" y="292"/>
                    </a:lnTo>
                    <a:lnTo>
                      <a:pt x="458" y="296"/>
                    </a:lnTo>
                    <a:lnTo>
                      <a:pt x="450" y="300"/>
                    </a:lnTo>
                    <a:lnTo>
                      <a:pt x="450" y="300"/>
                    </a:lnTo>
                    <a:lnTo>
                      <a:pt x="446" y="302"/>
                    </a:lnTo>
                    <a:lnTo>
                      <a:pt x="442" y="304"/>
                    </a:lnTo>
                    <a:lnTo>
                      <a:pt x="436" y="304"/>
                    </a:lnTo>
                    <a:lnTo>
                      <a:pt x="432" y="304"/>
                    </a:lnTo>
                    <a:lnTo>
                      <a:pt x="426" y="304"/>
                    </a:lnTo>
                    <a:lnTo>
                      <a:pt x="420" y="304"/>
                    </a:lnTo>
                    <a:lnTo>
                      <a:pt x="416" y="304"/>
                    </a:lnTo>
                    <a:lnTo>
                      <a:pt x="412" y="302"/>
                    </a:lnTo>
                    <a:lnTo>
                      <a:pt x="412" y="302"/>
                    </a:lnTo>
                    <a:lnTo>
                      <a:pt x="406" y="302"/>
                    </a:lnTo>
                    <a:lnTo>
                      <a:pt x="402" y="300"/>
                    </a:lnTo>
                    <a:lnTo>
                      <a:pt x="392" y="296"/>
                    </a:lnTo>
                    <a:lnTo>
                      <a:pt x="386" y="294"/>
                    </a:lnTo>
                    <a:lnTo>
                      <a:pt x="382" y="294"/>
                    </a:lnTo>
                    <a:lnTo>
                      <a:pt x="376" y="294"/>
                    </a:lnTo>
                    <a:lnTo>
                      <a:pt x="374" y="294"/>
                    </a:lnTo>
                    <a:lnTo>
                      <a:pt x="372" y="294"/>
                    </a:lnTo>
                    <a:lnTo>
                      <a:pt x="372" y="294"/>
                    </a:lnTo>
                    <a:lnTo>
                      <a:pt x="366" y="296"/>
                    </a:lnTo>
                    <a:lnTo>
                      <a:pt x="362" y="298"/>
                    </a:lnTo>
                    <a:lnTo>
                      <a:pt x="358" y="298"/>
                    </a:lnTo>
                    <a:lnTo>
                      <a:pt x="352" y="300"/>
                    </a:lnTo>
                    <a:lnTo>
                      <a:pt x="352" y="300"/>
                    </a:lnTo>
                    <a:lnTo>
                      <a:pt x="348" y="302"/>
                    </a:lnTo>
                    <a:lnTo>
                      <a:pt x="342" y="302"/>
                    </a:lnTo>
                    <a:lnTo>
                      <a:pt x="336" y="302"/>
                    </a:lnTo>
                    <a:lnTo>
                      <a:pt x="332" y="300"/>
                    </a:lnTo>
                    <a:lnTo>
                      <a:pt x="332" y="300"/>
                    </a:lnTo>
                    <a:lnTo>
                      <a:pt x="322" y="298"/>
                    </a:lnTo>
                    <a:lnTo>
                      <a:pt x="312" y="296"/>
                    </a:lnTo>
                    <a:lnTo>
                      <a:pt x="312" y="296"/>
                    </a:lnTo>
                    <a:lnTo>
                      <a:pt x="308" y="294"/>
                    </a:lnTo>
                    <a:lnTo>
                      <a:pt x="304" y="292"/>
                    </a:lnTo>
                    <a:lnTo>
                      <a:pt x="302" y="292"/>
                    </a:lnTo>
                    <a:lnTo>
                      <a:pt x="300" y="290"/>
                    </a:lnTo>
                    <a:lnTo>
                      <a:pt x="300" y="288"/>
                    </a:lnTo>
                    <a:lnTo>
                      <a:pt x="298" y="286"/>
                    </a:lnTo>
                    <a:lnTo>
                      <a:pt x="298" y="286"/>
                    </a:lnTo>
                    <a:lnTo>
                      <a:pt x="296" y="282"/>
                    </a:lnTo>
                    <a:lnTo>
                      <a:pt x="296" y="276"/>
                    </a:lnTo>
                    <a:lnTo>
                      <a:pt x="294" y="274"/>
                    </a:lnTo>
                    <a:lnTo>
                      <a:pt x="292" y="274"/>
                    </a:lnTo>
                    <a:lnTo>
                      <a:pt x="290" y="272"/>
                    </a:lnTo>
                    <a:lnTo>
                      <a:pt x="288" y="270"/>
                    </a:lnTo>
                    <a:lnTo>
                      <a:pt x="288" y="270"/>
                    </a:lnTo>
                    <a:lnTo>
                      <a:pt x="286" y="270"/>
                    </a:lnTo>
                    <a:lnTo>
                      <a:pt x="284" y="268"/>
                    </a:lnTo>
                    <a:lnTo>
                      <a:pt x="278" y="268"/>
                    </a:lnTo>
                    <a:lnTo>
                      <a:pt x="268" y="268"/>
                    </a:lnTo>
                    <a:lnTo>
                      <a:pt x="268" y="268"/>
                    </a:lnTo>
                    <a:lnTo>
                      <a:pt x="264" y="268"/>
                    </a:lnTo>
                    <a:lnTo>
                      <a:pt x="258" y="266"/>
                    </a:lnTo>
                    <a:lnTo>
                      <a:pt x="254" y="266"/>
                    </a:lnTo>
                    <a:lnTo>
                      <a:pt x="250" y="264"/>
                    </a:lnTo>
                    <a:lnTo>
                      <a:pt x="240" y="260"/>
                    </a:lnTo>
                    <a:lnTo>
                      <a:pt x="228" y="256"/>
                    </a:lnTo>
                    <a:lnTo>
                      <a:pt x="228" y="256"/>
                    </a:lnTo>
                    <a:lnTo>
                      <a:pt x="226" y="256"/>
                    </a:lnTo>
                    <a:lnTo>
                      <a:pt x="222" y="254"/>
                    </a:lnTo>
                    <a:lnTo>
                      <a:pt x="220" y="252"/>
                    </a:lnTo>
                    <a:lnTo>
                      <a:pt x="218" y="250"/>
                    </a:lnTo>
                    <a:lnTo>
                      <a:pt x="216" y="250"/>
                    </a:lnTo>
                    <a:lnTo>
                      <a:pt x="216" y="246"/>
                    </a:lnTo>
                    <a:lnTo>
                      <a:pt x="216" y="246"/>
                    </a:lnTo>
                    <a:lnTo>
                      <a:pt x="216" y="244"/>
                    </a:lnTo>
                    <a:lnTo>
                      <a:pt x="216" y="242"/>
                    </a:lnTo>
                    <a:lnTo>
                      <a:pt x="214" y="238"/>
                    </a:lnTo>
                    <a:lnTo>
                      <a:pt x="214" y="238"/>
                    </a:lnTo>
                    <a:lnTo>
                      <a:pt x="214" y="234"/>
                    </a:lnTo>
                    <a:lnTo>
                      <a:pt x="212" y="230"/>
                    </a:lnTo>
                    <a:lnTo>
                      <a:pt x="212" y="226"/>
                    </a:lnTo>
                    <a:lnTo>
                      <a:pt x="210" y="224"/>
                    </a:lnTo>
                    <a:lnTo>
                      <a:pt x="210" y="224"/>
                    </a:lnTo>
                    <a:lnTo>
                      <a:pt x="210" y="220"/>
                    </a:lnTo>
                    <a:lnTo>
                      <a:pt x="210" y="216"/>
                    </a:lnTo>
                    <a:lnTo>
                      <a:pt x="208" y="214"/>
                    </a:lnTo>
                    <a:lnTo>
                      <a:pt x="208" y="214"/>
                    </a:lnTo>
                    <a:lnTo>
                      <a:pt x="208" y="212"/>
                    </a:lnTo>
                    <a:lnTo>
                      <a:pt x="206" y="210"/>
                    </a:lnTo>
                    <a:lnTo>
                      <a:pt x="206" y="210"/>
                    </a:lnTo>
                    <a:lnTo>
                      <a:pt x="204" y="210"/>
                    </a:lnTo>
                    <a:lnTo>
                      <a:pt x="202" y="208"/>
                    </a:lnTo>
                    <a:lnTo>
                      <a:pt x="198" y="208"/>
                    </a:lnTo>
                    <a:lnTo>
                      <a:pt x="194" y="206"/>
                    </a:lnTo>
                    <a:lnTo>
                      <a:pt x="192" y="204"/>
                    </a:lnTo>
                    <a:lnTo>
                      <a:pt x="190" y="202"/>
                    </a:lnTo>
                    <a:lnTo>
                      <a:pt x="190" y="202"/>
                    </a:lnTo>
                    <a:lnTo>
                      <a:pt x="188" y="202"/>
                    </a:lnTo>
                    <a:lnTo>
                      <a:pt x="186" y="200"/>
                    </a:lnTo>
                    <a:lnTo>
                      <a:pt x="184" y="200"/>
                    </a:lnTo>
                    <a:lnTo>
                      <a:pt x="182" y="198"/>
                    </a:lnTo>
                    <a:lnTo>
                      <a:pt x="178" y="198"/>
                    </a:lnTo>
                    <a:lnTo>
                      <a:pt x="172" y="198"/>
                    </a:lnTo>
                    <a:lnTo>
                      <a:pt x="172" y="198"/>
                    </a:lnTo>
                    <a:lnTo>
                      <a:pt x="170" y="198"/>
                    </a:lnTo>
                    <a:lnTo>
                      <a:pt x="168" y="196"/>
                    </a:lnTo>
                    <a:lnTo>
                      <a:pt x="166" y="196"/>
                    </a:lnTo>
                    <a:lnTo>
                      <a:pt x="164" y="194"/>
                    </a:lnTo>
                    <a:lnTo>
                      <a:pt x="162" y="192"/>
                    </a:lnTo>
                    <a:lnTo>
                      <a:pt x="160" y="188"/>
                    </a:lnTo>
                    <a:lnTo>
                      <a:pt x="156" y="184"/>
                    </a:lnTo>
                    <a:lnTo>
                      <a:pt x="156" y="180"/>
                    </a:lnTo>
                    <a:lnTo>
                      <a:pt x="152" y="174"/>
                    </a:lnTo>
                    <a:lnTo>
                      <a:pt x="152" y="174"/>
                    </a:lnTo>
                    <a:lnTo>
                      <a:pt x="150" y="174"/>
                    </a:lnTo>
                    <a:lnTo>
                      <a:pt x="146" y="174"/>
                    </a:lnTo>
                    <a:lnTo>
                      <a:pt x="140" y="172"/>
                    </a:lnTo>
                    <a:lnTo>
                      <a:pt x="140" y="172"/>
                    </a:lnTo>
                    <a:lnTo>
                      <a:pt x="138" y="178"/>
                    </a:lnTo>
                    <a:lnTo>
                      <a:pt x="138" y="180"/>
                    </a:lnTo>
                    <a:lnTo>
                      <a:pt x="138" y="182"/>
                    </a:lnTo>
                    <a:lnTo>
                      <a:pt x="138" y="182"/>
                    </a:lnTo>
                    <a:lnTo>
                      <a:pt x="138" y="186"/>
                    </a:lnTo>
                    <a:lnTo>
                      <a:pt x="138" y="188"/>
                    </a:lnTo>
                    <a:lnTo>
                      <a:pt x="138" y="190"/>
                    </a:lnTo>
                    <a:lnTo>
                      <a:pt x="138" y="190"/>
                    </a:lnTo>
                    <a:lnTo>
                      <a:pt x="136" y="192"/>
                    </a:lnTo>
                    <a:lnTo>
                      <a:pt x="136" y="192"/>
                    </a:lnTo>
                    <a:lnTo>
                      <a:pt x="134" y="194"/>
                    </a:lnTo>
                    <a:lnTo>
                      <a:pt x="134" y="194"/>
                    </a:lnTo>
                    <a:lnTo>
                      <a:pt x="132" y="196"/>
                    </a:lnTo>
                    <a:lnTo>
                      <a:pt x="130" y="198"/>
                    </a:lnTo>
                    <a:lnTo>
                      <a:pt x="128" y="198"/>
                    </a:lnTo>
                    <a:lnTo>
                      <a:pt x="128" y="200"/>
                    </a:lnTo>
                    <a:lnTo>
                      <a:pt x="128" y="202"/>
                    </a:lnTo>
                    <a:lnTo>
                      <a:pt x="128" y="202"/>
                    </a:lnTo>
                    <a:lnTo>
                      <a:pt x="128" y="202"/>
                    </a:lnTo>
                    <a:lnTo>
                      <a:pt x="128" y="204"/>
                    </a:lnTo>
                    <a:lnTo>
                      <a:pt x="128" y="206"/>
                    </a:lnTo>
                    <a:lnTo>
                      <a:pt x="130" y="208"/>
                    </a:lnTo>
                    <a:lnTo>
                      <a:pt x="132" y="212"/>
                    </a:lnTo>
                    <a:lnTo>
                      <a:pt x="132" y="214"/>
                    </a:lnTo>
                    <a:lnTo>
                      <a:pt x="132" y="214"/>
                    </a:lnTo>
                    <a:lnTo>
                      <a:pt x="132" y="214"/>
                    </a:lnTo>
                    <a:lnTo>
                      <a:pt x="132" y="216"/>
                    </a:lnTo>
                    <a:lnTo>
                      <a:pt x="130" y="218"/>
                    </a:lnTo>
                    <a:lnTo>
                      <a:pt x="128" y="218"/>
                    </a:lnTo>
                    <a:lnTo>
                      <a:pt x="126" y="220"/>
                    </a:lnTo>
                    <a:lnTo>
                      <a:pt x="124" y="222"/>
                    </a:lnTo>
                    <a:lnTo>
                      <a:pt x="120" y="222"/>
                    </a:lnTo>
                    <a:lnTo>
                      <a:pt x="120" y="222"/>
                    </a:lnTo>
                    <a:lnTo>
                      <a:pt x="116" y="222"/>
                    </a:lnTo>
                    <a:lnTo>
                      <a:pt x="112" y="222"/>
                    </a:lnTo>
                    <a:lnTo>
                      <a:pt x="108" y="222"/>
                    </a:lnTo>
                    <a:lnTo>
                      <a:pt x="104" y="220"/>
                    </a:lnTo>
                    <a:lnTo>
                      <a:pt x="104" y="220"/>
                    </a:lnTo>
                    <a:lnTo>
                      <a:pt x="102" y="220"/>
                    </a:lnTo>
                    <a:lnTo>
                      <a:pt x="100" y="220"/>
                    </a:lnTo>
                    <a:lnTo>
                      <a:pt x="100" y="220"/>
                    </a:lnTo>
                    <a:lnTo>
                      <a:pt x="98" y="220"/>
                    </a:lnTo>
                    <a:lnTo>
                      <a:pt x="98" y="222"/>
                    </a:lnTo>
                    <a:lnTo>
                      <a:pt x="98" y="224"/>
                    </a:lnTo>
                    <a:lnTo>
                      <a:pt x="96" y="226"/>
                    </a:lnTo>
                    <a:lnTo>
                      <a:pt x="96" y="226"/>
                    </a:lnTo>
                    <a:lnTo>
                      <a:pt x="96" y="234"/>
                    </a:lnTo>
                    <a:lnTo>
                      <a:pt x="96" y="238"/>
                    </a:lnTo>
                    <a:lnTo>
                      <a:pt x="96" y="240"/>
                    </a:lnTo>
                    <a:lnTo>
                      <a:pt x="96" y="240"/>
                    </a:lnTo>
                    <a:lnTo>
                      <a:pt x="92" y="246"/>
                    </a:lnTo>
                    <a:lnTo>
                      <a:pt x="92" y="250"/>
                    </a:lnTo>
                    <a:lnTo>
                      <a:pt x="92" y="252"/>
                    </a:lnTo>
                    <a:lnTo>
                      <a:pt x="92" y="252"/>
                    </a:lnTo>
                    <a:lnTo>
                      <a:pt x="92" y="254"/>
                    </a:lnTo>
                    <a:lnTo>
                      <a:pt x="92" y="256"/>
                    </a:lnTo>
                    <a:lnTo>
                      <a:pt x="92" y="258"/>
                    </a:lnTo>
                    <a:lnTo>
                      <a:pt x="94" y="258"/>
                    </a:lnTo>
                    <a:lnTo>
                      <a:pt x="96" y="260"/>
                    </a:lnTo>
                    <a:lnTo>
                      <a:pt x="98" y="264"/>
                    </a:lnTo>
                    <a:lnTo>
                      <a:pt x="98" y="264"/>
                    </a:lnTo>
                    <a:lnTo>
                      <a:pt x="100" y="264"/>
                    </a:lnTo>
                    <a:lnTo>
                      <a:pt x="100" y="266"/>
                    </a:lnTo>
                    <a:lnTo>
                      <a:pt x="100" y="268"/>
                    </a:lnTo>
                    <a:lnTo>
                      <a:pt x="100" y="270"/>
                    </a:lnTo>
                    <a:lnTo>
                      <a:pt x="100" y="270"/>
                    </a:lnTo>
                    <a:lnTo>
                      <a:pt x="98" y="272"/>
                    </a:lnTo>
                    <a:lnTo>
                      <a:pt x="98" y="272"/>
                    </a:lnTo>
                    <a:lnTo>
                      <a:pt x="96" y="272"/>
                    </a:lnTo>
                    <a:lnTo>
                      <a:pt x="96" y="272"/>
                    </a:lnTo>
                    <a:lnTo>
                      <a:pt x="94" y="272"/>
                    </a:lnTo>
                    <a:lnTo>
                      <a:pt x="92" y="270"/>
                    </a:lnTo>
                    <a:lnTo>
                      <a:pt x="90" y="268"/>
                    </a:lnTo>
                    <a:lnTo>
                      <a:pt x="90" y="268"/>
                    </a:lnTo>
                    <a:lnTo>
                      <a:pt x="88" y="266"/>
                    </a:lnTo>
                    <a:lnTo>
                      <a:pt x="84" y="266"/>
                    </a:lnTo>
                    <a:lnTo>
                      <a:pt x="84" y="266"/>
                    </a:lnTo>
                    <a:lnTo>
                      <a:pt x="80" y="266"/>
                    </a:lnTo>
                    <a:lnTo>
                      <a:pt x="78" y="268"/>
                    </a:lnTo>
                    <a:lnTo>
                      <a:pt x="76" y="268"/>
                    </a:lnTo>
                    <a:lnTo>
                      <a:pt x="74" y="268"/>
                    </a:lnTo>
                    <a:lnTo>
                      <a:pt x="74" y="270"/>
                    </a:lnTo>
                    <a:lnTo>
                      <a:pt x="72" y="272"/>
                    </a:lnTo>
                    <a:lnTo>
                      <a:pt x="72" y="272"/>
                    </a:lnTo>
                    <a:lnTo>
                      <a:pt x="72" y="274"/>
                    </a:lnTo>
                    <a:lnTo>
                      <a:pt x="70" y="274"/>
                    </a:lnTo>
                    <a:lnTo>
                      <a:pt x="70" y="274"/>
                    </a:lnTo>
                    <a:lnTo>
                      <a:pt x="70" y="276"/>
                    </a:lnTo>
                    <a:lnTo>
                      <a:pt x="72" y="278"/>
                    </a:lnTo>
                    <a:lnTo>
                      <a:pt x="74" y="282"/>
                    </a:lnTo>
                    <a:lnTo>
                      <a:pt x="74" y="282"/>
                    </a:lnTo>
                    <a:lnTo>
                      <a:pt x="76" y="284"/>
                    </a:lnTo>
                    <a:lnTo>
                      <a:pt x="78" y="286"/>
                    </a:lnTo>
                    <a:lnTo>
                      <a:pt x="82" y="290"/>
                    </a:lnTo>
                    <a:lnTo>
                      <a:pt x="82" y="290"/>
                    </a:lnTo>
                    <a:lnTo>
                      <a:pt x="84" y="292"/>
                    </a:lnTo>
                    <a:lnTo>
                      <a:pt x="84" y="292"/>
                    </a:lnTo>
                    <a:lnTo>
                      <a:pt x="84" y="296"/>
                    </a:lnTo>
                    <a:lnTo>
                      <a:pt x="86" y="298"/>
                    </a:lnTo>
                    <a:lnTo>
                      <a:pt x="88" y="304"/>
                    </a:lnTo>
                    <a:lnTo>
                      <a:pt x="88" y="304"/>
                    </a:lnTo>
                    <a:lnTo>
                      <a:pt x="90" y="310"/>
                    </a:lnTo>
                    <a:lnTo>
                      <a:pt x="90" y="314"/>
                    </a:lnTo>
                    <a:lnTo>
                      <a:pt x="92" y="316"/>
                    </a:lnTo>
                    <a:lnTo>
                      <a:pt x="92" y="316"/>
                    </a:lnTo>
                    <a:lnTo>
                      <a:pt x="90" y="320"/>
                    </a:lnTo>
                    <a:lnTo>
                      <a:pt x="90" y="322"/>
                    </a:lnTo>
                    <a:lnTo>
                      <a:pt x="88" y="324"/>
                    </a:lnTo>
                    <a:lnTo>
                      <a:pt x="88" y="326"/>
                    </a:lnTo>
                    <a:lnTo>
                      <a:pt x="88" y="326"/>
                    </a:lnTo>
                    <a:lnTo>
                      <a:pt x="86" y="334"/>
                    </a:lnTo>
                    <a:lnTo>
                      <a:pt x="84" y="336"/>
                    </a:lnTo>
                    <a:lnTo>
                      <a:pt x="84" y="340"/>
                    </a:lnTo>
                    <a:lnTo>
                      <a:pt x="84" y="340"/>
                    </a:lnTo>
                    <a:lnTo>
                      <a:pt x="82" y="342"/>
                    </a:lnTo>
                    <a:lnTo>
                      <a:pt x="80" y="344"/>
                    </a:lnTo>
                    <a:lnTo>
                      <a:pt x="78" y="346"/>
                    </a:lnTo>
                    <a:lnTo>
                      <a:pt x="74" y="346"/>
                    </a:lnTo>
                    <a:lnTo>
                      <a:pt x="72" y="348"/>
                    </a:lnTo>
                    <a:lnTo>
                      <a:pt x="70" y="348"/>
                    </a:lnTo>
                    <a:lnTo>
                      <a:pt x="68" y="350"/>
                    </a:lnTo>
                    <a:lnTo>
                      <a:pt x="66" y="352"/>
                    </a:lnTo>
                    <a:lnTo>
                      <a:pt x="66" y="354"/>
                    </a:lnTo>
                    <a:lnTo>
                      <a:pt x="66" y="354"/>
                    </a:lnTo>
                    <a:lnTo>
                      <a:pt x="66" y="358"/>
                    </a:lnTo>
                    <a:lnTo>
                      <a:pt x="64" y="360"/>
                    </a:lnTo>
                    <a:lnTo>
                      <a:pt x="64" y="360"/>
                    </a:lnTo>
                    <a:lnTo>
                      <a:pt x="64" y="360"/>
                    </a:lnTo>
                    <a:lnTo>
                      <a:pt x="62" y="362"/>
                    </a:lnTo>
                    <a:lnTo>
                      <a:pt x="60" y="362"/>
                    </a:lnTo>
                    <a:lnTo>
                      <a:pt x="58" y="362"/>
                    </a:lnTo>
                    <a:lnTo>
                      <a:pt x="58" y="362"/>
                    </a:lnTo>
                    <a:lnTo>
                      <a:pt x="54" y="364"/>
                    </a:lnTo>
                    <a:lnTo>
                      <a:pt x="52" y="366"/>
                    </a:lnTo>
                    <a:lnTo>
                      <a:pt x="48" y="368"/>
                    </a:lnTo>
                    <a:lnTo>
                      <a:pt x="46" y="368"/>
                    </a:lnTo>
                    <a:lnTo>
                      <a:pt x="46" y="368"/>
                    </a:lnTo>
                    <a:lnTo>
                      <a:pt x="40" y="374"/>
                    </a:lnTo>
                    <a:lnTo>
                      <a:pt x="36" y="376"/>
                    </a:lnTo>
                    <a:lnTo>
                      <a:pt x="34" y="378"/>
                    </a:lnTo>
                    <a:lnTo>
                      <a:pt x="34" y="378"/>
                    </a:lnTo>
                    <a:lnTo>
                      <a:pt x="32" y="380"/>
                    </a:lnTo>
                    <a:lnTo>
                      <a:pt x="30" y="380"/>
                    </a:lnTo>
                    <a:lnTo>
                      <a:pt x="30" y="378"/>
                    </a:lnTo>
                    <a:lnTo>
                      <a:pt x="28" y="378"/>
                    </a:lnTo>
                    <a:lnTo>
                      <a:pt x="28" y="378"/>
                    </a:lnTo>
                    <a:lnTo>
                      <a:pt x="26" y="376"/>
                    </a:lnTo>
                    <a:lnTo>
                      <a:pt x="26" y="376"/>
                    </a:lnTo>
                    <a:lnTo>
                      <a:pt x="24" y="376"/>
                    </a:lnTo>
                    <a:lnTo>
                      <a:pt x="22" y="376"/>
                    </a:lnTo>
                    <a:lnTo>
                      <a:pt x="22" y="376"/>
                    </a:lnTo>
                    <a:lnTo>
                      <a:pt x="20" y="378"/>
                    </a:lnTo>
                    <a:lnTo>
                      <a:pt x="18" y="378"/>
                    </a:lnTo>
                    <a:lnTo>
                      <a:pt x="16" y="380"/>
                    </a:lnTo>
                    <a:lnTo>
                      <a:pt x="14" y="382"/>
                    </a:lnTo>
                    <a:lnTo>
                      <a:pt x="12" y="384"/>
                    </a:lnTo>
                    <a:lnTo>
                      <a:pt x="12" y="384"/>
                    </a:lnTo>
                    <a:lnTo>
                      <a:pt x="10" y="384"/>
                    </a:lnTo>
                    <a:lnTo>
                      <a:pt x="10" y="386"/>
                    </a:lnTo>
                    <a:lnTo>
                      <a:pt x="8" y="388"/>
                    </a:lnTo>
                    <a:lnTo>
                      <a:pt x="8" y="388"/>
                    </a:lnTo>
                    <a:lnTo>
                      <a:pt x="10" y="392"/>
                    </a:lnTo>
                    <a:lnTo>
                      <a:pt x="10" y="392"/>
                    </a:lnTo>
                    <a:lnTo>
                      <a:pt x="8" y="394"/>
                    </a:lnTo>
                    <a:lnTo>
                      <a:pt x="8" y="394"/>
                    </a:lnTo>
                    <a:lnTo>
                      <a:pt x="8" y="396"/>
                    </a:lnTo>
                    <a:lnTo>
                      <a:pt x="6" y="396"/>
                    </a:lnTo>
                    <a:lnTo>
                      <a:pt x="2" y="396"/>
                    </a:lnTo>
                    <a:lnTo>
                      <a:pt x="0" y="396"/>
                    </a:lnTo>
                    <a:lnTo>
                      <a:pt x="0" y="398"/>
                    </a:lnTo>
                    <a:lnTo>
                      <a:pt x="0" y="398"/>
                    </a:lnTo>
                    <a:lnTo>
                      <a:pt x="0" y="398"/>
                    </a:lnTo>
                    <a:lnTo>
                      <a:pt x="0" y="400"/>
                    </a:lnTo>
                    <a:lnTo>
                      <a:pt x="0" y="400"/>
                    </a:lnTo>
                    <a:lnTo>
                      <a:pt x="2" y="404"/>
                    </a:lnTo>
                    <a:lnTo>
                      <a:pt x="4" y="406"/>
                    </a:lnTo>
                    <a:lnTo>
                      <a:pt x="8" y="410"/>
                    </a:lnTo>
                    <a:lnTo>
                      <a:pt x="10" y="410"/>
                    </a:lnTo>
                    <a:lnTo>
                      <a:pt x="10" y="410"/>
                    </a:lnTo>
                    <a:lnTo>
                      <a:pt x="12" y="412"/>
                    </a:lnTo>
                    <a:lnTo>
                      <a:pt x="12" y="412"/>
                    </a:lnTo>
                    <a:lnTo>
                      <a:pt x="14" y="410"/>
                    </a:lnTo>
                    <a:lnTo>
                      <a:pt x="16" y="410"/>
                    </a:lnTo>
                    <a:lnTo>
                      <a:pt x="16" y="410"/>
                    </a:lnTo>
                    <a:lnTo>
                      <a:pt x="18" y="410"/>
                    </a:lnTo>
                    <a:lnTo>
                      <a:pt x="18" y="412"/>
                    </a:lnTo>
                    <a:lnTo>
                      <a:pt x="20" y="412"/>
                    </a:lnTo>
                    <a:lnTo>
                      <a:pt x="22" y="414"/>
                    </a:lnTo>
                    <a:lnTo>
                      <a:pt x="22" y="414"/>
                    </a:lnTo>
                    <a:lnTo>
                      <a:pt x="24" y="416"/>
                    </a:lnTo>
                    <a:lnTo>
                      <a:pt x="26" y="418"/>
                    </a:lnTo>
                    <a:lnTo>
                      <a:pt x="26" y="418"/>
                    </a:lnTo>
                    <a:lnTo>
                      <a:pt x="26" y="418"/>
                    </a:lnTo>
                    <a:lnTo>
                      <a:pt x="28" y="420"/>
                    </a:lnTo>
                    <a:lnTo>
                      <a:pt x="28" y="422"/>
                    </a:lnTo>
                    <a:lnTo>
                      <a:pt x="28" y="422"/>
                    </a:lnTo>
                    <a:lnTo>
                      <a:pt x="30" y="426"/>
                    </a:lnTo>
                    <a:lnTo>
                      <a:pt x="30" y="428"/>
                    </a:lnTo>
                    <a:lnTo>
                      <a:pt x="30" y="430"/>
                    </a:lnTo>
                    <a:lnTo>
                      <a:pt x="30" y="430"/>
                    </a:lnTo>
                    <a:lnTo>
                      <a:pt x="32" y="430"/>
                    </a:lnTo>
                    <a:lnTo>
                      <a:pt x="32" y="432"/>
                    </a:lnTo>
                    <a:lnTo>
                      <a:pt x="32" y="434"/>
                    </a:lnTo>
                    <a:lnTo>
                      <a:pt x="34" y="436"/>
                    </a:lnTo>
                    <a:lnTo>
                      <a:pt x="34" y="436"/>
                    </a:lnTo>
                    <a:lnTo>
                      <a:pt x="34" y="438"/>
                    </a:lnTo>
                    <a:lnTo>
                      <a:pt x="36" y="438"/>
                    </a:lnTo>
                    <a:lnTo>
                      <a:pt x="38" y="438"/>
                    </a:lnTo>
                    <a:lnTo>
                      <a:pt x="38" y="438"/>
                    </a:lnTo>
                    <a:lnTo>
                      <a:pt x="42" y="440"/>
                    </a:lnTo>
                    <a:lnTo>
                      <a:pt x="46" y="440"/>
                    </a:lnTo>
                    <a:lnTo>
                      <a:pt x="46" y="440"/>
                    </a:lnTo>
                    <a:lnTo>
                      <a:pt x="50" y="440"/>
                    </a:lnTo>
                    <a:lnTo>
                      <a:pt x="52" y="440"/>
                    </a:lnTo>
                    <a:lnTo>
                      <a:pt x="52" y="440"/>
                    </a:lnTo>
                    <a:lnTo>
                      <a:pt x="52" y="440"/>
                    </a:lnTo>
                    <a:lnTo>
                      <a:pt x="54" y="440"/>
                    </a:lnTo>
                    <a:lnTo>
                      <a:pt x="56" y="442"/>
                    </a:lnTo>
                    <a:lnTo>
                      <a:pt x="58" y="444"/>
                    </a:lnTo>
                    <a:lnTo>
                      <a:pt x="58" y="444"/>
                    </a:lnTo>
                    <a:lnTo>
                      <a:pt x="60" y="448"/>
                    </a:lnTo>
                    <a:lnTo>
                      <a:pt x="62" y="452"/>
                    </a:lnTo>
                    <a:lnTo>
                      <a:pt x="64" y="454"/>
                    </a:lnTo>
                    <a:lnTo>
                      <a:pt x="66" y="458"/>
                    </a:lnTo>
                    <a:lnTo>
                      <a:pt x="66" y="458"/>
                    </a:lnTo>
                    <a:lnTo>
                      <a:pt x="72" y="464"/>
                    </a:lnTo>
                    <a:lnTo>
                      <a:pt x="74" y="468"/>
                    </a:lnTo>
                    <a:lnTo>
                      <a:pt x="78" y="470"/>
                    </a:lnTo>
                    <a:lnTo>
                      <a:pt x="78" y="470"/>
                    </a:lnTo>
                    <a:lnTo>
                      <a:pt x="80" y="474"/>
                    </a:lnTo>
                    <a:lnTo>
                      <a:pt x="84" y="480"/>
                    </a:lnTo>
                    <a:lnTo>
                      <a:pt x="86" y="482"/>
                    </a:lnTo>
                    <a:lnTo>
                      <a:pt x="88" y="484"/>
                    </a:lnTo>
                    <a:lnTo>
                      <a:pt x="90" y="486"/>
                    </a:lnTo>
                    <a:lnTo>
                      <a:pt x="92" y="486"/>
                    </a:lnTo>
                    <a:lnTo>
                      <a:pt x="92" y="484"/>
                    </a:lnTo>
                    <a:lnTo>
                      <a:pt x="92" y="484"/>
                    </a:lnTo>
                    <a:lnTo>
                      <a:pt x="92" y="484"/>
                    </a:lnTo>
                    <a:lnTo>
                      <a:pt x="94" y="482"/>
                    </a:lnTo>
                    <a:lnTo>
                      <a:pt x="94" y="478"/>
                    </a:lnTo>
                    <a:lnTo>
                      <a:pt x="94" y="478"/>
                    </a:lnTo>
                    <a:lnTo>
                      <a:pt x="96" y="476"/>
                    </a:lnTo>
                    <a:lnTo>
                      <a:pt x="96" y="476"/>
                    </a:lnTo>
                    <a:lnTo>
                      <a:pt x="98" y="474"/>
                    </a:lnTo>
                    <a:lnTo>
                      <a:pt x="100" y="474"/>
                    </a:lnTo>
                    <a:lnTo>
                      <a:pt x="100" y="474"/>
                    </a:lnTo>
                    <a:lnTo>
                      <a:pt x="104" y="474"/>
                    </a:lnTo>
                    <a:lnTo>
                      <a:pt x="108" y="474"/>
                    </a:lnTo>
                    <a:lnTo>
                      <a:pt x="108" y="476"/>
                    </a:lnTo>
                    <a:lnTo>
                      <a:pt x="112" y="478"/>
                    </a:lnTo>
                    <a:lnTo>
                      <a:pt x="114" y="480"/>
                    </a:lnTo>
                    <a:lnTo>
                      <a:pt x="116" y="484"/>
                    </a:lnTo>
                    <a:lnTo>
                      <a:pt x="116" y="488"/>
                    </a:lnTo>
                    <a:lnTo>
                      <a:pt x="116" y="490"/>
                    </a:lnTo>
                    <a:lnTo>
                      <a:pt x="116" y="490"/>
                    </a:lnTo>
                    <a:lnTo>
                      <a:pt x="114" y="498"/>
                    </a:lnTo>
                    <a:lnTo>
                      <a:pt x="114" y="502"/>
                    </a:lnTo>
                    <a:lnTo>
                      <a:pt x="114" y="504"/>
                    </a:lnTo>
                    <a:lnTo>
                      <a:pt x="114" y="506"/>
                    </a:lnTo>
                    <a:lnTo>
                      <a:pt x="114" y="506"/>
                    </a:lnTo>
                    <a:lnTo>
                      <a:pt x="116" y="512"/>
                    </a:lnTo>
                    <a:lnTo>
                      <a:pt x="118" y="514"/>
                    </a:lnTo>
                    <a:lnTo>
                      <a:pt x="118" y="514"/>
                    </a:lnTo>
                    <a:lnTo>
                      <a:pt x="120" y="516"/>
                    </a:lnTo>
                    <a:lnTo>
                      <a:pt x="122" y="518"/>
                    </a:lnTo>
                    <a:lnTo>
                      <a:pt x="122" y="518"/>
                    </a:lnTo>
                    <a:lnTo>
                      <a:pt x="124" y="520"/>
                    </a:lnTo>
                    <a:lnTo>
                      <a:pt x="124" y="520"/>
                    </a:lnTo>
                    <a:lnTo>
                      <a:pt x="124" y="522"/>
                    </a:lnTo>
                    <a:lnTo>
                      <a:pt x="124" y="522"/>
                    </a:lnTo>
                    <a:lnTo>
                      <a:pt x="124" y="522"/>
                    </a:lnTo>
                    <a:lnTo>
                      <a:pt x="124" y="522"/>
                    </a:lnTo>
                    <a:lnTo>
                      <a:pt x="122" y="524"/>
                    </a:lnTo>
                    <a:lnTo>
                      <a:pt x="120" y="524"/>
                    </a:lnTo>
                    <a:lnTo>
                      <a:pt x="120" y="524"/>
                    </a:lnTo>
                    <a:lnTo>
                      <a:pt x="118" y="526"/>
                    </a:lnTo>
                    <a:lnTo>
                      <a:pt x="116" y="526"/>
                    </a:lnTo>
                    <a:lnTo>
                      <a:pt x="116" y="528"/>
                    </a:lnTo>
                    <a:lnTo>
                      <a:pt x="114" y="530"/>
                    </a:lnTo>
                    <a:lnTo>
                      <a:pt x="114" y="530"/>
                    </a:lnTo>
                    <a:lnTo>
                      <a:pt x="114" y="532"/>
                    </a:lnTo>
                    <a:lnTo>
                      <a:pt x="114" y="534"/>
                    </a:lnTo>
                    <a:lnTo>
                      <a:pt x="116" y="536"/>
                    </a:lnTo>
                    <a:lnTo>
                      <a:pt x="116" y="536"/>
                    </a:lnTo>
                    <a:lnTo>
                      <a:pt x="118" y="542"/>
                    </a:lnTo>
                    <a:lnTo>
                      <a:pt x="118" y="542"/>
                    </a:lnTo>
                    <a:lnTo>
                      <a:pt x="120" y="546"/>
                    </a:lnTo>
                    <a:lnTo>
                      <a:pt x="120" y="548"/>
                    </a:lnTo>
                    <a:lnTo>
                      <a:pt x="120" y="548"/>
                    </a:lnTo>
                    <a:lnTo>
                      <a:pt x="122" y="550"/>
                    </a:lnTo>
                    <a:lnTo>
                      <a:pt x="124" y="552"/>
                    </a:lnTo>
                    <a:lnTo>
                      <a:pt x="126" y="554"/>
                    </a:lnTo>
                    <a:lnTo>
                      <a:pt x="126" y="554"/>
                    </a:lnTo>
                    <a:lnTo>
                      <a:pt x="130" y="556"/>
                    </a:lnTo>
                    <a:lnTo>
                      <a:pt x="130" y="558"/>
                    </a:lnTo>
                    <a:lnTo>
                      <a:pt x="132" y="558"/>
                    </a:lnTo>
                    <a:lnTo>
                      <a:pt x="132" y="558"/>
                    </a:lnTo>
                    <a:lnTo>
                      <a:pt x="132" y="560"/>
                    </a:lnTo>
                    <a:lnTo>
                      <a:pt x="134" y="560"/>
                    </a:lnTo>
                    <a:lnTo>
                      <a:pt x="138" y="560"/>
                    </a:lnTo>
                    <a:lnTo>
                      <a:pt x="142" y="562"/>
                    </a:lnTo>
                    <a:lnTo>
                      <a:pt x="144" y="562"/>
                    </a:lnTo>
                    <a:lnTo>
                      <a:pt x="146" y="564"/>
                    </a:lnTo>
                    <a:lnTo>
                      <a:pt x="146" y="564"/>
                    </a:lnTo>
                    <a:lnTo>
                      <a:pt x="148" y="566"/>
                    </a:lnTo>
                    <a:lnTo>
                      <a:pt x="152" y="566"/>
                    </a:lnTo>
                    <a:lnTo>
                      <a:pt x="154" y="568"/>
                    </a:lnTo>
                    <a:lnTo>
                      <a:pt x="156" y="568"/>
                    </a:lnTo>
                    <a:lnTo>
                      <a:pt x="158" y="568"/>
                    </a:lnTo>
                    <a:lnTo>
                      <a:pt x="158" y="568"/>
                    </a:lnTo>
                    <a:lnTo>
                      <a:pt x="164" y="566"/>
                    </a:lnTo>
                    <a:lnTo>
                      <a:pt x="172" y="566"/>
                    </a:lnTo>
                    <a:lnTo>
                      <a:pt x="172" y="566"/>
                    </a:lnTo>
                    <a:lnTo>
                      <a:pt x="174" y="566"/>
                    </a:lnTo>
                    <a:lnTo>
                      <a:pt x="176" y="566"/>
                    </a:lnTo>
                    <a:lnTo>
                      <a:pt x="176" y="568"/>
                    </a:lnTo>
                    <a:lnTo>
                      <a:pt x="178" y="568"/>
                    </a:lnTo>
                    <a:lnTo>
                      <a:pt x="180" y="572"/>
                    </a:lnTo>
                    <a:lnTo>
                      <a:pt x="180" y="572"/>
                    </a:lnTo>
                    <a:lnTo>
                      <a:pt x="182" y="574"/>
                    </a:lnTo>
                    <a:lnTo>
                      <a:pt x="182" y="574"/>
                    </a:lnTo>
                    <a:lnTo>
                      <a:pt x="186" y="576"/>
                    </a:lnTo>
                    <a:lnTo>
                      <a:pt x="190" y="578"/>
                    </a:lnTo>
                    <a:lnTo>
                      <a:pt x="190" y="578"/>
                    </a:lnTo>
                    <a:lnTo>
                      <a:pt x="192" y="580"/>
                    </a:lnTo>
                    <a:lnTo>
                      <a:pt x="194" y="580"/>
                    </a:lnTo>
                    <a:lnTo>
                      <a:pt x="196" y="580"/>
                    </a:lnTo>
                    <a:lnTo>
                      <a:pt x="196" y="580"/>
                    </a:lnTo>
                    <a:lnTo>
                      <a:pt x="196" y="582"/>
                    </a:lnTo>
                    <a:lnTo>
                      <a:pt x="198" y="582"/>
                    </a:lnTo>
                    <a:lnTo>
                      <a:pt x="200" y="582"/>
                    </a:lnTo>
                    <a:lnTo>
                      <a:pt x="202" y="582"/>
                    </a:lnTo>
                    <a:lnTo>
                      <a:pt x="202" y="582"/>
                    </a:lnTo>
                    <a:lnTo>
                      <a:pt x="202" y="582"/>
                    </a:lnTo>
                    <a:lnTo>
                      <a:pt x="204" y="584"/>
                    </a:lnTo>
                    <a:lnTo>
                      <a:pt x="206" y="586"/>
                    </a:lnTo>
                    <a:lnTo>
                      <a:pt x="206" y="586"/>
                    </a:lnTo>
                    <a:lnTo>
                      <a:pt x="208" y="586"/>
                    </a:lnTo>
                    <a:lnTo>
                      <a:pt x="212" y="588"/>
                    </a:lnTo>
                    <a:lnTo>
                      <a:pt x="218" y="588"/>
                    </a:lnTo>
                    <a:lnTo>
                      <a:pt x="226" y="590"/>
                    </a:lnTo>
                    <a:lnTo>
                      <a:pt x="228" y="592"/>
                    </a:lnTo>
                    <a:lnTo>
                      <a:pt x="232" y="592"/>
                    </a:lnTo>
                    <a:lnTo>
                      <a:pt x="232" y="592"/>
                    </a:lnTo>
                    <a:lnTo>
                      <a:pt x="238" y="596"/>
                    </a:lnTo>
                    <a:lnTo>
                      <a:pt x="242" y="598"/>
                    </a:lnTo>
                    <a:lnTo>
                      <a:pt x="244" y="600"/>
                    </a:lnTo>
                    <a:lnTo>
                      <a:pt x="244" y="600"/>
                    </a:lnTo>
                    <a:lnTo>
                      <a:pt x="252" y="602"/>
                    </a:lnTo>
                    <a:lnTo>
                      <a:pt x="254" y="602"/>
                    </a:lnTo>
                    <a:lnTo>
                      <a:pt x="258" y="604"/>
                    </a:lnTo>
                    <a:lnTo>
                      <a:pt x="258" y="604"/>
                    </a:lnTo>
                    <a:lnTo>
                      <a:pt x="264" y="604"/>
                    </a:lnTo>
                    <a:lnTo>
                      <a:pt x="268" y="604"/>
                    </a:lnTo>
                    <a:lnTo>
                      <a:pt x="270" y="604"/>
                    </a:lnTo>
                    <a:lnTo>
                      <a:pt x="272" y="602"/>
                    </a:lnTo>
                    <a:lnTo>
                      <a:pt x="272" y="602"/>
                    </a:lnTo>
                    <a:lnTo>
                      <a:pt x="272" y="602"/>
                    </a:lnTo>
                    <a:lnTo>
                      <a:pt x="274" y="602"/>
                    </a:lnTo>
                    <a:lnTo>
                      <a:pt x="276" y="602"/>
                    </a:lnTo>
                    <a:lnTo>
                      <a:pt x="276" y="602"/>
                    </a:lnTo>
                    <a:lnTo>
                      <a:pt x="278" y="604"/>
                    </a:lnTo>
                    <a:lnTo>
                      <a:pt x="282" y="606"/>
                    </a:lnTo>
                    <a:lnTo>
                      <a:pt x="282" y="606"/>
                    </a:lnTo>
                    <a:lnTo>
                      <a:pt x="284" y="606"/>
                    </a:lnTo>
                    <a:lnTo>
                      <a:pt x="284" y="606"/>
                    </a:lnTo>
                    <a:lnTo>
                      <a:pt x="284" y="604"/>
                    </a:lnTo>
                    <a:lnTo>
                      <a:pt x="286" y="602"/>
                    </a:lnTo>
                    <a:lnTo>
                      <a:pt x="286" y="602"/>
                    </a:lnTo>
                    <a:lnTo>
                      <a:pt x="286" y="602"/>
                    </a:lnTo>
                    <a:lnTo>
                      <a:pt x="288" y="600"/>
                    </a:lnTo>
                    <a:lnTo>
                      <a:pt x="288" y="600"/>
                    </a:lnTo>
                    <a:lnTo>
                      <a:pt x="290" y="600"/>
                    </a:lnTo>
                    <a:lnTo>
                      <a:pt x="290" y="600"/>
                    </a:lnTo>
                    <a:lnTo>
                      <a:pt x="294" y="600"/>
                    </a:lnTo>
                    <a:lnTo>
                      <a:pt x="296" y="598"/>
                    </a:lnTo>
                    <a:lnTo>
                      <a:pt x="302" y="598"/>
                    </a:lnTo>
                    <a:lnTo>
                      <a:pt x="302" y="598"/>
                    </a:lnTo>
                    <a:lnTo>
                      <a:pt x="308" y="598"/>
                    </a:lnTo>
                    <a:lnTo>
                      <a:pt x="312" y="598"/>
                    </a:lnTo>
                    <a:lnTo>
                      <a:pt x="316" y="598"/>
                    </a:lnTo>
                    <a:lnTo>
                      <a:pt x="316" y="598"/>
                    </a:lnTo>
                    <a:lnTo>
                      <a:pt x="316" y="598"/>
                    </a:lnTo>
                    <a:lnTo>
                      <a:pt x="318" y="600"/>
                    </a:lnTo>
                    <a:lnTo>
                      <a:pt x="322" y="600"/>
                    </a:lnTo>
                    <a:lnTo>
                      <a:pt x="324" y="602"/>
                    </a:lnTo>
                    <a:lnTo>
                      <a:pt x="324" y="602"/>
                    </a:lnTo>
                    <a:lnTo>
                      <a:pt x="326" y="602"/>
                    </a:lnTo>
                    <a:lnTo>
                      <a:pt x="328" y="602"/>
                    </a:lnTo>
                    <a:lnTo>
                      <a:pt x="328" y="602"/>
                    </a:lnTo>
                    <a:lnTo>
                      <a:pt x="330" y="602"/>
                    </a:lnTo>
                    <a:lnTo>
                      <a:pt x="330" y="602"/>
                    </a:lnTo>
                    <a:lnTo>
                      <a:pt x="334" y="600"/>
                    </a:lnTo>
                    <a:lnTo>
                      <a:pt x="334" y="600"/>
                    </a:lnTo>
                    <a:lnTo>
                      <a:pt x="336" y="598"/>
                    </a:lnTo>
                    <a:lnTo>
                      <a:pt x="338" y="598"/>
                    </a:lnTo>
                    <a:lnTo>
                      <a:pt x="340" y="596"/>
                    </a:lnTo>
                    <a:lnTo>
                      <a:pt x="340" y="596"/>
                    </a:lnTo>
                    <a:lnTo>
                      <a:pt x="344" y="590"/>
                    </a:lnTo>
                    <a:lnTo>
                      <a:pt x="348" y="586"/>
                    </a:lnTo>
                    <a:lnTo>
                      <a:pt x="348" y="586"/>
                    </a:lnTo>
                    <a:lnTo>
                      <a:pt x="350" y="582"/>
                    </a:lnTo>
                    <a:lnTo>
                      <a:pt x="352" y="580"/>
                    </a:lnTo>
                    <a:lnTo>
                      <a:pt x="354" y="578"/>
                    </a:lnTo>
                    <a:lnTo>
                      <a:pt x="356" y="578"/>
                    </a:lnTo>
                    <a:lnTo>
                      <a:pt x="356" y="576"/>
                    </a:lnTo>
                    <a:lnTo>
                      <a:pt x="360" y="576"/>
                    </a:lnTo>
                    <a:lnTo>
                      <a:pt x="360" y="576"/>
                    </a:lnTo>
                    <a:lnTo>
                      <a:pt x="362" y="576"/>
                    </a:lnTo>
                    <a:lnTo>
                      <a:pt x="366" y="576"/>
                    </a:lnTo>
                    <a:lnTo>
                      <a:pt x="370" y="576"/>
                    </a:lnTo>
                    <a:lnTo>
                      <a:pt x="372" y="576"/>
                    </a:lnTo>
                    <a:lnTo>
                      <a:pt x="372" y="576"/>
                    </a:lnTo>
                    <a:lnTo>
                      <a:pt x="374" y="576"/>
                    </a:lnTo>
                    <a:lnTo>
                      <a:pt x="376" y="574"/>
                    </a:lnTo>
                    <a:lnTo>
                      <a:pt x="378" y="572"/>
                    </a:lnTo>
                    <a:lnTo>
                      <a:pt x="380" y="570"/>
                    </a:lnTo>
                    <a:lnTo>
                      <a:pt x="382" y="568"/>
                    </a:lnTo>
                    <a:lnTo>
                      <a:pt x="382" y="568"/>
                    </a:lnTo>
                    <a:lnTo>
                      <a:pt x="384" y="568"/>
                    </a:lnTo>
                    <a:lnTo>
                      <a:pt x="386" y="568"/>
                    </a:lnTo>
                    <a:lnTo>
                      <a:pt x="386" y="568"/>
                    </a:lnTo>
                    <a:lnTo>
                      <a:pt x="388" y="568"/>
                    </a:lnTo>
                    <a:lnTo>
                      <a:pt x="388" y="570"/>
                    </a:lnTo>
                    <a:lnTo>
                      <a:pt x="390" y="572"/>
                    </a:lnTo>
                    <a:lnTo>
                      <a:pt x="390" y="576"/>
                    </a:lnTo>
                    <a:lnTo>
                      <a:pt x="390" y="576"/>
                    </a:lnTo>
                    <a:lnTo>
                      <a:pt x="392" y="580"/>
                    </a:lnTo>
                    <a:lnTo>
                      <a:pt x="394" y="584"/>
                    </a:lnTo>
                    <a:lnTo>
                      <a:pt x="394" y="584"/>
                    </a:lnTo>
                    <a:lnTo>
                      <a:pt x="396" y="586"/>
                    </a:lnTo>
                    <a:lnTo>
                      <a:pt x="396" y="588"/>
                    </a:lnTo>
                    <a:lnTo>
                      <a:pt x="398" y="588"/>
                    </a:lnTo>
                    <a:lnTo>
                      <a:pt x="398" y="588"/>
                    </a:lnTo>
                    <a:lnTo>
                      <a:pt x="400" y="590"/>
                    </a:lnTo>
                    <a:lnTo>
                      <a:pt x="402" y="590"/>
                    </a:lnTo>
                    <a:lnTo>
                      <a:pt x="404" y="590"/>
                    </a:lnTo>
                    <a:lnTo>
                      <a:pt x="404" y="588"/>
                    </a:lnTo>
                    <a:lnTo>
                      <a:pt x="408" y="586"/>
                    </a:lnTo>
                    <a:lnTo>
                      <a:pt x="410" y="586"/>
                    </a:lnTo>
                    <a:lnTo>
                      <a:pt x="410" y="586"/>
                    </a:lnTo>
                    <a:lnTo>
                      <a:pt x="412" y="584"/>
                    </a:lnTo>
                    <a:lnTo>
                      <a:pt x="414" y="584"/>
                    </a:lnTo>
                    <a:lnTo>
                      <a:pt x="416" y="586"/>
                    </a:lnTo>
                    <a:lnTo>
                      <a:pt x="416" y="586"/>
                    </a:lnTo>
                    <a:lnTo>
                      <a:pt x="418" y="588"/>
                    </a:lnTo>
                    <a:lnTo>
                      <a:pt x="420" y="592"/>
                    </a:lnTo>
                    <a:lnTo>
                      <a:pt x="422" y="596"/>
                    </a:lnTo>
                    <a:lnTo>
                      <a:pt x="424" y="600"/>
                    </a:lnTo>
                    <a:lnTo>
                      <a:pt x="428" y="606"/>
                    </a:lnTo>
                    <a:lnTo>
                      <a:pt x="428" y="606"/>
                    </a:lnTo>
                    <a:lnTo>
                      <a:pt x="432" y="610"/>
                    </a:lnTo>
                    <a:lnTo>
                      <a:pt x="434" y="612"/>
                    </a:lnTo>
                    <a:lnTo>
                      <a:pt x="434" y="616"/>
                    </a:lnTo>
                    <a:lnTo>
                      <a:pt x="434" y="616"/>
                    </a:lnTo>
                    <a:lnTo>
                      <a:pt x="434" y="620"/>
                    </a:lnTo>
                    <a:lnTo>
                      <a:pt x="436" y="624"/>
                    </a:lnTo>
                    <a:lnTo>
                      <a:pt x="436" y="632"/>
                    </a:lnTo>
                    <a:lnTo>
                      <a:pt x="436" y="632"/>
                    </a:lnTo>
                    <a:lnTo>
                      <a:pt x="436" y="636"/>
                    </a:lnTo>
                    <a:lnTo>
                      <a:pt x="436" y="640"/>
                    </a:lnTo>
                    <a:lnTo>
                      <a:pt x="436" y="640"/>
                    </a:lnTo>
                    <a:lnTo>
                      <a:pt x="436" y="642"/>
                    </a:lnTo>
                    <a:lnTo>
                      <a:pt x="434" y="644"/>
                    </a:lnTo>
                    <a:lnTo>
                      <a:pt x="432" y="644"/>
                    </a:lnTo>
                    <a:lnTo>
                      <a:pt x="432" y="644"/>
                    </a:lnTo>
                    <a:lnTo>
                      <a:pt x="430" y="646"/>
                    </a:lnTo>
                    <a:lnTo>
                      <a:pt x="430" y="646"/>
                    </a:lnTo>
                    <a:lnTo>
                      <a:pt x="428" y="646"/>
                    </a:lnTo>
                    <a:lnTo>
                      <a:pt x="426" y="648"/>
                    </a:lnTo>
                    <a:lnTo>
                      <a:pt x="426" y="648"/>
                    </a:lnTo>
                    <a:lnTo>
                      <a:pt x="426" y="648"/>
                    </a:lnTo>
                    <a:lnTo>
                      <a:pt x="424" y="652"/>
                    </a:lnTo>
                    <a:lnTo>
                      <a:pt x="424" y="654"/>
                    </a:lnTo>
                    <a:lnTo>
                      <a:pt x="424" y="656"/>
                    </a:lnTo>
                    <a:lnTo>
                      <a:pt x="424" y="658"/>
                    </a:lnTo>
                    <a:lnTo>
                      <a:pt x="426" y="662"/>
                    </a:lnTo>
                    <a:lnTo>
                      <a:pt x="426" y="664"/>
                    </a:lnTo>
                    <a:lnTo>
                      <a:pt x="428" y="666"/>
                    </a:lnTo>
                    <a:lnTo>
                      <a:pt x="428" y="666"/>
                    </a:lnTo>
                    <a:lnTo>
                      <a:pt x="430" y="668"/>
                    </a:lnTo>
                    <a:lnTo>
                      <a:pt x="430" y="668"/>
                    </a:lnTo>
                    <a:lnTo>
                      <a:pt x="432" y="668"/>
                    </a:lnTo>
                    <a:lnTo>
                      <a:pt x="434" y="668"/>
                    </a:lnTo>
                    <a:lnTo>
                      <a:pt x="436" y="666"/>
                    </a:lnTo>
                    <a:lnTo>
                      <a:pt x="438" y="666"/>
                    </a:lnTo>
                    <a:lnTo>
                      <a:pt x="440" y="666"/>
                    </a:lnTo>
                    <a:lnTo>
                      <a:pt x="440" y="666"/>
                    </a:lnTo>
                    <a:lnTo>
                      <a:pt x="442" y="666"/>
                    </a:lnTo>
                    <a:lnTo>
                      <a:pt x="444" y="668"/>
                    </a:lnTo>
                    <a:lnTo>
                      <a:pt x="444" y="670"/>
                    </a:lnTo>
                    <a:lnTo>
                      <a:pt x="444" y="672"/>
                    </a:lnTo>
                    <a:lnTo>
                      <a:pt x="446" y="674"/>
                    </a:lnTo>
                    <a:lnTo>
                      <a:pt x="448" y="678"/>
                    </a:lnTo>
                    <a:lnTo>
                      <a:pt x="448" y="678"/>
                    </a:lnTo>
                    <a:lnTo>
                      <a:pt x="450" y="678"/>
                    </a:lnTo>
                    <a:lnTo>
                      <a:pt x="450" y="680"/>
                    </a:lnTo>
                    <a:lnTo>
                      <a:pt x="452" y="680"/>
                    </a:lnTo>
                    <a:lnTo>
                      <a:pt x="454" y="680"/>
                    </a:lnTo>
                    <a:lnTo>
                      <a:pt x="458" y="680"/>
                    </a:lnTo>
                    <a:lnTo>
                      <a:pt x="460" y="680"/>
                    </a:lnTo>
                    <a:lnTo>
                      <a:pt x="460" y="682"/>
                    </a:lnTo>
                    <a:lnTo>
                      <a:pt x="460" y="682"/>
                    </a:lnTo>
                    <a:lnTo>
                      <a:pt x="462" y="684"/>
                    </a:lnTo>
                    <a:lnTo>
                      <a:pt x="462" y="684"/>
                    </a:lnTo>
                    <a:lnTo>
                      <a:pt x="462" y="686"/>
                    </a:lnTo>
                    <a:lnTo>
                      <a:pt x="462" y="688"/>
                    </a:lnTo>
                    <a:lnTo>
                      <a:pt x="462" y="692"/>
                    </a:lnTo>
                    <a:lnTo>
                      <a:pt x="462" y="696"/>
                    </a:lnTo>
                    <a:lnTo>
                      <a:pt x="462" y="700"/>
                    </a:lnTo>
                    <a:lnTo>
                      <a:pt x="462" y="702"/>
                    </a:lnTo>
                    <a:lnTo>
                      <a:pt x="462" y="702"/>
                    </a:lnTo>
                    <a:lnTo>
                      <a:pt x="464" y="704"/>
                    </a:lnTo>
                    <a:lnTo>
                      <a:pt x="464" y="704"/>
                    </a:lnTo>
                    <a:lnTo>
                      <a:pt x="466" y="704"/>
                    </a:lnTo>
                    <a:lnTo>
                      <a:pt x="468" y="706"/>
                    </a:lnTo>
                    <a:lnTo>
                      <a:pt x="468" y="706"/>
                    </a:lnTo>
                    <a:lnTo>
                      <a:pt x="470" y="706"/>
                    </a:lnTo>
                    <a:lnTo>
                      <a:pt x="472" y="706"/>
                    </a:lnTo>
                    <a:lnTo>
                      <a:pt x="472" y="706"/>
                    </a:lnTo>
                    <a:lnTo>
                      <a:pt x="474" y="706"/>
                    </a:lnTo>
                    <a:lnTo>
                      <a:pt x="474" y="706"/>
                    </a:lnTo>
                    <a:lnTo>
                      <a:pt x="478" y="708"/>
                    </a:lnTo>
                    <a:lnTo>
                      <a:pt x="480" y="708"/>
                    </a:lnTo>
                    <a:lnTo>
                      <a:pt x="482" y="708"/>
                    </a:lnTo>
                    <a:lnTo>
                      <a:pt x="482" y="708"/>
                    </a:lnTo>
                    <a:lnTo>
                      <a:pt x="486" y="710"/>
                    </a:lnTo>
                    <a:lnTo>
                      <a:pt x="490" y="710"/>
                    </a:lnTo>
                    <a:lnTo>
                      <a:pt x="492" y="710"/>
                    </a:lnTo>
                    <a:lnTo>
                      <a:pt x="494" y="710"/>
                    </a:lnTo>
                    <a:lnTo>
                      <a:pt x="496" y="710"/>
                    </a:lnTo>
                    <a:lnTo>
                      <a:pt x="496" y="708"/>
                    </a:lnTo>
                    <a:lnTo>
                      <a:pt x="496" y="708"/>
                    </a:lnTo>
                    <a:lnTo>
                      <a:pt x="496" y="708"/>
                    </a:lnTo>
                    <a:lnTo>
                      <a:pt x="496" y="706"/>
                    </a:lnTo>
                    <a:lnTo>
                      <a:pt x="496" y="706"/>
                    </a:lnTo>
                    <a:lnTo>
                      <a:pt x="496" y="704"/>
                    </a:lnTo>
                    <a:lnTo>
                      <a:pt x="496" y="702"/>
                    </a:lnTo>
                    <a:lnTo>
                      <a:pt x="496" y="702"/>
                    </a:lnTo>
                    <a:lnTo>
                      <a:pt x="496" y="702"/>
                    </a:lnTo>
                    <a:lnTo>
                      <a:pt x="496" y="700"/>
                    </a:lnTo>
                    <a:lnTo>
                      <a:pt x="498" y="698"/>
                    </a:lnTo>
                    <a:lnTo>
                      <a:pt x="498" y="696"/>
                    </a:lnTo>
                    <a:lnTo>
                      <a:pt x="498" y="696"/>
                    </a:lnTo>
                    <a:lnTo>
                      <a:pt x="500" y="696"/>
                    </a:lnTo>
                    <a:lnTo>
                      <a:pt x="502" y="694"/>
                    </a:lnTo>
                    <a:lnTo>
                      <a:pt x="506" y="694"/>
                    </a:lnTo>
                    <a:lnTo>
                      <a:pt x="506" y="694"/>
                    </a:lnTo>
                    <a:lnTo>
                      <a:pt x="512" y="690"/>
                    </a:lnTo>
                    <a:lnTo>
                      <a:pt x="512" y="690"/>
                    </a:lnTo>
                    <a:lnTo>
                      <a:pt x="514" y="688"/>
                    </a:lnTo>
                    <a:lnTo>
                      <a:pt x="516" y="688"/>
                    </a:lnTo>
                    <a:lnTo>
                      <a:pt x="518" y="688"/>
                    </a:lnTo>
                    <a:lnTo>
                      <a:pt x="518" y="688"/>
                    </a:lnTo>
                    <a:lnTo>
                      <a:pt x="518" y="688"/>
                    </a:lnTo>
                    <a:lnTo>
                      <a:pt x="520" y="690"/>
                    </a:lnTo>
                    <a:lnTo>
                      <a:pt x="522" y="690"/>
                    </a:lnTo>
                    <a:lnTo>
                      <a:pt x="524" y="690"/>
                    </a:lnTo>
                    <a:lnTo>
                      <a:pt x="524" y="690"/>
                    </a:lnTo>
                    <a:lnTo>
                      <a:pt x="530" y="690"/>
                    </a:lnTo>
                    <a:lnTo>
                      <a:pt x="534" y="690"/>
                    </a:lnTo>
                    <a:lnTo>
                      <a:pt x="538" y="690"/>
                    </a:lnTo>
                    <a:lnTo>
                      <a:pt x="538" y="690"/>
                    </a:lnTo>
                    <a:lnTo>
                      <a:pt x="540" y="690"/>
                    </a:lnTo>
                    <a:lnTo>
                      <a:pt x="540" y="690"/>
                    </a:lnTo>
                    <a:lnTo>
                      <a:pt x="540" y="688"/>
                    </a:lnTo>
                    <a:lnTo>
                      <a:pt x="540" y="688"/>
                    </a:lnTo>
                    <a:lnTo>
                      <a:pt x="538" y="686"/>
                    </a:lnTo>
                    <a:lnTo>
                      <a:pt x="538" y="686"/>
                    </a:lnTo>
                    <a:lnTo>
                      <a:pt x="538" y="682"/>
                    </a:lnTo>
                    <a:lnTo>
                      <a:pt x="538" y="678"/>
                    </a:lnTo>
                    <a:lnTo>
                      <a:pt x="538" y="678"/>
                    </a:lnTo>
                    <a:lnTo>
                      <a:pt x="538" y="678"/>
                    </a:lnTo>
                    <a:lnTo>
                      <a:pt x="540" y="676"/>
                    </a:lnTo>
                    <a:lnTo>
                      <a:pt x="540" y="674"/>
                    </a:lnTo>
                    <a:lnTo>
                      <a:pt x="542" y="674"/>
                    </a:lnTo>
                    <a:lnTo>
                      <a:pt x="542" y="674"/>
                    </a:lnTo>
                    <a:lnTo>
                      <a:pt x="542" y="674"/>
                    </a:lnTo>
                    <a:lnTo>
                      <a:pt x="544" y="674"/>
                    </a:lnTo>
                    <a:lnTo>
                      <a:pt x="544" y="674"/>
                    </a:lnTo>
                    <a:lnTo>
                      <a:pt x="548" y="674"/>
                    </a:lnTo>
                    <a:lnTo>
                      <a:pt x="548" y="674"/>
                    </a:lnTo>
                    <a:lnTo>
                      <a:pt x="552" y="674"/>
                    </a:lnTo>
                    <a:lnTo>
                      <a:pt x="556" y="676"/>
                    </a:lnTo>
                    <a:lnTo>
                      <a:pt x="558" y="676"/>
                    </a:lnTo>
                    <a:lnTo>
                      <a:pt x="558" y="676"/>
                    </a:lnTo>
                    <a:lnTo>
                      <a:pt x="560" y="678"/>
                    </a:lnTo>
                    <a:lnTo>
                      <a:pt x="562" y="678"/>
                    </a:lnTo>
                    <a:lnTo>
                      <a:pt x="562" y="678"/>
                    </a:lnTo>
                    <a:lnTo>
                      <a:pt x="564" y="680"/>
                    </a:lnTo>
                    <a:lnTo>
                      <a:pt x="566" y="682"/>
                    </a:lnTo>
                    <a:lnTo>
                      <a:pt x="566" y="684"/>
                    </a:lnTo>
                    <a:lnTo>
                      <a:pt x="566" y="684"/>
                    </a:lnTo>
                    <a:lnTo>
                      <a:pt x="566" y="686"/>
                    </a:lnTo>
                    <a:lnTo>
                      <a:pt x="566" y="688"/>
                    </a:lnTo>
                    <a:lnTo>
                      <a:pt x="566" y="688"/>
                    </a:lnTo>
                    <a:lnTo>
                      <a:pt x="568" y="690"/>
                    </a:lnTo>
                    <a:lnTo>
                      <a:pt x="568" y="690"/>
                    </a:lnTo>
                    <a:lnTo>
                      <a:pt x="570" y="690"/>
                    </a:lnTo>
                    <a:lnTo>
                      <a:pt x="572" y="692"/>
                    </a:lnTo>
                    <a:lnTo>
                      <a:pt x="574" y="692"/>
                    </a:lnTo>
                    <a:lnTo>
                      <a:pt x="576" y="692"/>
                    </a:lnTo>
                    <a:lnTo>
                      <a:pt x="576" y="694"/>
                    </a:lnTo>
                    <a:lnTo>
                      <a:pt x="576" y="694"/>
                    </a:lnTo>
                    <a:lnTo>
                      <a:pt x="576" y="696"/>
                    </a:lnTo>
                    <a:lnTo>
                      <a:pt x="578" y="700"/>
                    </a:lnTo>
                    <a:lnTo>
                      <a:pt x="578" y="702"/>
                    </a:lnTo>
                    <a:lnTo>
                      <a:pt x="578" y="702"/>
                    </a:lnTo>
                    <a:lnTo>
                      <a:pt x="578" y="702"/>
                    </a:lnTo>
                    <a:lnTo>
                      <a:pt x="580" y="702"/>
                    </a:lnTo>
                    <a:lnTo>
                      <a:pt x="580" y="704"/>
                    </a:lnTo>
                    <a:lnTo>
                      <a:pt x="582" y="704"/>
                    </a:lnTo>
                    <a:lnTo>
                      <a:pt x="584" y="704"/>
                    </a:lnTo>
                    <a:lnTo>
                      <a:pt x="586" y="704"/>
                    </a:lnTo>
                    <a:lnTo>
                      <a:pt x="586" y="704"/>
                    </a:lnTo>
                    <a:lnTo>
                      <a:pt x="590" y="706"/>
                    </a:lnTo>
                    <a:lnTo>
                      <a:pt x="592" y="708"/>
                    </a:lnTo>
                    <a:lnTo>
                      <a:pt x="592" y="708"/>
                    </a:lnTo>
                    <a:lnTo>
                      <a:pt x="592" y="708"/>
                    </a:lnTo>
                    <a:lnTo>
                      <a:pt x="594" y="706"/>
                    </a:lnTo>
                    <a:lnTo>
                      <a:pt x="596" y="704"/>
                    </a:lnTo>
                    <a:lnTo>
                      <a:pt x="596" y="704"/>
                    </a:lnTo>
                    <a:lnTo>
                      <a:pt x="598" y="702"/>
                    </a:lnTo>
                    <a:lnTo>
                      <a:pt x="602" y="702"/>
                    </a:lnTo>
                    <a:lnTo>
                      <a:pt x="602" y="702"/>
                    </a:lnTo>
                    <a:lnTo>
                      <a:pt x="602" y="702"/>
                    </a:lnTo>
                    <a:lnTo>
                      <a:pt x="604" y="702"/>
                    </a:lnTo>
                    <a:lnTo>
                      <a:pt x="604" y="702"/>
                    </a:lnTo>
                    <a:lnTo>
                      <a:pt x="604" y="702"/>
                    </a:lnTo>
                    <a:lnTo>
                      <a:pt x="604" y="702"/>
                    </a:lnTo>
                    <a:lnTo>
                      <a:pt x="606" y="702"/>
                    </a:lnTo>
                    <a:lnTo>
                      <a:pt x="606" y="702"/>
                    </a:lnTo>
                    <a:lnTo>
                      <a:pt x="608" y="702"/>
                    </a:lnTo>
                    <a:lnTo>
                      <a:pt x="608" y="702"/>
                    </a:lnTo>
                    <a:lnTo>
                      <a:pt x="610" y="702"/>
                    </a:lnTo>
                    <a:lnTo>
                      <a:pt x="610" y="702"/>
                    </a:lnTo>
                    <a:lnTo>
                      <a:pt x="610" y="702"/>
                    </a:lnTo>
                    <a:lnTo>
                      <a:pt x="614" y="702"/>
                    </a:lnTo>
                    <a:lnTo>
                      <a:pt x="614" y="702"/>
                    </a:lnTo>
                    <a:lnTo>
                      <a:pt x="614" y="702"/>
                    </a:lnTo>
                    <a:lnTo>
                      <a:pt x="616" y="702"/>
                    </a:lnTo>
                    <a:lnTo>
                      <a:pt x="618" y="702"/>
                    </a:lnTo>
                    <a:lnTo>
                      <a:pt x="618" y="702"/>
                    </a:lnTo>
                    <a:lnTo>
                      <a:pt x="620" y="700"/>
                    </a:lnTo>
                    <a:lnTo>
                      <a:pt x="622" y="702"/>
                    </a:lnTo>
                    <a:lnTo>
                      <a:pt x="622" y="702"/>
                    </a:lnTo>
                    <a:lnTo>
                      <a:pt x="624" y="702"/>
                    </a:lnTo>
                    <a:lnTo>
                      <a:pt x="624" y="702"/>
                    </a:lnTo>
                    <a:lnTo>
                      <a:pt x="626" y="704"/>
                    </a:lnTo>
                    <a:lnTo>
                      <a:pt x="628" y="706"/>
                    </a:lnTo>
                    <a:lnTo>
                      <a:pt x="628" y="706"/>
                    </a:lnTo>
                    <a:lnTo>
                      <a:pt x="628" y="708"/>
                    </a:lnTo>
                    <a:lnTo>
                      <a:pt x="628" y="710"/>
                    </a:lnTo>
                    <a:lnTo>
                      <a:pt x="628" y="712"/>
                    </a:lnTo>
                    <a:lnTo>
                      <a:pt x="628" y="712"/>
                    </a:lnTo>
                    <a:lnTo>
                      <a:pt x="628" y="716"/>
                    </a:lnTo>
                    <a:lnTo>
                      <a:pt x="628" y="718"/>
                    </a:lnTo>
                    <a:lnTo>
                      <a:pt x="628" y="718"/>
                    </a:lnTo>
                    <a:lnTo>
                      <a:pt x="628" y="718"/>
                    </a:lnTo>
                    <a:lnTo>
                      <a:pt x="628" y="720"/>
                    </a:lnTo>
                    <a:lnTo>
                      <a:pt x="630" y="720"/>
                    </a:lnTo>
                    <a:lnTo>
                      <a:pt x="632" y="722"/>
                    </a:lnTo>
                    <a:lnTo>
                      <a:pt x="632" y="722"/>
                    </a:lnTo>
                    <a:lnTo>
                      <a:pt x="632" y="722"/>
                    </a:lnTo>
                    <a:lnTo>
                      <a:pt x="634" y="724"/>
                    </a:lnTo>
                    <a:lnTo>
                      <a:pt x="634" y="724"/>
                    </a:lnTo>
                    <a:lnTo>
                      <a:pt x="634" y="724"/>
                    </a:lnTo>
                    <a:lnTo>
                      <a:pt x="634" y="724"/>
                    </a:lnTo>
                    <a:lnTo>
                      <a:pt x="636" y="726"/>
                    </a:lnTo>
                    <a:lnTo>
                      <a:pt x="638" y="726"/>
                    </a:lnTo>
                    <a:lnTo>
                      <a:pt x="640" y="724"/>
                    </a:lnTo>
                    <a:lnTo>
                      <a:pt x="640" y="724"/>
                    </a:lnTo>
                    <a:lnTo>
                      <a:pt x="640" y="724"/>
                    </a:lnTo>
                    <a:lnTo>
                      <a:pt x="642" y="724"/>
                    </a:lnTo>
                    <a:lnTo>
                      <a:pt x="642" y="724"/>
                    </a:lnTo>
                    <a:lnTo>
                      <a:pt x="642" y="722"/>
                    </a:lnTo>
                    <a:lnTo>
                      <a:pt x="642" y="722"/>
                    </a:lnTo>
                    <a:lnTo>
                      <a:pt x="642" y="720"/>
                    </a:lnTo>
                    <a:lnTo>
                      <a:pt x="640" y="720"/>
                    </a:lnTo>
                    <a:lnTo>
                      <a:pt x="638" y="718"/>
                    </a:lnTo>
                    <a:lnTo>
                      <a:pt x="638" y="718"/>
                    </a:lnTo>
                    <a:lnTo>
                      <a:pt x="638" y="718"/>
                    </a:lnTo>
                    <a:lnTo>
                      <a:pt x="636" y="716"/>
                    </a:lnTo>
                    <a:lnTo>
                      <a:pt x="636" y="716"/>
                    </a:lnTo>
                    <a:lnTo>
                      <a:pt x="638" y="714"/>
                    </a:lnTo>
                    <a:lnTo>
                      <a:pt x="638" y="712"/>
                    </a:lnTo>
                    <a:lnTo>
                      <a:pt x="638" y="710"/>
                    </a:lnTo>
                    <a:lnTo>
                      <a:pt x="638" y="710"/>
                    </a:lnTo>
                    <a:lnTo>
                      <a:pt x="640" y="708"/>
                    </a:lnTo>
                    <a:lnTo>
                      <a:pt x="642" y="706"/>
                    </a:lnTo>
                    <a:lnTo>
                      <a:pt x="644" y="704"/>
                    </a:lnTo>
                    <a:lnTo>
                      <a:pt x="646" y="704"/>
                    </a:lnTo>
                    <a:lnTo>
                      <a:pt x="646" y="704"/>
                    </a:lnTo>
                    <a:lnTo>
                      <a:pt x="652" y="702"/>
                    </a:lnTo>
                    <a:lnTo>
                      <a:pt x="654" y="702"/>
                    </a:lnTo>
                    <a:lnTo>
                      <a:pt x="658" y="700"/>
                    </a:lnTo>
                    <a:lnTo>
                      <a:pt x="658" y="700"/>
                    </a:lnTo>
                    <a:lnTo>
                      <a:pt x="662" y="698"/>
                    </a:lnTo>
                    <a:lnTo>
                      <a:pt x="666" y="694"/>
                    </a:lnTo>
                    <a:lnTo>
                      <a:pt x="666" y="694"/>
                    </a:lnTo>
                    <a:lnTo>
                      <a:pt x="670" y="694"/>
                    </a:lnTo>
                    <a:lnTo>
                      <a:pt x="670" y="694"/>
                    </a:lnTo>
                    <a:lnTo>
                      <a:pt x="672" y="692"/>
                    </a:lnTo>
                    <a:lnTo>
                      <a:pt x="674" y="690"/>
                    </a:lnTo>
                    <a:lnTo>
                      <a:pt x="674" y="690"/>
                    </a:lnTo>
                    <a:lnTo>
                      <a:pt x="676" y="690"/>
                    </a:lnTo>
                    <a:lnTo>
                      <a:pt x="676" y="688"/>
                    </a:lnTo>
                    <a:lnTo>
                      <a:pt x="676" y="684"/>
                    </a:lnTo>
                    <a:lnTo>
                      <a:pt x="678" y="680"/>
                    </a:lnTo>
                    <a:lnTo>
                      <a:pt x="678" y="678"/>
                    </a:lnTo>
                    <a:lnTo>
                      <a:pt x="678" y="678"/>
                    </a:lnTo>
                    <a:lnTo>
                      <a:pt x="678" y="678"/>
                    </a:lnTo>
                    <a:lnTo>
                      <a:pt x="678" y="678"/>
                    </a:lnTo>
                    <a:lnTo>
                      <a:pt x="680" y="680"/>
                    </a:lnTo>
                    <a:lnTo>
                      <a:pt x="682" y="682"/>
                    </a:lnTo>
                    <a:lnTo>
                      <a:pt x="684" y="682"/>
                    </a:lnTo>
                    <a:lnTo>
                      <a:pt x="684" y="682"/>
                    </a:lnTo>
                    <a:lnTo>
                      <a:pt x="686" y="682"/>
                    </a:lnTo>
                    <a:lnTo>
                      <a:pt x="688" y="682"/>
                    </a:lnTo>
                    <a:lnTo>
                      <a:pt x="688" y="682"/>
                    </a:lnTo>
                    <a:lnTo>
                      <a:pt x="690" y="680"/>
                    </a:lnTo>
                    <a:lnTo>
                      <a:pt x="692" y="678"/>
                    </a:lnTo>
                    <a:lnTo>
                      <a:pt x="692" y="678"/>
                    </a:lnTo>
                    <a:lnTo>
                      <a:pt x="692" y="676"/>
                    </a:lnTo>
                    <a:lnTo>
                      <a:pt x="694" y="676"/>
                    </a:lnTo>
                    <a:lnTo>
                      <a:pt x="694" y="674"/>
                    </a:lnTo>
                    <a:lnTo>
                      <a:pt x="694" y="674"/>
                    </a:lnTo>
                    <a:lnTo>
                      <a:pt x="696" y="674"/>
                    </a:lnTo>
                    <a:lnTo>
                      <a:pt x="696" y="674"/>
                    </a:lnTo>
                    <a:lnTo>
                      <a:pt x="698" y="676"/>
                    </a:lnTo>
                    <a:lnTo>
                      <a:pt x="698" y="676"/>
                    </a:lnTo>
                    <a:lnTo>
                      <a:pt x="700" y="676"/>
                    </a:lnTo>
                    <a:lnTo>
                      <a:pt x="700" y="676"/>
                    </a:lnTo>
                    <a:lnTo>
                      <a:pt x="700" y="676"/>
                    </a:lnTo>
                    <a:lnTo>
                      <a:pt x="700" y="674"/>
                    </a:lnTo>
                    <a:lnTo>
                      <a:pt x="702" y="674"/>
                    </a:lnTo>
                    <a:lnTo>
                      <a:pt x="704" y="672"/>
                    </a:lnTo>
                    <a:lnTo>
                      <a:pt x="704" y="672"/>
                    </a:lnTo>
                    <a:lnTo>
                      <a:pt x="706" y="670"/>
                    </a:lnTo>
                    <a:lnTo>
                      <a:pt x="706" y="670"/>
                    </a:lnTo>
                    <a:lnTo>
                      <a:pt x="710" y="670"/>
                    </a:lnTo>
                    <a:lnTo>
                      <a:pt x="714" y="670"/>
                    </a:lnTo>
                    <a:lnTo>
                      <a:pt x="714" y="670"/>
                    </a:lnTo>
                    <a:lnTo>
                      <a:pt x="718" y="670"/>
                    </a:lnTo>
                    <a:lnTo>
                      <a:pt x="718" y="670"/>
                    </a:lnTo>
                    <a:lnTo>
                      <a:pt x="720" y="668"/>
                    </a:lnTo>
                    <a:lnTo>
                      <a:pt x="722" y="668"/>
                    </a:lnTo>
                    <a:lnTo>
                      <a:pt x="724" y="666"/>
                    </a:lnTo>
                    <a:lnTo>
                      <a:pt x="726" y="662"/>
                    </a:lnTo>
                    <a:lnTo>
                      <a:pt x="728" y="660"/>
                    </a:lnTo>
                    <a:lnTo>
                      <a:pt x="728" y="660"/>
                    </a:lnTo>
                    <a:lnTo>
                      <a:pt x="728" y="658"/>
                    </a:lnTo>
                    <a:lnTo>
                      <a:pt x="728" y="658"/>
                    </a:lnTo>
                    <a:lnTo>
                      <a:pt x="730" y="656"/>
                    </a:lnTo>
                    <a:lnTo>
                      <a:pt x="730" y="656"/>
                    </a:lnTo>
                    <a:lnTo>
                      <a:pt x="732" y="654"/>
                    </a:lnTo>
                    <a:lnTo>
                      <a:pt x="734" y="654"/>
                    </a:lnTo>
                    <a:lnTo>
                      <a:pt x="734" y="654"/>
                    </a:lnTo>
                    <a:lnTo>
                      <a:pt x="734" y="652"/>
                    </a:lnTo>
                    <a:lnTo>
                      <a:pt x="736" y="650"/>
                    </a:lnTo>
                    <a:lnTo>
                      <a:pt x="742" y="648"/>
                    </a:lnTo>
                    <a:lnTo>
                      <a:pt x="742" y="648"/>
                    </a:lnTo>
                    <a:lnTo>
                      <a:pt x="744" y="648"/>
                    </a:lnTo>
                    <a:lnTo>
                      <a:pt x="744" y="646"/>
                    </a:lnTo>
                    <a:lnTo>
                      <a:pt x="746" y="644"/>
                    </a:lnTo>
                    <a:lnTo>
                      <a:pt x="746" y="644"/>
                    </a:lnTo>
                    <a:lnTo>
                      <a:pt x="744" y="644"/>
                    </a:lnTo>
                    <a:lnTo>
                      <a:pt x="744" y="642"/>
                    </a:lnTo>
                    <a:lnTo>
                      <a:pt x="742" y="640"/>
                    </a:lnTo>
                    <a:lnTo>
                      <a:pt x="742" y="640"/>
                    </a:lnTo>
                    <a:lnTo>
                      <a:pt x="740" y="638"/>
                    </a:lnTo>
                    <a:lnTo>
                      <a:pt x="740" y="636"/>
                    </a:lnTo>
                    <a:lnTo>
                      <a:pt x="740" y="636"/>
                    </a:lnTo>
                    <a:lnTo>
                      <a:pt x="742" y="636"/>
                    </a:lnTo>
                    <a:lnTo>
                      <a:pt x="742" y="636"/>
                    </a:lnTo>
                    <a:lnTo>
                      <a:pt x="742" y="634"/>
                    </a:lnTo>
                    <a:lnTo>
                      <a:pt x="742" y="634"/>
                    </a:lnTo>
                    <a:lnTo>
                      <a:pt x="744" y="636"/>
                    </a:lnTo>
                    <a:lnTo>
                      <a:pt x="744" y="636"/>
                    </a:lnTo>
                    <a:lnTo>
                      <a:pt x="746" y="636"/>
                    </a:lnTo>
                    <a:lnTo>
                      <a:pt x="746" y="636"/>
                    </a:lnTo>
                    <a:lnTo>
                      <a:pt x="746" y="636"/>
                    </a:lnTo>
                    <a:lnTo>
                      <a:pt x="748" y="634"/>
                    </a:lnTo>
                    <a:lnTo>
                      <a:pt x="748" y="632"/>
                    </a:lnTo>
                    <a:lnTo>
                      <a:pt x="748" y="632"/>
                    </a:lnTo>
                    <a:lnTo>
                      <a:pt x="748" y="630"/>
                    </a:lnTo>
                    <a:lnTo>
                      <a:pt x="750" y="630"/>
                    </a:lnTo>
                    <a:lnTo>
                      <a:pt x="752" y="630"/>
                    </a:lnTo>
                    <a:lnTo>
                      <a:pt x="752" y="630"/>
                    </a:lnTo>
                    <a:lnTo>
                      <a:pt x="754" y="628"/>
                    </a:lnTo>
                    <a:lnTo>
                      <a:pt x="754" y="628"/>
                    </a:lnTo>
                    <a:lnTo>
                      <a:pt x="754" y="626"/>
                    </a:lnTo>
                    <a:lnTo>
                      <a:pt x="756" y="626"/>
                    </a:lnTo>
                    <a:lnTo>
                      <a:pt x="756" y="626"/>
                    </a:lnTo>
                    <a:lnTo>
                      <a:pt x="756" y="622"/>
                    </a:lnTo>
                    <a:lnTo>
                      <a:pt x="756" y="622"/>
                    </a:lnTo>
                    <a:lnTo>
                      <a:pt x="756" y="620"/>
                    </a:lnTo>
                    <a:lnTo>
                      <a:pt x="756" y="620"/>
                    </a:lnTo>
                    <a:lnTo>
                      <a:pt x="758" y="618"/>
                    </a:lnTo>
                    <a:lnTo>
                      <a:pt x="758" y="616"/>
                    </a:lnTo>
                    <a:lnTo>
                      <a:pt x="758" y="616"/>
                    </a:lnTo>
                    <a:lnTo>
                      <a:pt x="758" y="616"/>
                    </a:lnTo>
                    <a:lnTo>
                      <a:pt x="758" y="612"/>
                    </a:lnTo>
                    <a:lnTo>
                      <a:pt x="758" y="610"/>
                    </a:lnTo>
                    <a:lnTo>
                      <a:pt x="758" y="610"/>
                    </a:lnTo>
                    <a:lnTo>
                      <a:pt x="758" y="610"/>
                    </a:lnTo>
                    <a:lnTo>
                      <a:pt x="760" y="608"/>
                    </a:lnTo>
                    <a:lnTo>
                      <a:pt x="762" y="608"/>
                    </a:lnTo>
                    <a:lnTo>
                      <a:pt x="762" y="606"/>
                    </a:lnTo>
                    <a:lnTo>
                      <a:pt x="762" y="604"/>
                    </a:lnTo>
                    <a:lnTo>
                      <a:pt x="762" y="604"/>
                    </a:lnTo>
                    <a:lnTo>
                      <a:pt x="762" y="602"/>
                    </a:lnTo>
                    <a:lnTo>
                      <a:pt x="762" y="600"/>
                    </a:lnTo>
                    <a:lnTo>
                      <a:pt x="760" y="598"/>
                    </a:lnTo>
                    <a:lnTo>
                      <a:pt x="760" y="596"/>
                    </a:lnTo>
                    <a:lnTo>
                      <a:pt x="760" y="596"/>
                    </a:lnTo>
                    <a:lnTo>
                      <a:pt x="762" y="594"/>
                    </a:lnTo>
                    <a:lnTo>
                      <a:pt x="762" y="592"/>
                    </a:lnTo>
                    <a:lnTo>
                      <a:pt x="764" y="590"/>
                    </a:lnTo>
                    <a:lnTo>
                      <a:pt x="766" y="588"/>
                    </a:lnTo>
                    <a:lnTo>
                      <a:pt x="766" y="588"/>
                    </a:lnTo>
                    <a:lnTo>
                      <a:pt x="766" y="586"/>
                    </a:lnTo>
                    <a:lnTo>
                      <a:pt x="766" y="586"/>
                    </a:lnTo>
                    <a:lnTo>
                      <a:pt x="766" y="586"/>
                    </a:lnTo>
                    <a:lnTo>
                      <a:pt x="766" y="584"/>
                    </a:lnTo>
                    <a:lnTo>
                      <a:pt x="766" y="582"/>
                    </a:lnTo>
                    <a:lnTo>
                      <a:pt x="766" y="580"/>
                    </a:lnTo>
                    <a:lnTo>
                      <a:pt x="764" y="578"/>
                    </a:lnTo>
                    <a:lnTo>
                      <a:pt x="764" y="578"/>
                    </a:lnTo>
                    <a:lnTo>
                      <a:pt x="764" y="578"/>
                    </a:lnTo>
                    <a:lnTo>
                      <a:pt x="766" y="576"/>
                    </a:lnTo>
                    <a:lnTo>
                      <a:pt x="766" y="574"/>
                    </a:lnTo>
                    <a:lnTo>
                      <a:pt x="766" y="574"/>
                    </a:lnTo>
                    <a:lnTo>
                      <a:pt x="768" y="572"/>
                    </a:lnTo>
                    <a:lnTo>
                      <a:pt x="768" y="572"/>
                    </a:lnTo>
                    <a:lnTo>
                      <a:pt x="766" y="570"/>
                    </a:lnTo>
                    <a:lnTo>
                      <a:pt x="768" y="568"/>
                    </a:lnTo>
                    <a:lnTo>
                      <a:pt x="768" y="566"/>
                    </a:lnTo>
                    <a:lnTo>
                      <a:pt x="768" y="566"/>
                    </a:lnTo>
                    <a:lnTo>
                      <a:pt x="768" y="566"/>
                    </a:lnTo>
                    <a:lnTo>
                      <a:pt x="770" y="566"/>
                    </a:lnTo>
                    <a:lnTo>
                      <a:pt x="770" y="564"/>
                    </a:lnTo>
                    <a:lnTo>
                      <a:pt x="772" y="564"/>
                    </a:lnTo>
                    <a:lnTo>
                      <a:pt x="772" y="564"/>
                    </a:lnTo>
                    <a:lnTo>
                      <a:pt x="772" y="562"/>
                    </a:lnTo>
                    <a:lnTo>
                      <a:pt x="772" y="562"/>
                    </a:lnTo>
                    <a:lnTo>
                      <a:pt x="774" y="560"/>
                    </a:lnTo>
                    <a:lnTo>
                      <a:pt x="774" y="560"/>
                    </a:lnTo>
                    <a:lnTo>
                      <a:pt x="774" y="560"/>
                    </a:lnTo>
                    <a:lnTo>
                      <a:pt x="776" y="558"/>
                    </a:lnTo>
                    <a:lnTo>
                      <a:pt x="776" y="558"/>
                    </a:lnTo>
                    <a:lnTo>
                      <a:pt x="778" y="556"/>
                    </a:lnTo>
                    <a:lnTo>
                      <a:pt x="778" y="556"/>
                    </a:lnTo>
                    <a:lnTo>
                      <a:pt x="778" y="554"/>
                    </a:lnTo>
                    <a:lnTo>
                      <a:pt x="778" y="554"/>
                    </a:lnTo>
                    <a:lnTo>
                      <a:pt x="780" y="552"/>
                    </a:lnTo>
                    <a:lnTo>
                      <a:pt x="780" y="552"/>
                    </a:lnTo>
                    <a:lnTo>
                      <a:pt x="780" y="550"/>
                    </a:lnTo>
                    <a:lnTo>
                      <a:pt x="780" y="550"/>
                    </a:lnTo>
                    <a:lnTo>
                      <a:pt x="780" y="550"/>
                    </a:lnTo>
                    <a:lnTo>
                      <a:pt x="778" y="548"/>
                    </a:lnTo>
                    <a:lnTo>
                      <a:pt x="778" y="548"/>
                    </a:lnTo>
                    <a:lnTo>
                      <a:pt x="778" y="546"/>
                    </a:lnTo>
                    <a:lnTo>
                      <a:pt x="778" y="546"/>
                    </a:lnTo>
                    <a:lnTo>
                      <a:pt x="778" y="544"/>
                    </a:lnTo>
                    <a:lnTo>
                      <a:pt x="778" y="542"/>
                    </a:lnTo>
                    <a:lnTo>
                      <a:pt x="778" y="542"/>
                    </a:lnTo>
                    <a:lnTo>
                      <a:pt x="780" y="540"/>
                    </a:lnTo>
                    <a:lnTo>
                      <a:pt x="782" y="536"/>
                    </a:lnTo>
                    <a:lnTo>
                      <a:pt x="782" y="536"/>
                    </a:lnTo>
                    <a:lnTo>
                      <a:pt x="782" y="536"/>
                    </a:lnTo>
                    <a:lnTo>
                      <a:pt x="782" y="536"/>
                    </a:lnTo>
                    <a:lnTo>
                      <a:pt x="780" y="534"/>
                    </a:lnTo>
                    <a:lnTo>
                      <a:pt x="780" y="534"/>
                    </a:lnTo>
                    <a:lnTo>
                      <a:pt x="780" y="532"/>
                    </a:lnTo>
                    <a:lnTo>
                      <a:pt x="778" y="530"/>
                    </a:lnTo>
                    <a:lnTo>
                      <a:pt x="780" y="528"/>
                    </a:lnTo>
                    <a:lnTo>
                      <a:pt x="780" y="524"/>
                    </a:lnTo>
                    <a:lnTo>
                      <a:pt x="780" y="522"/>
                    </a:lnTo>
                    <a:lnTo>
                      <a:pt x="778" y="522"/>
                    </a:lnTo>
                    <a:lnTo>
                      <a:pt x="778" y="522"/>
                    </a:lnTo>
                    <a:lnTo>
                      <a:pt x="778" y="520"/>
                    </a:lnTo>
                    <a:lnTo>
                      <a:pt x="778" y="520"/>
                    </a:lnTo>
                    <a:lnTo>
                      <a:pt x="776" y="518"/>
                    </a:lnTo>
                    <a:lnTo>
                      <a:pt x="772" y="518"/>
                    </a:lnTo>
                    <a:lnTo>
                      <a:pt x="770" y="516"/>
                    </a:lnTo>
                    <a:lnTo>
                      <a:pt x="770" y="516"/>
                    </a:lnTo>
                    <a:lnTo>
                      <a:pt x="768" y="516"/>
                    </a:lnTo>
                    <a:lnTo>
                      <a:pt x="768" y="514"/>
                    </a:lnTo>
                    <a:lnTo>
                      <a:pt x="766" y="514"/>
                    </a:lnTo>
                    <a:lnTo>
                      <a:pt x="764" y="516"/>
                    </a:lnTo>
                    <a:lnTo>
                      <a:pt x="764" y="516"/>
                    </a:lnTo>
                    <a:lnTo>
                      <a:pt x="760" y="516"/>
                    </a:lnTo>
                    <a:lnTo>
                      <a:pt x="758" y="518"/>
                    </a:lnTo>
                    <a:lnTo>
                      <a:pt x="758" y="518"/>
                    </a:lnTo>
                    <a:lnTo>
                      <a:pt x="756" y="520"/>
                    </a:lnTo>
                    <a:lnTo>
                      <a:pt x="754" y="520"/>
                    </a:lnTo>
                    <a:lnTo>
                      <a:pt x="752" y="520"/>
                    </a:lnTo>
                    <a:lnTo>
                      <a:pt x="752" y="520"/>
                    </a:lnTo>
                    <a:lnTo>
                      <a:pt x="750" y="522"/>
                    </a:lnTo>
                    <a:lnTo>
                      <a:pt x="750" y="522"/>
                    </a:lnTo>
                    <a:lnTo>
                      <a:pt x="748" y="522"/>
                    </a:lnTo>
                    <a:lnTo>
                      <a:pt x="748" y="524"/>
                    </a:lnTo>
                    <a:lnTo>
                      <a:pt x="748" y="524"/>
                    </a:lnTo>
                    <a:lnTo>
                      <a:pt x="746" y="526"/>
                    </a:lnTo>
                    <a:lnTo>
                      <a:pt x="744" y="530"/>
                    </a:lnTo>
                    <a:lnTo>
                      <a:pt x="742" y="530"/>
                    </a:lnTo>
                    <a:lnTo>
                      <a:pt x="742" y="532"/>
                    </a:lnTo>
                    <a:lnTo>
                      <a:pt x="740" y="532"/>
                    </a:lnTo>
                    <a:lnTo>
                      <a:pt x="738" y="532"/>
                    </a:lnTo>
                    <a:lnTo>
                      <a:pt x="738" y="532"/>
                    </a:lnTo>
                    <a:lnTo>
                      <a:pt x="738" y="530"/>
                    </a:lnTo>
                    <a:lnTo>
                      <a:pt x="738" y="528"/>
                    </a:lnTo>
                    <a:lnTo>
                      <a:pt x="740" y="526"/>
                    </a:lnTo>
                    <a:lnTo>
                      <a:pt x="740" y="522"/>
                    </a:lnTo>
                    <a:lnTo>
                      <a:pt x="742" y="520"/>
                    </a:lnTo>
                    <a:lnTo>
                      <a:pt x="742" y="520"/>
                    </a:lnTo>
                    <a:lnTo>
                      <a:pt x="742" y="520"/>
                    </a:lnTo>
                    <a:lnTo>
                      <a:pt x="742" y="516"/>
                    </a:lnTo>
                    <a:lnTo>
                      <a:pt x="742" y="514"/>
                    </a:lnTo>
                    <a:lnTo>
                      <a:pt x="744" y="514"/>
                    </a:lnTo>
                    <a:lnTo>
                      <a:pt x="744" y="514"/>
                    </a:lnTo>
                    <a:lnTo>
                      <a:pt x="744" y="514"/>
                    </a:lnTo>
                    <a:lnTo>
                      <a:pt x="746" y="514"/>
                    </a:lnTo>
                    <a:lnTo>
                      <a:pt x="748" y="514"/>
                    </a:lnTo>
                    <a:lnTo>
                      <a:pt x="748" y="514"/>
                    </a:lnTo>
                    <a:lnTo>
                      <a:pt x="750" y="514"/>
                    </a:lnTo>
                    <a:lnTo>
                      <a:pt x="752" y="514"/>
                    </a:lnTo>
                    <a:lnTo>
                      <a:pt x="754" y="514"/>
                    </a:lnTo>
                    <a:lnTo>
                      <a:pt x="754" y="514"/>
                    </a:lnTo>
                    <a:lnTo>
                      <a:pt x="756" y="514"/>
                    </a:lnTo>
                    <a:lnTo>
                      <a:pt x="756" y="514"/>
                    </a:lnTo>
                    <a:lnTo>
                      <a:pt x="758" y="512"/>
                    </a:lnTo>
                    <a:lnTo>
                      <a:pt x="758" y="512"/>
                    </a:lnTo>
                    <a:lnTo>
                      <a:pt x="764" y="512"/>
                    </a:lnTo>
                    <a:lnTo>
                      <a:pt x="766" y="510"/>
                    </a:lnTo>
                    <a:lnTo>
                      <a:pt x="768" y="508"/>
                    </a:lnTo>
                    <a:lnTo>
                      <a:pt x="768" y="508"/>
                    </a:lnTo>
                    <a:lnTo>
                      <a:pt x="770" y="506"/>
                    </a:lnTo>
                    <a:lnTo>
                      <a:pt x="770" y="504"/>
                    </a:lnTo>
                    <a:lnTo>
                      <a:pt x="770" y="504"/>
                    </a:lnTo>
                    <a:lnTo>
                      <a:pt x="770" y="502"/>
                    </a:lnTo>
                    <a:lnTo>
                      <a:pt x="768" y="500"/>
                    </a:lnTo>
                    <a:lnTo>
                      <a:pt x="768" y="500"/>
                    </a:lnTo>
                    <a:lnTo>
                      <a:pt x="766" y="498"/>
                    </a:lnTo>
                    <a:lnTo>
                      <a:pt x="766" y="496"/>
                    </a:lnTo>
                    <a:lnTo>
                      <a:pt x="764" y="494"/>
                    </a:lnTo>
                    <a:lnTo>
                      <a:pt x="764" y="494"/>
                    </a:lnTo>
                    <a:lnTo>
                      <a:pt x="764" y="492"/>
                    </a:lnTo>
                    <a:lnTo>
                      <a:pt x="764" y="492"/>
                    </a:lnTo>
                    <a:lnTo>
                      <a:pt x="762" y="492"/>
                    </a:lnTo>
                    <a:lnTo>
                      <a:pt x="762" y="492"/>
                    </a:lnTo>
                    <a:lnTo>
                      <a:pt x="758" y="490"/>
                    </a:lnTo>
                    <a:lnTo>
                      <a:pt x="756" y="490"/>
                    </a:lnTo>
                    <a:lnTo>
                      <a:pt x="752" y="490"/>
                    </a:lnTo>
                    <a:lnTo>
                      <a:pt x="752" y="488"/>
                    </a:lnTo>
                    <a:lnTo>
                      <a:pt x="750" y="488"/>
                    </a:lnTo>
                    <a:lnTo>
                      <a:pt x="750" y="488"/>
                    </a:lnTo>
                    <a:lnTo>
                      <a:pt x="750" y="488"/>
                    </a:lnTo>
                    <a:lnTo>
                      <a:pt x="752" y="486"/>
                    </a:lnTo>
                    <a:lnTo>
                      <a:pt x="752" y="486"/>
                    </a:lnTo>
                    <a:lnTo>
                      <a:pt x="752" y="486"/>
                    </a:lnTo>
                    <a:lnTo>
                      <a:pt x="754" y="486"/>
                    </a:lnTo>
                    <a:lnTo>
                      <a:pt x="756" y="486"/>
                    </a:lnTo>
                    <a:lnTo>
                      <a:pt x="756" y="486"/>
                    </a:lnTo>
                    <a:lnTo>
                      <a:pt x="758" y="486"/>
                    </a:lnTo>
                    <a:lnTo>
                      <a:pt x="760" y="486"/>
                    </a:lnTo>
                    <a:lnTo>
                      <a:pt x="760" y="486"/>
                    </a:lnTo>
                    <a:lnTo>
                      <a:pt x="762" y="486"/>
                    </a:lnTo>
                    <a:lnTo>
                      <a:pt x="764" y="486"/>
                    </a:lnTo>
                    <a:lnTo>
                      <a:pt x="766" y="488"/>
                    </a:lnTo>
                    <a:lnTo>
                      <a:pt x="768" y="488"/>
                    </a:lnTo>
                    <a:lnTo>
                      <a:pt x="768" y="488"/>
                    </a:lnTo>
                    <a:lnTo>
                      <a:pt x="770" y="488"/>
                    </a:lnTo>
                    <a:lnTo>
                      <a:pt x="770" y="488"/>
                    </a:lnTo>
                    <a:lnTo>
                      <a:pt x="770" y="488"/>
                    </a:lnTo>
                    <a:lnTo>
                      <a:pt x="770" y="486"/>
                    </a:lnTo>
                    <a:lnTo>
                      <a:pt x="770" y="486"/>
                    </a:lnTo>
                    <a:lnTo>
                      <a:pt x="768" y="486"/>
                    </a:lnTo>
                    <a:lnTo>
                      <a:pt x="766" y="484"/>
                    </a:lnTo>
                    <a:lnTo>
                      <a:pt x="764" y="482"/>
                    </a:lnTo>
                    <a:lnTo>
                      <a:pt x="764" y="482"/>
                    </a:lnTo>
                    <a:lnTo>
                      <a:pt x="762" y="482"/>
                    </a:lnTo>
                    <a:lnTo>
                      <a:pt x="762" y="480"/>
                    </a:lnTo>
                    <a:lnTo>
                      <a:pt x="760" y="476"/>
                    </a:lnTo>
                    <a:lnTo>
                      <a:pt x="760" y="476"/>
                    </a:lnTo>
                    <a:lnTo>
                      <a:pt x="758" y="476"/>
                    </a:lnTo>
                    <a:lnTo>
                      <a:pt x="758" y="474"/>
                    </a:lnTo>
                    <a:lnTo>
                      <a:pt x="756" y="474"/>
                    </a:lnTo>
                    <a:lnTo>
                      <a:pt x="756" y="474"/>
                    </a:lnTo>
                    <a:lnTo>
                      <a:pt x="754" y="472"/>
                    </a:lnTo>
                    <a:lnTo>
                      <a:pt x="754" y="472"/>
                    </a:lnTo>
                    <a:lnTo>
                      <a:pt x="752" y="468"/>
                    </a:lnTo>
                    <a:lnTo>
                      <a:pt x="752" y="468"/>
                    </a:lnTo>
                    <a:lnTo>
                      <a:pt x="752" y="468"/>
                    </a:lnTo>
                    <a:lnTo>
                      <a:pt x="750" y="466"/>
                    </a:lnTo>
                    <a:lnTo>
                      <a:pt x="748" y="466"/>
                    </a:lnTo>
                    <a:lnTo>
                      <a:pt x="748" y="466"/>
                    </a:lnTo>
                    <a:lnTo>
                      <a:pt x="746" y="464"/>
                    </a:lnTo>
                    <a:lnTo>
                      <a:pt x="744" y="462"/>
                    </a:lnTo>
                    <a:lnTo>
                      <a:pt x="744" y="462"/>
                    </a:lnTo>
                    <a:lnTo>
                      <a:pt x="740" y="458"/>
                    </a:lnTo>
                    <a:lnTo>
                      <a:pt x="738" y="452"/>
                    </a:lnTo>
                    <a:lnTo>
                      <a:pt x="734" y="448"/>
                    </a:lnTo>
                    <a:lnTo>
                      <a:pt x="734" y="446"/>
                    </a:lnTo>
                    <a:lnTo>
                      <a:pt x="732" y="444"/>
                    </a:lnTo>
                    <a:lnTo>
                      <a:pt x="732" y="444"/>
                    </a:lnTo>
                    <a:lnTo>
                      <a:pt x="728" y="440"/>
                    </a:lnTo>
                    <a:lnTo>
                      <a:pt x="724" y="434"/>
                    </a:lnTo>
                    <a:lnTo>
                      <a:pt x="724" y="434"/>
                    </a:lnTo>
                    <a:lnTo>
                      <a:pt x="720" y="432"/>
                    </a:lnTo>
                    <a:lnTo>
                      <a:pt x="720" y="432"/>
                    </a:lnTo>
                    <a:lnTo>
                      <a:pt x="718" y="430"/>
                    </a:lnTo>
                    <a:lnTo>
                      <a:pt x="718" y="430"/>
                    </a:lnTo>
                    <a:lnTo>
                      <a:pt x="714" y="430"/>
                    </a:lnTo>
                    <a:lnTo>
                      <a:pt x="712" y="428"/>
                    </a:lnTo>
                    <a:lnTo>
                      <a:pt x="710" y="428"/>
                    </a:lnTo>
                    <a:lnTo>
                      <a:pt x="710" y="428"/>
                    </a:lnTo>
                    <a:lnTo>
                      <a:pt x="708" y="426"/>
                    </a:lnTo>
                    <a:lnTo>
                      <a:pt x="708" y="426"/>
                    </a:lnTo>
                    <a:lnTo>
                      <a:pt x="708" y="424"/>
                    </a:lnTo>
                    <a:lnTo>
                      <a:pt x="708" y="424"/>
                    </a:lnTo>
                    <a:lnTo>
                      <a:pt x="708" y="422"/>
                    </a:lnTo>
                    <a:lnTo>
                      <a:pt x="708" y="420"/>
                    </a:lnTo>
                    <a:lnTo>
                      <a:pt x="708" y="418"/>
                    </a:lnTo>
                    <a:lnTo>
                      <a:pt x="708" y="418"/>
                    </a:lnTo>
                    <a:lnTo>
                      <a:pt x="708" y="416"/>
                    </a:lnTo>
                    <a:lnTo>
                      <a:pt x="708" y="416"/>
                    </a:lnTo>
                    <a:lnTo>
                      <a:pt x="710" y="414"/>
                    </a:lnTo>
                    <a:lnTo>
                      <a:pt x="710" y="414"/>
                    </a:lnTo>
                    <a:lnTo>
                      <a:pt x="710" y="412"/>
                    </a:lnTo>
                    <a:lnTo>
                      <a:pt x="708" y="412"/>
                    </a:lnTo>
                    <a:lnTo>
                      <a:pt x="708" y="408"/>
                    </a:lnTo>
                    <a:lnTo>
                      <a:pt x="708" y="408"/>
                    </a:lnTo>
                    <a:lnTo>
                      <a:pt x="708" y="406"/>
                    </a:lnTo>
                    <a:lnTo>
                      <a:pt x="708" y="404"/>
                    </a:lnTo>
                    <a:lnTo>
                      <a:pt x="708" y="402"/>
                    </a:lnTo>
                    <a:lnTo>
                      <a:pt x="708" y="400"/>
                    </a:lnTo>
                    <a:lnTo>
                      <a:pt x="708" y="400"/>
                    </a:lnTo>
                    <a:lnTo>
                      <a:pt x="710" y="398"/>
                    </a:lnTo>
                    <a:lnTo>
                      <a:pt x="712" y="396"/>
                    </a:lnTo>
                    <a:lnTo>
                      <a:pt x="714" y="394"/>
                    </a:lnTo>
                    <a:lnTo>
                      <a:pt x="718" y="392"/>
                    </a:lnTo>
                    <a:lnTo>
                      <a:pt x="718" y="392"/>
                    </a:lnTo>
                    <a:lnTo>
                      <a:pt x="720" y="390"/>
                    </a:lnTo>
                    <a:lnTo>
                      <a:pt x="722" y="388"/>
                    </a:lnTo>
                    <a:lnTo>
                      <a:pt x="724" y="382"/>
                    </a:lnTo>
                    <a:lnTo>
                      <a:pt x="724" y="382"/>
                    </a:lnTo>
                    <a:lnTo>
                      <a:pt x="724" y="380"/>
                    </a:lnTo>
                    <a:lnTo>
                      <a:pt x="724" y="378"/>
                    </a:lnTo>
                    <a:lnTo>
                      <a:pt x="726" y="378"/>
                    </a:lnTo>
                    <a:lnTo>
                      <a:pt x="726" y="378"/>
                    </a:lnTo>
                    <a:lnTo>
                      <a:pt x="728" y="376"/>
                    </a:lnTo>
                    <a:lnTo>
                      <a:pt x="728" y="376"/>
                    </a:lnTo>
                    <a:lnTo>
                      <a:pt x="730" y="378"/>
                    </a:lnTo>
                    <a:lnTo>
                      <a:pt x="730" y="378"/>
                    </a:lnTo>
                    <a:lnTo>
                      <a:pt x="730" y="378"/>
                    </a:lnTo>
                    <a:lnTo>
                      <a:pt x="732" y="378"/>
                    </a:lnTo>
                    <a:lnTo>
                      <a:pt x="732" y="376"/>
                    </a:lnTo>
                    <a:lnTo>
                      <a:pt x="734" y="374"/>
                    </a:lnTo>
                    <a:lnTo>
                      <a:pt x="736" y="374"/>
                    </a:lnTo>
                    <a:lnTo>
                      <a:pt x="736" y="374"/>
                    </a:lnTo>
                    <a:lnTo>
                      <a:pt x="736" y="374"/>
                    </a:lnTo>
                    <a:lnTo>
                      <a:pt x="738" y="374"/>
                    </a:lnTo>
                    <a:lnTo>
                      <a:pt x="740" y="374"/>
                    </a:lnTo>
                    <a:lnTo>
                      <a:pt x="740" y="374"/>
                    </a:lnTo>
                    <a:lnTo>
                      <a:pt x="740" y="374"/>
                    </a:lnTo>
                    <a:lnTo>
                      <a:pt x="740" y="372"/>
                    </a:lnTo>
                    <a:lnTo>
                      <a:pt x="740" y="372"/>
                    </a:lnTo>
                    <a:lnTo>
                      <a:pt x="740" y="370"/>
                    </a:lnTo>
                    <a:lnTo>
                      <a:pt x="740" y="368"/>
                    </a:lnTo>
                    <a:lnTo>
                      <a:pt x="740" y="368"/>
                    </a:lnTo>
                    <a:lnTo>
                      <a:pt x="740" y="368"/>
                    </a:lnTo>
                    <a:lnTo>
                      <a:pt x="740" y="366"/>
                    </a:lnTo>
                    <a:lnTo>
                      <a:pt x="740" y="366"/>
                    </a:lnTo>
                    <a:lnTo>
                      <a:pt x="742" y="364"/>
                    </a:lnTo>
                    <a:lnTo>
                      <a:pt x="742" y="364"/>
                    </a:lnTo>
                    <a:lnTo>
                      <a:pt x="742" y="362"/>
                    </a:lnTo>
                    <a:lnTo>
                      <a:pt x="742" y="362"/>
                    </a:lnTo>
                    <a:lnTo>
                      <a:pt x="742" y="362"/>
                    </a:lnTo>
                    <a:lnTo>
                      <a:pt x="740" y="362"/>
                    </a:lnTo>
                    <a:lnTo>
                      <a:pt x="740" y="360"/>
                    </a:lnTo>
                    <a:lnTo>
                      <a:pt x="738" y="360"/>
                    </a:lnTo>
                    <a:lnTo>
                      <a:pt x="738" y="360"/>
                    </a:lnTo>
                    <a:lnTo>
                      <a:pt x="736" y="362"/>
                    </a:lnTo>
                    <a:lnTo>
                      <a:pt x="736" y="362"/>
                    </a:lnTo>
                    <a:lnTo>
                      <a:pt x="734" y="362"/>
                    </a:lnTo>
                    <a:lnTo>
                      <a:pt x="734" y="362"/>
                    </a:lnTo>
                    <a:lnTo>
                      <a:pt x="732" y="360"/>
                    </a:lnTo>
                    <a:lnTo>
                      <a:pt x="732" y="360"/>
                    </a:lnTo>
                    <a:lnTo>
                      <a:pt x="730" y="360"/>
                    </a:lnTo>
                    <a:lnTo>
                      <a:pt x="730" y="360"/>
                    </a:lnTo>
                    <a:lnTo>
                      <a:pt x="730" y="360"/>
                    </a:lnTo>
                    <a:lnTo>
                      <a:pt x="728" y="360"/>
                    </a:lnTo>
                    <a:lnTo>
                      <a:pt x="726" y="362"/>
                    </a:lnTo>
                    <a:lnTo>
                      <a:pt x="726" y="362"/>
                    </a:lnTo>
                    <a:lnTo>
                      <a:pt x="724" y="362"/>
                    </a:lnTo>
                    <a:lnTo>
                      <a:pt x="722" y="362"/>
                    </a:lnTo>
                    <a:lnTo>
                      <a:pt x="722" y="362"/>
                    </a:lnTo>
                    <a:lnTo>
                      <a:pt x="722" y="362"/>
                    </a:lnTo>
                    <a:lnTo>
                      <a:pt x="720" y="360"/>
                    </a:lnTo>
                    <a:lnTo>
                      <a:pt x="720" y="360"/>
                    </a:lnTo>
                    <a:lnTo>
                      <a:pt x="718" y="360"/>
                    </a:lnTo>
                    <a:lnTo>
                      <a:pt x="718" y="360"/>
                    </a:lnTo>
                    <a:lnTo>
                      <a:pt x="714" y="362"/>
                    </a:lnTo>
                    <a:lnTo>
                      <a:pt x="712" y="362"/>
                    </a:lnTo>
                    <a:lnTo>
                      <a:pt x="712" y="360"/>
                    </a:lnTo>
                    <a:lnTo>
                      <a:pt x="712" y="360"/>
                    </a:lnTo>
                    <a:lnTo>
                      <a:pt x="710" y="358"/>
                    </a:lnTo>
                    <a:lnTo>
                      <a:pt x="710" y="358"/>
                    </a:lnTo>
                    <a:lnTo>
                      <a:pt x="708" y="356"/>
                    </a:lnTo>
                    <a:lnTo>
                      <a:pt x="708" y="356"/>
                    </a:lnTo>
                    <a:lnTo>
                      <a:pt x="708" y="358"/>
                    </a:lnTo>
                    <a:lnTo>
                      <a:pt x="706" y="358"/>
                    </a:lnTo>
                    <a:lnTo>
                      <a:pt x="704" y="358"/>
                    </a:lnTo>
                    <a:lnTo>
                      <a:pt x="704" y="360"/>
                    </a:lnTo>
                    <a:lnTo>
                      <a:pt x="704" y="360"/>
                    </a:lnTo>
                    <a:lnTo>
                      <a:pt x="702" y="362"/>
                    </a:lnTo>
                    <a:lnTo>
                      <a:pt x="702" y="364"/>
                    </a:lnTo>
                    <a:lnTo>
                      <a:pt x="702" y="364"/>
                    </a:lnTo>
                    <a:lnTo>
                      <a:pt x="700" y="364"/>
                    </a:lnTo>
                    <a:lnTo>
                      <a:pt x="700" y="366"/>
                    </a:lnTo>
                    <a:lnTo>
                      <a:pt x="700" y="368"/>
                    </a:lnTo>
                    <a:lnTo>
                      <a:pt x="700" y="368"/>
                    </a:lnTo>
                    <a:lnTo>
                      <a:pt x="700" y="368"/>
                    </a:lnTo>
                    <a:lnTo>
                      <a:pt x="700" y="370"/>
                    </a:lnTo>
                    <a:lnTo>
                      <a:pt x="698" y="372"/>
                    </a:lnTo>
                    <a:lnTo>
                      <a:pt x="698" y="372"/>
                    </a:lnTo>
                    <a:lnTo>
                      <a:pt x="696" y="374"/>
                    </a:lnTo>
                    <a:lnTo>
                      <a:pt x="696" y="374"/>
                    </a:lnTo>
                    <a:lnTo>
                      <a:pt x="694" y="374"/>
                    </a:lnTo>
                    <a:lnTo>
                      <a:pt x="692" y="374"/>
                    </a:lnTo>
                    <a:lnTo>
                      <a:pt x="692" y="374"/>
                    </a:lnTo>
                    <a:lnTo>
                      <a:pt x="690" y="374"/>
                    </a:lnTo>
                    <a:lnTo>
                      <a:pt x="686" y="372"/>
                    </a:lnTo>
                    <a:lnTo>
                      <a:pt x="686" y="372"/>
                    </a:lnTo>
                    <a:lnTo>
                      <a:pt x="684" y="372"/>
                    </a:lnTo>
                    <a:lnTo>
                      <a:pt x="684" y="370"/>
                    </a:lnTo>
                    <a:lnTo>
                      <a:pt x="684" y="370"/>
                    </a:lnTo>
                    <a:lnTo>
                      <a:pt x="682" y="370"/>
                    </a:lnTo>
                    <a:lnTo>
                      <a:pt x="680" y="370"/>
                    </a:lnTo>
                    <a:lnTo>
                      <a:pt x="676" y="370"/>
                    </a:lnTo>
                    <a:lnTo>
                      <a:pt x="676" y="370"/>
                    </a:lnTo>
                    <a:lnTo>
                      <a:pt x="676" y="370"/>
                    </a:lnTo>
                    <a:lnTo>
                      <a:pt x="676" y="368"/>
                    </a:lnTo>
                    <a:lnTo>
                      <a:pt x="676" y="368"/>
                    </a:lnTo>
                    <a:lnTo>
                      <a:pt x="676" y="368"/>
                    </a:lnTo>
                    <a:lnTo>
                      <a:pt x="678" y="366"/>
                    </a:lnTo>
                    <a:lnTo>
                      <a:pt x="678" y="366"/>
                    </a:lnTo>
                    <a:lnTo>
                      <a:pt x="678" y="364"/>
                    </a:lnTo>
                    <a:lnTo>
                      <a:pt x="676" y="362"/>
                    </a:lnTo>
                    <a:lnTo>
                      <a:pt x="676" y="362"/>
                    </a:lnTo>
                    <a:lnTo>
                      <a:pt x="676" y="360"/>
                    </a:lnTo>
                    <a:lnTo>
                      <a:pt x="676" y="360"/>
                    </a:lnTo>
                    <a:lnTo>
                      <a:pt x="674" y="358"/>
                    </a:lnTo>
                    <a:lnTo>
                      <a:pt x="674" y="358"/>
                    </a:lnTo>
                    <a:lnTo>
                      <a:pt x="674" y="358"/>
                    </a:lnTo>
                    <a:lnTo>
                      <a:pt x="672" y="356"/>
                    </a:lnTo>
                    <a:lnTo>
                      <a:pt x="670" y="356"/>
                    </a:lnTo>
                    <a:lnTo>
                      <a:pt x="668" y="356"/>
                    </a:lnTo>
                    <a:lnTo>
                      <a:pt x="668" y="356"/>
                    </a:lnTo>
                    <a:lnTo>
                      <a:pt x="666" y="356"/>
                    </a:lnTo>
                    <a:lnTo>
                      <a:pt x="666" y="354"/>
                    </a:lnTo>
                    <a:lnTo>
                      <a:pt x="666" y="354"/>
                    </a:lnTo>
                    <a:lnTo>
                      <a:pt x="664" y="352"/>
                    </a:lnTo>
                    <a:lnTo>
                      <a:pt x="664" y="350"/>
                    </a:lnTo>
                    <a:lnTo>
                      <a:pt x="662" y="350"/>
                    </a:lnTo>
                    <a:lnTo>
                      <a:pt x="662" y="350"/>
                    </a:lnTo>
                    <a:lnTo>
                      <a:pt x="660" y="348"/>
                    </a:lnTo>
                    <a:lnTo>
                      <a:pt x="658" y="346"/>
                    </a:lnTo>
                    <a:lnTo>
                      <a:pt x="658" y="346"/>
                    </a:lnTo>
                    <a:lnTo>
                      <a:pt x="656" y="346"/>
                    </a:lnTo>
                    <a:lnTo>
                      <a:pt x="656" y="342"/>
                    </a:lnTo>
                    <a:lnTo>
                      <a:pt x="654" y="340"/>
                    </a:lnTo>
                    <a:lnTo>
                      <a:pt x="654" y="338"/>
                    </a:lnTo>
                    <a:lnTo>
                      <a:pt x="654" y="338"/>
                    </a:lnTo>
                    <a:lnTo>
                      <a:pt x="654" y="338"/>
                    </a:lnTo>
                    <a:lnTo>
                      <a:pt x="656" y="334"/>
                    </a:lnTo>
                    <a:lnTo>
                      <a:pt x="656" y="334"/>
                    </a:lnTo>
                    <a:lnTo>
                      <a:pt x="658" y="334"/>
                    </a:lnTo>
                    <a:lnTo>
                      <a:pt x="658" y="334"/>
                    </a:lnTo>
                    <a:lnTo>
                      <a:pt x="658" y="334"/>
                    </a:lnTo>
                    <a:lnTo>
                      <a:pt x="660" y="334"/>
                    </a:lnTo>
                    <a:lnTo>
                      <a:pt x="662" y="334"/>
                    </a:lnTo>
                    <a:lnTo>
                      <a:pt x="662" y="334"/>
                    </a:lnTo>
                    <a:lnTo>
                      <a:pt x="662" y="334"/>
                    </a:lnTo>
                    <a:lnTo>
                      <a:pt x="664" y="334"/>
                    </a:lnTo>
                    <a:lnTo>
                      <a:pt x="668" y="334"/>
                    </a:lnTo>
                    <a:lnTo>
                      <a:pt x="672" y="334"/>
                    </a:lnTo>
                    <a:lnTo>
                      <a:pt x="674" y="334"/>
                    </a:lnTo>
                    <a:lnTo>
                      <a:pt x="674" y="334"/>
                    </a:lnTo>
                    <a:lnTo>
                      <a:pt x="676" y="332"/>
                    </a:lnTo>
                    <a:lnTo>
                      <a:pt x="676" y="332"/>
                    </a:lnTo>
                    <a:lnTo>
                      <a:pt x="676" y="330"/>
                    </a:lnTo>
                    <a:lnTo>
                      <a:pt x="676" y="330"/>
                    </a:lnTo>
                    <a:lnTo>
                      <a:pt x="676" y="326"/>
                    </a:lnTo>
                    <a:lnTo>
                      <a:pt x="676" y="324"/>
                    </a:lnTo>
                    <a:lnTo>
                      <a:pt x="676" y="324"/>
                    </a:lnTo>
                    <a:lnTo>
                      <a:pt x="676" y="322"/>
                    </a:lnTo>
                    <a:lnTo>
                      <a:pt x="676" y="320"/>
                    </a:lnTo>
                    <a:lnTo>
                      <a:pt x="676" y="318"/>
                    </a:lnTo>
                    <a:lnTo>
                      <a:pt x="676" y="316"/>
                    </a:lnTo>
                    <a:lnTo>
                      <a:pt x="678" y="316"/>
                    </a:lnTo>
                    <a:lnTo>
                      <a:pt x="678" y="316"/>
                    </a:lnTo>
                    <a:lnTo>
                      <a:pt x="682" y="314"/>
                    </a:lnTo>
                    <a:lnTo>
                      <a:pt x="684" y="312"/>
                    </a:lnTo>
                    <a:lnTo>
                      <a:pt x="684" y="310"/>
                    </a:lnTo>
                    <a:lnTo>
                      <a:pt x="684" y="308"/>
                    </a:lnTo>
                    <a:lnTo>
                      <a:pt x="684" y="308"/>
                    </a:lnTo>
                    <a:lnTo>
                      <a:pt x="684" y="304"/>
                    </a:lnTo>
                    <a:lnTo>
                      <a:pt x="686" y="300"/>
                    </a:lnTo>
                    <a:lnTo>
                      <a:pt x="686" y="298"/>
                    </a:lnTo>
                    <a:lnTo>
                      <a:pt x="686" y="298"/>
                    </a:lnTo>
                    <a:lnTo>
                      <a:pt x="688" y="296"/>
                    </a:lnTo>
                    <a:lnTo>
                      <a:pt x="690" y="294"/>
                    </a:lnTo>
                    <a:lnTo>
                      <a:pt x="692" y="292"/>
                    </a:lnTo>
                    <a:lnTo>
                      <a:pt x="694" y="292"/>
                    </a:lnTo>
                    <a:lnTo>
                      <a:pt x="696" y="290"/>
                    </a:lnTo>
                    <a:lnTo>
                      <a:pt x="700" y="290"/>
                    </a:lnTo>
                    <a:lnTo>
                      <a:pt x="702" y="290"/>
                    </a:lnTo>
                    <a:lnTo>
                      <a:pt x="704" y="290"/>
                    </a:lnTo>
                    <a:lnTo>
                      <a:pt x="704" y="290"/>
                    </a:lnTo>
                    <a:lnTo>
                      <a:pt x="708" y="290"/>
                    </a:lnTo>
                    <a:lnTo>
                      <a:pt x="708" y="292"/>
                    </a:lnTo>
                    <a:lnTo>
                      <a:pt x="708" y="292"/>
                    </a:lnTo>
                    <a:lnTo>
                      <a:pt x="708" y="292"/>
                    </a:lnTo>
                    <a:lnTo>
                      <a:pt x="708" y="294"/>
                    </a:lnTo>
                    <a:lnTo>
                      <a:pt x="708" y="294"/>
                    </a:lnTo>
                    <a:lnTo>
                      <a:pt x="706" y="296"/>
                    </a:lnTo>
                    <a:lnTo>
                      <a:pt x="706" y="296"/>
                    </a:lnTo>
                    <a:lnTo>
                      <a:pt x="706" y="296"/>
                    </a:lnTo>
                    <a:lnTo>
                      <a:pt x="706" y="298"/>
                    </a:lnTo>
                    <a:lnTo>
                      <a:pt x="706" y="298"/>
                    </a:lnTo>
                    <a:lnTo>
                      <a:pt x="706" y="302"/>
                    </a:lnTo>
                    <a:lnTo>
                      <a:pt x="708" y="304"/>
                    </a:lnTo>
                    <a:lnTo>
                      <a:pt x="708" y="304"/>
                    </a:lnTo>
                    <a:lnTo>
                      <a:pt x="708" y="306"/>
                    </a:lnTo>
                    <a:lnTo>
                      <a:pt x="708" y="306"/>
                    </a:lnTo>
                    <a:lnTo>
                      <a:pt x="708" y="308"/>
                    </a:lnTo>
                    <a:lnTo>
                      <a:pt x="706" y="308"/>
                    </a:lnTo>
                    <a:lnTo>
                      <a:pt x="704" y="312"/>
                    </a:lnTo>
                    <a:lnTo>
                      <a:pt x="704" y="312"/>
                    </a:lnTo>
                    <a:lnTo>
                      <a:pt x="702" y="314"/>
                    </a:lnTo>
                    <a:lnTo>
                      <a:pt x="702" y="316"/>
                    </a:lnTo>
                    <a:lnTo>
                      <a:pt x="702" y="316"/>
                    </a:lnTo>
                    <a:lnTo>
                      <a:pt x="702" y="316"/>
                    </a:lnTo>
                    <a:lnTo>
                      <a:pt x="702" y="318"/>
                    </a:lnTo>
                    <a:lnTo>
                      <a:pt x="702" y="320"/>
                    </a:lnTo>
                    <a:lnTo>
                      <a:pt x="704" y="320"/>
                    </a:lnTo>
                    <a:lnTo>
                      <a:pt x="704" y="320"/>
                    </a:lnTo>
                    <a:lnTo>
                      <a:pt x="706" y="322"/>
                    </a:lnTo>
                    <a:lnTo>
                      <a:pt x="708" y="322"/>
                    </a:lnTo>
                    <a:lnTo>
                      <a:pt x="708" y="322"/>
                    </a:lnTo>
                    <a:lnTo>
                      <a:pt x="710" y="324"/>
                    </a:lnTo>
                    <a:lnTo>
                      <a:pt x="710" y="324"/>
                    </a:lnTo>
                    <a:lnTo>
                      <a:pt x="710" y="326"/>
                    </a:lnTo>
                    <a:lnTo>
                      <a:pt x="710" y="326"/>
                    </a:lnTo>
                    <a:lnTo>
                      <a:pt x="708" y="328"/>
                    </a:lnTo>
                    <a:lnTo>
                      <a:pt x="708" y="332"/>
                    </a:lnTo>
                    <a:lnTo>
                      <a:pt x="708" y="332"/>
                    </a:lnTo>
                    <a:lnTo>
                      <a:pt x="708" y="332"/>
                    </a:lnTo>
                    <a:lnTo>
                      <a:pt x="706" y="334"/>
                    </a:lnTo>
                    <a:lnTo>
                      <a:pt x="706" y="334"/>
                    </a:lnTo>
                    <a:lnTo>
                      <a:pt x="706" y="336"/>
                    </a:lnTo>
                    <a:lnTo>
                      <a:pt x="706" y="336"/>
                    </a:lnTo>
                    <a:lnTo>
                      <a:pt x="706" y="336"/>
                    </a:lnTo>
                    <a:lnTo>
                      <a:pt x="708" y="336"/>
                    </a:lnTo>
                    <a:lnTo>
                      <a:pt x="708" y="336"/>
                    </a:lnTo>
                    <a:lnTo>
                      <a:pt x="708" y="336"/>
                    </a:lnTo>
                    <a:lnTo>
                      <a:pt x="710" y="336"/>
                    </a:lnTo>
                    <a:lnTo>
                      <a:pt x="710" y="334"/>
                    </a:lnTo>
                    <a:lnTo>
                      <a:pt x="710" y="334"/>
                    </a:lnTo>
                    <a:lnTo>
                      <a:pt x="718" y="330"/>
                    </a:lnTo>
                    <a:lnTo>
                      <a:pt x="720" y="328"/>
                    </a:lnTo>
                    <a:lnTo>
                      <a:pt x="722" y="326"/>
                    </a:lnTo>
                    <a:lnTo>
                      <a:pt x="722" y="326"/>
                    </a:lnTo>
                    <a:lnTo>
                      <a:pt x="724" y="326"/>
                    </a:lnTo>
                    <a:lnTo>
                      <a:pt x="724" y="324"/>
                    </a:lnTo>
                    <a:lnTo>
                      <a:pt x="724" y="322"/>
                    </a:lnTo>
                    <a:lnTo>
                      <a:pt x="726" y="320"/>
                    </a:lnTo>
                    <a:lnTo>
                      <a:pt x="726" y="318"/>
                    </a:lnTo>
                    <a:lnTo>
                      <a:pt x="726" y="318"/>
                    </a:lnTo>
                    <a:lnTo>
                      <a:pt x="726" y="318"/>
                    </a:lnTo>
                    <a:lnTo>
                      <a:pt x="728" y="316"/>
                    </a:lnTo>
                    <a:lnTo>
                      <a:pt x="730" y="314"/>
                    </a:lnTo>
                    <a:lnTo>
                      <a:pt x="734" y="312"/>
                    </a:lnTo>
                    <a:lnTo>
                      <a:pt x="736" y="312"/>
                    </a:lnTo>
                    <a:lnTo>
                      <a:pt x="736" y="312"/>
                    </a:lnTo>
                    <a:lnTo>
                      <a:pt x="738" y="310"/>
                    </a:lnTo>
                    <a:lnTo>
                      <a:pt x="740" y="310"/>
                    </a:lnTo>
                    <a:lnTo>
                      <a:pt x="742" y="310"/>
                    </a:lnTo>
                    <a:lnTo>
                      <a:pt x="742" y="310"/>
                    </a:lnTo>
                    <a:lnTo>
                      <a:pt x="744" y="312"/>
                    </a:lnTo>
                    <a:lnTo>
                      <a:pt x="744" y="312"/>
                    </a:lnTo>
                    <a:lnTo>
                      <a:pt x="746" y="312"/>
                    </a:lnTo>
                    <a:lnTo>
                      <a:pt x="746" y="312"/>
                    </a:lnTo>
                    <a:lnTo>
                      <a:pt x="746" y="312"/>
                    </a:lnTo>
                    <a:lnTo>
                      <a:pt x="746" y="310"/>
                    </a:lnTo>
                    <a:lnTo>
                      <a:pt x="748" y="310"/>
                    </a:lnTo>
                    <a:lnTo>
                      <a:pt x="748" y="310"/>
                    </a:lnTo>
                    <a:lnTo>
                      <a:pt x="748" y="310"/>
                    </a:lnTo>
                    <a:lnTo>
                      <a:pt x="748" y="306"/>
                    </a:lnTo>
                    <a:lnTo>
                      <a:pt x="748" y="306"/>
                    </a:lnTo>
                    <a:lnTo>
                      <a:pt x="750" y="304"/>
                    </a:lnTo>
                    <a:lnTo>
                      <a:pt x="750" y="302"/>
                    </a:lnTo>
                    <a:lnTo>
                      <a:pt x="750" y="298"/>
                    </a:lnTo>
                    <a:lnTo>
                      <a:pt x="750" y="298"/>
                    </a:lnTo>
                    <a:lnTo>
                      <a:pt x="750" y="296"/>
                    </a:lnTo>
                    <a:lnTo>
                      <a:pt x="750" y="294"/>
                    </a:lnTo>
                    <a:lnTo>
                      <a:pt x="752" y="294"/>
                    </a:lnTo>
                    <a:lnTo>
                      <a:pt x="754" y="292"/>
                    </a:lnTo>
                    <a:lnTo>
                      <a:pt x="756" y="288"/>
                    </a:lnTo>
                    <a:lnTo>
                      <a:pt x="758" y="288"/>
                    </a:lnTo>
                    <a:lnTo>
                      <a:pt x="758" y="286"/>
                    </a:lnTo>
                    <a:lnTo>
                      <a:pt x="758" y="286"/>
                    </a:lnTo>
                    <a:lnTo>
                      <a:pt x="760" y="282"/>
                    </a:lnTo>
                    <a:lnTo>
                      <a:pt x="760" y="278"/>
                    </a:lnTo>
                    <a:lnTo>
                      <a:pt x="762" y="274"/>
                    </a:lnTo>
                    <a:lnTo>
                      <a:pt x="762" y="274"/>
                    </a:lnTo>
                    <a:lnTo>
                      <a:pt x="764" y="270"/>
                    </a:lnTo>
                    <a:lnTo>
                      <a:pt x="766" y="268"/>
                    </a:lnTo>
                    <a:lnTo>
                      <a:pt x="768" y="264"/>
                    </a:lnTo>
                    <a:lnTo>
                      <a:pt x="768" y="264"/>
                    </a:lnTo>
                    <a:lnTo>
                      <a:pt x="770" y="264"/>
                    </a:lnTo>
                    <a:lnTo>
                      <a:pt x="770" y="264"/>
                    </a:lnTo>
                    <a:lnTo>
                      <a:pt x="772" y="264"/>
                    </a:lnTo>
                    <a:lnTo>
                      <a:pt x="772" y="264"/>
                    </a:lnTo>
                    <a:lnTo>
                      <a:pt x="774" y="264"/>
                    </a:lnTo>
                    <a:lnTo>
                      <a:pt x="774" y="266"/>
                    </a:lnTo>
                    <a:lnTo>
                      <a:pt x="776" y="268"/>
                    </a:lnTo>
                    <a:lnTo>
                      <a:pt x="776" y="268"/>
                    </a:lnTo>
                    <a:lnTo>
                      <a:pt x="776" y="270"/>
                    </a:lnTo>
                    <a:lnTo>
                      <a:pt x="776" y="270"/>
                    </a:lnTo>
                    <a:lnTo>
                      <a:pt x="778" y="270"/>
                    </a:lnTo>
                    <a:lnTo>
                      <a:pt x="780" y="270"/>
                    </a:lnTo>
                    <a:lnTo>
                      <a:pt x="780" y="270"/>
                    </a:lnTo>
                    <a:lnTo>
                      <a:pt x="782" y="270"/>
                    </a:lnTo>
                    <a:lnTo>
                      <a:pt x="784" y="268"/>
                    </a:lnTo>
                    <a:lnTo>
                      <a:pt x="786" y="268"/>
                    </a:lnTo>
                    <a:lnTo>
                      <a:pt x="786" y="266"/>
                    </a:lnTo>
                    <a:lnTo>
                      <a:pt x="788" y="264"/>
                    </a:lnTo>
                    <a:lnTo>
                      <a:pt x="788" y="262"/>
                    </a:lnTo>
                    <a:lnTo>
                      <a:pt x="788" y="262"/>
                    </a:lnTo>
                    <a:lnTo>
                      <a:pt x="788" y="260"/>
                    </a:lnTo>
                    <a:lnTo>
                      <a:pt x="790" y="256"/>
                    </a:lnTo>
                    <a:lnTo>
                      <a:pt x="790" y="254"/>
                    </a:lnTo>
                    <a:lnTo>
                      <a:pt x="790" y="252"/>
                    </a:lnTo>
                    <a:lnTo>
                      <a:pt x="792" y="252"/>
                    </a:lnTo>
                    <a:lnTo>
                      <a:pt x="794" y="250"/>
                    </a:lnTo>
                    <a:lnTo>
                      <a:pt x="794" y="250"/>
                    </a:lnTo>
                    <a:lnTo>
                      <a:pt x="796" y="250"/>
                    </a:lnTo>
                    <a:lnTo>
                      <a:pt x="798" y="248"/>
                    </a:lnTo>
                    <a:lnTo>
                      <a:pt x="800" y="246"/>
                    </a:lnTo>
                    <a:lnTo>
                      <a:pt x="800" y="244"/>
                    </a:lnTo>
                    <a:lnTo>
                      <a:pt x="800" y="244"/>
                    </a:lnTo>
                    <a:lnTo>
                      <a:pt x="800" y="242"/>
                    </a:lnTo>
                    <a:lnTo>
                      <a:pt x="800" y="242"/>
                    </a:lnTo>
                    <a:lnTo>
                      <a:pt x="800" y="238"/>
                    </a:lnTo>
                    <a:lnTo>
                      <a:pt x="800" y="236"/>
                    </a:lnTo>
                    <a:lnTo>
                      <a:pt x="800" y="234"/>
                    </a:lnTo>
                    <a:lnTo>
                      <a:pt x="800" y="232"/>
                    </a:lnTo>
                    <a:lnTo>
                      <a:pt x="802" y="232"/>
                    </a:lnTo>
                    <a:lnTo>
                      <a:pt x="802" y="230"/>
                    </a:lnTo>
                    <a:lnTo>
                      <a:pt x="804" y="230"/>
                    </a:lnTo>
                    <a:lnTo>
                      <a:pt x="804" y="230"/>
                    </a:lnTo>
                    <a:lnTo>
                      <a:pt x="806" y="230"/>
                    </a:lnTo>
                    <a:lnTo>
                      <a:pt x="806" y="230"/>
                    </a:lnTo>
                    <a:lnTo>
                      <a:pt x="808" y="232"/>
                    </a:lnTo>
                    <a:lnTo>
                      <a:pt x="810" y="232"/>
                    </a:lnTo>
                    <a:lnTo>
                      <a:pt x="810" y="232"/>
                    </a:lnTo>
                    <a:lnTo>
                      <a:pt x="812" y="232"/>
                    </a:lnTo>
                    <a:lnTo>
                      <a:pt x="814" y="232"/>
                    </a:lnTo>
                    <a:lnTo>
                      <a:pt x="814" y="232"/>
                    </a:lnTo>
                    <a:lnTo>
                      <a:pt x="814" y="230"/>
                    </a:lnTo>
                    <a:lnTo>
                      <a:pt x="814" y="228"/>
                    </a:lnTo>
                    <a:lnTo>
                      <a:pt x="814" y="226"/>
                    </a:lnTo>
                    <a:lnTo>
                      <a:pt x="814" y="226"/>
                    </a:lnTo>
                    <a:lnTo>
                      <a:pt x="814" y="222"/>
                    </a:lnTo>
                    <a:lnTo>
                      <a:pt x="814" y="218"/>
                    </a:lnTo>
                    <a:lnTo>
                      <a:pt x="814" y="214"/>
                    </a:lnTo>
                    <a:lnTo>
                      <a:pt x="812" y="210"/>
                    </a:lnTo>
                    <a:lnTo>
                      <a:pt x="812" y="210"/>
                    </a:lnTo>
                    <a:lnTo>
                      <a:pt x="812" y="208"/>
                    </a:lnTo>
                    <a:lnTo>
                      <a:pt x="810" y="206"/>
                    </a:lnTo>
                    <a:lnTo>
                      <a:pt x="808" y="204"/>
                    </a:lnTo>
                    <a:lnTo>
                      <a:pt x="808" y="204"/>
                    </a:lnTo>
                    <a:lnTo>
                      <a:pt x="808" y="202"/>
                    </a:lnTo>
                    <a:lnTo>
                      <a:pt x="806" y="202"/>
                    </a:lnTo>
                    <a:lnTo>
                      <a:pt x="806" y="200"/>
                    </a:lnTo>
                    <a:lnTo>
                      <a:pt x="806" y="198"/>
                    </a:lnTo>
                    <a:lnTo>
                      <a:pt x="806" y="198"/>
                    </a:lnTo>
                    <a:lnTo>
                      <a:pt x="804" y="196"/>
                    </a:lnTo>
                    <a:lnTo>
                      <a:pt x="804" y="196"/>
                    </a:lnTo>
                    <a:lnTo>
                      <a:pt x="804" y="194"/>
                    </a:lnTo>
                    <a:lnTo>
                      <a:pt x="804" y="194"/>
                    </a:lnTo>
                    <a:lnTo>
                      <a:pt x="802" y="190"/>
                    </a:lnTo>
                    <a:lnTo>
                      <a:pt x="802" y="184"/>
                    </a:lnTo>
                    <a:lnTo>
                      <a:pt x="802" y="184"/>
                    </a:lnTo>
                    <a:lnTo>
                      <a:pt x="802" y="182"/>
                    </a:lnTo>
                    <a:lnTo>
                      <a:pt x="802" y="180"/>
                    </a:lnTo>
                    <a:lnTo>
                      <a:pt x="802" y="178"/>
                    </a:lnTo>
                    <a:lnTo>
                      <a:pt x="802" y="178"/>
                    </a:lnTo>
                    <a:lnTo>
                      <a:pt x="802" y="178"/>
                    </a:lnTo>
                    <a:lnTo>
                      <a:pt x="804" y="176"/>
                    </a:lnTo>
                    <a:lnTo>
                      <a:pt x="806" y="174"/>
                    </a:lnTo>
                    <a:lnTo>
                      <a:pt x="806" y="174"/>
                    </a:lnTo>
                    <a:lnTo>
                      <a:pt x="806" y="174"/>
                    </a:lnTo>
                    <a:lnTo>
                      <a:pt x="808" y="172"/>
                    </a:lnTo>
                    <a:lnTo>
                      <a:pt x="810" y="170"/>
                    </a:lnTo>
                    <a:lnTo>
                      <a:pt x="812" y="170"/>
                    </a:lnTo>
                    <a:lnTo>
                      <a:pt x="812" y="168"/>
                    </a:lnTo>
                    <a:lnTo>
                      <a:pt x="814" y="168"/>
                    </a:lnTo>
                    <a:lnTo>
                      <a:pt x="814" y="168"/>
                    </a:lnTo>
                    <a:lnTo>
                      <a:pt x="816" y="170"/>
                    </a:lnTo>
                    <a:lnTo>
                      <a:pt x="820" y="170"/>
                    </a:lnTo>
                    <a:lnTo>
                      <a:pt x="822" y="170"/>
                    </a:lnTo>
                    <a:lnTo>
                      <a:pt x="824" y="170"/>
                    </a:lnTo>
                    <a:lnTo>
                      <a:pt x="824" y="168"/>
                    </a:lnTo>
                    <a:lnTo>
                      <a:pt x="824" y="168"/>
                    </a:lnTo>
                    <a:lnTo>
                      <a:pt x="826" y="168"/>
                    </a:lnTo>
                    <a:lnTo>
                      <a:pt x="826" y="166"/>
                    </a:lnTo>
                    <a:lnTo>
                      <a:pt x="826" y="164"/>
                    </a:lnTo>
                    <a:lnTo>
                      <a:pt x="826" y="160"/>
                    </a:lnTo>
                    <a:lnTo>
                      <a:pt x="826" y="158"/>
                    </a:lnTo>
                    <a:lnTo>
                      <a:pt x="826" y="158"/>
                    </a:lnTo>
                    <a:lnTo>
                      <a:pt x="826" y="158"/>
                    </a:lnTo>
                    <a:lnTo>
                      <a:pt x="826" y="158"/>
                    </a:lnTo>
                    <a:lnTo>
                      <a:pt x="826" y="158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76" name="Freeform 535"/>
              <p:cNvSpPr>
                <a:spLocks/>
              </p:cNvSpPr>
              <p:nvPr/>
            </p:nvSpPr>
            <p:spPr bwMode="auto">
              <a:xfrm>
                <a:off x="4427" y="2448"/>
                <a:ext cx="34" cy="38"/>
              </a:xfrm>
              <a:custGeom>
                <a:avLst/>
                <a:gdLst>
                  <a:gd name="T0" fmla="*/ 22 w 34"/>
                  <a:gd name="T1" fmla="*/ 0 h 38"/>
                  <a:gd name="T2" fmla="*/ 20 w 34"/>
                  <a:gd name="T3" fmla="*/ 2 h 38"/>
                  <a:gd name="T4" fmla="*/ 18 w 34"/>
                  <a:gd name="T5" fmla="*/ 2 h 38"/>
                  <a:gd name="T6" fmla="*/ 16 w 34"/>
                  <a:gd name="T7" fmla="*/ 4 h 38"/>
                  <a:gd name="T8" fmla="*/ 12 w 34"/>
                  <a:gd name="T9" fmla="*/ 4 h 38"/>
                  <a:gd name="T10" fmla="*/ 12 w 34"/>
                  <a:gd name="T11" fmla="*/ 4 h 38"/>
                  <a:gd name="T12" fmla="*/ 10 w 34"/>
                  <a:gd name="T13" fmla="*/ 6 h 38"/>
                  <a:gd name="T14" fmla="*/ 8 w 34"/>
                  <a:gd name="T15" fmla="*/ 6 h 38"/>
                  <a:gd name="T16" fmla="*/ 6 w 34"/>
                  <a:gd name="T17" fmla="*/ 8 h 38"/>
                  <a:gd name="T18" fmla="*/ 4 w 34"/>
                  <a:gd name="T19" fmla="*/ 10 h 38"/>
                  <a:gd name="T20" fmla="*/ 2 w 34"/>
                  <a:gd name="T21" fmla="*/ 10 h 38"/>
                  <a:gd name="T22" fmla="*/ 2 w 34"/>
                  <a:gd name="T23" fmla="*/ 14 h 38"/>
                  <a:gd name="T24" fmla="*/ 2 w 34"/>
                  <a:gd name="T25" fmla="*/ 16 h 38"/>
                  <a:gd name="T26" fmla="*/ 0 w 34"/>
                  <a:gd name="T27" fmla="*/ 18 h 38"/>
                  <a:gd name="T28" fmla="*/ 0 w 34"/>
                  <a:gd name="T29" fmla="*/ 18 h 38"/>
                  <a:gd name="T30" fmla="*/ 2 w 34"/>
                  <a:gd name="T31" fmla="*/ 22 h 38"/>
                  <a:gd name="T32" fmla="*/ 2 w 34"/>
                  <a:gd name="T33" fmla="*/ 24 h 38"/>
                  <a:gd name="T34" fmla="*/ 4 w 34"/>
                  <a:gd name="T35" fmla="*/ 28 h 38"/>
                  <a:gd name="T36" fmla="*/ 6 w 34"/>
                  <a:gd name="T37" fmla="*/ 30 h 38"/>
                  <a:gd name="T38" fmla="*/ 8 w 34"/>
                  <a:gd name="T39" fmla="*/ 34 h 38"/>
                  <a:gd name="T40" fmla="*/ 8 w 34"/>
                  <a:gd name="T41" fmla="*/ 36 h 38"/>
                  <a:gd name="T42" fmla="*/ 12 w 34"/>
                  <a:gd name="T43" fmla="*/ 36 h 38"/>
                  <a:gd name="T44" fmla="*/ 16 w 34"/>
                  <a:gd name="T45" fmla="*/ 36 h 38"/>
                  <a:gd name="T46" fmla="*/ 18 w 34"/>
                  <a:gd name="T47" fmla="*/ 36 h 38"/>
                  <a:gd name="T48" fmla="*/ 20 w 34"/>
                  <a:gd name="T49" fmla="*/ 38 h 38"/>
                  <a:gd name="T50" fmla="*/ 24 w 34"/>
                  <a:gd name="T51" fmla="*/ 38 h 38"/>
                  <a:gd name="T52" fmla="*/ 24 w 34"/>
                  <a:gd name="T53" fmla="*/ 38 h 38"/>
                  <a:gd name="T54" fmla="*/ 28 w 34"/>
                  <a:gd name="T55" fmla="*/ 34 h 38"/>
                  <a:gd name="T56" fmla="*/ 28 w 34"/>
                  <a:gd name="T57" fmla="*/ 32 h 38"/>
                  <a:gd name="T58" fmla="*/ 30 w 34"/>
                  <a:gd name="T59" fmla="*/ 30 h 38"/>
                  <a:gd name="T60" fmla="*/ 30 w 34"/>
                  <a:gd name="T61" fmla="*/ 24 h 38"/>
                  <a:gd name="T62" fmla="*/ 30 w 34"/>
                  <a:gd name="T63" fmla="*/ 22 h 38"/>
                  <a:gd name="T64" fmla="*/ 32 w 34"/>
                  <a:gd name="T65" fmla="*/ 18 h 38"/>
                  <a:gd name="T66" fmla="*/ 32 w 34"/>
                  <a:gd name="T67" fmla="*/ 18 h 38"/>
                  <a:gd name="T68" fmla="*/ 34 w 34"/>
                  <a:gd name="T69" fmla="*/ 14 h 38"/>
                  <a:gd name="T70" fmla="*/ 34 w 34"/>
                  <a:gd name="T71" fmla="*/ 12 h 38"/>
                  <a:gd name="T72" fmla="*/ 34 w 34"/>
                  <a:gd name="T73" fmla="*/ 10 h 38"/>
                  <a:gd name="T74" fmla="*/ 32 w 34"/>
                  <a:gd name="T75" fmla="*/ 8 h 38"/>
                  <a:gd name="T76" fmla="*/ 32 w 34"/>
                  <a:gd name="T77" fmla="*/ 6 h 38"/>
                  <a:gd name="T78" fmla="*/ 30 w 34"/>
                  <a:gd name="T79" fmla="*/ 4 h 38"/>
                  <a:gd name="T80" fmla="*/ 28 w 34"/>
                  <a:gd name="T81" fmla="*/ 2 h 38"/>
                  <a:gd name="T82" fmla="*/ 24 w 34"/>
                  <a:gd name="T83" fmla="*/ 0 h 38"/>
                  <a:gd name="T84" fmla="*/ 22 w 34"/>
                  <a:gd name="T85" fmla="*/ 0 h 38"/>
                  <a:gd name="T86" fmla="*/ 22 w 34"/>
                  <a:gd name="T87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4" h="38">
                    <a:moveTo>
                      <a:pt x="22" y="0"/>
                    </a:moveTo>
                    <a:lnTo>
                      <a:pt x="22" y="0"/>
                    </a:lnTo>
                    <a:lnTo>
                      <a:pt x="20" y="0"/>
                    </a:lnTo>
                    <a:lnTo>
                      <a:pt x="20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4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6" y="8"/>
                    </a:lnTo>
                    <a:lnTo>
                      <a:pt x="4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" y="16"/>
                    </a:lnTo>
                    <a:lnTo>
                      <a:pt x="2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20"/>
                    </a:lnTo>
                    <a:lnTo>
                      <a:pt x="2" y="22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6"/>
                    </a:lnTo>
                    <a:lnTo>
                      <a:pt x="4" y="28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6"/>
                    </a:lnTo>
                    <a:lnTo>
                      <a:pt x="10" y="36"/>
                    </a:lnTo>
                    <a:lnTo>
                      <a:pt x="12" y="36"/>
                    </a:lnTo>
                    <a:lnTo>
                      <a:pt x="12" y="36"/>
                    </a:lnTo>
                    <a:lnTo>
                      <a:pt x="16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0" y="36"/>
                    </a:lnTo>
                    <a:lnTo>
                      <a:pt x="20" y="38"/>
                    </a:lnTo>
                    <a:lnTo>
                      <a:pt x="22" y="38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26" y="36"/>
                    </a:lnTo>
                    <a:lnTo>
                      <a:pt x="28" y="34"/>
                    </a:lnTo>
                    <a:lnTo>
                      <a:pt x="28" y="34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30" y="30"/>
                    </a:lnTo>
                    <a:lnTo>
                      <a:pt x="30" y="26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2"/>
                    </a:lnTo>
                    <a:lnTo>
                      <a:pt x="30" y="20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4" y="16"/>
                    </a:lnTo>
                    <a:lnTo>
                      <a:pt x="34" y="14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0"/>
                    </a:lnTo>
                    <a:lnTo>
                      <a:pt x="34" y="8"/>
                    </a:lnTo>
                    <a:lnTo>
                      <a:pt x="32" y="8"/>
                    </a:lnTo>
                    <a:lnTo>
                      <a:pt x="32" y="6"/>
                    </a:lnTo>
                    <a:lnTo>
                      <a:pt x="32" y="6"/>
                    </a:lnTo>
                    <a:lnTo>
                      <a:pt x="30" y="6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8" y="2"/>
                    </a:lnTo>
                    <a:lnTo>
                      <a:pt x="26" y="0"/>
                    </a:lnTo>
                    <a:lnTo>
                      <a:pt x="24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77" name="Freeform 537"/>
              <p:cNvSpPr>
                <a:spLocks/>
              </p:cNvSpPr>
              <p:nvPr/>
            </p:nvSpPr>
            <p:spPr bwMode="auto">
              <a:xfrm>
                <a:off x="3487" y="2074"/>
                <a:ext cx="224" cy="132"/>
              </a:xfrm>
              <a:custGeom>
                <a:avLst/>
                <a:gdLst>
                  <a:gd name="T0" fmla="*/ 46 w 224"/>
                  <a:gd name="T1" fmla="*/ 96 h 132"/>
                  <a:gd name="T2" fmla="*/ 56 w 224"/>
                  <a:gd name="T3" fmla="*/ 90 h 132"/>
                  <a:gd name="T4" fmla="*/ 62 w 224"/>
                  <a:gd name="T5" fmla="*/ 86 h 132"/>
                  <a:gd name="T6" fmla="*/ 70 w 224"/>
                  <a:gd name="T7" fmla="*/ 82 h 132"/>
                  <a:gd name="T8" fmla="*/ 88 w 224"/>
                  <a:gd name="T9" fmla="*/ 86 h 132"/>
                  <a:gd name="T10" fmla="*/ 100 w 224"/>
                  <a:gd name="T11" fmla="*/ 88 h 132"/>
                  <a:gd name="T12" fmla="*/ 118 w 224"/>
                  <a:gd name="T13" fmla="*/ 98 h 132"/>
                  <a:gd name="T14" fmla="*/ 132 w 224"/>
                  <a:gd name="T15" fmla="*/ 110 h 132"/>
                  <a:gd name="T16" fmla="*/ 142 w 224"/>
                  <a:gd name="T17" fmla="*/ 114 h 132"/>
                  <a:gd name="T18" fmla="*/ 148 w 224"/>
                  <a:gd name="T19" fmla="*/ 126 h 132"/>
                  <a:gd name="T20" fmla="*/ 156 w 224"/>
                  <a:gd name="T21" fmla="*/ 130 h 132"/>
                  <a:gd name="T22" fmla="*/ 182 w 224"/>
                  <a:gd name="T23" fmla="*/ 132 h 132"/>
                  <a:gd name="T24" fmla="*/ 194 w 224"/>
                  <a:gd name="T25" fmla="*/ 114 h 132"/>
                  <a:gd name="T26" fmla="*/ 204 w 224"/>
                  <a:gd name="T27" fmla="*/ 100 h 132"/>
                  <a:gd name="T28" fmla="*/ 220 w 224"/>
                  <a:gd name="T29" fmla="*/ 94 h 132"/>
                  <a:gd name="T30" fmla="*/ 224 w 224"/>
                  <a:gd name="T31" fmla="*/ 88 h 132"/>
                  <a:gd name="T32" fmla="*/ 220 w 224"/>
                  <a:gd name="T33" fmla="*/ 76 h 132"/>
                  <a:gd name="T34" fmla="*/ 206 w 224"/>
                  <a:gd name="T35" fmla="*/ 72 h 132"/>
                  <a:gd name="T36" fmla="*/ 188 w 224"/>
                  <a:gd name="T37" fmla="*/ 62 h 132"/>
                  <a:gd name="T38" fmla="*/ 176 w 224"/>
                  <a:gd name="T39" fmla="*/ 56 h 132"/>
                  <a:gd name="T40" fmla="*/ 162 w 224"/>
                  <a:gd name="T41" fmla="*/ 50 h 132"/>
                  <a:gd name="T42" fmla="*/ 150 w 224"/>
                  <a:gd name="T43" fmla="*/ 36 h 132"/>
                  <a:gd name="T44" fmla="*/ 138 w 224"/>
                  <a:gd name="T45" fmla="*/ 24 h 132"/>
                  <a:gd name="T46" fmla="*/ 130 w 224"/>
                  <a:gd name="T47" fmla="*/ 26 h 132"/>
                  <a:gd name="T48" fmla="*/ 122 w 224"/>
                  <a:gd name="T49" fmla="*/ 24 h 132"/>
                  <a:gd name="T50" fmla="*/ 114 w 224"/>
                  <a:gd name="T51" fmla="*/ 16 h 132"/>
                  <a:gd name="T52" fmla="*/ 112 w 224"/>
                  <a:gd name="T53" fmla="*/ 6 h 132"/>
                  <a:gd name="T54" fmla="*/ 100 w 224"/>
                  <a:gd name="T55" fmla="*/ 2 h 132"/>
                  <a:gd name="T56" fmla="*/ 82 w 224"/>
                  <a:gd name="T57" fmla="*/ 2 h 132"/>
                  <a:gd name="T58" fmla="*/ 68 w 224"/>
                  <a:gd name="T59" fmla="*/ 10 h 132"/>
                  <a:gd name="T60" fmla="*/ 64 w 224"/>
                  <a:gd name="T61" fmla="*/ 24 h 132"/>
                  <a:gd name="T62" fmla="*/ 50 w 224"/>
                  <a:gd name="T63" fmla="*/ 22 h 132"/>
                  <a:gd name="T64" fmla="*/ 44 w 224"/>
                  <a:gd name="T65" fmla="*/ 26 h 132"/>
                  <a:gd name="T66" fmla="*/ 40 w 224"/>
                  <a:gd name="T67" fmla="*/ 24 h 132"/>
                  <a:gd name="T68" fmla="*/ 32 w 224"/>
                  <a:gd name="T69" fmla="*/ 12 h 132"/>
                  <a:gd name="T70" fmla="*/ 26 w 224"/>
                  <a:gd name="T71" fmla="*/ 10 h 132"/>
                  <a:gd name="T72" fmla="*/ 16 w 224"/>
                  <a:gd name="T73" fmla="*/ 8 h 132"/>
                  <a:gd name="T74" fmla="*/ 4 w 224"/>
                  <a:gd name="T75" fmla="*/ 16 h 132"/>
                  <a:gd name="T76" fmla="*/ 2 w 224"/>
                  <a:gd name="T77" fmla="*/ 26 h 132"/>
                  <a:gd name="T78" fmla="*/ 2 w 224"/>
                  <a:gd name="T79" fmla="*/ 30 h 132"/>
                  <a:gd name="T80" fmla="*/ 6 w 224"/>
                  <a:gd name="T81" fmla="*/ 32 h 132"/>
                  <a:gd name="T82" fmla="*/ 6 w 224"/>
                  <a:gd name="T83" fmla="*/ 22 h 132"/>
                  <a:gd name="T84" fmla="*/ 10 w 224"/>
                  <a:gd name="T85" fmla="*/ 14 h 132"/>
                  <a:gd name="T86" fmla="*/ 18 w 224"/>
                  <a:gd name="T87" fmla="*/ 12 h 132"/>
                  <a:gd name="T88" fmla="*/ 24 w 224"/>
                  <a:gd name="T89" fmla="*/ 18 h 132"/>
                  <a:gd name="T90" fmla="*/ 32 w 224"/>
                  <a:gd name="T91" fmla="*/ 30 h 132"/>
                  <a:gd name="T92" fmla="*/ 28 w 224"/>
                  <a:gd name="T93" fmla="*/ 38 h 132"/>
                  <a:gd name="T94" fmla="*/ 22 w 224"/>
                  <a:gd name="T95" fmla="*/ 42 h 132"/>
                  <a:gd name="T96" fmla="*/ 20 w 224"/>
                  <a:gd name="T97" fmla="*/ 38 h 132"/>
                  <a:gd name="T98" fmla="*/ 14 w 224"/>
                  <a:gd name="T99" fmla="*/ 42 h 132"/>
                  <a:gd name="T100" fmla="*/ 6 w 224"/>
                  <a:gd name="T101" fmla="*/ 40 h 132"/>
                  <a:gd name="T102" fmla="*/ 6 w 224"/>
                  <a:gd name="T103" fmla="*/ 56 h 132"/>
                  <a:gd name="T104" fmla="*/ 12 w 224"/>
                  <a:gd name="T105" fmla="*/ 60 h 132"/>
                  <a:gd name="T106" fmla="*/ 18 w 224"/>
                  <a:gd name="T107" fmla="*/ 62 h 132"/>
                  <a:gd name="T108" fmla="*/ 20 w 224"/>
                  <a:gd name="T109" fmla="*/ 72 h 132"/>
                  <a:gd name="T110" fmla="*/ 28 w 224"/>
                  <a:gd name="T111" fmla="*/ 76 h 132"/>
                  <a:gd name="T112" fmla="*/ 28 w 224"/>
                  <a:gd name="T113" fmla="*/ 86 h 132"/>
                  <a:gd name="T114" fmla="*/ 26 w 224"/>
                  <a:gd name="T115" fmla="*/ 104 h 132"/>
                  <a:gd name="T116" fmla="*/ 24 w 224"/>
                  <a:gd name="T117" fmla="*/ 110 h 132"/>
                  <a:gd name="T118" fmla="*/ 32 w 224"/>
                  <a:gd name="T119" fmla="*/ 110 h 132"/>
                  <a:gd name="T120" fmla="*/ 40 w 224"/>
                  <a:gd name="T121" fmla="*/ 106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24" h="132">
                    <a:moveTo>
                      <a:pt x="40" y="106"/>
                    </a:moveTo>
                    <a:lnTo>
                      <a:pt x="40" y="106"/>
                    </a:lnTo>
                    <a:lnTo>
                      <a:pt x="42" y="104"/>
                    </a:lnTo>
                    <a:lnTo>
                      <a:pt x="44" y="102"/>
                    </a:lnTo>
                    <a:lnTo>
                      <a:pt x="44" y="100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8" y="94"/>
                    </a:lnTo>
                    <a:lnTo>
                      <a:pt x="48" y="92"/>
                    </a:lnTo>
                    <a:lnTo>
                      <a:pt x="50" y="92"/>
                    </a:lnTo>
                    <a:lnTo>
                      <a:pt x="52" y="90"/>
                    </a:lnTo>
                    <a:lnTo>
                      <a:pt x="56" y="90"/>
                    </a:lnTo>
                    <a:lnTo>
                      <a:pt x="56" y="90"/>
                    </a:lnTo>
                    <a:lnTo>
                      <a:pt x="58" y="90"/>
                    </a:lnTo>
                    <a:lnTo>
                      <a:pt x="58" y="88"/>
                    </a:lnTo>
                    <a:lnTo>
                      <a:pt x="60" y="88"/>
                    </a:lnTo>
                    <a:lnTo>
                      <a:pt x="60" y="88"/>
                    </a:lnTo>
                    <a:lnTo>
                      <a:pt x="62" y="86"/>
                    </a:lnTo>
                    <a:lnTo>
                      <a:pt x="64" y="84"/>
                    </a:lnTo>
                    <a:lnTo>
                      <a:pt x="66" y="82"/>
                    </a:lnTo>
                    <a:lnTo>
                      <a:pt x="66" y="82"/>
                    </a:lnTo>
                    <a:lnTo>
                      <a:pt x="66" y="82"/>
                    </a:lnTo>
                    <a:lnTo>
                      <a:pt x="68" y="82"/>
                    </a:lnTo>
                    <a:lnTo>
                      <a:pt x="70" y="82"/>
                    </a:lnTo>
                    <a:lnTo>
                      <a:pt x="74" y="82"/>
                    </a:lnTo>
                    <a:lnTo>
                      <a:pt x="80" y="84"/>
                    </a:lnTo>
                    <a:lnTo>
                      <a:pt x="80" y="84"/>
                    </a:lnTo>
                    <a:lnTo>
                      <a:pt x="82" y="84"/>
                    </a:lnTo>
                    <a:lnTo>
                      <a:pt x="84" y="86"/>
                    </a:lnTo>
                    <a:lnTo>
                      <a:pt x="88" y="86"/>
                    </a:lnTo>
                    <a:lnTo>
                      <a:pt x="90" y="86"/>
                    </a:lnTo>
                    <a:lnTo>
                      <a:pt x="92" y="86"/>
                    </a:lnTo>
                    <a:lnTo>
                      <a:pt x="92" y="86"/>
                    </a:lnTo>
                    <a:lnTo>
                      <a:pt x="94" y="86"/>
                    </a:lnTo>
                    <a:lnTo>
                      <a:pt x="96" y="86"/>
                    </a:lnTo>
                    <a:lnTo>
                      <a:pt x="100" y="88"/>
                    </a:lnTo>
                    <a:lnTo>
                      <a:pt x="102" y="90"/>
                    </a:lnTo>
                    <a:lnTo>
                      <a:pt x="102" y="90"/>
                    </a:lnTo>
                    <a:lnTo>
                      <a:pt x="104" y="92"/>
                    </a:lnTo>
                    <a:lnTo>
                      <a:pt x="108" y="94"/>
                    </a:lnTo>
                    <a:lnTo>
                      <a:pt x="112" y="96"/>
                    </a:lnTo>
                    <a:lnTo>
                      <a:pt x="118" y="98"/>
                    </a:lnTo>
                    <a:lnTo>
                      <a:pt x="124" y="102"/>
                    </a:lnTo>
                    <a:lnTo>
                      <a:pt x="124" y="102"/>
                    </a:lnTo>
                    <a:lnTo>
                      <a:pt x="126" y="104"/>
                    </a:lnTo>
                    <a:lnTo>
                      <a:pt x="128" y="106"/>
                    </a:lnTo>
                    <a:lnTo>
                      <a:pt x="130" y="108"/>
                    </a:lnTo>
                    <a:lnTo>
                      <a:pt x="132" y="110"/>
                    </a:lnTo>
                    <a:lnTo>
                      <a:pt x="132" y="110"/>
                    </a:lnTo>
                    <a:lnTo>
                      <a:pt x="136" y="110"/>
                    </a:lnTo>
                    <a:lnTo>
                      <a:pt x="138" y="112"/>
                    </a:lnTo>
                    <a:lnTo>
                      <a:pt x="140" y="112"/>
                    </a:lnTo>
                    <a:lnTo>
                      <a:pt x="142" y="114"/>
                    </a:lnTo>
                    <a:lnTo>
                      <a:pt x="142" y="114"/>
                    </a:lnTo>
                    <a:lnTo>
                      <a:pt x="144" y="116"/>
                    </a:lnTo>
                    <a:lnTo>
                      <a:pt x="146" y="118"/>
                    </a:lnTo>
                    <a:lnTo>
                      <a:pt x="148" y="120"/>
                    </a:lnTo>
                    <a:lnTo>
                      <a:pt x="148" y="124"/>
                    </a:lnTo>
                    <a:lnTo>
                      <a:pt x="148" y="124"/>
                    </a:lnTo>
                    <a:lnTo>
                      <a:pt x="148" y="126"/>
                    </a:lnTo>
                    <a:lnTo>
                      <a:pt x="148" y="126"/>
                    </a:lnTo>
                    <a:lnTo>
                      <a:pt x="150" y="128"/>
                    </a:lnTo>
                    <a:lnTo>
                      <a:pt x="150" y="128"/>
                    </a:lnTo>
                    <a:lnTo>
                      <a:pt x="152" y="128"/>
                    </a:lnTo>
                    <a:lnTo>
                      <a:pt x="156" y="130"/>
                    </a:lnTo>
                    <a:lnTo>
                      <a:pt x="156" y="130"/>
                    </a:lnTo>
                    <a:lnTo>
                      <a:pt x="162" y="130"/>
                    </a:lnTo>
                    <a:lnTo>
                      <a:pt x="168" y="132"/>
                    </a:lnTo>
                    <a:lnTo>
                      <a:pt x="172" y="132"/>
                    </a:lnTo>
                    <a:lnTo>
                      <a:pt x="174" y="132"/>
                    </a:lnTo>
                    <a:lnTo>
                      <a:pt x="178" y="132"/>
                    </a:lnTo>
                    <a:lnTo>
                      <a:pt x="182" y="132"/>
                    </a:lnTo>
                    <a:lnTo>
                      <a:pt x="182" y="132"/>
                    </a:lnTo>
                    <a:lnTo>
                      <a:pt x="184" y="126"/>
                    </a:lnTo>
                    <a:lnTo>
                      <a:pt x="186" y="124"/>
                    </a:lnTo>
                    <a:lnTo>
                      <a:pt x="186" y="122"/>
                    </a:lnTo>
                    <a:lnTo>
                      <a:pt x="190" y="118"/>
                    </a:lnTo>
                    <a:lnTo>
                      <a:pt x="194" y="114"/>
                    </a:lnTo>
                    <a:lnTo>
                      <a:pt x="194" y="114"/>
                    </a:lnTo>
                    <a:lnTo>
                      <a:pt x="196" y="112"/>
                    </a:lnTo>
                    <a:lnTo>
                      <a:pt x="198" y="110"/>
                    </a:lnTo>
                    <a:lnTo>
                      <a:pt x="200" y="106"/>
                    </a:lnTo>
                    <a:lnTo>
                      <a:pt x="202" y="106"/>
                    </a:lnTo>
                    <a:lnTo>
                      <a:pt x="204" y="100"/>
                    </a:lnTo>
                    <a:lnTo>
                      <a:pt x="208" y="94"/>
                    </a:lnTo>
                    <a:lnTo>
                      <a:pt x="208" y="94"/>
                    </a:lnTo>
                    <a:lnTo>
                      <a:pt x="212" y="94"/>
                    </a:lnTo>
                    <a:lnTo>
                      <a:pt x="214" y="94"/>
                    </a:lnTo>
                    <a:lnTo>
                      <a:pt x="218" y="94"/>
                    </a:lnTo>
                    <a:lnTo>
                      <a:pt x="220" y="94"/>
                    </a:lnTo>
                    <a:lnTo>
                      <a:pt x="222" y="92"/>
                    </a:lnTo>
                    <a:lnTo>
                      <a:pt x="224" y="92"/>
                    </a:lnTo>
                    <a:lnTo>
                      <a:pt x="224" y="90"/>
                    </a:lnTo>
                    <a:lnTo>
                      <a:pt x="224" y="88"/>
                    </a:lnTo>
                    <a:lnTo>
                      <a:pt x="224" y="88"/>
                    </a:lnTo>
                    <a:lnTo>
                      <a:pt x="224" y="88"/>
                    </a:lnTo>
                    <a:lnTo>
                      <a:pt x="224" y="86"/>
                    </a:lnTo>
                    <a:lnTo>
                      <a:pt x="224" y="84"/>
                    </a:lnTo>
                    <a:lnTo>
                      <a:pt x="224" y="82"/>
                    </a:lnTo>
                    <a:lnTo>
                      <a:pt x="222" y="80"/>
                    </a:lnTo>
                    <a:lnTo>
                      <a:pt x="220" y="76"/>
                    </a:lnTo>
                    <a:lnTo>
                      <a:pt x="220" y="76"/>
                    </a:lnTo>
                    <a:lnTo>
                      <a:pt x="218" y="74"/>
                    </a:lnTo>
                    <a:lnTo>
                      <a:pt x="216" y="74"/>
                    </a:lnTo>
                    <a:lnTo>
                      <a:pt x="214" y="72"/>
                    </a:lnTo>
                    <a:lnTo>
                      <a:pt x="212" y="72"/>
                    </a:lnTo>
                    <a:lnTo>
                      <a:pt x="212" y="72"/>
                    </a:lnTo>
                    <a:lnTo>
                      <a:pt x="206" y="72"/>
                    </a:lnTo>
                    <a:lnTo>
                      <a:pt x="200" y="70"/>
                    </a:lnTo>
                    <a:lnTo>
                      <a:pt x="196" y="66"/>
                    </a:lnTo>
                    <a:lnTo>
                      <a:pt x="190" y="64"/>
                    </a:lnTo>
                    <a:lnTo>
                      <a:pt x="190" y="64"/>
                    </a:lnTo>
                    <a:lnTo>
                      <a:pt x="188" y="62"/>
                    </a:lnTo>
                    <a:lnTo>
                      <a:pt x="188" y="62"/>
                    </a:lnTo>
                    <a:lnTo>
                      <a:pt x="186" y="60"/>
                    </a:lnTo>
                    <a:lnTo>
                      <a:pt x="182" y="58"/>
                    </a:lnTo>
                    <a:lnTo>
                      <a:pt x="182" y="56"/>
                    </a:lnTo>
                    <a:lnTo>
                      <a:pt x="180" y="56"/>
                    </a:lnTo>
                    <a:lnTo>
                      <a:pt x="180" y="56"/>
                    </a:lnTo>
                    <a:lnTo>
                      <a:pt x="176" y="56"/>
                    </a:lnTo>
                    <a:lnTo>
                      <a:pt x="172" y="56"/>
                    </a:lnTo>
                    <a:lnTo>
                      <a:pt x="168" y="54"/>
                    </a:lnTo>
                    <a:lnTo>
                      <a:pt x="168" y="54"/>
                    </a:lnTo>
                    <a:lnTo>
                      <a:pt x="166" y="54"/>
                    </a:lnTo>
                    <a:lnTo>
                      <a:pt x="166" y="54"/>
                    </a:lnTo>
                    <a:lnTo>
                      <a:pt x="162" y="50"/>
                    </a:lnTo>
                    <a:lnTo>
                      <a:pt x="158" y="46"/>
                    </a:lnTo>
                    <a:lnTo>
                      <a:pt x="156" y="44"/>
                    </a:lnTo>
                    <a:lnTo>
                      <a:pt x="154" y="42"/>
                    </a:lnTo>
                    <a:lnTo>
                      <a:pt x="152" y="38"/>
                    </a:lnTo>
                    <a:lnTo>
                      <a:pt x="150" y="36"/>
                    </a:lnTo>
                    <a:lnTo>
                      <a:pt x="150" y="36"/>
                    </a:lnTo>
                    <a:lnTo>
                      <a:pt x="150" y="34"/>
                    </a:lnTo>
                    <a:lnTo>
                      <a:pt x="148" y="32"/>
                    </a:lnTo>
                    <a:lnTo>
                      <a:pt x="146" y="30"/>
                    </a:lnTo>
                    <a:lnTo>
                      <a:pt x="144" y="28"/>
                    </a:lnTo>
                    <a:lnTo>
                      <a:pt x="140" y="24"/>
                    </a:lnTo>
                    <a:lnTo>
                      <a:pt x="138" y="24"/>
                    </a:lnTo>
                    <a:lnTo>
                      <a:pt x="136" y="22"/>
                    </a:lnTo>
                    <a:lnTo>
                      <a:pt x="134" y="22"/>
                    </a:lnTo>
                    <a:lnTo>
                      <a:pt x="132" y="22"/>
                    </a:lnTo>
                    <a:lnTo>
                      <a:pt x="132" y="22"/>
                    </a:lnTo>
                    <a:lnTo>
                      <a:pt x="132" y="26"/>
                    </a:lnTo>
                    <a:lnTo>
                      <a:pt x="130" y="26"/>
                    </a:lnTo>
                    <a:lnTo>
                      <a:pt x="130" y="28"/>
                    </a:lnTo>
                    <a:lnTo>
                      <a:pt x="128" y="28"/>
                    </a:lnTo>
                    <a:lnTo>
                      <a:pt x="128" y="28"/>
                    </a:lnTo>
                    <a:lnTo>
                      <a:pt x="126" y="26"/>
                    </a:lnTo>
                    <a:lnTo>
                      <a:pt x="124" y="26"/>
                    </a:lnTo>
                    <a:lnTo>
                      <a:pt x="122" y="24"/>
                    </a:lnTo>
                    <a:lnTo>
                      <a:pt x="120" y="22"/>
                    </a:lnTo>
                    <a:lnTo>
                      <a:pt x="118" y="20"/>
                    </a:lnTo>
                    <a:lnTo>
                      <a:pt x="118" y="20"/>
                    </a:lnTo>
                    <a:lnTo>
                      <a:pt x="114" y="18"/>
                    </a:lnTo>
                    <a:lnTo>
                      <a:pt x="114" y="16"/>
                    </a:lnTo>
                    <a:lnTo>
                      <a:pt x="114" y="16"/>
                    </a:lnTo>
                    <a:lnTo>
                      <a:pt x="114" y="14"/>
                    </a:lnTo>
                    <a:lnTo>
                      <a:pt x="114" y="10"/>
                    </a:lnTo>
                    <a:lnTo>
                      <a:pt x="114" y="10"/>
                    </a:lnTo>
                    <a:lnTo>
                      <a:pt x="114" y="8"/>
                    </a:lnTo>
                    <a:lnTo>
                      <a:pt x="114" y="6"/>
                    </a:lnTo>
                    <a:lnTo>
                      <a:pt x="112" y="6"/>
                    </a:lnTo>
                    <a:lnTo>
                      <a:pt x="112" y="4"/>
                    </a:lnTo>
                    <a:lnTo>
                      <a:pt x="110" y="4"/>
                    </a:lnTo>
                    <a:lnTo>
                      <a:pt x="108" y="4"/>
                    </a:lnTo>
                    <a:lnTo>
                      <a:pt x="108" y="4"/>
                    </a:lnTo>
                    <a:lnTo>
                      <a:pt x="104" y="4"/>
                    </a:lnTo>
                    <a:lnTo>
                      <a:pt x="100" y="2"/>
                    </a:lnTo>
                    <a:lnTo>
                      <a:pt x="94" y="0"/>
                    </a:lnTo>
                    <a:lnTo>
                      <a:pt x="92" y="0"/>
                    </a:lnTo>
                    <a:lnTo>
                      <a:pt x="88" y="0"/>
                    </a:lnTo>
                    <a:lnTo>
                      <a:pt x="86" y="0"/>
                    </a:lnTo>
                    <a:lnTo>
                      <a:pt x="82" y="2"/>
                    </a:lnTo>
                    <a:lnTo>
                      <a:pt x="82" y="2"/>
                    </a:lnTo>
                    <a:lnTo>
                      <a:pt x="74" y="4"/>
                    </a:lnTo>
                    <a:lnTo>
                      <a:pt x="70" y="6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8" y="14"/>
                    </a:lnTo>
                    <a:lnTo>
                      <a:pt x="68" y="16"/>
                    </a:lnTo>
                    <a:lnTo>
                      <a:pt x="68" y="20"/>
                    </a:lnTo>
                    <a:lnTo>
                      <a:pt x="68" y="20"/>
                    </a:lnTo>
                    <a:lnTo>
                      <a:pt x="66" y="22"/>
                    </a:lnTo>
                    <a:lnTo>
                      <a:pt x="64" y="24"/>
                    </a:lnTo>
                    <a:lnTo>
                      <a:pt x="64" y="24"/>
                    </a:lnTo>
                    <a:lnTo>
                      <a:pt x="60" y="24"/>
                    </a:lnTo>
                    <a:lnTo>
                      <a:pt x="58" y="24"/>
                    </a:lnTo>
                    <a:lnTo>
                      <a:pt x="56" y="24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24"/>
                    </a:lnTo>
                    <a:lnTo>
                      <a:pt x="50" y="26"/>
                    </a:lnTo>
                    <a:lnTo>
                      <a:pt x="50" y="26"/>
                    </a:lnTo>
                    <a:lnTo>
                      <a:pt x="50" y="26"/>
                    </a:lnTo>
                    <a:lnTo>
                      <a:pt x="48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2" y="26"/>
                    </a:lnTo>
                    <a:lnTo>
                      <a:pt x="40" y="26"/>
                    </a:lnTo>
                    <a:lnTo>
                      <a:pt x="40" y="24"/>
                    </a:lnTo>
                    <a:lnTo>
                      <a:pt x="40" y="24"/>
                    </a:lnTo>
                    <a:lnTo>
                      <a:pt x="38" y="22"/>
                    </a:lnTo>
                    <a:lnTo>
                      <a:pt x="36" y="18"/>
                    </a:lnTo>
                    <a:lnTo>
                      <a:pt x="34" y="14"/>
                    </a:lnTo>
                    <a:lnTo>
                      <a:pt x="34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0" y="8"/>
                    </a:lnTo>
                    <a:lnTo>
                      <a:pt x="16" y="8"/>
                    </a:lnTo>
                    <a:lnTo>
                      <a:pt x="14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8" y="14"/>
                    </a:lnTo>
                    <a:lnTo>
                      <a:pt x="6" y="14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20"/>
                    </a:lnTo>
                    <a:lnTo>
                      <a:pt x="4" y="22"/>
                    </a:lnTo>
                    <a:lnTo>
                      <a:pt x="4" y="2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8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2"/>
                    </a:lnTo>
                    <a:lnTo>
                      <a:pt x="4" y="34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6" y="28"/>
                    </a:lnTo>
                    <a:lnTo>
                      <a:pt x="6" y="26"/>
                    </a:lnTo>
                    <a:lnTo>
                      <a:pt x="6" y="24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0"/>
                    </a:lnTo>
                    <a:lnTo>
                      <a:pt x="8" y="18"/>
                    </a:lnTo>
                    <a:lnTo>
                      <a:pt x="8" y="16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2" y="12"/>
                    </a:lnTo>
                    <a:lnTo>
                      <a:pt x="14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0"/>
                    </a:lnTo>
                    <a:lnTo>
                      <a:pt x="18" y="12"/>
                    </a:lnTo>
                    <a:lnTo>
                      <a:pt x="20" y="12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2" y="14"/>
                    </a:lnTo>
                    <a:lnTo>
                      <a:pt x="22" y="16"/>
                    </a:lnTo>
                    <a:lnTo>
                      <a:pt x="24" y="18"/>
                    </a:lnTo>
                    <a:lnTo>
                      <a:pt x="24" y="22"/>
                    </a:lnTo>
                    <a:lnTo>
                      <a:pt x="26" y="24"/>
                    </a:lnTo>
                    <a:lnTo>
                      <a:pt x="26" y="24"/>
                    </a:lnTo>
                    <a:lnTo>
                      <a:pt x="28" y="26"/>
                    </a:lnTo>
                    <a:lnTo>
                      <a:pt x="32" y="28"/>
                    </a:lnTo>
                    <a:lnTo>
                      <a:pt x="32" y="30"/>
                    </a:lnTo>
                    <a:lnTo>
                      <a:pt x="34" y="30"/>
                    </a:lnTo>
                    <a:lnTo>
                      <a:pt x="34" y="32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30" y="36"/>
                    </a:lnTo>
                    <a:lnTo>
                      <a:pt x="28" y="38"/>
                    </a:lnTo>
                    <a:lnTo>
                      <a:pt x="28" y="38"/>
                    </a:lnTo>
                    <a:lnTo>
                      <a:pt x="26" y="40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2" y="40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18" y="38"/>
                    </a:lnTo>
                    <a:lnTo>
                      <a:pt x="16" y="38"/>
                    </a:lnTo>
                    <a:lnTo>
                      <a:pt x="14" y="40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2" y="42"/>
                    </a:lnTo>
                    <a:lnTo>
                      <a:pt x="12" y="40"/>
                    </a:lnTo>
                    <a:lnTo>
                      <a:pt x="10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6" y="40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6"/>
                    </a:lnTo>
                    <a:lnTo>
                      <a:pt x="6" y="50"/>
                    </a:lnTo>
                    <a:lnTo>
                      <a:pt x="6" y="52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8" y="58"/>
                    </a:lnTo>
                    <a:lnTo>
                      <a:pt x="10" y="60"/>
                    </a:lnTo>
                    <a:lnTo>
                      <a:pt x="10" y="60"/>
                    </a:lnTo>
                    <a:lnTo>
                      <a:pt x="10" y="60"/>
                    </a:lnTo>
                    <a:lnTo>
                      <a:pt x="12" y="60"/>
                    </a:lnTo>
                    <a:lnTo>
                      <a:pt x="14" y="60"/>
                    </a:lnTo>
                    <a:lnTo>
                      <a:pt x="14" y="60"/>
                    </a:lnTo>
                    <a:lnTo>
                      <a:pt x="16" y="60"/>
                    </a:lnTo>
                    <a:lnTo>
                      <a:pt x="16" y="60"/>
                    </a:lnTo>
                    <a:lnTo>
                      <a:pt x="16" y="62"/>
                    </a:lnTo>
                    <a:lnTo>
                      <a:pt x="18" y="62"/>
                    </a:lnTo>
                    <a:lnTo>
                      <a:pt x="18" y="64"/>
                    </a:lnTo>
                    <a:lnTo>
                      <a:pt x="18" y="66"/>
                    </a:lnTo>
                    <a:lnTo>
                      <a:pt x="18" y="70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20" y="72"/>
                    </a:lnTo>
                    <a:lnTo>
                      <a:pt x="22" y="72"/>
                    </a:lnTo>
                    <a:lnTo>
                      <a:pt x="24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8" y="76"/>
                    </a:lnTo>
                    <a:lnTo>
                      <a:pt x="28" y="76"/>
                    </a:lnTo>
                    <a:lnTo>
                      <a:pt x="28" y="76"/>
                    </a:lnTo>
                    <a:lnTo>
                      <a:pt x="28" y="78"/>
                    </a:lnTo>
                    <a:lnTo>
                      <a:pt x="28" y="82"/>
                    </a:lnTo>
                    <a:lnTo>
                      <a:pt x="28" y="84"/>
                    </a:lnTo>
                    <a:lnTo>
                      <a:pt x="28" y="86"/>
                    </a:lnTo>
                    <a:lnTo>
                      <a:pt x="28" y="86"/>
                    </a:lnTo>
                    <a:lnTo>
                      <a:pt x="26" y="88"/>
                    </a:lnTo>
                    <a:lnTo>
                      <a:pt x="26" y="92"/>
                    </a:lnTo>
                    <a:lnTo>
                      <a:pt x="24" y="98"/>
                    </a:lnTo>
                    <a:lnTo>
                      <a:pt x="24" y="98"/>
                    </a:lnTo>
                    <a:lnTo>
                      <a:pt x="24" y="102"/>
                    </a:lnTo>
                    <a:lnTo>
                      <a:pt x="26" y="104"/>
                    </a:lnTo>
                    <a:lnTo>
                      <a:pt x="26" y="106"/>
                    </a:lnTo>
                    <a:lnTo>
                      <a:pt x="28" y="106"/>
                    </a:lnTo>
                    <a:lnTo>
                      <a:pt x="28" y="106"/>
                    </a:lnTo>
                    <a:lnTo>
                      <a:pt x="26" y="108"/>
                    </a:lnTo>
                    <a:lnTo>
                      <a:pt x="24" y="110"/>
                    </a:lnTo>
                    <a:lnTo>
                      <a:pt x="24" y="110"/>
                    </a:lnTo>
                    <a:lnTo>
                      <a:pt x="22" y="110"/>
                    </a:lnTo>
                    <a:lnTo>
                      <a:pt x="22" y="110"/>
                    </a:lnTo>
                    <a:lnTo>
                      <a:pt x="26" y="112"/>
                    </a:lnTo>
                    <a:lnTo>
                      <a:pt x="28" y="112"/>
                    </a:lnTo>
                    <a:lnTo>
                      <a:pt x="30" y="112"/>
                    </a:lnTo>
                    <a:lnTo>
                      <a:pt x="32" y="110"/>
                    </a:lnTo>
                    <a:lnTo>
                      <a:pt x="36" y="108"/>
                    </a:lnTo>
                    <a:lnTo>
                      <a:pt x="40" y="106"/>
                    </a:lnTo>
                    <a:lnTo>
                      <a:pt x="40" y="106"/>
                    </a:lnTo>
                    <a:lnTo>
                      <a:pt x="40" y="106"/>
                    </a:lnTo>
                    <a:lnTo>
                      <a:pt x="40" y="106"/>
                    </a:lnTo>
                    <a:lnTo>
                      <a:pt x="40" y="10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78" name="Freeform 539"/>
              <p:cNvSpPr>
                <a:spLocks/>
              </p:cNvSpPr>
              <p:nvPr/>
            </p:nvSpPr>
            <p:spPr bwMode="auto">
              <a:xfrm>
                <a:off x="3359" y="2110"/>
                <a:ext cx="50" cy="44"/>
              </a:xfrm>
              <a:custGeom>
                <a:avLst/>
                <a:gdLst>
                  <a:gd name="T0" fmla="*/ 24 w 50"/>
                  <a:gd name="T1" fmla="*/ 36 h 44"/>
                  <a:gd name="T2" fmla="*/ 28 w 50"/>
                  <a:gd name="T3" fmla="*/ 38 h 44"/>
                  <a:gd name="T4" fmla="*/ 30 w 50"/>
                  <a:gd name="T5" fmla="*/ 42 h 44"/>
                  <a:gd name="T6" fmla="*/ 34 w 50"/>
                  <a:gd name="T7" fmla="*/ 44 h 44"/>
                  <a:gd name="T8" fmla="*/ 36 w 50"/>
                  <a:gd name="T9" fmla="*/ 44 h 44"/>
                  <a:gd name="T10" fmla="*/ 42 w 50"/>
                  <a:gd name="T11" fmla="*/ 44 h 44"/>
                  <a:gd name="T12" fmla="*/ 46 w 50"/>
                  <a:gd name="T13" fmla="*/ 44 h 44"/>
                  <a:gd name="T14" fmla="*/ 48 w 50"/>
                  <a:gd name="T15" fmla="*/ 42 h 44"/>
                  <a:gd name="T16" fmla="*/ 50 w 50"/>
                  <a:gd name="T17" fmla="*/ 40 h 44"/>
                  <a:gd name="T18" fmla="*/ 50 w 50"/>
                  <a:gd name="T19" fmla="*/ 36 h 44"/>
                  <a:gd name="T20" fmla="*/ 48 w 50"/>
                  <a:gd name="T21" fmla="*/ 34 h 44"/>
                  <a:gd name="T22" fmla="*/ 46 w 50"/>
                  <a:gd name="T23" fmla="*/ 34 h 44"/>
                  <a:gd name="T24" fmla="*/ 44 w 50"/>
                  <a:gd name="T25" fmla="*/ 32 h 44"/>
                  <a:gd name="T26" fmla="*/ 40 w 50"/>
                  <a:gd name="T27" fmla="*/ 30 h 44"/>
                  <a:gd name="T28" fmla="*/ 38 w 50"/>
                  <a:gd name="T29" fmla="*/ 28 h 44"/>
                  <a:gd name="T30" fmla="*/ 38 w 50"/>
                  <a:gd name="T31" fmla="*/ 28 h 44"/>
                  <a:gd name="T32" fmla="*/ 38 w 50"/>
                  <a:gd name="T33" fmla="*/ 24 h 44"/>
                  <a:gd name="T34" fmla="*/ 38 w 50"/>
                  <a:gd name="T35" fmla="*/ 22 h 44"/>
                  <a:gd name="T36" fmla="*/ 36 w 50"/>
                  <a:gd name="T37" fmla="*/ 22 h 44"/>
                  <a:gd name="T38" fmla="*/ 36 w 50"/>
                  <a:gd name="T39" fmla="*/ 20 h 44"/>
                  <a:gd name="T40" fmla="*/ 36 w 50"/>
                  <a:gd name="T41" fmla="*/ 20 h 44"/>
                  <a:gd name="T42" fmla="*/ 36 w 50"/>
                  <a:gd name="T43" fmla="*/ 16 h 44"/>
                  <a:gd name="T44" fmla="*/ 36 w 50"/>
                  <a:gd name="T45" fmla="*/ 14 h 44"/>
                  <a:gd name="T46" fmla="*/ 34 w 50"/>
                  <a:gd name="T47" fmla="*/ 12 h 44"/>
                  <a:gd name="T48" fmla="*/ 30 w 50"/>
                  <a:gd name="T49" fmla="*/ 10 h 44"/>
                  <a:gd name="T50" fmla="*/ 28 w 50"/>
                  <a:gd name="T51" fmla="*/ 8 h 44"/>
                  <a:gd name="T52" fmla="*/ 24 w 50"/>
                  <a:gd name="T53" fmla="*/ 4 h 44"/>
                  <a:gd name="T54" fmla="*/ 22 w 50"/>
                  <a:gd name="T55" fmla="*/ 2 h 44"/>
                  <a:gd name="T56" fmla="*/ 22 w 50"/>
                  <a:gd name="T57" fmla="*/ 0 h 44"/>
                  <a:gd name="T58" fmla="*/ 20 w 50"/>
                  <a:gd name="T59" fmla="*/ 0 h 44"/>
                  <a:gd name="T60" fmla="*/ 14 w 50"/>
                  <a:gd name="T61" fmla="*/ 0 h 44"/>
                  <a:gd name="T62" fmla="*/ 10 w 50"/>
                  <a:gd name="T63" fmla="*/ 0 h 44"/>
                  <a:gd name="T64" fmla="*/ 8 w 50"/>
                  <a:gd name="T65" fmla="*/ 2 h 44"/>
                  <a:gd name="T66" fmla="*/ 4 w 50"/>
                  <a:gd name="T67" fmla="*/ 4 h 44"/>
                  <a:gd name="T68" fmla="*/ 2 w 50"/>
                  <a:gd name="T69" fmla="*/ 4 h 44"/>
                  <a:gd name="T70" fmla="*/ 0 w 50"/>
                  <a:gd name="T71" fmla="*/ 6 h 44"/>
                  <a:gd name="T72" fmla="*/ 2 w 50"/>
                  <a:gd name="T73" fmla="*/ 6 h 44"/>
                  <a:gd name="T74" fmla="*/ 2 w 50"/>
                  <a:gd name="T75" fmla="*/ 8 h 44"/>
                  <a:gd name="T76" fmla="*/ 4 w 50"/>
                  <a:gd name="T77" fmla="*/ 10 h 44"/>
                  <a:gd name="T78" fmla="*/ 4 w 50"/>
                  <a:gd name="T79" fmla="*/ 12 h 44"/>
                  <a:gd name="T80" fmla="*/ 4 w 50"/>
                  <a:gd name="T81" fmla="*/ 14 h 44"/>
                  <a:gd name="T82" fmla="*/ 4 w 50"/>
                  <a:gd name="T83" fmla="*/ 16 h 44"/>
                  <a:gd name="T84" fmla="*/ 6 w 50"/>
                  <a:gd name="T85" fmla="*/ 20 h 44"/>
                  <a:gd name="T86" fmla="*/ 10 w 50"/>
                  <a:gd name="T87" fmla="*/ 22 h 44"/>
                  <a:gd name="T88" fmla="*/ 12 w 50"/>
                  <a:gd name="T89" fmla="*/ 24 h 44"/>
                  <a:gd name="T90" fmla="*/ 16 w 50"/>
                  <a:gd name="T91" fmla="*/ 26 h 44"/>
                  <a:gd name="T92" fmla="*/ 18 w 50"/>
                  <a:gd name="T93" fmla="*/ 30 h 44"/>
                  <a:gd name="T94" fmla="*/ 18 w 50"/>
                  <a:gd name="T95" fmla="*/ 30 h 44"/>
                  <a:gd name="T96" fmla="*/ 16 w 50"/>
                  <a:gd name="T97" fmla="*/ 36 h 44"/>
                  <a:gd name="T98" fmla="*/ 18 w 50"/>
                  <a:gd name="T99" fmla="*/ 36 h 44"/>
                  <a:gd name="T100" fmla="*/ 22 w 50"/>
                  <a:gd name="T101" fmla="*/ 36 h 44"/>
                  <a:gd name="T102" fmla="*/ 24 w 50"/>
                  <a:gd name="T103" fmla="*/ 36 h 44"/>
                  <a:gd name="T104" fmla="*/ 24 w 50"/>
                  <a:gd name="T105" fmla="*/ 36 h 44"/>
                  <a:gd name="T106" fmla="*/ 24 w 50"/>
                  <a:gd name="T107" fmla="*/ 36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50" h="44">
                    <a:moveTo>
                      <a:pt x="24" y="36"/>
                    </a:moveTo>
                    <a:lnTo>
                      <a:pt x="24" y="36"/>
                    </a:lnTo>
                    <a:lnTo>
                      <a:pt x="26" y="36"/>
                    </a:lnTo>
                    <a:lnTo>
                      <a:pt x="28" y="38"/>
                    </a:lnTo>
                    <a:lnTo>
                      <a:pt x="28" y="40"/>
                    </a:lnTo>
                    <a:lnTo>
                      <a:pt x="30" y="42"/>
                    </a:lnTo>
                    <a:lnTo>
                      <a:pt x="32" y="42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6" y="44"/>
                    </a:lnTo>
                    <a:lnTo>
                      <a:pt x="40" y="44"/>
                    </a:lnTo>
                    <a:lnTo>
                      <a:pt x="42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8" y="44"/>
                    </a:lnTo>
                    <a:lnTo>
                      <a:pt x="48" y="42"/>
                    </a:lnTo>
                    <a:lnTo>
                      <a:pt x="50" y="40"/>
                    </a:lnTo>
                    <a:lnTo>
                      <a:pt x="50" y="40"/>
                    </a:lnTo>
                    <a:lnTo>
                      <a:pt x="50" y="38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6" y="34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2" y="30"/>
                    </a:lnTo>
                    <a:lnTo>
                      <a:pt x="40" y="30"/>
                    </a:lnTo>
                    <a:lnTo>
                      <a:pt x="40" y="28"/>
                    </a:lnTo>
                    <a:lnTo>
                      <a:pt x="38" y="28"/>
                    </a:lnTo>
                    <a:lnTo>
                      <a:pt x="38" y="28"/>
                    </a:lnTo>
                    <a:lnTo>
                      <a:pt x="38" y="28"/>
                    </a:lnTo>
                    <a:lnTo>
                      <a:pt x="38" y="26"/>
                    </a:lnTo>
                    <a:lnTo>
                      <a:pt x="38" y="24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6" y="22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18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4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0"/>
                    </a:lnTo>
                    <a:lnTo>
                      <a:pt x="30" y="10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6" y="6"/>
                    </a:lnTo>
                    <a:lnTo>
                      <a:pt x="24" y="4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4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8"/>
                    </a:lnTo>
                    <a:lnTo>
                      <a:pt x="6" y="20"/>
                    </a:lnTo>
                    <a:lnTo>
                      <a:pt x="8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2" y="24"/>
                    </a:lnTo>
                    <a:lnTo>
                      <a:pt x="14" y="26"/>
                    </a:lnTo>
                    <a:lnTo>
                      <a:pt x="16" y="26"/>
                    </a:lnTo>
                    <a:lnTo>
                      <a:pt x="16" y="28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6" y="32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4" y="3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79" name="Freeform 541"/>
              <p:cNvSpPr>
                <a:spLocks/>
              </p:cNvSpPr>
              <p:nvPr/>
            </p:nvSpPr>
            <p:spPr bwMode="auto">
              <a:xfrm>
                <a:off x="3381" y="2096"/>
                <a:ext cx="80" cy="62"/>
              </a:xfrm>
              <a:custGeom>
                <a:avLst/>
                <a:gdLst>
                  <a:gd name="T0" fmla="*/ 36 w 80"/>
                  <a:gd name="T1" fmla="*/ 46 h 62"/>
                  <a:gd name="T2" fmla="*/ 46 w 80"/>
                  <a:gd name="T3" fmla="*/ 42 h 62"/>
                  <a:gd name="T4" fmla="*/ 50 w 80"/>
                  <a:gd name="T5" fmla="*/ 44 h 62"/>
                  <a:gd name="T6" fmla="*/ 50 w 80"/>
                  <a:gd name="T7" fmla="*/ 48 h 62"/>
                  <a:gd name="T8" fmla="*/ 48 w 80"/>
                  <a:gd name="T9" fmla="*/ 54 h 62"/>
                  <a:gd name="T10" fmla="*/ 52 w 80"/>
                  <a:gd name="T11" fmla="*/ 60 h 62"/>
                  <a:gd name="T12" fmla="*/ 56 w 80"/>
                  <a:gd name="T13" fmla="*/ 62 h 62"/>
                  <a:gd name="T14" fmla="*/ 60 w 80"/>
                  <a:gd name="T15" fmla="*/ 60 h 62"/>
                  <a:gd name="T16" fmla="*/ 56 w 80"/>
                  <a:gd name="T17" fmla="*/ 56 h 62"/>
                  <a:gd name="T18" fmla="*/ 56 w 80"/>
                  <a:gd name="T19" fmla="*/ 52 h 62"/>
                  <a:gd name="T20" fmla="*/ 60 w 80"/>
                  <a:gd name="T21" fmla="*/ 48 h 62"/>
                  <a:gd name="T22" fmla="*/ 60 w 80"/>
                  <a:gd name="T23" fmla="*/ 40 h 62"/>
                  <a:gd name="T24" fmla="*/ 60 w 80"/>
                  <a:gd name="T25" fmla="*/ 38 h 62"/>
                  <a:gd name="T26" fmla="*/ 64 w 80"/>
                  <a:gd name="T27" fmla="*/ 42 h 62"/>
                  <a:gd name="T28" fmla="*/ 66 w 80"/>
                  <a:gd name="T29" fmla="*/ 46 h 62"/>
                  <a:gd name="T30" fmla="*/ 66 w 80"/>
                  <a:gd name="T31" fmla="*/ 36 h 62"/>
                  <a:gd name="T32" fmla="*/ 68 w 80"/>
                  <a:gd name="T33" fmla="*/ 34 h 62"/>
                  <a:gd name="T34" fmla="*/ 78 w 80"/>
                  <a:gd name="T35" fmla="*/ 32 h 62"/>
                  <a:gd name="T36" fmla="*/ 80 w 80"/>
                  <a:gd name="T37" fmla="*/ 28 h 62"/>
                  <a:gd name="T38" fmla="*/ 76 w 80"/>
                  <a:gd name="T39" fmla="*/ 24 h 62"/>
                  <a:gd name="T40" fmla="*/ 72 w 80"/>
                  <a:gd name="T41" fmla="*/ 22 h 62"/>
                  <a:gd name="T42" fmla="*/ 64 w 80"/>
                  <a:gd name="T43" fmla="*/ 18 h 62"/>
                  <a:gd name="T44" fmla="*/ 56 w 80"/>
                  <a:gd name="T45" fmla="*/ 12 h 62"/>
                  <a:gd name="T46" fmla="*/ 52 w 80"/>
                  <a:gd name="T47" fmla="*/ 4 h 62"/>
                  <a:gd name="T48" fmla="*/ 52 w 80"/>
                  <a:gd name="T49" fmla="*/ 6 h 62"/>
                  <a:gd name="T50" fmla="*/ 48 w 80"/>
                  <a:gd name="T51" fmla="*/ 8 h 62"/>
                  <a:gd name="T52" fmla="*/ 44 w 80"/>
                  <a:gd name="T53" fmla="*/ 14 h 62"/>
                  <a:gd name="T54" fmla="*/ 40 w 80"/>
                  <a:gd name="T55" fmla="*/ 12 h 62"/>
                  <a:gd name="T56" fmla="*/ 34 w 80"/>
                  <a:gd name="T57" fmla="*/ 10 h 62"/>
                  <a:gd name="T58" fmla="*/ 30 w 80"/>
                  <a:gd name="T59" fmla="*/ 8 h 62"/>
                  <a:gd name="T60" fmla="*/ 28 w 80"/>
                  <a:gd name="T61" fmla="*/ 4 h 62"/>
                  <a:gd name="T62" fmla="*/ 22 w 80"/>
                  <a:gd name="T63" fmla="*/ 2 h 62"/>
                  <a:gd name="T64" fmla="*/ 18 w 80"/>
                  <a:gd name="T65" fmla="*/ 0 h 62"/>
                  <a:gd name="T66" fmla="*/ 16 w 80"/>
                  <a:gd name="T67" fmla="*/ 4 h 62"/>
                  <a:gd name="T68" fmla="*/ 18 w 80"/>
                  <a:gd name="T69" fmla="*/ 6 h 62"/>
                  <a:gd name="T70" fmla="*/ 22 w 80"/>
                  <a:gd name="T71" fmla="*/ 8 h 62"/>
                  <a:gd name="T72" fmla="*/ 22 w 80"/>
                  <a:gd name="T73" fmla="*/ 12 h 62"/>
                  <a:gd name="T74" fmla="*/ 16 w 80"/>
                  <a:gd name="T75" fmla="*/ 14 h 62"/>
                  <a:gd name="T76" fmla="*/ 14 w 80"/>
                  <a:gd name="T77" fmla="*/ 14 h 62"/>
                  <a:gd name="T78" fmla="*/ 8 w 80"/>
                  <a:gd name="T79" fmla="*/ 14 h 62"/>
                  <a:gd name="T80" fmla="*/ 4 w 80"/>
                  <a:gd name="T81" fmla="*/ 14 h 62"/>
                  <a:gd name="T82" fmla="*/ 0 w 80"/>
                  <a:gd name="T83" fmla="*/ 14 h 62"/>
                  <a:gd name="T84" fmla="*/ 4 w 80"/>
                  <a:gd name="T85" fmla="*/ 20 h 62"/>
                  <a:gd name="T86" fmla="*/ 12 w 80"/>
                  <a:gd name="T87" fmla="*/ 24 h 62"/>
                  <a:gd name="T88" fmla="*/ 14 w 80"/>
                  <a:gd name="T89" fmla="*/ 30 h 62"/>
                  <a:gd name="T90" fmla="*/ 14 w 80"/>
                  <a:gd name="T91" fmla="*/ 34 h 62"/>
                  <a:gd name="T92" fmla="*/ 16 w 80"/>
                  <a:gd name="T93" fmla="*/ 36 h 62"/>
                  <a:gd name="T94" fmla="*/ 16 w 80"/>
                  <a:gd name="T95" fmla="*/ 40 h 62"/>
                  <a:gd name="T96" fmla="*/ 18 w 80"/>
                  <a:gd name="T97" fmla="*/ 42 h 62"/>
                  <a:gd name="T98" fmla="*/ 22 w 80"/>
                  <a:gd name="T99" fmla="*/ 46 h 62"/>
                  <a:gd name="T100" fmla="*/ 28 w 80"/>
                  <a:gd name="T101" fmla="*/ 50 h 62"/>
                  <a:gd name="T102" fmla="*/ 30 w 80"/>
                  <a:gd name="T103" fmla="*/ 50 h 62"/>
                  <a:gd name="T104" fmla="*/ 34 w 80"/>
                  <a:gd name="T105" fmla="*/ 48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80" h="62">
                    <a:moveTo>
                      <a:pt x="34" y="48"/>
                    </a:moveTo>
                    <a:lnTo>
                      <a:pt x="34" y="48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40" y="44"/>
                    </a:lnTo>
                    <a:lnTo>
                      <a:pt x="42" y="44"/>
                    </a:lnTo>
                    <a:lnTo>
                      <a:pt x="44" y="42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8" y="44"/>
                    </a:lnTo>
                    <a:lnTo>
                      <a:pt x="50" y="44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50" y="48"/>
                    </a:lnTo>
                    <a:lnTo>
                      <a:pt x="50" y="48"/>
                    </a:lnTo>
                    <a:lnTo>
                      <a:pt x="50" y="50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4"/>
                    </a:lnTo>
                    <a:lnTo>
                      <a:pt x="48" y="56"/>
                    </a:lnTo>
                    <a:lnTo>
                      <a:pt x="48" y="58"/>
                    </a:lnTo>
                    <a:lnTo>
                      <a:pt x="50" y="58"/>
                    </a:lnTo>
                    <a:lnTo>
                      <a:pt x="52" y="60"/>
                    </a:lnTo>
                    <a:lnTo>
                      <a:pt x="54" y="60"/>
                    </a:lnTo>
                    <a:lnTo>
                      <a:pt x="54" y="62"/>
                    </a:lnTo>
                    <a:lnTo>
                      <a:pt x="56" y="62"/>
                    </a:lnTo>
                    <a:lnTo>
                      <a:pt x="56" y="62"/>
                    </a:lnTo>
                    <a:lnTo>
                      <a:pt x="58" y="62"/>
                    </a:lnTo>
                    <a:lnTo>
                      <a:pt x="60" y="62"/>
                    </a:lnTo>
                    <a:lnTo>
                      <a:pt x="60" y="62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58" y="58"/>
                    </a:lnTo>
                    <a:lnTo>
                      <a:pt x="56" y="56"/>
                    </a:lnTo>
                    <a:lnTo>
                      <a:pt x="56" y="56"/>
                    </a:lnTo>
                    <a:lnTo>
                      <a:pt x="56" y="54"/>
                    </a:lnTo>
                    <a:lnTo>
                      <a:pt x="56" y="54"/>
                    </a:lnTo>
                    <a:lnTo>
                      <a:pt x="56" y="52"/>
                    </a:lnTo>
                    <a:lnTo>
                      <a:pt x="58" y="52"/>
                    </a:lnTo>
                    <a:lnTo>
                      <a:pt x="58" y="50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6"/>
                    </a:lnTo>
                    <a:lnTo>
                      <a:pt x="58" y="44"/>
                    </a:lnTo>
                    <a:lnTo>
                      <a:pt x="58" y="42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0" y="38"/>
                    </a:lnTo>
                    <a:lnTo>
                      <a:pt x="62" y="38"/>
                    </a:lnTo>
                    <a:lnTo>
                      <a:pt x="62" y="40"/>
                    </a:lnTo>
                    <a:lnTo>
                      <a:pt x="64" y="42"/>
                    </a:lnTo>
                    <a:lnTo>
                      <a:pt x="64" y="42"/>
                    </a:lnTo>
                    <a:lnTo>
                      <a:pt x="64" y="44"/>
                    </a:lnTo>
                    <a:lnTo>
                      <a:pt x="64" y="46"/>
                    </a:lnTo>
                    <a:lnTo>
                      <a:pt x="66" y="46"/>
                    </a:lnTo>
                    <a:lnTo>
                      <a:pt x="66" y="46"/>
                    </a:lnTo>
                    <a:lnTo>
                      <a:pt x="66" y="46"/>
                    </a:lnTo>
                    <a:lnTo>
                      <a:pt x="66" y="40"/>
                    </a:lnTo>
                    <a:lnTo>
                      <a:pt x="66" y="36"/>
                    </a:lnTo>
                    <a:lnTo>
                      <a:pt x="66" y="36"/>
                    </a:lnTo>
                    <a:lnTo>
                      <a:pt x="66" y="36"/>
                    </a:lnTo>
                    <a:lnTo>
                      <a:pt x="66" y="36"/>
                    </a:lnTo>
                    <a:lnTo>
                      <a:pt x="68" y="34"/>
                    </a:lnTo>
                    <a:lnTo>
                      <a:pt x="68" y="34"/>
                    </a:lnTo>
                    <a:lnTo>
                      <a:pt x="72" y="34"/>
                    </a:lnTo>
                    <a:lnTo>
                      <a:pt x="76" y="34"/>
                    </a:lnTo>
                    <a:lnTo>
                      <a:pt x="78" y="32"/>
                    </a:lnTo>
                    <a:lnTo>
                      <a:pt x="78" y="32"/>
                    </a:lnTo>
                    <a:lnTo>
                      <a:pt x="78" y="32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28"/>
                    </a:lnTo>
                    <a:lnTo>
                      <a:pt x="78" y="26"/>
                    </a:lnTo>
                    <a:lnTo>
                      <a:pt x="78" y="26"/>
                    </a:lnTo>
                    <a:lnTo>
                      <a:pt x="78" y="24"/>
                    </a:lnTo>
                    <a:lnTo>
                      <a:pt x="76" y="24"/>
                    </a:lnTo>
                    <a:lnTo>
                      <a:pt x="76" y="24"/>
                    </a:lnTo>
                    <a:lnTo>
                      <a:pt x="74" y="22"/>
                    </a:lnTo>
                    <a:lnTo>
                      <a:pt x="72" y="22"/>
                    </a:lnTo>
                    <a:lnTo>
                      <a:pt x="72" y="22"/>
                    </a:lnTo>
                    <a:lnTo>
                      <a:pt x="70" y="22"/>
                    </a:lnTo>
                    <a:lnTo>
                      <a:pt x="70" y="22"/>
                    </a:lnTo>
                    <a:lnTo>
                      <a:pt x="68" y="20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2" y="16"/>
                    </a:lnTo>
                    <a:lnTo>
                      <a:pt x="60" y="14"/>
                    </a:lnTo>
                    <a:lnTo>
                      <a:pt x="56" y="12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4" y="6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6" y="10"/>
                    </a:lnTo>
                    <a:lnTo>
                      <a:pt x="46" y="12"/>
                    </a:lnTo>
                    <a:lnTo>
                      <a:pt x="44" y="12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2" y="14"/>
                    </a:lnTo>
                    <a:lnTo>
                      <a:pt x="42" y="14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2" y="10"/>
                    </a:lnTo>
                    <a:lnTo>
                      <a:pt x="32" y="10"/>
                    </a:lnTo>
                    <a:lnTo>
                      <a:pt x="30" y="8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6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2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6" y="2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20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18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2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8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2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2" y="18"/>
                    </a:lnTo>
                    <a:lnTo>
                      <a:pt x="4" y="20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4" y="28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2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8"/>
                    </a:lnTo>
                    <a:lnTo>
                      <a:pt x="16" y="40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8" y="42"/>
                    </a:lnTo>
                    <a:lnTo>
                      <a:pt x="18" y="44"/>
                    </a:lnTo>
                    <a:lnTo>
                      <a:pt x="20" y="44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24" y="48"/>
                    </a:lnTo>
                    <a:lnTo>
                      <a:pt x="26" y="48"/>
                    </a:lnTo>
                    <a:lnTo>
                      <a:pt x="26" y="48"/>
                    </a:lnTo>
                    <a:lnTo>
                      <a:pt x="28" y="50"/>
                    </a:lnTo>
                    <a:lnTo>
                      <a:pt x="28" y="50"/>
                    </a:lnTo>
                    <a:lnTo>
                      <a:pt x="28" y="50"/>
                    </a:lnTo>
                    <a:lnTo>
                      <a:pt x="30" y="50"/>
                    </a:lnTo>
                    <a:lnTo>
                      <a:pt x="30" y="50"/>
                    </a:lnTo>
                    <a:lnTo>
                      <a:pt x="32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80" name="Freeform 543"/>
              <p:cNvSpPr>
                <a:spLocks/>
              </p:cNvSpPr>
              <p:nvPr/>
            </p:nvSpPr>
            <p:spPr bwMode="auto">
              <a:xfrm>
                <a:off x="3527" y="1996"/>
                <a:ext cx="266" cy="170"/>
              </a:xfrm>
              <a:custGeom>
                <a:avLst/>
                <a:gdLst>
                  <a:gd name="T0" fmla="*/ 206 w 266"/>
                  <a:gd name="T1" fmla="*/ 158 h 170"/>
                  <a:gd name="T2" fmla="*/ 206 w 266"/>
                  <a:gd name="T3" fmla="*/ 140 h 170"/>
                  <a:gd name="T4" fmla="*/ 196 w 266"/>
                  <a:gd name="T5" fmla="*/ 130 h 170"/>
                  <a:gd name="T6" fmla="*/ 196 w 266"/>
                  <a:gd name="T7" fmla="*/ 122 h 170"/>
                  <a:gd name="T8" fmla="*/ 210 w 266"/>
                  <a:gd name="T9" fmla="*/ 112 h 170"/>
                  <a:gd name="T10" fmla="*/ 210 w 266"/>
                  <a:gd name="T11" fmla="*/ 104 h 170"/>
                  <a:gd name="T12" fmla="*/ 222 w 266"/>
                  <a:gd name="T13" fmla="*/ 94 h 170"/>
                  <a:gd name="T14" fmla="*/ 234 w 266"/>
                  <a:gd name="T15" fmla="*/ 94 h 170"/>
                  <a:gd name="T16" fmla="*/ 242 w 266"/>
                  <a:gd name="T17" fmla="*/ 104 h 170"/>
                  <a:gd name="T18" fmla="*/ 264 w 266"/>
                  <a:gd name="T19" fmla="*/ 100 h 170"/>
                  <a:gd name="T20" fmla="*/ 266 w 266"/>
                  <a:gd name="T21" fmla="*/ 92 h 170"/>
                  <a:gd name="T22" fmla="*/ 258 w 266"/>
                  <a:gd name="T23" fmla="*/ 88 h 170"/>
                  <a:gd name="T24" fmla="*/ 252 w 266"/>
                  <a:gd name="T25" fmla="*/ 86 h 170"/>
                  <a:gd name="T26" fmla="*/ 230 w 266"/>
                  <a:gd name="T27" fmla="*/ 84 h 170"/>
                  <a:gd name="T28" fmla="*/ 230 w 266"/>
                  <a:gd name="T29" fmla="*/ 72 h 170"/>
                  <a:gd name="T30" fmla="*/ 222 w 266"/>
                  <a:gd name="T31" fmla="*/ 72 h 170"/>
                  <a:gd name="T32" fmla="*/ 208 w 266"/>
                  <a:gd name="T33" fmla="*/ 84 h 170"/>
                  <a:gd name="T34" fmla="*/ 200 w 266"/>
                  <a:gd name="T35" fmla="*/ 88 h 170"/>
                  <a:gd name="T36" fmla="*/ 180 w 266"/>
                  <a:gd name="T37" fmla="*/ 92 h 170"/>
                  <a:gd name="T38" fmla="*/ 170 w 266"/>
                  <a:gd name="T39" fmla="*/ 86 h 170"/>
                  <a:gd name="T40" fmla="*/ 158 w 266"/>
                  <a:gd name="T41" fmla="*/ 66 h 170"/>
                  <a:gd name="T42" fmla="*/ 150 w 266"/>
                  <a:gd name="T43" fmla="*/ 58 h 170"/>
                  <a:gd name="T44" fmla="*/ 146 w 266"/>
                  <a:gd name="T45" fmla="*/ 50 h 170"/>
                  <a:gd name="T46" fmla="*/ 134 w 266"/>
                  <a:gd name="T47" fmla="*/ 44 h 170"/>
                  <a:gd name="T48" fmla="*/ 116 w 266"/>
                  <a:gd name="T49" fmla="*/ 48 h 170"/>
                  <a:gd name="T50" fmla="*/ 102 w 266"/>
                  <a:gd name="T51" fmla="*/ 52 h 170"/>
                  <a:gd name="T52" fmla="*/ 86 w 266"/>
                  <a:gd name="T53" fmla="*/ 48 h 170"/>
                  <a:gd name="T54" fmla="*/ 76 w 266"/>
                  <a:gd name="T55" fmla="*/ 38 h 170"/>
                  <a:gd name="T56" fmla="*/ 66 w 266"/>
                  <a:gd name="T57" fmla="*/ 28 h 170"/>
                  <a:gd name="T58" fmla="*/ 64 w 266"/>
                  <a:gd name="T59" fmla="*/ 16 h 170"/>
                  <a:gd name="T60" fmla="*/ 60 w 266"/>
                  <a:gd name="T61" fmla="*/ 8 h 170"/>
                  <a:gd name="T62" fmla="*/ 56 w 266"/>
                  <a:gd name="T63" fmla="*/ 4 h 170"/>
                  <a:gd name="T64" fmla="*/ 44 w 266"/>
                  <a:gd name="T65" fmla="*/ 2 h 170"/>
                  <a:gd name="T66" fmla="*/ 44 w 266"/>
                  <a:gd name="T67" fmla="*/ 12 h 170"/>
                  <a:gd name="T68" fmla="*/ 32 w 266"/>
                  <a:gd name="T69" fmla="*/ 12 h 170"/>
                  <a:gd name="T70" fmla="*/ 26 w 266"/>
                  <a:gd name="T71" fmla="*/ 20 h 170"/>
                  <a:gd name="T72" fmla="*/ 8 w 266"/>
                  <a:gd name="T73" fmla="*/ 26 h 170"/>
                  <a:gd name="T74" fmla="*/ 0 w 266"/>
                  <a:gd name="T75" fmla="*/ 34 h 170"/>
                  <a:gd name="T76" fmla="*/ 6 w 266"/>
                  <a:gd name="T77" fmla="*/ 76 h 170"/>
                  <a:gd name="T78" fmla="*/ 10 w 266"/>
                  <a:gd name="T79" fmla="*/ 100 h 170"/>
                  <a:gd name="T80" fmla="*/ 28 w 266"/>
                  <a:gd name="T81" fmla="*/ 98 h 170"/>
                  <a:gd name="T82" fmla="*/ 28 w 266"/>
                  <a:gd name="T83" fmla="*/ 86 h 170"/>
                  <a:gd name="T84" fmla="*/ 52 w 266"/>
                  <a:gd name="T85" fmla="*/ 78 h 170"/>
                  <a:gd name="T86" fmla="*/ 72 w 266"/>
                  <a:gd name="T87" fmla="*/ 82 h 170"/>
                  <a:gd name="T88" fmla="*/ 74 w 266"/>
                  <a:gd name="T89" fmla="*/ 94 h 170"/>
                  <a:gd name="T90" fmla="*/ 84 w 266"/>
                  <a:gd name="T91" fmla="*/ 104 h 170"/>
                  <a:gd name="T92" fmla="*/ 92 w 266"/>
                  <a:gd name="T93" fmla="*/ 100 h 170"/>
                  <a:gd name="T94" fmla="*/ 106 w 266"/>
                  <a:gd name="T95" fmla="*/ 108 h 170"/>
                  <a:gd name="T96" fmla="*/ 116 w 266"/>
                  <a:gd name="T97" fmla="*/ 122 h 170"/>
                  <a:gd name="T98" fmla="*/ 132 w 266"/>
                  <a:gd name="T99" fmla="*/ 134 h 170"/>
                  <a:gd name="T100" fmla="*/ 148 w 266"/>
                  <a:gd name="T101" fmla="*/ 140 h 170"/>
                  <a:gd name="T102" fmla="*/ 172 w 266"/>
                  <a:gd name="T103" fmla="*/ 150 h 170"/>
                  <a:gd name="T104" fmla="*/ 182 w 266"/>
                  <a:gd name="T105" fmla="*/ 158 h 170"/>
                  <a:gd name="T106" fmla="*/ 188 w 266"/>
                  <a:gd name="T107" fmla="*/ 166 h 170"/>
                  <a:gd name="T108" fmla="*/ 204 w 266"/>
                  <a:gd name="T109" fmla="*/ 17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66" h="170">
                    <a:moveTo>
                      <a:pt x="206" y="166"/>
                    </a:moveTo>
                    <a:lnTo>
                      <a:pt x="206" y="166"/>
                    </a:lnTo>
                    <a:lnTo>
                      <a:pt x="206" y="164"/>
                    </a:lnTo>
                    <a:lnTo>
                      <a:pt x="206" y="162"/>
                    </a:lnTo>
                    <a:lnTo>
                      <a:pt x="206" y="160"/>
                    </a:lnTo>
                    <a:lnTo>
                      <a:pt x="206" y="158"/>
                    </a:lnTo>
                    <a:lnTo>
                      <a:pt x="206" y="158"/>
                    </a:lnTo>
                    <a:lnTo>
                      <a:pt x="208" y="154"/>
                    </a:lnTo>
                    <a:lnTo>
                      <a:pt x="208" y="152"/>
                    </a:lnTo>
                    <a:lnTo>
                      <a:pt x="208" y="150"/>
                    </a:lnTo>
                    <a:lnTo>
                      <a:pt x="208" y="150"/>
                    </a:lnTo>
                    <a:lnTo>
                      <a:pt x="208" y="144"/>
                    </a:lnTo>
                    <a:lnTo>
                      <a:pt x="208" y="142"/>
                    </a:lnTo>
                    <a:lnTo>
                      <a:pt x="206" y="140"/>
                    </a:lnTo>
                    <a:lnTo>
                      <a:pt x="206" y="138"/>
                    </a:lnTo>
                    <a:lnTo>
                      <a:pt x="204" y="136"/>
                    </a:lnTo>
                    <a:lnTo>
                      <a:pt x="202" y="136"/>
                    </a:lnTo>
                    <a:lnTo>
                      <a:pt x="200" y="134"/>
                    </a:lnTo>
                    <a:lnTo>
                      <a:pt x="200" y="134"/>
                    </a:lnTo>
                    <a:lnTo>
                      <a:pt x="198" y="132"/>
                    </a:lnTo>
                    <a:lnTo>
                      <a:pt x="196" y="130"/>
                    </a:lnTo>
                    <a:lnTo>
                      <a:pt x="196" y="130"/>
                    </a:lnTo>
                    <a:lnTo>
                      <a:pt x="196" y="128"/>
                    </a:lnTo>
                    <a:lnTo>
                      <a:pt x="196" y="128"/>
                    </a:lnTo>
                    <a:lnTo>
                      <a:pt x="196" y="126"/>
                    </a:lnTo>
                    <a:lnTo>
                      <a:pt x="196" y="126"/>
                    </a:lnTo>
                    <a:lnTo>
                      <a:pt x="196" y="124"/>
                    </a:lnTo>
                    <a:lnTo>
                      <a:pt x="196" y="122"/>
                    </a:lnTo>
                    <a:lnTo>
                      <a:pt x="198" y="120"/>
                    </a:lnTo>
                    <a:lnTo>
                      <a:pt x="200" y="120"/>
                    </a:lnTo>
                    <a:lnTo>
                      <a:pt x="202" y="118"/>
                    </a:lnTo>
                    <a:lnTo>
                      <a:pt x="202" y="118"/>
                    </a:lnTo>
                    <a:lnTo>
                      <a:pt x="204" y="116"/>
                    </a:lnTo>
                    <a:lnTo>
                      <a:pt x="208" y="114"/>
                    </a:lnTo>
                    <a:lnTo>
                      <a:pt x="210" y="112"/>
                    </a:lnTo>
                    <a:lnTo>
                      <a:pt x="210" y="112"/>
                    </a:lnTo>
                    <a:lnTo>
                      <a:pt x="210" y="110"/>
                    </a:lnTo>
                    <a:lnTo>
                      <a:pt x="210" y="110"/>
                    </a:lnTo>
                    <a:lnTo>
                      <a:pt x="210" y="108"/>
                    </a:lnTo>
                    <a:lnTo>
                      <a:pt x="210" y="106"/>
                    </a:lnTo>
                    <a:lnTo>
                      <a:pt x="210" y="106"/>
                    </a:lnTo>
                    <a:lnTo>
                      <a:pt x="210" y="104"/>
                    </a:lnTo>
                    <a:lnTo>
                      <a:pt x="212" y="102"/>
                    </a:lnTo>
                    <a:lnTo>
                      <a:pt x="212" y="102"/>
                    </a:lnTo>
                    <a:lnTo>
                      <a:pt x="212" y="102"/>
                    </a:lnTo>
                    <a:lnTo>
                      <a:pt x="216" y="100"/>
                    </a:lnTo>
                    <a:lnTo>
                      <a:pt x="218" y="98"/>
                    </a:lnTo>
                    <a:lnTo>
                      <a:pt x="222" y="94"/>
                    </a:lnTo>
                    <a:lnTo>
                      <a:pt x="222" y="94"/>
                    </a:lnTo>
                    <a:lnTo>
                      <a:pt x="224" y="94"/>
                    </a:lnTo>
                    <a:lnTo>
                      <a:pt x="228" y="92"/>
                    </a:lnTo>
                    <a:lnTo>
                      <a:pt x="228" y="92"/>
                    </a:lnTo>
                    <a:lnTo>
                      <a:pt x="230" y="92"/>
                    </a:lnTo>
                    <a:lnTo>
                      <a:pt x="232" y="94"/>
                    </a:lnTo>
                    <a:lnTo>
                      <a:pt x="234" y="94"/>
                    </a:lnTo>
                    <a:lnTo>
                      <a:pt x="234" y="94"/>
                    </a:lnTo>
                    <a:lnTo>
                      <a:pt x="234" y="96"/>
                    </a:lnTo>
                    <a:lnTo>
                      <a:pt x="236" y="100"/>
                    </a:lnTo>
                    <a:lnTo>
                      <a:pt x="238" y="102"/>
                    </a:lnTo>
                    <a:lnTo>
                      <a:pt x="240" y="102"/>
                    </a:lnTo>
                    <a:lnTo>
                      <a:pt x="240" y="104"/>
                    </a:lnTo>
                    <a:lnTo>
                      <a:pt x="240" y="104"/>
                    </a:lnTo>
                    <a:lnTo>
                      <a:pt x="242" y="104"/>
                    </a:lnTo>
                    <a:lnTo>
                      <a:pt x="244" y="104"/>
                    </a:lnTo>
                    <a:lnTo>
                      <a:pt x="250" y="104"/>
                    </a:lnTo>
                    <a:lnTo>
                      <a:pt x="250" y="104"/>
                    </a:lnTo>
                    <a:lnTo>
                      <a:pt x="254" y="102"/>
                    </a:lnTo>
                    <a:lnTo>
                      <a:pt x="258" y="102"/>
                    </a:lnTo>
                    <a:lnTo>
                      <a:pt x="260" y="102"/>
                    </a:lnTo>
                    <a:lnTo>
                      <a:pt x="264" y="100"/>
                    </a:lnTo>
                    <a:lnTo>
                      <a:pt x="266" y="98"/>
                    </a:lnTo>
                    <a:lnTo>
                      <a:pt x="266" y="96"/>
                    </a:lnTo>
                    <a:lnTo>
                      <a:pt x="266" y="96"/>
                    </a:lnTo>
                    <a:lnTo>
                      <a:pt x="266" y="94"/>
                    </a:lnTo>
                    <a:lnTo>
                      <a:pt x="266" y="94"/>
                    </a:lnTo>
                    <a:lnTo>
                      <a:pt x="266" y="94"/>
                    </a:lnTo>
                    <a:lnTo>
                      <a:pt x="266" y="92"/>
                    </a:lnTo>
                    <a:lnTo>
                      <a:pt x="264" y="92"/>
                    </a:lnTo>
                    <a:lnTo>
                      <a:pt x="264" y="90"/>
                    </a:lnTo>
                    <a:lnTo>
                      <a:pt x="262" y="90"/>
                    </a:lnTo>
                    <a:lnTo>
                      <a:pt x="260" y="90"/>
                    </a:lnTo>
                    <a:lnTo>
                      <a:pt x="260" y="90"/>
                    </a:lnTo>
                    <a:lnTo>
                      <a:pt x="258" y="88"/>
                    </a:lnTo>
                    <a:lnTo>
                      <a:pt x="258" y="88"/>
                    </a:lnTo>
                    <a:lnTo>
                      <a:pt x="258" y="88"/>
                    </a:lnTo>
                    <a:lnTo>
                      <a:pt x="258" y="88"/>
                    </a:lnTo>
                    <a:lnTo>
                      <a:pt x="256" y="86"/>
                    </a:lnTo>
                    <a:lnTo>
                      <a:pt x="256" y="86"/>
                    </a:lnTo>
                    <a:lnTo>
                      <a:pt x="256" y="86"/>
                    </a:lnTo>
                    <a:lnTo>
                      <a:pt x="254" y="86"/>
                    </a:lnTo>
                    <a:lnTo>
                      <a:pt x="252" y="86"/>
                    </a:lnTo>
                    <a:lnTo>
                      <a:pt x="248" y="86"/>
                    </a:lnTo>
                    <a:lnTo>
                      <a:pt x="248" y="86"/>
                    </a:lnTo>
                    <a:lnTo>
                      <a:pt x="244" y="86"/>
                    </a:lnTo>
                    <a:lnTo>
                      <a:pt x="238" y="86"/>
                    </a:lnTo>
                    <a:lnTo>
                      <a:pt x="236" y="86"/>
                    </a:lnTo>
                    <a:lnTo>
                      <a:pt x="232" y="84"/>
                    </a:lnTo>
                    <a:lnTo>
                      <a:pt x="230" y="84"/>
                    </a:lnTo>
                    <a:lnTo>
                      <a:pt x="230" y="82"/>
                    </a:lnTo>
                    <a:lnTo>
                      <a:pt x="228" y="82"/>
                    </a:lnTo>
                    <a:lnTo>
                      <a:pt x="228" y="82"/>
                    </a:lnTo>
                    <a:lnTo>
                      <a:pt x="228" y="82"/>
                    </a:lnTo>
                    <a:lnTo>
                      <a:pt x="228" y="80"/>
                    </a:lnTo>
                    <a:lnTo>
                      <a:pt x="228" y="76"/>
                    </a:lnTo>
                    <a:lnTo>
                      <a:pt x="230" y="72"/>
                    </a:lnTo>
                    <a:lnTo>
                      <a:pt x="230" y="72"/>
                    </a:lnTo>
                    <a:lnTo>
                      <a:pt x="230" y="70"/>
                    </a:lnTo>
                    <a:lnTo>
                      <a:pt x="230" y="70"/>
                    </a:lnTo>
                    <a:lnTo>
                      <a:pt x="228" y="70"/>
                    </a:lnTo>
                    <a:lnTo>
                      <a:pt x="224" y="70"/>
                    </a:lnTo>
                    <a:lnTo>
                      <a:pt x="224" y="70"/>
                    </a:lnTo>
                    <a:lnTo>
                      <a:pt x="222" y="72"/>
                    </a:lnTo>
                    <a:lnTo>
                      <a:pt x="220" y="72"/>
                    </a:lnTo>
                    <a:lnTo>
                      <a:pt x="216" y="76"/>
                    </a:lnTo>
                    <a:lnTo>
                      <a:pt x="216" y="76"/>
                    </a:lnTo>
                    <a:lnTo>
                      <a:pt x="214" y="78"/>
                    </a:lnTo>
                    <a:lnTo>
                      <a:pt x="212" y="80"/>
                    </a:lnTo>
                    <a:lnTo>
                      <a:pt x="208" y="84"/>
                    </a:lnTo>
                    <a:lnTo>
                      <a:pt x="208" y="84"/>
                    </a:lnTo>
                    <a:lnTo>
                      <a:pt x="208" y="84"/>
                    </a:lnTo>
                    <a:lnTo>
                      <a:pt x="206" y="86"/>
                    </a:lnTo>
                    <a:lnTo>
                      <a:pt x="204" y="88"/>
                    </a:lnTo>
                    <a:lnTo>
                      <a:pt x="204" y="88"/>
                    </a:lnTo>
                    <a:lnTo>
                      <a:pt x="204" y="88"/>
                    </a:lnTo>
                    <a:lnTo>
                      <a:pt x="202" y="88"/>
                    </a:lnTo>
                    <a:lnTo>
                      <a:pt x="200" y="88"/>
                    </a:lnTo>
                    <a:lnTo>
                      <a:pt x="200" y="88"/>
                    </a:lnTo>
                    <a:lnTo>
                      <a:pt x="196" y="88"/>
                    </a:lnTo>
                    <a:lnTo>
                      <a:pt x="194" y="90"/>
                    </a:lnTo>
                    <a:lnTo>
                      <a:pt x="188" y="90"/>
                    </a:lnTo>
                    <a:lnTo>
                      <a:pt x="188" y="90"/>
                    </a:lnTo>
                    <a:lnTo>
                      <a:pt x="182" y="92"/>
                    </a:lnTo>
                    <a:lnTo>
                      <a:pt x="180" y="92"/>
                    </a:lnTo>
                    <a:lnTo>
                      <a:pt x="176" y="90"/>
                    </a:lnTo>
                    <a:lnTo>
                      <a:pt x="176" y="90"/>
                    </a:lnTo>
                    <a:lnTo>
                      <a:pt x="176" y="90"/>
                    </a:lnTo>
                    <a:lnTo>
                      <a:pt x="174" y="90"/>
                    </a:lnTo>
                    <a:lnTo>
                      <a:pt x="172" y="88"/>
                    </a:lnTo>
                    <a:lnTo>
                      <a:pt x="172" y="88"/>
                    </a:lnTo>
                    <a:lnTo>
                      <a:pt x="170" y="86"/>
                    </a:lnTo>
                    <a:lnTo>
                      <a:pt x="168" y="82"/>
                    </a:lnTo>
                    <a:lnTo>
                      <a:pt x="168" y="82"/>
                    </a:lnTo>
                    <a:lnTo>
                      <a:pt x="164" y="76"/>
                    </a:lnTo>
                    <a:lnTo>
                      <a:pt x="162" y="72"/>
                    </a:lnTo>
                    <a:lnTo>
                      <a:pt x="162" y="72"/>
                    </a:lnTo>
                    <a:lnTo>
                      <a:pt x="160" y="68"/>
                    </a:lnTo>
                    <a:lnTo>
                      <a:pt x="158" y="66"/>
                    </a:lnTo>
                    <a:lnTo>
                      <a:pt x="158" y="66"/>
                    </a:lnTo>
                    <a:lnTo>
                      <a:pt x="158" y="64"/>
                    </a:lnTo>
                    <a:lnTo>
                      <a:pt x="156" y="62"/>
                    </a:lnTo>
                    <a:lnTo>
                      <a:pt x="156" y="62"/>
                    </a:lnTo>
                    <a:lnTo>
                      <a:pt x="154" y="60"/>
                    </a:lnTo>
                    <a:lnTo>
                      <a:pt x="152" y="60"/>
                    </a:lnTo>
                    <a:lnTo>
                      <a:pt x="150" y="58"/>
                    </a:lnTo>
                    <a:lnTo>
                      <a:pt x="150" y="58"/>
                    </a:lnTo>
                    <a:lnTo>
                      <a:pt x="150" y="58"/>
                    </a:lnTo>
                    <a:lnTo>
                      <a:pt x="148" y="58"/>
                    </a:lnTo>
                    <a:lnTo>
                      <a:pt x="148" y="54"/>
                    </a:lnTo>
                    <a:lnTo>
                      <a:pt x="148" y="54"/>
                    </a:lnTo>
                    <a:lnTo>
                      <a:pt x="148" y="52"/>
                    </a:lnTo>
                    <a:lnTo>
                      <a:pt x="146" y="50"/>
                    </a:lnTo>
                    <a:lnTo>
                      <a:pt x="144" y="46"/>
                    </a:lnTo>
                    <a:lnTo>
                      <a:pt x="142" y="44"/>
                    </a:lnTo>
                    <a:lnTo>
                      <a:pt x="142" y="44"/>
                    </a:lnTo>
                    <a:lnTo>
                      <a:pt x="140" y="44"/>
                    </a:lnTo>
                    <a:lnTo>
                      <a:pt x="138" y="42"/>
                    </a:lnTo>
                    <a:lnTo>
                      <a:pt x="136" y="42"/>
                    </a:lnTo>
                    <a:lnTo>
                      <a:pt x="134" y="44"/>
                    </a:lnTo>
                    <a:lnTo>
                      <a:pt x="128" y="46"/>
                    </a:lnTo>
                    <a:lnTo>
                      <a:pt x="124" y="46"/>
                    </a:lnTo>
                    <a:lnTo>
                      <a:pt x="124" y="46"/>
                    </a:lnTo>
                    <a:lnTo>
                      <a:pt x="122" y="46"/>
                    </a:lnTo>
                    <a:lnTo>
                      <a:pt x="118" y="48"/>
                    </a:lnTo>
                    <a:lnTo>
                      <a:pt x="118" y="48"/>
                    </a:lnTo>
                    <a:lnTo>
                      <a:pt x="116" y="48"/>
                    </a:lnTo>
                    <a:lnTo>
                      <a:pt x="114" y="48"/>
                    </a:lnTo>
                    <a:lnTo>
                      <a:pt x="112" y="48"/>
                    </a:lnTo>
                    <a:lnTo>
                      <a:pt x="112" y="48"/>
                    </a:lnTo>
                    <a:lnTo>
                      <a:pt x="110" y="50"/>
                    </a:lnTo>
                    <a:lnTo>
                      <a:pt x="108" y="50"/>
                    </a:lnTo>
                    <a:lnTo>
                      <a:pt x="104" y="52"/>
                    </a:lnTo>
                    <a:lnTo>
                      <a:pt x="102" y="52"/>
                    </a:lnTo>
                    <a:lnTo>
                      <a:pt x="102" y="52"/>
                    </a:lnTo>
                    <a:lnTo>
                      <a:pt x="96" y="50"/>
                    </a:lnTo>
                    <a:lnTo>
                      <a:pt x="92" y="50"/>
                    </a:lnTo>
                    <a:lnTo>
                      <a:pt x="90" y="50"/>
                    </a:lnTo>
                    <a:lnTo>
                      <a:pt x="90" y="50"/>
                    </a:lnTo>
                    <a:lnTo>
                      <a:pt x="88" y="50"/>
                    </a:lnTo>
                    <a:lnTo>
                      <a:pt x="86" y="48"/>
                    </a:lnTo>
                    <a:lnTo>
                      <a:pt x="84" y="46"/>
                    </a:lnTo>
                    <a:lnTo>
                      <a:pt x="84" y="46"/>
                    </a:lnTo>
                    <a:lnTo>
                      <a:pt x="82" y="46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76" y="38"/>
                    </a:lnTo>
                    <a:lnTo>
                      <a:pt x="74" y="36"/>
                    </a:lnTo>
                    <a:lnTo>
                      <a:pt x="72" y="34"/>
                    </a:lnTo>
                    <a:lnTo>
                      <a:pt x="72" y="34"/>
                    </a:lnTo>
                    <a:lnTo>
                      <a:pt x="68" y="30"/>
                    </a:lnTo>
                    <a:lnTo>
                      <a:pt x="68" y="30"/>
                    </a:lnTo>
                    <a:lnTo>
                      <a:pt x="66" y="28"/>
                    </a:lnTo>
                    <a:lnTo>
                      <a:pt x="66" y="28"/>
                    </a:lnTo>
                    <a:lnTo>
                      <a:pt x="66" y="24"/>
                    </a:lnTo>
                    <a:lnTo>
                      <a:pt x="66" y="22"/>
                    </a:lnTo>
                    <a:lnTo>
                      <a:pt x="66" y="22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2" y="14"/>
                    </a:lnTo>
                    <a:lnTo>
                      <a:pt x="60" y="14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0" y="8"/>
                    </a:lnTo>
                    <a:lnTo>
                      <a:pt x="60" y="6"/>
                    </a:lnTo>
                    <a:lnTo>
                      <a:pt x="60" y="6"/>
                    </a:lnTo>
                    <a:lnTo>
                      <a:pt x="58" y="6"/>
                    </a:lnTo>
                    <a:lnTo>
                      <a:pt x="58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4" y="2"/>
                    </a:lnTo>
                    <a:lnTo>
                      <a:pt x="52" y="2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6" y="2"/>
                    </a:lnTo>
                    <a:lnTo>
                      <a:pt x="46" y="2"/>
                    </a:lnTo>
                    <a:lnTo>
                      <a:pt x="44" y="2"/>
                    </a:lnTo>
                    <a:lnTo>
                      <a:pt x="44" y="2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4" y="8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2" y="12"/>
                    </a:lnTo>
                    <a:lnTo>
                      <a:pt x="40" y="12"/>
                    </a:lnTo>
                    <a:lnTo>
                      <a:pt x="36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2" y="12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28" y="16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4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8" y="26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2" y="30"/>
                    </a:lnTo>
                    <a:lnTo>
                      <a:pt x="0" y="30"/>
                    </a:lnTo>
                    <a:lnTo>
                      <a:pt x="0" y="32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2" y="48"/>
                    </a:lnTo>
                    <a:lnTo>
                      <a:pt x="4" y="56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6" y="68"/>
                    </a:lnTo>
                    <a:lnTo>
                      <a:pt x="6" y="76"/>
                    </a:lnTo>
                    <a:lnTo>
                      <a:pt x="6" y="76"/>
                    </a:lnTo>
                    <a:lnTo>
                      <a:pt x="8" y="84"/>
                    </a:lnTo>
                    <a:lnTo>
                      <a:pt x="10" y="90"/>
                    </a:lnTo>
                    <a:lnTo>
                      <a:pt x="10" y="90"/>
                    </a:lnTo>
                    <a:lnTo>
                      <a:pt x="10" y="94"/>
                    </a:lnTo>
                    <a:lnTo>
                      <a:pt x="10" y="98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6" y="102"/>
                    </a:lnTo>
                    <a:lnTo>
                      <a:pt x="18" y="102"/>
                    </a:lnTo>
                    <a:lnTo>
                      <a:pt x="20" y="102"/>
                    </a:lnTo>
                    <a:lnTo>
                      <a:pt x="24" y="102"/>
                    </a:lnTo>
                    <a:lnTo>
                      <a:pt x="24" y="102"/>
                    </a:lnTo>
                    <a:lnTo>
                      <a:pt x="26" y="100"/>
                    </a:lnTo>
                    <a:lnTo>
                      <a:pt x="28" y="98"/>
                    </a:lnTo>
                    <a:lnTo>
                      <a:pt x="28" y="98"/>
                    </a:lnTo>
                    <a:lnTo>
                      <a:pt x="28" y="94"/>
                    </a:lnTo>
                    <a:lnTo>
                      <a:pt x="28" y="92"/>
                    </a:lnTo>
                    <a:lnTo>
                      <a:pt x="28" y="88"/>
                    </a:lnTo>
                    <a:lnTo>
                      <a:pt x="28" y="88"/>
                    </a:lnTo>
                    <a:lnTo>
                      <a:pt x="28" y="86"/>
                    </a:lnTo>
                    <a:lnTo>
                      <a:pt x="28" y="86"/>
                    </a:lnTo>
                    <a:lnTo>
                      <a:pt x="30" y="84"/>
                    </a:lnTo>
                    <a:lnTo>
                      <a:pt x="34" y="82"/>
                    </a:lnTo>
                    <a:lnTo>
                      <a:pt x="42" y="80"/>
                    </a:lnTo>
                    <a:lnTo>
                      <a:pt x="42" y="80"/>
                    </a:lnTo>
                    <a:lnTo>
                      <a:pt x="46" y="78"/>
                    </a:lnTo>
                    <a:lnTo>
                      <a:pt x="48" y="78"/>
                    </a:lnTo>
                    <a:lnTo>
                      <a:pt x="52" y="78"/>
                    </a:lnTo>
                    <a:lnTo>
                      <a:pt x="54" y="78"/>
                    </a:lnTo>
                    <a:lnTo>
                      <a:pt x="60" y="80"/>
                    </a:lnTo>
                    <a:lnTo>
                      <a:pt x="64" y="82"/>
                    </a:lnTo>
                    <a:lnTo>
                      <a:pt x="68" y="82"/>
                    </a:lnTo>
                    <a:lnTo>
                      <a:pt x="68" y="82"/>
                    </a:lnTo>
                    <a:lnTo>
                      <a:pt x="70" y="82"/>
                    </a:lnTo>
                    <a:lnTo>
                      <a:pt x="72" y="82"/>
                    </a:lnTo>
                    <a:lnTo>
                      <a:pt x="72" y="84"/>
                    </a:lnTo>
                    <a:lnTo>
                      <a:pt x="74" y="84"/>
                    </a:lnTo>
                    <a:lnTo>
                      <a:pt x="74" y="86"/>
                    </a:lnTo>
                    <a:lnTo>
                      <a:pt x="74" y="88"/>
                    </a:lnTo>
                    <a:lnTo>
                      <a:pt x="74" y="88"/>
                    </a:lnTo>
                    <a:lnTo>
                      <a:pt x="74" y="92"/>
                    </a:lnTo>
                    <a:lnTo>
                      <a:pt x="74" y="94"/>
                    </a:lnTo>
                    <a:lnTo>
                      <a:pt x="74" y="94"/>
                    </a:lnTo>
                    <a:lnTo>
                      <a:pt x="74" y="96"/>
                    </a:lnTo>
                    <a:lnTo>
                      <a:pt x="78" y="98"/>
                    </a:lnTo>
                    <a:lnTo>
                      <a:pt x="78" y="98"/>
                    </a:lnTo>
                    <a:lnTo>
                      <a:pt x="80" y="100"/>
                    </a:lnTo>
                    <a:lnTo>
                      <a:pt x="82" y="102"/>
                    </a:lnTo>
                    <a:lnTo>
                      <a:pt x="84" y="104"/>
                    </a:lnTo>
                    <a:lnTo>
                      <a:pt x="86" y="104"/>
                    </a:lnTo>
                    <a:lnTo>
                      <a:pt x="88" y="106"/>
                    </a:lnTo>
                    <a:lnTo>
                      <a:pt x="88" y="106"/>
                    </a:lnTo>
                    <a:lnTo>
                      <a:pt x="90" y="106"/>
                    </a:lnTo>
                    <a:lnTo>
                      <a:pt x="90" y="104"/>
                    </a:lnTo>
                    <a:lnTo>
                      <a:pt x="92" y="104"/>
                    </a:lnTo>
                    <a:lnTo>
                      <a:pt x="92" y="100"/>
                    </a:lnTo>
                    <a:lnTo>
                      <a:pt x="92" y="100"/>
                    </a:lnTo>
                    <a:lnTo>
                      <a:pt x="94" y="100"/>
                    </a:lnTo>
                    <a:lnTo>
                      <a:pt x="96" y="100"/>
                    </a:lnTo>
                    <a:lnTo>
                      <a:pt x="98" y="102"/>
                    </a:lnTo>
                    <a:lnTo>
                      <a:pt x="100" y="102"/>
                    </a:lnTo>
                    <a:lnTo>
                      <a:pt x="104" y="106"/>
                    </a:lnTo>
                    <a:lnTo>
                      <a:pt x="106" y="108"/>
                    </a:lnTo>
                    <a:lnTo>
                      <a:pt x="108" y="110"/>
                    </a:lnTo>
                    <a:lnTo>
                      <a:pt x="110" y="112"/>
                    </a:lnTo>
                    <a:lnTo>
                      <a:pt x="110" y="114"/>
                    </a:lnTo>
                    <a:lnTo>
                      <a:pt x="110" y="114"/>
                    </a:lnTo>
                    <a:lnTo>
                      <a:pt x="112" y="116"/>
                    </a:lnTo>
                    <a:lnTo>
                      <a:pt x="114" y="120"/>
                    </a:lnTo>
                    <a:lnTo>
                      <a:pt x="116" y="122"/>
                    </a:lnTo>
                    <a:lnTo>
                      <a:pt x="118" y="124"/>
                    </a:lnTo>
                    <a:lnTo>
                      <a:pt x="122" y="128"/>
                    </a:lnTo>
                    <a:lnTo>
                      <a:pt x="126" y="132"/>
                    </a:lnTo>
                    <a:lnTo>
                      <a:pt x="126" y="132"/>
                    </a:lnTo>
                    <a:lnTo>
                      <a:pt x="128" y="132"/>
                    </a:lnTo>
                    <a:lnTo>
                      <a:pt x="128" y="132"/>
                    </a:lnTo>
                    <a:lnTo>
                      <a:pt x="132" y="134"/>
                    </a:lnTo>
                    <a:lnTo>
                      <a:pt x="136" y="134"/>
                    </a:lnTo>
                    <a:lnTo>
                      <a:pt x="140" y="134"/>
                    </a:lnTo>
                    <a:lnTo>
                      <a:pt x="140" y="134"/>
                    </a:lnTo>
                    <a:lnTo>
                      <a:pt x="142" y="134"/>
                    </a:lnTo>
                    <a:lnTo>
                      <a:pt x="142" y="136"/>
                    </a:lnTo>
                    <a:lnTo>
                      <a:pt x="146" y="138"/>
                    </a:lnTo>
                    <a:lnTo>
                      <a:pt x="148" y="140"/>
                    </a:lnTo>
                    <a:lnTo>
                      <a:pt x="148" y="140"/>
                    </a:lnTo>
                    <a:lnTo>
                      <a:pt x="150" y="142"/>
                    </a:lnTo>
                    <a:lnTo>
                      <a:pt x="150" y="142"/>
                    </a:lnTo>
                    <a:lnTo>
                      <a:pt x="156" y="144"/>
                    </a:lnTo>
                    <a:lnTo>
                      <a:pt x="160" y="148"/>
                    </a:lnTo>
                    <a:lnTo>
                      <a:pt x="166" y="150"/>
                    </a:lnTo>
                    <a:lnTo>
                      <a:pt x="172" y="150"/>
                    </a:lnTo>
                    <a:lnTo>
                      <a:pt x="172" y="150"/>
                    </a:lnTo>
                    <a:lnTo>
                      <a:pt x="174" y="150"/>
                    </a:lnTo>
                    <a:lnTo>
                      <a:pt x="176" y="152"/>
                    </a:lnTo>
                    <a:lnTo>
                      <a:pt x="178" y="152"/>
                    </a:lnTo>
                    <a:lnTo>
                      <a:pt x="180" y="154"/>
                    </a:lnTo>
                    <a:lnTo>
                      <a:pt x="180" y="154"/>
                    </a:lnTo>
                    <a:lnTo>
                      <a:pt x="182" y="158"/>
                    </a:lnTo>
                    <a:lnTo>
                      <a:pt x="184" y="160"/>
                    </a:lnTo>
                    <a:lnTo>
                      <a:pt x="184" y="162"/>
                    </a:lnTo>
                    <a:lnTo>
                      <a:pt x="184" y="164"/>
                    </a:lnTo>
                    <a:lnTo>
                      <a:pt x="184" y="166"/>
                    </a:lnTo>
                    <a:lnTo>
                      <a:pt x="184" y="166"/>
                    </a:lnTo>
                    <a:lnTo>
                      <a:pt x="184" y="166"/>
                    </a:lnTo>
                    <a:lnTo>
                      <a:pt x="188" y="166"/>
                    </a:lnTo>
                    <a:lnTo>
                      <a:pt x="192" y="168"/>
                    </a:lnTo>
                    <a:lnTo>
                      <a:pt x="192" y="168"/>
                    </a:lnTo>
                    <a:lnTo>
                      <a:pt x="196" y="170"/>
                    </a:lnTo>
                    <a:lnTo>
                      <a:pt x="198" y="170"/>
                    </a:lnTo>
                    <a:lnTo>
                      <a:pt x="200" y="170"/>
                    </a:lnTo>
                    <a:lnTo>
                      <a:pt x="202" y="170"/>
                    </a:lnTo>
                    <a:lnTo>
                      <a:pt x="204" y="170"/>
                    </a:lnTo>
                    <a:lnTo>
                      <a:pt x="204" y="168"/>
                    </a:lnTo>
                    <a:lnTo>
                      <a:pt x="206" y="166"/>
                    </a:lnTo>
                    <a:lnTo>
                      <a:pt x="206" y="166"/>
                    </a:lnTo>
                    <a:lnTo>
                      <a:pt x="206" y="166"/>
                    </a:lnTo>
                    <a:lnTo>
                      <a:pt x="206" y="166"/>
                    </a:lnTo>
                    <a:lnTo>
                      <a:pt x="206" y="16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81" name="Freeform 545"/>
              <p:cNvSpPr>
                <a:spLocks/>
              </p:cNvSpPr>
              <p:nvPr/>
            </p:nvSpPr>
            <p:spPr bwMode="auto">
              <a:xfrm>
                <a:off x="3747" y="2038"/>
                <a:ext cx="148" cy="82"/>
              </a:xfrm>
              <a:custGeom>
                <a:avLst/>
                <a:gdLst>
                  <a:gd name="T0" fmla="*/ 0 w 148"/>
                  <a:gd name="T1" fmla="*/ 70 h 82"/>
                  <a:gd name="T2" fmla="*/ 0 w 148"/>
                  <a:gd name="T3" fmla="*/ 74 h 82"/>
                  <a:gd name="T4" fmla="*/ 8 w 148"/>
                  <a:gd name="T5" fmla="*/ 78 h 82"/>
                  <a:gd name="T6" fmla="*/ 16 w 148"/>
                  <a:gd name="T7" fmla="*/ 78 h 82"/>
                  <a:gd name="T8" fmla="*/ 22 w 148"/>
                  <a:gd name="T9" fmla="*/ 80 h 82"/>
                  <a:gd name="T10" fmla="*/ 28 w 148"/>
                  <a:gd name="T11" fmla="*/ 80 h 82"/>
                  <a:gd name="T12" fmla="*/ 42 w 148"/>
                  <a:gd name="T13" fmla="*/ 80 h 82"/>
                  <a:gd name="T14" fmla="*/ 62 w 148"/>
                  <a:gd name="T15" fmla="*/ 80 h 82"/>
                  <a:gd name="T16" fmla="*/ 62 w 148"/>
                  <a:gd name="T17" fmla="*/ 76 h 82"/>
                  <a:gd name="T18" fmla="*/ 64 w 148"/>
                  <a:gd name="T19" fmla="*/ 74 h 82"/>
                  <a:gd name="T20" fmla="*/ 70 w 148"/>
                  <a:gd name="T21" fmla="*/ 72 h 82"/>
                  <a:gd name="T22" fmla="*/ 70 w 148"/>
                  <a:gd name="T23" fmla="*/ 66 h 82"/>
                  <a:gd name="T24" fmla="*/ 74 w 148"/>
                  <a:gd name="T25" fmla="*/ 62 h 82"/>
                  <a:gd name="T26" fmla="*/ 82 w 148"/>
                  <a:gd name="T27" fmla="*/ 56 h 82"/>
                  <a:gd name="T28" fmla="*/ 88 w 148"/>
                  <a:gd name="T29" fmla="*/ 54 h 82"/>
                  <a:gd name="T30" fmla="*/ 92 w 148"/>
                  <a:gd name="T31" fmla="*/ 56 h 82"/>
                  <a:gd name="T32" fmla="*/ 96 w 148"/>
                  <a:gd name="T33" fmla="*/ 56 h 82"/>
                  <a:gd name="T34" fmla="*/ 108 w 148"/>
                  <a:gd name="T35" fmla="*/ 46 h 82"/>
                  <a:gd name="T36" fmla="*/ 120 w 148"/>
                  <a:gd name="T37" fmla="*/ 40 h 82"/>
                  <a:gd name="T38" fmla="*/ 126 w 148"/>
                  <a:gd name="T39" fmla="*/ 38 h 82"/>
                  <a:gd name="T40" fmla="*/ 128 w 148"/>
                  <a:gd name="T41" fmla="*/ 32 h 82"/>
                  <a:gd name="T42" fmla="*/ 132 w 148"/>
                  <a:gd name="T43" fmla="*/ 26 h 82"/>
                  <a:gd name="T44" fmla="*/ 142 w 148"/>
                  <a:gd name="T45" fmla="*/ 22 h 82"/>
                  <a:gd name="T46" fmla="*/ 146 w 148"/>
                  <a:gd name="T47" fmla="*/ 14 h 82"/>
                  <a:gd name="T48" fmla="*/ 142 w 148"/>
                  <a:gd name="T49" fmla="*/ 10 h 82"/>
                  <a:gd name="T50" fmla="*/ 126 w 148"/>
                  <a:gd name="T51" fmla="*/ 10 h 82"/>
                  <a:gd name="T52" fmla="*/ 120 w 148"/>
                  <a:gd name="T53" fmla="*/ 8 h 82"/>
                  <a:gd name="T54" fmla="*/ 114 w 148"/>
                  <a:gd name="T55" fmla="*/ 2 h 82"/>
                  <a:gd name="T56" fmla="*/ 100 w 148"/>
                  <a:gd name="T57" fmla="*/ 2 h 82"/>
                  <a:gd name="T58" fmla="*/ 82 w 148"/>
                  <a:gd name="T59" fmla="*/ 4 h 82"/>
                  <a:gd name="T60" fmla="*/ 70 w 148"/>
                  <a:gd name="T61" fmla="*/ 4 h 82"/>
                  <a:gd name="T62" fmla="*/ 60 w 148"/>
                  <a:gd name="T63" fmla="*/ 2 h 82"/>
                  <a:gd name="T64" fmla="*/ 48 w 148"/>
                  <a:gd name="T65" fmla="*/ 2 h 82"/>
                  <a:gd name="T66" fmla="*/ 44 w 148"/>
                  <a:gd name="T67" fmla="*/ 6 h 82"/>
                  <a:gd name="T68" fmla="*/ 44 w 148"/>
                  <a:gd name="T69" fmla="*/ 12 h 82"/>
                  <a:gd name="T70" fmla="*/ 44 w 148"/>
                  <a:gd name="T71" fmla="*/ 16 h 82"/>
                  <a:gd name="T72" fmla="*/ 40 w 148"/>
                  <a:gd name="T73" fmla="*/ 20 h 82"/>
                  <a:gd name="T74" fmla="*/ 30 w 148"/>
                  <a:gd name="T75" fmla="*/ 16 h 82"/>
                  <a:gd name="T76" fmla="*/ 22 w 148"/>
                  <a:gd name="T77" fmla="*/ 14 h 82"/>
                  <a:gd name="T78" fmla="*/ 12 w 148"/>
                  <a:gd name="T79" fmla="*/ 16 h 82"/>
                  <a:gd name="T80" fmla="*/ 12 w 148"/>
                  <a:gd name="T81" fmla="*/ 20 h 82"/>
                  <a:gd name="T82" fmla="*/ 12 w 148"/>
                  <a:gd name="T83" fmla="*/ 26 h 82"/>
                  <a:gd name="T84" fmla="*/ 10 w 148"/>
                  <a:gd name="T85" fmla="*/ 30 h 82"/>
                  <a:gd name="T86" fmla="*/ 8 w 148"/>
                  <a:gd name="T87" fmla="*/ 40 h 82"/>
                  <a:gd name="T88" fmla="*/ 10 w 148"/>
                  <a:gd name="T89" fmla="*/ 42 h 82"/>
                  <a:gd name="T90" fmla="*/ 24 w 148"/>
                  <a:gd name="T91" fmla="*/ 44 h 82"/>
                  <a:gd name="T92" fmla="*/ 34 w 148"/>
                  <a:gd name="T93" fmla="*/ 44 h 82"/>
                  <a:gd name="T94" fmla="*/ 38 w 148"/>
                  <a:gd name="T95" fmla="*/ 46 h 82"/>
                  <a:gd name="T96" fmla="*/ 40 w 148"/>
                  <a:gd name="T97" fmla="*/ 48 h 82"/>
                  <a:gd name="T98" fmla="*/ 44 w 148"/>
                  <a:gd name="T99" fmla="*/ 50 h 82"/>
                  <a:gd name="T100" fmla="*/ 46 w 148"/>
                  <a:gd name="T101" fmla="*/ 52 h 82"/>
                  <a:gd name="T102" fmla="*/ 44 w 148"/>
                  <a:gd name="T103" fmla="*/ 58 h 82"/>
                  <a:gd name="T104" fmla="*/ 30 w 148"/>
                  <a:gd name="T105" fmla="*/ 62 h 82"/>
                  <a:gd name="T106" fmla="*/ 20 w 148"/>
                  <a:gd name="T107" fmla="*/ 62 h 82"/>
                  <a:gd name="T108" fmla="*/ 18 w 148"/>
                  <a:gd name="T109" fmla="*/ 64 h 82"/>
                  <a:gd name="T110" fmla="*/ 4 w 148"/>
                  <a:gd name="T111" fmla="*/ 70 h 82"/>
                  <a:gd name="T112" fmla="*/ 4 w 148"/>
                  <a:gd name="T113" fmla="*/ 7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48" h="82">
                    <a:moveTo>
                      <a:pt x="4" y="70"/>
                    </a:moveTo>
                    <a:lnTo>
                      <a:pt x="4" y="70"/>
                    </a:lnTo>
                    <a:lnTo>
                      <a:pt x="2" y="70"/>
                    </a:lnTo>
                    <a:lnTo>
                      <a:pt x="0" y="70"/>
                    </a:lnTo>
                    <a:lnTo>
                      <a:pt x="0" y="70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4"/>
                    </a:lnTo>
                    <a:lnTo>
                      <a:pt x="2" y="74"/>
                    </a:lnTo>
                    <a:lnTo>
                      <a:pt x="2" y="76"/>
                    </a:lnTo>
                    <a:lnTo>
                      <a:pt x="6" y="78"/>
                    </a:lnTo>
                    <a:lnTo>
                      <a:pt x="8" y="78"/>
                    </a:lnTo>
                    <a:lnTo>
                      <a:pt x="10" y="78"/>
                    </a:lnTo>
                    <a:lnTo>
                      <a:pt x="10" y="78"/>
                    </a:lnTo>
                    <a:lnTo>
                      <a:pt x="14" y="78"/>
                    </a:lnTo>
                    <a:lnTo>
                      <a:pt x="16" y="78"/>
                    </a:lnTo>
                    <a:lnTo>
                      <a:pt x="18" y="78"/>
                    </a:lnTo>
                    <a:lnTo>
                      <a:pt x="20" y="80"/>
                    </a:lnTo>
                    <a:lnTo>
                      <a:pt x="20" y="80"/>
                    </a:lnTo>
                    <a:lnTo>
                      <a:pt x="22" y="80"/>
                    </a:lnTo>
                    <a:lnTo>
                      <a:pt x="24" y="82"/>
                    </a:lnTo>
                    <a:lnTo>
                      <a:pt x="26" y="82"/>
                    </a:lnTo>
                    <a:lnTo>
                      <a:pt x="28" y="80"/>
                    </a:lnTo>
                    <a:lnTo>
                      <a:pt x="28" y="80"/>
                    </a:lnTo>
                    <a:lnTo>
                      <a:pt x="30" y="80"/>
                    </a:lnTo>
                    <a:lnTo>
                      <a:pt x="34" y="80"/>
                    </a:lnTo>
                    <a:lnTo>
                      <a:pt x="38" y="80"/>
                    </a:lnTo>
                    <a:lnTo>
                      <a:pt x="42" y="80"/>
                    </a:lnTo>
                    <a:lnTo>
                      <a:pt x="48" y="80"/>
                    </a:lnTo>
                    <a:lnTo>
                      <a:pt x="48" y="80"/>
                    </a:lnTo>
                    <a:lnTo>
                      <a:pt x="54" y="80"/>
                    </a:lnTo>
                    <a:lnTo>
                      <a:pt x="62" y="80"/>
                    </a:lnTo>
                    <a:lnTo>
                      <a:pt x="62" y="80"/>
                    </a:lnTo>
                    <a:lnTo>
                      <a:pt x="62" y="78"/>
                    </a:lnTo>
                    <a:lnTo>
                      <a:pt x="62" y="78"/>
                    </a:lnTo>
                    <a:lnTo>
                      <a:pt x="62" y="76"/>
                    </a:lnTo>
                    <a:lnTo>
                      <a:pt x="62" y="76"/>
                    </a:lnTo>
                    <a:lnTo>
                      <a:pt x="62" y="76"/>
                    </a:lnTo>
                    <a:lnTo>
                      <a:pt x="62" y="74"/>
                    </a:lnTo>
                    <a:lnTo>
                      <a:pt x="64" y="74"/>
                    </a:lnTo>
                    <a:lnTo>
                      <a:pt x="68" y="74"/>
                    </a:lnTo>
                    <a:lnTo>
                      <a:pt x="70" y="74"/>
                    </a:lnTo>
                    <a:lnTo>
                      <a:pt x="70" y="72"/>
                    </a:lnTo>
                    <a:lnTo>
                      <a:pt x="70" y="72"/>
                    </a:lnTo>
                    <a:lnTo>
                      <a:pt x="72" y="70"/>
                    </a:lnTo>
                    <a:lnTo>
                      <a:pt x="72" y="70"/>
                    </a:lnTo>
                    <a:lnTo>
                      <a:pt x="70" y="66"/>
                    </a:lnTo>
                    <a:lnTo>
                      <a:pt x="70" y="66"/>
                    </a:lnTo>
                    <a:lnTo>
                      <a:pt x="72" y="64"/>
                    </a:lnTo>
                    <a:lnTo>
                      <a:pt x="72" y="62"/>
                    </a:lnTo>
                    <a:lnTo>
                      <a:pt x="74" y="62"/>
                    </a:lnTo>
                    <a:lnTo>
                      <a:pt x="74" y="62"/>
                    </a:lnTo>
                    <a:lnTo>
                      <a:pt x="76" y="60"/>
                    </a:lnTo>
                    <a:lnTo>
                      <a:pt x="78" y="58"/>
                    </a:lnTo>
                    <a:lnTo>
                      <a:pt x="80" y="56"/>
                    </a:lnTo>
                    <a:lnTo>
                      <a:pt x="82" y="56"/>
                    </a:lnTo>
                    <a:lnTo>
                      <a:pt x="84" y="54"/>
                    </a:lnTo>
                    <a:lnTo>
                      <a:pt x="84" y="54"/>
                    </a:lnTo>
                    <a:lnTo>
                      <a:pt x="86" y="54"/>
                    </a:lnTo>
                    <a:lnTo>
                      <a:pt x="88" y="54"/>
                    </a:lnTo>
                    <a:lnTo>
                      <a:pt x="88" y="54"/>
                    </a:lnTo>
                    <a:lnTo>
                      <a:pt x="90" y="56"/>
                    </a:lnTo>
                    <a:lnTo>
                      <a:pt x="90" y="56"/>
                    </a:lnTo>
                    <a:lnTo>
                      <a:pt x="92" y="56"/>
                    </a:lnTo>
                    <a:lnTo>
                      <a:pt x="92" y="58"/>
                    </a:lnTo>
                    <a:lnTo>
                      <a:pt x="94" y="58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8" y="54"/>
                    </a:lnTo>
                    <a:lnTo>
                      <a:pt x="102" y="52"/>
                    </a:lnTo>
                    <a:lnTo>
                      <a:pt x="108" y="46"/>
                    </a:lnTo>
                    <a:lnTo>
                      <a:pt x="108" y="46"/>
                    </a:lnTo>
                    <a:lnTo>
                      <a:pt x="110" y="46"/>
                    </a:lnTo>
                    <a:lnTo>
                      <a:pt x="114" y="44"/>
                    </a:lnTo>
                    <a:lnTo>
                      <a:pt x="116" y="42"/>
                    </a:lnTo>
                    <a:lnTo>
                      <a:pt x="120" y="40"/>
                    </a:lnTo>
                    <a:lnTo>
                      <a:pt x="120" y="40"/>
                    </a:lnTo>
                    <a:lnTo>
                      <a:pt x="122" y="40"/>
                    </a:lnTo>
                    <a:lnTo>
                      <a:pt x="124" y="40"/>
                    </a:lnTo>
                    <a:lnTo>
                      <a:pt x="126" y="38"/>
                    </a:lnTo>
                    <a:lnTo>
                      <a:pt x="126" y="38"/>
                    </a:lnTo>
                    <a:lnTo>
                      <a:pt x="126" y="38"/>
                    </a:lnTo>
                    <a:lnTo>
                      <a:pt x="128" y="36"/>
                    </a:lnTo>
                    <a:lnTo>
                      <a:pt x="128" y="32"/>
                    </a:lnTo>
                    <a:lnTo>
                      <a:pt x="128" y="32"/>
                    </a:lnTo>
                    <a:lnTo>
                      <a:pt x="128" y="30"/>
                    </a:lnTo>
                    <a:lnTo>
                      <a:pt x="130" y="28"/>
                    </a:lnTo>
                    <a:lnTo>
                      <a:pt x="132" y="26"/>
                    </a:lnTo>
                    <a:lnTo>
                      <a:pt x="134" y="26"/>
                    </a:lnTo>
                    <a:lnTo>
                      <a:pt x="136" y="24"/>
                    </a:lnTo>
                    <a:lnTo>
                      <a:pt x="140" y="24"/>
                    </a:lnTo>
                    <a:lnTo>
                      <a:pt x="142" y="22"/>
                    </a:lnTo>
                    <a:lnTo>
                      <a:pt x="144" y="20"/>
                    </a:lnTo>
                    <a:lnTo>
                      <a:pt x="146" y="18"/>
                    </a:lnTo>
                    <a:lnTo>
                      <a:pt x="146" y="18"/>
                    </a:lnTo>
                    <a:lnTo>
                      <a:pt x="146" y="14"/>
                    </a:lnTo>
                    <a:lnTo>
                      <a:pt x="148" y="12"/>
                    </a:lnTo>
                    <a:lnTo>
                      <a:pt x="148" y="12"/>
                    </a:lnTo>
                    <a:lnTo>
                      <a:pt x="144" y="10"/>
                    </a:lnTo>
                    <a:lnTo>
                      <a:pt x="142" y="10"/>
                    </a:lnTo>
                    <a:lnTo>
                      <a:pt x="142" y="10"/>
                    </a:lnTo>
                    <a:lnTo>
                      <a:pt x="132" y="10"/>
                    </a:lnTo>
                    <a:lnTo>
                      <a:pt x="132" y="10"/>
                    </a:lnTo>
                    <a:lnTo>
                      <a:pt x="126" y="10"/>
                    </a:lnTo>
                    <a:lnTo>
                      <a:pt x="124" y="10"/>
                    </a:lnTo>
                    <a:lnTo>
                      <a:pt x="122" y="8"/>
                    </a:lnTo>
                    <a:lnTo>
                      <a:pt x="122" y="8"/>
                    </a:lnTo>
                    <a:lnTo>
                      <a:pt x="120" y="8"/>
                    </a:lnTo>
                    <a:lnTo>
                      <a:pt x="118" y="6"/>
                    </a:lnTo>
                    <a:lnTo>
                      <a:pt x="116" y="4"/>
                    </a:lnTo>
                    <a:lnTo>
                      <a:pt x="114" y="2"/>
                    </a:lnTo>
                    <a:lnTo>
                      <a:pt x="114" y="2"/>
                    </a:lnTo>
                    <a:lnTo>
                      <a:pt x="110" y="2"/>
                    </a:lnTo>
                    <a:lnTo>
                      <a:pt x="108" y="2"/>
                    </a:lnTo>
                    <a:lnTo>
                      <a:pt x="104" y="0"/>
                    </a:lnTo>
                    <a:lnTo>
                      <a:pt x="100" y="2"/>
                    </a:lnTo>
                    <a:lnTo>
                      <a:pt x="94" y="2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82" y="4"/>
                    </a:lnTo>
                    <a:lnTo>
                      <a:pt x="78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0" y="4"/>
                    </a:lnTo>
                    <a:lnTo>
                      <a:pt x="66" y="4"/>
                    </a:lnTo>
                    <a:lnTo>
                      <a:pt x="66" y="4"/>
                    </a:lnTo>
                    <a:lnTo>
                      <a:pt x="62" y="2"/>
                    </a:lnTo>
                    <a:lnTo>
                      <a:pt x="60" y="2"/>
                    </a:lnTo>
                    <a:lnTo>
                      <a:pt x="56" y="2"/>
                    </a:lnTo>
                    <a:lnTo>
                      <a:pt x="56" y="2"/>
                    </a:lnTo>
                    <a:lnTo>
                      <a:pt x="52" y="2"/>
                    </a:lnTo>
                    <a:lnTo>
                      <a:pt x="48" y="2"/>
                    </a:lnTo>
                    <a:lnTo>
                      <a:pt x="48" y="2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4" y="6"/>
                    </a:lnTo>
                    <a:lnTo>
                      <a:pt x="44" y="6"/>
                    </a:lnTo>
                    <a:lnTo>
                      <a:pt x="44" y="6"/>
                    </a:lnTo>
                    <a:lnTo>
                      <a:pt x="44" y="8"/>
                    </a:lnTo>
                    <a:lnTo>
                      <a:pt x="44" y="12"/>
                    </a:lnTo>
                    <a:lnTo>
                      <a:pt x="44" y="14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8"/>
                    </a:lnTo>
                    <a:lnTo>
                      <a:pt x="42" y="20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36" y="20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0" y="16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4" y="14"/>
                    </a:lnTo>
                    <a:lnTo>
                      <a:pt x="22" y="14"/>
                    </a:lnTo>
                    <a:lnTo>
                      <a:pt x="18" y="14"/>
                    </a:lnTo>
                    <a:lnTo>
                      <a:pt x="16" y="14"/>
                    </a:lnTo>
                    <a:lnTo>
                      <a:pt x="14" y="14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8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6"/>
                    </a:lnTo>
                    <a:lnTo>
                      <a:pt x="10" y="26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8" y="34"/>
                    </a:lnTo>
                    <a:lnTo>
                      <a:pt x="8" y="38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10" y="40"/>
                    </a:lnTo>
                    <a:lnTo>
                      <a:pt x="10" y="42"/>
                    </a:lnTo>
                    <a:lnTo>
                      <a:pt x="12" y="42"/>
                    </a:lnTo>
                    <a:lnTo>
                      <a:pt x="16" y="44"/>
                    </a:lnTo>
                    <a:lnTo>
                      <a:pt x="18" y="44"/>
                    </a:lnTo>
                    <a:lnTo>
                      <a:pt x="24" y="44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32" y="44"/>
                    </a:lnTo>
                    <a:lnTo>
                      <a:pt x="34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8" y="46"/>
                    </a:lnTo>
                    <a:lnTo>
                      <a:pt x="38" y="46"/>
                    </a:lnTo>
                    <a:lnTo>
                      <a:pt x="38" y="46"/>
                    </a:lnTo>
                    <a:lnTo>
                      <a:pt x="38" y="46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2" y="48"/>
                    </a:lnTo>
                    <a:lnTo>
                      <a:pt x="44" y="48"/>
                    </a:lnTo>
                    <a:lnTo>
                      <a:pt x="44" y="50"/>
                    </a:lnTo>
                    <a:lnTo>
                      <a:pt x="46" y="50"/>
                    </a:lnTo>
                    <a:lnTo>
                      <a:pt x="46" y="52"/>
                    </a:lnTo>
                    <a:lnTo>
                      <a:pt x="46" y="52"/>
                    </a:lnTo>
                    <a:lnTo>
                      <a:pt x="46" y="52"/>
                    </a:lnTo>
                    <a:lnTo>
                      <a:pt x="46" y="54"/>
                    </a:lnTo>
                    <a:lnTo>
                      <a:pt x="46" y="54"/>
                    </a:lnTo>
                    <a:lnTo>
                      <a:pt x="46" y="56"/>
                    </a:lnTo>
                    <a:lnTo>
                      <a:pt x="44" y="58"/>
                    </a:lnTo>
                    <a:lnTo>
                      <a:pt x="40" y="60"/>
                    </a:lnTo>
                    <a:lnTo>
                      <a:pt x="38" y="60"/>
                    </a:lnTo>
                    <a:lnTo>
                      <a:pt x="34" y="60"/>
                    </a:lnTo>
                    <a:lnTo>
                      <a:pt x="30" y="62"/>
                    </a:lnTo>
                    <a:lnTo>
                      <a:pt x="30" y="62"/>
                    </a:lnTo>
                    <a:lnTo>
                      <a:pt x="24" y="62"/>
                    </a:lnTo>
                    <a:lnTo>
                      <a:pt x="22" y="62"/>
                    </a:lnTo>
                    <a:lnTo>
                      <a:pt x="20" y="62"/>
                    </a:lnTo>
                    <a:lnTo>
                      <a:pt x="20" y="62"/>
                    </a:lnTo>
                    <a:lnTo>
                      <a:pt x="20" y="62"/>
                    </a:lnTo>
                    <a:lnTo>
                      <a:pt x="20" y="64"/>
                    </a:lnTo>
                    <a:lnTo>
                      <a:pt x="18" y="64"/>
                    </a:lnTo>
                    <a:lnTo>
                      <a:pt x="16" y="66"/>
                    </a:lnTo>
                    <a:lnTo>
                      <a:pt x="14" y="66"/>
                    </a:lnTo>
                    <a:lnTo>
                      <a:pt x="8" y="68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82" name="Freeform 547"/>
              <p:cNvSpPr>
                <a:spLocks/>
              </p:cNvSpPr>
              <p:nvPr/>
            </p:nvSpPr>
            <p:spPr bwMode="auto">
              <a:xfrm>
                <a:off x="3723" y="2088"/>
                <a:ext cx="122" cy="78"/>
              </a:xfrm>
              <a:custGeom>
                <a:avLst/>
                <a:gdLst>
                  <a:gd name="T0" fmla="*/ 28 w 122"/>
                  <a:gd name="T1" fmla="*/ 74 h 78"/>
                  <a:gd name="T2" fmla="*/ 34 w 122"/>
                  <a:gd name="T3" fmla="*/ 68 h 78"/>
                  <a:gd name="T4" fmla="*/ 40 w 122"/>
                  <a:gd name="T5" fmla="*/ 68 h 78"/>
                  <a:gd name="T6" fmla="*/ 44 w 122"/>
                  <a:gd name="T7" fmla="*/ 64 h 78"/>
                  <a:gd name="T8" fmla="*/ 44 w 122"/>
                  <a:gd name="T9" fmla="*/ 56 h 78"/>
                  <a:gd name="T10" fmla="*/ 52 w 122"/>
                  <a:gd name="T11" fmla="*/ 54 h 78"/>
                  <a:gd name="T12" fmla="*/ 54 w 122"/>
                  <a:gd name="T13" fmla="*/ 54 h 78"/>
                  <a:gd name="T14" fmla="*/ 58 w 122"/>
                  <a:gd name="T15" fmla="*/ 58 h 78"/>
                  <a:gd name="T16" fmla="*/ 64 w 122"/>
                  <a:gd name="T17" fmla="*/ 60 h 78"/>
                  <a:gd name="T18" fmla="*/ 66 w 122"/>
                  <a:gd name="T19" fmla="*/ 62 h 78"/>
                  <a:gd name="T20" fmla="*/ 66 w 122"/>
                  <a:gd name="T21" fmla="*/ 70 h 78"/>
                  <a:gd name="T22" fmla="*/ 68 w 122"/>
                  <a:gd name="T23" fmla="*/ 74 h 78"/>
                  <a:gd name="T24" fmla="*/ 72 w 122"/>
                  <a:gd name="T25" fmla="*/ 78 h 78"/>
                  <a:gd name="T26" fmla="*/ 78 w 122"/>
                  <a:gd name="T27" fmla="*/ 72 h 78"/>
                  <a:gd name="T28" fmla="*/ 86 w 122"/>
                  <a:gd name="T29" fmla="*/ 68 h 78"/>
                  <a:gd name="T30" fmla="*/ 92 w 122"/>
                  <a:gd name="T31" fmla="*/ 66 h 78"/>
                  <a:gd name="T32" fmla="*/ 102 w 122"/>
                  <a:gd name="T33" fmla="*/ 64 h 78"/>
                  <a:gd name="T34" fmla="*/ 110 w 122"/>
                  <a:gd name="T35" fmla="*/ 68 h 78"/>
                  <a:gd name="T36" fmla="*/ 116 w 122"/>
                  <a:gd name="T37" fmla="*/ 68 h 78"/>
                  <a:gd name="T38" fmla="*/ 122 w 122"/>
                  <a:gd name="T39" fmla="*/ 66 h 78"/>
                  <a:gd name="T40" fmla="*/ 120 w 122"/>
                  <a:gd name="T41" fmla="*/ 64 h 78"/>
                  <a:gd name="T42" fmla="*/ 118 w 122"/>
                  <a:gd name="T43" fmla="*/ 58 h 78"/>
                  <a:gd name="T44" fmla="*/ 116 w 122"/>
                  <a:gd name="T45" fmla="*/ 54 h 78"/>
                  <a:gd name="T46" fmla="*/ 112 w 122"/>
                  <a:gd name="T47" fmla="*/ 46 h 78"/>
                  <a:gd name="T48" fmla="*/ 108 w 122"/>
                  <a:gd name="T49" fmla="*/ 42 h 78"/>
                  <a:gd name="T50" fmla="*/ 104 w 122"/>
                  <a:gd name="T51" fmla="*/ 38 h 78"/>
                  <a:gd name="T52" fmla="*/ 98 w 122"/>
                  <a:gd name="T53" fmla="*/ 40 h 78"/>
                  <a:gd name="T54" fmla="*/ 94 w 122"/>
                  <a:gd name="T55" fmla="*/ 38 h 78"/>
                  <a:gd name="T56" fmla="*/ 86 w 122"/>
                  <a:gd name="T57" fmla="*/ 30 h 78"/>
                  <a:gd name="T58" fmla="*/ 66 w 122"/>
                  <a:gd name="T59" fmla="*/ 30 h 78"/>
                  <a:gd name="T60" fmla="*/ 52 w 122"/>
                  <a:gd name="T61" fmla="*/ 30 h 78"/>
                  <a:gd name="T62" fmla="*/ 46 w 122"/>
                  <a:gd name="T63" fmla="*/ 30 h 78"/>
                  <a:gd name="T64" fmla="*/ 40 w 122"/>
                  <a:gd name="T65" fmla="*/ 28 h 78"/>
                  <a:gd name="T66" fmla="*/ 32 w 122"/>
                  <a:gd name="T67" fmla="*/ 28 h 78"/>
                  <a:gd name="T68" fmla="*/ 24 w 122"/>
                  <a:gd name="T69" fmla="*/ 24 h 78"/>
                  <a:gd name="T70" fmla="*/ 24 w 122"/>
                  <a:gd name="T71" fmla="*/ 20 h 78"/>
                  <a:gd name="T72" fmla="*/ 32 w 122"/>
                  <a:gd name="T73" fmla="*/ 18 h 78"/>
                  <a:gd name="T74" fmla="*/ 44 w 122"/>
                  <a:gd name="T75" fmla="*/ 14 h 78"/>
                  <a:gd name="T76" fmla="*/ 40 w 122"/>
                  <a:gd name="T77" fmla="*/ 8 h 78"/>
                  <a:gd name="T78" fmla="*/ 36 w 122"/>
                  <a:gd name="T79" fmla="*/ 2 h 78"/>
                  <a:gd name="T80" fmla="*/ 28 w 122"/>
                  <a:gd name="T81" fmla="*/ 2 h 78"/>
                  <a:gd name="T82" fmla="*/ 20 w 122"/>
                  <a:gd name="T83" fmla="*/ 8 h 78"/>
                  <a:gd name="T84" fmla="*/ 14 w 122"/>
                  <a:gd name="T85" fmla="*/ 12 h 78"/>
                  <a:gd name="T86" fmla="*/ 14 w 122"/>
                  <a:gd name="T87" fmla="*/ 18 h 78"/>
                  <a:gd name="T88" fmla="*/ 12 w 122"/>
                  <a:gd name="T89" fmla="*/ 22 h 78"/>
                  <a:gd name="T90" fmla="*/ 4 w 122"/>
                  <a:gd name="T91" fmla="*/ 28 h 78"/>
                  <a:gd name="T92" fmla="*/ 0 w 122"/>
                  <a:gd name="T93" fmla="*/ 34 h 78"/>
                  <a:gd name="T94" fmla="*/ 0 w 122"/>
                  <a:gd name="T95" fmla="*/ 38 h 78"/>
                  <a:gd name="T96" fmla="*/ 4 w 122"/>
                  <a:gd name="T97" fmla="*/ 42 h 78"/>
                  <a:gd name="T98" fmla="*/ 10 w 122"/>
                  <a:gd name="T99" fmla="*/ 48 h 78"/>
                  <a:gd name="T100" fmla="*/ 12 w 122"/>
                  <a:gd name="T101" fmla="*/ 58 h 78"/>
                  <a:gd name="T102" fmla="*/ 10 w 122"/>
                  <a:gd name="T103" fmla="*/ 66 h 78"/>
                  <a:gd name="T104" fmla="*/ 10 w 122"/>
                  <a:gd name="T105" fmla="*/ 74 h 78"/>
                  <a:gd name="T106" fmla="*/ 8 w 122"/>
                  <a:gd name="T107" fmla="*/ 76 h 78"/>
                  <a:gd name="T108" fmla="*/ 18 w 122"/>
                  <a:gd name="T109" fmla="*/ 78 h 78"/>
                  <a:gd name="T110" fmla="*/ 26 w 122"/>
                  <a:gd name="T111" fmla="*/ 74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22" h="78">
                    <a:moveTo>
                      <a:pt x="26" y="74"/>
                    </a:moveTo>
                    <a:lnTo>
                      <a:pt x="26" y="74"/>
                    </a:lnTo>
                    <a:lnTo>
                      <a:pt x="28" y="74"/>
                    </a:lnTo>
                    <a:lnTo>
                      <a:pt x="28" y="74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2" y="70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36" y="68"/>
                    </a:lnTo>
                    <a:lnTo>
                      <a:pt x="38" y="68"/>
                    </a:lnTo>
                    <a:lnTo>
                      <a:pt x="40" y="68"/>
                    </a:lnTo>
                    <a:lnTo>
                      <a:pt x="44" y="68"/>
                    </a:lnTo>
                    <a:lnTo>
                      <a:pt x="44" y="68"/>
                    </a:lnTo>
                    <a:lnTo>
                      <a:pt x="44" y="66"/>
                    </a:lnTo>
                    <a:lnTo>
                      <a:pt x="44" y="64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58"/>
                    </a:lnTo>
                    <a:lnTo>
                      <a:pt x="44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8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4" y="54"/>
                    </a:lnTo>
                    <a:lnTo>
                      <a:pt x="54" y="54"/>
                    </a:lnTo>
                    <a:lnTo>
                      <a:pt x="54" y="54"/>
                    </a:lnTo>
                    <a:lnTo>
                      <a:pt x="56" y="56"/>
                    </a:lnTo>
                    <a:lnTo>
                      <a:pt x="56" y="56"/>
                    </a:lnTo>
                    <a:lnTo>
                      <a:pt x="56" y="58"/>
                    </a:lnTo>
                    <a:lnTo>
                      <a:pt x="58" y="58"/>
                    </a:lnTo>
                    <a:lnTo>
                      <a:pt x="60" y="58"/>
                    </a:lnTo>
                    <a:lnTo>
                      <a:pt x="62" y="60"/>
                    </a:lnTo>
                    <a:lnTo>
                      <a:pt x="62" y="60"/>
                    </a:lnTo>
                    <a:lnTo>
                      <a:pt x="64" y="60"/>
                    </a:lnTo>
                    <a:lnTo>
                      <a:pt x="66" y="60"/>
                    </a:lnTo>
                    <a:lnTo>
                      <a:pt x="66" y="62"/>
                    </a:lnTo>
                    <a:lnTo>
                      <a:pt x="66" y="62"/>
                    </a:lnTo>
                    <a:lnTo>
                      <a:pt x="66" y="62"/>
                    </a:lnTo>
                    <a:lnTo>
                      <a:pt x="66" y="66"/>
                    </a:lnTo>
                    <a:lnTo>
                      <a:pt x="66" y="68"/>
                    </a:lnTo>
                    <a:lnTo>
                      <a:pt x="66" y="68"/>
                    </a:lnTo>
                    <a:lnTo>
                      <a:pt x="66" y="70"/>
                    </a:lnTo>
                    <a:lnTo>
                      <a:pt x="66" y="72"/>
                    </a:lnTo>
                    <a:lnTo>
                      <a:pt x="66" y="72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6"/>
                    </a:lnTo>
                    <a:lnTo>
                      <a:pt x="70" y="78"/>
                    </a:lnTo>
                    <a:lnTo>
                      <a:pt x="72" y="78"/>
                    </a:lnTo>
                    <a:lnTo>
                      <a:pt x="72" y="78"/>
                    </a:lnTo>
                    <a:lnTo>
                      <a:pt x="74" y="76"/>
                    </a:lnTo>
                    <a:lnTo>
                      <a:pt x="74" y="76"/>
                    </a:lnTo>
                    <a:lnTo>
                      <a:pt x="78" y="72"/>
                    </a:lnTo>
                    <a:lnTo>
                      <a:pt x="78" y="72"/>
                    </a:lnTo>
                    <a:lnTo>
                      <a:pt x="80" y="70"/>
                    </a:lnTo>
                    <a:lnTo>
                      <a:pt x="84" y="68"/>
                    </a:lnTo>
                    <a:lnTo>
                      <a:pt x="84" y="68"/>
                    </a:lnTo>
                    <a:lnTo>
                      <a:pt x="86" y="68"/>
                    </a:lnTo>
                    <a:lnTo>
                      <a:pt x="88" y="68"/>
                    </a:lnTo>
                    <a:lnTo>
                      <a:pt x="90" y="68"/>
                    </a:lnTo>
                    <a:lnTo>
                      <a:pt x="92" y="66"/>
                    </a:lnTo>
                    <a:lnTo>
                      <a:pt x="92" y="66"/>
                    </a:lnTo>
                    <a:lnTo>
                      <a:pt x="96" y="66"/>
                    </a:lnTo>
                    <a:lnTo>
                      <a:pt x="98" y="64"/>
                    </a:lnTo>
                    <a:lnTo>
                      <a:pt x="100" y="64"/>
                    </a:lnTo>
                    <a:lnTo>
                      <a:pt x="102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8" y="66"/>
                    </a:lnTo>
                    <a:lnTo>
                      <a:pt x="110" y="68"/>
                    </a:lnTo>
                    <a:lnTo>
                      <a:pt x="112" y="68"/>
                    </a:lnTo>
                    <a:lnTo>
                      <a:pt x="114" y="68"/>
                    </a:lnTo>
                    <a:lnTo>
                      <a:pt x="116" y="68"/>
                    </a:lnTo>
                    <a:lnTo>
                      <a:pt x="116" y="68"/>
                    </a:lnTo>
                    <a:lnTo>
                      <a:pt x="118" y="68"/>
                    </a:lnTo>
                    <a:lnTo>
                      <a:pt x="120" y="68"/>
                    </a:lnTo>
                    <a:lnTo>
                      <a:pt x="122" y="66"/>
                    </a:lnTo>
                    <a:lnTo>
                      <a:pt x="122" y="66"/>
                    </a:lnTo>
                    <a:lnTo>
                      <a:pt x="122" y="66"/>
                    </a:lnTo>
                    <a:lnTo>
                      <a:pt x="122" y="66"/>
                    </a:lnTo>
                    <a:lnTo>
                      <a:pt x="120" y="66"/>
                    </a:lnTo>
                    <a:lnTo>
                      <a:pt x="120" y="64"/>
                    </a:lnTo>
                    <a:lnTo>
                      <a:pt x="120" y="64"/>
                    </a:lnTo>
                    <a:lnTo>
                      <a:pt x="118" y="62"/>
                    </a:lnTo>
                    <a:lnTo>
                      <a:pt x="118" y="60"/>
                    </a:lnTo>
                    <a:lnTo>
                      <a:pt x="118" y="58"/>
                    </a:lnTo>
                    <a:lnTo>
                      <a:pt x="116" y="58"/>
                    </a:lnTo>
                    <a:lnTo>
                      <a:pt x="116" y="58"/>
                    </a:lnTo>
                    <a:lnTo>
                      <a:pt x="116" y="56"/>
                    </a:lnTo>
                    <a:lnTo>
                      <a:pt x="116" y="54"/>
                    </a:lnTo>
                    <a:lnTo>
                      <a:pt x="114" y="50"/>
                    </a:lnTo>
                    <a:lnTo>
                      <a:pt x="114" y="50"/>
                    </a:lnTo>
                    <a:lnTo>
                      <a:pt x="114" y="48"/>
                    </a:lnTo>
                    <a:lnTo>
                      <a:pt x="112" y="46"/>
                    </a:lnTo>
                    <a:lnTo>
                      <a:pt x="112" y="46"/>
                    </a:lnTo>
                    <a:lnTo>
                      <a:pt x="112" y="46"/>
                    </a:lnTo>
                    <a:lnTo>
                      <a:pt x="110" y="44"/>
                    </a:lnTo>
                    <a:lnTo>
                      <a:pt x="108" y="42"/>
                    </a:lnTo>
                    <a:lnTo>
                      <a:pt x="108" y="42"/>
                    </a:lnTo>
                    <a:lnTo>
                      <a:pt x="106" y="40"/>
                    </a:lnTo>
                    <a:lnTo>
                      <a:pt x="104" y="40"/>
                    </a:lnTo>
                    <a:lnTo>
                      <a:pt x="104" y="38"/>
                    </a:lnTo>
                    <a:lnTo>
                      <a:pt x="102" y="38"/>
                    </a:lnTo>
                    <a:lnTo>
                      <a:pt x="102" y="38"/>
                    </a:lnTo>
                    <a:lnTo>
                      <a:pt x="100" y="38"/>
                    </a:lnTo>
                    <a:lnTo>
                      <a:pt x="98" y="40"/>
                    </a:lnTo>
                    <a:lnTo>
                      <a:pt x="98" y="40"/>
                    </a:lnTo>
                    <a:lnTo>
                      <a:pt x="96" y="38"/>
                    </a:lnTo>
                    <a:lnTo>
                      <a:pt x="96" y="38"/>
                    </a:lnTo>
                    <a:lnTo>
                      <a:pt x="94" y="38"/>
                    </a:lnTo>
                    <a:lnTo>
                      <a:pt x="90" y="36"/>
                    </a:lnTo>
                    <a:lnTo>
                      <a:pt x="88" y="32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78" y="30"/>
                    </a:lnTo>
                    <a:lnTo>
                      <a:pt x="72" y="30"/>
                    </a:lnTo>
                    <a:lnTo>
                      <a:pt x="72" y="30"/>
                    </a:lnTo>
                    <a:lnTo>
                      <a:pt x="66" y="30"/>
                    </a:lnTo>
                    <a:lnTo>
                      <a:pt x="62" y="30"/>
                    </a:lnTo>
                    <a:lnTo>
                      <a:pt x="58" y="30"/>
                    </a:lnTo>
                    <a:lnTo>
                      <a:pt x="54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0" y="32"/>
                    </a:lnTo>
                    <a:lnTo>
                      <a:pt x="48" y="32"/>
                    </a:lnTo>
                    <a:lnTo>
                      <a:pt x="46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2" y="28"/>
                    </a:lnTo>
                    <a:lnTo>
                      <a:pt x="40" y="28"/>
                    </a:lnTo>
                    <a:lnTo>
                      <a:pt x="38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2" y="28"/>
                    </a:lnTo>
                    <a:lnTo>
                      <a:pt x="30" y="28"/>
                    </a:lnTo>
                    <a:lnTo>
                      <a:pt x="26" y="26"/>
                    </a:lnTo>
                    <a:lnTo>
                      <a:pt x="26" y="24"/>
                    </a:lnTo>
                    <a:lnTo>
                      <a:pt x="24" y="24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0"/>
                    </a:lnTo>
                    <a:lnTo>
                      <a:pt x="24" y="20"/>
                    </a:lnTo>
                    <a:lnTo>
                      <a:pt x="26" y="20"/>
                    </a:lnTo>
                    <a:lnTo>
                      <a:pt x="28" y="20"/>
                    </a:lnTo>
                    <a:lnTo>
                      <a:pt x="28" y="20"/>
                    </a:lnTo>
                    <a:lnTo>
                      <a:pt x="32" y="18"/>
                    </a:lnTo>
                    <a:lnTo>
                      <a:pt x="38" y="16"/>
                    </a:lnTo>
                    <a:lnTo>
                      <a:pt x="40" y="16"/>
                    </a:lnTo>
                    <a:lnTo>
                      <a:pt x="42" y="14"/>
                    </a:lnTo>
                    <a:lnTo>
                      <a:pt x="44" y="14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2" y="10"/>
                    </a:lnTo>
                    <a:lnTo>
                      <a:pt x="40" y="8"/>
                    </a:lnTo>
                    <a:lnTo>
                      <a:pt x="38" y="4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6" y="2"/>
                    </a:lnTo>
                    <a:lnTo>
                      <a:pt x="34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28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2" y="6"/>
                    </a:lnTo>
                    <a:lnTo>
                      <a:pt x="20" y="8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4" y="12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6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2" y="22"/>
                    </a:lnTo>
                    <a:lnTo>
                      <a:pt x="8" y="24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4" y="28"/>
                    </a:lnTo>
                    <a:lnTo>
                      <a:pt x="2" y="28"/>
                    </a:lnTo>
                    <a:lnTo>
                      <a:pt x="0" y="30"/>
                    </a:lnTo>
                    <a:lnTo>
                      <a:pt x="0" y="32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2" y="40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6" y="44"/>
                    </a:lnTo>
                    <a:lnTo>
                      <a:pt x="8" y="44"/>
                    </a:lnTo>
                    <a:lnTo>
                      <a:pt x="10" y="46"/>
                    </a:lnTo>
                    <a:lnTo>
                      <a:pt x="10" y="48"/>
                    </a:lnTo>
                    <a:lnTo>
                      <a:pt x="12" y="50"/>
                    </a:lnTo>
                    <a:lnTo>
                      <a:pt x="12" y="52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60"/>
                    </a:lnTo>
                    <a:lnTo>
                      <a:pt x="12" y="62"/>
                    </a:lnTo>
                    <a:lnTo>
                      <a:pt x="10" y="66"/>
                    </a:lnTo>
                    <a:lnTo>
                      <a:pt x="10" y="66"/>
                    </a:lnTo>
                    <a:lnTo>
                      <a:pt x="10" y="68"/>
                    </a:lnTo>
                    <a:lnTo>
                      <a:pt x="10" y="70"/>
                    </a:lnTo>
                    <a:lnTo>
                      <a:pt x="10" y="72"/>
                    </a:lnTo>
                    <a:lnTo>
                      <a:pt x="10" y="74"/>
                    </a:lnTo>
                    <a:lnTo>
                      <a:pt x="10" y="74"/>
                    </a:lnTo>
                    <a:lnTo>
                      <a:pt x="10" y="76"/>
                    </a:lnTo>
                    <a:lnTo>
                      <a:pt x="8" y="76"/>
                    </a:lnTo>
                    <a:lnTo>
                      <a:pt x="8" y="76"/>
                    </a:lnTo>
                    <a:lnTo>
                      <a:pt x="12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8" y="78"/>
                    </a:lnTo>
                    <a:lnTo>
                      <a:pt x="22" y="76"/>
                    </a:lnTo>
                    <a:lnTo>
                      <a:pt x="24" y="76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83" name="Freeform 549"/>
              <p:cNvSpPr>
                <a:spLocks/>
              </p:cNvSpPr>
              <p:nvPr/>
            </p:nvSpPr>
            <p:spPr bwMode="auto">
              <a:xfrm>
                <a:off x="3637" y="2142"/>
                <a:ext cx="200" cy="182"/>
              </a:xfrm>
              <a:custGeom>
                <a:avLst/>
                <a:gdLst>
                  <a:gd name="T0" fmla="*/ 72 w 200"/>
                  <a:gd name="T1" fmla="*/ 176 h 182"/>
                  <a:gd name="T2" fmla="*/ 82 w 200"/>
                  <a:gd name="T3" fmla="*/ 172 h 182"/>
                  <a:gd name="T4" fmla="*/ 102 w 200"/>
                  <a:gd name="T5" fmla="*/ 166 h 182"/>
                  <a:gd name="T6" fmla="*/ 104 w 200"/>
                  <a:gd name="T7" fmla="*/ 160 h 182"/>
                  <a:gd name="T8" fmla="*/ 104 w 200"/>
                  <a:gd name="T9" fmla="*/ 148 h 182"/>
                  <a:gd name="T10" fmla="*/ 118 w 200"/>
                  <a:gd name="T11" fmla="*/ 140 h 182"/>
                  <a:gd name="T12" fmla="*/ 122 w 200"/>
                  <a:gd name="T13" fmla="*/ 130 h 182"/>
                  <a:gd name="T14" fmla="*/ 132 w 200"/>
                  <a:gd name="T15" fmla="*/ 126 h 182"/>
                  <a:gd name="T16" fmla="*/ 140 w 200"/>
                  <a:gd name="T17" fmla="*/ 126 h 182"/>
                  <a:gd name="T18" fmla="*/ 140 w 200"/>
                  <a:gd name="T19" fmla="*/ 116 h 182"/>
                  <a:gd name="T20" fmla="*/ 146 w 200"/>
                  <a:gd name="T21" fmla="*/ 104 h 182"/>
                  <a:gd name="T22" fmla="*/ 152 w 200"/>
                  <a:gd name="T23" fmla="*/ 96 h 182"/>
                  <a:gd name="T24" fmla="*/ 148 w 200"/>
                  <a:gd name="T25" fmla="*/ 88 h 182"/>
                  <a:gd name="T26" fmla="*/ 148 w 200"/>
                  <a:gd name="T27" fmla="*/ 84 h 182"/>
                  <a:gd name="T28" fmla="*/ 158 w 200"/>
                  <a:gd name="T29" fmla="*/ 80 h 182"/>
                  <a:gd name="T30" fmla="*/ 162 w 200"/>
                  <a:gd name="T31" fmla="*/ 66 h 182"/>
                  <a:gd name="T32" fmla="*/ 164 w 200"/>
                  <a:gd name="T33" fmla="*/ 52 h 182"/>
                  <a:gd name="T34" fmla="*/ 158 w 200"/>
                  <a:gd name="T35" fmla="*/ 38 h 182"/>
                  <a:gd name="T36" fmla="*/ 170 w 200"/>
                  <a:gd name="T37" fmla="*/ 32 h 182"/>
                  <a:gd name="T38" fmla="*/ 188 w 200"/>
                  <a:gd name="T39" fmla="*/ 20 h 182"/>
                  <a:gd name="T40" fmla="*/ 200 w 200"/>
                  <a:gd name="T41" fmla="*/ 14 h 182"/>
                  <a:gd name="T42" fmla="*/ 188 w 200"/>
                  <a:gd name="T43" fmla="*/ 10 h 182"/>
                  <a:gd name="T44" fmla="*/ 176 w 200"/>
                  <a:gd name="T45" fmla="*/ 14 h 182"/>
                  <a:gd name="T46" fmla="*/ 164 w 200"/>
                  <a:gd name="T47" fmla="*/ 18 h 182"/>
                  <a:gd name="T48" fmla="*/ 156 w 200"/>
                  <a:gd name="T49" fmla="*/ 24 h 182"/>
                  <a:gd name="T50" fmla="*/ 152 w 200"/>
                  <a:gd name="T51" fmla="*/ 16 h 182"/>
                  <a:gd name="T52" fmla="*/ 152 w 200"/>
                  <a:gd name="T53" fmla="*/ 8 h 182"/>
                  <a:gd name="T54" fmla="*/ 144 w 200"/>
                  <a:gd name="T55" fmla="*/ 4 h 182"/>
                  <a:gd name="T56" fmla="*/ 140 w 200"/>
                  <a:gd name="T57" fmla="*/ 0 h 182"/>
                  <a:gd name="T58" fmla="*/ 130 w 200"/>
                  <a:gd name="T59" fmla="*/ 2 h 182"/>
                  <a:gd name="T60" fmla="*/ 130 w 200"/>
                  <a:gd name="T61" fmla="*/ 14 h 182"/>
                  <a:gd name="T62" fmla="*/ 120 w 200"/>
                  <a:gd name="T63" fmla="*/ 14 h 182"/>
                  <a:gd name="T64" fmla="*/ 112 w 200"/>
                  <a:gd name="T65" fmla="*/ 20 h 182"/>
                  <a:gd name="T66" fmla="*/ 102 w 200"/>
                  <a:gd name="T67" fmla="*/ 24 h 182"/>
                  <a:gd name="T68" fmla="*/ 90 w 200"/>
                  <a:gd name="T69" fmla="*/ 24 h 182"/>
                  <a:gd name="T70" fmla="*/ 74 w 200"/>
                  <a:gd name="T71" fmla="*/ 20 h 182"/>
                  <a:gd name="T72" fmla="*/ 70 w 200"/>
                  <a:gd name="T73" fmla="*/ 26 h 182"/>
                  <a:gd name="T74" fmla="*/ 54 w 200"/>
                  <a:gd name="T75" fmla="*/ 32 h 182"/>
                  <a:gd name="T76" fmla="*/ 44 w 200"/>
                  <a:gd name="T77" fmla="*/ 46 h 182"/>
                  <a:gd name="T78" fmla="*/ 32 w 200"/>
                  <a:gd name="T79" fmla="*/ 64 h 182"/>
                  <a:gd name="T80" fmla="*/ 6 w 200"/>
                  <a:gd name="T81" fmla="*/ 62 h 182"/>
                  <a:gd name="T82" fmla="*/ 0 w 200"/>
                  <a:gd name="T83" fmla="*/ 64 h 182"/>
                  <a:gd name="T84" fmla="*/ 2 w 200"/>
                  <a:gd name="T85" fmla="*/ 84 h 182"/>
                  <a:gd name="T86" fmla="*/ 0 w 200"/>
                  <a:gd name="T87" fmla="*/ 96 h 182"/>
                  <a:gd name="T88" fmla="*/ 4 w 200"/>
                  <a:gd name="T89" fmla="*/ 102 h 182"/>
                  <a:gd name="T90" fmla="*/ 4 w 200"/>
                  <a:gd name="T91" fmla="*/ 120 h 182"/>
                  <a:gd name="T92" fmla="*/ 8 w 200"/>
                  <a:gd name="T93" fmla="*/ 128 h 182"/>
                  <a:gd name="T94" fmla="*/ 14 w 200"/>
                  <a:gd name="T95" fmla="*/ 136 h 182"/>
                  <a:gd name="T96" fmla="*/ 24 w 200"/>
                  <a:gd name="T97" fmla="*/ 138 h 182"/>
                  <a:gd name="T98" fmla="*/ 30 w 200"/>
                  <a:gd name="T99" fmla="*/ 146 h 182"/>
                  <a:gd name="T100" fmla="*/ 24 w 200"/>
                  <a:gd name="T101" fmla="*/ 152 h 182"/>
                  <a:gd name="T102" fmla="*/ 20 w 200"/>
                  <a:gd name="T103" fmla="*/ 160 h 182"/>
                  <a:gd name="T104" fmla="*/ 18 w 200"/>
                  <a:gd name="T105" fmla="*/ 166 h 182"/>
                  <a:gd name="T106" fmla="*/ 22 w 200"/>
                  <a:gd name="T107" fmla="*/ 170 h 182"/>
                  <a:gd name="T108" fmla="*/ 28 w 200"/>
                  <a:gd name="T109" fmla="*/ 180 h 182"/>
                  <a:gd name="T110" fmla="*/ 38 w 200"/>
                  <a:gd name="T111" fmla="*/ 180 h 182"/>
                  <a:gd name="T112" fmla="*/ 66 w 200"/>
                  <a:gd name="T113" fmla="*/ 178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00" h="182">
                    <a:moveTo>
                      <a:pt x="66" y="178"/>
                    </a:moveTo>
                    <a:lnTo>
                      <a:pt x="66" y="178"/>
                    </a:lnTo>
                    <a:lnTo>
                      <a:pt x="70" y="178"/>
                    </a:lnTo>
                    <a:lnTo>
                      <a:pt x="70" y="178"/>
                    </a:lnTo>
                    <a:lnTo>
                      <a:pt x="72" y="176"/>
                    </a:lnTo>
                    <a:lnTo>
                      <a:pt x="72" y="176"/>
                    </a:lnTo>
                    <a:lnTo>
                      <a:pt x="74" y="174"/>
                    </a:lnTo>
                    <a:lnTo>
                      <a:pt x="74" y="174"/>
                    </a:lnTo>
                    <a:lnTo>
                      <a:pt x="76" y="172"/>
                    </a:lnTo>
                    <a:lnTo>
                      <a:pt x="78" y="172"/>
                    </a:lnTo>
                    <a:lnTo>
                      <a:pt x="80" y="172"/>
                    </a:lnTo>
                    <a:lnTo>
                      <a:pt x="82" y="172"/>
                    </a:lnTo>
                    <a:lnTo>
                      <a:pt x="86" y="172"/>
                    </a:lnTo>
                    <a:lnTo>
                      <a:pt x="86" y="172"/>
                    </a:lnTo>
                    <a:lnTo>
                      <a:pt x="90" y="172"/>
                    </a:lnTo>
                    <a:lnTo>
                      <a:pt x="96" y="170"/>
                    </a:lnTo>
                    <a:lnTo>
                      <a:pt x="100" y="168"/>
                    </a:lnTo>
                    <a:lnTo>
                      <a:pt x="102" y="166"/>
                    </a:lnTo>
                    <a:lnTo>
                      <a:pt x="104" y="166"/>
                    </a:lnTo>
                    <a:lnTo>
                      <a:pt x="104" y="164"/>
                    </a:lnTo>
                    <a:lnTo>
                      <a:pt x="104" y="164"/>
                    </a:lnTo>
                    <a:lnTo>
                      <a:pt x="104" y="164"/>
                    </a:lnTo>
                    <a:lnTo>
                      <a:pt x="104" y="162"/>
                    </a:lnTo>
                    <a:lnTo>
                      <a:pt x="104" y="160"/>
                    </a:lnTo>
                    <a:lnTo>
                      <a:pt x="102" y="158"/>
                    </a:lnTo>
                    <a:lnTo>
                      <a:pt x="102" y="156"/>
                    </a:lnTo>
                    <a:lnTo>
                      <a:pt x="102" y="156"/>
                    </a:lnTo>
                    <a:lnTo>
                      <a:pt x="102" y="154"/>
                    </a:lnTo>
                    <a:lnTo>
                      <a:pt x="102" y="150"/>
                    </a:lnTo>
                    <a:lnTo>
                      <a:pt x="104" y="148"/>
                    </a:lnTo>
                    <a:lnTo>
                      <a:pt x="104" y="146"/>
                    </a:lnTo>
                    <a:lnTo>
                      <a:pt x="104" y="146"/>
                    </a:lnTo>
                    <a:lnTo>
                      <a:pt x="106" y="144"/>
                    </a:lnTo>
                    <a:lnTo>
                      <a:pt x="108" y="144"/>
                    </a:lnTo>
                    <a:lnTo>
                      <a:pt x="112" y="142"/>
                    </a:lnTo>
                    <a:lnTo>
                      <a:pt x="118" y="140"/>
                    </a:lnTo>
                    <a:lnTo>
                      <a:pt x="118" y="138"/>
                    </a:lnTo>
                    <a:lnTo>
                      <a:pt x="120" y="138"/>
                    </a:lnTo>
                    <a:lnTo>
                      <a:pt x="120" y="138"/>
                    </a:lnTo>
                    <a:lnTo>
                      <a:pt x="120" y="134"/>
                    </a:lnTo>
                    <a:lnTo>
                      <a:pt x="122" y="134"/>
                    </a:lnTo>
                    <a:lnTo>
                      <a:pt x="122" y="130"/>
                    </a:lnTo>
                    <a:lnTo>
                      <a:pt x="124" y="128"/>
                    </a:lnTo>
                    <a:lnTo>
                      <a:pt x="126" y="128"/>
                    </a:lnTo>
                    <a:lnTo>
                      <a:pt x="128" y="126"/>
                    </a:lnTo>
                    <a:lnTo>
                      <a:pt x="130" y="126"/>
                    </a:lnTo>
                    <a:lnTo>
                      <a:pt x="132" y="126"/>
                    </a:lnTo>
                    <a:lnTo>
                      <a:pt x="132" y="126"/>
                    </a:lnTo>
                    <a:lnTo>
                      <a:pt x="134" y="128"/>
                    </a:lnTo>
                    <a:lnTo>
                      <a:pt x="136" y="128"/>
                    </a:lnTo>
                    <a:lnTo>
                      <a:pt x="136" y="128"/>
                    </a:lnTo>
                    <a:lnTo>
                      <a:pt x="138" y="128"/>
                    </a:lnTo>
                    <a:lnTo>
                      <a:pt x="138" y="128"/>
                    </a:lnTo>
                    <a:lnTo>
                      <a:pt x="140" y="126"/>
                    </a:lnTo>
                    <a:lnTo>
                      <a:pt x="140" y="126"/>
                    </a:lnTo>
                    <a:lnTo>
                      <a:pt x="140" y="126"/>
                    </a:lnTo>
                    <a:lnTo>
                      <a:pt x="140" y="124"/>
                    </a:lnTo>
                    <a:lnTo>
                      <a:pt x="142" y="122"/>
                    </a:lnTo>
                    <a:lnTo>
                      <a:pt x="140" y="116"/>
                    </a:lnTo>
                    <a:lnTo>
                      <a:pt x="140" y="116"/>
                    </a:lnTo>
                    <a:lnTo>
                      <a:pt x="140" y="114"/>
                    </a:lnTo>
                    <a:lnTo>
                      <a:pt x="142" y="110"/>
                    </a:lnTo>
                    <a:lnTo>
                      <a:pt x="142" y="110"/>
                    </a:lnTo>
                    <a:lnTo>
                      <a:pt x="142" y="108"/>
                    </a:lnTo>
                    <a:lnTo>
                      <a:pt x="144" y="106"/>
                    </a:lnTo>
                    <a:lnTo>
                      <a:pt x="146" y="104"/>
                    </a:lnTo>
                    <a:lnTo>
                      <a:pt x="150" y="100"/>
                    </a:lnTo>
                    <a:lnTo>
                      <a:pt x="150" y="100"/>
                    </a:lnTo>
                    <a:lnTo>
                      <a:pt x="152" y="98"/>
                    </a:lnTo>
                    <a:lnTo>
                      <a:pt x="152" y="98"/>
                    </a:lnTo>
                    <a:lnTo>
                      <a:pt x="152" y="96"/>
                    </a:lnTo>
                    <a:lnTo>
                      <a:pt x="152" y="96"/>
                    </a:lnTo>
                    <a:lnTo>
                      <a:pt x="152" y="94"/>
                    </a:lnTo>
                    <a:lnTo>
                      <a:pt x="152" y="94"/>
                    </a:lnTo>
                    <a:lnTo>
                      <a:pt x="150" y="92"/>
                    </a:lnTo>
                    <a:lnTo>
                      <a:pt x="148" y="90"/>
                    </a:lnTo>
                    <a:lnTo>
                      <a:pt x="148" y="90"/>
                    </a:lnTo>
                    <a:lnTo>
                      <a:pt x="148" y="88"/>
                    </a:lnTo>
                    <a:lnTo>
                      <a:pt x="146" y="88"/>
                    </a:lnTo>
                    <a:lnTo>
                      <a:pt x="146" y="86"/>
                    </a:lnTo>
                    <a:lnTo>
                      <a:pt x="148" y="86"/>
                    </a:lnTo>
                    <a:lnTo>
                      <a:pt x="148" y="86"/>
                    </a:lnTo>
                    <a:lnTo>
                      <a:pt x="148" y="86"/>
                    </a:lnTo>
                    <a:lnTo>
                      <a:pt x="148" y="84"/>
                    </a:lnTo>
                    <a:lnTo>
                      <a:pt x="152" y="84"/>
                    </a:lnTo>
                    <a:lnTo>
                      <a:pt x="154" y="84"/>
                    </a:lnTo>
                    <a:lnTo>
                      <a:pt x="156" y="82"/>
                    </a:lnTo>
                    <a:lnTo>
                      <a:pt x="156" y="82"/>
                    </a:lnTo>
                    <a:lnTo>
                      <a:pt x="158" y="82"/>
                    </a:lnTo>
                    <a:lnTo>
                      <a:pt x="158" y="80"/>
                    </a:lnTo>
                    <a:lnTo>
                      <a:pt x="160" y="78"/>
                    </a:lnTo>
                    <a:lnTo>
                      <a:pt x="162" y="76"/>
                    </a:lnTo>
                    <a:lnTo>
                      <a:pt x="162" y="76"/>
                    </a:lnTo>
                    <a:lnTo>
                      <a:pt x="162" y="74"/>
                    </a:lnTo>
                    <a:lnTo>
                      <a:pt x="162" y="70"/>
                    </a:lnTo>
                    <a:lnTo>
                      <a:pt x="162" y="66"/>
                    </a:lnTo>
                    <a:lnTo>
                      <a:pt x="162" y="66"/>
                    </a:lnTo>
                    <a:lnTo>
                      <a:pt x="164" y="60"/>
                    </a:lnTo>
                    <a:lnTo>
                      <a:pt x="164" y="58"/>
                    </a:lnTo>
                    <a:lnTo>
                      <a:pt x="164" y="54"/>
                    </a:lnTo>
                    <a:lnTo>
                      <a:pt x="164" y="54"/>
                    </a:lnTo>
                    <a:lnTo>
                      <a:pt x="164" y="52"/>
                    </a:lnTo>
                    <a:lnTo>
                      <a:pt x="162" y="50"/>
                    </a:lnTo>
                    <a:lnTo>
                      <a:pt x="160" y="46"/>
                    </a:lnTo>
                    <a:lnTo>
                      <a:pt x="160" y="46"/>
                    </a:lnTo>
                    <a:lnTo>
                      <a:pt x="158" y="44"/>
                    </a:lnTo>
                    <a:lnTo>
                      <a:pt x="158" y="42"/>
                    </a:lnTo>
                    <a:lnTo>
                      <a:pt x="158" y="38"/>
                    </a:lnTo>
                    <a:lnTo>
                      <a:pt x="158" y="38"/>
                    </a:lnTo>
                    <a:lnTo>
                      <a:pt x="158" y="38"/>
                    </a:lnTo>
                    <a:lnTo>
                      <a:pt x="160" y="36"/>
                    </a:lnTo>
                    <a:lnTo>
                      <a:pt x="162" y="34"/>
                    </a:lnTo>
                    <a:lnTo>
                      <a:pt x="164" y="34"/>
                    </a:lnTo>
                    <a:lnTo>
                      <a:pt x="170" y="32"/>
                    </a:lnTo>
                    <a:lnTo>
                      <a:pt x="172" y="30"/>
                    </a:lnTo>
                    <a:lnTo>
                      <a:pt x="174" y="30"/>
                    </a:lnTo>
                    <a:lnTo>
                      <a:pt x="174" y="30"/>
                    </a:lnTo>
                    <a:lnTo>
                      <a:pt x="178" y="26"/>
                    </a:lnTo>
                    <a:lnTo>
                      <a:pt x="180" y="24"/>
                    </a:lnTo>
                    <a:lnTo>
                      <a:pt x="188" y="20"/>
                    </a:lnTo>
                    <a:lnTo>
                      <a:pt x="188" y="20"/>
                    </a:lnTo>
                    <a:lnTo>
                      <a:pt x="194" y="18"/>
                    </a:lnTo>
                    <a:lnTo>
                      <a:pt x="198" y="16"/>
                    </a:lnTo>
                    <a:lnTo>
                      <a:pt x="198" y="14"/>
                    </a:lnTo>
                    <a:lnTo>
                      <a:pt x="200" y="14"/>
                    </a:lnTo>
                    <a:lnTo>
                      <a:pt x="200" y="14"/>
                    </a:lnTo>
                    <a:lnTo>
                      <a:pt x="198" y="14"/>
                    </a:lnTo>
                    <a:lnTo>
                      <a:pt x="196" y="12"/>
                    </a:lnTo>
                    <a:lnTo>
                      <a:pt x="192" y="12"/>
                    </a:lnTo>
                    <a:lnTo>
                      <a:pt x="190" y="10"/>
                    </a:lnTo>
                    <a:lnTo>
                      <a:pt x="190" y="10"/>
                    </a:lnTo>
                    <a:lnTo>
                      <a:pt x="188" y="10"/>
                    </a:lnTo>
                    <a:lnTo>
                      <a:pt x="186" y="10"/>
                    </a:lnTo>
                    <a:lnTo>
                      <a:pt x="184" y="10"/>
                    </a:lnTo>
                    <a:lnTo>
                      <a:pt x="182" y="12"/>
                    </a:lnTo>
                    <a:lnTo>
                      <a:pt x="178" y="12"/>
                    </a:lnTo>
                    <a:lnTo>
                      <a:pt x="178" y="12"/>
                    </a:lnTo>
                    <a:lnTo>
                      <a:pt x="176" y="14"/>
                    </a:lnTo>
                    <a:lnTo>
                      <a:pt x="174" y="14"/>
                    </a:lnTo>
                    <a:lnTo>
                      <a:pt x="172" y="14"/>
                    </a:lnTo>
                    <a:lnTo>
                      <a:pt x="170" y="14"/>
                    </a:lnTo>
                    <a:lnTo>
                      <a:pt x="170" y="14"/>
                    </a:lnTo>
                    <a:lnTo>
                      <a:pt x="166" y="16"/>
                    </a:lnTo>
                    <a:lnTo>
                      <a:pt x="164" y="18"/>
                    </a:lnTo>
                    <a:lnTo>
                      <a:pt x="164" y="18"/>
                    </a:lnTo>
                    <a:lnTo>
                      <a:pt x="160" y="22"/>
                    </a:lnTo>
                    <a:lnTo>
                      <a:pt x="160" y="22"/>
                    </a:lnTo>
                    <a:lnTo>
                      <a:pt x="158" y="24"/>
                    </a:lnTo>
                    <a:lnTo>
                      <a:pt x="158" y="24"/>
                    </a:lnTo>
                    <a:lnTo>
                      <a:pt x="156" y="24"/>
                    </a:lnTo>
                    <a:lnTo>
                      <a:pt x="154" y="22"/>
                    </a:lnTo>
                    <a:lnTo>
                      <a:pt x="154" y="20"/>
                    </a:lnTo>
                    <a:lnTo>
                      <a:pt x="154" y="20"/>
                    </a:lnTo>
                    <a:lnTo>
                      <a:pt x="152" y="18"/>
                    </a:lnTo>
                    <a:lnTo>
                      <a:pt x="152" y="18"/>
                    </a:lnTo>
                    <a:lnTo>
                      <a:pt x="152" y="16"/>
                    </a:lnTo>
                    <a:lnTo>
                      <a:pt x="152" y="14"/>
                    </a:lnTo>
                    <a:lnTo>
                      <a:pt x="152" y="14"/>
                    </a:lnTo>
                    <a:lnTo>
                      <a:pt x="152" y="12"/>
                    </a:lnTo>
                    <a:lnTo>
                      <a:pt x="152" y="8"/>
                    </a:lnTo>
                    <a:lnTo>
                      <a:pt x="152" y="8"/>
                    </a:lnTo>
                    <a:lnTo>
                      <a:pt x="152" y="8"/>
                    </a:lnTo>
                    <a:lnTo>
                      <a:pt x="152" y="6"/>
                    </a:lnTo>
                    <a:lnTo>
                      <a:pt x="150" y="6"/>
                    </a:lnTo>
                    <a:lnTo>
                      <a:pt x="148" y="6"/>
                    </a:lnTo>
                    <a:lnTo>
                      <a:pt x="148" y="6"/>
                    </a:lnTo>
                    <a:lnTo>
                      <a:pt x="146" y="4"/>
                    </a:lnTo>
                    <a:lnTo>
                      <a:pt x="144" y="4"/>
                    </a:lnTo>
                    <a:lnTo>
                      <a:pt x="142" y="4"/>
                    </a:lnTo>
                    <a:lnTo>
                      <a:pt x="142" y="2"/>
                    </a:lnTo>
                    <a:lnTo>
                      <a:pt x="142" y="2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138" y="0"/>
                    </a:lnTo>
                    <a:lnTo>
                      <a:pt x="138" y="0"/>
                    </a:lnTo>
                    <a:lnTo>
                      <a:pt x="134" y="0"/>
                    </a:lnTo>
                    <a:lnTo>
                      <a:pt x="132" y="2"/>
                    </a:lnTo>
                    <a:lnTo>
                      <a:pt x="132" y="2"/>
                    </a:lnTo>
                    <a:lnTo>
                      <a:pt x="130" y="2"/>
                    </a:lnTo>
                    <a:lnTo>
                      <a:pt x="128" y="4"/>
                    </a:lnTo>
                    <a:lnTo>
                      <a:pt x="128" y="6"/>
                    </a:lnTo>
                    <a:lnTo>
                      <a:pt x="128" y="6"/>
                    </a:lnTo>
                    <a:lnTo>
                      <a:pt x="130" y="10"/>
                    </a:lnTo>
                    <a:lnTo>
                      <a:pt x="130" y="12"/>
                    </a:lnTo>
                    <a:lnTo>
                      <a:pt x="130" y="14"/>
                    </a:lnTo>
                    <a:lnTo>
                      <a:pt x="130" y="14"/>
                    </a:lnTo>
                    <a:lnTo>
                      <a:pt x="126" y="14"/>
                    </a:lnTo>
                    <a:lnTo>
                      <a:pt x="124" y="14"/>
                    </a:lnTo>
                    <a:lnTo>
                      <a:pt x="122" y="14"/>
                    </a:lnTo>
                    <a:lnTo>
                      <a:pt x="120" y="14"/>
                    </a:lnTo>
                    <a:lnTo>
                      <a:pt x="120" y="14"/>
                    </a:lnTo>
                    <a:lnTo>
                      <a:pt x="118" y="16"/>
                    </a:lnTo>
                    <a:lnTo>
                      <a:pt x="116" y="18"/>
                    </a:lnTo>
                    <a:lnTo>
                      <a:pt x="116" y="18"/>
                    </a:lnTo>
                    <a:lnTo>
                      <a:pt x="114" y="20"/>
                    </a:lnTo>
                    <a:lnTo>
                      <a:pt x="114" y="20"/>
                    </a:lnTo>
                    <a:lnTo>
                      <a:pt x="112" y="20"/>
                    </a:lnTo>
                    <a:lnTo>
                      <a:pt x="112" y="20"/>
                    </a:lnTo>
                    <a:lnTo>
                      <a:pt x="110" y="22"/>
                    </a:lnTo>
                    <a:lnTo>
                      <a:pt x="108" y="22"/>
                    </a:lnTo>
                    <a:lnTo>
                      <a:pt x="104" y="24"/>
                    </a:lnTo>
                    <a:lnTo>
                      <a:pt x="102" y="24"/>
                    </a:lnTo>
                    <a:lnTo>
                      <a:pt x="102" y="24"/>
                    </a:lnTo>
                    <a:lnTo>
                      <a:pt x="98" y="24"/>
                    </a:lnTo>
                    <a:lnTo>
                      <a:pt x="94" y="22"/>
                    </a:lnTo>
                    <a:lnTo>
                      <a:pt x="94" y="22"/>
                    </a:lnTo>
                    <a:lnTo>
                      <a:pt x="94" y="24"/>
                    </a:lnTo>
                    <a:lnTo>
                      <a:pt x="92" y="24"/>
                    </a:lnTo>
                    <a:lnTo>
                      <a:pt x="90" y="24"/>
                    </a:lnTo>
                    <a:lnTo>
                      <a:pt x="88" y="24"/>
                    </a:lnTo>
                    <a:lnTo>
                      <a:pt x="86" y="24"/>
                    </a:lnTo>
                    <a:lnTo>
                      <a:pt x="82" y="22"/>
                    </a:lnTo>
                    <a:lnTo>
                      <a:pt x="82" y="22"/>
                    </a:lnTo>
                    <a:lnTo>
                      <a:pt x="78" y="20"/>
                    </a:lnTo>
                    <a:lnTo>
                      <a:pt x="74" y="20"/>
                    </a:lnTo>
                    <a:lnTo>
                      <a:pt x="74" y="20"/>
                    </a:lnTo>
                    <a:lnTo>
                      <a:pt x="74" y="22"/>
                    </a:lnTo>
                    <a:lnTo>
                      <a:pt x="74" y="22"/>
                    </a:lnTo>
                    <a:lnTo>
                      <a:pt x="74" y="24"/>
                    </a:lnTo>
                    <a:lnTo>
                      <a:pt x="72" y="24"/>
                    </a:lnTo>
                    <a:lnTo>
                      <a:pt x="70" y="26"/>
                    </a:lnTo>
                    <a:lnTo>
                      <a:pt x="68" y="26"/>
                    </a:lnTo>
                    <a:lnTo>
                      <a:pt x="64" y="26"/>
                    </a:lnTo>
                    <a:lnTo>
                      <a:pt x="62" y="26"/>
                    </a:lnTo>
                    <a:lnTo>
                      <a:pt x="58" y="26"/>
                    </a:lnTo>
                    <a:lnTo>
                      <a:pt x="58" y="26"/>
                    </a:lnTo>
                    <a:lnTo>
                      <a:pt x="54" y="32"/>
                    </a:lnTo>
                    <a:lnTo>
                      <a:pt x="52" y="38"/>
                    </a:lnTo>
                    <a:lnTo>
                      <a:pt x="50" y="38"/>
                    </a:lnTo>
                    <a:lnTo>
                      <a:pt x="48" y="42"/>
                    </a:lnTo>
                    <a:lnTo>
                      <a:pt x="46" y="44"/>
                    </a:lnTo>
                    <a:lnTo>
                      <a:pt x="44" y="46"/>
                    </a:lnTo>
                    <a:lnTo>
                      <a:pt x="44" y="46"/>
                    </a:lnTo>
                    <a:lnTo>
                      <a:pt x="40" y="50"/>
                    </a:lnTo>
                    <a:lnTo>
                      <a:pt x="36" y="54"/>
                    </a:lnTo>
                    <a:lnTo>
                      <a:pt x="36" y="56"/>
                    </a:lnTo>
                    <a:lnTo>
                      <a:pt x="34" y="58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28" y="64"/>
                    </a:lnTo>
                    <a:lnTo>
                      <a:pt x="24" y="64"/>
                    </a:lnTo>
                    <a:lnTo>
                      <a:pt x="22" y="64"/>
                    </a:lnTo>
                    <a:lnTo>
                      <a:pt x="18" y="64"/>
                    </a:lnTo>
                    <a:lnTo>
                      <a:pt x="12" y="62"/>
                    </a:lnTo>
                    <a:lnTo>
                      <a:pt x="6" y="62"/>
                    </a:lnTo>
                    <a:lnTo>
                      <a:pt x="6" y="62"/>
                    </a:lnTo>
                    <a:lnTo>
                      <a:pt x="2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2"/>
                    </a:lnTo>
                    <a:lnTo>
                      <a:pt x="0" y="64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0" y="72"/>
                    </a:lnTo>
                    <a:lnTo>
                      <a:pt x="0" y="76"/>
                    </a:lnTo>
                    <a:lnTo>
                      <a:pt x="2" y="84"/>
                    </a:lnTo>
                    <a:lnTo>
                      <a:pt x="2" y="84"/>
                    </a:lnTo>
                    <a:lnTo>
                      <a:pt x="2" y="86"/>
                    </a:lnTo>
                    <a:lnTo>
                      <a:pt x="2" y="90"/>
                    </a:lnTo>
                    <a:lnTo>
                      <a:pt x="2" y="90"/>
                    </a:lnTo>
                    <a:lnTo>
                      <a:pt x="2" y="94"/>
                    </a:lnTo>
                    <a:lnTo>
                      <a:pt x="0" y="96"/>
                    </a:lnTo>
                    <a:lnTo>
                      <a:pt x="0" y="96"/>
                    </a:lnTo>
                    <a:lnTo>
                      <a:pt x="0" y="96"/>
                    </a:lnTo>
                    <a:lnTo>
                      <a:pt x="2" y="98"/>
                    </a:lnTo>
                    <a:lnTo>
                      <a:pt x="2" y="100"/>
                    </a:lnTo>
                    <a:lnTo>
                      <a:pt x="4" y="102"/>
                    </a:lnTo>
                    <a:lnTo>
                      <a:pt x="4" y="102"/>
                    </a:lnTo>
                    <a:lnTo>
                      <a:pt x="4" y="102"/>
                    </a:lnTo>
                    <a:lnTo>
                      <a:pt x="4" y="104"/>
                    </a:lnTo>
                    <a:lnTo>
                      <a:pt x="6" y="106"/>
                    </a:lnTo>
                    <a:lnTo>
                      <a:pt x="6" y="110"/>
                    </a:lnTo>
                    <a:lnTo>
                      <a:pt x="6" y="110"/>
                    </a:lnTo>
                    <a:lnTo>
                      <a:pt x="4" y="116"/>
                    </a:lnTo>
                    <a:lnTo>
                      <a:pt x="4" y="120"/>
                    </a:lnTo>
                    <a:lnTo>
                      <a:pt x="4" y="122"/>
                    </a:lnTo>
                    <a:lnTo>
                      <a:pt x="4" y="124"/>
                    </a:lnTo>
                    <a:lnTo>
                      <a:pt x="4" y="124"/>
                    </a:lnTo>
                    <a:lnTo>
                      <a:pt x="6" y="126"/>
                    </a:lnTo>
                    <a:lnTo>
                      <a:pt x="6" y="126"/>
                    </a:lnTo>
                    <a:lnTo>
                      <a:pt x="8" y="128"/>
                    </a:lnTo>
                    <a:lnTo>
                      <a:pt x="10" y="130"/>
                    </a:lnTo>
                    <a:lnTo>
                      <a:pt x="10" y="130"/>
                    </a:lnTo>
                    <a:lnTo>
                      <a:pt x="10" y="134"/>
                    </a:lnTo>
                    <a:lnTo>
                      <a:pt x="12" y="136"/>
                    </a:lnTo>
                    <a:lnTo>
                      <a:pt x="12" y="136"/>
                    </a:lnTo>
                    <a:lnTo>
                      <a:pt x="14" y="136"/>
                    </a:lnTo>
                    <a:lnTo>
                      <a:pt x="14" y="138"/>
                    </a:lnTo>
                    <a:lnTo>
                      <a:pt x="16" y="138"/>
                    </a:lnTo>
                    <a:lnTo>
                      <a:pt x="18" y="138"/>
                    </a:lnTo>
                    <a:lnTo>
                      <a:pt x="22" y="138"/>
                    </a:lnTo>
                    <a:lnTo>
                      <a:pt x="22" y="138"/>
                    </a:lnTo>
                    <a:lnTo>
                      <a:pt x="24" y="138"/>
                    </a:lnTo>
                    <a:lnTo>
                      <a:pt x="24" y="138"/>
                    </a:lnTo>
                    <a:lnTo>
                      <a:pt x="26" y="140"/>
                    </a:lnTo>
                    <a:lnTo>
                      <a:pt x="28" y="140"/>
                    </a:lnTo>
                    <a:lnTo>
                      <a:pt x="28" y="142"/>
                    </a:lnTo>
                    <a:lnTo>
                      <a:pt x="28" y="144"/>
                    </a:lnTo>
                    <a:lnTo>
                      <a:pt x="30" y="146"/>
                    </a:lnTo>
                    <a:lnTo>
                      <a:pt x="28" y="148"/>
                    </a:lnTo>
                    <a:lnTo>
                      <a:pt x="28" y="150"/>
                    </a:lnTo>
                    <a:lnTo>
                      <a:pt x="28" y="150"/>
                    </a:lnTo>
                    <a:lnTo>
                      <a:pt x="28" y="150"/>
                    </a:lnTo>
                    <a:lnTo>
                      <a:pt x="26" y="152"/>
                    </a:lnTo>
                    <a:lnTo>
                      <a:pt x="24" y="152"/>
                    </a:lnTo>
                    <a:lnTo>
                      <a:pt x="24" y="154"/>
                    </a:lnTo>
                    <a:lnTo>
                      <a:pt x="22" y="154"/>
                    </a:lnTo>
                    <a:lnTo>
                      <a:pt x="22" y="154"/>
                    </a:lnTo>
                    <a:lnTo>
                      <a:pt x="20" y="156"/>
                    </a:lnTo>
                    <a:lnTo>
                      <a:pt x="20" y="158"/>
                    </a:lnTo>
                    <a:lnTo>
                      <a:pt x="20" y="160"/>
                    </a:lnTo>
                    <a:lnTo>
                      <a:pt x="20" y="160"/>
                    </a:lnTo>
                    <a:lnTo>
                      <a:pt x="20" y="162"/>
                    </a:lnTo>
                    <a:lnTo>
                      <a:pt x="18" y="164"/>
                    </a:lnTo>
                    <a:lnTo>
                      <a:pt x="18" y="164"/>
                    </a:lnTo>
                    <a:lnTo>
                      <a:pt x="18" y="166"/>
                    </a:lnTo>
                    <a:lnTo>
                      <a:pt x="18" y="166"/>
                    </a:lnTo>
                    <a:lnTo>
                      <a:pt x="18" y="166"/>
                    </a:lnTo>
                    <a:lnTo>
                      <a:pt x="18" y="168"/>
                    </a:lnTo>
                    <a:lnTo>
                      <a:pt x="20" y="168"/>
                    </a:lnTo>
                    <a:lnTo>
                      <a:pt x="22" y="168"/>
                    </a:lnTo>
                    <a:lnTo>
                      <a:pt x="22" y="168"/>
                    </a:lnTo>
                    <a:lnTo>
                      <a:pt x="22" y="170"/>
                    </a:lnTo>
                    <a:lnTo>
                      <a:pt x="24" y="170"/>
                    </a:lnTo>
                    <a:lnTo>
                      <a:pt x="24" y="170"/>
                    </a:lnTo>
                    <a:lnTo>
                      <a:pt x="26" y="176"/>
                    </a:lnTo>
                    <a:lnTo>
                      <a:pt x="26" y="176"/>
                    </a:lnTo>
                    <a:lnTo>
                      <a:pt x="28" y="178"/>
                    </a:lnTo>
                    <a:lnTo>
                      <a:pt x="28" y="180"/>
                    </a:lnTo>
                    <a:lnTo>
                      <a:pt x="28" y="180"/>
                    </a:lnTo>
                    <a:lnTo>
                      <a:pt x="30" y="182"/>
                    </a:lnTo>
                    <a:lnTo>
                      <a:pt x="30" y="182"/>
                    </a:lnTo>
                    <a:lnTo>
                      <a:pt x="30" y="182"/>
                    </a:lnTo>
                    <a:lnTo>
                      <a:pt x="34" y="182"/>
                    </a:lnTo>
                    <a:lnTo>
                      <a:pt x="38" y="180"/>
                    </a:lnTo>
                    <a:lnTo>
                      <a:pt x="44" y="180"/>
                    </a:lnTo>
                    <a:lnTo>
                      <a:pt x="44" y="180"/>
                    </a:lnTo>
                    <a:lnTo>
                      <a:pt x="50" y="178"/>
                    </a:lnTo>
                    <a:lnTo>
                      <a:pt x="56" y="178"/>
                    </a:lnTo>
                    <a:lnTo>
                      <a:pt x="62" y="178"/>
                    </a:lnTo>
                    <a:lnTo>
                      <a:pt x="66" y="178"/>
                    </a:lnTo>
                    <a:lnTo>
                      <a:pt x="66" y="178"/>
                    </a:lnTo>
                    <a:lnTo>
                      <a:pt x="66" y="178"/>
                    </a:lnTo>
                    <a:lnTo>
                      <a:pt x="66" y="178"/>
                    </a:lnTo>
                    <a:lnTo>
                      <a:pt x="66" y="178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84" name="Freeform 551"/>
              <p:cNvSpPr>
                <a:spLocks/>
              </p:cNvSpPr>
              <p:nvPr/>
            </p:nvSpPr>
            <p:spPr bwMode="auto">
              <a:xfrm>
                <a:off x="3667" y="2154"/>
                <a:ext cx="232" cy="260"/>
              </a:xfrm>
              <a:custGeom>
                <a:avLst/>
                <a:gdLst>
                  <a:gd name="T0" fmla="*/ 128 w 232"/>
                  <a:gd name="T1" fmla="*/ 248 h 260"/>
                  <a:gd name="T2" fmla="*/ 154 w 232"/>
                  <a:gd name="T3" fmla="*/ 248 h 260"/>
                  <a:gd name="T4" fmla="*/ 156 w 232"/>
                  <a:gd name="T5" fmla="*/ 238 h 260"/>
                  <a:gd name="T6" fmla="*/ 150 w 232"/>
                  <a:gd name="T7" fmla="*/ 222 h 260"/>
                  <a:gd name="T8" fmla="*/ 132 w 232"/>
                  <a:gd name="T9" fmla="*/ 200 h 260"/>
                  <a:gd name="T10" fmla="*/ 134 w 232"/>
                  <a:gd name="T11" fmla="*/ 186 h 260"/>
                  <a:gd name="T12" fmla="*/ 146 w 232"/>
                  <a:gd name="T13" fmla="*/ 184 h 260"/>
                  <a:gd name="T14" fmla="*/ 162 w 232"/>
                  <a:gd name="T15" fmla="*/ 180 h 260"/>
                  <a:gd name="T16" fmla="*/ 166 w 232"/>
                  <a:gd name="T17" fmla="*/ 168 h 260"/>
                  <a:gd name="T18" fmla="*/ 180 w 232"/>
                  <a:gd name="T19" fmla="*/ 158 h 260"/>
                  <a:gd name="T20" fmla="*/ 186 w 232"/>
                  <a:gd name="T21" fmla="*/ 138 h 260"/>
                  <a:gd name="T22" fmla="*/ 198 w 232"/>
                  <a:gd name="T23" fmla="*/ 118 h 260"/>
                  <a:gd name="T24" fmla="*/ 198 w 232"/>
                  <a:gd name="T25" fmla="*/ 98 h 260"/>
                  <a:gd name="T26" fmla="*/ 186 w 232"/>
                  <a:gd name="T27" fmla="*/ 90 h 260"/>
                  <a:gd name="T28" fmla="*/ 180 w 232"/>
                  <a:gd name="T29" fmla="*/ 82 h 260"/>
                  <a:gd name="T30" fmla="*/ 178 w 232"/>
                  <a:gd name="T31" fmla="*/ 66 h 260"/>
                  <a:gd name="T32" fmla="*/ 172 w 232"/>
                  <a:gd name="T33" fmla="*/ 54 h 260"/>
                  <a:gd name="T34" fmla="*/ 188 w 232"/>
                  <a:gd name="T35" fmla="*/ 52 h 260"/>
                  <a:gd name="T36" fmla="*/ 218 w 232"/>
                  <a:gd name="T37" fmla="*/ 52 h 260"/>
                  <a:gd name="T38" fmla="*/ 230 w 232"/>
                  <a:gd name="T39" fmla="*/ 46 h 260"/>
                  <a:gd name="T40" fmla="*/ 208 w 232"/>
                  <a:gd name="T41" fmla="*/ 20 h 260"/>
                  <a:gd name="T42" fmla="*/ 198 w 232"/>
                  <a:gd name="T43" fmla="*/ 4 h 260"/>
                  <a:gd name="T44" fmla="*/ 188 w 232"/>
                  <a:gd name="T45" fmla="*/ 2 h 260"/>
                  <a:gd name="T46" fmla="*/ 178 w 232"/>
                  <a:gd name="T47" fmla="*/ 0 h 260"/>
                  <a:gd name="T48" fmla="*/ 168 w 232"/>
                  <a:gd name="T49" fmla="*/ 2 h 260"/>
                  <a:gd name="T50" fmla="*/ 144 w 232"/>
                  <a:gd name="T51" fmla="*/ 18 h 260"/>
                  <a:gd name="T52" fmla="*/ 128 w 232"/>
                  <a:gd name="T53" fmla="*/ 26 h 260"/>
                  <a:gd name="T54" fmla="*/ 132 w 232"/>
                  <a:gd name="T55" fmla="*/ 38 h 260"/>
                  <a:gd name="T56" fmla="*/ 132 w 232"/>
                  <a:gd name="T57" fmla="*/ 54 h 260"/>
                  <a:gd name="T58" fmla="*/ 128 w 232"/>
                  <a:gd name="T59" fmla="*/ 70 h 260"/>
                  <a:gd name="T60" fmla="*/ 118 w 232"/>
                  <a:gd name="T61" fmla="*/ 74 h 260"/>
                  <a:gd name="T62" fmla="*/ 120 w 232"/>
                  <a:gd name="T63" fmla="*/ 80 h 260"/>
                  <a:gd name="T64" fmla="*/ 120 w 232"/>
                  <a:gd name="T65" fmla="*/ 88 h 260"/>
                  <a:gd name="T66" fmla="*/ 110 w 232"/>
                  <a:gd name="T67" fmla="*/ 102 h 260"/>
                  <a:gd name="T68" fmla="*/ 110 w 232"/>
                  <a:gd name="T69" fmla="*/ 114 h 260"/>
                  <a:gd name="T70" fmla="*/ 102 w 232"/>
                  <a:gd name="T71" fmla="*/ 114 h 260"/>
                  <a:gd name="T72" fmla="*/ 90 w 232"/>
                  <a:gd name="T73" fmla="*/ 122 h 260"/>
                  <a:gd name="T74" fmla="*/ 76 w 232"/>
                  <a:gd name="T75" fmla="*/ 132 h 260"/>
                  <a:gd name="T76" fmla="*/ 72 w 232"/>
                  <a:gd name="T77" fmla="*/ 144 h 260"/>
                  <a:gd name="T78" fmla="*/ 74 w 232"/>
                  <a:gd name="T79" fmla="*/ 154 h 260"/>
                  <a:gd name="T80" fmla="*/ 52 w 232"/>
                  <a:gd name="T81" fmla="*/ 160 h 260"/>
                  <a:gd name="T82" fmla="*/ 42 w 232"/>
                  <a:gd name="T83" fmla="*/ 164 h 260"/>
                  <a:gd name="T84" fmla="*/ 20 w 232"/>
                  <a:gd name="T85" fmla="*/ 166 h 260"/>
                  <a:gd name="T86" fmla="*/ 4 w 232"/>
                  <a:gd name="T87" fmla="*/ 170 h 260"/>
                  <a:gd name="T88" fmla="*/ 10 w 232"/>
                  <a:gd name="T89" fmla="*/ 176 h 260"/>
                  <a:gd name="T90" fmla="*/ 24 w 232"/>
                  <a:gd name="T91" fmla="*/ 182 h 260"/>
                  <a:gd name="T92" fmla="*/ 24 w 232"/>
                  <a:gd name="T93" fmla="*/ 192 h 260"/>
                  <a:gd name="T94" fmla="*/ 26 w 232"/>
                  <a:gd name="T95" fmla="*/ 200 h 260"/>
                  <a:gd name="T96" fmla="*/ 34 w 232"/>
                  <a:gd name="T97" fmla="*/ 206 h 260"/>
                  <a:gd name="T98" fmla="*/ 18 w 232"/>
                  <a:gd name="T99" fmla="*/ 214 h 260"/>
                  <a:gd name="T100" fmla="*/ 10 w 232"/>
                  <a:gd name="T101" fmla="*/ 224 h 260"/>
                  <a:gd name="T102" fmla="*/ 12 w 232"/>
                  <a:gd name="T103" fmla="*/ 236 h 260"/>
                  <a:gd name="T104" fmla="*/ 24 w 232"/>
                  <a:gd name="T105" fmla="*/ 238 h 260"/>
                  <a:gd name="T106" fmla="*/ 34 w 232"/>
                  <a:gd name="T107" fmla="*/ 234 h 260"/>
                  <a:gd name="T108" fmla="*/ 48 w 232"/>
                  <a:gd name="T109" fmla="*/ 234 h 260"/>
                  <a:gd name="T110" fmla="*/ 56 w 232"/>
                  <a:gd name="T111" fmla="*/ 230 h 260"/>
                  <a:gd name="T112" fmla="*/ 64 w 232"/>
                  <a:gd name="T113" fmla="*/ 232 h 260"/>
                  <a:gd name="T114" fmla="*/ 76 w 232"/>
                  <a:gd name="T115" fmla="*/ 232 h 260"/>
                  <a:gd name="T116" fmla="*/ 86 w 232"/>
                  <a:gd name="T117" fmla="*/ 242 h 260"/>
                  <a:gd name="T118" fmla="*/ 102 w 232"/>
                  <a:gd name="T119" fmla="*/ 246 h 260"/>
                  <a:gd name="T120" fmla="*/ 112 w 232"/>
                  <a:gd name="T121" fmla="*/ 258 h 260"/>
                  <a:gd name="T122" fmla="*/ 120 w 232"/>
                  <a:gd name="T123" fmla="*/ 26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32" h="260">
                    <a:moveTo>
                      <a:pt x="122" y="256"/>
                    </a:moveTo>
                    <a:lnTo>
                      <a:pt x="122" y="256"/>
                    </a:lnTo>
                    <a:lnTo>
                      <a:pt x="126" y="252"/>
                    </a:lnTo>
                    <a:lnTo>
                      <a:pt x="126" y="250"/>
                    </a:lnTo>
                    <a:lnTo>
                      <a:pt x="128" y="248"/>
                    </a:lnTo>
                    <a:lnTo>
                      <a:pt x="128" y="248"/>
                    </a:lnTo>
                    <a:lnTo>
                      <a:pt x="128" y="248"/>
                    </a:lnTo>
                    <a:lnTo>
                      <a:pt x="132" y="248"/>
                    </a:lnTo>
                    <a:lnTo>
                      <a:pt x="134" y="248"/>
                    </a:lnTo>
                    <a:lnTo>
                      <a:pt x="142" y="248"/>
                    </a:lnTo>
                    <a:lnTo>
                      <a:pt x="146" y="248"/>
                    </a:lnTo>
                    <a:lnTo>
                      <a:pt x="148" y="250"/>
                    </a:lnTo>
                    <a:lnTo>
                      <a:pt x="152" y="250"/>
                    </a:lnTo>
                    <a:lnTo>
                      <a:pt x="154" y="248"/>
                    </a:lnTo>
                    <a:lnTo>
                      <a:pt x="154" y="248"/>
                    </a:lnTo>
                    <a:lnTo>
                      <a:pt x="154" y="248"/>
                    </a:lnTo>
                    <a:lnTo>
                      <a:pt x="154" y="248"/>
                    </a:lnTo>
                    <a:lnTo>
                      <a:pt x="156" y="246"/>
                    </a:lnTo>
                    <a:lnTo>
                      <a:pt x="156" y="242"/>
                    </a:lnTo>
                    <a:lnTo>
                      <a:pt x="156" y="240"/>
                    </a:lnTo>
                    <a:lnTo>
                      <a:pt x="156" y="238"/>
                    </a:lnTo>
                    <a:lnTo>
                      <a:pt x="156" y="234"/>
                    </a:lnTo>
                    <a:lnTo>
                      <a:pt x="154" y="230"/>
                    </a:lnTo>
                    <a:lnTo>
                      <a:pt x="154" y="230"/>
                    </a:lnTo>
                    <a:lnTo>
                      <a:pt x="154" y="228"/>
                    </a:lnTo>
                    <a:lnTo>
                      <a:pt x="154" y="226"/>
                    </a:lnTo>
                    <a:lnTo>
                      <a:pt x="150" y="224"/>
                    </a:lnTo>
                    <a:lnTo>
                      <a:pt x="150" y="222"/>
                    </a:lnTo>
                    <a:lnTo>
                      <a:pt x="144" y="218"/>
                    </a:lnTo>
                    <a:lnTo>
                      <a:pt x="142" y="216"/>
                    </a:lnTo>
                    <a:lnTo>
                      <a:pt x="140" y="216"/>
                    </a:lnTo>
                    <a:lnTo>
                      <a:pt x="140" y="216"/>
                    </a:lnTo>
                    <a:lnTo>
                      <a:pt x="136" y="210"/>
                    </a:lnTo>
                    <a:lnTo>
                      <a:pt x="134" y="206"/>
                    </a:lnTo>
                    <a:lnTo>
                      <a:pt x="132" y="200"/>
                    </a:lnTo>
                    <a:lnTo>
                      <a:pt x="130" y="194"/>
                    </a:lnTo>
                    <a:lnTo>
                      <a:pt x="130" y="194"/>
                    </a:lnTo>
                    <a:lnTo>
                      <a:pt x="130" y="192"/>
                    </a:lnTo>
                    <a:lnTo>
                      <a:pt x="130" y="190"/>
                    </a:lnTo>
                    <a:lnTo>
                      <a:pt x="132" y="188"/>
                    </a:lnTo>
                    <a:lnTo>
                      <a:pt x="132" y="188"/>
                    </a:lnTo>
                    <a:lnTo>
                      <a:pt x="134" y="186"/>
                    </a:lnTo>
                    <a:lnTo>
                      <a:pt x="134" y="186"/>
                    </a:lnTo>
                    <a:lnTo>
                      <a:pt x="134" y="186"/>
                    </a:lnTo>
                    <a:lnTo>
                      <a:pt x="136" y="184"/>
                    </a:lnTo>
                    <a:lnTo>
                      <a:pt x="140" y="184"/>
                    </a:lnTo>
                    <a:lnTo>
                      <a:pt x="144" y="184"/>
                    </a:lnTo>
                    <a:lnTo>
                      <a:pt x="146" y="184"/>
                    </a:lnTo>
                    <a:lnTo>
                      <a:pt x="146" y="184"/>
                    </a:lnTo>
                    <a:lnTo>
                      <a:pt x="154" y="184"/>
                    </a:lnTo>
                    <a:lnTo>
                      <a:pt x="158" y="184"/>
                    </a:lnTo>
                    <a:lnTo>
                      <a:pt x="160" y="182"/>
                    </a:lnTo>
                    <a:lnTo>
                      <a:pt x="162" y="182"/>
                    </a:lnTo>
                    <a:lnTo>
                      <a:pt x="162" y="182"/>
                    </a:lnTo>
                    <a:lnTo>
                      <a:pt x="162" y="180"/>
                    </a:lnTo>
                    <a:lnTo>
                      <a:pt x="162" y="180"/>
                    </a:lnTo>
                    <a:lnTo>
                      <a:pt x="162" y="176"/>
                    </a:lnTo>
                    <a:lnTo>
                      <a:pt x="162" y="174"/>
                    </a:lnTo>
                    <a:lnTo>
                      <a:pt x="162" y="172"/>
                    </a:lnTo>
                    <a:lnTo>
                      <a:pt x="162" y="172"/>
                    </a:lnTo>
                    <a:lnTo>
                      <a:pt x="162" y="172"/>
                    </a:lnTo>
                    <a:lnTo>
                      <a:pt x="164" y="170"/>
                    </a:lnTo>
                    <a:lnTo>
                      <a:pt x="166" y="168"/>
                    </a:lnTo>
                    <a:lnTo>
                      <a:pt x="168" y="166"/>
                    </a:lnTo>
                    <a:lnTo>
                      <a:pt x="170" y="166"/>
                    </a:lnTo>
                    <a:lnTo>
                      <a:pt x="174" y="164"/>
                    </a:lnTo>
                    <a:lnTo>
                      <a:pt x="176" y="162"/>
                    </a:lnTo>
                    <a:lnTo>
                      <a:pt x="178" y="160"/>
                    </a:lnTo>
                    <a:lnTo>
                      <a:pt x="178" y="160"/>
                    </a:lnTo>
                    <a:lnTo>
                      <a:pt x="180" y="158"/>
                    </a:lnTo>
                    <a:lnTo>
                      <a:pt x="180" y="156"/>
                    </a:lnTo>
                    <a:lnTo>
                      <a:pt x="182" y="154"/>
                    </a:lnTo>
                    <a:lnTo>
                      <a:pt x="182" y="152"/>
                    </a:lnTo>
                    <a:lnTo>
                      <a:pt x="184" y="142"/>
                    </a:lnTo>
                    <a:lnTo>
                      <a:pt x="184" y="142"/>
                    </a:lnTo>
                    <a:lnTo>
                      <a:pt x="186" y="140"/>
                    </a:lnTo>
                    <a:lnTo>
                      <a:pt x="186" y="138"/>
                    </a:lnTo>
                    <a:lnTo>
                      <a:pt x="190" y="132"/>
                    </a:lnTo>
                    <a:lnTo>
                      <a:pt x="192" y="130"/>
                    </a:lnTo>
                    <a:lnTo>
                      <a:pt x="194" y="128"/>
                    </a:lnTo>
                    <a:lnTo>
                      <a:pt x="196" y="126"/>
                    </a:lnTo>
                    <a:lnTo>
                      <a:pt x="196" y="122"/>
                    </a:lnTo>
                    <a:lnTo>
                      <a:pt x="196" y="122"/>
                    </a:lnTo>
                    <a:lnTo>
                      <a:pt x="198" y="118"/>
                    </a:lnTo>
                    <a:lnTo>
                      <a:pt x="198" y="112"/>
                    </a:lnTo>
                    <a:lnTo>
                      <a:pt x="200" y="108"/>
                    </a:lnTo>
                    <a:lnTo>
                      <a:pt x="200" y="104"/>
                    </a:lnTo>
                    <a:lnTo>
                      <a:pt x="200" y="102"/>
                    </a:lnTo>
                    <a:lnTo>
                      <a:pt x="200" y="102"/>
                    </a:lnTo>
                    <a:lnTo>
                      <a:pt x="200" y="100"/>
                    </a:lnTo>
                    <a:lnTo>
                      <a:pt x="198" y="98"/>
                    </a:lnTo>
                    <a:lnTo>
                      <a:pt x="198" y="96"/>
                    </a:lnTo>
                    <a:lnTo>
                      <a:pt x="196" y="94"/>
                    </a:lnTo>
                    <a:lnTo>
                      <a:pt x="196" y="94"/>
                    </a:lnTo>
                    <a:lnTo>
                      <a:pt x="194" y="92"/>
                    </a:lnTo>
                    <a:lnTo>
                      <a:pt x="194" y="92"/>
                    </a:lnTo>
                    <a:lnTo>
                      <a:pt x="190" y="90"/>
                    </a:lnTo>
                    <a:lnTo>
                      <a:pt x="186" y="90"/>
                    </a:lnTo>
                    <a:lnTo>
                      <a:pt x="186" y="90"/>
                    </a:lnTo>
                    <a:lnTo>
                      <a:pt x="184" y="88"/>
                    </a:lnTo>
                    <a:lnTo>
                      <a:pt x="184" y="88"/>
                    </a:lnTo>
                    <a:lnTo>
                      <a:pt x="182" y="86"/>
                    </a:lnTo>
                    <a:lnTo>
                      <a:pt x="182" y="86"/>
                    </a:lnTo>
                    <a:lnTo>
                      <a:pt x="180" y="84"/>
                    </a:lnTo>
                    <a:lnTo>
                      <a:pt x="180" y="82"/>
                    </a:lnTo>
                    <a:lnTo>
                      <a:pt x="180" y="78"/>
                    </a:lnTo>
                    <a:lnTo>
                      <a:pt x="182" y="74"/>
                    </a:lnTo>
                    <a:lnTo>
                      <a:pt x="182" y="72"/>
                    </a:lnTo>
                    <a:lnTo>
                      <a:pt x="180" y="70"/>
                    </a:lnTo>
                    <a:lnTo>
                      <a:pt x="180" y="70"/>
                    </a:lnTo>
                    <a:lnTo>
                      <a:pt x="180" y="68"/>
                    </a:lnTo>
                    <a:lnTo>
                      <a:pt x="178" y="66"/>
                    </a:lnTo>
                    <a:lnTo>
                      <a:pt x="174" y="62"/>
                    </a:lnTo>
                    <a:lnTo>
                      <a:pt x="172" y="62"/>
                    </a:lnTo>
                    <a:lnTo>
                      <a:pt x="172" y="60"/>
                    </a:lnTo>
                    <a:lnTo>
                      <a:pt x="172" y="58"/>
                    </a:lnTo>
                    <a:lnTo>
                      <a:pt x="172" y="58"/>
                    </a:lnTo>
                    <a:lnTo>
                      <a:pt x="172" y="56"/>
                    </a:lnTo>
                    <a:lnTo>
                      <a:pt x="172" y="54"/>
                    </a:lnTo>
                    <a:lnTo>
                      <a:pt x="172" y="54"/>
                    </a:lnTo>
                    <a:lnTo>
                      <a:pt x="174" y="54"/>
                    </a:lnTo>
                    <a:lnTo>
                      <a:pt x="176" y="52"/>
                    </a:lnTo>
                    <a:lnTo>
                      <a:pt x="178" y="52"/>
                    </a:lnTo>
                    <a:lnTo>
                      <a:pt x="180" y="50"/>
                    </a:lnTo>
                    <a:lnTo>
                      <a:pt x="184" y="52"/>
                    </a:lnTo>
                    <a:lnTo>
                      <a:pt x="188" y="52"/>
                    </a:lnTo>
                    <a:lnTo>
                      <a:pt x="188" y="52"/>
                    </a:lnTo>
                    <a:lnTo>
                      <a:pt x="196" y="52"/>
                    </a:lnTo>
                    <a:lnTo>
                      <a:pt x="202" y="52"/>
                    </a:lnTo>
                    <a:lnTo>
                      <a:pt x="206" y="52"/>
                    </a:lnTo>
                    <a:lnTo>
                      <a:pt x="214" y="52"/>
                    </a:lnTo>
                    <a:lnTo>
                      <a:pt x="214" y="52"/>
                    </a:lnTo>
                    <a:lnTo>
                      <a:pt x="218" y="52"/>
                    </a:lnTo>
                    <a:lnTo>
                      <a:pt x="224" y="50"/>
                    </a:lnTo>
                    <a:lnTo>
                      <a:pt x="226" y="50"/>
                    </a:lnTo>
                    <a:lnTo>
                      <a:pt x="228" y="50"/>
                    </a:lnTo>
                    <a:lnTo>
                      <a:pt x="230" y="48"/>
                    </a:lnTo>
                    <a:lnTo>
                      <a:pt x="232" y="46"/>
                    </a:lnTo>
                    <a:lnTo>
                      <a:pt x="232" y="46"/>
                    </a:lnTo>
                    <a:lnTo>
                      <a:pt x="230" y="46"/>
                    </a:lnTo>
                    <a:lnTo>
                      <a:pt x="228" y="44"/>
                    </a:lnTo>
                    <a:lnTo>
                      <a:pt x="224" y="40"/>
                    </a:lnTo>
                    <a:lnTo>
                      <a:pt x="220" y="32"/>
                    </a:lnTo>
                    <a:lnTo>
                      <a:pt x="220" y="32"/>
                    </a:lnTo>
                    <a:lnTo>
                      <a:pt x="216" y="30"/>
                    </a:lnTo>
                    <a:lnTo>
                      <a:pt x="214" y="26"/>
                    </a:lnTo>
                    <a:lnTo>
                      <a:pt x="208" y="20"/>
                    </a:lnTo>
                    <a:lnTo>
                      <a:pt x="208" y="20"/>
                    </a:lnTo>
                    <a:lnTo>
                      <a:pt x="206" y="16"/>
                    </a:lnTo>
                    <a:lnTo>
                      <a:pt x="204" y="14"/>
                    </a:lnTo>
                    <a:lnTo>
                      <a:pt x="202" y="10"/>
                    </a:lnTo>
                    <a:lnTo>
                      <a:pt x="200" y="6"/>
                    </a:lnTo>
                    <a:lnTo>
                      <a:pt x="200" y="6"/>
                    </a:lnTo>
                    <a:lnTo>
                      <a:pt x="198" y="4"/>
                    </a:lnTo>
                    <a:lnTo>
                      <a:pt x="196" y="2"/>
                    </a:lnTo>
                    <a:lnTo>
                      <a:pt x="194" y="2"/>
                    </a:lnTo>
                    <a:lnTo>
                      <a:pt x="194" y="2"/>
                    </a:lnTo>
                    <a:lnTo>
                      <a:pt x="194" y="2"/>
                    </a:lnTo>
                    <a:lnTo>
                      <a:pt x="192" y="2"/>
                    </a:lnTo>
                    <a:lnTo>
                      <a:pt x="188" y="2"/>
                    </a:lnTo>
                    <a:lnTo>
                      <a:pt x="188" y="2"/>
                    </a:lnTo>
                    <a:lnTo>
                      <a:pt x="184" y="2"/>
                    </a:lnTo>
                    <a:lnTo>
                      <a:pt x="180" y="0"/>
                    </a:lnTo>
                    <a:lnTo>
                      <a:pt x="180" y="0"/>
                    </a:lnTo>
                    <a:lnTo>
                      <a:pt x="178" y="0"/>
                    </a:lnTo>
                    <a:lnTo>
                      <a:pt x="178" y="0"/>
                    </a:lnTo>
                    <a:lnTo>
                      <a:pt x="178" y="0"/>
                    </a:lnTo>
                    <a:lnTo>
                      <a:pt x="178" y="0"/>
                    </a:lnTo>
                    <a:lnTo>
                      <a:pt x="176" y="2"/>
                    </a:lnTo>
                    <a:lnTo>
                      <a:pt x="174" y="2"/>
                    </a:lnTo>
                    <a:lnTo>
                      <a:pt x="172" y="2"/>
                    </a:lnTo>
                    <a:lnTo>
                      <a:pt x="172" y="2"/>
                    </a:lnTo>
                    <a:lnTo>
                      <a:pt x="170" y="2"/>
                    </a:lnTo>
                    <a:lnTo>
                      <a:pt x="170" y="2"/>
                    </a:lnTo>
                    <a:lnTo>
                      <a:pt x="168" y="2"/>
                    </a:lnTo>
                    <a:lnTo>
                      <a:pt x="168" y="4"/>
                    </a:lnTo>
                    <a:lnTo>
                      <a:pt x="164" y="6"/>
                    </a:lnTo>
                    <a:lnTo>
                      <a:pt x="158" y="8"/>
                    </a:lnTo>
                    <a:lnTo>
                      <a:pt x="158" y="8"/>
                    </a:lnTo>
                    <a:lnTo>
                      <a:pt x="150" y="12"/>
                    </a:lnTo>
                    <a:lnTo>
                      <a:pt x="148" y="14"/>
                    </a:lnTo>
                    <a:lnTo>
                      <a:pt x="144" y="18"/>
                    </a:lnTo>
                    <a:lnTo>
                      <a:pt x="144" y="18"/>
                    </a:lnTo>
                    <a:lnTo>
                      <a:pt x="142" y="18"/>
                    </a:lnTo>
                    <a:lnTo>
                      <a:pt x="140" y="20"/>
                    </a:lnTo>
                    <a:lnTo>
                      <a:pt x="134" y="22"/>
                    </a:lnTo>
                    <a:lnTo>
                      <a:pt x="132" y="22"/>
                    </a:lnTo>
                    <a:lnTo>
                      <a:pt x="130" y="24"/>
                    </a:lnTo>
                    <a:lnTo>
                      <a:pt x="128" y="26"/>
                    </a:lnTo>
                    <a:lnTo>
                      <a:pt x="128" y="26"/>
                    </a:lnTo>
                    <a:lnTo>
                      <a:pt x="128" y="26"/>
                    </a:lnTo>
                    <a:lnTo>
                      <a:pt x="128" y="30"/>
                    </a:lnTo>
                    <a:lnTo>
                      <a:pt x="128" y="32"/>
                    </a:lnTo>
                    <a:lnTo>
                      <a:pt x="130" y="34"/>
                    </a:lnTo>
                    <a:lnTo>
                      <a:pt x="130" y="34"/>
                    </a:lnTo>
                    <a:lnTo>
                      <a:pt x="132" y="38"/>
                    </a:lnTo>
                    <a:lnTo>
                      <a:pt x="134" y="40"/>
                    </a:lnTo>
                    <a:lnTo>
                      <a:pt x="134" y="42"/>
                    </a:lnTo>
                    <a:lnTo>
                      <a:pt x="134" y="42"/>
                    </a:lnTo>
                    <a:lnTo>
                      <a:pt x="134" y="46"/>
                    </a:lnTo>
                    <a:lnTo>
                      <a:pt x="134" y="48"/>
                    </a:lnTo>
                    <a:lnTo>
                      <a:pt x="132" y="54"/>
                    </a:lnTo>
                    <a:lnTo>
                      <a:pt x="132" y="54"/>
                    </a:lnTo>
                    <a:lnTo>
                      <a:pt x="132" y="58"/>
                    </a:lnTo>
                    <a:lnTo>
                      <a:pt x="132" y="62"/>
                    </a:lnTo>
                    <a:lnTo>
                      <a:pt x="132" y="64"/>
                    </a:lnTo>
                    <a:lnTo>
                      <a:pt x="132" y="64"/>
                    </a:lnTo>
                    <a:lnTo>
                      <a:pt x="130" y="66"/>
                    </a:lnTo>
                    <a:lnTo>
                      <a:pt x="128" y="68"/>
                    </a:lnTo>
                    <a:lnTo>
                      <a:pt x="128" y="70"/>
                    </a:lnTo>
                    <a:lnTo>
                      <a:pt x="126" y="70"/>
                    </a:lnTo>
                    <a:lnTo>
                      <a:pt x="126" y="70"/>
                    </a:lnTo>
                    <a:lnTo>
                      <a:pt x="124" y="72"/>
                    </a:lnTo>
                    <a:lnTo>
                      <a:pt x="122" y="72"/>
                    </a:lnTo>
                    <a:lnTo>
                      <a:pt x="118" y="72"/>
                    </a:lnTo>
                    <a:lnTo>
                      <a:pt x="118" y="74"/>
                    </a:lnTo>
                    <a:lnTo>
                      <a:pt x="118" y="74"/>
                    </a:lnTo>
                    <a:lnTo>
                      <a:pt x="118" y="74"/>
                    </a:lnTo>
                    <a:lnTo>
                      <a:pt x="116" y="74"/>
                    </a:lnTo>
                    <a:lnTo>
                      <a:pt x="116" y="76"/>
                    </a:lnTo>
                    <a:lnTo>
                      <a:pt x="118" y="76"/>
                    </a:lnTo>
                    <a:lnTo>
                      <a:pt x="118" y="78"/>
                    </a:lnTo>
                    <a:lnTo>
                      <a:pt x="118" y="78"/>
                    </a:lnTo>
                    <a:lnTo>
                      <a:pt x="120" y="80"/>
                    </a:lnTo>
                    <a:lnTo>
                      <a:pt x="122" y="82"/>
                    </a:lnTo>
                    <a:lnTo>
                      <a:pt x="122" y="82"/>
                    </a:lnTo>
                    <a:lnTo>
                      <a:pt x="122" y="84"/>
                    </a:lnTo>
                    <a:lnTo>
                      <a:pt x="122" y="84"/>
                    </a:lnTo>
                    <a:lnTo>
                      <a:pt x="122" y="86"/>
                    </a:lnTo>
                    <a:lnTo>
                      <a:pt x="122" y="86"/>
                    </a:lnTo>
                    <a:lnTo>
                      <a:pt x="120" y="88"/>
                    </a:lnTo>
                    <a:lnTo>
                      <a:pt x="120" y="88"/>
                    </a:lnTo>
                    <a:lnTo>
                      <a:pt x="116" y="92"/>
                    </a:lnTo>
                    <a:lnTo>
                      <a:pt x="114" y="94"/>
                    </a:lnTo>
                    <a:lnTo>
                      <a:pt x="112" y="96"/>
                    </a:lnTo>
                    <a:lnTo>
                      <a:pt x="112" y="98"/>
                    </a:lnTo>
                    <a:lnTo>
                      <a:pt x="112" y="98"/>
                    </a:lnTo>
                    <a:lnTo>
                      <a:pt x="110" y="102"/>
                    </a:lnTo>
                    <a:lnTo>
                      <a:pt x="110" y="104"/>
                    </a:lnTo>
                    <a:lnTo>
                      <a:pt x="110" y="104"/>
                    </a:lnTo>
                    <a:lnTo>
                      <a:pt x="112" y="110"/>
                    </a:lnTo>
                    <a:lnTo>
                      <a:pt x="110" y="112"/>
                    </a:lnTo>
                    <a:lnTo>
                      <a:pt x="110" y="114"/>
                    </a:lnTo>
                    <a:lnTo>
                      <a:pt x="110" y="114"/>
                    </a:lnTo>
                    <a:lnTo>
                      <a:pt x="110" y="114"/>
                    </a:lnTo>
                    <a:lnTo>
                      <a:pt x="108" y="116"/>
                    </a:lnTo>
                    <a:lnTo>
                      <a:pt x="108" y="116"/>
                    </a:lnTo>
                    <a:lnTo>
                      <a:pt x="106" y="116"/>
                    </a:lnTo>
                    <a:lnTo>
                      <a:pt x="106" y="116"/>
                    </a:lnTo>
                    <a:lnTo>
                      <a:pt x="104" y="116"/>
                    </a:lnTo>
                    <a:lnTo>
                      <a:pt x="102" y="114"/>
                    </a:lnTo>
                    <a:lnTo>
                      <a:pt x="102" y="114"/>
                    </a:lnTo>
                    <a:lnTo>
                      <a:pt x="100" y="114"/>
                    </a:lnTo>
                    <a:lnTo>
                      <a:pt x="98" y="114"/>
                    </a:lnTo>
                    <a:lnTo>
                      <a:pt x="96" y="116"/>
                    </a:lnTo>
                    <a:lnTo>
                      <a:pt x="94" y="116"/>
                    </a:lnTo>
                    <a:lnTo>
                      <a:pt x="92" y="118"/>
                    </a:lnTo>
                    <a:lnTo>
                      <a:pt x="92" y="122"/>
                    </a:lnTo>
                    <a:lnTo>
                      <a:pt x="90" y="122"/>
                    </a:lnTo>
                    <a:lnTo>
                      <a:pt x="90" y="126"/>
                    </a:lnTo>
                    <a:lnTo>
                      <a:pt x="90" y="126"/>
                    </a:lnTo>
                    <a:lnTo>
                      <a:pt x="88" y="126"/>
                    </a:lnTo>
                    <a:lnTo>
                      <a:pt x="88" y="128"/>
                    </a:lnTo>
                    <a:lnTo>
                      <a:pt x="82" y="130"/>
                    </a:lnTo>
                    <a:lnTo>
                      <a:pt x="78" y="132"/>
                    </a:lnTo>
                    <a:lnTo>
                      <a:pt x="76" y="132"/>
                    </a:lnTo>
                    <a:lnTo>
                      <a:pt x="74" y="134"/>
                    </a:lnTo>
                    <a:lnTo>
                      <a:pt x="74" y="134"/>
                    </a:lnTo>
                    <a:lnTo>
                      <a:pt x="74" y="136"/>
                    </a:lnTo>
                    <a:lnTo>
                      <a:pt x="72" y="138"/>
                    </a:lnTo>
                    <a:lnTo>
                      <a:pt x="72" y="142"/>
                    </a:lnTo>
                    <a:lnTo>
                      <a:pt x="72" y="144"/>
                    </a:lnTo>
                    <a:lnTo>
                      <a:pt x="72" y="144"/>
                    </a:lnTo>
                    <a:lnTo>
                      <a:pt x="72" y="146"/>
                    </a:lnTo>
                    <a:lnTo>
                      <a:pt x="74" y="148"/>
                    </a:lnTo>
                    <a:lnTo>
                      <a:pt x="74" y="150"/>
                    </a:lnTo>
                    <a:lnTo>
                      <a:pt x="74" y="152"/>
                    </a:lnTo>
                    <a:lnTo>
                      <a:pt x="74" y="152"/>
                    </a:lnTo>
                    <a:lnTo>
                      <a:pt x="74" y="152"/>
                    </a:lnTo>
                    <a:lnTo>
                      <a:pt x="74" y="154"/>
                    </a:lnTo>
                    <a:lnTo>
                      <a:pt x="72" y="154"/>
                    </a:lnTo>
                    <a:lnTo>
                      <a:pt x="70" y="156"/>
                    </a:lnTo>
                    <a:lnTo>
                      <a:pt x="66" y="158"/>
                    </a:lnTo>
                    <a:lnTo>
                      <a:pt x="60" y="160"/>
                    </a:lnTo>
                    <a:lnTo>
                      <a:pt x="56" y="160"/>
                    </a:lnTo>
                    <a:lnTo>
                      <a:pt x="56" y="160"/>
                    </a:lnTo>
                    <a:lnTo>
                      <a:pt x="52" y="160"/>
                    </a:lnTo>
                    <a:lnTo>
                      <a:pt x="50" y="160"/>
                    </a:lnTo>
                    <a:lnTo>
                      <a:pt x="48" y="160"/>
                    </a:lnTo>
                    <a:lnTo>
                      <a:pt x="46" y="160"/>
                    </a:lnTo>
                    <a:lnTo>
                      <a:pt x="44" y="162"/>
                    </a:lnTo>
                    <a:lnTo>
                      <a:pt x="44" y="162"/>
                    </a:lnTo>
                    <a:lnTo>
                      <a:pt x="42" y="164"/>
                    </a:lnTo>
                    <a:lnTo>
                      <a:pt x="42" y="164"/>
                    </a:lnTo>
                    <a:lnTo>
                      <a:pt x="40" y="166"/>
                    </a:lnTo>
                    <a:lnTo>
                      <a:pt x="40" y="166"/>
                    </a:lnTo>
                    <a:lnTo>
                      <a:pt x="36" y="166"/>
                    </a:lnTo>
                    <a:lnTo>
                      <a:pt x="36" y="166"/>
                    </a:lnTo>
                    <a:lnTo>
                      <a:pt x="32" y="166"/>
                    </a:lnTo>
                    <a:lnTo>
                      <a:pt x="26" y="166"/>
                    </a:lnTo>
                    <a:lnTo>
                      <a:pt x="20" y="166"/>
                    </a:lnTo>
                    <a:lnTo>
                      <a:pt x="14" y="168"/>
                    </a:lnTo>
                    <a:lnTo>
                      <a:pt x="14" y="168"/>
                    </a:lnTo>
                    <a:lnTo>
                      <a:pt x="8" y="168"/>
                    </a:lnTo>
                    <a:lnTo>
                      <a:pt x="4" y="170"/>
                    </a:lnTo>
                    <a:lnTo>
                      <a:pt x="0" y="170"/>
                    </a:lnTo>
                    <a:lnTo>
                      <a:pt x="0" y="170"/>
                    </a:lnTo>
                    <a:lnTo>
                      <a:pt x="4" y="170"/>
                    </a:lnTo>
                    <a:lnTo>
                      <a:pt x="4" y="170"/>
                    </a:lnTo>
                    <a:lnTo>
                      <a:pt x="6" y="172"/>
                    </a:lnTo>
                    <a:lnTo>
                      <a:pt x="8" y="174"/>
                    </a:lnTo>
                    <a:lnTo>
                      <a:pt x="8" y="174"/>
                    </a:lnTo>
                    <a:lnTo>
                      <a:pt x="10" y="176"/>
                    </a:lnTo>
                    <a:lnTo>
                      <a:pt x="10" y="176"/>
                    </a:lnTo>
                    <a:lnTo>
                      <a:pt x="10" y="176"/>
                    </a:lnTo>
                    <a:lnTo>
                      <a:pt x="12" y="176"/>
                    </a:lnTo>
                    <a:lnTo>
                      <a:pt x="14" y="176"/>
                    </a:lnTo>
                    <a:lnTo>
                      <a:pt x="16" y="176"/>
                    </a:lnTo>
                    <a:lnTo>
                      <a:pt x="16" y="176"/>
                    </a:lnTo>
                    <a:lnTo>
                      <a:pt x="20" y="178"/>
                    </a:lnTo>
                    <a:lnTo>
                      <a:pt x="22" y="180"/>
                    </a:lnTo>
                    <a:lnTo>
                      <a:pt x="24" y="182"/>
                    </a:lnTo>
                    <a:lnTo>
                      <a:pt x="24" y="182"/>
                    </a:lnTo>
                    <a:lnTo>
                      <a:pt x="24" y="184"/>
                    </a:lnTo>
                    <a:lnTo>
                      <a:pt x="26" y="186"/>
                    </a:lnTo>
                    <a:lnTo>
                      <a:pt x="26" y="186"/>
                    </a:lnTo>
                    <a:lnTo>
                      <a:pt x="24" y="186"/>
                    </a:lnTo>
                    <a:lnTo>
                      <a:pt x="24" y="188"/>
                    </a:lnTo>
                    <a:lnTo>
                      <a:pt x="24" y="192"/>
                    </a:lnTo>
                    <a:lnTo>
                      <a:pt x="22" y="194"/>
                    </a:lnTo>
                    <a:lnTo>
                      <a:pt x="22" y="194"/>
                    </a:lnTo>
                    <a:lnTo>
                      <a:pt x="22" y="196"/>
                    </a:lnTo>
                    <a:lnTo>
                      <a:pt x="24" y="198"/>
                    </a:lnTo>
                    <a:lnTo>
                      <a:pt x="24" y="198"/>
                    </a:lnTo>
                    <a:lnTo>
                      <a:pt x="24" y="198"/>
                    </a:lnTo>
                    <a:lnTo>
                      <a:pt x="26" y="200"/>
                    </a:lnTo>
                    <a:lnTo>
                      <a:pt x="30" y="200"/>
                    </a:lnTo>
                    <a:lnTo>
                      <a:pt x="30" y="200"/>
                    </a:lnTo>
                    <a:lnTo>
                      <a:pt x="32" y="202"/>
                    </a:lnTo>
                    <a:lnTo>
                      <a:pt x="32" y="202"/>
                    </a:lnTo>
                    <a:lnTo>
                      <a:pt x="34" y="204"/>
                    </a:lnTo>
                    <a:lnTo>
                      <a:pt x="34" y="204"/>
                    </a:lnTo>
                    <a:lnTo>
                      <a:pt x="34" y="206"/>
                    </a:lnTo>
                    <a:lnTo>
                      <a:pt x="32" y="208"/>
                    </a:lnTo>
                    <a:lnTo>
                      <a:pt x="32" y="210"/>
                    </a:lnTo>
                    <a:lnTo>
                      <a:pt x="30" y="210"/>
                    </a:lnTo>
                    <a:lnTo>
                      <a:pt x="26" y="212"/>
                    </a:lnTo>
                    <a:lnTo>
                      <a:pt x="24" y="212"/>
                    </a:lnTo>
                    <a:lnTo>
                      <a:pt x="24" y="212"/>
                    </a:lnTo>
                    <a:lnTo>
                      <a:pt x="18" y="214"/>
                    </a:lnTo>
                    <a:lnTo>
                      <a:pt x="16" y="216"/>
                    </a:lnTo>
                    <a:lnTo>
                      <a:pt x="14" y="216"/>
                    </a:lnTo>
                    <a:lnTo>
                      <a:pt x="12" y="218"/>
                    </a:lnTo>
                    <a:lnTo>
                      <a:pt x="12" y="220"/>
                    </a:lnTo>
                    <a:lnTo>
                      <a:pt x="10" y="222"/>
                    </a:lnTo>
                    <a:lnTo>
                      <a:pt x="10" y="224"/>
                    </a:lnTo>
                    <a:lnTo>
                      <a:pt x="10" y="224"/>
                    </a:lnTo>
                    <a:lnTo>
                      <a:pt x="10" y="226"/>
                    </a:lnTo>
                    <a:lnTo>
                      <a:pt x="10" y="228"/>
                    </a:lnTo>
                    <a:lnTo>
                      <a:pt x="10" y="230"/>
                    </a:lnTo>
                    <a:lnTo>
                      <a:pt x="12" y="232"/>
                    </a:lnTo>
                    <a:lnTo>
                      <a:pt x="12" y="232"/>
                    </a:lnTo>
                    <a:lnTo>
                      <a:pt x="12" y="236"/>
                    </a:lnTo>
                    <a:lnTo>
                      <a:pt x="12" y="236"/>
                    </a:lnTo>
                    <a:lnTo>
                      <a:pt x="16" y="236"/>
                    </a:lnTo>
                    <a:lnTo>
                      <a:pt x="18" y="236"/>
                    </a:lnTo>
                    <a:lnTo>
                      <a:pt x="18" y="236"/>
                    </a:lnTo>
                    <a:lnTo>
                      <a:pt x="20" y="238"/>
                    </a:lnTo>
                    <a:lnTo>
                      <a:pt x="22" y="238"/>
                    </a:lnTo>
                    <a:lnTo>
                      <a:pt x="24" y="238"/>
                    </a:lnTo>
                    <a:lnTo>
                      <a:pt x="24" y="238"/>
                    </a:lnTo>
                    <a:lnTo>
                      <a:pt x="26" y="236"/>
                    </a:lnTo>
                    <a:lnTo>
                      <a:pt x="28" y="236"/>
                    </a:lnTo>
                    <a:lnTo>
                      <a:pt x="28" y="236"/>
                    </a:lnTo>
                    <a:lnTo>
                      <a:pt x="32" y="234"/>
                    </a:lnTo>
                    <a:lnTo>
                      <a:pt x="32" y="234"/>
                    </a:lnTo>
                    <a:lnTo>
                      <a:pt x="32" y="234"/>
                    </a:lnTo>
                    <a:lnTo>
                      <a:pt x="34" y="234"/>
                    </a:lnTo>
                    <a:lnTo>
                      <a:pt x="36" y="234"/>
                    </a:lnTo>
                    <a:lnTo>
                      <a:pt x="38" y="234"/>
                    </a:lnTo>
                    <a:lnTo>
                      <a:pt x="40" y="234"/>
                    </a:lnTo>
                    <a:lnTo>
                      <a:pt x="40" y="234"/>
                    </a:lnTo>
                    <a:lnTo>
                      <a:pt x="46" y="234"/>
                    </a:lnTo>
                    <a:lnTo>
                      <a:pt x="46" y="234"/>
                    </a:lnTo>
                    <a:lnTo>
                      <a:pt x="48" y="234"/>
                    </a:lnTo>
                    <a:lnTo>
                      <a:pt x="48" y="234"/>
                    </a:lnTo>
                    <a:lnTo>
                      <a:pt x="52" y="232"/>
                    </a:lnTo>
                    <a:lnTo>
                      <a:pt x="52" y="232"/>
                    </a:lnTo>
                    <a:lnTo>
                      <a:pt x="54" y="230"/>
                    </a:lnTo>
                    <a:lnTo>
                      <a:pt x="54" y="230"/>
                    </a:lnTo>
                    <a:lnTo>
                      <a:pt x="56" y="230"/>
                    </a:lnTo>
                    <a:lnTo>
                      <a:pt x="56" y="230"/>
                    </a:lnTo>
                    <a:lnTo>
                      <a:pt x="56" y="230"/>
                    </a:lnTo>
                    <a:lnTo>
                      <a:pt x="58" y="230"/>
                    </a:lnTo>
                    <a:lnTo>
                      <a:pt x="60" y="232"/>
                    </a:lnTo>
                    <a:lnTo>
                      <a:pt x="60" y="232"/>
                    </a:lnTo>
                    <a:lnTo>
                      <a:pt x="62" y="232"/>
                    </a:lnTo>
                    <a:lnTo>
                      <a:pt x="64" y="232"/>
                    </a:lnTo>
                    <a:lnTo>
                      <a:pt x="64" y="232"/>
                    </a:lnTo>
                    <a:lnTo>
                      <a:pt x="66" y="232"/>
                    </a:lnTo>
                    <a:lnTo>
                      <a:pt x="68" y="232"/>
                    </a:lnTo>
                    <a:lnTo>
                      <a:pt x="70" y="230"/>
                    </a:lnTo>
                    <a:lnTo>
                      <a:pt x="70" y="230"/>
                    </a:lnTo>
                    <a:lnTo>
                      <a:pt x="72" y="230"/>
                    </a:lnTo>
                    <a:lnTo>
                      <a:pt x="74" y="230"/>
                    </a:lnTo>
                    <a:lnTo>
                      <a:pt x="76" y="232"/>
                    </a:lnTo>
                    <a:lnTo>
                      <a:pt x="78" y="234"/>
                    </a:lnTo>
                    <a:lnTo>
                      <a:pt x="80" y="236"/>
                    </a:lnTo>
                    <a:lnTo>
                      <a:pt x="80" y="236"/>
                    </a:lnTo>
                    <a:lnTo>
                      <a:pt x="82" y="238"/>
                    </a:lnTo>
                    <a:lnTo>
                      <a:pt x="82" y="240"/>
                    </a:lnTo>
                    <a:lnTo>
                      <a:pt x="84" y="242"/>
                    </a:lnTo>
                    <a:lnTo>
                      <a:pt x="86" y="242"/>
                    </a:lnTo>
                    <a:lnTo>
                      <a:pt x="86" y="242"/>
                    </a:lnTo>
                    <a:lnTo>
                      <a:pt x="90" y="244"/>
                    </a:lnTo>
                    <a:lnTo>
                      <a:pt x="92" y="244"/>
                    </a:lnTo>
                    <a:lnTo>
                      <a:pt x="96" y="246"/>
                    </a:lnTo>
                    <a:lnTo>
                      <a:pt x="98" y="246"/>
                    </a:lnTo>
                    <a:lnTo>
                      <a:pt x="98" y="246"/>
                    </a:lnTo>
                    <a:lnTo>
                      <a:pt x="102" y="246"/>
                    </a:lnTo>
                    <a:lnTo>
                      <a:pt x="104" y="248"/>
                    </a:lnTo>
                    <a:lnTo>
                      <a:pt x="104" y="250"/>
                    </a:lnTo>
                    <a:lnTo>
                      <a:pt x="106" y="252"/>
                    </a:lnTo>
                    <a:lnTo>
                      <a:pt x="106" y="252"/>
                    </a:lnTo>
                    <a:lnTo>
                      <a:pt x="108" y="254"/>
                    </a:lnTo>
                    <a:lnTo>
                      <a:pt x="110" y="256"/>
                    </a:lnTo>
                    <a:lnTo>
                      <a:pt x="112" y="258"/>
                    </a:lnTo>
                    <a:lnTo>
                      <a:pt x="114" y="258"/>
                    </a:lnTo>
                    <a:lnTo>
                      <a:pt x="114" y="258"/>
                    </a:lnTo>
                    <a:lnTo>
                      <a:pt x="116" y="258"/>
                    </a:lnTo>
                    <a:lnTo>
                      <a:pt x="118" y="258"/>
                    </a:lnTo>
                    <a:lnTo>
                      <a:pt x="118" y="258"/>
                    </a:lnTo>
                    <a:lnTo>
                      <a:pt x="120" y="260"/>
                    </a:lnTo>
                    <a:lnTo>
                      <a:pt x="120" y="260"/>
                    </a:lnTo>
                    <a:lnTo>
                      <a:pt x="122" y="258"/>
                    </a:lnTo>
                    <a:lnTo>
                      <a:pt x="122" y="256"/>
                    </a:lnTo>
                    <a:lnTo>
                      <a:pt x="122" y="256"/>
                    </a:lnTo>
                    <a:lnTo>
                      <a:pt x="122" y="256"/>
                    </a:lnTo>
                    <a:lnTo>
                      <a:pt x="122" y="256"/>
                    </a:lnTo>
                    <a:lnTo>
                      <a:pt x="122" y="25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85" name="Freeform 553"/>
              <p:cNvSpPr>
                <a:spLocks/>
              </p:cNvSpPr>
              <p:nvPr/>
            </p:nvSpPr>
            <p:spPr bwMode="auto">
              <a:xfrm>
                <a:off x="3953" y="2282"/>
                <a:ext cx="128" cy="62"/>
              </a:xfrm>
              <a:custGeom>
                <a:avLst/>
                <a:gdLst>
                  <a:gd name="T0" fmla="*/ 0 w 128"/>
                  <a:gd name="T1" fmla="*/ 22 h 62"/>
                  <a:gd name="T2" fmla="*/ 2 w 128"/>
                  <a:gd name="T3" fmla="*/ 28 h 62"/>
                  <a:gd name="T4" fmla="*/ 8 w 128"/>
                  <a:gd name="T5" fmla="*/ 32 h 62"/>
                  <a:gd name="T6" fmla="*/ 12 w 128"/>
                  <a:gd name="T7" fmla="*/ 32 h 62"/>
                  <a:gd name="T8" fmla="*/ 16 w 128"/>
                  <a:gd name="T9" fmla="*/ 32 h 62"/>
                  <a:gd name="T10" fmla="*/ 24 w 128"/>
                  <a:gd name="T11" fmla="*/ 40 h 62"/>
                  <a:gd name="T12" fmla="*/ 28 w 128"/>
                  <a:gd name="T13" fmla="*/ 42 h 62"/>
                  <a:gd name="T14" fmla="*/ 42 w 128"/>
                  <a:gd name="T15" fmla="*/ 48 h 62"/>
                  <a:gd name="T16" fmla="*/ 48 w 128"/>
                  <a:gd name="T17" fmla="*/ 50 h 62"/>
                  <a:gd name="T18" fmla="*/ 58 w 128"/>
                  <a:gd name="T19" fmla="*/ 48 h 62"/>
                  <a:gd name="T20" fmla="*/ 62 w 128"/>
                  <a:gd name="T21" fmla="*/ 48 h 62"/>
                  <a:gd name="T22" fmla="*/ 68 w 128"/>
                  <a:gd name="T23" fmla="*/ 50 h 62"/>
                  <a:gd name="T24" fmla="*/ 76 w 128"/>
                  <a:gd name="T25" fmla="*/ 56 h 62"/>
                  <a:gd name="T26" fmla="*/ 82 w 128"/>
                  <a:gd name="T27" fmla="*/ 60 h 62"/>
                  <a:gd name="T28" fmla="*/ 88 w 128"/>
                  <a:gd name="T29" fmla="*/ 62 h 62"/>
                  <a:gd name="T30" fmla="*/ 96 w 128"/>
                  <a:gd name="T31" fmla="*/ 60 h 62"/>
                  <a:gd name="T32" fmla="*/ 108 w 128"/>
                  <a:gd name="T33" fmla="*/ 58 h 62"/>
                  <a:gd name="T34" fmla="*/ 118 w 128"/>
                  <a:gd name="T35" fmla="*/ 60 h 62"/>
                  <a:gd name="T36" fmla="*/ 124 w 128"/>
                  <a:gd name="T37" fmla="*/ 58 h 62"/>
                  <a:gd name="T38" fmla="*/ 128 w 128"/>
                  <a:gd name="T39" fmla="*/ 54 h 62"/>
                  <a:gd name="T40" fmla="*/ 128 w 128"/>
                  <a:gd name="T41" fmla="*/ 48 h 62"/>
                  <a:gd name="T42" fmla="*/ 128 w 128"/>
                  <a:gd name="T43" fmla="*/ 42 h 62"/>
                  <a:gd name="T44" fmla="*/ 126 w 128"/>
                  <a:gd name="T45" fmla="*/ 38 h 62"/>
                  <a:gd name="T46" fmla="*/ 114 w 128"/>
                  <a:gd name="T47" fmla="*/ 38 h 62"/>
                  <a:gd name="T48" fmla="*/ 108 w 128"/>
                  <a:gd name="T49" fmla="*/ 36 h 62"/>
                  <a:gd name="T50" fmla="*/ 98 w 128"/>
                  <a:gd name="T51" fmla="*/ 32 h 62"/>
                  <a:gd name="T52" fmla="*/ 88 w 128"/>
                  <a:gd name="T53" fmla="*/ 26 h 62"/>
                  <a:gd name="T54" fmla="*/ 74 w 128"/>
                  <a:gd name="T55" fmla="*/ 22 h 62"/>
                  <a:gd name="T56" fmla="*/ 62 w 128"/>
                  <a:gd name="T57" fmla="*/ 20 h 62"/>
                  <a:gd name="T58" fmla="*/ 58 w 128"/>
                  <a:gd name="T59" fmla="*/ 16 h 62"/>
                  <a:gd name="T60" fmla="*/ 56 w 128"/>
                  <a:gd name="T61" fmla="*/ 16 h 62"/>
                  <a:gd name="T62" fmla="*/ 52 w 128"/>
                  <a:gd name="T63" fmla="*/ 14 h 62"/>
                  <a:gd name="T64" fmla="*/ 48 w 128"/>
                  <a:gd name="T65" fmla="*/ 14 h 62"/>
                  <a:gd name="T66" fmla="*/ 42 w 128"/>
                  <a:gd name="T67" fmla="*/ 10 h 62"/>
                  <a:gd name="T68" fmla="*/ 36 w 128"/>
                  <a:gd name="T69" fmla="*/ 6 h 62"/>
                  <a:gd name="T70" fmla="*/ 32 w 128"/>
                  <a:gd name="T71" fmla="*/ 2 h 62"/>
                  <a:gd name="T72" fmla="*/ 28 w 128"/>
                  <a:gd name="T73" fmla="*/ 0 h 62"/>
                  <a:gd name="T74" fmla="*/ 14 w 128"/>
                  <a:gd name="T75" fmla="*/ 2 h 62"/>
                  <a:gd name="T76" fmla="*/ 10 w 128"/>
                  <a:gd name="T77" fmla="*/ 2 h 62"/>
                  <a:gd name="T78" fmla="*/ 8 w 128"/>
                  <a:gd name="T79" fmla="*/ 0 h 62"/>
                  <a:gd name="T80" fmla="*/ 4 w 128"/>
                  <a:gd name="T81" fmla="*/ 8 h 62"/>
                  <a:gd name="T82" fmla="*/ 0 w 128"/>
                  <a:gd name="T83" fmla="*/ 14 h 62"/>
                  <a:gd name="T84" fmla="*/ 0 w 128"/>
                  <a:gd name="T85" fmla="*/ 18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8" h="62">
                    <a:moveTo>
                      <a:pt x="0" y="18"/>
                    </a:moveTo>
                    <a:lnTo>
                      <a:pt x="0" y="18"/>
                    </a:lnTo>
                    <a:lnTo>
                      <a:pt x="0" y="22"/>
                    </a:lnTo>
                    <a:lnTo>
                      <a:pt x="0" y="24"/>
                    </a:lnTo>
                    <a:lnTo>
                      <a:pt x="2" y="26"/>
                    </a:lnTo>
                    <a:lnTo>
                      <a:pt x="2" y="28"/>
                    </a:lnTo>
                    <a:lnTo>
                      <a:pt x="4" y="30"/>
                    </a:lnTo>
                    <a:lnTo>
                      <a:pt x="6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10" y="32"/>
                    </a:lnTo>
                    <a:lnTo>
                      <a:pt x="12" y="32"/>
                    </a:lnTo>
                    <a:lnTo>
                      <a:pt x="14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8" y="34"/>
                    </a:lnTo>
                    <a:lnTo>
                      <a:pt x="22" y="36"/>
                    </a:lnTo>
                    <a:lnTo>
                      <a:pt x="24" y="40"/>
                    </a:lnTo>
                    <a:lnTo>
                      <a:pt x="24" y="40"/>
                    </a:lnTo>
                    <a:lnTo>
                      <a:pt x="26" y="42"/>
                    </a:lnTo>
                    <a:lnTo>
                      <a:pt x="28" y="42"/>
                    </a:lnTo>
                    <a:lnTo>
                      <a:pt x="32" y="44"/>
                    </a:lnTo>
                    <a:lnTo>
                      <a:pt x="36" y="46"/>
                    </a:lnTo>
                    <a:lnTo>
                      <a:pt x="42" y="48"/>
                    </a:lnTo>
                    <a:lnTo>
                      <a:pt x="42" y="48"/>
                    </a:lnTo>
                    <a:lnTo>
                      <a:pt x="44" y="48"/>
                    </a:lnTo>
                    <a:lnTo>
                      <a:pt x="48" y="50"/>
                    </a:lnTo>
                    <a:lnTo>
                      <a:pt x="50" y="50"/>
                    </a:lnTo>
                    <a:lnTo>
                      <a:pt x="52" y="48"/>
                    </a:lnTo>
                    <a:lnTo>
                      <a:pt x="58" y="48"/>
                    </a:lnTo>
                    <a:lnTo>
                      <a:pt x="60" y="48"/>
                    </a:lnTo>
                    <a:lnTo>
                      <a:pt x="62" y="48"/>
                    </a:lnTo>
                    <a:lnTo>
                      <a:pt x="62" y="48"/>
                    </a:lnTo>
                    <a:lnTo>
                      <a:pt x="64" y="48"/>
                    </a:lnTo>
                    <a:lnTo>
                      <a:pt x="66" y="50"/>
                    </a:lnTo>
                    <a:lnTo>
                      <a:pt x="68" y="50"/>
                    </a:lnTo>
                    <a:lnTo>
                      <a:pt x="70" y="52"/>
                    </a:lnTo>
                    <a:lnTo>
                      <a:pt x="74" y="56"/>
                    </a:lnTo>
                    <a:lnTo>
                      <a:pt x="76" y="56"/>
                    </a:lnTo>
                    <a:lnTo>
                      <a:pt x="78" y="58"/>
                    </a:lnTo>
                    <a:lnTo>
                      <a:pt x="78" y="58"/>
                    </a:lnTo>
                    <a:lnTo>
                      <a:pt x="82" y="60"/>
                    </a:lnTo>
                    <a:lnTo>
                      <a:pt x="86" y="60"/>
                    </a:lnTo>
                    <a:lnTo>
                      <a:pt x="86" y="60"/>
                    </a:lnTo>
                    <a:lnTo>
                      <a:pt x="88" y="62"/>
                    </a:lnTo>
                    <a:lnTo>
                      <a:pt x="90" y="60"/>
                    </a:lnTo>
                    <a:lnTo>
                      <a:pt x="96" y="60"/>
                    </a:lnTo>
                    <a:lnTo>
                      <a:pt x="96" y="60"/>
                    </a:lnTo>
                    <a:lnTo>
                      <a:pt x="100" y="60"/>
                    </a:lnTo>
                    <a:lnTo>
                      <a:pt x="102" y="58"/>
                    </a:lnTo>
                    <a:lnTo>
                      <a:pt x="108" y="58"/>
                    </a:lnTo>
                    <a:lnTo>
                      <a:pt x="116" y="60"/>
                    </a:lnTo>
                    <a:lnTo>
                      <a:pt x="116" y="60"/>
                    </a:lnTo>
                    <a:lnTo>
                      <a:pt x="118" y="60"/>
                    </a:lnTo>
                    <a:lnTo>
                      <a:pt x="122" y="60"/>
                    </a:lnTo>
                    <a:lnTo>
                      <a:pt x="124" y="60"/>
                    </a:lnTo>
                    <a:lnTo>
                      <a:pt x="124" y="58"/>
                    </a:lnTo>
                    <a:lnTo>
                      <a:pt x="126" y="56"/>
                    </a:lnTo>
                    <a:lnTo>
                      <a:pt x="126" y="56"/>
                    </a:lnTo>
                    <a:lnTo>
                      <a:pt x="128" y="54"/>
                    </a:lnTo>
                    <a:lnTo>
                      <a:pt x="128" y="50"/>
                    </a:lnTo>
                    <a:lnTo>
                      <a:pt x="128" y="50"/>
                    </a:lnTo>
                    <a:lnTo>
                      <a:pt x="128" y="48"/>
                    </a:lnTo>
                    <a:lnTo>
                      <a:pt x="128" y="46"/>
                    </a:lnTo>
                    <a:lnTo>
                      <a:pt x="128" y="42"/>
                    </a:lnTo>
                    <a:lnTo>
                      <a:pt x="128" y="42"/>
                    </a:lnTo>
                    <a:lnTo>
                      <a:pt x="128" y="40"/>
                    </a:lnTo>
                    <a:lnTo>
                      <a:pt x="126" y="38"/>
                    </a:lnTo>
                    <a:lnTo>
                      <a:pt x="126" y="38"/>
                    </a:lnTo>
                    <a:lnTo>
                      <a:pt x="124" y="38"/>
                    </a:lnTo>
                    <a:lnTo>
                      <a:pt x="120" y="38"/>
                    </a:lnTo>
                    <a:lnTo>
                      <a:pt x="114" y="38"/>
                    </a:lnTo>
                    <a:lnTo>
                      <a:pt x="114" y="38"/>
                    </a:lnTo>
                    <a:lnTo>
                      <a:pt x="110" y="36"/>
                    </a:lnTo>
                    <a:lnTo>
                      <a:pt x="108" y="36"/>
                    </a:lnTo>
                    <a:lnTo>
                      <a:pt x="100" y="34"/>
                    </a:lnTo>
                    <a:lnTo>
                      <a:pt x="100" y="34"/>
                    </a:lnTo>
                    <a:lnTo>
                      <a:pt x="98" y="32"/>
                    </a:lnTo>
                    <a:lnTo>
                      <a:pt x="94" y="30"/>
                    </a:lnTo>
                    <a:lnTo>
                      <a:pt x="88" y="26"/>
                    </a:lnTo>
                    <a:lnTo>
                      <a:pt x="88" y="26"/>
                    </a:lnTo>
                    <a:lnTo>
                      <a:pt x="84" y="26"/>
                    </a:lnTo>
                    <a:lnTo>
                      <a:pt x="82" y="24"/>
                    </a:lnTo>
                    <a:lnTo>
                      <a:pt x="74" y="22"/>
                    </a:lnTo>
                    <a:lnTo>
                      <a:pt x="68" y="22"/>
                    </a:lnTo>
                    <a:lnTo>
                      <a:pt x="64" y="20"/>
                    </a:lnTo>
                    <a:lnTo>
                      <a:pt x="62" y="20"/>
                    </a:lnTo>
                    <a:lnTo>
                      <a:pt x="62" y="20"/>
                    </a:lnTo>
                    <a:lnTo>
                      <a:pt x="60" y="18"/>
                    </a:lnTo>
                    <a:lnTo>
                      <a:pt x="58" y="16"/>
                    </a:lnTo>
                    <a:lnTo>
                      <a:pt x="58" y="16"/>
                    </a:lnTo>
                    <a:lnTo>
                      <a:pt x="58" y="16"/>
                    </a:lnTo>
                    <a:lnTo>
                      <a:pt x="56" y="16"/>
                    </a:lnTo>
                    <a:lnTo>
                      <a:pt x="54" y="16"/>
                    </a:lnTo>
                    <a:lnTo>
                      <a:pt x="52" y="16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0" y="14"/>
                    </a:lnTo>
                    <a:lnTo>
                      <a:pt x="48" y="14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2" y="10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34" y="2"/>
                    </a:lnTo>
                    <a:lnTo>
                      <a:pt x="32" y="2"/>
                    </a:lnTo>
                    <a:lnTo>
                      <a:pt x="32" y="0"/>
                    </a:lnTo>
                    <a:lnTo>
                      <a:pt x="30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8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4"/>
                    </a:lnTo>
                    <a:lnTo>
                      <a:pt x="6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2" y="12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86" name="Freeform 555"/>
              <p:cNvSpPr>
                <a:spLocks/>
              </p:cNvSpPr>
              <p:nvPr/>
            </p:nvSpPr>
            <p:spPr bwMode="auto">
              <a:xfrm>
                <a:off x="4091" y="2314"/>
                <a:ext cx="44" cy="26"/>
              </a:xfrm>
              <a:custGeom>
                <a:avLst/>
                <a:gdLst>
                  <a:gd name="T0" fmla="*/ 6 w 44"/>
                  <a:gd name="T1" fmla="*/ 20 h 26"/>
                  <a:gd name="T2" fmla="*/ 6 w 44"/>
                  <a:gd name="T3" fmla="*/ 20 h 26"/>
                  <a:gd name="T4" fmla="*/ 8 w 44"/>
                  <a:gd name="T5" fmla="*/ 22 h 26"/>
                  <a:gd name="T6" fmla="*/ 12 w 44"/>
                  <a:gd name="T7" fmla="*/ 22 h 26"/>
                  <a:gd name="T8" fmla="*/ 16 w 44"/>
                  <a:gd name="T9" fmla="*/ 24 h 26"/>
                  <a:gd name="T10" fmla="*/ 16 w 44"/>
                  <a:gd name="T11" fmla="*/ 24 h 26"/>
                  <a:gd name="T12" fmla="*/ 20 w 44"/>
                  <a:gd name="T13" fmla="*/ 24 h 26"/>
                  <a:gd name="T14" fmla="*/ 24 w 44"/>
                  <a:gd name="T15" fmla="*/ 26 h 26"/>
                  <a:gd name="T16" fmla="*/ 26 w 44"/>
                  <a:gd name="T17" fmla="*/ 26 h 26"/>
                  <a:gd name="T18" fmla="*/ 26 w 44"/>
                  <a:gd name="T19" fmla="*/ 26 h 26"/>
                  <a:gd name="T20" fmla="*/ 30 w 44"/>
                  <a:gd name="T21" fmla="*/ 24 h 26"/>
                  <a:gd name="T22" fmla="*/ 34 w 44"/>
                  <a:gd name="T23" fmla="*/ 24 h 26"/>
                  <a:gd name="T24" fmla="*/ 38 w 44"/>
                  <a:gd name="T25" fmla="*/ 22 h 26"/>
                  <a:gd name="T26" fmla="*/ 40 w 44"/>
                  <a:gd name="T27" fmla="*/ 22 h 26"/>
                  <a:gd name="T28" fmla="*/ 42 w 44"/>
                  <a:gd name="T29" fmla="*/ 20 h 26"/>
                  <a:gd name="T30" fmla="*/ 42 w 44"/>
                  <a:gd name="T31" fmla="*/ 18 h 26"/>
                  <a:gd name="T32" fmla="*/ 42 w 44"/>
                  <a:gd name="T33" fmla="*/ 18 h 26"/>
                  <a:gd name="T34" fmla="*/ 42 w 44"/>
                  <a:gd name="T35" fmla="*/ 16 h 26"/>
                  <a:gd name="T36" fmla="*/ 42 w 44"/>
                  <a:gd name="T37" fmla="*/ 14 h 26"/>
                  <a:gd name="T38" fmla="*/ 44 w 44"/>
                  <a:gd name="T39" fmla="*/ 12 h 26"/>
                  <a:gd name="T40" fmla="*/ 44 w 44"/>
                  <a:gd name="T41" fmla="*/ 4 h 26"/>
                  <a:gd name="T42" fmla="*/ 44 w 44"/>
                  <a:gd name="T43" fmla="*/ 4 h 26"/>
                  <a:gd name="T44" fmla="*/ 42 w 44"/>
                  <a:gd name="T45" fmla="*/ 4 h 26"/>
                  <a:gd name="T46" fmla="*/ 42 w 44"/>
                  <a:gd name="T47" fmla="*/ 4 h 26"/>
                  <a:gd name="T48" fmla="*/ 38 w 44"/>
                  <a:gd name="T49" fmla="*/ 2 h 26"/>
                  <a:gd name="T50" fmla="*/ 36 w 44"/>
                  <a:gd name="T51" fmla="*/ 0 h 26"/>
                  <a:gd name="T52" fmla="*/ 34 w 44"/>
                  <a:gd name="T53" fmla="*/ 0 h 26"/>
                  <a:gd name="T54" fmla="*/ 34 w 44"/>
                  <a:gd name="T55" fmla="*/ 0 h 26"/>
                  <a:gd name="T56" fmla="*/ 34 w 44"/>
                  <a:gd name="T57" fmla="*/ 0 h 26"/>
                  <a:gd name="T58" fmla="*/ 30 w 44"/>
                  <a:gd name="T59" fmla="*/ 0 h 26"/>
                  <a:gd name="T60" fmla="*/ 26 w 44"/>
                  <a:gd name="T61" fmla="*/ 0 h 26"/>
                  <a:gd name="T62" fmla="*/ 20 w 44"/>
                  <a:gd name="T63" fmla="*/ 0 h 26"/>
                  <a:gd name="T64" fmla="*/ 20 w 44"/>
                  <a:gd name="T65" fmla="*/ 0 h 26"/>
                  <a:gd name="T66" fmla="*/ 14 w 44"/>
                  <a:gd name="T67" fmla="*/ 0 h 26"/>
                  <a:gd name="T68" fmla="*/ 12 w 44"/>
                  <a:gd name="T69" fmla="*/ 2 h 26"/>
                  <a:gd name="T70" fmla="*/ 8 w 44"/>
                  <a:gd name="T71" fmla="*/ 2 h 26"/>
                  <a:gd name="T72" fmla="*/ 8 w 44"/>
                  <a:gd name="T73" fmla="*/ 2 h 26"/>
                  <a:gd name="T74" fmla="*/ 6 w 44"/>
                  <a:gd name="T75" fmla="*/ 2 h 26"/>
                  <a:gd name="T76" fmla="*/ 6 w 44"/>
                  <a:gd name="T77" fmla="*/ 2 h 26"/>
                  <a:gd name="T78" fmla="*/ 4 w 44"/>
                  <a:gd name="T79" fmla="*/ 4 h 26"/>
                  <a:gd name="T80" fmla="*/ 4 w 44"/>
                  <a:gd name="T81" fmla="*/ 4 h 26"/>
                  <a:gd name="T82" fmla="*/ 4 w 44"/>
                  <a:gd name="T83" fmla="*/ 4 h 26"/>
                  <a:gd name="T84" fmla="*/ 2 w 44"/>
                  <a:gd name="T85" fmla="*/ 8 h 26"/>
                  <a:gd name="T86" fmla="*/ 2 w 44"/>
                  <a:gd name="T87" fmla="*/ 8 h 26"/>
                  <a:gd name="T88" fmla="*/ 0 w 44"/>
                  <a:gd name="T89" fmla="*/ 8 h 26"/>
                  <a:gd name="T90" fmla="*/ 0 w 44"/>
                  <a:gd name="T91" fmla="*/ 8 h 26"/>
                  <a:gd name="T92" fmla="*/ 0 w 44"/>
                  <a:gd name="T93" fmla="*/ 10 h 26"/>
                  <a:gd name="T94" fmla="*/ 2 w 44"/>
                  <a:gd name="T95" fmla="*/ 14 h 26"/>
                  <a:gd name="T96" fmla="*/ 4 w 44"/>
                  <a:gd name="T97" fmla="*/ 18 h 26"/>
                  <a:gd name="T98" fmla="*/ 6 w 44"/>
                  <a:gd name="T99" fmla="*/ 20 h 26"/>
                  <a:gd name="T100" fmla="*/ 6 w 44"/>
                  <a:gd name="T101" fmla="*/ 20 h 26"/>
                  <a:gd name="T102" fmla="*/ 6 w 44"/>
                  <a:gd name="T103" fmla="*/ 20 h 26"/>
                  <a:gd name="T104" fmla="*/ 6 w 44"/>
                  <a:gd name="T105" fmla="*/ 20 h 26"/>
                  <a:gd name="T106" fmla="*/ 6 w 44"/>
                  <a:gd name="T107" fmla="*/ 2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4" h="26">
                    <a:moveTo>
                      <a:pt x="6" y="20"/>
                    </a:moveTo>
                    <a:lnTo>
                      <a:pt x="6" y="20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20" y="24"/>
                    </a:lnTo>
                    <a:lnTo>
                      <a:pt x="24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4"/>
                    </a:lnTo>
                    <a:lnTo>
                      <a:pt x="34" y="24"/>
                    </a:lnTo>
                    <a:lnTo>
                      <a:pt x="38" y="22"/>
                    </a:lnTo>
                    <a:lnTo>
                      <a:pt x="40" y="22"/>
                    </a:lnTo>
                    <a:lnTo>
                      <a:pt x="42" y="20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6"/>
                    </a:lnTo>
                    <a:lnTo>
                      <a:pt x="42" y="14"/>
                    </a:lnTo>
                    <a:lnTo>
                      <a:pt x="44" y="12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38" y="2"/>
                    </a:lnTo>
                    <a:lnTo>
                      <a:pt x="36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0" y="0"/>
                    </a:lnTo>
                    <a:lnTo>
                      <a:pt x="26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4" y="0"/>
                    </a:lnTo>
                    <a:lnTo>
                      <a:pt x="12" y="2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8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87" name="Freeform 557"/>
              <p:cNvSpPr>
                <a:spLocks/>
              </p:cNvSpPr>
              <p:nvPr/>
            </p:nvSpPr>
            <p:spPr bwMode="auto">
              <a:xfrm>
                <a:off x="4087" y="2344"/>
                <a:ext cx="78" cy="104"/>
              </a:xfrm>
              <a:custGeom>
                <a:avLst/>
                <a:gdLst>
                  <a:gd name="T0" fmla="*/ 78 w 78"/>
                  <a:gd name="T1" fmla="*/ 86 h 104"/>
                  <a:gd name="T2" fmla="*/ 76 w 78"/>
                  <a:gd name="T3" fmla="*/ 72 h 104"/>
                  <a:gd name="T4" fmla="*/ 72 w 78"/>
                  <a:gd name="T5" fmla="*/ 58 h 104"/>
                  <a:gd name="T6" fmla="*/ 68 w 78"/>
                  <a:gd name="T7" fmla="*/ 54 h 104"/>
                  <a:gd name="T8" fmla="*/ 66 w 78"/>
                  <a:gd name="T9" fmla="*/ 54 h 104"/>
                  <a:gd name="T10" fmla="*/ 60 w 78"/>
                  <a:gd name="T11" fmla="*/ 58 h 104"/>
                  <a:gd name="T12" fmla="*/ 56 w 78"/>
                  <a:gd name="T13" fmla="*/ 56 h 104"/>
                  <a:gd name="T14" fmla="*/ 56 w 78"/>
                  <a:gd name="T15" fmla="*/ 52 h 104"/>
                  <a:gd name="T16" fmla="*/ 56 w 78"/>
                  <a:gd name="T17" fmla="*/ 48 h 104"/>
                  <a:gd name="T18" fmla="*/ 56 w 78"/>
                  <a:gd name="T19" fmla="*/ 42 h 104"/>
                  <a:gd name="T20" fmla="*/ 60 w 78"/>
                  <a:gd name="T21" fmla="*/ 40 h 104"/>
                  <a:gd name="T22" fmla="*/ 66 w 78"/>
                  <a:gd name="T23" fmla="*/ 38 h 104"/>
                  <a:gd name="T24" fmla="*/ 66 w 78"/>
                  <a:gd name="T25" fmla="*/ 32 h 104"/>
                  <a:gd name="T26" fmla="*/ 62 w 78"/>
                  <a:gd name="T27" fmla="*/ 26 h 104"/>
                  <a:gd name="T28" fmla="*/ 56 w 78"/>
                  <a:gd name="T29" fmla="*/ 24 h 104"/>
                  <a:gd name="T30" fmla="*/ 46 w 78"/>
                  <a:gd name="T31" fmla="*/ 24 h 104"/>
                  <a:gd name="T32" fmla="*/ 38 w 78"/>
                  <a:gd name="T33" fmla="*/ 26 h 104"/>
                  <a:gd name="T34" fmla="*/ 32 w 78"/>
                  <a:gd name="T35" fmla="*/ 24 h 104"/>
                  <a:gd name="T36" fmla="*/ 30 w 78"/>
                  <a:gd name="T37" fmla="*/ 20 h 104"/>
                  <a:gd name="T38" fmla="*/ 28 w 78"/>
                  <a:gd name="T39" fmla="*/ 10 h 104"/>
                  <a:gd name="T40" fmla="*/ 24 w 78"/>
                  <a:gd name="T41" fmla="*/ 8 h 104"/>
                  <a:gd name="T42" fmla="*/ 20 w 78"/>
                  <a:gd name="T43" fmla="*/ 8 h 104"/>
                  <a:gd name="T44" fmla="*/ 14 w 78"/>
                  <a:gd name="T45" fmla="*/ 4 h 104"/>
                  <a:gd name="T46" fmla="*/ 10 w 78"/>
                  <a:gd name="T47" fmla="*/ 0 h 104"/>
                  <a:gd name="T48" fmla="*/ 4 w 78"/>
                  <a:gd name="T49" fmla="*/ 2 h 104"/>
                  <a:gd name="T50" fmla="*/ 0 w 78"/>
                  <a:gd name="T51" fmla="*/ 6 h 104"/>
                  <a:gd name="T52" fmla="*/ 2 w 78"/>
                  <a:gd name="T53" fmla="*/ 12 h 104"/>
                  <a:gd name="T54" fmla="*/ 6 w 78"/>
                  <a:gd name="T55" fmla="*/ 20 h 104"/>
                  <a:gd name="T56" fmla="*/ 10 w 78"/>
                  <a:gd name="T57" fmla="*/ 24 h 104"/>
                  <a:gd name="T58" fmla="*/ 8 w 78"/>
                  <a:gd name="T59" fmla="*/ 26 h 104"/>
                  <a:gd name="T60" fmla="*/ 2 w 78"/>
                  <a:gd name="T61" fmla="*/ 28 h 104"/>
                  <a:gd name="T62" fmla="*/ 2 w 78"/>
                  <a:gd name="T63" fmla="*/ 32 h 104"/>
                  <a:gd name="T64" fmla="*/ 4 w 78"/>
                  <a:gd name="T65" fmla="*/ 38 h 104"/>
                  <a:gd name="T66" fmla="*/ 10 w 78"/>
                  <a:gd name="T67" fmla="*/ 48 h 104"/>
                  <a:gd name="T68" fmla="*/ 18 w 78"/>
                  <a:gd name="T69" fmla="*/ 58 h 104"/>
                  <a:gd name="T70" fmla="*/ 20 w 78"/>
                  <a:gd name="T71" fmla="*/ 72 h 104"/>
                  <a:gd name="T72" fmla="*/ 20 w 78"/>
                  <a:gd name="T73" fmla="*/ 80 h 104"/>
                  <a:gd name="T74" fmla="*/ 22 w 78"/>
                  <a:gd name="T75" fmla="*/ 84 h 104"/>
                  <a:gd name="T76" fmla="*/ 22 w 78"/>
                  <a:gd name="T77" fmla="*/ 90 h 104"/>
                  <a:gd name="T78" fmla="*/ 24 w 78"/>
                  <a:gd name="T79" fmla="*/ 94 h 104"/>
                  <a:gd name="T80" fmla="*/ 26 w 78"/>
                  <a:gd name="T81" fmla="*/ 92 h 104"/>
                  <a:gd name="T82" fmla="*/ 28 w 78"/>
                  <a:gd name="T83" fmla="*/ 86 h 104"/>
                  <a:gd name="T84" fmla="*/ 28 w 78"/>
                  <a:gd name="T85" fmla="*/ 84 h 104"/>
                  <a:gd name="T86" fmla="*/ 34 w 78"/>
                  <a:gd name="T87" fmla="*/ 90 h 104"/>
                  <a:gd name="T88" fmla="*/ 34 w 78"/>
                  <a:gd name="T89" fmla="*/ 92 h 104"/>
                  <a:gd name="T90" fmla="*/ 34 w 78"/>
                  <a:gd name="T91" fmla="*/ 84 h 104"/>
                  <a:gd name="T92" fmla="*/ 36 w 78"/>
                  <a:gd name="T93" fmla="*/ 76 h 104"/>
                  <a:gd name="T94" fmla="*/ 38 w 78"/>
                  <a:gd name="T95" fmla="*/ 82 h 104"/>
                  <a:gd name="T96" fmla="*/ 40 w 78"/>
                  <a:gd name="T97" fmla="*/ 88 h 104"/>
                  <a:gd name="T98" fmla="*/ 44 w 78"/>
                  <a:gd name="T99" fmla="*/ 88 h 104"/>
                  <a:gd name="T100" fmla="*/ 46 w 78"/>
                  <a:gd name="T101" fmla="*/ 84 h 104"/>
                  <a:gd name="T102" fmla="*/ 50 w 78"/>
                  <a:gd name="T103" fmla="*/ 86 h 104"/>
                  <a:gd name="T104" fmla="*/ 56 w 78"/>
                  <a:gd name="T105" fmla="*/ 86 h 104"/>
                  <a:gd name="T106" fmla="*/ 56 w 78"/>
                  <a:gd name="T107" fmla="*/ 84 h 104"/>
                  <a:gd name="T108" fmla="*/ 58 w 78"/>
                  <a:gd name="T109" fmla="*/ 84 h 104"/>
                  <a:gd name="T110" fmla="*/ 60 w 78"/>
                  <a:gd name="T111" fmla="*/ 84 h 104"/>
                  <a:gd name="T112" fmla="*/ 62 w 78"/>
                  <a:gd name="T113" fmla="*/ 80 h 104"/>
                  <a:gd name="T114" fmla="*/ 68 w 78"/>
                  <a:gd name="T115" fmla="*/ 84 h 104"/>
                  <a:gd name="T116" fmla="*/ 70 w 78"/>
                  <a:gd name="T117" fmla="*/ 100 h 104"/>
                  <a:gd name="T118" fmla="*/ 72 w 78"/>
                  <a:gd name="T119" fmla="*/ 104 h 104"/>
                  <a:gd name="T120" fmla="*/ 76 w 78"/>
                  <a:gd name="T121" fmla="*/ 98 h 104"/>
                  <a:gd name="T122" fmla="*/ 76 w 78"/>
                  <a:gd name="T123" fmla="*/ 90 h 104"/>
                  <a:gd name="T124" fmla="*/ 76 w 78"/>
                  <a:gd name="T125" fmla="*/ 90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8" h="104">
                    <a:moveTo>
                      <a:pt x="76" y="90"/>
                    </a:moveTo>
                    <a:lnTo>
                      <a:pt x="76" y="90"/>
                    </a:lnTo>
                    <a:lnTo>
                      <a:pt x="78" y="88"/>
                    </a:lnTo>
                    <a:lnTo>
                      <a:pt x="78" y="86"/>
                    </a:lnTo>
                    <a:lnTo>
                      <a:pt x="78" y="84"/>
                    </a:lnTo>
                    <a:lnTo>
                      <a:pt x="78" y="84"/>
                    </a:lnTo>
                    <a:lnTo>
                      <a:pt x="76" y="78"/>
                    </a:lnTo>
                    <a:lnTo>
                      <a:pt x="76" y="72"/>
                    </a:lnTo>
                    <a:lnTo>
                      <a:pt x="76" y="72"/>
                    </a:lnTo>
                    <a:lnTo>
                      <a:pt x="74" y="64"/>
                    </a:lnTo>
                    <a:lnTo>
                      <a:pt x="72" y="58"/>
                    </a:lnTo>
                    <a:lnTo>
                      <a:pt x="72" y="58"/>
                    </a:lnTo>
                    <a:lnTo>
                      <a:pt x="72" y="56"/>
                    </a:lnTo>
                    <a:lnTo>
                      <a:pt x="70" y="56"/>
                    </a:lnTo>
                    <a:lnTo>
                      <a:pt x="70" y="54"/>
                    </a:lnTo>
                    <a:lnTo>
                      <a:pt x="68" y="54"/>
                    </a:lnTo>
                    <a:lnTo>
                      <a:pt x="68" y="54"/>
                    </a:lnTo>
                    <a:lnTo>
                      <a:pt x="68" y="54"/>
                    </a:lnTo>
                    <a:lnTo>
                      <a:pt x="66" y="54"/>
                    </a:lnTo>
                    <a:lnTo>
                      <a:pt x="66" y="54"/>
                    </a:lnTo>
                    <a:lnTo>
                      <a:pt x="64" y="56"/>
                    </a:lnTo>
                    <a:lnTo>
                      <a:pt x="62" y="56"/>
                    </a:lnTo>
                    <a:lnTo>
                      <a:pt x="62" y="56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58" y="56"/>
                    </a:lnTo>
                    <a:lnTo>
                      <a:pt x="56" y="56"/>
                    </a:lnTo>
                    <a:lnTo>
                      <a:pt x="56" y="56"/>
                    </a:lnTo>
                    <a:lnTo>
                      <a:pt x="56" y="56"/>
                    </a:lnTo>
                    <a:lnTo>
                      <a:pt x="56" y="56"/>
                    </a:lnTo>
                    <a:lnTo>
                      <a:pt x="56" y="54"/>
                    </a:lnTo>
                    <a:lnTo>
                      <a:pt x="56" y="52"/>
                    </a:lnTo>
                    <a:lnTo>
                      <a:pt x="56" y="50"/>
                    </a:lnTo>
                    <a:lnTo>
                      <a:pt x="56" y="50"/>
                    </a:lnTo>
                    <a:lnTo>
                      <a:pt x="56" y="50"/>
                    </a:lnTo>
                    <a:lnTo>
                      <a:pt x="56" y="48"/>
                    </a:lnTo>
                    <a:lnTo>
                      <a:pt x="56" y="46"/>
                    </a:lnTo>
                    <a:lnTo>
                      <a:pt x="54" y="44"/>
                    </a:lnTo>
                    <a:lnTo>
                      <a:pt x="54" y="44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8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2" y="40"/>
                    </a:lnTo>
                    <a:lnTo>
                      <a:pt x="64" y="38"/>
                    </a:lnTo>
                    <a:lnTo>
                      <a:pt x="66" y="38"/>
                    </a:lnTo>
                    <a:lnTo>
                      <a:pt x="66" y="36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66" y="32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28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0" y="26"/>
                    </a:lnTo>
                    <a:lnTo>
                      <a:pt x="58" y="26"/>
                    </a:lnTo>
                    <a:lnTo>
                      <a:pt x="56" y="24"/>
                    </a:lnTo>
                    <a:lnTo>
                      <a:pt x="52" y="24"/>
                    </a:lnTo>
                    <a:lnTo>
                      <a:pt x="52" y="24"/>
                    </a:lnTo>
                    <a:lnTo>
                      <a:pt x="48" y="24"/>
                    </a:lnTo>
                    <a:lnTo>
                      <a:pt x="46" y="24"/>
                    </a:lnTo>
                    <a:lnTo>
                      <a:pt x="42" y="24"/>
                    </a:lnTo>
                    <a:lnTo>
                      <a:pt x="40" y="24"/>
                    </a:lnTo>
                    <a:lnTo>
                      <a:pt x="40" y="24"/>
                    </a:lnTo>
                    <a:lnTo>
                      <a:pt x="38" y="26"/>
                    </a:lnTo>
                    <a:lnTo>
                      <a:pt x="36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2" y="24"/>
                    </a:lnTo>
                    <a:lnTo>
                      <a:pt x="32" y="22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16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0"/>
                    </a:lnTo>
                    <a:lnTo>
                      <a:pt x="26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18" y="8"/>
                    </a:lnTo>
                    <a:lnTo>
                      <a:pt x="16" y="6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2"/>
                    </a:lnTo>
                    <a:lnTo>
                      <a:pt x="12" y="2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4" y="18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8" y="22"/>
                    </a:lnTo>
                    <a:lnTo>
                      <a:pt x="10" y="24"/>
                    </a:lnTo>
                    <a:lnTo>
                      <a:pt x="10" y="24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6" y="28"/>
                    </a:lnTo>
                    <a:lnTo>
                      <a:pt x="4" y="28"/>
                    </a:lnTo>
                    <a:lnTo>
                      <a:pt x="2" y="28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2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4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4" y="52"/>
                    </a:lnTo>
                    <a:lnTo>
                      <a:pt x="18" y="58"/>
                    </a:lnTo>
                    <a:lnTo>
                      <a:pt x="18" y="58"/>
                    </a:lnTo>
                    <a:lnTo>
                      <a:pt x="18" y="62"/>
                    </a:lnTo>
                    <a:lnTo>
                      <a:pt x="20" y="66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2" y="74"/>
                    </a:lnTo>
                    <a:lnTo>
                      <a:pt x="20" y="76"/>
                    </a:lnTo>
                    <a:lnTo>
                      <a:pt x="20" y="80"/>
                    </a:lnTo>
                    <a:lnTo>
                      <a:pt x="20" y="80"/>
                    </a:lnTo>
                    <a:lnTo>
                      <a:pt x="20" y="80"/>
                    </a:lnTo>
                    <a:lnTo>
                      <a:pt x="22" y="82"/>
                    </a:lnTo>
                    <a:lnTo>
                      <a:pt x="22" y="84"/>
                    </a:lnTo>
                    <a:lnTo>
                      <a:pt x="22" y="84"/>
                    </a:lnTo>
                    <a:lnTo>
                      <a:pt x="22" y="86"/>
                    </a:lnTo>
                    <a:lnTo>
                      <a:pt x="22" y="88"/>
                    </a:lnTo>
                    <a:lnTo>
                      <a:pt x="22" y="90"/>
                    </a:lnTo>
                    <a:lnTo>
                      <a:pt x="22" y="90"/>
                    </a:lnTo>
                    <a:lnTo>
                      <a:pt x="22" y="90"/>
                    </a:lnTo>
                    <a:lnTo>
                      <a:pt x="22" y="92"/>
                    </a:lnTo>
                    <a:lnTo>
                      <a:pt x="22" y="94"/>
                    </a:lnTo>
                    <a:lnTo>
                      <a:pt x="24" y="94"/>
                    </a:lnTo>
                    <a:lnTo>
                      <a:pt x="24" y="94"/>
                    </a:lnTo>
                    <a:lnTo>
                      <a:pt x="26" y="94"/>
                    </a:lnTo>
                    <a:lnTo>
                      <a:pt x="26" y="92"/>
                    </a:lnTo>
                    <a:lnTo>
                      <a:pt x="26" y="92"/>
                    </a:lnTo>
                    <a:lnTo>
                      <a:pt x="28" y="90"/>
                    </a:lnTo>
                    <a:lnTo>
                      <a:pt x="28" y="90"/>
                    </a:lnTo>
                    <a:lnTo>
                      <a:pt x="28" y="88"/>
                    </a:lnTo>
                    <a:lnTo>
                      <a:pt x="28" y="86"/>
                    </a:lnTo>
                    <a:lnTo>
                      <a:pt x="28" y="84"/>
                    </a:lnTo>
                    <a:lnTo>
                      <a:pt x="28" y="84"/>
                    </a:lnTo>
                    <a:lnTo>
                      <a:pt x="28" y="84"/>
                    </a:lnTo>
                    <a:lnTo>
                      <a:pt x="28" y="84"/>
                    </a:lnTo>
                    <a:lnTo>
                      <a:pt x="30" y="84"/>
                    </a:lnTo>
                    <a:lnTo>
                      <a:pt x="30" y="86"/>
                    </a:lnTo>
                    <a:lnTo>
                      <a:pt x="32" y="88"/>
                    </a:lnTo>
                    <a:lnTo>
                      <a:pt x="34" y="90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36" y="90"/>
                    </a:lnTo>
                    <a:lnTo>
                      <a:pt x="36" y="90"/>
                    </a:lnTo>
                    <a:lnTo>
                      <a:pt x="36" y="88"/>
                    </a:lnTo>
                    <a:lnTo>
                      <a:pt x="34" y="84"/>
                    </a:lnTo>
                    <a:lnTo>
                      <a:pt x="34" y="84"/>
                    </a:lnTo>
                    <a:lnTo>
                      <a:pt x="34" y="82"/>
                    </a:lnTo>
                    <a:lnTo>
                      <a:pt x="34" y="80"/>
                    </a:lnTo>
                    <a:lnTo>
                      <a:pt x="36" y="76"/>
                    </a:lnTo>
                    <a:lnTo>
                      <a:pt x="36" y="76"/>
                    </a:lnTo>
                    <a:lnTo>
                      <a:pt x="36" y="78"/>
                    </a:lnTo>
                    <a:lnTo>
                      <a:pt x="36" y="78"/>
                    </a:lnTo>
                    <a:lnTo>
                      <a:pt x="38" y="82"/>
                    </a:lnTo>
                    <a:lnTo>
                      <a:pt x="38" y="86"/>
                    </a:lnTo>
                    <a:lnTo>
                      <a:pt x="40" y="88"/>
                    </a:lnTo>
                    <a:lnTo>
                      <a:pt x="40" y="88"/>
                    </a:lnTo>
                    <a:lnTo>
                      <a:pt x="40" y="88"/>
                    </a:lnTo>
                    <a:lnTo>
                      <a:pt x="40" y="90"/>
                    </a:lnTo>
                    <a:lnTo>
                      <a:pt x="42" y="90"/>
                    </a:lnTo>
                    <a:lnTo>
                      <a:pt x="44" y="90"/>
                    </a:lnTo>
                    <a:lnTo>
                      <a:pt x="44" y="88"/>
                    </a:lnTo>
                    <a:lnTo>
                      <a:pt x="44" y="88"/>
                    </a:lnTo>
                    <a:lnTo>
                      <a:pt x="46" y="88"/>
                    </a:lnTo>
                    <a:lnTo>
                      <a:pt x="46" y="86"/>
                    </a:lnTo>
                    <a:lnTo>
                      <a:pt x="46" y="84"/>
                    </a:lnTo>
                    <a:lnTo>
                      <a:pt x="46" y="84"/>
                    </a:lnTo>
                    <a:lnTo>
                      <a:pt x="46" y="84"/>
                    </a:lnTo>
                    <a:lnTo>
                      <a:pt x="48" y="84"/>
                    </a:lnTo>
                    <a:lnTo>
                      <a:pt x="50" y="86"/>
                    </a:lnTo>
                    <a:lnTo>
                      <a:pt x="52" y="88"/>
                    </a:lnTo>
                    <a:lnTo>
                      <a:pt x="54" y="88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8" y="84"/>
                    </a:lnTo>
                    <a:lnTo>
                      <a:pt x="58" y="84"/>
                    </a:lnTo>
                    <a:lnTo>
                      <a:pt x="58" y="84"/>
                    </a:lnTo>
                    <a:lnTo>
                      <a:pt x="60" y="84"/>
                    </a:lnTo>
                    <a:lnTo>
                      <a:pt x="60" y="84"/>
                    </a:lnTo>
                    <a:lnTo>
                      <a:pt x="60" y="84"/>
                    </a:lnTo>
                    <a:lnTo>
                      <a:pt x="62" y="82"/>
                    </a:lnTo>
                    <a:lnTo>
                      <a:pt x="62" y="80"/>
                    </a:lnTo>
                    <a:lnTo>
                      <a:pt x="62" y="80"/>
                    </a:lnTo>
                    <a:lnTo>
                      <a:pt x="62" y="80"/>
                    </a:lnTo>
                    <a:lnTo>
                      <a:pt x="64" y="80"/>
                    </a:lnTo>
                    <a:lnTo>
                      <a:pt x="66" y="82"/>
                    </a:lnTo>
                    <a:lnTo>
                      <a:pt x="66" y="82"/>
                    </a:lnTo>
                    <a:lnTo>
                      <a:pt x="68" y="84"/>
                    </a:lnTo>
                    <a:lnTo>
                      <a:pt x="68" y="88"/>
                    </a:lnTo>
                    <a:lnTo>
                      <a:pt x="70" y="96"/>
                    </a:lnTo>
                    <a:lnTo>
                      <a:pt x="70" y="98"/>
                    </a:lnTo>
                    <a:lnTo>
                      <a:pt x="70" y="100"/>
                    </a:lnTo>
                    <a:lnTo>
                      <a:pt x="70" y="100"/>
                    </a:lnTo>
                    <a:lnTo>
                      <a:pt x="70" y="102"/>
                    </a:lnTo>
                    <a:lnTo>
                      <a:pt x="70" y="102"/>
                    </a:lnTo>
                    <a:lnTo>
                      <a:pt x="72" y="104"/>
                    </a:lnTo>
                    <a:lnTo>
                      <a:pt x="72" y="104"/>
                    </a:lnTo>
                    <a:lnTo>
                      <a:pt x="74" y="100"/>
                    </a:lnTo>
                    <a:lnTo>
                      <a:pt x="76" y="98"/>
                    </a:lnTo>
                    <a:lnTo>
                      <a:pt x="76" y="98"/>
                    </a:lnTo>
                    <a:lnTo>
                      <a:pt x="76" y="96"/>
                    </a:lnTo>
                    <a:lnTo>
                      <a:pt x="76" y="94"/>
                    </a:lnTo>
                    <a:lnTo>
                      <a:pt x="76" y="92"/>
                    </a:lnTo>
                    <a:lnTo>
                      <a:pt x="76" y="90"/>
                    </a:lnTo>
                    <a:lnTo>
                      <a:pt x="76" y="90"/>
                    </a:lnTo>
                    <a:lnTo>
                      <a:pt x="76" y="90"/>
                    </a:lnTo>
                    <a:lnTo>
                      <a:pt x="76" y="90"/>
                    </a:lnTo>
                    <a:lnTo>
                      <a:pt x="76" y="9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88" name="Freeform 559"/>
              <p:cNvSpPr>
                <a:spLocks/>
              </p:cNvSpPr>
              <p:nvPr/>
            </p:nvSpPr>
            <p:spPr bwMode="auto">
              <a:xfrm>
                <a:off x="3787" y="2190"/>
                <a:ext cx="424" cy="496"/>
              </a:xfrm>
              <a:custGeom>
                <a:avLst/>
                <a:gdLst>
                  <a:gd name="T0" fmla="*/ 386 w 424"/>
                  <a:gd name="T1" fmla="*/ 198 h 496"/>
                  <a:gd name="T2" fmla="*/ 402 w 424"/>
                  <a:gd name="T3" fmla="*/ 168 h 496"/>
                  <a:gd name="T4" fmla="*/ 418 w 424"/>
                  <a:gd name="T5" fmla="*/ 134 h 496"/>
                  <a:gd name="T6" fmla="*/ 414 w 424"/>
                  <a:gd name="T7" fmla="*/ 106 h 496"/>
                  <a:gd name="T8" fmla="*/ 394 w 424"/>
                  <a:gd name="T9" fmla="*/ 102 h 496"/>
                  <a:gd name="T10" fmla="*/ 360 w 424"/>
                  <a:gd name="T11" fmla="*/ 124 h 496"/>
                  <a:gd name="T12" fmla="*/ 344 w 424"/>
                  <a:gd name="T13" fmla="*/ 146 h 496"/>
                  <a:gd name="T14" fmla="*/ 304 w 424"/>
                  <a:gd name="T15" fmla="*/ 134 h 496"/>
                  <a:gd name="T16" fmla="*/ 294 w 424"/>
                  <a:gd name="T17" fmla="*/ 138 h 496"/>
                  <a:gd name="T18" fmla="*/ 262 w 424"/>
                  <a:gd name="T19" fmla="*/ 152 h 496"/>
                  <a:gd name="T20" fmla="*/ 228 w 424"/>
                  <a:gd name="T21" fmla="*/ 140 h 496"/>
                  <a:gd name="T22" fmla="*/ 184 w 424"/>
                  <a:gd name="T23" fmla="*/ 126 h 496"/>
                  <a:gd name="T24" fmla="*/ 166 w 424"/>
                  <a:gd name="T25" fmla="*/ 106 h 496"/>
                  <a:gd name="T26" fmla="*/ 154 w 424"/>
                  <a:gd name="T27" fmla="*/ 84 h 496"/>
                  <a:gd name="T28" fmla="*/ 136 w 424"/>
                  <a:gd name="T29" fmla="*/ 58 h 496"/>
                  <a:gd name="T30" fmla="*/ 144 w 424"/>
                  <a:gd name="T31" fmla="*/ 44 h 496"/>
                  <a:gd name="T32" fmla="*/ 130 w 424"/>
                  <a:gd name="T33" fmla="*/ 2 h 496"/>
                  <a:gd name="T34" fmla="*/ 112 w 424"/>
                  <a:gd name="T35" fmla="*/ 10 h 496"/>
                  <a:gd name="T36" fmla="*/ 58 w 424"/>
                  <a:gd name="T37" fmla="*/ 16 h 496"/>
                  <a:gd name="T38" fmla="*/ 62 w 424"/>
                  <a:gd name="T39" fmla="*/ 38 h 496"/>
                  <a:gd name="T40" fmla="*/ 78 w 424"/>
                  <a:gd name="T41" fmla="*/ 62 h 496"/>
                  <a:gd name="T42" fmla="*/ 64 w 424"/>
                  <a:gd name="T43" fmla="*/ 106 h 496"/>
                  <a:gd name="T44" fmla="*/ 42 w 424"/>
                  <a:gd name="T45" fmla="*/ 136 h 496"/>
                  <a:gd name="T46" fmla="*/ 14 w 424"/>
                  <a:gd name="T47" fmla="*/ 150 h 496"/>
                  <a:gd name="T48" fmla="*/ 30 w 424"/>
                  <a:gd name="T49" fmla="*/ 188 h 496"/>
                  <a:gd name="T50" fmla="*/ 26 w 424"/>
                  <a:gd name="T51" fmla="*/ 212 h 496"/>
                  <a:gd name="T52" fmla="*/ 0 w 424"/>
                  <a:gd name="T53" fmla="*/ 226 h 496"/>
                  <a:gd name="T54" fmla="*/ 22 w 424"/>
                  <a:gd name="T55" fmla="*/ 236 h 496"/>
                  <a:gd name="T56" fmla="*/ 22 w 424"/>
                  <a:gd name="T57" fmla="*/ 240 h 496"/>
                  <a:gd name="T58" fmla="*/ 26 w 424"/>
                  <a:gd name="T59" fmla="*/ 260 h 496"/>
                  <a:gd name="T60" fmla="*/ 58 w 424"/>
                  <a:gd name="T61" fmla="*/ 274 h 496"/>
                  <a:gd name="T62" fmla="*/ 70 w 424"/>
                  <a:gd name="T63" fmla="*/ 246 h 496"/>
                  <a:gd name="T64" fmla="*/ 68 w 424"/>
                  <a:gd name="T65" fmla="*/ 258 h 496"/>
                  <a:gd name="T66" fmla="*/ 76 w 424"/>
                  <a:gd name="T67" fmla="*/ 286 h 496"/>
                  <a:gd name="T68" fmla="*/ 92 w 424"/>
                  <a:gd name="T69" fmla="*/ 342 h 496"/>
                  <a:gd name="T70" fmla="*/ 116 w 424"/>
                  <a:gd name="T71" fmla="*/ 388 h 496"/>
                  <a:gd name="T72" fmla="*/ 140 w 424"/>
                  <a:gd name="T73" fmla="*/ 438 h 496"/>
                  <a:gd name="T74" fmla="*/ 152 w 424"/>
                  <a:gd name="T75" fmla="*/ 468 h 496"/>
                  <a:gd name="T76" fmla="*/ 176 w 424"/>
                  <a:gd name="T77" fmla="*/ 494 h 496"/>
                  <a:gd name="T78" fmla="*/ 194 w 424"/>
                  <a:gd name="T79" fmla="*/ 474 h 496"/>
                  <a:gd name="T80" fmla="*/ 198 w 424"/>
                  <a:gd name="T81" fmla="*/ 464 h 496"/>
                  <a:gd name="T82" fmla="*/ 206 w 424"/>
                  <a:gd name="T83" fmla="*/ 438 h 496"/>
                  <a:gd name="T84" fmla="*/ 212 w 424"/>
                  <a:gd name="T85" fmla="*/ 402 h 496"/>
                  <a:gd name="T86" fmla="*/ 208 w 424"/>
                  <a:gd name="T87" fmla="*/ 382 h 496"/>
                  <a:gd name="T88" fmla="*/ 222 w 424"/>
                  <a:gd name="T89" fmla="*/ 348 h 496"/>
                  <a:gd name="T90" fmla="*/ 240 w 424"/>
                  <a:gd name="T91" fmla="*/ 328 h 496"/>
                  <a:gd name="T92" fmla="*/ 270 w 424"/>
                  <a:gd name="T93" fmla="*/ 294 h 496"/>
                  <a:gd name="T94" fmla="*/ 278 w 424"/>
                  <a:gd name="T95" fmla="*/ 284 h 496"/>
                  <a:gd name="T96" fmla="*/ 300 w 424"/>
                  <a:gd name="T97" fmla="*/ 264 h 496"/>
                  <a:gd name="T98" fmla="*/ 300 w 424"/>
                  <a:gd name="T99" fmla="*/ 248 h 496"/>
                  <a:gd name="T100" fmla="*/ 316 w 424"/>
                  <a:gd name="T101" fmla="*/ 238 h 496"/>
                  <a:gd name="T102" fmla="*/ 318 w 424"/>
                  <a:gd name="T103" fmla="*/ 212 h 496"/>
                  <a:gd name="T104" fmla="*/ 302 w 424"/>
                  <a:gd name="T105" fmla="*/ 182 h 496"/>
                  <a:gd name="T106" fmla="*/ 302 w 424"/>
                  <a:gd name="T107" fmla="*/ 166 h 496"/>
                  <a:gd name="T108" fmla="*/ 314 w 424"/>
                  <a:gd name="T109" fmla="*/ 158 h 496"/>
                  <a:gd name="T110" fmla="*/ 330 w 424"/>
                  <a:gd name="T111" fmla="*/ 174 h 496"/>
                  <a:gd name="T112" fmla="*/ 356 w 424"/>
                  <a:gd name="T113" fmla="*/ 178 h 496"/>
                  <a:gd name="T114" fmla="*/ 360 w 424"/>
                  <a:gd name="T115" fmla="*/ 194 h 496"/>
                  <a:gd name="T116" fmla="*/ 356 w 424"/>
                  <a:gd name="T117" fmla="*/ 210 h 496"/>
                  <a:gd name="T118" fmla="*/ 372 w 424"/>
                  <a:gd name="T119" fmla="*/ 212 h 4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424" h="496">
                    <a:moveTo>
                      <a:pt x="380" y="230"/>
                    </a:moveTo>
                    <a:lnTo>
                      <a:pt x="380" y="230"/>
                    </a:lnTo>
                    <a:lnTo>
                      <a:pt x="382" y="228"/>
                    </a:lnTo>
                    <a:lnTo>
                      <a:pt x="382" y="226"/>
                    </a:lnTo>
                    <a:lnTo>
                      <a:pt x="380" y="222"/>
                    </a:lnTo>
                    <a:lnTo>
                      <a:pt x="380" y="222"/>
                    </a:lnTo>
                    <a:lnTo>
                      <a:pt x="380" y="212"/>
                    </a:lnTo>
                    <a:lnTo>
                      <a:pt x="380" y="206"/>
                    </a:lnTo>
                    <a:lnTo>
                      <a:pt x="382" y="202"/>
                    </a:lnTo>
                    <a:lnTo>
                      <a:pt x="382" y="202"/>
                    </a:lnTo>
                    <a:lnTo>
                      <a:pt x="382" y="202"/>
                    </a:lnTo>
                    <a:lnTo>
                      <a:pt x="382" y="200"/>
                    </a:lnTo>
                    <a:lnTo>
                      <a:pt x="382" y="200"/>
                    </a:lnTo>
                    <a:lnTo>
                      <a:pt x="384" y="198"/>
                    </a:lnTo>
                    <a:lnTo>
                      <a:pt x="386" y="198"/>
                    </a:lnTo>
                    <a:lnTo>
                      <a:pt x="386" y="198"/>
                    </a:lnTo>
                    <a:lnTo>
                      <a:pt x="390" y="196"/>
                    </a:lnTo>
                    <a:lnTo>
                      <a:pt x="392" y="196"/>
                    </a:lnTo>
                    <a:lnTo>
                      <a:pt x="392" y="196"/>
                    </a:lnTo>
                    <a:lnTo>
                      <a:pt x="394" y="196"/>
                    </a:lnTo>
                    <a:lnTo>
                      <a:pt x="394" y="194"/>
                    </a:lnTo>
                    <a:lnTo>
                      <a:pt x="394" y="194"/>
                    </a:lnTo>
                    <a:lnTo>
                      <a:pt x="394" y="192"/>
                    </a:lnTo>
                    <a:lnTo>
                      <a:pt x="396" y="190"/>
                    </a:lnTo>
                    <a:lnTo>
                      <a:pt x="396" y="186"/>
                    </a:lnTo>
                    <a:lnTo>
                      <a:pt x="396" y="180"/>
                    </a:lnTo>
                    <a:lnTo>
                      <a:pt x="396" y="176"/>
                    </a:lnTo>
                    <a:lnTo>
                      <a:pt x="396" y="176"/>
                    </a:lnTo>
                    <a:lnTo>
                      <a:pt x="396" y="174"/>
                    </a:lnTo>
                    <a:lnTo>
                      <a:pt x="398" y="172"/>
                    </a:lnTo>
                    <a:lnTo>
                      <a:pt x="400" y="170"/>
                    </a:lnTo>
                    <a:lnTo>
                      <a:pt x="402" y="168"/>
                    </a:lnTo>
                    <a:lnTo>
                      <a:pt x="402" y="168"/>
                    </a:lnTo>
                    <a:lnTo>
                      <a:pt x="402" y="166"/>
                    </a:lnTo>
                    <a:lnTo>
                      <a:pt x="402" y="164"/>
                    </a:lnTo>
                    <a:lnTo>
                      <a:pt x="402" y="158"/>
                    </a:lnTo>
                    <a:lnTo>
                      <a:pt x="402" y="158"/>
                    </a:lnTo>
                    <a:lnTo>
                      <a:pt x="402" y="154"/>
                    </a:lnTo>
                    <a:lnTo>
                      <a:pt x="404" y="150"/>
                    </a:lnTo>
                    <a:lnTo>
                      <a:pt x="404" y="148"/>
                    </a:lnTo>
                    <a:lnTo>
                      <a:pt x="406" y="146"/>
                    </a:lnTo>
                    <a:lnTo>
                      <a:pt x="406" y="144"/>
                    </a:lnTo>
                    <a:lnTo>
                      <a:pt x="408" y="142"/>
                    </a:lnTo>
                    <a:lnTo>
                      <a:pt x="408" y="142"/>
                    </a:lnTo>
                    <a:lnTo>
                      <a:pt x="410" y="140"/>
                    </a:lnTo>
                    <a:lnTo>
                      <a:pt x="412" y="138"/>
                    </a:lnTo>
                    <a:lnTo>
                      <a:pt x="416" y="136"/>
                    </a:lnTo>
                    <a:lnTo>
                      <a:pt x="418" y="134"/>
                    </a:lnTo>
                    <a:lnTo>
                      <a:pt x="420" y="134"/>
                    </a:lnTo>
                    <a:lnTo>
                      <a:pt x="422" y="132"/>
                    </a:lnTo>
                    <a:lnTo>
                      <a:pt x="422" y="132"/>
                    </a:lnTo>
                    <a:lnTo>
                      <a:pt x="422" y="130"/>
                    </a:lnTo>
                    <a:lnTo>
                      <a:pt x="422" y="128"/>
                    </a:lnTo>
                    <a:lnTo>
                      <a:pt x="424" y="124"/>
                    </a:lnTo>
                    <a:lnTo>
                      <a:pt x="424" y="116"/>
                    </a:lnTo>
                    <a:lnTo>
                      <a:pt x="424" y="116"/>
                    </a:lnTo>
                    <a:lnTo>
                      <a:pt x="422" y="116"/>
                    </a:lnTo>
                    <a:lnTo>
                      <a:pt x="420" y="114"/>
                    </a:lnTo>
                    <a:lnTo>
                      <a:pt x="420" y="114"/>
                    </a:lnTo>
                    <a:lnTo>
                      <a:pt x="418" y="114"/>
                    </a:lnTo>
                    <a:lnTo>
                      <a:pt x="418" y="112"/>
                    </a:lnTo>
                    <a:lnTo>
                      <a:pt x="416" y="110"/>
                    </a:lnTo>
                    <a:lnTo>
                      <a:pt x="416" y="110"/>
                    </a:lnTo>
                    <a:lnTo>
                      <a:pt x="414" y="106"/>
                    </a:lnTo>
                    <a:lnTo>
                      <a:pt x="412" y="102"/>
                    </a:lnTo>
                    <a:lnTo>
                      <a:pt x="412" y="102"/>
                    </a:lnTo>
                    <a:lnTo>
                      <a:pt x="412" y="98"/>
                    </a:lnTo>
                    <a:lnTo>
                      <a:pt x="410" y="96"/>
                    </a:lnTo>
                    <a:lnTo>
                      <a:pt x="410" y="94"/>
                    </a:lnTo>
                    <a:lnTo>
                      <a:pt x="408" y="94"/>
                    </a:lnTo>
                    <a:lnTo>
                      <a:pt x="408" y="94"/>
                    </a:lnTo>
                    <a:lnTo>
                      <a:pt x="406" y="94"/>
                    </a:lnTo>
                    <a:lnTo>
                      <a:pt x="404" y="94"/>
                    </a:lnTo>
                    <a:lnTo>
                      <a:pt x="404" y="94"/>
                    </a:lnTo>
                    <a:lnTo>
                      <a:pt x="402" y="96"/>
                    </a:lnTo>
                    <a:lnTo>
                      <a:pt x="400" y="98"/>
                    </a:lnTo>
                    <a:lnTo>
                      <a:pt x="398" y="100"/>
                    </a:lnTo>
                    <a:lnTo>
                      <a:pt x="396" y="102"/>
                    </a:lnTo>
                    <a:lnTo>
                      <a:pt x="394" y="102"/>
                    </a:lnTo>
                    <a:lnTo>
                      <a:pt x="394" y="102"/>
                    </a:lnTo>
                    <a:lnTo>
                      <a:pt x="392" y="102"/>
                    </a:lnTo>
                    <a:lnTo>
                      <a:pt x="388" y="102"/>
                    </a:lnTo>
                    <a:lnTo>
                      <a:pt x="384" y="102"/>
                    </a:lnTo>
                    <a:lnTo>
                      <a:pt x="382" y="102"/>
                    </a:lnTo>
                    <a:lnTo>
                      <a:pt x="382" y="102"/>
                    </a:lnTo>
                    <a:lnTo>
                      <a:pt x="378" y="102"/>
                    </a:lnTo>
                    <a:lnTo>
                      <a:pt x="378" y="104"/>
                    </a:lnTo>
                    <a:lnTo>
                      <a:pt x="376" y="104"/>
                    </a:lnTo>
                    <a:lnTo>
                      <a:pt x="374" y="106"/>
                    </a:lnTo>
                    <a:lnTo>
                      <a:pt x="372" y="108"/>
                    </a:lnTo>
                    <a:lnTo>
                      <a:pt x="370" y="112"/>
                    </a:lnTo>
                    <a:lnTo>
                      <a:pt x="370" y="112"/>
                    </a:lnTo>
                    <a:lnTo>
                      <a:pt x="366" y="116"/>
                    </a:lnTo>
                    <a:lnTo>
                      <a:pt x="362" y="122"/>
                    </a:lnTo>
                    <a:lnTo>
                      <a:pt x="362" y="122"/>
                    </a:lnTo>
                    <a:lnTo>
                      <a:pt x="360" y="124"/>
                    </a:lnTo>
                    <a:lnTo>
                      <a:pt x="358" y="124"/>
                    </a:lnTo>
                    <a:lnTo>
                      <a:pt x="356" y="126"/>
                    </a:lnTo>
                    <a:lnTo>
                      <a:pt x="356" y="126"/>
                    </a:lnTo>
                    <a:lnTo>
                      <a:pt x="352" y="128"/>
                    </a:lnTo>
                    <a:lnTo>
                      <a:pt x="352" y="128"/>
                    </a:lnTo>
                    <a:lnTo>
                      <a:pt x="350" y="128"/>
                    </a:lnTo>
                    <a:lnTo>
                      <a:pt x="350" y="128"/>
                    </a:lnTo>
                    <a:lnTo>
                      <a:pt x="348" y="128"/>
                    </a:lnTo>
                    <a:lnTo>
                      <a:pt x="348" y="128"/>
                    </a:lnTo>
                    <a:lnTo>
                      <a:pt x="348" y="136"/>
                    </a:lnTo>
                    <a:lnTo>
                      <a:pt x="346" y="138"/>
                    </a:lnTo>
                    <a:lnTo>
                      <a:pt x="346" y="140"/>
                    </a:lnTo>
                    <a:lnTo>
                      <a:pt x="346" y="142"/>
                    </a:lnTo>
                    <a:lnTo>
                      <a:pt x="346" y="142"/>
                    </a:lnTo>
                    <a:lnTo>
                      <a:pt x="346" y="144"/>
                    </a:lnTo>
                    <a:lnTo>
                      <a:pt x="344" y="146"/>
                    </a:lnTo>
                    <a:lnTo>
                      <a:pt x="342" y="146"/>
                    </a:lnTo>
                    <a:lnTo>
                      <a:pt x="338" y="148"/>
                    </a:lnTo>
                    <a:lnTo>
                      <a:pt x="334" y="148"/>
                    </a:lnTo>
                    <a:lnTo>
                      <a:pt x="330" y="150"/>
                    </a:lnTo>
                    <a:lnTo>
                      <a:pt x="330" y="150"/>
                    </a:lnTo>
                    <a:lnTo>
                      <a:pt x="328" y="150"/>
                    </a:lnTo>
                    <a:lnTo>
                      <a:pt x="324" y="148"/>
                    </a:lnTo>
                    <a:lnTo>
                      <a:pt x="320" y="148"/>
                    </a:lnTo>
                    <a:lnTo>
                      <a:pt x="320" y="148"/>
                    </a:lnTo>
                    <a:lnTo>
                      <a:pt x="316" y="146"/>
                    </a:lnTo>
                    <a:lnTo>
                      <a:pt x="312" y="146"/>
                    </a:lnTo>
                    <a:lnTo>
                      <a:pt x="310" y="144"/>
                    </a:lnTo>
                    <a:lnTo>
                      <a:pt x="310" y="144"/>
                    </a:lnTo>
                    <a:lnTo>
                      <a:pt x="308" y="142"/>
                    </a:lnTo>
                    <a:lnTo>
                      <a:pt x="306" y="138"/>
                    </a:lnTo>
                    <a:lnTo>
                      <a:pt x="304" y="134"/>
                    </a:lnTo>
                    <a:lnTo>
                      <a:pt x="304" y="132"/>
                    </a:lnTo>
                    <a:lnTo>
                      <a:pt x="304" y="132"/>
                    </a:lnTo>
                    <a:lnTo>
                      <a:pt x="304" y="132"/>
                    </a:lnTo>
                    <a:lnTo>
                      <a:pt x="300" y="130"/>
                    </a:lnTo>
                    <a:lnTo>
                      <a:pt x="298" y="128"/>
                    </a:lnTo>
                    <a:lnTo>
                      <a:pt x="298" y="128"/>
                    </a:lnTo>
                    <a:lnTo>
                      <a:pt x="296" y="128"/>
                    </a:lnTo>
                    <a:lnTo>
                      <a:pt x="294" y="128"/>
                    </a:lnTo>
                    <a:lnTo>
                      <a:pt x="294" y="128"/>
                    </a:lnTo>
                    <a:lnTo>
                      <a:pt x="294" y="128"/>
                    </a:lnTo>
                    <a:lnTo>
                      <a:pt x="292" y="130"/>
                    </a:lnTo>
                    <a:lnTo>
                      <a:pt x="292" y="130"/>
                    </a:lnTo>
                    <a:lnTo>
                      <a:pt x="294" y="132"/>
                    </a:lnTo>
                    <a:lnTo>
                      <a:pt x="294" y="134"/>
                    </a:lnTo>
                    <a:lnTo>
                      <a:pt x="294" y="134"/>
                    </a:lnTo>
                    <a:lnTo>
                      <a:pt x="294" y="138"/>
                    </a:lnTo>
                    <a:lnTo>
                      <a:pt x="294" y="140"/>
                    </a:lnTo>
                    <a:lnTo>
                      <a:pt x="294" y="142"/>
                    </a:lnTo>
                    <a:lnTo>
                      <a:pt x="294" y="142"/>
                    </a:lnTo>
                    <a:lnTo>
                      <a:pt x="294" y="146"/>
                    </a:lnTo>
                    <a:lnTo>
                      <a:pt x="292" y="148"/>
                    </a:lnTo>
                    <a:lnTo>
                      <a:pt x="292" y="148"/>
                    </a:lnTo>
                    <a:lnTo>
                      <a:pt x="290" y="150"/>
                    </a:lnTo>
                    <a:lnTo>
                      <a:pt x="290" y="152"/>
                    </a:lnTo>
                    <a:lnTo>
                      <a:pt x="288" y="152"/>
                    </a:lnTo>
                    <a:lnTo>
                      <a:pt x="284" y="152"/>
                    </a:lnTo>
                    <a:lnTo>
                      <a:pt x="282" y="152"/>
                    </a:lnTo>
                    <a:lnTo>
                      <a:pt x="282" y="152"/>
                    </a:lnTo>
                    <a:lnTo>
                      <a:pt x="274" y="150"/>
                    </a:lnTo>
                    <a:lnTo>
                      <a:pt x="268" y="150"/>
                    </a:lnTo>
                    <a:lnTo>
                      <a:pt x="266" y="152"/>
                    </a:lnTo>
                    <a:lnTo>
                      <a:pt x="262" y="152"/>
                    </a:lnTo>
                    <a:lnTo>
                      <a:pt x="262" y="152"/>
                    </a:lnTo>
                    <a:lnTo>
                      <a:pt x="256" y="152"/>
                    </a:lnTo>
                    <a:lnTo>
                      <a:pt x="254" y="154"/>
                    </a:lnTo>
                    <a:lnTo>
                      <a:pt x="252" y="152"/>
                    </a:lnTo>
                    <a:lnTo>
                      <a:pt x="252" y="152"/>
                    </a:lnTo>
                    <a:lnTo>
                      <a:pt x="248" y="152"/>
                    </a:lnTo>
                    <a:lnTo>
                      <a:pt x="244" y="150"/>
                    </a:lnTo>
                    <a:lnTo>
                      <a:pt x="244" y="150"/>
                    </a:lnTo>
                    <a:lnTo>
                      <a:pt x="242" y="148"/>
                    </a:lnTo>
                    <a:lnTo>
                      <a:pt x="240" y="148"/>
                    </a:lnTo>
                    <a:lnTo>
                      <a:pt x="236" y="144"/>
                    </a:lnTo>
                    <a:lnTo>
                      <a:pt x="234" y="142"/>
                    </a:lnTo>
                    <a:lnTo>
                      <a:pt x="232" y="142"/>
                    </a:lnTo>
                    <a:lnTo>
                      <a:pt x="230" y="140"/>
                    </a:lnTo>
                    <a:lnTo>
                      <a:pt x="228" y="140"/>
                    </a:lnTo>
                    <a:lnTo>
                      <a:pt x="228" y="140"/>
                    </a:lnTo>
                    <a:lnTo>
                      <a:pt x="226" y="140"/>
                    </a:lnTo>
                    <a:lnTo>
                      <a:pt x="224" y="140"/>
                    </a:lnTo>
                    <a:lnTo>
                      <a:pt x="218" y="140"/>
                    </a:lnTo>
                    <a:lnTo>
                      <a:pt x="216" y="142"/>
                    </a:lnTo>
                    <a:lnTo>
                      <a:pt x="214" y="142"/>
                    </a:lnTo>
                    <a:lnTo>
                      <a:pt x="210" y="140"/>
                    </a:lnTo>
                    <a:lnTo>
                      <a:pt x="208" y="140"/>
                    </a:lnTo>
                    <a:lnTo>
                      <a:pt x="208" y="140"/>
                    </a:lnTo>
                    <a:lnTo>
                      <a:pt x="202" y="138"/>
                    </a:lnTo>
                    <a:lnTo>
                      <a:pt x="198" y="136"/>
                    </a:lnTo>
                    <a:lnTo>
                      <a:pt x="194" y="134"/>
                    </a:lnTo>
                    <a:lnTo>
                      <a:pt x="192" y="134"/>
                    </a:lnTo>
                    <a:lnTo>
                      <a:pt x="190" y="132"/>
                    </a:lnTo>
                    <a:lnTo>
                      <a:pt x="190" y="132"/>
                    </a:lnTo>
                    <a:lnTo>
                      <a:pt x="188" y="128"/>
                    </a:lnTo>
                    <a:lnTo>
                      <a:pt x="184" y="126"/>
                    </a:lnTo>
                    <a:lnTo>
                      <a:pt x="182" y="124"/>
                    </a:lnTo>
                    <a:lnTo>
                      <a:pt x="182" y="124"/>
                    </a:lnTo>
                    <a:lnTo>
                      <a:pt x="180" y="124"/>
                    </a:lnTo>
                    <a:lnTo>
                      <a:pt x="178" y="124"/>
                    </a:lnTo>
                    <a:lnTo>
                      <a:pt x="176" y="124"/>
                    </a:lnTo>
                    <a:lnTo>
                      <a:pt x="174" y="124"/>
                    </a:lnTo>
                    <a:lnTo>
                      <a:pt x="174" y="124"/>
                    </a:lnTo>
                    <a:lnTo>
                      <a:pt x="172" y="124"/>
                    </a:lnTo>
                    <a:lnTo>
                      <a:pt x="170" y="122"/>
                    </a:lnTo>
                    <a:lnTo>
                      <a:pt x="168" y="120"/>
                    </a:lnTo>
                    <a:lnTo>
                      <a:pt x="168" y="118"/>
                    </a:lnTo>
                    <a:lnTo>
                      <a:pt x="166" y="116"/>
                    </a:lnTo>
                    <a:lnTo>
                      <a:pt x="166" y="114"/>
                    </a:lnTo>
                    <a:lnTo>
                      <a:pt x="166" y="110"/>
                    </a:lnTo>
                    <a:lnTo>
                      <a:pt x="166" y="110"/>
                    </a:lnTo>
                    <a:lnTo>
                      <a:pt x="166" y="106"/>
                    </a:lnTo>
                    <a:lnTo>
                      <a:pt x="168" y="104"/>
                    </a:lnTo>
                    <a:lnTo>
                      <a:pt x="170" y="100"/>
                    </a:lnTo>
                    <a:lnTo>
                      <a:pt x="170" y="100"/>
                    </a:lnTo>
                    <a:lnTo>
                      <a:pt x="172" y="98"/>
                    </a:lnTo>
                    <a:lnTo>
                      <a:pt x="172" y="96"/>
                    </a:lnTo>
                    <a:lnTo>
                      <a:pt x="174" y="92"/>
                    </a:lnTo>
                    <a:lnTo>
                      <a:pt x="174" y="92"/>
                    </a:lnTo>
                    <a:lnTo>
                      <a:pt x="170" y="92"/>
                    </a:lnTo>
                    <a:lnTo>
                      <a:pt x="168" y="90"/>
                    </a:lnTo>
                    <a:lnTo>
                      <a:pt x="168" y="90"/>
                    </a:lnTo>
                    <a:lnTo>
                      <a:pt x="166" y="88"/>
                    </a:lnTo>
                    <a:lnTo>
                      <a:pt x="164" y="88"/>
                    </a:lnTo>
                    <a:lnTo>
                      <a:pt x="160" y="86"/>
                    </a:lnTo>
                    <a:lnTo>
                      <a:pt x="156" y="86"/>
                    </a:lnTo>
                    <a:lnTo>
                      <a:pt x="154" y="86"/>
                    </a:lnTo>
                    <a:lnTo>
                      <a:pt x="154" y="84"/>
                    </a:lnTo>
                    <a:lnTo>
                      <a:pt x="154" y="84"/>
                    </a:lnTo>
                    <a:lnTo>
                      <a:pt x="152" y="84"/>
                    </a:lnTo>
                    <a:lnTo>
                      <a:pt x="152" y="82"/>
                    </a:lnTo>
                    <a:lnTo>
                      <a:pt x="148" y="80"/>
                    </a:lnTo>
                    <a:lnTo>
                      <a:pt x="148" y="80"/>
                    </a:lnTo>
                    <a:lnTo>
                      <a:pt x="146" y="78"/>
                    </a:lnTo>
                    <a:lnTo>
                      <a:pt x="144" y="76"/>
                    </a:lnTo>
                    <a:lnTo>
                      <a:pt x="142" y="74"/>
                    </a:lnTo>
                    <a:lnTo>
                      <a:pt x="142" y="74"/>
                    </a:lnTo>
                    <a:lnTo>
                      <a:pt x="142" y="72"/>
                    </a:lnTo>
                    <a:lnTo>
                      <a:pt x="140" y="68"/>
                    </a:lnTo>
                    <a:lnTo>
                      <a:pt x="140" y="68"/>
                    </a:lnTo>
                    <a:lnTo>
                      <a:pt x="138" y="62"/>
                    </a:lnTo>
                    <a:lnTo>
                      <a:pt x="138" y="62"/>
                    </a:lnTo>
                    <a:lnTo>
                      <a:pt x="136" y="60"/>
                    </a:lnTo>
                    <a:lnTo>
                      <a:pt x="136" y="58"/>
                    </a:lnTo>
                    <a:lnTo>
                      <a:pt x="136" y="56"/>
                    </a:lnTo>
                    <a:lnTo>
                      <a:pt x="136" y="56"/>
                    </a:lnTo>
                    <a:lnTo>
                      <a:pt x="138" y="54"/>
                    </a:lnTo>
                    <a:lnTo>
                      <a:pt x="138" y="52"/>
                    </a:lnTo>
                    <a:lnTo>
                      <a:pt x="140" y="52"/>
                    </a:lnTo>
                    <a:lnTo>
                      <a:pt x="142" y="50"/>
                    </a:lnTo>
                    <a:lnTo>
                      <a:pt x="142" y="50"/>
                    </a:lnTo>
                    <a:lnTo>
                      <a:pt x="144" y="50"/>
                    </a:lnTo>
                    <a:lnTo>
                      <a:pt x="146" y="48"/>
                    </a:lnTo>
                    <a:lnTo>
                      <a:pt x="146" y="48"/>
                    </a:lnTo>
                    <a:lnTo>
                      <a:pt x="146" y="48"/>
                    </a:lnTo>
                    <a:lnTo>
                      <a:pt x="146" y="48"/>
                    </a:lnTo>
                    <a:lnTo>
                      <a:pt x="146" y="46"/>
                    </a:lnTo>
                    <a:lnTo>
                      <a:pt x="146" y="46"/>
                    </a:lnTo>
                    <a:lnTo>
                      <a:pt x="144" y="44"/>
                    </a:lnTo>
                    <a:lnTo>
                      <a:pt x="144" y="44"/>
                    </a:lnTo>
                    <a:lnTo>
                      <a:pt x="142" y="42"/>
                    </a:lnTo>
                    <a:lnTo>
                      <a:pt x="140" y="40"/>
                    </a:lnTo>
                    <a:lnTo>
                      <a:pt x="140" y="40"/>
                    </a:lnTo>
                    <a:lnTo>
                      <a:pt x="138" y="38"/>
                    </a:lnTo>
                    <a:lnTo>
                      <a:pt x="136" y="32"/>
                    </a:lnTo>
                    <a:lnTo>
                      <a:pt x="136" y="32"/>
                    </a:lnTo>
                    <a:lnTo>
                      <a:pt x="136" y="30"/>
                    </a:lnTo>
                    <a:lnTo>
                      <a:pt x="136" y="28"/>
                    </a:lnTo>
                    <a:lnTo>
                      <a:pt x="136" y="24"/>
                    </a:lnTo>
                    <a:lnTo>
                      <a:pt x="138" y="16"/>
                    </a:lnTo>
                    <a:lnTo>
                      <a:pt x="138" y="16"/>
                    </a:lnTo>
                    <a:lnTo>
                      <a:pt x="138" y="14"/>
                    </a:lnTo>
                    <a:lnTo>
                      <a:pt x="138" y="10"/>
                    </a:lnTo>
                    <a:lnTo>
                      <a:pt x="136" y="6"/>
                    </a:lnTo>
                    <a:lnTo>
                      <a:pt x="134" y="4"/>
                    </a:lnTo>
                    <a:lnTo>
                      <a:pt x="130" y="2"/>
                    </a:lnTo>
                    <a:lnTo>
                      <a:pt x="130" y="0"/>
                    </a:lnTo>
                    <a:lnTo>
                      <a:pt x="126" y="0"/>
                    </a:lnTo>
                    <a:lnTo>
                      <a:pt x="122" y="0"/>
                    </a:lnTo>
                    <a:lnTo>
                      <a:pt x="122" y="0"/>
                    </a:lnTo>
                    <a:lnTo>
                      <a:pt x="120" y="0"/>
                    </a:lnTo>
                    <a:lnTo>
                      <a:pt x="118" y="2"/>
                    </a:lnTo>
                    <a:lnTo>
                      <a:pt x="118" y="2"/>
                    </a:lnTo>
                    <a:lnTo>
                      <a:pt x="116" y="4"/>
                    </a:lnTo>
                    <a:lnTo>
                      <a:pt x="116" y="4"/>
                    </a:lnTo>
                    <a:lnTo>
                      <a:pt x="116" y="8"/>
                    </a:lnTo>
                    <a:lnTo>
                      <a:pt x="114" y="10"/>
                    </a:lnTo>
                    <a:lnTo>
                      <a:pt x="114" y="10"/>
                    </a:lnTo>
                    <a:lnTo>
                      <a:pt x="114" y="10"/>
                    </a:lnTo>
                    <a:lnTo>
                      <a:pt x="114" y="12"/>
                    </a:lnTo>
                    <a:lnTo>
                      <a:pt x="112" y="12"/>
                    </a:lnTo>
                    <a:lnTo>
                      <a:pt x="112" y="10"/>
                    </a:lnTo>
                    <a:lnTo>
                      <a:pt x="112" y="10"/>
                    </a:lnTo>
                    <a:lnTo>
                      <a:pt x="110" y="12"/>
                    </a:lnTo>
                    <a:lnTo>
                      <a:pt x="108" y="14"/>
                    </a:lnTo>
                    <a:lnTo>
                      <a:pt x="106" y="14"/>
                    </a:lnTo>
                    <a:lnTo>
                      <a:pt x="104" y="14"/>
                    </a:lnTo>
                    <a:lnTo>
                      <a:pt x="98" y="16"/>
                    </a:lnTo>
                    <a:lnTo>
                      <a:pt x="94" y="16"/>
                    </a:lnTo>
                    <a:lnTo>
                      <a:pt x="94" y="16"/>
                    </a:lnTo>
                    <a:lnTo>
                      <a:pt x="86" y="16"/>
                    </a:lnTo>
                    <a:lnTo>
                      <a:pt x="82" y="16"/>
                    </a:lnTo>
                    <a:lnTo>
                      <a:pt x="76" y="16"/>
                    </a:lnTo>
                    <a:lnTo>
                      <a:pt x="68" y="16"/>
                    </a:lnTo>
                    <a:lnTo>
                      <a:pt x="68" y="16"/>
                    </a:lnTo>
                    <a:lnTo>
                      <a:pt x="64" y="16"/>
                    </a:lnTo>
                    <a:lnTo>
                      <a:pt x="60" y="14"/>
                    </a:lnTo>
                    <a:lnTo>
                      <a:pt x="58" y="16"/>
                    </a:lnTo>
                    <a:lnTo>
                      <a:pt x="56" y="16"/>
                    </a:lnTo>
                    <a:lnTo>
                      <a:pt x="54" y="18"/>
                    </a:lnTo>
                    <a:lnTo>
                      <a:pt x="52" y="18"/>
                    </a:lnTo>
                    <a:lnTo>
                      <a:pt x="52" y="18"/>
                    </a:lnTo>
                    <a:lnTo>
                      <a:pt x="52" y="20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4"/>
                    </a:lnTo>
                    <a:lnTo>
                      <a:pt x="52" y="26"/>
                    </a:lnTo>
                    <a:lnTo>
                      <a:pt x="54" y="26"/>
                    </a:lnTo>
                    <a:lnTo>
                      <a:pt x="58" y="30"/>
                    </a:lnTo>
                    <a:lnTo>
                      <a:pt x="60" y="32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2" y="36"/>
                    </a:lnTo>
                    <a:lnTo>
                      <a:pt x="62" y="38"/>
                    </a:lnTo>
                    <a:lnTo>
                      <a:pt x="60" y="42"/>
                    </a:lnTo>
                    <a:lnTo>
                      <a:pt x="60" y="46"/>
                    </a:lnTo>
                    <a:lnTo>
                      <a:pt x="60" y="48"/>
                    </a:lnTo>
                    <a:lnTo>
                      <a:pt x="62" y="50"/>
                    </a:lnTo>
                    <a:lnTo>
                      <a:pt x="62" y="50"/>
                    </a:lnTo>
                    <a:lnTo>
                      <a:pt x="64" y="52"/>
                    </a:lnTo>
                    <a:lnTo>
                      <a:pt x="64" y="52"/>
                    </a:lnTo>
                    <a:lnTo>
                      <a:pt x="66" y="54"/>
                    </a:lnTo>
                    <a:lnTo>
                      <a:pt x="66" y="54"/>
                    </a:lnTo>
                    <a:lnTo>
                      <a:pt x="70" y="54"/>
                    </a:lnTo>
                    <a:lnTo>
                      <a:pt x="74" y="56"/>
                    </a:lnTo>
                    <a:lnTo>
                      <a:pt x="74" y="56"/>
                    </a:lnTo>
                    <a:lnTo>
                      <a:pt x="76" y="58"/>
                    </a:lnTo>
                    <a:lnTo>
                      <a:pt x="76" y="58"/>
                    </a:lnTo>
                    <a:lnTo>
                      <a:pt x="78" y="60"/>
                    </a:lnTo>
                    <a:lnTo>
                      <a:pt x="78" y="62"/>
                    </a:lnTo>
                    <a:lnTo>
                      <a:pt x="80" y="64"/>
                    </a:lnTo>
                    <a:lnTo>
                      <a:pt x="80" y="66"/>
                    </a:lnTo>
                    <a:lnTo>
                      <a:pt x="80" y="66"/>
                    </a:lnTo>
                    <a:lnTo>
                      <a:pt x="80" y="68"/>
                    </a:lnTo>
                    <a:lnTo>
                      <a:pt x="80" y="72"/>
                    </a:lnTo>
                    <a:lnTo>
                      <a:pt x="78" y="76"/>
                    </a:lnTo>
                    <a:lnTo>
                      <a:pt x="78" y="82"/>
                    </a:lnTo>
                    <a:lnTo>
                      <a:pt x="76" y="86"/>
                    </a:lnTo>
                    <a:lnTo>
                      <a:pt x="76" y="86"/>
                    </a:lnTo>
                    <a:lnTo>
                      <a:pt x="76" y="90"/>
                    </a:lnTo>
                    <a:lnTo>
                      <a:pt x="74" y="92"/>
                    </a:lnTo>
                    <a:lnTo>
                      <a:pt x="72" y="94"/>
                    </a:lnTo>
                    <a:lnTo>
                      <a:pt x="70" y="96"/>
                    </a:lnTo>
                    <a:lnTo>
                      <a:pt x="66" y="102"/>
                    </a:lnTo>
                    <a:lnTo>
                      <a:pt x="66" y="104"/>
                    </a:lnTo>
                    <a:lnTo>
                      <a:pt x="64" y="106"/>
                    </a:lnTo>
                    <a:lnTo>
                      <a:pt x="64" y="106"/>
                    </a:lnTo>
                    <a:lnTo>
                      <a:pt x="62" y="116"/>
                    </a:lnTo>
                    <a:lnTo>
                      <a:pt x="62" y="118"/>
                    </a:lnTo>
                    <a:lnTo>
                      <a:pt x="60" y="120"/>
                    </a:lnTo>
                    <a:lnTo>
                      <a:pt x="60" y="122"/>
                    </a:lnTo>
                    <a:lnTo>
                      <a:pt x="58" y="124"/>
                    </a:lnTo>
                    <a:lnTo>
                      <a:pt x="58" y="124"/>
                    </a:lnTo>
                    <a:lnTo>
                      <a:pt x="56" y="126"/>
                    </a:lnTo>
                    <a:lnTo>
                      <a:pt x="54" y="128"/>
                    </a:lnTo>
                    <a:lnTo>
                      <a:pt x="50" y="130"/>
                    </a:lnTo>
                    <a:lnTo>
                      <a:pt x="48" y="130"/>
                    </a:lnTo>
                    <a:lnTo>
                      <a:pt x="46" y="132"/>
                    </a:lnTo>
                    <a:lnTo>
                      <a:pt x="44" y="134"/>
                    </a:lnTo>
                    <a:lnTo>
                      <a:pt x="42" y="136"/>
                    </a:lnTo>
                    <a:lnTo>
                      <a:pt x="42" y="136"/>
                    </a:lnTo>
                    <a:lnTo>
                      <a:pt x="42" y="136"/>
                    </a:lnTo>
                    <a:lnTo>
                      <a:pt x="42" y="138"/>
                    </a:lnTo>
                    <a:lnTo>
                      <a:pt x="42" y="140"/>
                    </a:lnTo>
                    <a:lnTo>
                      <a:pt x="42" y="144"/>
                    </a:lnTo>
                    <a:lnTo>
                      <a:pt x="42" y="144"/>
                    </a:lnTo>
                    <a:lnTo>
                      <a:pt x="42" y="146"/>
                    </a:lnTo>
                    <a:lnTo>
                      <a:pt x="42" y="146"/>
                    </a:lnTo>
                    <a:lnTo>
                      <a:pt x="40" y="146"/>
                    </a:lnTo>
                    <a:lnTo>
                      <a:pt x="38" y="148"/>
                    </a:lnTo>
                    <a:lnTo>
                      <a:pt x="34" y="148"/>
                    </a:lnTo>
                    <a:lnTo>
                      <a:pt x="26" y="148"/>
                    </a:lnTo>
                    <a:lnTo>
                      <a:pt x="26" y="148"/>
                    </a:lnTo>
                    <a:lnTo>
                      <a:pt x="24" y="148"/>
                    </a:lnTo>
                    <a:lnTo>
                      <a:pt x="20" y="148"/>
                    </a:lnTo>
                    <a:lnTo>
                      <a:pt x="16" y="148"/>
                    </a:lnTo>
                    <a:lnTo>
                      <a:pt x="14" y="150"/>
                    </a:lnTo>
                    <a:lnTo>
                      <a:pt x="14" y="150"/>
                    </a:lnTo>
                    <a:lnTo>
                      <a:pt x="14" y="150"/>
                    </a:lnTo>
                    <a:lnTo>
                      <a:pt x="12" y="152"/>
                    </a:lnTo>
                    <a:lnTo>
                      <a:pt x="12" y="152"/>
                    </a:lnTo>
                    <a:lnTo>
                      <a:pt x="10" y="154"/>
                    </a:lnTo>
                    <a:lnTo>
                      <a:pt x="10" y="156"/>
                    </a:lnTo>
                    <a:lnTo>
                      <a:pt x="10" y="158"/>
                    </a:lnTo>
                    <a:lnTo>
                      <a:pt x="10" y="158"/>
                    </a:lnTo>
                    <a:lnTo>
                      <a:pt x="12" y="164"/>
                    </a:lnTo>
                    <a:lnTo>
                      <a:pt x="14" y="170"/>
                    </a:lnTo>
                    <a:lnTo>
                      <a:pt x="16" y="174"/>
                    </a:lnTo>
                    <a:lnTo>
                      <a:pt x="20" y="180"/>
                    </a:lnTo>
                    <a:lnTo>
                      <a:pt x="20" y="180"/>
                    </a:lnTo>
                    <a:lnTo>
                      <a:pt x="22" y="180"/>
                    </a:lnTo>
                    <a:lnTo>
                      <a:pt x="24" y="182"/>
                    </a:lnTo>
                    <a:lnTo>
                      <a:pt x="30" y="186"/>
                    </a:lnTo>
                    <a:lnTo>
                      <a:pt x="30" y="188"/>
                    </a:lnTo>
                    <a:lnTo>
                      <a:pt x="34" y="190"/>
                    </a:lnTo>
                    <a:lnTo>
                      <a:pt x="34" y="192"/>
                    </a:lnTo>
                    <a:lnTo>
                      <a:pt x="34" y="194"/>
                    </a:lnTo>
                    <a:lnTo>
                      <a:pt x="34" y="194"/>
                    </a:lnTo>
                    <a:lnTo>
                      <a:pt x="36" y="198"/>
                    </a:lnTo>
                    <a:lnTo>
                      <a:pt x="36" y="202"/>
                    </a:lnTo>
                    <a:lnTo>
                      <a:pt x="36" y="204"/>
                    </a:lnTo>
                    <a:lnTo>
                      <a:pt x="36" y="206"/>
                    </a:lnTo>
                    <a:lnTo>
                      <a:pt x="36" y="210"/>
                    </a:lnTo>
                    <a:lnTo>
                      <a:pt x="34" y="212"/>
                    </a:lnTo>
                    <a:lnTo>
                      <a:pt x="34" y="212"/>
                    </a:lnTo>
                    <a:lnTo>
                      <a:pt x="34" y="212"/>
                    </a:lnTo>
                    <a:lnTo>
                      <a:pt x="34" y="212"/>
                    </a:lnTo>
                    <a:lnTo>
                      <a:pt x="32" y="214"/>
                    </a:lnTo>
                    <a:lnTo>
                      <a:pt x="28" y="214"/>
                    </a:lnTo>
                    <a:lnTo>
                      <a:pt x="26" y="212"/>
                    </a:lnTo>
                    <a:lnTo>
                      <a:pt x="22" y="212"/>
                    </a:lnTo>
                    <a:lnTo>
                      <a:pt x="14" y="212"/>
                    </a:lnTo>
                    <a:lnTo>
                      <a:pt x="12" y="212"/>
                    </a:lnTo>
                    <a:lnTo>
                      <a:pt x="8" y="212"/>
                    </a:lnTo>
                    <a:lnTo>
                      <a:pt x="8" y="212"/>
                    </a:lnTo>
                    <a:lnTo>
                      <a:pt x="8" y="212"/>
                    </a:lnTo>
                    <a:lnTo>
                      <a:pt x="6" y="214"/>
                    </a:lnTo>
                    <a:lnTo>
                      <a:pt x="6" y="216"/>
                    </a:lnTo>
                    <a:lnTo>
                      <a:pt x="2" y="220"/>
                    </a:lnTo>
                    <a:lnTo>
                      <a:pt x="2" y="220"/>
                    </a:lnTo>
                    <a:lnTo>
                      <a:pt x="2" y="222"/>
                    </a:lnTo>
                    <a:lnTo>
                      <a:pt x="0" y="224"/>
                    </a:lnTo>
                    <a:lnTo>
                      <a:pt x="0" y="224"/>
                    </a:lnTo>
                    <a:lnTo>
                      <a:pt x="0" y="224"/>
                    </a:lnTo>
                    <a:lnTo>
                      <a:pt x="0" y="224"/>
                    </a:lnTo>
                    <a:lnTo>
                      <a:pt x="0" y="226"/>
                    </a:lnTo>
                    <a:lnTo>
                      <a:pt x="0" y="226"/>
                    </a:lnTo>
                    <a:lnTo>
                      <a:pt x="0" y="228"/>
                    </a:lnTo>
                    <a:lnTo>
                      <a:pt x="0" y="228"/>
                    </a:lnTo>
                    <a:lnTo>
                      <a:pt x="2" y="230"/>
                    </a:lnTo>
                    <a:lnTo>
                      <a:pt x="2" y="230"/>
                    </a:lnTo>
                    <a:lnTo>
                      <a:pt x="2" y="230"/>
                    </a:lnTo>
                    <a:lnTo>
                      <a:pt x="4" y="232"/>
                    </a:lnTo>
                    <a:lnTo>
                      <a:pt x="6" y="234"/>
                    </a:lnTo>
                    <a:lnTo>
                      <a:pt x="6" y="234"/>
                    </a:lnTo>
                    <a:lnTo>
                      <a:pt x="6" y="234"/>
                    </a:lnTo>
                    <a:lnTo>
                      <a:pt x="8" y="236"/>
                    </a:lnTo>
                    <a:lnTo>
                      <a:pt x="8" y="236"/>
                    </a:lnTo>
                    <a:lnTo>
                      <a:pt x="12" y="236"/>
                    </a:lnTo>
                    <a:lnTo>
                      <a:pt x="16" y="236"/>
                    </a:lnTo>
                    <a:lnTo>
                      <a:pt x="16" y="236"/>
                    </a:lnTo>
                    <a:lnTo>
                      <a:pt x="22" y="236"/>
                    </a:lnTo>
                    <a:lnTo>
                      <a:pt x="24" y="234"/>
                    </a:lnTo>
                    <a:lnTo>
                      <a:pt x="30" y="232"/>
                    </a:lnTo>
                    <a:lnTo>
                      <a:pt x="30" y="232"/>
                    </a:lnTo>
                    <a:lnTo>
                      <a:pt x="30" y="232"/>
                    </a:lnTo>
                    <a:lnTo>
                      <a:pt x="30" y="232"/>
                    </a:lnTo>
                    <a:lnTo>
                      <a:pt x="32" y="234"/>
                    </a:lnTo>
                    <a:lnTo>
                      <a:pt x="32" y="236"/>
                    </a:lnTo>
                    <a:lnTo>
                      <a:pt x="32" y="236"/>
                    </a:lnTo>
                    <a:lnTo>
                      <a:pt x="32" y="236"/>
                    </a:lnTo>
                    <a:lnTo>
                      <a:pt x="30" y="238"/>
                    </a:lnTo>
                    <a:lnTo>
                      <a:pt x="30" y="238"/>
                    </a:lnTo>
                    <a:lnTo>
                      <a:pt x="28" y="238"/>
                    </a:lnTo>
                    <a:lnTo>
                      <a:pt x="28" y="238"/>
                    </a:lnTo>
                    <a:lnTo>
                      <a:pt x="26" y="238"/>
                    </a:lnTo>
                    <a:lnTo>
                      <a:pt x="24" y="240"/>
                    </a:lnTo>
                    <a:lnTo>
                      <a:pt x="22" y="240"/>
                    </a:lnTo>
                    <a:lnTo>
                      <a:pt x="22" y="240"/>
                    </a:lnTo>
                    <a:lnTo>
                      <a:pt x="20" y="242"/>
                    </a:lnTo>
                    <a:lnTo>
                      <a:pt x="20" y="242"/>
                    </a:lnTo>
                    <a:lnTo>
                      <a:pt x="16" y="244"/>
                    </a:lnTo>
                    <a:lnTo>
                      <a:pt x="16" y="244"/>
                    </a:lnTo>
                    <a:lnTo>
                      <a:pt x="16" y="244"/>
                    </a:lnTo>
                    <a:lnTo>
                      <a:pt x="14" y="246"/>
                    </a:lnTo>
                    <a:lnTo>
                      <a:pt x="12" y="248"/>
                    </a:lnTo>
                    <a:lnTo>
                      <a:pt x="10" y="248"/>
                    </a:lnTo>
                    <a:lnTo>
                      <a:pt x="10" y="250"/>
                    </a:lnTo>
                    <a:lnTo>
                      <a:pt x="10" y="250"/>
                    </a:lnTo>
                    <a:lnTo>
                      <a:pt x="12" y="252"/>
                    </a:lnTo>
                    <a:lnTo>
                      <a:pt x="12" y="252"/>
                    </a:lnTo>
                    <a:lnTo>
                      <a:pt x="20" y="254"/>
                    </a:lnTo>
                    <a:lnTo>
                      <a:pt x="22" y="256"/>
                    </a:lnTo>
                    <a:lnTo>
                      <a:pt x="26" y="260"/>
                    </a:lnTo>
                    <a:lnTo>
                      <a:pt x="26" y="260"/>
                    </a:lnTo>
                    <a:lnTo>
                      <a:pt x="28" y="264"/>
                    </a:lnTo>
                    <a:lnTo>
                      <a:pt x="32" y="268"/>
                    </a:lnTo>
                    <a:lnTo>
                      <a:pt x="34" y="272"/>
                    </a:lnTo>
                    <a:lnTo>
                      <a:pt x="36" y="274"/>
                    </a:lnTo>
                    <a:lnTo>
                      <a:pt x="38" y="276"/>
                    </a:lnTo>
                    <a:lnTo>
                      <a:pt x="38" y="276"/>
                    </a:lnTo>
                    <a:lnTo>
                      <a:pt x="40" y="276"/>
                    </a:lnTo>
                    <a:lnTo>
                      <a:pt x="42" y="276"/>
                    </a:lnTo>
                    <a:lnTo>
                      <a:pt x="44" y="276"/>
                    </a:lnTo>
                    <a:lnTo>
                      <a:pt x="46" y="276"/>
                    </a:lnTo>
                    <a:lnTo>
                      <a:pt x="48" y="276"/>
                    </a:lnTo>
                    <a:lnTo>
                      <a:pt x="52" y="276"/>
                    </a:lnTo>
                    <a:lnTo>
                      <a:pt x="52" y="276"/>
                    </a:lnTo>
                    <a:lnTo>
                      <a:pt x="54" y="274"/>
                    </a:lnTo>
                    <a:lnTo>
                      <a:pt x="58" y="274"/>
                    </a:lnTo>
                    <a:lnTo>
                      <a:pt x="58" y="272"/>
                    </a:lnTo>
                    <a:lnTo>
                      <a:pt x="60" y="270"/>
                    </a:lnTo>
                    <a:lnTo>
                      <a:pt x="60" y="270"/>
                    </a:lnTo>
                    <a:lnTo>
                      <a:pt x="62" y="268"/>
                    </a:lnTo>
                    <a:lnTo>
                      <a:pt x="64" y="264"/>
                    </a:lnTo>
                    <a:lnTo>
                      <a:pt x="64" y="262"/>
                    </a:lnTo>
                    <a:lnTo>
                      <a:pt x="64" y="258"/>
                    </a:lnTo>
                    <a:lnTo>
                      <a:pt x="64" y="258"/>
                    </a:lnTo>
                    <a:lnTo>
                      <a:pt x="64" y="256"/>
                    </a:lnTo>
                    <a:lnTo>
                      <a:pt x="64" y="254"/>
                    </a:lnTo>
                    <a:lnTo>
                      <a:pt x="64" y="252"/>
                    </a:lnTo>
                    <a:lnTo>
                      <a:pt x="66" y="250"/>
                    </a:lnTo>
                    <a:lnTo>
                      <a:pt x="66" y="250"/>
                    </a:lnTo>
                    <a:lnTo>
                      <a:pt x="66" y="250"/>
                    </a:lnTo>
                    <a:lnTo>
                      <a:pt x="68" y="248"/>
                    </a:lnTo>
                    <a:lnTo>
                      <a:pt x="70" y="246"/>
                    </a:lnTo>
                    <a:lnTo>
                      <a:pt x="70" y="246"/>
                    </a:lnTo>
                    <a:lnTo>
                      <a:pt x="72" y="244"/>
                    </a:lnTo>
                    <a:lnTo>
                      <a:pt x="72" y="242"/>
                    </a:lnTo>
                    <a:lnTo>
                      <a:pt x="74" y="242"/>
                    </a:lnTo>
                    <a:lnTo>
                      <a:pt x="74" y="242"/>
                    </a:lnTo>
                    <a:lnTo>
                      <a:pt x="74" y="242"/>
                    </a:lnTo>
                    <a:lnTo>
                      <a:pt x="76" y="242"/>
                    </a:lnTo>
                    <a:lnTo>
                      <a:pt x="76" y="244"/>
                    </a:lnTo>
                    <a:lnTo>
                      <a:pt x="74" y="246"/>
                    </a:lnTo>
                    <a:lnTo>
                      <a:pt x="74" y="248"/>
                    </a:lnTo>
                    <a:lnTo>
                      <a:pt x="72" y="250"/>
                    </a:lnTo>
                    <a:lnTo>
                      <a:pt x="72" y="250"/>
                    </a:lnTo>
                    <a:lnTo>
                      <a:pt x="70" y="252"/>
                    </a:lnTo>
                    <a:lnTo>
                      <a:pt x="70" y="254"/>
                    </a:lnTo>
                    <a:lnTo>
                      <a:pt x="68" y="258"/>
                    </a:lnTo>
                    <a:lnTo>
                      <a:pt x="68" y="258"/>
                    </a:lnTo>
                    <a:lnTo>
                      <a:pt x="68" y="260"/>
                    </a:lnTo>
                    <a:lnTo>
                      <a:pt x="68" y="260"/>
                    </a:lnTo>
                    <a:lnTo>
                      <a:pt x="70" y="262"/>
                    </a:lnTo>
                    <a:lnTo>
                      <a:pt x="70" y="262"/>
                    </a:lnTo>
                    <a:lnTo>
                      <a:pt x="72" y="264"/>
                    </a:lnTo>
                    <a:lnTo>
                      <a:pt x="74" y="266"/>
                    </a:lnTo>
                    <a:lnTo>
                      <a:pt x="76" y="268"/>
                    </a:lnTo>
                    <a:lnTo>
                      <a:pt x="76" y="268"/>
                    </a:lnTo>
                    <a:lnTo>
                      <a:pt x="78" y="270"/>
                    </a:lnTo>
                    <a:lnTo>
                      <a:pt x="78" y="272"/>
                    </a:lnTo>
                    <a:lnTo>
                      <a:pt x="78" y="276"/>
                    </a:lnTo>
                    <a:lnTo>
                      <a:pt x="78" y="278"/>
                    </a:lnTo>
                    <a:lnTo>
                      <a:pt x="78" y="278"/>
                    </a:lnTo>
                    <a:lnTo>
                      <a:pt x="78" y="282"/>
                    </a:lnTo>
                    <a:lnTo>
                      <a:pt x="78" y="284"/>
                    </a:lnTo>
                    <a:lnTo>
                      <a:pt x="76" y="286"/>
                    </a:lnTo>
                    <a:lnTo>
                      <a:pt x="76" y="286"/>
                    </a:lnTo>
                    <a:lnTo>
                      <a:pt x="76" y="292"/>
                    </a:lnTo>
                    <a:lnTo>
                      <a:pt x="74" y="294"/>
                    </a:lnTo>
                    <a:lnTo>
                      <a:pt x="74" y="296"/>
                    </a:lnTo>
                    <a:lnTo>
                      <a:pt x="74" y="296"/>
                    </a:lnTo>
                    <a:lnTo>
                      <a:pt x="74" y="300"/>
                    </a:lnTo>
                    <a:lnTo>
                      <a:pt x="76" y="302"/>
                    </a:lnTo>
                    <a:lnTo>
                      <a:pt x="78" y="308"/>
                    </a:lnTo>
                    <a:lnTo>
                      <a:pt x="78" y="308"/>
                    </a:lnTo>
                    <a:lnTo>
                      <a:pt x="82" y="316"/>
                    </a:lnTo>
                    <a:lnTo>
                      <a:pt x="84" y="324"/>
                    </a:lnTo>
                    <a:lnTo>
                      <a:pt x="88" y="330"/>
                    </a:lnTo>
                    <a:lnTo>
                      <a:pt x="90" y="334"/>
                    </a:lnTo>
                    <a:lnTo>
                      <a:pt x="92" y="338"/>
                    </a:lnTo>
                    <a:lnTo>
                      <a:pt x="92" y="338"/>
                    </a:lnTo>
                    <a:lnTo>
                      <a:pt x="92" y="342"/>
                    </a:lnTo>
                    <a:lnTo>
                      <a:pt x="94" y="346"/>
                    </a:lnTo>
                    <a:lnTo>
                      <a:pt x="94" y="346"/>
                    </a:lnTo>
                    <a:lnTo>
                      <a:pt x="96" y="350"/>
                    </a:lnTo>
                    <a:lnTo>
                      <a:pt x="98" y="356"/>
                    </a:lnTo>
                    <a:lnTo>
                      <a:pt x="102" y="364"/>
                    </a:lnTo>
                    <a:lnTo>
                      <a:pt x="102" y="364"/>
                    </a:lnTo>
                    <a:lnTo>
                      <a:pt x="104" y="368"/>
                    </a:lnTo>
                    <a:lnTo>
                      <a:pt x="104" y="368"/>
                    </a:lnTo>
                    <a:lnTo>
                      <a:pt x="108" y="372"/>
                    </a:lnTo>
                    <a:lnTo>
                      <a:pt x="108" y="372"/>
                    </a:lnTo>
                    <a:lnTo>
                      <a:pt x="110" y="374"/>
                    </a:lnTo>
                    <a:lnTo>
                      <a:pt x="112" y="376"/>
                    </a:lnTo>
                    <a:lnTo>
                      <a:pt x="112" y="382"/>
                    </a:lnTo>
                    <a:lnTo>
                      <a:pt x="112" y="382"/>
                    </a:lnTo>
                    <a:lnTo>
                      <a:pt x="114" y="386"/>
                    </a:lnTo>
                    <a:lnTo>
                      <a:pt x="116" y="388"/>
                    </a:lnTo>
                    <a:lnTo>
                      <a:pt x="118" y="390"/>
                    </a:lnTo>
                    <a:lnTo>
                      <a:pt x="120" y="392"/>
                    </a:lnTo>
                    <a:lnTo>
                      <a:pt x="120" y="392"/>
                    </a:lnTo>
                    <a:lnTo>
                      <a:pt x="122" y="394"/>
                    </a:lnTo>
                    <a:lnTo>
                      <a:pt x="124" y="396"/>
                    </a:lnTo>
                    <a:lnTo>
                      <a:pt x="124" y="402"/>
                    </a:lnTo>
                    <a:lnTo>
                      <a:pt x="124" y="402"/>
                    </a:lnTo>
                    <a:lnTo>
                      <a:pt x="128" y="414"/>
                    </a:lnTo>
                    <a:lnTo>
                      <a:pt x="130" y="418"/>
                    </a:lnTo>
                    <a:lnTo>
                      <a:pt x="130" y="424"/>
                    </a:lnTo>
                    <a:lnTo>
                      <a:pt x="130" y="424"/>
                    </a:lnTo>
                    <a:lnTo>
                      <a:pt x="132" y="430"/>
                    </a:lnTo>
                    <a:lnTo>
                      <a:pt x="136" y="434"/>
                    </a:lnTo>
                    <a:lnTo>
                      <a:pt x="136" y="434"/>
                    </a:lnTo>
                    <a:lnTo>
                      <a:pt x="138" y="436"/>
                    </a:lnTo>
                    <a:lnTo>
                      <a:pt x="140" y="438"/>
                    </a:lnTo>
                    <a:lnTo>
                      <a:pt x="144" y="442"/>
                    </a:lnTo>
                    <a:lnTo>
                      <a:pt x="144" y="442"/>
                    </a:lnTo>
                    <a:lnTo>
                      <a:pt x="146" y="446"/>
                    </a:lnTo>
                    <a:lnTo>
                      <a:pt x="146" y="450"/>
                    </a:lnTo>
                    <a:lnTo>
                      <a:pt x="146" y="450"/>
                    </a:lnTo>
                    <a:lnTo>
                      <a:pt x="148" y="452"/>
                    </a:lnTo>
                    <a:lnTo>
                      <a:pt x="150" y="456"/>
                    </a:lnTo>
                    <a:lnTo>
                      <a:pt x="152" y="460"/>
                    </a:lnTo>
                    <a:lnTo>
                      <a:pt x="154" y="464"/>
                    </a:lnTo>
                    <a:lnTo>
                      <a:pt x="154" y="464"/>
                    </a:lnTo>
                    <a:lnTo>
                      <a:pt x="154" y="464"/>
                    </a:lnTo>
                    <a:lnTo>
                      <a:pt x="154" y="466"/>
                    </a:lnTo>
                    <a:lnTo>
                      <a:pt x="154" y="466"/>
                    </a:lnTo>
                    <a:lnTo>
                      <a:pt x="152" y="466"/>
                    </a:lnTo>
                    <a:lnTo>
                      <a:pt x="152" y="466"/>
                    </a:lnTo>
                    <a:lnTo>
                      <a:pt x="152" y="468"/>
                    </a:lnTo>
                    <a:lnTo>
                      <a:pt x="152" y="468"/>
                    </a:lnTo>
                    <a:lnTo>
                      <a:pt x="152" y="470"/>
                    </a:lnTo>
                    <a:lnTo>
                      <a:pt x="152" y="472"/>
                    </a:lnTo>
                    <a:lnTo>
                      <a:pt x="152" y="472"/>
                    </a:lnTo>
                    <a:lnTo>
                      <a:pt x="154" y="478"/>
                    </a:lnTo>
                    <a:lnTo>
                      <a:pt x="158" y="484"/>
                    </a:lnTo>
                    <a:lnTo>
                      <a:pt x="162" y="490"/>
                    </a:lnTo>
                    <a:lnTo>
                      <a:pt x="166" y="496"/>
                    </a:lnTo>
                    <a:lnTo>
                      <a:pt x="166" y="496"/>
                    </a:lnTo>
                    <a:lnTo>
                      <a:pt x="168" y="496"/>
                    </a:lnTo>
                    <a:lnTo>
                      <a:pt x="168" y="496"/>
                    </a:lnTo>
                    <a:lnTo>
                      <a:pt x="170" y="496"/>
                    </a:lnTo>
                    <a:lnTo>
                      <a:pt x="170" y="496"/>
                    </a:lnTo>
                    <a:lnTo>
                      <a:pt x="172" y="496"/>
                    </a:lnTo>
                    <a:lnTo>
                      <a:pt x="176" y="494"/>
                    </a:lnTo>
                    <a:lnTo>
                      <a:pt x="176" y="494"/>
                    </a:lnTo>
                    <a:lnTo>
                      <a:pt x="180" y="492"/>
                    </a:lnTo>
                    <a:lnTo>
                      <a:pt x="182" y="490"/>
                    </a:lnTo>
                    <a:lnTo>
                      <a:pt x="182" y="490"/>
                    </a:lnTo>
                    <a:lnTo>
                      <a:pt x="182" y="490"/>
                    </a:lnTo>
                    <a:lnTo>
                      <a:pt x="182" y="490"/>
                    </a:lnTo>
                    <a:lnTo>
                      <a:pt x="182" y="486"/>
                    </a:lnTo>
                    <a:lnTo>
                      <a:pt x="182" y="484"/>
                    </a:lnTo>
                    <a:lnTo>
                      <a:pt x="182" y="482"/>
                    </a:lnTo>
                    <a:lnTo>
                      <a:pt x="184" y="480"/>
                    </a:lnTo>
                    <a:lnTo>
                      <a:pt x="184" y="480"/>
                    </a:lnTo>
                    <a:lnTo>
                      <a:pt x="184" y="478"/>
                    </a:lnTo>
                    <a:lnTo>
                      <a:pt x="184" y="478"/>
                    </a:lnTo>
                    <a:lnTo>
                      <a:pt x="186" y="476"/>
                    </a:lnTo>
                    <a:lnTo>
                      <a:pt x="188" y="476"/>
                    </a:lnTo>
                    <a:lnTo>
                      <a:pt x="192" y="476"/>
                    </a:lnTo>
                    <a:lnTo>
                      <a:pt x="194" y="474"/>
                    </a:lnTo>
                    <a:lnTo>
                      <a:pt x="196" y="474"/>
                    </a:lnTo>
                    <a:lnTo>
                      <a:pt x="198" y="474"/>
                    </a:lnTo>
                    <a:lnTo>
                      <a:pt x="198" y="474"/>
                    </a:lnTo>
                    <a:lnTo>
                      <a:pt x="200" y="472"/>
                    </a:lnTo>
                    <a:lnTo>
                      <a:pt x="200" y="472"/>
                    </a:lnTo>
                    <a:lnTo>
                      <a:pt x="200" y="470"/>
                    </a:lnTo>
                    <a:lnTo>
                      <a:pt x="200" y="470"/>
                    </a:lnTo>
                    <a:lnTo>
                      <a:pt x="200" y="470"/>
                    </a:lnTo>
                    <a:lnTo>
                      <a:pt x="200" y="470"/>
                    </a:lnTo>
                    <a:lnTo>
                      <a:pt x="198" y="470"/>
                    </a:lnTo>
                    <a:lnTo>
                      <a:pt x="198" y="468"/>
                    </a:lnTo>
                    <a:lnTo>
                      <a:pt x="198" y="468"/>
                    </a:lnTo>
                    <a:lnTo>
                      <a:pt x="198" y="468"/>
                    </a:lnTo>
                    <a:lnTo>
                      <a:pt x="198" y="466"/>
                    </a:lnTo>
                    <a:lnTo>
                      <a:pt x="198" y="466"/>
                    </a:lnTo>
                    <a:lnTo>
                      <a:pt x="198" y="464"/>
                    </a:lnTo>
                    <a:lnTo>
                      <a:pt x="200" y="460"/>
                    </a:lnTo>
                    <a:lnTo>
                      <a:pt x="202" y="458"/>
                    </a:lnTo>
                    <a:lnTo>
                      <a:pt x="202" y="458"/>
                    </a:lnTo>
                    <a:lnTo>
                      <a:pt x="204" y="458"/>
                    </a:lnTo>
                    <a:lnTo>
                      <a:pt x="206" y="456"/>
                    </a:lnTo>
                    <a:lnTo>
                      <a:pt x="210" y="456"/>
                    </a:lnTo>
                    <a:lnTo>
                      <a:pt x="210" y="454"/>
                    </a:lnTo>
                    <a:lnTo>
                      <a:pt x="212" y="452"/>
                    </a:lnTo>
                    <a:lnTo>
                      <a:pt x="212" y="452"/>
                    </a:lnTo>
                    <a:lnTo>
                      <a:pt x="212" y="452"/>
                    </a:lnTo>
                    <a:lnTo>
                      <a:pt x="212" y="450"/>
                    </a:lnTo>
                    <a:lnTo>
                      <a:pt x="210" y="448"/>
                    </a:lnTo>
                    <a:lnTo>
                      <a:pt x="206" y="442"/>
                    </a:lnTo>
                    <a:lnTo>
                      <a:pt x="206" y="442"/>
                    </a:lnTo>
                    <a:lnTo>
                      <a:pt x="206" y="442"/>
                    </a:lnTo>
                    <a:lnTo>
                      <a:pt x="206" y="438"/>
                    </a:lnTo>
                    <a:lnTo>
                      <a:pt x="204" y="436"/>
                    </a:lnTo>
                    <a:lnTo>
                      <a:pt x="204" y="434"/>
                    </a:lnTo>
                    <a:lnTo>
                      <a:pt x="204" y="430"/>
                    </a:lnTo>
                    <a:lnTo>
                      <a:pt x="204" y="428"/>
                    </a:lnTo>
                    <a:lnTo>
                      <a:pt x="206" y="426"/>
                    </a:lnTo>
                    <a:lnTo>
                      <a:pt x="206" y="422"/>
                    </a:lnTo>
                    <a:lnTo>
                      <a:pt x="206" y="422"/>
                    </a:lnTo>
                    <a:lnTo>
                      <a:pt x="210" y="418"/>
                    </a:lnTo>
                    <a:lnTo>
                      <a:pt x="210" y="416"/>
                    </a:lnTo>
                    <a:lnTo>
                      <a:pt x="212" y="414"/>
                    </a:lnTo>
                    <a:lnTo>
                      <a:pt x="212" y="414"/>
                    </a:lnTo>
                    <a:lnTo>
                      <a:pt x="212" y="408"/>
                    </a:lnTo>
                    <a:lnTo>
                      <a:pt x="212" y="406"/>
                    </a:lnTo>
                    <a:lnTo>
                      <a:pt x="212" y="404"/>
                    </a:lnTo>
                    <a:lnTo>
                      <a:pt x="212" y="404"/>
                    </a:lnTo>
                    <a:lnTo>
                      <a:pt x="212" y="402"/>
                    </a:lnTo>
                    <a:lnTo>
                      <a:pt x="210" y="400"/>
                    </a:lnTo>
                    <a:lnTo>
                      <a:pt x="208" y="396"/>
                    </a:lnTo>
                    <a:lnTo>
                      <a:pt x="208" y="396"/>
                    </a:lnTo>
                    <a:lnTo>
                      <a:pt x="208" y="394"/>
                    </a:lnTo>
                    <a:lnTo>
                      <a:pt x="206" y="394"/>
                    </a:lnTo>
                    <a:lnTo>
                      <a:pt x="206" y="392"/>
                    </a:lnTo>
                    <a:lnTo>
                      <a:pt x="206" y="392"/>
                    </a:lnTo>
                    <a:lnTo>
                      <a:pt x="206" y="390"/>
                    </a:lnTo>
                    <a:lnTo>
                      <a:pt x="208" y="390"/>
                    </a:lnTo>
                    <a:lnTo>
                      <a:pt x="208" y="388"/>
                    </a:lnTo>
                    <a:lnTo>
                      <a:pt x="208" y="388"/>
                    </a:lnTo>
                    <a:lnTo>
                      <a:pt x="208" y="388"/>
                    </a:lnTo>
                    <a:lnTo>
                      <a:pt x="208" y="386"/>
                    </a:lnTo>
                    <a:lnTo>
                      <a:pt x="208" y="384"/>
                    </a:lnTo>
                    <a:lnTo>
                      <a:pt x="208" y="382"/>
                    </a:lnTo>
                    <a:lnTo>
                      <a:pt x="208" y="382"/>
                    </a:lnTo>
                    <a:lnTo>
                      <a:pt x="208" y="378"/>
                    </a:lnTo>
                    <a:lnTo>
                      <a:pt x="208" y="376"/>
                    </a:lnTo>
                    <a:lnTo>
                      <a:pt x="208" y="372"/>
                    </a:lnTo>
                    <a:lnTo>
                      <a:pt x="210" y="366"/>
                    </a:lnTo>
                    <a:lnTo>
                      <a:pt x="210" y="360"/>
                    </a:lnTo>
                    <a:lnTo>
                      <a:pt x="210" y="360"/>
                    </a:lnTo>
                    <a:lnTo>
                      <a:pt x="212" y="356"/>
                    </a:lnTo>
                    <a:lnTo>
                      <a:pt x="212" y="354"/>
                    </a:lnTo>
                    <a:lnTo>
                      <a:pt x="212" y="354"/>
                    </a:lnTo>
                    <a:lnTo>
                      <a:pt x="214" y="352"/>
                    </a:lnTo>
                    <a:lnTo>
                      <a:pt x="214" y="352"/>
                    </a:lnTo>
                    <a:lnTo>
                      <a:pt x="216" y="350"/>
                    </a:lnTo>
                    <a:lnTo>
                      <a:pt x="216" y="350"/>
                    </a:lnTo>
                    <a:lnTo>
                      <a:pt x="218" y="350"/>
                    </a:lnTo>
                    <a:lnTo>
                      <a:pt x="220" y="350"/>
                    </a:lnTo>
                    <a:lnTo>
                      <a:pt x="222" y="348"/>
                    </a:lnTo>
                    <a:lnTo>
                      <a:pt x="222" y="348"/>
                    </a:lnTo>
                    <a:lnTo>
                      <a:pt x="222" y="348"/>
                    </a:lnTo>
                    <a:lnTo>
                      <a:pt x="224" y="346"/>
                    </a:lnTo>
                    <a:lnTo>
                      <a:pt x="226" y="346"/>
                    </a:lnTo>
                    <a:lnTo>
                      <a:pt x="226" y="346"/>
                    </a:lnTo>
                    <a:lnTo>
                      <a:pt x="228" y="344"/>
                    </a:lnTo>
                    <a:lnTo>
                      <a:pt x="232" y="344"/>
                    </a:lnTo>
                    <a:lnTo>
                      <a:pt x="234" y="342"/>
                    </a:lnTo>
                    <a:lnTo>
                      <a:pt x="236" y="340"/>
                    </a:lnTo>
                    <a:lnTo>
                      <a:pt x="236" y="340"/>
                    </a:lnTo>
                    <a:lnTo>
                      <a:pt x="238" y="340"/>
                    </a:lnTo>
                    <a:lnTo>
                      <a:pt x="238" y="338"/>
                    </a:lnTo>
                    <a:lnTo>
                      <a:pt x="238" y="336"/>
                    </a:lnTo>
                    <a:lnTo>
                      <a:pt x="240" y="330"/>
                    </a:lnTo>
                    <a:lnTo>
                      <a:pt x="240" y="330"/>
                    </a:lnTo>
                    <a:lnTo>
                      <a:pt x="240" y="328"/>
                    </a:lnTo>
                    <a:lnTo>
                      <a:pt x="240" y="326"/>
                    </a:lnTo>
                    <a:lnTo>
                      <a:pt x="242" y="324"/>
                    </a:lnTo>
                    <a:lnTo>
                      <a:pt x="244" y="324"/>
                    </a:lnTo>
                    <a:lnTo>
                      <a:pt x="248" y="320"/>
                    </a:lnTo>
                    <a:lnTo>
                      <a:pt x="248" y="318"/>
                    </a:lnTo>
                    <a:lnTo>
                      <a:pt x="250" y="316"/>
                    </a:lnTo>
                    <a:lnTo>
                      <a:pt x="250" y="316"/>
                    </a:lnTo>
                    <a:lnTo>
                      <a:pt x="252" y="314"/>
                    </a:lnTo>
                    <a:lnTo>
                      <a:pt x="254" y="310"/>
                    </a:lnTo>
                    <a:lnTo>
                      <a:pt x="256" y="304"/>
                    </a:lnTo>
                    <a:lnTo>
                      <a:pt x="260" y="302"/>
                    </a:lnTo>
                    <a:lnTo>
                      <a:pt x="262" y="300"/>
                    </a:lnTo>
                    <a:lnTo>
                      <a:pt x="264" y="298"/>
                    </a:lnTo>
                    <a:lnTo>
                      <a:pt x="266" y="296"/>
                    </a:lnTo>
                    <a:lnTo>
                      <a:pt x="266" y="296"/>
                    </a:lnTo>
                    <a:lnTo>
                      <a:pt x="270" y="294"/>
                    </a:lnTo>
                    <a:lnTo>
                      <a:pt x="274" y="292"/>
                    </a:lnTo>
                    <a:lnTo>
                      <a:pt x="274" y="290"/>
                    </a:lnTo>
                    <a:lnTo>
                      <a:pt x="274" y="290"/>
                    </a:lnTo>
                    <a:lnTo>
                      <a:pt x="276" y="290"/>
                    </a:lnTo>
                    <a:lnTo>
                      <a:pt x="276" y="288"/>
                    </a:lnTo>
                    <a:lnTo>
                      <a:pt x="276" y="288"/>
                    </a:lnTo>
                    <a:lnTo>
                      <a:pt x="276" y="286"/>
                    </a:lnTo>
                    <a:lnTo>
                      <a:pt x="276" y="286"/>
                    </a:lnTo>
                    <a:lnTo>
                      <a:pt x="274" y="286"/>
                    </a:lnTo>
                    <a:lnTo>
                      <a:pt x="274" y="284"/>
                    </a:lnTo>
                    <a:lnTo>
                      <a:pt x="274" y="284"/>
                    </a:lnTo>
                    <a:lnTo>
                      <a:pt x="274" y="284"/>
                    </a:lnTo>
                    <a:lnTo>
                      <a:pt x="276" y="284"/>
                    </a:lnTo>
                    <a:lnTo>
                      <a:pt x="276" y="284"/>
                    </a:lnTo>
                    <a:lnTo>
                      <a:pt x="278" y="284"/>
                    </a:lnTo>
                    <a:lnTo>
                      <a:pt x="278" y="284"/>
                    </a:lnTo>
                    <a:lnTo>
                      <a:pt x="280" y="286"/>
                    </a:lnTo>
                    <a:lnTo>
                      <a:pt x="280" y="286"/>
                    </a:lnTo>
                    <a:lnTo>
                      <a:pt x="280" y="286"/>
                    </a:lnTo>
                    <a:lnTo>
                      <a:pt x="282" y="286"/>
                    </a:lnTo>
                    <a:lnTo>
                      <a:pt x="282" y="286"/>
                    </a:lnTo>
                    <a:lnTo>
                      <a:pt x="282" y="286"/>
                    </a:lnTo>
                    <a:lnTo>
                      <a:pt x="284" y="284"/>
                    </a:lnTo>
                    <a:lnTo>
                      <a:pt x="284" y="284"/>
                    </a:lnTo>
                    <a:lnTo>
                      <a:pt x="288" y="280"/>
                    </a:lnTo>
                    <a:lnTo>
                      <a:pt x="290" y="276"/>
                    </a:lnTo>
                    <a:lnTo>
                      <a:pt x="294" y="272"/>
                    </a:lnTo>
                    <a:lnTo>
                      <a:pt x="296" y="270"/>
                    </a:lnTo>
                    <a:lnTo>
                      <a:pt x="298" y="268"/>
                    </a:lnTo>
                    <a:lnTo>
                      <a:pt x="298" y="268"/>
                    </a:lnTo>
                    <a:lnTo>
                      <a:pt x="298" y="266"/>
                    </a:lnTo>
                    <a:lnTo>
                      <a:pt x="300" y="264"/>
                    </a:lnTo>
                    <a:lnTo>
                      <a:pt x="300" y="262"/>
                    </a:lnTo>
                    <a:lnTo>
                      <a:pt x="300" y="262"/>
                    </a:lnTo>
                    <a:lnTo>
                      <a:pt x="300" y="260"/>
                    </a:lnTo>
                    <a:lnTo>
                      <a:pt x="300" y="260"/>
                    </a:lnTo>
                    <a:lnTo>
                      <a:pt x="300" y="260"/>
                    </a:lnTo>
                    <a:lnTo>
                      <a:pt x="300" y="258"/>
                    </a:lnTo>
                    <a:lnTo>
                      <a:pt x="298" y="258"/>
                    </a:lnTo>
                    <a:lnTo>
                      <a:pt x="298" y="258"/>
                    </a:lnTo>
                    <a:lnTo>
                      <a:pt x="298" y="258"/>
                    </a:lnTo>
                    <a:lnTo>
                      <a:pt x="298" y="256"/>
                    </a:lnTo>
                    <a:lnTo>
                      <a:pt x="298" y="254"/>
                    </a:lnTo>
                    <a:lnTo>
                      <a:pt x="298" y="252"/>
                    </a:lnTo>
                    <a:lnTo>
                      <a:pt x="298" y="252"/>
                    </a:lnTo>
                    <a:lnTo>
                      <a:pt x="298" y="250"/>
                    </a:lnTo>
                    <a:lnTo>
                      <a:pt x="300" y="248"/>
                    </a:lnTo>
                    <a:lnTo>
                      <a:pt x="300" y="248"/>
                    </a:lnTo>
                    <a:lnTo>
                      <a:pt x="302" y="248"/>
                    </a:lnTo>
                    <a:lnTo>
                      <a:pt x="302" y="248"/>
                    </a:lnTo>
                    <a:lnTo>
                      <a:pt x="304" y="246"/>
                    </a:lnTo>
                    <a:lnTo>
                      <a:pt x="304" y="246"/>
                    </a:lnTo>
                    <a:lnTo>
                      <a:pt x="306" y="246"/>
                    </a:lnTo>
                    <a:lnTo>
                      <a:pt x="306" y="246"/>
                    </a:lnTo>
                    <a:lnTo>
                      <a:pt x="308" y="244"/>
                    </a:lnTo>
                    <a:lnTo>
                      <a:pt x="308" y="242"/>
                    </a:lnTo>
                    <a:lnTo>
                      <a:pt x="308" y="240"/>
                    </a:lnTo>
                    <a:lnTo>
                      <a:pt x="308" y="240"/>
                    </a:lnTo>
                    <a:lnTo>
                      <a:pt x="312" y="238"/>
                    </a:lnTo>
                    <a:lnTo>
                      <a:pt x="312" y="236"/>
                    </a:lnTo>
                    <a:lnTo>
                      <a:pt x="314" y="234"/>
                    </a:lnTo>
                    <a:lnTo>
                      <a:pt x="314" y="234"/>
                    </a:lnTo>
                    <a:lnTo>
                      <a:pt x="314" y="234"/>
                    </a:lnTo>
                    <a:lnTo>
                      <a:pt x="316" y="238"/>
                    </a:lnTo>
                    <a:lnTo>
                      <a:pt x="316" y="238"/>
                    </a:lnTo>
                    <a:lnTo>
                      <a:pt x="318" y="238"/>
                    </a:lnTo>
                    <a:lnTo>
                      <a:pt x="318" y="238"/>
                    </a:lnTo>
                    <a:lnTo>
                      <a:pt x="318" y="236"/>
                    </a:lnTo>
                    <a:lnTo>
                      <a:pt x="318" y="236"/>
                    </a:lnTo>
                    <a:lnTo>
                      <a:pt x="318" y="234"/>
                    </a:lnTo>
                    <a:lnTo>
                      <a:pt x="318" y="234"/>
                    </a:lnTo>
                    <a:lnTo>
                      <a:pt x="320" y="234"/>
                    </a:lnTo>
                    <a:lnTo>
                      <a:pt x="320" y="234"/>
                    </a:lnTo>
                    <a:lnTo>
                      <a:pt x="320" y="230"/>
                    </a:lnTo>
                    <a:lnTo>
                      <a:pt x="322" y="228"/>
                    </a:lnTo>
                    <a:lnTo>
                      <a:pt x="320" y="226"/>
                    </a:lnTo>
                    <a:lnTo>
                      <a:pt x="320" y="226"/>
                    </a:lnTo>
                    <a:lnTo>
                      <a:pt x="320" y="220"/>
                    </a:lnTo>
                    <a:lnTo>
                      <a:pt x="318" y="216"/>
                    </a:lnTo>
                    <a:lnTo>
                      <a:pt x="318" y="212"/>
                    </a:lnTo>
                    <a:lnTo>
                      <a:pt x="318" y="212"/>
                    </a:lnTo>
                    <a:lnTo>
                      <a:pt x="314" y="206"/>
                    </a:lnTo>
                    <a:lnTo>
                      <a:pt x="310" y="202"/>
                    </a:lnTo>
                    <a:lnTo>
                      <a:pt x="310" y="202"/>
                    </a:lnTo>
                    <a:lnTo>
                      <a:pt x="308" y="198"/>
                    </a:lnTo>
                    <a:lnTo>
                      <a:pt x="308" y="196"/>
                    </a:lnTo>
                    <a:lnTo>
                      <a:pt x="308" y="196"/>
                    </a:lnTo>
                    <a:lnTo>
                      <a:pt x="304" y="192"/>
                    </a:lnTo>
                    <a:lnTo>
                      <a:pt x="304" y="192"/>
                    </a:lnTo>
                    <a:lnTo>
                      <a:pt x="302" y="190"/>
                    </a:lnTo>
                    <a:lnTo>
                      <a:pt x="302" y="190"/>
                    </a:lnTo>
                    <a:lnTo>
                      <a:pt x="302" y="186"/>
                    </a:lnTo>
                    <a:lnTo>
                      <a:pt x="302" y="184"/>
                    </a:lnTo>
                    <a:lnTo>
                      <a:pt x="302" y="184"/>
                    </a:lnTo>
                    <a:lnTo>
                      <a:pt x="302" y="184"/>
                    </a:lnTo>
                    <a:lnTo>
                      <a:pt x="302" y="182"/>
                    </a:lnTo>
                    <a:lnTo>
                      <a:pt x="304" y="182"/>
                    </a:lnTo>
                    <a:lnTo>
                      <a:pt x="306" y="182"/>
                    </a:lnTo>
                    <a:lnTo>
                      <a:pt x="308" y="180"/>
                    </a:lnTo>
                    <a:lnTo>
                      <a:pt x="308" y="180"/>
                    </a:lnTo>
                    <a:lnTo>
                      <a:pt x="310" y="180"/>
                    </a:lnTo>
                    <a:lnTo>
                      <a:pt x="310" y="180"/>
                    </a:lnTo>
                    <a:lnTo>
                      <a:pt x="310" y="180"/>
                    </a:lnTo>
                    <a:lnTo>
                      <a:pt x="310" y="178"/>
                    </a:lnTo>
                    <a:lnTo>
                      <a:pt x="310" y="178"/>
                    </a:lnTo>
                    <a:lnTo>
                      <a:pt x="308" y="176"/>
                    </a:lnTo>
                    <a:lnTo>
                      <a:pt x="306" y="174"/>
                    </a:lnTo>
                    <a:lnTo>
                      <a:pt x="306" y="174"/>
                    </a:lnTo>
                    <a:lnTo>
                      <a:pt x="306" y="174"/>
                    </a:lnTo>
                    <a:lnTo>
                      <a:pt x="304" y="172"/>
                    </a:lnTo>
                    <a:lnTo>
                      <a:pt x="304" y="170"/>
                    </a:lnTo>
                    <a:lnTo>
                      <a:pt x="302" y="166"/>
                    </a:lnTo>
                    <a:lnTo>
                      <a:pt x="302" y="166"/>
                    </a:lnTo>
                    <a:lnTo>
                      <a:pt x="300" y="164"/>
                    </a:lnTo>
                    <a:lnTo>
                      <a:pt x="300" y="162"/>
                    </a:lnTo>
                    <a:lnTo>
                      <a:pt x="300" y="160"/>
                    </a:lnTo>
                    <a:lnTo>
                      <a:pt x="300" y="160"/>
                    </a:lnTo>
                    <a:lnTo>
                      <a:pt x="302" y="158"/>
                    </a:lnTo>
                    <a:lnTo>
                      <a:pt x="302" y="158"/>
                    </a:lnTo>
                    <a:lnTo>
                      <a:pt x="304" y="156"/>
                    </a:lnTo>
                    <a:lnTo>
                      <a:pt x="304" y="156"/>
                    </a:lnTo>
                    <a:lnTo>
                      <a:pt x="308" y="156"/>
                    </a:lnTo>
                    <a:lnTo>
                      <a:pt x="308" y="156"/>
                    </a:lnTo>
                    <a:lnTo>
                      <a:pt x="310" y="154"/>
                    </a:lnTo>
                    <a:lnTo>
                      <a:pt x="310" y="154"/>
                    </a:lnTo>
                    <a:lnTo>
                      <a:pt x="312" y="156"/>
                    </a:lnTo>
                    <a:lnTo>
                      <a:pt x="314" y="156"/>
                    </a:lnTo>
                    <a:lnTo>
                      <a:pt x="314" y="158"/>
                    </a:lnTo>
                    <a:lnTo>
                      <a:pt x="314" y="158"/>
                    </a:lnTo>
                    <a:lnTo>
                      <a:pt x="316" y="160"/>
                    </a:lnTo>
                    <a:lnTo>
                      <a:pt x="318" y="162"/>
                    </a:lnTo>
                    <a:lnTo>
                      <a:pt x="320" y="162"/>
                    </a:lnTo>
                    <a:lnTo>
                      <a:pt x="320" y="162"/>
                    </a:lnTo>
                    <a:lnTo>
                      <a:pt x="320" y="162"/>
                    </a:lnTo>
                    <a:lnTo>
                      <a:pt x="322" y="162"/>
                    </a:lnTo>
                    <a:lnTo>
                      <a:pt x="324" y="162"/>
                    </a:lnTo>
                    <a:lnTo>
                      <a:pt x="324" y="162"/>
                    </a:lnTo>
                    <a:lnTo>
                      <a:pt x="324" y="162"/>
                    </a:lnTo>
                    <a:lnTo>
                      <a:pt x="326" y="162"/>
                    </a:lnTo>
                    <a:lnTo>
                      <a:pt x="328" y="164"/>
                    </a:lnTo>
                    <a:lnTo>
                      <a:pt x="328" y="166"/>
                    </a:lnTo>
                    <a:lnTo>
                      <a:pt x="328" y="166"/>
                    </a:lnTo>
                    <a:lnTo>
                      <a:pt x="330" y="170"/>
                    </a:lnTo>
                    <a:lnTo>
                      <a:pt x="330" y="174"/>
                    </a:lnTo>
                    <a:lnTo>
                      <a:pt x="330" y="174"/>
                    </a:lnTo>
                    <a:lnTo>
                      <a:pt x="330" y="174"/>
                    </a:lnTo>
                    <a:lnTo>
                      <a:pt x="332" y="176"/>
                    </a:lnTo>
                    <a:lnTo>
                      <a:pt x="332" y="178"/>
                    </a:lnTo>
                    <a:lnTo>
                      <a:pt x="334" y="178"/>
                    </a:lnTo>
                    <a:lnTo>
                      <a:pt x="334" y="178"/>
                    </a:lnTo>
                    <a:lnTo>
                      <a:pt x="336" y="178"/>
                    </a:lnTo>
                    <a:lnTo>
                      <a:pt x="338" y="180"/>
                    </a:lnTo>
                    <a:lnTo>
                      <a:pt x="340" y="178"/>
                    </a:lnTo>
                    <a:lnTo>
                      <a:pt x="340" y="178"/>
                    </a:lnTo>
                    <a:lnTo>
                      <a:pt x="342" y="178"/>
                    </a:lnTo>
                    <a:lnTo>
                      <a:pt x="346" y="178"/>
                    </a:lnTo>
                    <a:lnTo>
                      <a:pt x="348" y="178"/>
                    </a:lnTo>
                    <a:lnTo>
                      <a:pt x="352" y="178"/>
                    </a:lnTo>
                    <a:lnTo>
                      <a:pt x="352" y="178"/>
                    </a:lnTo>
                    <a:lnTo>
                      <a:pt x="356" y="178"/>
                    </a:lnTo>
                    <a:lnTo>
                      <a:pt x="358" y="180"/>
                    </a:lnTo>
                    <a:lnTo>
                      <a:pt x="360" y="180"/>
                    </a:lnTo>
                    <a:lnTo>
                      <a:pt x="362" y="180"/>
                    </a:lnTo>
                    <a:lnTo>
                      <a:pt x="362" y="180"/>
                    </a:lnTo>
                    <a:lnTo>
                      <a:pt x="364" y="182"/>
                    </a:lnTo>
                    <a:lnTo>
                      <a:pt x="364" y="184"/>
                    </a:lnTo>
                    <a:lnTo>
                      <a:pt x="364" y="184"/>
                    </a:lnTo>
                    <a:lnTo>
                      <a:pt x="366" y="186"/>
                    </a:lnTo>
                    <a:lnTo>
                      <a:pt x="366" y="188"/>
                    </a:lnTo>
                    <a:lnTo>
                      <a:pt x="366" y="188"/>
                    </a:lnTo>
                    <a:lnTo>
                      <a:pt x="366" y="190"/>
                    </a:lnTo>
                    <a:lnTo>
                      <a:pt x="366" y="192"/>
                    </a:lnTo>
                    <a:lnTo>
                      <a:pt x="364" y="192"/>
                    </a:lnTo>
                    <a:lnTo>
                      <a:pt x="362" y="194"/>
                    </a:lnTo>
                    <a:lnTo>
                      <a:pt x="360" y="194"/>
                    </a:lnTo>
                    <a:lnTo>
                      <a:pt x="360" y="194"/>
                    </a:lnTo>
                    <a:lnTo>
                      <a:pt x="358" y="194"/>
                    </a:lnTo>
                    <a:lnTo>
                      <a:pt x="356" y="196"/>
                    </a:lnTo>
                    <a:lnTo>
                      <a:pt x="356" y="196"/>
                    </a:lnTo>
                    <a:lnTo>
                      <a:pt x="356" y="196"/>
                    </a:lnTo>
                    <a:lnTo>
                      <a:pt x="354" y="198"/>
                    </a:lnTo>
                    <a:lnTo>
                      <a:pt x="354" y="198"/>
                    </a:lnTo>
                    <a:lnTo>
                      <a:pt x="356" y="200"/>
                    </a:lnTo>
                    <a:lnTo>
                      <a:pt x="356" y="202"/>
                    </a:lnTo>
                    <a:lnTo>
                      <a:pt x="356" y="204"/>
                    </a:lnTo>
                    <a:lnTo>
                      <a:pt x="356" y="204"/>
                    </a:lnTo>
                    <a:lnTo>
                      <a:pt x="356" y="204"/>
                    </a:lnTo>
                    <a:lnTo>
                      <a:pt x="356" y="206"/>
                    </a:lnTo>
                    <a:lnTo>
                      <a:pt x="356" y="208"/>
                    </a:lnTo>
                    <a:lnTo>
                      <a:pt x="356" y="210"/>
                    </a:lnTo>
                    <a:lnTo>
                      <a:pt x="356" y="210"/>
                    </a:lnTo>
                    <a:lnTo>
                      <a:pt x="356" y="210"/>
                    </a:lnTo>
                    <a:lnTo>
                      <a:pt x="356" y="210"/>
                    </a:lnTo>
                    <a:lnTo>
                      <a:pt x="358" y="210"/>
                    </a:lnTo>
                    <a:lnTo>
                      <a:pt x="360" y="212"/>
                    </a:lnTo>
                    <a:lnTo>
                      <a:pt x="360" y="212"/>
                    </a:lnTo>
                    <a:lnTo>
                      <a:pt x="362" y="210"/>
                    </a:lnTo>
                    <a:lnTo>
                      <a:pt x="362" y="210"/>
                    </a:lnTo>
                    <a:lnTo>
                      <a:pt x="364" y="210"/>
                    </a:lnTo>
                    <a:lnTo>
                      <a:pt x="366" y="208"/>
                    </a:lnTo>
                    <a:lnTo>
                      <a:pt x="366" y="208"/>
                    </a:lnTo>
                    <a:lnTo>
                      <a:pt x="368" y="208"/>
                    </a:lnTo>
                    <a:lnTo>
                      <a:pt x="368" y="208"/>
                    </a:lnTo>
                    <a:lnTo>
                      <a:pt x="368" y="208"/>
                    </a:lnTo>
                    <a:lnTo>
                      <a:pt x="370" y="208"/>
                    </a:lnTo>
                    <a:lnTo>
                      <a:pt x="370" y="210"/>
                    </a:lnTo>
                    <a:lnTo>
                      <a:pt x="372" y="210"/>
                    </a:lnTo>
                    <a:lnTo>
                      <a:pt x="372" y="212"/>
                    </a:lnTo>
                    <a:lnTo>
                      <a:pt x="372" y="212"/>
                    </a:lnTo>
                    <a:lnTo>
                      <a:pt x="374" y="218"/>
                    </a:lnTo>
                    <a:lnTo>
                      <a:pt x="376" y="226"/>
                    </a:lnTo>
                    <a:lnTo>
                      <a:pt x="376" y="226"/>
                    </a:lnTo>
                    <a:lnTo>
                      <a:pt x="378" y="234"/>
                    </a:lnTo>
                    <a:lnTo>
                      <a:pt x="378" y="234"/>
                    </a:lnTo>
                    <a:lnTo>
                      <a:pt x="378" y="232"/>
                    </a:lnTo>
                    <a:lnTo>
                      <a:pt x="380" y="230"/>
                    </a:lnTo>
                    <a:lnTo>
                      <a:pt x="380" y="230"/>
                    </a:lnTo>
                    <a:lnTo>
                      <a:pt x="380" y="230"/>
                    </a:lnTo>
                    <a:lnTo>
                      <a:pt x="380" y="230"/>
                    </a:lnTo>
                    <a:lnTo>
                      <a:pt x="380" y="23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89" name="Freeform 561"/>
              <p:cNvSpPr>
                <a:spLocks/>
              </p:cNvSpPr>
              <p:nvPr/>
            </p:nvSpPr>
            <p:spPr bwMode="auto">
              <a:xfrm>
                <a:off x="4159" y="2300"/>
                <a:ext cx="148" cy="340"/>
              </a:xfrm>
              <a:custGeom>
                <a:avLst/>
                <a:gdLst>
                  <a:gd name="T0" fmla="*/ 138 w 148"/>
                  <a:gd name="T1" fmla="*/ 302 h 340"/>
                  <a:gd name="T2" fmla="*/ 132 w 148"/>
                  <a:gd name="T3" fmla="*/ 292 h 340"/>
                  <a:gd name="T4" fmla="*/ 120 w 148"/>
                  <a:gd name="T5" fmla="*/ 270 h 340"/>
                  <a:gd name="T6" fmla="*/ 116 w 148"/>
                  <a:gd name="T7" fmla="*/ 260 h 340"/>
                  <a:gd name="T8" fmla="*/ 114 w 148"/>
                  <a:gd name="T9" fmla="*/ 236 h 340"/>
                  <a:gd name="T10" fmla="*/ 118 w 148"/>
                  <a:gd name="T11" fmla="*/ 220 h 340"/>
                  <a:gd name="T12" fmla="*/ 106 w 148"/>
                  <a:gd name="T13" fmla="*/ 206 h 340"/>
                  <a:gd name="T14" fmla="*/ 96 w 148"/>
                  <a:gd name="T15" fmla="*/ 198 h 340"/>
                  <a:gd name="T16" fmla="*/ 88 w 148"/>
                  <a:gd name="T17" fmla="*/ 184 h 340"/>
                  <a:gd name="T18" fmla="*/ 90 w 148"/>
                  <a:gd name="T19" fmla="*/ 166 h 340"/>
                  <a:gd name="T20" fmla="*/ 104 w 148"/>
                  <a:gd name="T21" fmla="*/ 164 h 340"/>
                  <a:gd name="T22" fmla="*/ 116 w 148"/>
                  <a:gd name="T23" fmla="*/ 156 h 340"/>
                  <a:gd name="T24" fmla="*/ 130 w 148"/>
                  <a:gd name="T25" fmla="*/ 148 h 340"/>
                  <a:gd name="T26" fmla="*/ 138 w 148"/>
                  <a:gd name="T27" fmla="*/ 134 h 340"/>
                  <a:gd name="T28" fmla="*/ 148 w 148"/>
                  <a:gd name="T29" fmla="*/ 128 h 340"/>
                  <a:gd name="T30" fmla="*/ 132 w 148"/>
                  <a:gd name="T31" fmla="*/ 124 h 340"/>
                  <a:gd name="T32" fmla="*/ 118 w 148"/>
                  <a:gd name="T33" fmla="*/ 122 h 340"/>
                  <a:gd name="T34" fmla="*/ 112 w 148"/>
                  <a:gd name="T35" fmla="*/ 104 h 340"/>
                  <a:gd name="T36" fmla="*/ 102 w 148"/>
                  <a:gd name="T37" fmla="*/ 96 h 340"/>
                  <a:gd name="T38" fmla="*/ 92 w 148"/>
                  <a:gd name="T39" fmla="*/ 82 h 340"/>
                  <a:gd name="T40" fmla="*/ 78 w 148"/>
                  <a:gd name="T41" fmla="*/ 82 h 340"/>
                  <a:gd name="T42" fmla="*/ 76 w 148"/>
                  <a:gd name="T43" fmla="*/ 64 h 340"/>
                  <a:gd name="T44" fmla="*/ 86 w 148"/>
                  <a:gd name="T45" fmla="*/ 56 h 340"/>
                  <a:gd name="T46" fmla="*/ 84 w 148"/>
                  <a:gd name="T47" fmla="*/ 28 h 340"/>
                  <a:gd name="T48" fmla="*/ 66 w 148"/>
                  <a:gd name="T49" fmla="*/ 2 h 340"/>
                  <a:gd name="T50" fmla="*/ 52 w 148"/>
                  <a:gd name="T51" fmla="*/ 6 h 340"/>
                  <a:gd name="T52" fmla="*/ 44 w 148"/>
                  <a:gd name="T53" fmla="*/ 26 h 340"/>
                  <a:gd name="T54" fmla="*/ 30 w 148"/>
                  <a:gd name="T55" fmla="*/ 44 h 340"/>
                  <a:gd name="T56" fmla="*/ 24 w 148"/>
                  <a:gd name="T57" fmla="*/ 64 h 340"/>
                  <a:gd name="T58" fmla="*/ 22 w 148"/>
                  <a:gd name="T59" fmla="*/ 86 h 340"/>
                  <a:gd name="T60" fmla="*/ 10 w 148"/>
                  <a:gd name="T61" fmla="*/ 92 h 340"/>
                  <a:gd name="T62" fmla="*/ 8 w 148"/>
                  <a:gd name="T63" fmla="*/ 120 h 340"/>
                  <a:gd name="T64" fmla="*/ 4 w 148"/>
                  <a:gd name="T65" fmla="*/ 134 h 340"/>
                  <a:gd name="T66" fmla="*/ 0 w 148"/>
                  <a:gd name="T67" fmla="*/ 148 h 340"/>
                  <a:gd name="T68" fmla="*/ 4 w 148"/>
                  <a:gd name="T69" fmla="*/ 158 h 340"/>
                  <a:gd name="T70" fmla="*/ 20 w 148"/>
                  <a:gd name="T71" fmla="*/ 168 h 340"/>
                  <a:gd name="T72" fmla="*/ 26 w 148"/>
                  <a:gd name="T73" fmla="*/ 176 h 340"/>
                  <a:gd name="T74" fmla="*/ 30 w 148"/>
                  <a:gd name="T75" fmla="*/ 184 h 340"/>
                  <a:gd name="T76" fmla="*/ 38 w 148"/>
                  <a:gd name="T77" fmla="*/ 182 h 340"/>
                  <a:gd name="T78" fmla="*/ 42 w 148"/>
                  <a:gd name="T79" fmla="*/ 190 h 340"/>
                  <a:gd name="T80" fmla="*/ 48 w 148"/>
                  <a:gd name="T81" fmla="*/ 192 h 340"/>
                  <a:gd name="T82" fmla="*/ 52 w 148"/>
                  <a:gd name="T83" fmla="*/ 188 h 340"/>
                  <a:gd name="T84" fmla="*/ 48 w 148"/>
                  <a:gd name="T85" fmla="*/ 198 h 340"/>
                  <a:gd name="T86" fmla="*/ 48 w 148"/>
                  <a:gd name="T87" fmla="*/ 208 h 340"/>
                  <a:gd name="T88" fmla="*/ 48 w 148"/>
                  <a:gd name="T89" fmla="*/ 222 h 340"/>
                  <a:gd name="T90" fmla="*/ 50 w 148"/>
                  <a:gd name="T91" fmla="*/ 234 h 340"/>
                  <a:gd name="T92" fmla="*/ 58 w 148"/>
                  <a:gd name="T93" fmla="*/ 236 h 340"/>
                  <a:gd name="T94" fmla="*/ 68 w 148"/>
                  <a:gd name="T95" fmla="*/ 232 h 340"/>
                  <a:gd name="T96" fmla="*/ 74 w 148"/>
                  <a:gd name="T97" fmla="*/ 224 h 340"/>
                  <a:gd name="T98" fmla="*/ 82 w 148"/>
                  <a:gd name="T99" fmla="*/ 214 h 340"/>
                  <a:gd name="T100" fmla="*/ 88 w 148"/>
                  <a:gd name="T101" fmla="*/ 214 h 340"/>
                  <a:gd name="T102" fmla="*/ 100 w 148"/>
                  <a:gd name="T103" fmla="*/ 238 h 340"/>
                  <a:gd name="T104" fmla="*/ 98 w 148"/>
                  <a:gd name="T105" fmla="*/ 252 h 340"/>
                  <a:gd name="T106" fmla="*/ 104 w 148"/>
                  <a:gd name="T107" fmla="*/ 264 h 340"/>
                  <a:gd name="T108" fmla="*/ 108 w 148"/>
                  <a:gd name="T109" fmla="*/ 274 h 340"/>
                  <a:gd name="T110" fmla="*/ 114 w 148"/>
                  <a:gd name="T111" fmla="*/ 278 h 340"/>
                  <a:gd name="T112" fmla="*/ 120 w 148"/>
                  <a:gd name="T113" fmla="*/ 296 h 340"/>
                  <a:gd name="T114" fmla="*/ 114 w 148"/>
                  <a:gd name="T115" fmla="*/ 302 h 340"/>
                  <a:gd name="T116" fmla="*/ 118 w 148"/>
                  <a:gd name="T117" fmla="*/ 312 h 340"/>
                  <a:gd name="T118" fmla="*/ 122 w 148"/>
                  <a:gd name="T119" fmla="*/ 324 h 340"/>
                  <a:gd name="T120" fmla="*/ 122 w 148"/>
                  <a:gd name="T121" fmla="*/ 338 h 340"/>
                  <a:gd name="T122" fmla="*/ 132 w 148"/>
                  <a:gd name="T123" fmla="*/ 336 h 3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48" h="340">
                    <a:moveTo>
                      <a:pt x="136" y="328"/>
                    </a:moveTo>
                    <a:lnTo>
                      <a:pt x="136" y="328"/>
                    </a:lnTo>
                    <a:lnTo>
                      <a:pt x="138" y="320"/>
                    </a:lnTo>
                    <a:lnTo>
                      <a:pt x="138" y="318"/>
                    </a:lnTo>
                    <a:lnTo>
                      <a:pt x="138" y="314"/>
                    </a:lnTo>
                    <a:lnTo>
                      <a:pt x="138" y="314"/>
                    </a:lnTo>
                    <a:lnTo>
                      <a:pt x="138" y="306"/>
                    </a:lnTo>
                    <a:lnTo>
                      <a:pt x="138" y="304"/>
                    </a:lnTo>
                    <a:lnTo>
                      <a:pt x="138" y="302"/>
                    </a:lnTo>
                    <a:lnTo>
                      <a:pt x="136" y="300"/>
                    </a:lnTo>
                    <a:lnTo>
                      <a:pt x="136" y="300"/>
                    </a:lnTo>
                    <a:lnTo>
                      <a:pt x="136" y="298"/>
                    </a:lnTo>
                    <a:lnTo>
                      <a:pt x="134" y="296"/>
                    </a:lnTo>
                    <a:lnTo>
                      <a:pt x="134" y="296"/>
                    </a:lnTo>
                    <a:lnTo>
                      <a:pt x="132" y="296"/>
                    </a:lnTo>
                    <a:lnTo>
                      <a:pt x="132" y="296"/>
                    </a:lnTo>
                    <a:lnTo>
                      <a:pt x="132" y="294"/>
                    </a:lnTo>
                    <a:lnTo>
                      <a:pt x="132" y="292"/>
                    </a:lnTo>
                    <a:lnTo>
                      <a:pt x="132" y="288"/>
                    </a:lnTo>
                    <a:lnTo>
                      <a:pt x="132" y="288"/>
                    </a:lnTo>
                    <a:lnTo>
                      <a:pt x="130" y="286"/>
                    </a:lnTo>
                    <a:lnTo>
                      <a:pt x="130" y="284"/>
                    </a:lnTo>
                    <a:lnTo>
                      <a:pt x="128" y="276"/>
                    </a:lnTo>
                    <a:lnTo>
                      <a:pt x="128" y="276"/>
                    </a:lnTo>
                    <a:lnTo>
                      <a:pt x="124" y="274"/>
                    </a:lnTo>
                    <a:lnTo>
                      <a:pt x="124" y="272"/>
                    </a:lnTo>
                    <a:lnTo>
                      <a:pt x="120" y="270"/>
                    </a:lnTo>
                    <a:lnTo>
                      <a:pt x="120" y="270"/>
                    </a:lnTo>
                    <a:lnTo>
                      <a:pt x="118" y="268"/>
                    </a:lnTo>
                    <a:lnTo>
                      <a:pt x="118" y="268"/>
                    </a:lnTo>
                    <a:lnTo>
                      <a:pt x="118" y="266"/>
                    </a:lnTo>
                    <a:lnTo>
                      <a:pt x="118" y="262"/>
                    </a:lnTo>
                    <a:lnTo>
                      <a:pt x="118" y="262"/>
                    </a:lnTo>
                    <a:lnTo>
                      <a:pt x="116" y="262"/>
                    </a:lnTo>
                    <a:lnTo>
                      <a:pt x="116" y="262"/>
                    </a:lnTo>
                    <a:lnTo>
                      <a:pt x="116" y="260"/>
                    </a:lnTo>
                    <a:lnTo>
                      <a:pt x="114" y="256"/>
                    </a:lnTo>
                    <a:lnTo>
                      <a:pt x="112" y="254"/>
                    </a:lnTo>
                    <a:lnTo>
                      <a:pt x="112" y="252"/>
                    </a:lnTo>
                    <a:lnTo>
                      <a:pt x="112" y="252"/>
                    </a:lnTo>
                    <a:lnTo>
                      <a:pt x="112" y="246"/>
                    </a:lnTo>
                    <a:lnTo>
                      <a:pt x="112" y="240"/>
                    </a:lnTo>
                    <a:lnTo>
                      <a:pt x="112" y="240"/>
                    </a:lnTo>
                    <a:lnTo>
                      <a:pt x="112" y="238"/>
                    </a:lnTo>
                    <a:lnTo>
                      <a:pt x="114" y="236"/>
                    </a:lnTo>
                    <a:lnTo>
                      <a:pt x="116" y="234"/>
                    </a:lnTo>
                    <a:lnTo>
                      <a:pt x="118" y="232"/>
                    </a:lnTo>
                    <a:lnTo>
                      <a:pt x="118" y="232"/>
                    </a:lnTo>
                    <a:lnTo>
                      <a:pt x="118" y="230"/>
                    </a:lnTo>
                    <a:lnTo>
                      <a:pt x="118" y="228"/>
                    </a:lnTo>
                    <a:lnTo>
                      <a:pt x="118" y="228"/>
                    </a:lnTo>
                    <a:lnTo>
                      <a:pt x="118" y="224"/>
                    </a:lnTo>
                    <a:lnTo>
                      <a:pt x="118" y="222"/>
                    </a:lnTo>
                    <a:lnTo>
                      <a:pt x="118" y="220"/>
                    </a:lnTo>
                    <a:lnTo>
                      <a:pt x="118" y="220"/>
                    </a:lnTo>
                    <a:lnTo>
                      <a:pt x="116" y="218"/>
                    </a:lnTo>
                    <a:lnTo>
                      <a:pt x="114" y="218"/>
                    </a:lnTo>
                    <a:lnTo>
                      <a:pt x="112" y="214"/>
                    </a:lnTo>
                    <a:lnTo>
                      <a:pt x="112" y="214"/>
                    </a:lnTo>
                    <a:lnTo>
                      <a:pt x="110" y="214"/>
                    </a:lnTo>
                    <a:lnTo>
                      <a:pt x="110" y="212"/>
                    </a:lnTo>
                    <a:lnTo>
                      <a:pt x="108" y="210"/>
                    </a:lnTo>
                    <a:lnTo>
                      <a:pt x="106" y="206"/>
                    </a:lnTo>
                    <a:lnTo>
                      <a:pt x="106" y="204"/>
                    </a:lnTo>
                    <a:lnTo>
                      <a:pt x="104" y="204"/>
                    </a:lnTo>
                    <a:lnTo>
                      <a:pt x="104" y="204"/>
                    </a:lnTo>
                    <a:lnTo>
                      <a:pt x="102" y="202"/>
                    </a:lnTo>
                    <a:lnTo>
                      <a:pt x="100" y="202"/>
                    </a:lnTo>
                    <a:lnTo>
                      <a:pt x="100" y="202"/>
                    </a:lnTo>
                    <a:lnTo>
                      <a:pt x="98" y="200"/>
                    </a:lnTo>
                    <a:lnTo>
                      <a:pt x="98" y="200"/>
                    </a:lnTo>
                    <a:lnTo>
                      <a:pt x="96" y="198"/>
                    </a:lnTo>
                    <a:lnTo>
                      <a:pt x="94" y="196"/>
                    </a:lnTo>
                    <a:lnTo>
                      <a:pt x="94" y="194"/>
                    </a:lnTo>
                    <a:lnTo>
                      <a:pt x="94" y="194"/>
                    </a:lnTo>
                    <a:lnTo>
                      <a:pt x="90" y="190"/>
                    </a:lnTo>
                    <a:lnTo>
                      <a:pt x="90" y="190"/>
                    </a:lnTo>
                    <a:lnTo>
                      <a:pt x="88" y="188"/>
                    </a:lnTo>
                    <a:lnTo>
                      <a:pt x="88" y="188"/>
                    </a:lnTo>
                    <a:lnTo>
                      <a:pt x="88" y="186"/>
                    </a:lnTo>
                    <a:lnTo>
                      <a:pt x="88" y="184"/>
                    </a:lnTo>
                    <a:lnTo>
                      <a:pt x="88" y="180"/>
                    </a:lnTo>
                    <a:lnTo>
                      <a:pt x="88" y="180"/>
                    </a:lnTo>
                    <a:lnTo>
                      <a:pt x="88" y="178"/>
                    </a:lnTo>
                    <a:lnTo>
                      <a:pt x="88" y="174"/>
                    </a:lnTo>
                    <a:lnTo>
                      <a:pt x="88" y="172"/>
                    </a:lnTo>
                    <a:lnTo>
                      <a:pt x="88" y="170"/>
                    </a:lnTo>
                    <a:lnTo>
                      <a:pt x="90" y="168"/>
                    </a:lnTo>
                    <a:lnTo>
                      <a:pt x="90" y="166"/>
                    </a:lnTo>
                    <a:lnTo>
                      <a:pt x="90" y="166"/>
                    </a:lnTo>
                    <a:lnTo>
                      <a:pt x="92" y="166"/>
                    </a:lnTo>
                    <a:lnTo>
                      <a:pt x="94" y="166"/>
                    </a:lnTo>
                    <a:lnTo>
                      <a:pt x="94" y="166"/>
                    </a:lnTo>
                    <a:lnTo>
                      <a:pt x="96" y="166"/>
                    </a:lnTo>
                    <a:lnTo>
                      <a:pt x="100" y="164"/>
                    </a:lnTo>
                    <a:lnTo>
                      <a:pt x="102" y="164"/>
                    </a:lnTo>
                    <a:lnTo>
                      <a:pt x="102" y="164"/>
                    </a:lnTo>
                    <a:lnTo>
                      <a:pt x="102" y="164"/>
                    </a:lnTo>
                    <a:lnTo>
                      <a:pt x="104" y="164"/>
                    </a:lnTo>
                    <a:lnTo>
                      <a:pt x="106" y="162"/>
                    </a:lnTo>
                    <a:lnTo>
                      <a:pt x="108" y="162"/>
                    </a:lnTo>
                    <a:lnTo>
                      <a:pt x="110" y="162"/>
                    </a:lnTo>
                    <a:lnTo>
                      <a:pt x="110" y="162"/>
                    </a:lnTo>
                    <a:lnTo>
                      <a:pt x="112" y="162"/>
                    </a:lnTo>
                    <a:lnTo>
                      <a:pt x="114" y="160"/>
                    </a:lnTo>
                    <a:lnTo>
                      <a:pt x="114" y="158"/>
                    </a:lnTo>
                    <a:lnTo>
                      <a:pt x="114" y="158"/>
                    </a:lnTo>
                    <a:lnTo>
                      <a:pt x="116" y="156"/>
                    </a:lnTo>
                    <a:lnTo>
                      <a:pt x="116" y="154"/>
                    </a:lnTo>
                    <a:lnTo>
                      <a:pt x="118" y="154"/>
                    </a:lnTo>
                    <a:lnTo>
                      <a:pt x="118" y="152"/>
                    </a:lnTo>
                    <a:lnTo>
                      <a:pt x="120" y="152"/>
                    </a:lnTo>
                    <a:lnTo>
                      <a:pt x="124" y="150"/>
                    </a:lnTo>
                    <a:lnTo>
                      <a:pt x="124" y="150"/>
                    </a:lnTo>
                    <a:lnTo>
                      <a:pt x="128" y="150"/>
                    </a:lnTo>
                    <a:lnTo>
                      <a:pt x="128" y="148"/>
                    </a:lnTo>
                    <a:lnTo>
                      <a:pt x="130" y="148"/>
                    </a:lnTo>
                    <a:lnTo>
                      <a:pt x="130" y="146"/>
                    </a:lnTo>
                    <a:lnTo>
                      <a:pt x="130" y="142"/>
                    </a:lnTo>
                    <a:lnTo>
                      <a:pt x="132" y="140"/>
                    </a:lnTo>
                    <a:lnTo>
                      <a:pt x="132" y="140"/>
                    </a:lnTo>
                    <a:lnTo>
                      <a:pt x="132" y="138"/>
                    </a:lnTo>
                    <a:lnTo>
                      <a:pt x="132" y="136"/>
                    </a:lnTo>
                    <a:lnTo>
                      <a:pt x="134" y="136"/>
                    </a:lnTo>
                    <a:lnTo>
                      <a:pt x="134" y="134"/>
                    </a:lnTo>
                    <a:lnTo>
                      <a:pt x="138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4" y="132"/>
                    </a:lnTo>
                    <a:lnTo>
                      <a:pt x="146" y="132"/>
                    </a:lnTo>
                    <a:lnTo>
                      <a:pt x="148" y="130"/>
                    </a:lnTo>
                    <a:lnTo>
                      <a:pt x="148" y="128"/>
                    </a:lnTo>
                    <a:lnTo>
                      <a:pt x="148" y="128"/>
                    </a:lnTo>
                    <a:lnTo>
                      <a:pt x="148" y="128"/>
                    </a:lnTo>
                    <a:lnTo>
                      <a:pt x="148" y="128"/>
                    </a:lnTo>
                    <a:lnTo>
                      <a:pt x="148" y="126"/>
                    </a:lnTo>
                    <a:lnTo>
                      <a:pt x="146" y="126"/>
                    </a:lnTo>
                    <a:lnTo>
                      <a:pt x="146" y="126"/>
                    </a:lnTo>
                    <a:lnTo>
                      <a:pt x="144" y="126"/>
                    </a:lnTo>
                    <a:lnTo>
                      <a:pt x="144" y="126"/>
                    </a:lnTo>
                    <a:lnTo>
                      <a:pt x="140" y="126"/>
                    </a:lnTo>
                    <a:lnTo>
                      <a:pt x="136" y="126"/>
                    </a:lnTo>
                    <a:lnTo>
                      <a:pt x="132" y="124"/>
                    </a:lnTo>
                    <a:lnTo>
                      <a:pt x="132" y="124"/>
                    </a:lnTo>
                    <a:lnTo>
                      <a:pt x="130" y="124"/>
                    </a:lnTo>
                    <a:lnTo>
                      <a:pt x="128" y="124"/>
                    </a:lnTo>
                    <a:lnTo>
                      <a:pt x="124" y="122"/>
                    </a:lnTo>
                    <a:lnTo>
                      <a:pt x="124" y="122"/>
                    </a:lnTo>
                    <a:lnTo>
                      <a:pt x="122" y="122"/>
                    </a:lnTo>
                    <a:lnTo>
                      <a:pt x="122" y="122"/>
                    </a:lnTo>
                    <a:lnTo>
                      <a:pt x="120" y="122"/>
                    </a:lnTo>
                    <a:lnTo>
                      <a:pt x="118" y="122"/>
                    </a:lnTo>
                    <a:lnTo>
                      <a:pt x="118" y="122"/>
                    </a:lnTo>
                    <a:lnTo>
                      <a:pt x="116" y="120"/>
                    </a:lnTo>
                    <a:lnTo>
                      <a:pt x="114" y="120"/>
                    </a:lnTo>
                    <a:lnTo>
                      <a:pt x="114" y="120"/>
                    </a:lnTo>
                    <a:lnTo>
                      <a:pt x="112" y="118"/>
                    </a:lnTo>
                    <a:lnTo>
                      <a:pt x="112" y="118"/>
                    </a:lnTo>
                    <a:lnTo>
                      <a:pt x="112" y="116"/>
                    </a:lnTo>
                    <a:lnTo>
                      <a:pt x="112" y="112"/>
                    </a:lnTo>
                    <a:lnTo>
                      <a:pt x="112" y="108"/>
                    </a:lnTo>
                    <a:lnTo>
                      <a:pt x="112" y="104"/>
                    </a:lnTo>
                    <a:lnTo>
                      <a:pt x="112" y="102"/>
                    </a:lnTo>
                    <a:lnTo>
                      <a:pt x="112" y="100"/>
                    </a:lnTo>
                    <a:lnTo>
                      <a:pt x="112" y="100"/>
                    </a:lnTo>
                    <a:lnTo>
                      <a:pt x="110" y="98"/>
                    </a:lnTo>
                    <a:lnTo>
                      <a:pt x="110" y="98"/>
                    </a:lnTo>
                    <a:lnTo>
                      <a:pt x="110" y="96"/>
                    </a:lnTo>
                    <a:lnTo>
                      <a:pt x="108" y="96"/>
                    </a:lnTo>
                    <a:lnTo>
                      <a:pt x="104" y="96"/>
                    </a:lnTo>
                    <a:lnTo>
                      <a:pt x="102" y="96"/>
                    </a:lnTo>
                    <a:lnTo>
                      <a:pt x="100" y="96"/>
                    </a:lnTo>
                    <a:lnTo>
                      <a:pt x="100" y="94"/>
                    </a:lnTo>
                    <a:lnTo>
                      <a:pt x="98" y="94"/>
                    </a:lnTo>
                    <a:lnTo>
                      <a:pt x="98" y="94"/>
                    </a:lnTo>
                    <a:lnTo>
                      <a:pt x="96" y="90"/>
                    </a:lnTo>
                    <a:lnTo>
                      <a:pt x="94" y="88"/>
                    </a:lnTo>
                    <a:lnTo>
                      <a:pt x="94" y="86"/>
                    </a:lnTo>
                    <a:lnTo>
                      <a:pt x="94" y="84"/>
                    </a:lnTo>
                    <a:lnTo>
                      <a:pt x="92" y="82"/>
                    </a:lnTo>
                    <a:lnTo>
                      <a:pt x="90" y="82"/>
                    </a:lnTo>
                    <a:lnTo>
                      <a:pt x="90" y="82"/>
                    </a:lnTo>
                    <a:lnTo>
                      <a:pt x="88" y="82"/>
                    </a:lnTo>
                    <a:lnTo>
                      <a:pt x="86" y="82"/>
                    </a:lnTo>
                    <a:lnTo>
                      <a:pt x="84" y="84"/>
                    </a:lnTo>
                    <a:lnTo>
                      <a:pt x="82" y="84"/>
                    </a:lnTo>
                    <a:lnTo>
                      <a:pt x="80" y="84"/>
                    </a:lnTo>
                    <a:lnTo>
                      <a:pt x="80" y="84"/>
                    </a:lnTo>
                    <a:lnTo>
                      <a:pt x="78" y="82"/>
                    </a:lnTo>
                    <a:lnTo>
                      <a:pt x="78" y="82"/>
                    </a:lnTo>
                    <a:lnTo>
                      <a:pt x="76" y="80"/>
                    </a:lnTo>
                    <a:lnTo>
                      <a:pt x="76" y="78"/>
                    </a:lnTo>
                    <a:lnTo>
                      <a:pt x="74" y="74"/>
                    </a:lnTo>
                    <a:lnTo>
                      <a:pt x="74" y="72"/>
                    </a:lnTo>
                    <a:lnTo>
                      <a:pt x="74" y="70"/>
                    </a:lnTo>
                    <a:lnTo>
                      <a:pt x="74" y="68"/>
                    </a:lnTo>
                    <a:lnTo>
                      <a:pt x="76" y="64"/>
                    </a:lnTo>
                    <a:lnTo>
                      <a:pt x="76" y="64"/>
                    </a:lnTo>
                    <a:lnTo>
                      <a:pt x="76" y="64"/>
                    </a:lnTo>
                    <a:lnTo>
                      <a:pt x="78" y="62"/>
                    </a:lnTo>
                    <a:lnTo>
                      <a:pt x="80" y="62"/>
                    </a:lnTo>
                    <a:lnTo>
                      <a:pt x="80" y="62"/>
                    </a:lnTo>
                    <a:lnTo>
                      <a:pt x="82" y="60"/>
                    </a:lnTo>
                    <a:lnTo>
                      <a:pt x="82" y="60"/>
                    </a:lnTo>
                    <a:lnTo>
                      <a:pt x="84" y="60"/>
                    </a:lnTo>
                    <a:lnTo>
                      <a:pt x="86" y="58"/>
                    </a:lnTo>
                    <a:lnTo>
                      <a:pt x="86" y="56"/>
                    </a:lnTo>
                    <a:lnTo>
                      <a:pt x="86" y="56"/>
                    </a:lnTo>
                    <a:lnTo>
                      <a:pt x="86" y="52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86" y="40"/>
                    </a:lnTo>
                    <a:lnTo>
                      <a:pt x="84" y="36"/>
                    </a:lnTo>
                    <a:lnTo>
                      <a:pt x="84" y="32"/>
                    </a:lnTo>
                    <a:lnTo>
                      <a:pt x="84" y="32"/>
                    </a:lnTo>
                    <a:lnTo>
                      <a:pt x="84" y="28"/>
                    </a:lnTo>
                    <a:lnTo>
                      <a:pt x="82" y="26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4" y="16"/>
                    </a:lnTo>
                    <a:lnTo>
                      <a:pt x="72" y="12"/>
                    </a:lnTo>
                    <a:lnTo>
                      <a:pt x="70" y="8"/>
                    </a:lnTo>
                    <a:lnTo>
                      <a:pt x="68" y="4"/>
                    </a:lnTo>
                    <a:lnTo>
                      <a:pt x="66" y="2"/>
                    </a:lnTo>
                    <a:lnTo>
                      <a:pt x="66" y="2"/>
                    </a:lnTo>
                    <a:lnTo>
                      <a:pt x="64" y="0"/>
                    </a:lnTo>
                    <a:lnTo>
                      <a:pt x="62" y="0"/>
                    </a:lnTo>
                    <a:lnTo>
                      <a:pt x="60" y="2"/>
                    </a:lnTo>
                    <a:lnTo>
                      <a:pt x="60" y="2"/>
                    </a:lnTo>
                    <a:lnTo>
                      <a:pt x="58" y="2"/>
                    </a:lnTo>
                    <a:lnTo>
                      <a:pt x="56" y="4"/>
                    </a:lnTo>
                    <a:lnTo>
                      <a:pt x="54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14"/>
                    </a:lnTo>
                    <a:lnTo>
                      <a:pt x="50" y="18"/>
                    </a:lnTo>
                    <a:lnTo>
                      <a:pt x="50" y="20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48" y="24"/>
                    </a:lnTo>
                    <a:lnTo>
                      <a:pt x="46" y="24"/>
                    </a:lnTo>
                    <a:lnTo>
                      <a:pt x="44" y="26"/>
                    </a:lnTo>
                    <a:lnTo>
                      <a:pt x="40" y="28"/>
                    </a:lnTo>
                    <a:lnTo>
                      <a:pt x="38" y="30"/>
                    </a:lnTo>
                    <a:lnTo>
                      <a:pt x="36" y="32"/>
                    </a:lnTo>
                    <a:lnTo>
                      <a:pt x="36" y="32"/>
                    </a:lnTo>
                    <a:lnTo>
                      <a:pt x="34" y="34"/>
                    </a:lnTo>
                    <a:lnTo>
                      <a:pt x="34" y="36"/>
                    </a:lnTo>
                    <a:lnTo>
                      <a:pt x="32" y="38"/>
                    </a:lnTo>
                    <a:lnTo>
                      <a:pt x="32" y="40"/>
                    </a:lnTo>
                    <a:lnTo>
                      <a:pt x="30" y="44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54"/>
                    </a:lnTo>
                    <a:lnTo>
                      <a:pt x="30" y="56"/>
                    </a:lnTo>
                    <a:lnTo>
                      <a:pt x="30" y="58"/>
                    </a:lnTo>
                    <a:lnTo>
                      <a:pt x="30" y="58"/>
                    </a:lnTo>
                    <a:lnTo>
                      <a:pt x="28" y="60"/>
                    </a:lnTo>
                    <a:lnTo>
                      <a:pt x="26" y="62"/>
                    </a:lnTo>
                    <a:lnTo>
                      <a:pt x="24" y="64"/>
                    </a:lnTo>
                    <a:lnTo>
                      <a:pt x="24" y="66"/>
                    </a:lnTo>
                    <a:lnTo>
                      <a:pt x="24" y="66"/>
                    </a:lnTo>
                    <a:lnTo>
                      <a:pt x="24" y="70"/>
                    </a:lnTo>
                    <a:lnTo>
                      <a:pt x="24" y="76"/>
                    </a:lnTo>
                    <a:lnTo>
                      <a:pt x="24" y="80"/>
                    </a:lnTo>
                    <a:lnTo>
                      <a:pt x="22" y="82"/>
                    </a:lnTo>
                    <a:lnTo>
                      <a:pt x="22" y="84"/>
                    </a:lnTo>
                    <a:lnTo>
                      <a:pt x="22" y="84"/>
                    </a:lnTo>
                    <a:lnTo>
                      <a:pt x="22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18" y="86"/>
                    </a:lnTo>
                    <a:lnTo>
                      <a:pt x="14" y="88"/>
                    </a:lnTo>
                    <a:lnTo>
                      <a:pt x="14" y="88"/>
                    </a:lnTo>
                    <a:lnTo>
                      <a:pt x="12" y="88"/>
                    </a:lnTo>
                    <a:lnTo>
                      <a:pt x="10" y="90"/>
                    </a:lnTo>
                    <a:lnTo>
                      <a:pt x="10" y="90"/>
                    </a:lnTo>
                    <a:lnTo>
                      <a:pt x="10" y="92"/>
                    </a:lnTo>
                    <a:lnTo>
                      <a:pt x="10" y="92"/>
                    </a:lnTo>
                    <a:lnTo>
                      <a:pt x="10" y="92"/>
                    </a:lnTo>
                    <a:lnTo>
                      <a:pt x="8" y="96"/>
                    </a:lnTo>
                    <a:lnTo>
                      <a:pt x="8" y="102"/>
                    </a:lnTo>
                    <a:lnTo>
                      <a:pt x="8" y="112"/>
                    </a:lnTo>
                    <a:lnTo>
                      <a:pt x="8" y="112"/>
                    </a:lnTo>
                    <a:lnTo>
                      <a:pt x="10" y="116"/>
                    </a:lnTo>
                    <a:lnTo>
                      <a:pt x="10" y="118"/>
                    </a:lnTo>
                    <a:lnTo>
                      <a:pt x="8" y="120"/>
                    </a:lnTo>
                    <a:lnTo>
                      <a:pt x="8" y="120"/>
                    </a:lnTo>
                    <a:lnTo>
                      <a:pt x="6" y="122"/>
                    </a:lnTo>
                    <a:lnTo>
                      <a:pt x="6" y="124"/>
                    </a:lnTo>
                    <a:lnTo>
                      <a:pt x="6" y="124"/>
                    </a:lnTo>
                    <a:lnTo>
                      <a:pt x="6" y="128"/>
                    </a:lnTo>
                    <a:lnTo>
                      <a:pt x="6" y="128"/>
                    </a:lnTo>
                    <a:lnTo>
                      <a:pt x="6" y="130"/>
                    </a:lnTo>
                    <a:lnTo>
                      <a:pt x="6" y="132"/>
                    </a:lnTo>
                    <a:lnTo>
                      <a:pt x="4" y="134"/>
                    </a:lnTo>
                    <a:lnTo>
                      <a:pt x="4" y="134"/>
                    </a:lnTo>
                    <a:lnTo>
                      <a:pt x="4" y="136"/>
                    </a:lnTo>
                    <a:lnTo>
                      <a:pt x="4" y="138"/>
                    </a:lnTo>
                    <a:lnTo>
                      <a:pt x="4" y="140"/>
                    </a:lnTo>
                    <a:lnTo>
                      <a:pt x="4" y="142"/>
                    </a:lnTo>
                    <a:lnTo>
                      <a:pt x="4" y="142"/>
                    </a:lnTo>
                    <a:lnTo>
                      <a:pt x="2" y="144"/>
                    </a:lnTo>
                    <a:lnTo>
                      <a:pt x="0" y="148"/>
                    </a:lnTo>
                    <a:lnTo>
                      <a:pt x="0" y="148"/>
                    </a:lnTo>
                    <a:lnTo>
                      <a:pt x="0" y="148"/>
                    </a:lnTo>
                    <a:lnTo>
                      <a:pt x="0" y="148"/>
                    </a:lnTo>
                    <a:lnTo>
                      <a:pt x="0" y="150"/>
                    </a:lnTo>
                    <a:lnTo>
                      <a:pt x="0" y="152"/>
                    </a:lnTo>
                    <a:lnTo>
                      <a:pt x="0" y="154"/>
                    </a:lnTo>
                    <a:lnTo>
                      <a:pt x="2" y="154"/>
                    </a:lnTo>
                    <a:lnTo>
                      <a:pt x="2" y="154"/>
                    </a:lnTo>
                    <a:lnTo>
                      <a:pt x="2" y="156"/>
                    </a:lnTo>
                    <a:lnTo>
                      <a:pt x="4" y="158"/>
                    </a:lnTo>
                    <a:lnTo>
                      <a:pt x="6" y="160"/>
                    </a:lnTo>
                    <a:lnTo>
                      <a:pt x="10" y="162"/>
                    </a:lnTo>
                    <a:lnTo>
                      <a:pt x="12" y="162"/>
                    </a:lnTo>
                    <a:lnTo>
                      <a:pt x="12" y="162"/>
                    </a:lnTo>
                    <a:lnTo>
                      <a:pt x="14" y="164"/>
                    </a:lnTo>
                    <a:lnTo>
                      <a:pt x="16" y="166"/>
                    </a:lnTo>
                    <a:lnTo>
                      <a:pt x="18" y="166"/>
                    </a:lnTo>
                    <a:lnTo>
                      <a:pt x="20" y="168"/>
                    </a:lnTo>
                    <a:lnTo>
                      <a:pt x="20" y="168"/>
                    </a:lnTo>
                    <a:lnTo>
                      <a:pt x="22" y="168"/>
                    </a:lnTo>
                    <a:lnTo>
                      <a:pt x="22" y="170"/>
                    </a:lnTo>
                    <a:lnTo>
                      <a:pt x="22" y="170"/>
                    </a:lnTo>
                    <a:lnTo>
                      <a:pt x="22" y="170"/>
                    </a:lnTo>
                    <a:lnTo>
                      <a:pt x="24" y="170"/>
                    </a:lnTo>
                    <a:lnTo>
                      <a:pt x="24" y="172"/>
                    </a:lnTo>
                    <a:lnTo>
                      <a:pt x="24" y="174"/>
                    </a:lnTo>
                    <a:lnTo>
                      <a:pt x="24" y="174"/>
                    </a:lnTo>
                    <a:lnTo>
                      <a:pt x="26" y="176"/>
                    </a:lnTo>
                    <a:lnTo>
                      <a:pt x="26" y="178"/>
                    </a:lnTo>
                    <a:lnTo>
                      <a:pt x="26" y="178"/>
                    </a:lnTo>
                    <a:lnTo>
                      <a:pt x="26" y="180"/>
                    </a:lnTo>
                    <a:lnTo>
                      <a:pt x="26" y="182"/>
                    </a:lnTo>
                    <a:lnTo>
                      <a:pt x="26" y="182"/>
                    </a:lnTo>
                    <a:lnTo>
                      <a:pt x="26" y="182"/>
                    </a:lnTo>
                    <a:lnTo>
                      <a:pt x="28" y="184"/>
                    </a:lnTo>
                    <a:lnTo>
                      <a:pt x="28" y="184"/>
                    </a:lnTo>
                    <a:lnTo>
                      <a:pt x="30" y="184"/>
                    </a:lnTo>
                    <a:lnTo>
                      <a:pt x="32" y="184"/>
                    </a:lnTo>
                    <a:lnTo>
                      <a:pt x="32" y="184"/>
                    </a:lnTo>
                    <a:lnTo>
                      <a:pt x="34" y="184"/>
                    </a:lnTo>
                    <a:lnTo>
                      <a:pt x="36" y="184"/>
                    </a:lnTo>
                    <a:lnTo>
                      <a:pt x="36" y="184"/>
                    </a:lnTo>
                    <a:lnTo>
                      <a:pt x="36" y="184"/>
                    </a:lnTo>
                    <a:lnTo>
                      <a:pt x="36" y="182"/>
                    </a:lnTo>
                    <a:lnTo>
                      <a:pt x="38" y="182"/>
                    </a:lnTo>
                    <a:lnTo>
                      <a:pt x="38" y="182"/>
                    </a:lnTo>
                    <a:lnTo>
                      <a:pt x="38" y="182"/>
                    </a:lnTo>
                    <a:lnTo>
                      <a:pt x="40" y="182"/>
                    </a:lnTo>
                    <a:lnTo>
                      <a:pt x="40" y="182"/>
                    </a:lnTo>
                    <a:lnTo>
                      <a:pt x="40" y="184"/>
                    </a:lnTo>
                    <a:lnTo>
                      <a:pt x="40" y="186"/>
                    </a:lnTo>
                    <a:lnTo>
                      <a:pt x="40" y="186"/>
                    </a:lnTo>
                    <a:lnTo>
                      <a:pt x="42" y="188"/>
                    </a:lnTo>
                    <a:lnTo>
                      <a:pt x="42" y="190"/>
                    </a:lnTo>
                    <a:lnTo>
                      <a:pt x="42" y="190"/>
                    </a:lnTo>
                    <a:lnTo>
                      <a:pt x="42" y="192"/>
                    </a:lnTo>
                    <a:lnTo>
                      <a:pt x="44" y="192"/>
                    </a:lnTo>
                    <a:lnTo>
                      <a:pt x="44" y="194"/>
                    </a:lnTo>
                    <a:lnTo>
                      <a:pt x="46" y="194"/>
                    </a:lnTo>
                    <a:lnTo>
                      <a:pt x="46" y="194"/>
                    </a:lnTo>
                    <a:lnTo>
                      <a:pt x="46" y="194"/>
                    </a:lnTo>
                    <a:lnTo>
                      <a:pt x="46" y="194"/>
                    </a:lnTo>
                    <a:lnTo>
                      <a:pt x="48" y="194"/>
                    </a:lnTo>
                    <a:lnTo>
                      <a:pt x="48" y="192"/>
                    </a:lnTo>
                    <a:lnTo>
                      <a:pt x="48" y="192"/>
                    </a:lnTo>
                    <a:lnTo>
                      <a:pt x="50" y="190"/>
                    </a:lnTo>
                    <a:lnTo>
                      <a:pt x="50" y="188"/>
                    </a:lnTo>
                    <a:lnTo>
                      <a:pt x="50" y="188"/>
                    </a:lnTo>
                    <a:lnTo>
                      <a:pt x="52" y="188"/>
                    </a:lnTo>
                    <a:lnTo>
                      <a:pt x="52" y="188"/>
                    </a:lnTo>
                    <a:lnTo>
                      <a:pt x="52" y="188"/>
                    </a:lnTo>
                    <a:lnTo>
                      <a:pt x="52" y="188"/>
                    </a:lnTo>
                    <a:lnTo>
                      <a:pt x="52" y="188"/>
                    </a:lnTo>
                    <a:lnTo>
                      <a:pt x="54" y="188"/>
                    </a:lnTo>
                    <a:lnTo>
                      <a:pt x="54" y="190"/>
                    </a:lnTo>
                    <a:lnTo>
                      <a:pt x="54" y="190"/>
                    </a:lnTo>
                    <a:lnTo>
                      <a:pt x="54" y="190"/>
                    </a:lnTo>
                    <a:lnTo>
                      <a:pt x="54" y="192"/>
                    </a:lnTo>
                    <a:lnTo>
                      <a:pt x="52" y="194"/>
                    </a:lnTo>
                    <a:lnTo>
                      <a:pt x="52" y="194"/>
                    </a:lnTo>
                    <a:lnTo>
                      <a:pt x="50" y="196"/>
                    </a:lnTo>
                    <a:lnTo>
                      <a:pt x="48" y="198"/>
                    </a:lnTo>
                    <a:lnTo>
                      <a:pt x="48" y="200"/>
                    </a:lnTo>
                    <a:lnTo>
                      <a:pt x="48" y="202"/>
                    </a:lnTo>
                    <a:lnTo>
                      <a:pt x="48" y="202"/>
                    </a:lnTo>
                    <a:lnTo>
                      <a:pt x="50" y="204"/>
                    </a:lnTo>
                    <a:lnTo>
                      <a:pt x="50" y="204"/>
                    </a:lnTo>
                    <a:lnTo>
                      <a:pt x="50" y="206"/>
                    </a:lnTo>
                    <a:lnTo>
                      <a:pt x="50" y="206"/>
                    </a:lnTo>
                    <a:lnTo>
                      <a:pt x="50" y="208"/>
                    </a:lnTo>
                    <a:lnTo>
                      <a:pt x="48" y="208"/>
                    </a:lnTo>
                    <a:lnTo>
                      <a:pt x="48" y="208"/>
                    </a:lnTo>
                    <a:lnTo>
                      <a:pt x="48" y="210"/>
                    </a:lnTo>
                    <a:lnTo>
                      <a:pt x="48" y="212"/>
                    </a:lnTo>
                    <a:lnTo>
                      <a:pt x="48" y="214"/>
                    </a:lnTo>
                    <a:lnTo>
                      <a:pt x="48" y="214"/>
                    </a:lnTo>
                    <a:lnTo>
                      <a:pt x="48" y="218"/>
                    </a:lnTo>
                    <a:lnTo>
                      <a:pt x="48" y="220"/>
                    </a:lnTo>
                    <a:lnTo>
                      <a:pt x="48" y="222"/>
                    </a:lnTo>
                    <a:lnTo>
                      <a:pt x="48" y="222"/>
                    </a:lnTo>
                    <a:lnTo>
                      <a:pt x="48" y="224"/>
                    </a:lnTo>
                    <a:lnTo>
                      <a:pt x="48" y="226"/>
                    </a:lnTo>
                    <a:lnTo>
                      <a:pt x="48" y="226"/>
                    </a:lnTo>
                    <a:lnTo>
                      <a:pt x="48" y="228"/>
                    </a:lnTo>
                    <a:lnTo>
                      <a:pt x="48" y="228"/>
                    </a:lnTo>
                    <a:lnTo>
                      <a:pt x="48" y="232"/>
                    </a:lnTo>
                    <a:lnTo>
                      <a:pt x="48" y="232"/>
                    </a:lnTo>
                    <a:lnTo>
                      <a:pt x="50" y="234"/>
                    </a:lnTo>
                    <a:lnTo>
                      <a:pt x="50" y="234"/>
                    </a:lnTo>
                    <a:lnTo>
                      <a:pt x="52" y="236"/>
                    </a:lnTo>
                    <a:lnTo>
                      <a:pt x="52" y="236"/>
                    </a:lnTo>
                    <a:lnTo>
                      <a:pt x="52" y="236"/>
                    </a:lnTo>
                    <a:lnTo>
                      <a:pt x="54" y="236"/>
                    </a:lnTo>
                    <a:lnTo>
                      <a:pt x="56" y="236"/>
                    </a:lnTo>
                    <a:lnTo>
                      <a:pt x="56" y="234"/>
                    </a:lnTo>
                    <a:lnTo>
                      <a:pt x="56" y="234"/>
                    </a:lnTo>
                    <a:lnTo>
                      <a:pt x="58" y="234"/>
                    </a:lnTo>
                    <a:lnTo>
                      <a:pt x="58" y="236"/>
                    </a:lnTo>
                    <a:lnTo>
                      <a:pt x="60" y="236"/>
                    </a:lnTo>
                    <a:lnTo>
                      <a:pt x="62" y="236"/>
                    </a:lnTo>
                    <a:lnTo>
                      <a:pt x="62" y="236"/>
                    </a:lnTo>
                    <a:lnTo>
                      <a:pt x="62" y="236"/>
                    </a:lnTo>
                    <a:lnTo>
                      <a:pt x="64" y="236"/>
                    </a:lnTo>
                    <a:lnTo>
                      <a:pt x="66" y="236"/>
                    </a:lnTo>
                    <a:lnTo>
                      <a:pt x="66" y="234"/>
                    </a:lnTo>
                    <a:lnTo>
                      <a:pt x="66" y="234"/>
                    </a:lnTo>
                    <a:lnTo>
                      <a:pt x="68" y="232"/>
                    </a:lnTo>
                    <a:lnTo>
                      <a:pt x="68" y="230"/>
                    </a:lnTo>
                    <a:lnTo>
                      <a:pt x="70" y="230"/>
                    </a:lnTo>
                    <a:lnTo>
                      <a:pt x="70" y="230"/>
                    </a:lnTo>
                    <a:lnTo>
                      <a:pt x="70" y="230"/>
                    </a:lnTo>
                    <a:lnTo>
                      <a:pt x="70" y="228"/>
                    </a:lnTo>
                    <a:lnTo>
                      <a:pt x="72" y="226"/>
                    </a:lnTo>
                    <a:lnTo>
                      <a:pt x="72" y="226"/>
                    </a:lnTo>
                    <a:lnTo>
                      <a:pt x="72" y="226"/>
                    </a:lnTo>
                    <a:lnTo>
                      <a:pt x="74" y="224"/>
                    </a:lnTo>
                    <a:lnTo>
                      <a:pt x="76" y="224"/>
                    </a:lnTo>
                    <a:lnTo>
                      <a:pt x="76" y="224"/>
                    </a:lnTo>
                    <a:lnTo>
                      <a:pt x="78" y="222"/>
                    </a:lnTo>
                    <a:lnTo>
                      <a:pt x="80" y="220"/>
                    </a:lnTo>
                    <a:lnTo>
                      <a:pt x="82" y="218"/>
                    </a:lnTo>
                    <a:lnTo>
                      <a:pt x="82" y="216"/>
                    </a:lnTo>
                    <a:lnTo>
                      <a:pt x="82" y="216"/>
                    </a:lnTo>
                    <a:lnTo>
                      <a:pt x="82" y="214"/>
                    </a:lnTo>
                    <a:lnTo>
                      <a:pt x="82" y="214"/>
                    </a:lnTo>
                    <a:lnTo>
                      <a:pt x="84" y="212"/>
                    </a:lnTo>
                    <a:lnTo>
                      <a:pt x="84" y="212"/>
                    </a:lnTo>
                    <a:lnTo>
                      <a:pt x="84" y="212"/>
                    </a:lnTo>
                    <a:lnTo>
                      <a:pt x="84" y="212"/>
                    </a:lnTo>
                    <a:lnTo>
                      <a:pt x="86" y="212"/>
                    </a:lnTo>
                    <a:lnTo>
                      <a:pt x="86" y="212"/>
                    </a:lnTo>
                    <a:lnTo>
                      <a:pt x="88" y="214"/>
                    </a:lnTo>
                    <a:lnTo>
                      <a:pt x="88" y="214"/>
                    </a:lnTo>
                    <a:lnTo>
                      <a:pt x="88" y="214"/>
                    </a:lnTo>
                    <a:lnTo>
                      <a:pt x="90" y="218"/>
                    </a:lnTo>
                    <a:lnTo>
                      <a:pt x="92" y="220"/>
                    </a:lnTo>
                    <a:lnTo>
                      <a:pt x="94" y="226"/>
                    </a:lnTo>
                    <a:lnTo>
                      <a:pt x="94" y="226"/>
                    </a:lnTo>
                    <a:lnTo>
                      <a:pt x="96" y="230"/>
                    </a:lnTo>
                    <a:lnTo>
                      <a:pt x="98" y="234"/>
                    </a:lnTo>
                    <a:lnTo>
                      <a:pt x="98" y="234"/>
                    </a:lnTo>
                    <a:lnTo>
                      <a:pt x="98" y="236"/>
                    </a:lnTo>
                    <a:lnTo>
                      <a:pt x="100" y="238"/>
                    </a:lnTo>
                    <a:lnTo>
                      <a:pt x="100" y="240"/>
                    </a:lnTo>
                    <a:lnTo>
                      <a:pt x="98" y="244"/>
                    </a:lnTo>
                    <a:lnTo>
                      <a:pt x="98" y="244"/>
                    </a:lnTo>
                    <a:lnTo>
                      <a:pt x="98" y="246"/>
                    </a:lnTo>
                    <a:lnTo>
                      <a:pt x="96" y="248"/>
                    </a:lnTo>
                    <a:lnTo>
                      <a:pt x="96" y="250"/>
                    </a:lnTo>
                    <a:lnTo>
                      <a:pt x="96" y="250"/>
                    </a:lnTo>
                    <a:lnTo>
                      <a:pt x="98" y="252"/>
                    </a:lnTo>
                    <a:lnTo>
                      <a:pt x="98" y="252"/>
                    </a:lnTo>
                    <a:lnTo>
                      <a:pt x="100" y="256"/>
                    </a:lnTo>
                    <a:lnTo>
                      <a:pt x="100" y="256"/>
                    </a:lnTo>
                    <a:lnTo>
                      <a:pt x="104" y="258"/>
                    </a:lnTo>
                    <a:lnTo>
                      <a:pt x="104" y="260"/>
                    </a:lnTo>
                    <a:lnTo>
                      <a:pt x="104" y="262"/>
                    </a:lnTo>
                    <a:lnTo>
                      <a:pt x="104" y="262"/>
                    </a:lnTo>
                    <a:lnTo>
                      <a:pt x="104" y="262"/>
                    </a:lnTo>
                    <a:lnTo>
                      <a:pt x="104" y="262"/>
                    </a:lnTo>
                    <a:lnTo>
                      <a:pt x="104" y="264"/>
                    </a:lnTo>
                    <a:lnTo>
                      <a:pt x="104" y="264"/>
                    </a:lnTo>
                    <a:lnTo>
                      <a:pt x="104" y="266"/>
                    </a:lnTo>
                    <a:lnTo>
                      <a:pt x="104" y="270"/>
                    </a:lnTo>
                    <a:lnTo>
                      <a:pt x="104" y="272"/>
                    </a:lnTo>
                    <a:lnTo>
                      <a:pt x="104" y="272"/>
                    </a:lnTo>
                    <a:lnTo>
                      <a:pt x="106" y="274"/>
                    </a:lnTo>
                    <a:lnTo>
                      <a:pt x="106" y="274"/>
                    </a:lnTo>
                    <a:lnTo>
                      <a:pt x="106" y="274"/>
                    </a:lnTo>
                    <a:lnTo>
                      <a:pt x="108" y="274"/>
                    </a:lnTo>
                    <a:lnTo>
                      <a:pt x="108" y="274"/>
                    </a:lnTo>
                    <a:lnTo>
                      <a:pt x="110" y="274"/>
                    </a:lnTo>
                    <a:lnTo>
                      <a:pt x="110" y="274"/>
                    </a:lnTo>
                    <a:lnTo>
                      <a:pt x="110" y="274"/>
                    </a:lnTo>
                    <a:lnTo>
                      <a:pt x="112" y="274"/>
                    </a:lnTo>
                    <a:lnTo>
                      <a:pt x="112" y="276"/>
                    </a:lnTo>
                    <a:lnTo>
                      <a:pt x="114" y="278"/>
                    </a:lnTo>
                    <a:lnTo>
                      <a:pt x="114" y="278"/>
                    </a:lnTo>
                    <a:lnTo>
                      <a:pt x="114" y="278"/>
                    </a:lnTo>
                    <a:lnTo>
                      <a:pt x="114" y="282"/>
                    </a:lnTo>
                    <a:lnTo>
                      <a:pt x="114" y="284"/>
                    </a:lnTo>
                    <a:lnTo>
                      <a:pt x="116" y="286"/>
                    </a:lnTo>
                    <a:lnTo>
                      <a:pt x="118" y="288"/>
                    </a:lnTo>
                    <a:lnTo>
                      <a:pt x="118" y="288"/>
                    </a:lnTo>
                    <a:lnTo>
                      <a:pt x="120" y="292"/>
                    </a:lnTo>
                    <a:lnTo>
                      <a:pt x="120" y="294"/>
                    </a:lnTo>
                    <a:lnTo>
                      <a:pt x="120" y="296"/>
                    </a:lnTo>
                    <a:lnTo>
                      <a:pt x="120" y="296"/>
                    </a:lnTo>
                    <a:lnTo>
                      <a:pt x="120" y="298"/>
                    </a:lnTo>
                    <a:lnTo>
                      <a:pt x="120" y="300"/>
                    </a:lnTo>
                    <a:lnTo>
                      <a:pt x="120" y="300"/>
                    </a:lnTo>
                    <a:lnTo>
                      <a:pt x="118" y="300"/>
                    </a:lnTo>
                    <a:lnTo>
                      <a:pt x="118" y="300"/>
                    </a:lnTo>
                    <a:lnTo>
                      <a:pt x="118" y="300"/>
                    </a:lnTo>
                    <a:lnTo>
                      <a:pt x="118" y="300"/>
                    </a:lnTo>
                    <a:lnTo>
                      <a:pt x="116" y="302"/>
                    </a:lnTo>
                    <a:lnTo>
                      <a:pt x="114" y="302"/>
                    </a:lnTo>
                    <a:lnTo>
                      <a:pt x="114" y="302"/>
                    </a:lnTo>
                    <a:lnTo>
                      <a:pt x="114" y="302"/>
                    </a:lnTo>
                    <a:lnTo>
                      <a:pt x="114" y="304"/>
                    </a:lnTo>
                    <a:lnTo>
                      <a:pt x="114" y="304"/>
                    </a:lnTo>
                    <a:lnTo>
                      <a:pt x="114" y="306"/>
                    </a:lnTo>
                    <a:lnTo>
                      <a:pt x="116" y="308"/>
                    </a:lnTo>
                    <a:lnTo>
                      <a:pt x="118" y="310"/>
                    </a:lnTo>
                    <a:lnTo>
                      <a:pt x="118" y="310"/>
                    </a:lnTo>
                    <a:lnTo>
                      <a:pt x="118" y="312"/>
                    </a:lnTo>
                    <a:lnTo>
                      <a:pt x="118" y="314"/>
                    </a:lnTo>
                    <a:lnTo>
                      <a:pt x="118" y="314"/>
                    </a:lnTo>
                    <a:lnTo>
                      <a:pt x="118" y="314"/>
                    </a:lnTo>
                    <a:lnTo>
                      <a:pt x="120" y="316"/>
                    </a:lnTo>
                    <a:lnTo>
                      <a:pt x="120" y="318"/>
                    </a:lnTo>
                    <a:lnTo>
                      <a:pt x="120" y="320"/>
                    </a:lnTo>
                    <a:lnTo>
                      <a:pt x="120" y="320"/>
                    </a:lnTo>
                    <a:lnTo>
                      <a:pt x="120" y="322"/>
                    </a:lnTo>
                    <a:lnTo>
                      <a:pt x="122" y="324"/>
                    </a:lnTo>
                    <a:lnTo>
                      <a:pt x="122" y="324"/>
                    </a:lnTo>
                    <a:lnTo>
                      <a:pt x="124" y="326"/>
                    </a:lnTo>
                    <a:lnTo>
                      <a:pt x="124" y="328"/>
                    </a:lnTo>
                    <a:lnTo>
                      <a:pt x="124" y="330"/>
                    </a:lnTo>
                    <a:lnTo>
                      <a:pt x="124" y="330"/>
                    </a:lnTo>
                    <a:lnTo>
                      <a:pt x="124" y="332"/>
                    </a:lnTo>
                    <a:lnTo>
                      <a:pt x="124" y="334"/>
                    </a:lnTo>
                    <a:lnTo>
                      <a:pt x="122" y="336"/>
                    </a:lnTo>
                    <a:lnTo>
                      <a:pt x="122" y="338"/>
                    </a:lnTo>
                    <a:lnTo>
                      <a:pt x="122" y="338"/>
                    </a:lnTo>
                    <a:lnTo>
                      <a:pt x="122" y="340"/>
                    </a:lnTo>
                    <a:lnTo>
                      <a:pt x="122" y="340"/>
                    </a:lnTo>
                    <a:lnTo>
                      <a:pt x="128" y="340"/>
                    </a:lnTo>
                    <a:lnTo>
                      <a:pt x="130" y="338"/>
                    </a:lnTo>
                    <a:lnTo>
                      <a:pt x="132" y="338"/>
                    </a:lnTo>
                    <a:lnTo>
                      <a:pt x="132" y="338"/>
                    </a:lnTo>
                    <a:lnTo>
                      <a:pt x="132" y="336"/>
                    </a:lnTo>
                    <a:lnTo>
                      <a:pt x="132" y="336"/>
                    </a:lnTo>
                    <a:lnTo>
                      <a:pt x="134" y="332"/>
                    </a:lnTo>
                    <a:lnTo>
                      <a:pt x="136" y="328"/>
                    </a:lnTo>
                    <a:lnTo>
                      <a:pt x="136" y="328"/>
                    </a:lnTo>
                    <a:lnTo>
                      <a:pt x="136" y="328"/>
                    </a:lnTo>
                    <a:lnTo>
                      <a:pt x="136" y="328"/>
                    </a:lnTo>
                    <a:lnTo>
                      <a:pt x="136" y="328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90" name="Freeform 563"/>
              <p:cNvSpPr>
                <a:spLocks/>
              </p:cNvSpPr>
              <p:nvPr/>
            </p:nvSpPr>
            <p:spPr bwMode="auto">
              <a:xfrm>
                <a:off x="4287" y="2408"/>
                <a:ext cx="130" cy="158"/>
              </a:xfrm>
              <a:custGeom>
                <a:avLst/>
                <a:gdLst>
                  <a:gd name="T0" fmla="*/ 114 w 130"/>
                  <a:gd name="T1" fmla="*/ 148 h 158"/>
                  <a:gd name="T2" fmla="*/ 120 w 130"/>
                  <a:gd name="T3" fmla="*/ 144 h 158"/>
                  <a:gd name="T4" fmla="*/ 128 w 130"/>
                  <a:gd name="T5" fmla="*/ 140 h 158"/>
                  <a:gd name="T6" fmla="*/ 128 w 130"/>
                  <a:gd name="T7" fmla="*/ 134 h 158"/>
                  <a:gd name="T8" fmla="*/ 122 w 130"/>
                  <a:gd name="T9" fmla="*/ 126 h 158"/>
                  <a:gd name="T10" fmla="*/ 120 w 130"/>
                  <a:gd name="T11" fmla="*/ 116 h 158"/>
                  <a:gd name="T12" fmla="*/ 114 w 130"/>
                  <a:gd name="T13" fmla="*/ 112 h 158"/>
                  <a:gd name="T14" fmla="*/ 108 w 130"/>
                  <a:gd name="T15" fmla="*/ 106 h 158"/>
                  <a:gd name="T16" fmla="*/ 104 w 130"/>
                  <a:gd name="T17" fmla="*/ 96 h 158"/>
                  <a:gd name="T18" fmla="*/ 96 w 130"/>
                  <a:gd name="T19" fmla="*/ 88 h 158"/>
                  <a:gd name="T20" fmla="*/ 88 w 130"/>
                  <a:gd name="T21" fmla="*/ 80 h 158"/>
                  <a:gd name="T22" fmla="*/ 82 w 130"/>
                  <a:gd name="T23" fmla="*/ 76 h 158"/>
                  <a:gd name="T24" fmla="*/ 76 w 130"/>
                  <a:gd name="T25" fmla="*/ 68 h 158"/>
                  <a:gd name="T26" fmla="*/ 72 w 130"/>
                  <a:gd name="T27" fmla="*/ 64 h 158"/>
                  <a:gd name="T28" fmla="*/ 68 w 130"/>
                  <a:gd name="T29" fmla="*/ 62 h 158"/>
                  <a:gd name="T30" fmla="*/ 66 w 130"/>
                  <a:gd name="T31" fmla="*/ 52 h 158"/>
                  <a:gd name="T32" fmla="*/ 72 w 130"/>
                  <a:gd name="T33" fmla="*/ 46 h 158"/>
                  <a:gd name="T34" fmla="*/ 74 w 130"/>
                  <a:gd name="T35" fmla="*/ 42 h 158"/>
                  <a:gd name="T36" fmla="*/ 66 w 130"/>
                  <a:gd name="T37" fmla="*/ 36 h 158"/>
                  <a:gd name="T38" fmla="*/ 58 w 130"/>
                  <a:gd name="T39" fmla="*/ 30 h 158"/>
                  <a:gd name="T40" fmla="*/ 50 w 130"/>
                  <a:gd name="T41" fmla="*/ 30 h 158"/>
                  <a:gd name="T42" fmla="*/ 44 w 130"/>
                  <a:gd name="T43" fmla="*/ 24 h 158"/>
                  <a:gd name="T44" fmla="*/ 40 w 130"/>
                  <a:gd name="T45" fmla="*/ 14 h 158"/>
                  <a:gd name="T46" fmla="*/ 40 w 130"/>
                  <a:gd name="T47" fmla="*/ 8 h 158"/>
                  <a:gd name="T48" fmla="*/ 36 w 130"/>
                  <a:gd name="T49" fmla="*/ 2 h 158"/>
                  <a:gd name="T50" fmla="*/ 24 w 130"/>
                  <a:gd name="T51" fmla="*/ 2 h 158"/>
                  <a:gd name="T52" fmla="*/ 18 w 130"/>
                  <a:gd name="T53" fmla="*/ 8 h 158"/>
                  <a:gd name="T54" fmla="*/ 18 w 130"/>
                  <a:gd name="T55" fmla="*/ 14 h 158"/>
                  <a:gd name="T56" fmla="*/ 18 w 130"/>
                  <a:gd name="T57" fmla="*/ 18 h 158"/>
                  <a:gd name="T58" fmla="*/ 20 w 130"/>
                  <a:gd name="T59" fmla="*/ 20 h 158"/>
                  <a:gd name="T60" fmla="*/ 14 w 130"/>
                  <a:gd name="T61" fmla="*/ 26 h 158"/>
                  <a:gd name="T62" fmla="*/ 4 w 130"/>
                  <a:gd name="T63" fmla="*/ 30 h 158"/>
                  <a:gd name="T64" fmla="*/ 2 w 130"/>
                  <a:gd name="T65" fmla="*/ 40 h 158"/>
                  <a:gd name="T66" fmla="*/ 4 w 130"/>
                  <a:gd name="T67" fmla="*/ 44 h 158"/>
                  <a:gd name="T68" fmla="*/ 8 w 130"/>
                  <a:gd name="T69" fmla="*/ 46 h 158"/>
                  <a:gd name="T70" fmla="*/ 10 w 130"/>
                  <a:gd name="T71" fmla="*/ 58 h 158"/>
                  <a:gd name="T72" fmla="*/ 12 w 130"/>
                  <a:gd name="T73" fmla="*/ 60 h 158"/>
                  <a:gd name="T74" fmla="*/ 20 w 130"/>
                  <a:gd name="T75" fmla="*/ 62 h 158"/>
                  <a:gd name="T76" fmla="*/ 26 w 130"/>
                  <a:gd name="T77" fmla="*/ 68 h 158"/>
                  <a:gd name="T78" fmla="*/ 26 w 130"/>
                  <a:gd name="T79" fmla="*/ 82 h 158"/>
                  <a:gd name="T80" fmla="*/ 26 w 130"/>
                  <a:gd name="T81" fmla="*/ 92 h 158"/>
                  <a:gd name="T82" fmla="*/ 30 w 130"/>
                  <a:gd name="T83" fmla="*/ 94 h 158"/>
                  <a:gd name="T84" fmla="*/ 36 w 130"/>
                  <a:gd name="T85" fmla="*/ 86 h 158"/>
                  <a:gd name="T86" fmla="*/ 40 w 130"/>
                  <a:gd name="T87" fmla="*/ 86 h 158"/>
                  <a:gd name="T88" fmla="*/ 50 w 130"/>
                  <a:gd name="T89" fmla="*/ 90 h 158"/>
                  <a:gd name="T90" fmla="*/ 58 w 130"/>
                  <a:gd name="T91" fmla="*/ 84 h 158"/>
                  <a:gd name="T92" fmla="*/ 70 w 130"/>
                  <a:gd name="T93" fmla="*/ 84 h 158"/>
                  <a:gd name="T94" fmla="*/ 78 w 130"/>
                  <a:gd name="T95" fmla="*/ 90 h 158"/>
                  <a:gd name="T96" fmla="*/ 82 w 130"/>
                  <a:gd name="T97" fmla="*/ 104 h 158"/>
                  <a:gd name="T98" fmla="*/ 84 w 130"/>
                  <a:gd name="T99" fmla="*/ 114 h 158"/>
                  <a:gd name="T100" fmla="*/ 92 w 130"/>
                  <a:gd name="T101" fmla="*/ 118 h 158"/>
                  <a:gd name="T102" fmla="*/ 98 w 130"/>
                  <a:gd name="T103" fmla="*/ 126 h 158"/>
                  <a:gd name="T104" fmla="*/ 102 w 130"/>
                  <a:gd name="T105" fmla="*/ 140 h 158"/>
                  <a:gd name="T106" fmla="*/ 100 w 130"/>
                  <a:gd name="T107" fmla="*/ 150 h 158"/>
                  <a:gd name="T108" fmla="*/ 104 w 130"/>
                  <a:gd name="T109" fmla="*/ 156 h 158"/>
                  <a:gd name="T110" fmla="*/ 110 w 130"/>
                  <a:gd name="T111" fmla="*/ 156 h 158"/>
                  <a:gd name="T112" fmla="*/ 112 w 130"/>
                  <a:gd name="T113" fmla="*/ 154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30" h="158">
                    <a:moveTo>
                      <a:pt x="112" y="154"/>
                    </a:moveTo>
                    <a:lnTo>
                      <a:pt x="112" y="154"/>
                    </a:lnTo>
                    <a:lnTo>
                      <a:pt x="114" y="154"/>
                    </a:lnTo>
                    <a:lnTo>
                      <a:pt x="114" y="152"/>
                    </a:lnTo>
                    <a:lnTo>
                      <a:pt x="114" y="148"/>
                    </a:lnTo>
                    <a:lnTo>
                      <a:pt x="116" y="148"/>
                    </a:lnTo>
                    <a:lnTo>
                      <a:pt x="116" y="146"/>
                    </a:lnTo>
                    <a:lnTo>
                      <a:pt x="118" y="144"/>
                    </a:lnTo>
                    <a:lnTo>
                      <a:pt x="120" y="144"/>
                    </a:lnTo>
                    <a:lnTo>
                      <a:pt x="120" y="144"/>
                    </a:lnTo>
                    <a:lnTo>
                      <a:pt x="124" y="144"/>
                    </a:lnTo>
                    <a:lnTo>
                      <a:pt x="126" y="144"/>
                    </a:lnTo>
                    <a:lnTo>
                      <a:pt x="128" y="142"/>
                    </a:lnTo>
                    <a:lnTo>
                      <a:pt x="128" y="142"/>
                    </a:lnTo>
                    <a:lnTo>
                      <a:pt x="128" y="140"/>
                    </a:lnTo>
                    <a:lnTo>
                      <a:pt x="130" y="138"/>
                    </a:lnTo>
                    <a:lnTo>
                      <a:pt x="130" y="138"/>
                    </a:lnTo>
                    <a:lnTo>
                      <a:pt x="130" y="136"/>
                    </a:lnTo>
                    <a:lnTo>
                      <a:pt x="128" y="134"/>
                    </a:lnTo>
                    <a:lnTo>
                      <a:pt x="128" y="134"/>
                    </a:lnTo>
                    <a:lnTo>
                      <a:pt x="126" y="132"/>
                    </a:lnTo>
                    <a:lnTo>
                      <a:pt x="124" y="130"/>
                    </a:lnTo>
                    <a:lnTo>
                      <a:pt x="122" y="128"/>
                    </a:lnTo>
                    <a:lnTo>
                      <a:pt x="122" y="128"/>
                    </a:lnTo>
                    <a:lnTo>
                      <a:pt x="122" y="126"/>
                    </a:lnTo>
                    <a:lnTo>
                      <a:pt x="122" y="124"/>
                    </a:lnTo>
                    <a:lnTo>
                      <a:pt x="120" y="120"/>
                    </a:lnTo>
                    <a:lnTo>
                      <a:pt x="120" y="120"/>
                    </a:lnTo>
                    <a:lnTo>
                      <a:pt x="120" y="118"/>
                    </a:lnTo>
                    <a:lnTo>
                      <a:pt x="120" y="116"/>
                    </a:lnTo>
                    <a:lnTo>
                      <a:pt x="118" y="114"/>
                    </a:lnTo>
                    <a:lnTo>
                      <a:pt x="118" y="114"/>
                    </a:lnTo>
                    <a:lnTo>
                      <a:pt x="116" y="114"/>
                    </a:lnTo>
                    <a:lnTo>
                      <a:pt x="116" y="112"/>
                    </a:lnTo>
                    <a:lnTo>
                      <a:pt x="114" y="112"/>
                    </a:lnTo>
                    <a:lnTo>
                      <a:pt x="112" y="110"/>
                    </a:lnTo>
                    <a:lnTo>
                      <a:pt x="112" y="110"/>
                    </a:lnTo>
                    <a:lnTo>
                      <a:pt x="112" y="108"/>
                    </a:lnTo>
                    <a:lnTo>
                      <a:pt x="108" y="106"/>
                    </a:lnTo>
                    <a:lnTo>
                      <a:pt x="108" y="106"/>
                    </a:lnTo>
                    <a:lnTo>
                      <a:pt x="108" y="106"/>
                    </a:lnTo>
                    <a:lnTo>
                      <a:pt x="108" y="104"/>
                    </a:lnTo>
                    <a:lnTo>
                      <a:pt x="106" y="102"/>
                    </a:lnTo>
                    <a:lnTo>
                      <a:pt x="106" y="98"/>
                    </a:lnTo>
                    <a:lnTo>
                      <a:pt x="104" y="96"/>
                    </a:lnTo>
                    <a:lnTo>
                      <a:pt x="104" y="94"/>
                    </a:lnTo>
                    <a:lnTo>
                      <a:pt x="104" y="94"/>
                    </a:lnTo>
                    <a:lnTo>
                      <a:pt x="102" y="92"/>
                    </a:lnTo>
                    <a:lnTo>
                      <a:pt x="100" y="90"/>
                    </a:lnTo>
                    <a:lnTo>
                      <a:pt x="96" y="88"/>
                    </a:lnTo>
                    <a:lnTo>
                      <a:pt x="94" y="84"/>
                    </a:lnTo>
                    <a:lnTo>
                      <a:pt x="94" y="84"/>
                    </a:lnTo>
                    <a:lnTo>
                      <a:pt x="92" y="82"/>
                    </a:lnTo>
                    <a:lnTo>
                      <a:pt x="90" y="80"/>
                    </a:lnTo>
                    <a:lnTo>
                      <a:pt x="88" y="80"/>
                    </a:lnTo>
                    <a:lnTo>
                      <a:pt x="88" y="80"/>
                    </a:lnTo>
                    <a:lnTo>
                      <a:pt x="88" y="78"/>
                    </a:lnTo>
                    <a:lnTo>
                      <a:pt x="86" y="78"/>
                    </a:lnTo>
                    <a:lnTo>
                      <a:pt x="84" y="78"/>
                    </a:lnTo>
                    <a:lnTo>
                      <a:pt x="82" y="76"/>
                    </a:lnTo>
                    <a:lnTo>
                      <a:pt x="82" y="76"/>
                    </a:lnTo>
                    <a:lnTo>
                      <a:pt x="80" y="76"/>
                    </a:lnTo>
                    <a:lnTo>
                      <a:pt x="78" y="74"/>
                    </a:lnTo>
                    <a:lnTo>
                      <a:pt x="78" y="72"/>
                    </a:lnTo>
                    <a:lnTo>
                      <a:pt x="76" y="68"/>
                    </a:lnTo>
                    <a:lnTo>
                      <a:pt x="76" y="66"/>
                    </a:lnTo>
                    <a:lnTo>
                      <a:pt x="74" y="66"/>
                    </a:lnTo>
                    <a:lnTo>
                      <a:pt x="74" y="66"/>
                    </a:lnTo>
                    <a:lnTo>
                      <a:pt x="74" y="64"/>
                    </a:lnTo>
                    <a:lnTo>
                      <a:pt x="72" y="64"/>
                    </a:lnTo>
                    <a:lnTo>
                      <a:pt x="70" y="64"/>
                    </a:lnTo>
                    <a:lnTo>
                      <a:pt x="68" y="64"/>
                    </a:lnTo>
                    <a:lnTo>
                      <a:pt x="68" y="62"/>
                    </a:lnTo>
                    <a:lnTo>
                      <a:pt x="68" y="62"/>
                    </a:lnTo>
                    <a:lnTo>
                      <a:pt x="68" y="62"/>
                    </a:lnTo>
                    <a:lnTo>
                      <a:pt x="66" y="60"/>
                    </a:lnTo>
                    <a:lnTo>
                      <a:pt x="66" y="58"/>
                    </a:lnTo>
                    <a:lnTo>
                      <a:pt x="66" y="54"/>
                    </a:lnTo>
                    <a:lnTo>
                      <a:pt x="66" y="54"/>
                    </a:lnTo>
                    <a:lnTo>
                      <a:pt x="66" y="52"/>
                    </a:lnTo>
                    <a:lnTo>
                      <a:pt x="66" y="50"/>
                    </a:lnTo>
                    <a:lnTo>
                      <a:pt x="68" y="50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72" y="46"/>
                    </a:lnTo>
                    <a:lnTo>
                      <a:pt x="74" y="46"/>
                    </a:lnTo>
                    <a:lnTo>
                      <a:pt x="74" y="44"/>
                    </a:lnTo>
                    <a:lnTo>
                      <a:pt x="74" y="44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4" y="40"/>
                    </a:lnTo>
                    <a:lnTo>
                      <a:pt x="72" y="40"/>
                    </a:lnTo>
                    <a:lnTo>
                      <a:pt x="70" y="38"/>
                    </a:lnTo>
                    <a:lnTo>
                      <a:pt x="70" y="38"/>
                    </a:lnTo>
                    <a:lnTo>
                      <a:pt x="66" y="36"/>
                    </a:lnTo>
                    <a:lnTo>
                      <a:pt x="64" y="34"/>
                    </a:lnTo>
                    <a:lnTo>
                      <a:pt x="64" y="34"/>
                    </a:lnTo>
                    <a:lnTo>
                      <a:pt x="62" y="32"/>
                    </a:lnTo>
                    <a:lnTo>
                      <a:pt x="60" y="30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6" y="30"/>
                    </a:lnTo>
                    <a:lnTo>
                      <a:pt x="54" y="32"/>
                    </a:lnTo>
                    <a:lnTo>
                      <a:pt x="52" y="32"/>
                    </a:lnTo>
                    <a:lnTo>
                      <a:pt x="50" y="30"/>
                    </a:lnTo>
                    <a:lnTo>
                      <a:pt x="50" y="30"/>
                    </a:lnTo>
                    <a:lnTo>
                      <a:pt x="50" y="30"/>
                    </a:lnTo>
                    <a:lnTo>
                      <a:pt x="48" y="28"/>
                    </a:lnTo>
                    <a:lnTo>
                      <a:pt x="46" y="26"/>
                    </a:lnTo>
                    <a:lnTo>
                      <a:pt x="44" y="24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2" y="16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0" y="12"/>
                    </a:lnTo>
                    <a:lnTo>
                      <a:pt x="40" y="10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6"/>
                    </a:lnTo>
                    <a:lnTo>
                      <a:pt x="40" y="4"/>
                    </a:lnTo>
                    <a:lnTo>
                      <a:pt x="38" y="4"/>
                    </a:lnTo>
                    <a:lnTo>
                      <a:pt x="36" y="2"/>
                    </a:lnTo>
                    <a:lnTo>
                      <a:pt x="36" y="2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8" y="2"/>
                    </a:lnTo>
                    <a:lnTo>
                      <a:pt x="28" y="2"/>
                    </a:lnTo>
                    <a:lnTo>
                      <a:pt x="24" y="2"/>
                    </a:lnTo>
                    <a:lnTo>
                      <a:pt x="22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6"/>
                    </a:lnTo>
                    <a:lnTo>
                      <a:pt x="18" y="8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2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20" y="18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0" y="22"/>
                    </a:lnTo>
                    <a:lnTo>
                      <a:pt x="18" y="24"/>
                    </a:lnTo>
                    <a:lnTo>
                      <a:pt x="16" y="24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6" y="26"/>
                    </a:lnTo>
                    <a:lnTo>
                      <a:pt x="6" y="28"/>
                    </a:lnTo>
                    <a:lnTo>
                      <a:pt x="4" y="28"/>
                    </a:lnTo>
                    <a:lnTo>
                      <a:pt x="4" y="30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2" y="34"/>
                    </a:lnTo>
                    <a:lnTo>
                      <a:pt x="2" y="36"/>
                    </a:lnTo>
                    <a:lnTo>
                      <a:pt x="2" y="40"/>
                    </a:lnTo>
                    <a:lnTo>
                      <a:pt x="0" y="40"/>
                    </a:lnTo>
                    <a:lnTo>
                      <a:pt x="0" y="42"/>
                    </a:lnTo>
                    <a:lnTo>
                      <a:pt x="0" y="42"/>
                    </a:lnTo>
                    <a:lnTo>
                      <a:pt x="2" y="42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6" y="44"/>
                    </a:lnTo>
                    <a:lnTo>
                      <a:pt x="8" y="44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50"/>
                    </a:lnTo>
                    <a:lnTo>
                      <a:pt x="10" y="54"/>
                    </a:lnTo>
                    <a:lnTo>
                      <a:pt x="10" y="54"/>
                    </a:lnTo>
                    <a:lnTo>
                      <a:pt x="10" y="56"/>
                    </a:lnTo>
                    <a:lnTo>
                      <a:pt x="10" y="58"/>
                    </a:lnTo>
                    <a:lnTo>
                      <a:pt x="10" y="58"/>
                    </a:lnTo>
                    <a:lnTo>
                      <a:pt x="10" y="58"/>
                    </a:lnTo>
                    <a:lnTo>
                      <a:pt x="10" y="60"/>
                    </a:lnTo>
                    <a:lnTo>
                      <a:pt x="10" y="60"/>
                    </a:lnTo>
                    <a:lnTo>
                      <a:pt x="12" y="60"/>
                    </a:lnTo>
                    <a:lnTo>
                      <a:pt x="14" y="60"/>
                    </a:lnTo>
                    <a:lnTo>
                      <a:pt x="16" y="6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20" y="62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4" y="66"/>
                    </a:lnTo>
                    <a:lnTo>
                      <a:pt x="24" y="68"/>
                    </a:lnTo>
                    <a:lnTo>
                      <a:pt x="26" y="68"/>
                    </a:lnTo>
                    <a:lnTo>
                      <a:pt x="26" y="70"/>
                    </a:lnTo>
                    <a:lnTo>
                      <a:pt x="26" y="76"/>
                    </a:lnTo>
                    <a:lnTo>
                      <a:pt x="26" y="80"/>
                    </a:lnTo>
                    <a:lnTo>
                      <a:pt x="26" y="80"/>
                    </a:lnTo>
                    <a:lnTo>
                      <a:pt x="26" y="82"/>
                    </a:lnTo>
                    <a:lnTo>
                      <a:pt x="24" y="86"/>
                    </a:lnTo>
                    <a:lnTo>
                      <a:pt x="24" y="88"/>
                    </a:lnTo>
                    <a:lnTo>
                      <a:pt x="26" y="90"/>
                    </a:lnTo>
                    <a:lnTo>
                      <a:pt x="26" y="92"/>
                    </a:lnTo>
                    <a:lnTo>
                      <a:pt x="26" y="92"/>
                    </a:lnTo>
                    <a:lnTo>
                      <a:pt x="26" y="92"/>
                    </a:lnTo>
                    <a:lnTo>
                      <a:pt x="28" y="94"/>
                    </a:lnTo>
                    <a:lnTo>
                      <a:pt x="30" y="96"/>
                    </a:lnTo>
                    <a:lnTo>
                      <a:pt x="30" y="96"/>
                    </a:lnTo>
                    <a:lnTo>
                      <a:pt x="30" y="94"/>
                    </a:lnTo>
                    <a:lnTo>
                      <a:pt x="32" y="92"/>
                    </a:lnTo>
                    <a:lnTo>
                      <a:pt x="34" y="90"/>
                    </a:lnTo>
                    <a:lnTo>
                      <a:pt x="34" y="88"/>
                    </a:lnTo>
                    <a:lnTo>
                      <a:pt x="36" y="86"/>
                    </a:lnTo>
                    <a:lnTo>
                      <a:pt x="36" y="86"/>
                    </a:lnTo>
                    <a:lnTo>
                      <a:pt x="36" y="86"/>
                    </a:lnTo>
                    <a:lnTo>
                      <a:pt x="38" y="86"/>
                    </a:lnTo>
                    <a:lnTo>
                      <a:pt x="40" y="86"/>
                    </a:lnTo>
                    <a:lnTo>
                      <a:pt x="40" y="86"/>
                    </a:lnTo>
                    <a:lnTo>
                      <a:pt x="40" y="86"/>
                    </a:lnTo>
                    <a:lnTo>
                      <a:pt x="44" y="88"/>
                    </a:lnTo>
                    <a:lnTo>
                      <a:pt x="46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50" y="90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4" y="86"/>
                    </a:lnTo>
                    <a:lnTo>
                      <a:pt x="56" y="84"/>
                    </a:lnTo>
                    <a:lnTo>
                      <a:pt x="58" y="84"/>
                    </a:lnTo>
                    <a:lnTo>
                      <a:pt x="58" y="84"/>
                    </a:lnTo>
                    <a:lnTo>
                      <a:pt x="58" y="84"/>
                    </a:lnTo>
                    <a:lnTo>
                      <a:pt x="62" y="82"/>
                    </a:lnTo>
                    <a:lnTo>
                      <a:pt x="66" y="84"/>
                    </a:lnTo>
                    <a:lnTo>
                      <a:pt x="70" y="84"/>
                    </a:lnTo>
                    <a:lnTo>
                      <a:pt x="70" y="84"/>
                    </a:lnTo>
                    <a:lnTo>
                      <a:pt x="72" y="86"/>
                    </a:lnTo>
                    <a:lnTo>
                      <a:pt x="72" y="86"/>
                    </a:lnTo>
                    <a:lnTo>
                      <a:pt x="76" y="88"/>
                    </a:lnTo>
                    <a:lnTo>
                      <a:pt x="78" y="90"/>
                    </a:lnTo>
                    <a:lnTo>
                      <a:pt x="80" y="94"/>
                    </a:lnTo>
                    <a:lnTo>
                      <a:pt x="80" y="96"/>
                    </a:lnTo>
                    <a:lnTo>
                      <a:pt x="80" y="96"/>
                    </a:lnTo>
                    <a:lnTo>
                      <a:pt x="82" y="100"/>
                    </a:lnTo>
                    <a:lnTo>
                      <a:pt x="82" y="104"/>
                    </a:lnTo>
                    <a:lnTo>
                      <a:pt x="82" y="106"/>
                    </a:lnTo>
                    <a:lnTo>
                      <a:pt x="82" y="110"/>
                    </a:lnTo>
                    <a:lnTo>
                      <a:pt x="82" y="110"/>
                    </a:lnTo>
                    <a:lnTo>
                      <a:pt x="82" y="112"/>
                    </a:lnTo>
                    <a:lnTo>
                      <a:pt x="84" y="114"/>
                    </a:lnTo>
                    <a:lnTo>
                      <a:pt x="86" y="114"/>
                    </a:lnTo>
                    <a:lnTo>
                      <a:pt x="86" y="116"/>
                    </a:lnTo>
                    <a:lnTo>
                      <a:pt x="90" y="116"/>
                    </a:lnTo>
                    <a:lnTo>
                      <a:pt x="92" y="118"/>
                    </a:lnTo>
                    <a:lnTo>
                      <a:pt x="92" y="118"/>
                    </a:lnTo>
                    <a:lnTo>
                      <a:pt x="94" y="120"/>
                    </a:lnTo>
                    <a:lnTo>
                      <a:pt x="96" y="120"/>
                    </a:lnTo>
                    <a:lnTo>
                      <a:pt x="96" y="122"/>
                    </a:lnTo>
                    <a:lnTo>
                      <a:pt x="98" y="124"/>
                    </a:lnTo>
                    <a:lnTo>
                      <a:pt x="98" y="126"/>
                    </a:lnTo>
                    <a:lnTo>
                      <a:pt x="100" y="130"/>
                    </a:lnTo>
                    <a:lnTo>
                      <a:pt x="100" y="130"/>
                    </a:lnTo>
                    <a:lnTo>
                      <a:pt x="100" y="134"/>
                    </a:lnTo>
                    <a:lnTo>
                      <a:pt x="102" y="138"/>
                    </a:lnTo>
                    <a:lnTo>
                      <a:pt x="102" y="140"/>
                    </a:lnTo>
                    <a:lnTo>
                      <a:pt x="102" y="142"/>
                    </a:lnTo>
                    <a:lnTo>
                      <a:pt x="102" y="144"/>
                    </a:lnTo>
                    <a:lnTo>
                      <a:pt x="102" y="144"/>
                    </a:lnTo>
                    <a:lnTo>
                      <a:pt x="102" y="148"/>
                    </a:lnTo>
                    <a:lnTo>
                      <a:pt x="100" y="150"/>
                    </a:lnTo>
                    <a:lnTo>
                      <a:pt x="100" y="150"/>
                    </a:lnTo>
                    <a:lnTo>
                      <a:pt x="102" y="154"/>
                    </a:lnTo>
                    <a:lnTo>
                      <a:pt x="102" y="154"/>
                    </a:lnTo>
                    <a:lnTo>
                      <a:pt x="104" y="156"/>
                    </a:lnTo>
                    <a:lnTo>
                      <a:pt x="104" y="156"/>
                    </a:lnTo>
                    <a:lnTo>
                      <a:pt x="104" y="156"/>
                    </a:lnTo>
                    <a:lnTo>
                      <a:pt x="106" y="156"/>
                    </a:lnTo>
                    <a:lnTo>
                      <a:pt x="108" y="158"/>
                    </a:lnTo>
                    <a:lnTo>
                      <a:pt x="108" y="156"/>
                    </a:lnTo>
                    <a:lnTo>
                      <a:pt x="110" y="156"/>
                    </a:lnTo>
                    <a:lnTo>
                      <a:pt x="112" y="156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91" name="Freeform 565"/>
              <p:cNvSpPr>
                <a:spLocks/>
              </p:cNvSpPr>
              <p:nvPr/>
            </p:nvSpPr>
            <p:spPr bwMode="auto">
              <a:xfrm>
                <a:off x="4343" y="2552"/>
                <a:ext cx="78" cy="80"/>
              </a:xfrm>
              <a:custGeom>
                <a:avLst/>
                <a:gdLst>
                  <a:gd name="T0" fmla="*/ 44 w 78"/>
                  <a:gd name="T1" fmla="*/ 72 h 80"/>
                  <a:gd name="T2" fmla="*/ 52 w 78"/>
                  <a:gd name="T3" fmla="*/ 74 h 80"/>
                  <a:gd name="T4" fmla="*/ 56 w 78"/>
                  <a:gd name="T5" fmla="*/ 72 h 80"/>
                  <a:gd name="T6" fmla="*/ 58 w 78"/>
                  <a:gd name="T7" fmla="*/ 66 h 80"/>
                  <a:gd name="T8" fmla="*/ 58 w 78"/>
                  <a:gd name="T9" fmla="*/ 64 h 80"/>
                  <a:gd name="T10" fmla="*/ 56 w 78"/>
                  <a:gd name="T11" fmla="*/ 62 h 80"/>
                  <a:gd name="T12" fmla="*/ 54 w 78"/>
                  <a:gd name="T13" fmla="*/ 58 h 80"/>
                  <a:gd name="T14" fmla="*/ 54 w 78"/>
                  <a:gd name="T15" fmla="*/ 54 h 80"/>
                  <a:gd name="T16" fmla="*/ 56 w 78"/>
                  <a:gd name="T17" fmla="*/ 52 h 80"/>
                  <a:gd name="T18" fmla="*/ 60 w 78"/>
                  <a:gd name="T19" fmla="*/ 50 h 80"/>
                  <a:gd name="T20" fmla="*/ 72 w 78"/>
                  <a:gd name="T21" fmla="*/ 48 h 80"/>
                  <a:gd name="T22" fmla="*/ 76 w 78"/>
                  <a:gd name="T23" fmla="*/ 46 h 80"/>
                  <a:gd name="T24" fmla="*/ 78 w 78"/>
                  <a:gd name="T25" fmla="*/ 44 h 80"/>
                  <a:gd name="T26" fmla="*/ 78 w 78"/>
                  <a:gd name="T27" fmla="*/ 38 h 80"/>
                  <a:gd name="T28" fmla="*/ 78 w 78"/>
                  <a:gd name="T29" fmla="*/ 20 h 80"/>
                  <a:gd name="T30" fmla="*/ 72 w 78"/>
                  <a:gd name="T31" fmla="*/ 14 h 80"/>
                  <a:gd name="T32" fmla="*/ 70 w 78"/>
                  <a:gd name="T33" fmla="*/ 8 h 80"/>
                  <a:gd name="T34" fmla="*/ 70 w 78"/>
                  <a:gd name="T35" fmla="*/ 0 h 80"/>
                  <a:gd name="T36" fmla="*/ 64 w 78"/>
                  <a:gd name="T37" fmla="*/ 0 h 80"/>
                  <a:gd name="T38" fmla="*/ 60 w 78"/>
                  <a:gd name="T39" fmla="*/ 2 h 80"/>
                  <a:gd name="T40" fmla="*/ 58 w 78"/>
                  <a:gd name="T41" fmla="*/ 8 h 80"/>
                  <a:gd name="T42" fmla="*/ 56 w 78"/>
                  <a:gd name="T43" fmla="*/ 10 h 80"/>
                  <a:gd name="T44" fmla="*/ 54 w 78"/>
                  <a:gd name="T45" fmla="*/ 12 h 80"/>
                  <a:gd name="T46" fmla="*/ 50 w 78"/>
                  <a:gd name="T47" fmla="*/ 12 h 80"/>
                  <a:gd name="T48" fmla="*/ 48 w 78"/>
                  <a:gd name="T49" fmla="*/ 12 h 80"/>
                  <a:gd name="T50" fmla="*/ 44 w 78"/>
                  <a:gd name="T51" fmla="*/ 6 h 80"/>
                  <a:gd name="T52" fmla="*/ 42 w 78"/>
                  <a:gd name="T53" fmla="*/ 8 h 80"/>
                  <a:gd name="T54" fmla="*/ 38 w 78"/>
                  <a:gd name="T55" fmla="*/ 8 h 80"/>
                  <a:gd name="T56" fmla="*/ 34 w 78"/>
                  <a:gd name="T57" fmla="*/ 4 h 80"/>
                  <a:gd name="T58" fmla="*/ 32 w 78"/>
                  <a:gd name="T59" fmla="*/ 2 h 80"/>
                  <a:gd name="T60" fmla="*/ 28 w 78"/>
                  <a:gd name="T61" fmla="*/ 2 h 80"/>
                  <a:gd name="T62" fmla="*/ 12 w 78"/>
                  <a:gd name="T63" fmla="*/ 4 h 80"/>
                  <a:gd name="T64" fmla="*/ 8 w 78"/>
                  <a:gd name="T65" fmla="*/ 8 h 80"/>
                  <a:gd name="T66" fmla="*/ 4 w 78"/>
                  <a:gd name="T67" fmla="*/ 12 h 80"/>
                  <a:gd name="T68" fmla="*/ 0 w 78"/>
                  <a:gd name="T69" fmla="*/ 24 h 80"/>
                  <a:gd name="T70" fmla="*/ 2 w 78"/>
                  <a:gd name="T71" fmla="*/ 32 h 80"/>
                  <a:gd name="T72" fmla="*/ 6 w 78"/>
                  <a:gd name="T73" fmla="*/ 36 h 80"/>
                  <a:gd name="T74" fmla="*/ 10 w 78"/>
                  <a:gd name="T75" fmla="*/ 38 h 80"/>
                  <a:gd name="T76" fmla="*/ 10 w 78"/>
                  <a:gd name="T77" fmla="*/ 42 h 80"/>
                  <a:gd name="T78" fmla="*/ 10 w 78"/>
                  <a:gd name="T79" fmla="*/ 48 h 80"/>
                  <a:gd name="T80" fmla="*/ 8 w 78"/>
                  <a:gd name="T81" fmla="*/ 54 h 80"/>
                  <a:gd name="T82" fmla="*/ 8 w 78"/>
                  <a:gd name="T83" fmla="*/ 58 h 80"/>
                  <a:gd name="T84" fmla="*/ 12 w 78"/>
                  <a:gd name="T85" fmla="*/ 64 h 80"/>
                  <a:gd name="T86" fmla="*/ 12 w 78"/>
                  <a:gd name="T87" fmla="*/ 70 h 80"/>
                  <a:gd name="T88" fmla="*/ 16 w 78"/>
                  <a:gd name="T89" fmla="*/ 74 h 80"/>
                  <a:gd name="T90" fmla="*/ 18 w 78"/>
                  <a:gd name="T91" fmla="*/ 72 h 80"/>
                  <a:gd name="T92" fmla="*/ 22 w 78"/>
                  <a:gd name="T93" fmla="*/ 70 h 80"/>
                  <a:gd name="T94" fmla="*/ 24 w 78"/>
                  <a:gd name="T95" fmla="*/ 72 h 80"/>
                  <a:gd name="T96" fmla="*/ 24 w 78"/>
                  <a:gd name="T97" fmla="*/ 74 h 80"/>
                  <a:gd name="T98" fmla="*/ 26 w 78"/>
                  <a:gd name="T99" fmla="*/ 76 h 80"/>
                  <a:gd name="T100" fmla="*/ 30 w 78"/>
                  <a:gd name="T101" fmla="*/ 78 h 80"/>
                  <a:gd name="T102" fmla="*/ 32 w 78"/>
                  <a:gd name="T103" fmla="*/ 80 h 80"/>
                  <a:gd name="T104" fmla="*/ 36 w 78"/>
                  <a:gd name="T105" fmla="*/ 74 h 80"/>
                  <a:gd name="T106" fmla="*/ 44 w 78"/>
                  <a:gd name="T107" fmla="*/ 72 h 80"/>
                  <a:gd name="T108" fmla="*/ 44 w 78"/>
                  <a:gd name="T109" fmla="*/ 72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78" h="80">
                    <a:moveTo>
                      <a:pt x="44" y="72"/>
                    </a:moveTo>
                    <a:lnTo>
                      <a:pt x="44" y="72"/>
                    </a:lnTo>
                    <a:lnTo>
                      <a:pt x="44" y="72"/>
                    </a:lnTo>
                    <a:lnTo>
                      <a:pt x="46" y="72"/>
                    </a:lnTo>
                    <a:lnTo>
                      <a:pt x="52" y="74"/>
                    </a:lnTo>
                    <a:lnTo>
                      <a:pt x="52" y="74"/>
                    </a:lnTo>
                    <a:lnTo>
                      <a:pt x="54" y="74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8" y="68"/>
                    </a:lnTo>
                    <a:lnTo>
                      <a:pt x="58" y="66"/>
                    </a:lnTo>
                    <a:lnTo>
                      <a:pt x="58" y="64"/>
                    </a:lnTo>
                    <a:lnTo>
                      <a:pt x="58" y="64"/>
                    </a:lnTo>
                    <a:lnTo>
                      <a:pt x="58" y="64"/>
                    </a:lnTo>
                    <a:lnTo>
                      <a:pt x="58" y="64"/>
                    </a:lnTo>
                    <a:lnTo>
                      <a:pt x="56" y="62"/>
                    </a:lnTo>
                    <a:lnTo>
                      <a:pt x="56" y="62"/>
                    </a:lnTo>
                    <a:lnTo>
                      <a:pt x="54" y="60"/>
                    </a:lnTo>
                    <a:lnTo>
                      <a:pt x="54" y="60"/>
                    </a:lnTo>
                    <a:lnTo>
                      <a:pt x="54" y="58"/>
                    </a:lnTo>
                    <a:lnTo>
                      <a:pt x="54" y="56"/>
                    </a:lnTo>
                    <a:lnTo>
                      <a:pt x="54" y="56"/>
                    </a:lnTo>
                    <a:lnTo>
                      <a:pt x="54" y="54"/>
                    </a:lnTo>
                    <a:lnTo>
                      <a:pt x="54" y="54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60" y="50"/>
                    </a:lnTo>
                    <a:lnTo>
                      <a:pt x="64" y="50"/>
                    </a:lnTo>
                    <a:lnTo>
                      <a:pt x="68" y="50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4" y="48"/>
                    </a:lnTo>
                    <a:lnTo>
                      <a:pt x="76" y="46"/>
                    </a:lnTo>
                    <a:lnTo>
                      <a:pt x="78" y="46"/>
                    </a:lnTo>
                    <a:lnTo>
                      <a:pt x="78" y="46"/>
                    </a:lnTo>
                    <a:lnTo>
                      <a:pt x="78" y="44"/>
                    </a:lnTo>
                    <a:lnTo>
                      <a:pt x="78" y="42"/>
                    </a:lnTo>
                    <a:lnTo>
                      <a:pt x="78" y="38"/>
                    </a:lnTo>
                    <a:lnTo>
                      <a:pt x="78" y="38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0"/>
                    </a:lnTo>
                    <a:lnTo>
                      <a:pt x="76" y="18"/>
                    </a:lnTo>
                    <a:lnTo>
                      <a:pt x="74" y="16"/>
                    </a:lnTo>
                    <a:lnTo>
                      <a:pt x="72" y="14"/>
                    </a:lnTo>
                    <a:lnTo>
                      <a:pt x="72" y="10"/>
                    </a:lnTo>
                    <a:lnTo>
                      <a:pt x="72" y="10"/>
                    </a:lnTo>
                    <a:lnTo>
                      <a:pt x="70" y="8"/>
                    </a:lnTo>
                    <a:lnTo>
                      <a:pt x="70" y="6"/>
                    </a:lnTo>
                    <a:lnTo>
                      <a:pt x="70" y="0"/>
                    </a:lnTo>
                    <a:lnTo>
                      <a:pt x="70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2" y="0"/>
                    </a:lnTo>
                    <a:lnTo>
                      <a:pt x="60" y="2"/>
                    </a:lnTo>
                    <a:lnTo>
                      <a:pt x="60" y="4"/>
                    </a:lnTo>
                    <a:lnTo>
                      <a:pt x="58" y="4"/>
                    </a:lnTo>
                    <a:lnTo>
                      <a:pt x="58" y="8"/>
                    </a:lnTo>
                    <a:lnTo>
                      <a:pt x="58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2"/>
                    </a:lnTo>
                    <a:lnTo>
                      <a:pt x="54" y="12"/>
                    </a:lnTo>
                    <a:lnTo>
                      <a:pt x="52" y="12"/>
                    </a:lnTo>
                    <a:lnTo>
                      <a:pt x="52" y="14"/>
                    </a:lnTo>
                    <a:lnTo>
                      <a:pt x="50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6" y="10"/>
                    </a:lnTo>
                    <a:lnTo>
                      <a:pt x="46" y="10"/>
                    </a:lnTo>
                    <a:lnTo>
                      <a:pt x="44" y="6"/>
                    </a:lnTo>
                    <a:lnTo>
                      <a:pt x="44" y="6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0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34" y="4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28" y="2"/>
                    </a:lnTo>
                    <a:lnTo>
                      <a:pt x="28" y="2"/>
                    </a:lnTo>
                    <a:lnTo>
                      <a:pt x="20" y="2"/>
                    </a:lnTo>
                    <a:lnTo>
                      <a:pt x="16" y="2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6"/>
                    </a:lnTo>
                    <a:lnTo>
                      <a:pt x="8" y="8"/>
                    </a:lnTo>
                    <a:lnTo>
                      <a:pt x="6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2" y="16"/>
                    </a:lnTo>
                    <a:lnTo>
                      <a:pt x="2" y="20"/>
                    </a:lnTo>
                    <a:lnTo>
                      <a:pt x="0" y="24"/>
                    </a:lnTo>
                    <a:lnTo>
                      <a:pt x="0" y="26"/>
                    </a:lnTo>
                    <a:lnTo>
                      <a:pt x="2" y="30"/>
                    </a:lnTo>
                    <a:lnTo>
                      <a:pt x="2" y="32"/>
                    </a:lnTo>
                    <a:lnTo>
                      <a:pt x="4" y="34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10" y="38"/>
                    </a:lnTo>
                    <a:lnTo>
                      <a:pt x="10" y="40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6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50"/>
                    </a:lnTo>
                    <a:lnTo>
                      <a:pt x="8" y="52"/>
                    </a:lnTo>
                    <a:lnTo>
                      <a:pt x="8" y="54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8"/>
                    </a:lnTo>
                    <a:lnTo>
                      <a:pt x="10" y="60"/>
                    </a:lnTo>
                    <a:lnTo>
                      <a:pt x="10" y="62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6"/>
                    </a:lnTo>
                    <a:lnTo>
                      <a:pt x="12" y="70"/>
                    </a:lnTo>
                    <a:lnTo>
                      <a:pt x="14" y="72"/>
                    </a:lnTo>
                    <a:lnTo>
                      <a:pt x="14" y="72"/>
                    </a:lnTo>
                    <a:lnTo>
                      <a:pt x="16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4" y="72"/>
                    </a:lnTo>
                    <a:lnTo>
                      <a:pt x="24" y="72"/>
                    </a:lnTo>
                    <a:lnTo>
                      <a:pt x="24" y="74"/>
                    </a:lnTo>
                    <a:lnTo>
                      <a:pt x="24" y="74"/>
                    </a:lnTo>
                    <a:lnTo>
                      <a:pt x="24" y="76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8" y="76"/>
                    </a:lnTo>
                    <a:lnTo>
                      <a:pt x="28" y="76"/>
                    </a:lnTo>
                    <a:lnTo>
                      <a:pt x="30" y="78"/>
                    </a:lnTo>
                    <a:lnTo>
                      <a:pt x="32" y="78"/>
                    </a:lnTo>
                    <a:lnTo>
                      <a:pt x="32" y="78"/>
                    </a:lnTo>
                    <a:lnTo>
                      <a:pt x="32" y="80"/>
                    </a:lnTo>
                    <a:lnTo>
                      <a:pt x="32" y="80"/>
                    </a:lnTo>
                    <a:lnTo>
                      <a:pt x="34" y="76"/>
                    </a:lnTo>
                    <a:lnTo>
                      <a:pt x="36" y="74"/>
                    </a:lnTo>
                    <a:lnTo>
                      <a:pt x="40" y="74"/>
                    </a:lnTo>
                    <a:lnTo>
                      <a:pt x="44" y="72"/>
                    </a:lnTo>
                    <a:lnTo>
                      <a:pt x="44" y="72"/>
                    </a:lnTo>
                    <a:lnTo>
                      <a:pt x="44" y="72"/>
                    </a:lnTo>
                    <a:lnTo>
                      <a:pt x="44" y="72"/>
                    </a:lnTo>
                    <a:lnTo>
                      <a:pt x="44" y="7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92" name="Freeform 566"/>
              <p:cNvSpPr>
                <a:spLocks/>
              </p:cNvSpPr>
              <p:nvPr/>
            </p:nvSpPr>
            <p:spPr bwMode="auto">
              <a:xfrm>
                <a:off x="4343" y="2552"/>
                <a:ext cx="78" cy="80"/>
              </a:xfrm>
              <a:custGeom>
                <a:avLst/>
                <a:gdLst>
                  <a:gd name="T0" fmla="*/ 44 w 78"/>
                  <a:gd name="T1" fmla="*/ 72 h 80"/>
                  <a:gd name="T2" fmla="*/ 52 w 78"/>
                  <a:gd name="T3" fmla="*/ 74 h 80"/>
                  <a:gd name="T4" fmla="*/ 56 w 78"/>
                  <a:gd name="T5" fmla="*/ 72 h 80"/>
                  <a:gd name="T6" fmla="*/ 58 w 78"/>
                  <a:gd name="T7" fmla="*/ 66 h 80"/>
                  <a:gd name="T8" fmla="*/ 58 w 78"/>
                  <a:gd name="T9" fmla="*/ 64 h 80"/>
                  <a:gd name="T10" fmla="*/ 56 w 78"/>
                  <a:gd name="T11" fmla="*/ 62 h 80"/>
                  <a:gd name="T12" fmla="*/ 54 w 78"/>
                  <a:gd name="T13" fmla="*/ 58 h 80"/>
                  <a:gd name="T14" fmla="*/ 54 w 78"/>
                  <a:gd name="T15" fmla="*/ 54 h 80"/>
                  <a:gd name="T16" fmla="*/ 56 w 78"/>
                  <a:gd name="T17" fmla="*/ 52 h 80"/>
                  <a:gd name="T18" fmla="*/ 60 w 78"/>
                  <a:gd name="T19" fmla="*/ 50 h 80"/>
                  <a:gd name="T20" fmla="*/ 72 w 78"/>
                  <a:gd name="T21" fmla="*/ 48 h 80"/>
                  <a:gd name="T22" fmla="*/ 76 w 78"/>
                  <a:gd name="T23" fmla="*/ 46 h 80"/>
                  <a:gd name="T24" fmla="*/ 78 w 78"/>
                  <a:gd name="T25" fmla="*/ 44 h 80"/>
                  <a:gd name="T26" fmla="*/ 78 w 78"/>
                  <a:gd name="T27" fmla="*/ 38 h 80"/>
                  <a:gd name="T28" fmla="*/ 78 w 78"/>
                  <a:gd name="T29" fmla="*/ 20 h 80"/>
                  <a:gd name="T30" fmla="*/ 72 w 78"/>
                  <a:gd name="T31" fmla="*/ 14 h 80"/>
                  <a:gd name="T32" fmla="*/ 70 w 78"/>
                  <a:gd name="T33" fmla="*/ 8 h 80"/>
                  <a:gd name="T34" fmla="*/ 70 w 78"/>
                  <a:gd name="T35" fmla="*/ 0 h 80"/>
                  <a:gd name="T36" fmla="*/ 64 w 78"/>
                  <a:gd name="T37" fmla="*/ 0 h 80"/>
                  <a:gd name="T38" fmla="*/ 60 w 78"/>
                  <a:gd name="T39" fmla="*/ 2 h 80"/>
                  <a:gd name="T40" fmla="*/ 58 w 78"/>
                  <a:gd name="T41" fmla="*/ 8 h 80"/>
                  <a:gd name="T42" fmla="*/ 56 w 78"/>
                  <a:gd name="T43" fmla="*/ 10 h 80"/>
                  <a:gd name="T44" fmla="*/ 54 w 78"/>
                  <a:gd name="T45" fmla="*/ 12 h 80"/>
                  <a:gd name="T46" fmla="*/ 50 w 78"/>
                  <a:gd name="T47" fmla="*/ 12 h 80"/>
                  <a:gd name="T48" fmla="*/ 48 w 78"/>
                  <a:gd name="T49" fmla="*/ 12 h 80"/>
                  <a:gd name="T50" fmla="*/ 44 w 78"/>
                  <a:gd name="T51" fmla="*/ 6 h 80"/>
                  <a:gd name="T52" fmla="*/ 42 w 78"/>
                  <a:gd name="T53" fmla="*/ 8 h 80"/>
                  <a:gd name="T54" fmla="*/ 38 w 78"/>
                  <a:gd name="T55" fmla="*/ 8 h 80"/>
                  <a:gd name="T56" fmla="*/ 34 w 78"/>
                  <a:gd name="T57" fmla="*/ 4 h 80"/>
                  <a:gd name="T58" fmla="*/ 32 w 78"/>
                  <a:gd name="T59" fmla="*/ 2 h 80"/>
                  <a:gd name="T60" fmla="*/ 28 w 78"/>
                  <a:gd name="T61" fmla="*/ 2 h 80"/>
                  <a:gd name="T62" fmla="*/ 12 w 78"/>
                  <a:gd name="T63" fmla="*/ 4 h 80"/>
                  <a:gd name="T64" fmla="*/ 8 w 78"/>
                  <a:gd name="T65" fmla="*/ 8 h 80"/>
                  <a:gd name="T66" fmla="*/ 4 w 78"/>
                  <a:gd name="T67" fmla="*/ 12 h 80"/>
                  <a:gd name="T68" fmla="*/ 0 w 78"/>
                  <a:gd name="T69" fmla="*/ 24 h 80"/>
                  <a:gd name="T70" fmla="*/ 2 w 78"/>
                  <a:gd name="T71" fmla="*/ 32 h 80"/>
                  <a:gd name="T72" fmla="*/ 6 w 78"/>
                  <a:gd name="T73" fmla="*/ 36 h 80"/>
                  <a:gd name="T74" fmla="*/ 10 w 78"/>
                  <a:gd name="T75" fmla="*/ 38 h 80"/>
                  <a:gd name="T76" fmla="*/ 10 w 78"/>
                  <a:gd name="T77" fmla="*/ 42 h 80"/>
                  <a:gd name="T78" fmla="*/ 10 w 78"/>
                  <a:gd name="T79" fmla="*/ 48 h 80"/>
                  <a:gd name="T80" fmla="*/ 8 w 78"/>
                  <a:gd name="T81" fmla="*/ 54 h 80"/>
                  <a:gd name="T82" fmla="*/ 8 w 78"/>
                  <a:gd name="T83" fmla="*/ 58 h 80"/>
                  <a:gd name="T84" fmla="*/ 12 w 78"/>
                  <a:gd name="T85" fmla="*/ 64 h 80"/>
                  <a:gd name="T86" fmla="*/ 12 w 78"/>
                  <a:gd name="T87" fmla="*/ 70 h 80"/>
                  <a:gd name="T88" fmla="*/ 16 w 78"/>
                  <a:gd name="T89" fmla="*/ 74 h 80"/>
                  <a:gd name="T90" fmla="*/ 18 w 78"/>
                  <a:gd name="T91" fmla="*/ 72 h 80"/>
                  <a:gd name="T92" fmla="*/ 22 w 78"/>
                  <a:gd name="T93" fmla="*/ 70 h 80"/>
                  <a:gd name="T94" fmla="*/ 24 w 78"/>
                  <a:gd name="T95" fmla="*/ 72 h 80"/>
                  <a:gd name="T96" fmla="*/ 24 w 78"/>
                  <a:gd name="T97" fmla="*/ 74 h 80"/>
                  <a:gd name="T98" fmla="*/ 26 w 78"/>
                  <a:gd name="T99" fmla="*/ 76 h 80"/>
                  <a:gd name="T100" fmla="*/ 30 w 78"/>
                  <a:gd name="T101" fmla="*/ 78 h 80"/>
                  <a:gd name="T102" fmla="*/ 32 w 78"/>
                  <a:gd name="T103" fmla="*/ 80 h 80"/>
                  <a:gd name="T104" fmla="*/ 36 w 78"/>
                  <a:gd name="T105" fmla="*/ 74 h 80"/>
                  <a:gd name="T106" fmla="*/ 44 w 78"/>
                  <a:gd name="T107" fmla="*/ 72 h 80"/>
                  <a:gd name="T108" fmla="*/ 44 w 78"/>
                  <a:gd name="T109" fmla="*/ 72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78" h="80">
                    <a:moveTo>
                      <a:pt x="44" y="72"/>
                    </a:moveTo>
                    <a:lnTo>
                      <a:pt x="44" y="72"/>
                    </a:lnTo>
                    <a:lnTo>
                      <a:pt x="44" y="72"/>
                    </a:lnTo>
                    <a:lnTo>
                      <a:pt x="46" y="72"/>
                    </a:lnTo>
                    <a:lnTo>
                      <a:pt x="52" y="74"/>
                    </a:lnTo>
                    <a:lnTo>
                      <a:pt x="52" y="74"/>
                    </a:lnTo>
                    <a:lnTo>
                      <a:pt x="54" y="74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8" y="68"/>
                    </a:lnTo>
                    <a:lnTo>
                      <a:pt x="58" y="66"/>
                    </a:lnTo>
                    <a:lnTo>
                      <a:pt x="58" y="64"/>
                    </a:lnTo>
                    <a:lnTo>
                      <a:pt x="58" y="64"/>
                    </a:lnTo>
                    <a:lnTo>
                      <a:pt x="58" y="64"/>
                    </a:lnTo>
                    <a:lnTo>
                      <a:pt x="58" y="64"/>
                    </a:lnTo>
                    <a:lnTo>
                      <a:pt x="56" y="62"/>
                    </a:lnTo>
                    <a:lnTo>
                      <a:pt x="56" y="62"/>
                    </a:lnTo>
                    <a:lnTo>
                      <a:pt x="54" y="60"/>
                    </a:lnTo>
                    <a:lnTo>
                      <a:pt x="54" y="60"/>
                    </a:lnTo>
                    <a:lnTo>
                      <a:pt x="54" y="58"/>
                    </a:lnTo>
                    <a:lnTo>
                      <a:pt x="54" y="56"/>
                    </a:lnTo>
                    <a:lnTo>
                      <a:pt x="54" y="56"/>
                    </a:lnTo>
                    <a:lnTo>
                      <a:pt x="54" y="54"/>
                    </a:lnTo>
                    <a:lnTo>
                      <a:pt x="54" y="54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60" y="50"/>
                    </a:lnTo>
                    <a:lnTo>
                      <a:pt x="64" y="50"/>
                    </a:lnTo>
                    <a:lnTo>
                      <a:pt x="68" y="50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4" y="48"/>
                    </a:lnTo>
                    <a:lnTo>
                      <a:pt x="76" y="46"/>
                    </a:lnTo>
                    <a:lnTo>
                      <a:pt x="78" y="46"/>
                    </a:lnTo>
                    <a:lnTo>
                      <a:pt x="78" y="46"/>
                    </a:lnTo>
                    <a:lnTo>
                      <a:pt x="78" y="44"/>
                    </a:lnTo>
                    <a:lnTo>
                      <a:pt x="78" y="42"/>
                    </a:lnTo>
                    <a:lnTo>
                      <a:pt x="78" y="38"/>
                    </a:lnTo>
                    <a:lnTo>
                      <a:pt x="78" y="38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0"/>
                    </a:lnTo>
                    <a:lnTo>
                      <a:pt x="76" y="18"/>
                    </a:lnTo>
                    <a:lnTo>
                      <a:pt x="74" y="16"/>
                    </a:lnTo>
                    <a:lnTo>
                      <a:pt x="72" y="14"/>
                    </a:lnTo>
                    <a:lnTo>
                      <a:pt x="72" y="10"/>
                    </a:lnTo>
                    <a:lnTo>
                      <a:pt x="72" y="10"/>
                    </a:lnTo>
                    <a:lnTo>
                      <a:pt x="70" y="8"/>
                    </a:lnTo>
                    <a:lnTo>
                      <a:pt x="70" y="6"/>
                    </a:lnTo>
                    <a:lnTo>
                      <a:pt x="70" y="0"/>
                    </a:lnTo>
                    <a:lnTo>
                      <a:pt x="70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2" y="0"/>
                    </a:lnTo>
                    <a:lnTo>
                      <a:pt x="60" y="2"/>
                    </a:lnTo>
                    <a:lnTo>
                      <a:pt x="60" y="4"/>
                    </a:lnTo>
                    <a:lnTo>
                      <a:pt x="58" y="4"/>
                    </a:lnTo>
                    <a:lnTo>
                      <a:pt x="58" y="8"/>
                    </a:lnTo>
                    <a:lnTo>
                      <a:pt x="58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2"/>
                    </a:lnTo>
                    <a:lnTo>
                      <a:pt x="54" y="12"/>
                    </a:lnTo>
                    <a:lnTo>
                      <a:pt x="52" y="12"/>
                    </a:lnTo>
                    <a:lnTo>
                      <a:pt x="52" y="14"/>
                    </a:lnTo>
                    <a:lnTo>
                      <a:pt x="50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6" y="10"/>
                    </a:lnTo>
                    <a:lnTo>
                      <a:pt x="46" y="10"/>
                    </a:lnTo>
                    <a:lnTo>
                      <a:pt x="44" y="6"/>
                    </a:lnTo>
                    <a:lnTo>
                      <a:pt x="44" y="6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0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34" y="4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28" y="2"/>
                    </a:lnTo>
                    <a:lnTo>
                      <a:pt x="28" y="2"/>
                    </a:lnTo>
                    <a:lnTo>
                      <a:pt x="20" y="2"/>
                    </a:lnTo>
                    <a:lnTo>
                      <a:pt x="16" y="2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6"/>
                    </a:lnTo>
                    <a:lnTo>
                      <a:pt x="8" y="8"/>
                    </a:lnTo>
                    <a:lnTo>
                      <a:pt x="6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2" y="16"/>
                    </a:lnTo>
                    <a:lnTo>
                      <a:pt x="2" y="20"/>
                    </a:lnTo>
                    <a:lnTo>
                      <a:pt x="0" y="24"/>
                    </a:lnTo>
                    <a:lnTo>
                      <a:pt x="0" y="26"/>
                    </a:lnTo>
                    <a:lnTo>
                      <a:pt x="2" y="30"/>
                    </a:lnTo>
                    <a:lnTo>
                      <a:pt x="2" y="32"/>
                    </a:lnTo>
                    <a:lnTo>
                      <a:pt x="4" y="34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10" y="38"/>
                    </a:lnTo>
                    <a:lnTo>
                      <a:pt x="10" y="40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6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50"/>
                    </a:lnTo>
                    <a:lnTo>
                      <a:pt x="8" y="52"/>
                    </a:lnTo>
                    <a:lnTo>
                      <a:pt x="8" y="54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8"/>
                    </a:lnTo>
                    <a:lnTo>
                      <a:pt x="10" y="60"/>
                    </a:lnTo>
                    <a:lnTo>
                      <a:pt x="10" y="62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6"/>
                    </a:lnTo>
                    <a:lnTo>
                      <a:pt x="12" y="70"/>
                    </a:lnTo>
                    <a:lnTo>
                      <a:pt x="14" y="72"/>
                    </a:lnTo>
                    <a:lnTo>
                      <a:pt x="14" y="72"/>
                    </a:lnTo>
                    <a:lnTo>
                      <a:pt x="16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4" y="72"/>
                    </a:lnTo>
                    <a:lnTo>
                      <a:pt x="24" y="72"/>
                    </a:lnTo>
                    <a:lnTo>
                      <a:pt x="24" y="74"/>
                    </a:lnTo>
                    <a:lnTo>
                      <a:pt x="24" y="74"/>
                    </a:lnTo>
                    <a:lnTo>
                      <a:pt x="24" y="76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8" y="76"/>
                    </a:lnTo>
                    <a:lnTo>
                      <a:pt x="28" y="76"/>
                    </a:lnTo>
                    <a:lnTo>
                      <a:pt x="30" y="78"/>
                    </a:lnTo>
                    <a:lnTo>
                      <a:pt x="32" y="78"/>
                    </a:lnTo>
                    <a:lnTo>
                      <a:pt x="32" y="78"/>
                    </a:lnTo>
                    <a:lnTo>
                      <a:pt x="32" y="80"/>
                    </a:lnTo>
                    <a:lnTo>
                      <a:pt x="32" y="80"/>
                    </a:lnTo>
                    <a:lnTo>
                      <a:pt x="34" y="76"/>
                    </a:lnTo>
                    <a:lnTo>
                      <a:pt x="36" y="74"/>
                    </a:lnTo>
                    <a:lnTo>
                      <a:pt x="40" y="74"/>
                    </a:lnTo>
                    <a:lnTo>
                      <a:pt x="44" y="72"/>
                    </a:lnTo>
                    <a:lnTo>
                      <a:pt x="44" y="72"/>
                    </a:lnTo>
                    <a:lnTo>
                      <a:pt x="44" y="72"/>
                    </a:lnTo>
                    <a:lnTo>
                      <a:pt x="44" y="72"/>
                    </a:lnTo>
                    <a:lnTo>
                      <a:pt x="44" y="7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93" name="Freeform 567"/>
              <p:cNvSpPr>
                <a:spLocks/>
              </p:cNvSpPr>
              <p:nvPr/>
            </p:nvSpPr>
            <p:spPr bwMode="auto">
              <a:xfrm>
                <a:off x="4317" y="2390"/>
                <a:ext cx="134" cy="276"/>
              </a:xfrm>
              <a:custGeom>
                <a:avLst/>
                <a:gdLst>
                  <a:gd name="T0" fmla="*/ 130 w 134"/>
                  <a:gd name="T1" fmla="*/ 168 h 276"/>
                  <a:gd name="T2" fmla="*/ 126 w 134"/>
                  <a:gd name="T3" fmla="*/ 152 h 276"/>
                  <a:gd name="T4" fmla="*/ 112 w 134"/>
                  <a:gd name="T5" fmla="*/ 138 h 276"/>
                  <a:gd name="T6" fmla="*/ 88 w 134"/>
                  <a:gd name="T7" fmla="*/ 120 h 276"/>
                  <a:gd name="T8" fmla="*/ 82 w 134"/>
                  <a:gd name="T9" fmla="*/ 108 h 276"/>
                  <a:gd name="T10" fmla="*/ 68 w 134"/>
                  <a:gd name="T11" fmla="*/ 88 h 276"/>
                  <a:gd name="T12" fmla="*/ 60 w 134"/>
                  <a:gd name="T13" fmla="*/ 68 h 276"/>
                  <a:gd name="T14" fmla="*/ 64 w 134"/>
                  <a:gd name="T15" fmla="*/ 56 h 276"/>
                  <a:gd name="T16" fmla="*/ 74 w 134"/>
                  <a:gd name="T17" fmla="*/ 50 h 276"/>
                  <a:gd name="T18" fmla="*/ 82 w 134"/>
                  <a:gd name="T19" fmla="*/ 38 h 276"/>
                  <a:gd name="T20" fmla="*/ 76 w 134"/>
                  <a:gd name="T21" fmla="*/ 30 h 276"/>
                  <a:gd name="T22" fmla="*/ 70 w 134"/>
                  <a:gd name="T23" fmla="*/ 26 h 276"/>
                  <a:gd name="T24" fmla="*/ 62 w 134"/>
                  <a:gd name="T25" fmla="*/ 16 h 276"/>
                  <a:gd name="T26" fmla="*/ 58 w 134"/>
                  <a:gd name="T27" fmla="*/ 10 h 276"/>
                  <a:gd name="T28" fmla="*/ 50 w 134"/>
                  <a:gd name="T29" fmla="*/ 2 h 276"/>
                  <a:gd name="T30" fmla="*/ 34 w 134"/>
                  <a:gd name="T31" fmla="*/ 0 h 276"/>
                  <a:gd name="T32" fmla="*/ 30 w 134"/>
                  <a:gd name="T33" fmla="*/ 4 h 276"/>
                  <a:gd name="T34" fmla="*/ 32 w 134"/>
                  <a:gd name="T35" fmla="*/ 16 h 276"/>
                  <a:gd name="T36" fmla="*/ 14 w 134"/>
                  <a:gd name="T37" fmla="*/ 16 h 276"/>
                  <a:gd name="T38" fmla="*/ 4 w 134"/>
                  <a:gd name="T39" fmla="*/ 16 h 276"/>
                  <a:gd name="T40" fmla="*/ 10 w 134"/>
                  <a:gd name="T41" fmla="*/ 22 h 276"/>
                  <a:gd name="T42" fmla="*/ 10 w 134"/>
                  <a:gd name="T43" fmla="*/ 32 h 276"/>
                  <a:gd name="T44" fmla="*/ 18 w 134"/>
                  <a:gd name="T45" fmla="*/ 46 h 276"/>
                  <a:gd name="T46" fmla="*/ 28 w 134"/>
                  <a:gd name="T47" fmla="*/ 48 h 276"/>
                  <a:gd name="T48" fmla="*/ 40 w 134"/>
                  <a:gd name="T49" fmla="*/ 56 h 276"/>
                  <a:gd name="T50" fmla="*/ 44 w 134"/>
                  <a:gd name="T51" fmla="*/ 62 h 276"/>
                  <a:gd name="T52" fmla="*/ 36 w 134"/>
                  <a:gd name="T53" fmla="*/ 70 h 276"/>
                  <a:gd name="T54" fmla="*/ 38 w 134"/>
                  <a:gd name="T55" fmla="*/ 80 h 276"/>
                  <a:gd name="T56" fmla="*/ 46 w 134"/>
                  <a:gd name="T57" fmla="*/ 84 h 276"/>
                  <a:gd name="T58" fmla="*/ 54 w 134"/>
                  <a:gd name="T59" fmla="*/ 96 h 276"/>
                  <a:gd name="T60" fmla="*/ 64 w 134"/>
                  <a:gd name="T61" fmla="*/ 102 h 276"/>
                  <a:gd name="T62" fmla="*/ 74 w 134"/>
                  <a:gd name="T63" fmla="*/ 114 h 276"/>
                  <a:gd name="T64" fmla="*/ 82 w 134"/>
                  <a:gd name="T65" fmla="*/ 126 h 276"/>
                  <a:gd name="T66" fmla="*/ 88 w 134"/>
                  <a:gd name="T67" fmla="*/ 132 h 276"/>
                  <a:gd name="T68" fmla="*/ 92 w 134"/>
                  <a:gd name="T69" fmla="*/ 146 h 276"/>
                  <a:gd name="T70" fmla="*/ 100 w 134"/>
                  <a:gd name="T71" fmla="*/ 156 h 276"/>
                  <a:gd name="T72" fmla="*/ 96 w 134"/>
                  <a:gd name="T73" fmla="*/ 168 h 276"/>
                  <a:gd name="T74" fmla="*/ 104 w 134"/>
                  <a:gd name="T75" fmla="*/ 182 h 276"/>
                  <a:gd name="T76" fmla="*/ 104 w 134"/>
                  <a:gd name="T77" fmla="*/ 208 h 276"/>
                  <a:gd name="T78" fmla="*/ 90 w 134"/>
                  <a:gd name="T79" fmla="*/ 212 h 276"/>
                  <a:gd name="T80" fmla="*/ 80 w 134"/>
                  <a:gd name="T81" fmla="*/ 216 h 276"/>
                  <a:gd name="T82" fmla="*/ 82 w 134"/>
                  <a:gd name="T83" fmla="*/ 224 h 276"/>
                  <a:gd name="T84" fmla="*/ 82 w 134"/>
                  <a:gd name="T85" fmla="*/ 234 h 276"/>
                  <a:gd name="T86" fmla="*/ 70 w 134"/>
                  <a:gd name="T87" fmla="*/ 234 h 276"/>
                  <a:gd name="T88" fmla="*/ 58 w 134"/>
                  <a:gd name="T89" fmla="*/ 242 h 276"/>
                  <a:gd name="T90" fmla="*/ 62 w 134"/>
                  <a:gd name="T91" fmla="*/ 250 h 276"/>
                  <a:gd name="T92" fmla="*/ 60 w 134"/>
                  <a:gd name="T93" fmla="*/ 258 h 276"/>
                  <a:gd name="T94" fmla="*/ 64 w 134"/>
                  <a:gd name="T95" fmla="*/ 272 h 276"/>
                  <a:gd name="T96" fmla="*/ 74 w 134"/>
                  <a:gd name="T97" fmla="*/ 274 h 276"/>
                  <a:gd name="T98" fmla="*/ 82 w 134"/>
                  <a:gd name="T99" fmla="*/ 266 h 276"/>
                  <a:gd name="T100" fmla="*/ 88 w 134"/>
                  <a:gd name="T101" fmla="*/ 264 h 276"/>
                  <a:gd name="T102" fmla="*/ 94 w 134"/>
                  <a:gd name="T103" fmla="*/ 260 h 276"/>
                  <a:gd name="T104" fmla="*/ 98 w 134"/>
                  <a:gd name="T105" fmla="*/ 254 h 276"/>
                  <a:gd name="T106" fmla="*/ 100 w 134"/>
                  <a:gd name="T107" fmla="*/ 246 h 276"/>
                  <a:gd name="T108" fmla="*/ 108 w 134"/>
                  <a:gd name="T109" fmla="*/ 242 h 276"/>
                  <a:gd name="T110" fmla="*/ 120 w 134"/>
                  <a:gd name="T111" fmla="*/ 238 h 276"/>
                  <a:gd name="T112" fmla="*/ 130 w 134"/>
                  <a:gd name="T113" fmla="*/ 228 h 276"/>
                  <a:gd name="T114" fmla="*/ 132 w 134"/>
                  <a:gd name="T115" fmla="*/ 210 h 276"/>
                  <a:gd name="T116" fmla="*/ 134 w 134"/>
                  <a:gd name="T117" fmla="*/ 196 h 276"/>
                  <a:gd name="T118" fmla="*/ 132 w 134"/>
                  <a:gd name="T119" fmla="*/ 188 h 276"/>
                  <a:gd name="T120" fmla="*/ 134 w 134"/>
                  <a:gd name="T121" fmla="*/ 184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34" h="276">
                    <a:moveTo>
                      <a:pt x="134" y="184"/>
                    </a:moveTo>
                    <a:lnTo>
                      <a:pt x="134" y="184"/>
                    </a:lnTo>
                    <a:lnTo>
                      <a:pt x="134" y="180"/>
                    </a:lnTo>
                    <a:lnTo>
                      <a:pt x="134" y="176"/>
                    </a:lnTo>
                    <a:lnTo>
                      <a:pt x="132" y="170"/>
                    </a:lnTo>
                    <a:lnTo>
                      <a:pt x="132" y="170"/>
                    </a:lnTo>
                    <a:lnTo>
                      <a:pt x="130" y="168"/>
                    </a:lnTo>
                    <a:lnTo>
                      <a:pt x="130" y="164"/>
                    </a:lnTo>
                    <a:lnTo>
                      <a:pt x="128" y="162"/>
                    </a:lnTo>
                    <a:lnTo>
                      <a:pt x="128" y="160"/>
                    </a:lnTo>
                    <a:lnTo>
                      <a:pt x="128" y="160"/>
                    </a:lnTo>
                    <a:lnTo>
                      <a:pt x="126" y="158"/>
                    </a:lnTo>
                    <a:lnTo>
                      <a:pt x="126" y="154"/>
                    </a:lnTo>
                    <a:lnTo>
                      <a:pt x="126" y="152"/>
                    </a:lnTo>
                    <a:lnTo>
                      <a:pt x="126" y="148"/>
                    </a:lnTo>
                    <a:lnTo>
                      <a:pt x="126" y="148"/>
                    </a:lnTo>
                    <a:lnTo>
                      <a:pt x="124" y="146"/>
                    </a:lnTo>
                    <a:lnTo>
                      <a:pt x="122" y="144"/>
                    </a:lnTo>
                    <a:lnTo>
                      <a:pt x="118" y="142"/>
                    </a:lnTo>
                    <a:lnTo>
                      <a:pt x="118" y="142"/>
                    </a:lnTo>
                    <a:lnTo>
                      <a:pt x="112" y="138"/>
                    </a:lnTo>
                    <a:lnTo>
                      <a:pt x="108" y="134"/>
                    </a:lnTo>
                    <a:lnTo>
                      <a:pt x="102" y="132"/>
                    </a:lnTo>
                    <a:lnTo>
                      <a:pt x="98" y="128"/>
                    </a:lnTo>
                    <a:lnTo>
                      <a:pt x="98" y="128"/>
                    </a:lnTo>
                    <a:lnTo>
                      <a:pt x="92" y="124"/>
                    </a:lnTo>
                    <a:lnTo>
                      <a:pt x="88" y="120"/>
                    </a:lnTo>
                    <a:lnTo>
                      <a:pt x="88" y="120"/>
                    </a:lnTo>
                    <a:lnTo>
                      <a:pt x="86" y="120"/>
                    </a:lnTo>
                    <a:lnTo>
                      <a:pt x="86" y="118"/>
                    </a:lnTo>
                    <a:lnTo>
                      <a:pt x="86" y="116"/>
                    </a:lnTo>
                    <a:lnTo>
                      <a:pt x="84" y="112"/>
                    </a:lnTo>
                    <a:lnTo>
                      <a:pt x="84" y="110"/>
                    </a:lnTo>
                    <a:lnTo>
                      <a:pt x="84" y="110"/>
                    </a:lnTo>
                    <a:lnTo>
                      <a:pt x="82" y="108"/>
                    </a:lnTo>
                    <a:lnTo>
                      <a:pt x="82" y="106"/>
                    </a:lnTo>
                    <a:lnTo>
                      <a:pt x="78" y="102"/>
                    </a:lnTo>
                    <a:lnTo>
                      <a:pt x="78" y="102"/>
                    </a:lnTo>
                    <a:lnTo>
                      <a:pt x="74" y="98"/>
                    </a:lnTo>
                    <a:lnTo>
                      <a:pt x="70" y="94"/>
                    </a:lnTo>
                    <a:lnTo>
                      <a:pt x="70" y="94"/>
                    </a:lnTo>
                    <a:lnTo>
                      <a:pt x="68" y="88"/>
                    </a:lnTo>
                    <a:lnTo>
                      <a:pt x="64" y="84"/>
                    </a:lnTo>
                    <a:lnTo>
                      <a:pt x="62" y="82"/>
                    </a:lnTo>
                    <a:lnTo>
                      <a:pt x="62" y="80"/>
                    </a:lnTo>
                    <a:lnTo>
                      <a:pt x="62" y="76"/>
                    </a:lnTo>
                    <a:lnTo>
                      <a:pt x="62" y="74"/>
                    </a:lnTo>
                    <a:lnTo>
                      <a:pt x="62" y="74"/>
                    </a:lnTo>
                    <a:lnTo>
                      <a:pt x="60" y="68"/>
                    </a:lnTo>
                    <a:lnTo>
                      <a:pt x="62" y="64"/>
                    </a:lnTo>
                    <a:lnTo>
                      <a:pt x="62" y="64"/>
                    </a:lnTo>
                    <a:lnTo>
                      <a:pt x="62" y="62"/>
                    </a:lnTo>
                    <a:lnTo>
                      <a:pt x="62" y="62"/>
                    </a:lnTo>
                    <a:lnTo>
                      <a:pt x="64" y="60"/>
                    </a:lnTo>
                    <a:lnTo>
                      <a:pt x="64" y="58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6" y="56"/>
                    </a:lnTo>
                    <a:lnTo>
                      <a:pt x="68" y="56"/>
                    </a:lnTo>
                    <a:lnTo>
                      <a:pt x="68" y="56"/>
                    </a:lnTo>
                    <a:lnTo>
                      <a:pt x="70" y="54"/>
                    </a:lnTo>
                    <a:lnTo>
                      <a:pt x="70" y="54"/>
                    </a:lnTo>
                    <a:lnTo>
                      <a:pt x="74" y="50"/>
                    </a:lnTo>
                    <a:lnTo>
                      <a:pt x="78" y="48"/>
                    </a:lnTo>
                    <a:lnTo>
                      <a:pt x="78" y="48"/>
                    </a:lnTo>
                    <a:lnTo>
                      <a:pt x="80" y="46"/>
                    </a:lnTo>
                    <a:lnTo>
                      <a:pt x="82" y="44"/>
                    </a:lnTo>
                    <a:lnTo>
                      <a:pt x="82" y="42"/>
                    </a:lnTo>
                    <a:lnTo>
                      <a:pt x="82" y="38"/>
                    </a:lnTo>
                    <a:lnTo>
                      <a:pt x="82" y="38"/>
                    </a:lnTo>
                    <a:lnTo>
                      <a:pt x="82" y="36"/>
                    </a:lnTo>
                    <a:lnTo>
                      <a:pt x="84" y="34"/>
                    </a:lnTo>
                    <a:lnTo>
                      <a:pt x="84" y="34"/>
                    </a:lnTo>
                    <a:lnTo>
                      <a:pt x="82" y="32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6" y="30"/>
                    </a:lnTo>
                    <a:lnTo>
                      <a:pt x="74" y="30"/>
                    </a:lnTo>
                    <a:lnTo>
                      <a:pt x="72" y="30"/>
                    </a:lnTo>
                    <a:lnTo>
                      <a:pt x="72" y="28"/>
                    </a:lnTo>
                    <a:lnTo>
                      <a:pt x="70" y="28"/>
                    </a:lnTo>
                    <a:lnTo>
                      <a:pt x="70" y="28"/>
                    </a:lnTo>
                    <a:lnTo>
                      <a:pt x="70" y="28"/>
                    </a:lnTo>
                    <a:lnTo>
                      <a:pt x="70" y="26"/>
                    </a:lnTo>
                    <a:lnTo>
                      <a:pt x="68" y="22"/>
                    </a:lnTo>
                    <a:lnTo>
                      <a:pt x="68" y="20"/>
                    </a:lnTo>
                    <a:lnTo>
                      <a:pt x="68" y="20"/>
                    </a:lnTo>
                    <a:lnTo>
                      <a:pt x="68" y="18"/>
                    </a:lnTo>
                    <a:lnTo>
                      <a:pt x="66" y="18"/>
                    </a:lnTo>
                    <a:lnTo>
                      <a:pt x="64" y="18"/>
                    </a:lnTo>
                    <a:lnTo>
                      <a:pt x="62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58" y="14"/>
                    </a:lnTo>
                    <a:lnTo>
                      <a:pt x="58" y="14"/>
                    </a:lnTo>
                    <a:lnTo>
                      <a:pt x="58" y="12"/>
                    </a:lnTo>
                    <a:lnTo>
                      <a:pt x="58" y="10"/>
                    </a:lnTo>
                    <a:lnTo>
                      <a:pt x="58" y="10"/>
                    </a:lnTo>
                    <a:lnTo>
                      <a:pt x="58" y="8"/>
                    </a:lnTo>
                    <a:lnTo>
                      <a:pt x="56" y="6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2" y="4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48" y="2"/>
                    </a:lnTo>
                    <a:lnTo>
                      <a:pt x="44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2" y="0"/>
                    </a:lnTo>
                    <a:lnTo>
                      <a:pt x="32" y="2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8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26" y="16"/>
                    </a:lnTo>
                    <a:lnTo>
                      <a:pt x="22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4" y="16"/>
                    </a:lnTo>
                    <a:lnTo>
                      <a:pt x="12" y="16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8" y="14"/>
                    </a:lnTo>
                    <a:lnTo>
                      <a:pt x="6" y="14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8" y="22"/>
                    </a:lnTo>
                    <a:lnTo>
                      <a:pt x="10" y="22"/>
                    </a:lnTo>
                    <a:lnTo>
                      <a:pt x="10" y="24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8"/>
                    </a:lnTo>
                    <a:lnTo>
                      <a:pt x="10" y="30"/>
                    </a:lnTo>
                    <a:lnTo>
                      <a:pt x="10" y="32"/>
                    </a:lnTo>
                    <a:lnTo>
                      <a:pt x="10" y="32"/>
                    </a:lnTo>
                    <a:lnTo>
                      <a:pt x="12" y="34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4" y="42"/>
                    </a:lnTo>
                    <a:lnTo>
                      <a:pt x="16" y="44"/>
                    </a:lnTo>
                    <a:lnTo>
                      <a:pt x="18" y="46"/>
                    </a:lnTo>
                    <a:lnTo>
                      <a:pt x="20" y="48"/>
                    </a:lnTo>
                    <a:lnTo>
                      <a:pt x="20" y="48"/>
                    </a:lnTo>
                    <a:lnTo>
                      <a:pt x="20" y="48"/>
                    </a:lnTo>
                    <a:lnTo>
                      <a:pt x="22" y="50"/>
                    </a:lnTo>
                    <a:lnTo>
                      <a:pt x="24" y="50"/>
                    </a:lnTo>
                    <a:lnTo>
                      <a:pt x="26" y="48"/>
                    </a:lnTo>
                    <a:lnTo>
                      <a:pt x="28" y="48"/>
                    </a:lnTo>
                    <a:lnTo>
                      <a:pt x="28" y="48"/>
                    </a:lnTo>
                    <a:lnTo>
                      <a:pt x="30" y="48"/>
                    </a:lnTo>
                    <a:lnTo>
                      <a:pt x="32" y="50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6" y="54"/>
                    </a:lnTo>
                    <a:lnTo>
                      <a:pt x="40" y="56"/>
                    </a:lnTo>
                    <a:lnTo>
                      <a:pt x="40" y="56"/>
                    </a:lnTo>
                    <a:lnTo>
                      <a:pt x="42" y="58"/>
                    </a:lnTo>
                    <a:lnTo>
                      <a:pt x="44" y="58"/>
                    </a:lnTo>
                    <a:lnTo>
                      <a:pt x="44" y="60"/>
                    </a:lnTo>
                    <a:lnTo>
                      <a:pt x="44" y="60"/>
                    </a:lnTo>
                    <a:lnTo>
                      <a:pt x="44" y="62"/>
                    </a:lnTo>
                    <a:lnTo>
                      <a:pt x="44" y="62"/>
                    </a:lnTo>
                    <a:lnTo>
                      <a:pt x="44" y="64"/>
                    </a:lnTo>
                    <a:lnTo>
                      <a:pt x="42" y="64"/>
                    </a:lnTo>
                    <a:lnTo>
                      <a:pt x="38" y="66"/>
                    </a:lnTo>
                    <a:lnTo>
                      <a:pt x="38" y="66"/>
                    </a:lnTo>
                    <a:lnTo>
                      <a:pt x="38" y="68"/>
                    </a:lnTo>
                    <a:lnTo>
                      <a:pt x="36" y="68"/>
                    </a:lnTo>
                    <a:lnTo>
                      <a:pt x="36" y="70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36" y="76"/>
                    </a:lnTo>
                    <a:lnTo>
                      <a:pt x="36" y="78"/>
                    </a:lnTo>
                    <a:lnTo>
                      <a:pt x="38" y="80"/>
                    </a:lnTo>
                    <a:lnTo>
                      <a:pt x="38" y="80"/>
                    </a:lnTo>
                    <a:lnTo>
                      <a:pt x="38" y="80"/>
                    </a:lnTo>
                    <a:lnTo>
                      <a:pt x="38" y="82"/>
                    </a:lnTo>
                    <a:lnTo>
                      <a:pt x="40" y="82"/>
                    </a:lnTo>
                    <a:lnTo>
                      <a:pt x="42" y="82"/>
                    </a:lnTo>
                    <a:lnTo>
                      <a:pt x="44" y="82"/>
                    </a:lnTo>
                    <a:lnTo>
                      <a:pt x="44" y="84"/>
                    </a:lnTo>
                    <a:lnTo>
                      <a:pt x="44" y="84"/>
                    </a:lnTo>
                    <a:lnTo>
                      <a:pt x="46" y="84"/>
                    </a:lnTo>
                    <a:lnTo>
                      <a:pt x="46" y="86"/>
                    </a:lnTo>
                    <a:lnTo>
                      <a:pt x="48" y="90"/>
                    </a:lnTo>
                    <a:lnTo>
                      <a:pt x="48" y="92"/>
                    </a:lnTo>
                    <a:lnTo>
                      <a:pt x="50" y="94"/>
                    </a:lnTo>
                    <a:lnTo>
                      <a:pt x="52" y="94"/>
                    </a:lnTo>
                    <a:lnTo>
                      <a:pt x="52" y="94"/>
                    </a:lnTo>
                    <a:lnTo>
                      <a:pt x="54" y="96"/>
                    </a:lnTo>
                    <a:lnTo>
                      <a:pt x="56" y="96"/>
                    </a:lnTo>
                    <a:lnTo>
                      <a:pt x="58" y="96"/>
                    </a:lnTo>
                    <a:lnTo>
                      <a:pt x="58" y="98"/>
                    </a:lnTo>
                    <a:lnTo>
                      <a:pt x="58" y="98"/>
                    </a:lnTo>
                    <a:lnTo>
                      <a:pt x="60" y="98"/>
                    </a:lnTo>
                    <a:lnTo>
                      <a:pt x="62" y="100"/>
                    </a:lnTo>
                    <a:lnTo>
                      <a:pt x="64" y="102"/>
                    </a:lnTo>
                    <a:lnTo>
                      <a:pt x="64" y="102"/>
                    </a:lnTo>
                    <a:lnTo>
                      <a:pt x="66" y="106"/>
                    </a:lnTo>
                    <a:lnTo>
                      <a:pt x="70" y="108"/>
                    </a:lnTo>
                    <a:lnTo>
                      <a:pt x="72" y="110"/>
                    </a:lnTo>
                    <a:lnTo>
                      <a:pt x="74" y="112"/>
                    </a:lnTo>
                    <a:lnTo>
                      <a:pt x="74" y="112"/>
                    </a:lnTo>
                    <a:lnTo>
                      <a:pt x="74" y="114"/>
                    </a:lnTo>
                    <a:lnTo>
                      <a:pt x="76" y="116"/>
                    </a:lnTo>
                    <a:lnTo>
                      <a:pt x="76" y="120"/>
                    </a:lnTo>
                    <a:lnTo>
                      <a:pt x="78" y="122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82" y="126"/>
                    </a:lnTo>
                    <a:lnTo>
                      <a:pt x="82" y="128"/>
                    </a:lnTo>
                    <a:lnTo>
                      <a:pt x="82" y="128"/>
                    </a:lnTo>
                    <a:lnTo>
                      <a:pt x="84" y="130"/>
                    </a:lnTo>
                    <a:lnTo>
                      <a:pt x="86" y="130"/>
                    </a:lnTo>
                    <a:lnTo>
                      <a:pt x="86" y="132"/>
                    </a:lnTo>
                    <a:lnTo>
                      <a:pt x="88" y="132"/>
                    </a:lnTo>
                    <a:lnTo>
                      <a:pt x="88" y="132"/>
                    </a:lnTo>
                    <a:lnTo>
                      <a:pt x="90" y="134"/>
                    </a:lnTo>
                    <a:lnTo>
                      <a:pt x="90" y="136"/>
                    </a:lnTo>
                    <a:lnTo>
                      <a:pt x="90" y="138"/>
                    </a:lnTo>
                    <a:lnTo>
                      <a:pt x="90" y="138"/>
                    </a:lnTo>
                    <a:lnTo>
                      <a:pt x="92" y="142"/>
                    </a:lnTo>
                    <a:lnTo>
                      <a:pt x="92" y="144"/>
                    </a:lnTo>
                    <a:lnTo>
                      <a:pt x="92" y="146"/>
                    </a:lnTo>
                    <a:lnTo>
                      <a:pt x="92" y="146"/>
                    </a:lnTo>
                    <a:lnTo>
                      <a:pt x="94" y="148"/>
                    </a:lnTo>
                    <a:lnTo>
                      <a:pt x="96" y="150"/>
                    </a:lnTo>
                    <a:lnTo>
                      <a:pt x="98" y="152"/>
                    </a:lnTo>
                    <a:lnTo>
                      <a:pt x="98" y="152"/>
                    </a:lnTo>
                    <a:lnTo>
                      <a:pt x="100" y="154"/>
                    </a:lnTo>
                    <a:lnTo>
                      <a:pt x="100" y="156"/>
                    </a:lnTo>
                    <a:lnTo>
                      <a:pt x="100" y="156"/>
                    </a:lnTo>
                    <a:lnTo>
                      <a:pt x="98" y="158"/>
                    </a:lnTo>
                    <a:lnTo>
                      <a:pt x="98" y="160"/>
                    </a:lnTo>
                    <a:lnTo>
                      <a:pt x="98" y="160"/>
                    </a:lnTo>
                    <a:lnTo>
                      <a:pt x="96" y="162"/>
                    </a:lnTo>
                    <a:lnTo>
                      <a:pt x="96" y="162"/>
                    </a:lnTo>
                    <a:lnTo>
                      <a:pt x="96" y="168"/>
                    </a:lnTo>
                    <a:lnTo>
                      <a:pt x="96" y="170"/>
                    </a:lnTo>
                    <a:lnTo>
                      <a:pt x="98" y="172"/>
                    </a:lnTo>
                    <a:lnTo>
                      <a:pt x="98" y="172"/>
                    </a:lnTo>
                    <a:lnTo>
                      <a:pt x="98" y="176"/>
                    </a:lnTo>
                    <a:lnTo>
                      <a:pt x="100" y="178"/>
                    </a:lnTo>
                    <a:lnTo>
                      <a:pt x="102" y="180"/>
                    </a:lnTo>
                    <a:lnTo>
                      <a:pt x="104" y="182"/>
                    </a:lnTo>
                    <a:lnTo>
                      <a:pt x="104" y="184"/>
                    </a:lnTo>
                    <a:lnTo>
                      <a:pt x="104" y="184"/>
                    </a:lnTo>
                    <a:lnTo>
                      <a:pt x="104" y="200"/>
                    </a:lnTo>
                    <a:lnTo>
                      <a:pt x="104" y="200"/>
                    </a:lnTo>
                    <a:lnTo>
                      <a:pt x="104" y="204"/>
                    </a:lnTo>
                    <a:lnTo>
                      <a:pt x="104" y="206"/>
                    </a:lnTo>
                    <a:lnTo>
                      <a:pt x="104" y="208"/>
                    </a:lnTo>
                    <a:lnTo>
                      <a:pt x="104" y="208"/>
                    </a:lnTo>
                    <a:lnTo>
                      <a:pt x="102" y="208"/>
                    </a:lnTo>
                    <a:lnTo>
                      <a:pt x="100" y="210"/>
                    </a:lnTo>
                    <a:lnTo>
                      <a:pt x="98" y="210"/>
                    </a:lnTo>
                    <a:lnTo>
                      <a:pt x="98" y="210"/>
                    </a:lnTo>
                    <a:lnTo>
                      <a:pt x="94" y="212"/>
                    </a:lnTo>
                    <a:lnTo>
                      <a:pt x="90" y="212"/>
                    </a:lnTo>
                    <a:lnTo>
                      <a:pt x="86" y="212"/>
                    </a:lnTo>
                    <a:lnTo>
                      <a:pt x="84" y="212"/>
                    </a:lnTo>
                    <a:lnTo>
                      <a:pt x="84" y="212"/>
                    </a:lnTo>
                    <a:lnTo>
                      <a:pt x="82" y="214"/>
                    </a:lnTo>
                    <a:lnTo>
                      <a:pt x="82" y="214"/>
                    </a:lnTo>
                    <a:lnTo>
                      <a:pt x="80" y="216"/>
                    </a:lnTo>
                    <a:lnTo>
                      <a:pt x="80" y="216"/>
                    </a:lnTo>
                    <a:lnTo>
                      <a:pt x="80" y="218"/>
                    </a:lnTo>
                    <a:lnTo>
                      <a:pt x="80" y="218"/>
                    </a:lnTo>
                    <a:lnTo>
                      <a:pt x="80" y="220"/>
                    </a:lnTo>
                    <a:lnTo>
                      <a:pt x="80" y="222"/>
                    </a:lnTo>
                    <a:lnTo>
                      <a:pt x="80" y="222"/>
                    </a:lnTo>
                    <a:lnTo>
                      <a:pt x="82" y="224"/>
                    </a:lnTo>
                    <a:lnTo>
                      <a:pt x="82" y="224"/>
                    </a:lnTo>
                    <a:lnTo>
                      <a:pt x="84" y="226"/>
                    </a:lnTo>
                    <a:lnTo>
                      <a:pt x="84" y="226"/>
                    </a:lnTo>
                    <a:lnTo>
                      <a:pt x="84" y="226"/>
                    </a:lnTo>
                    <a:lnTo>
                      <a:pt x="84" y="226"/>
                    </a:lnTo>
                    <a:lnTo>
                      <a:pt x="84" y="228"/>
                    </a:lnTo>
                    <a:lnTo>
                      <a:pt x="84" y="230"/>
                    </a:lnTo>
                    <a:lnTo>
                      <a:pt x="82" y="234"/>
                    </a:lnTo>
                    <a:lnTo>
                      <a:pt x="82" y="234"/>
                    </a:lnTo>
                    <a:lnTo>
                      <a:pt x="82" y="234"/>
                    </a:lnTo>
                    <a:lnTo>
                      <a:pt x="80" y="236"/>
                    </a:lnTo>
                    <a:lnTo>
                      <a:pt x="78" y="236"/>
                    </a:lnTo>
                    <a:lnTo>
                      <a:pt x="78" y="236"/>
                    </a:lnTo>
                    <a:lnTo>
                      <a:pt x="72" y="234"/>
                    </a:lnTo>
                    <a:lnTo>
                      <a:pt x="70" y="234"/>
                    </a:lnTo>
                    <a:lnTo>
                      <a:pt x="70" y="234"/>
                    </a:lnTo>
                    <a:lnTo>
                      <a:pt x="70" y="234"/>
                    </a:lnTo>
                    <a:lnTo>
                      <a:pt x="66" y="236"/>
                    </a:lnTo>
                    <a:lnTo>
                      <a:pt x="62" y="236"/>
                    </a:lnTo>
                    <a:lnTo>
                      <a:pt x="60" y="238"/>
                    </a:lnTo>
                    <a:lnTo>
                      <a:pt x="58" y="242"/>
                    </a:lnTo>
                    <a:lnTo>
                      <a:pt x="58" y="242"/>
                    </a:lnTo>
                    <a:lnTo>
                      <a:pt x="58" y="242"/>
                    </a:lnTo>
                    <a:lnTo>
                      <a:pt x="60" y="244"/>
                    </a:lnTo>
                    <a:lnTo>
                      <a:pt x="60" y="246"/>
                    </a:lnTo>
                    <a:lnTo>
                      <a:pt x="60" y="246"/>
                    </a:lnTo>
                    <a:lnTo>
                      <a:pt x="62" y="248"/>
                    </a:lnTo>
                    <a:lnTo>
                      <a:pt x="62" y="250"/>
                    </a:lnTo>
                    <a:lnTo>
                      <a:pt x="62" y="250"/>
                    </a:lnTo>
                    <a:lnTo>
                      <a:pt x="62" y="250"/>
                    </a:lnTo>
                    <a:lnTo>
                      <a:pt x="62" y="252"/>
                    </a:lnTo>
                    <a:lnTo>
                      <a:pt x="62" y="252"/>
                    </a:lnTo>
                    <a:lnTo>
                      <a:pt x="62" y="256"/>
                    </a:lnTo>
                    <a:lnTo>
                      <a:pt x="62" y="256"/>
                    </a:lnTo>
                    <a:lnTo>
                      <a:pt x="62" y="256"/>
                    </a:lnTo>
                    <a:lnTo>
                      <a:pt x="60" y="258"/>
                    </a:lnTo>
                    <a:lnTo>
                      <a:pt x="62" y="262"/>
                    </a:lnTo>
                    <a:lnTo>
                      <a:pt x="62" y="262"/>
                    </a:lnTo>
                    <a:lnTo>
                      <a:pt x="62" y="264"/>
                    </a:lnTo>
                    <a:lnTo>
                      <a:pt x="62" y="266"/>
                    </a:lnTo>
                    <a:lnTo>
                      <a:pt x="62" y="268"/>
                    </a:lnTo>
                    <a:lnTo>
                      <a:pt x="64" y="272"/>
                    </a:lnTo>
                    <a:lnTo>
                      <a:pt x="64" y="272"/>
                    </a:lnTo>
                    <a:lnTo>
                      <a:pt x="66" y="274"/>
                    </a:lnTo>
                    <a:lnTo>
                      <a:pt x="68" y="274"/>
                    </a:lnTo>
                    <a:lnTo>
                      <a:pt x="70" y="276"/>
                    </a:lnTo>
                    <a:lnTo>
                      <a:pt x="70" y="276"/>
                    </a:lnTo>
                    <a:lnTo>
                      <a:pt x="72" y="276"/>
                    </a:lnTo>
                    <a:lnTo>
                      <a:pt x="74" y="274"/>
                    </a:lnTo>
                    <a:lnTo>
                      <a:pt x="74" y="274"/>
                    </a:lnTo>
                    <a:lnTo>
                      <a:pt x="74" y="274"/>
                    </a:lnTo>
                    <a:lnTo>
                      <a:pt x="76" y="272"/>
                    </a:lnTo>
                    <a:lnTo>
                      <a:pt x="78" y="270"/>
                    </a:lnTo>
                    <a:lnTo>
                      <a:pt x="78" y="268"/>
                    </a:lnTo>
                    <a:lnTo>
                      <a:pt x="80" y="266"/>
                    </a:lnTo>
                    <a:lnTo>
                      <a:pt x="82" y="266"/>
                    </a:lnTo>
                    <a:lnTo>
                      <a:pt x="82" y="266"/>
                    </a:lnTo>
                    <a:lnTo>
                      <a:pt x="82" y="266"/>
                    </a:lnTo>
                    <a:lnTo>
                      <a:pt x="82" y="266"/>
                    </a:lnTo>
                    <a:lnTo>
                      <a:pt x="84" y="266"/>
                    </a:lnTo>
                    <a:lnTo>
                      <a:pt x="84" y="266"/>
                    </a:lnTo>
                    <a:lnTo>
                      <a:pt x="86" y="266"/>
                    </a:lnTo>
                    <a:lnTo>
                      <a:pt x="88" y="264"/>
                    </a:lnTo>
                    <a:lnTo>
                      <a:pt x="88" y="264"/>
                    </a:lnTo>
                    <a:lnTo>
                      <a:pt x="88" y="262"/>
                    </a:lnTo>
                    <a:lnTo>
                      <a:pt x="88" y="262"/>
                    </a:lnTo>
                    <a:lnTo>
                      <a:pt x="88" y="260"/>
                    </a:lnTo>
                    <a:lnTo>
                      <a:pt x="90" y="260"/>
                    </a:lnTo>
                    <a:lnTo>
                      <a:pt x="90" y="260"/>
                    </a:lnTo>
                    <a:lnTo>
                      <a:pt x="92" y="258"/>
                    </a:lnTo>
                    <a:lnTo>
                      <a:pt x="94" y="260"/>
                    </a:lnTo>
                    <a:lnTo>
                      <a:pt x="96" y="258"/>
                    </a:lnTo>
                    <a:lnTo>
                      <a:pt x="98" y="258"/>
                    </a:lnTo>
                    <a:lnTo>
                      <a:pt x="98" y="258"/>
                    </a:lnTo>
                    <a:lnTo>
                      <a:pt x="98" y="258"/>
                    </a:lnTo>
                    <a:lnTo>
                      <a:pt x="100" y="258"/>
                    </a:lnTo>
                    <a:lnTo>
                      <a:pt x="100" y="256"/>
                    </a:lnTo>
                    <a:lnTo>
                      <a:pt x="98" y="254"/>
                    </a:lnTo>
                    <a:lnTo>
                      <a:pt x="98" y="252"/>
                    </a:lnTo>
                    <a:lnTo>
                      <a:pt x="98" y="250"/>
                    </a:lnTo>
                    <a:lnTo>
                      <a:pt x="98" y="250"/>
                    </a:lnTo>
                    <a:lnTo>
                      <a:pt x="98" y="248"/>
                    </a:lnTo>
                    <a:lnTo>
                      <a:pt x="98" y="248"/>
                    </a:lnTo>
                    <a:lnTo>
                      <a:pt x="98" y="246"/>
                    </a:lnTo>
                    <a:lnTo>
                      <a:pt x="100" y="246"/>
                    </a:lnTo>
                    <a:lnTo>
                      <a:pt x="100" y="246"/>
                    </a:lnTo>
                    <a:lnTo>
                      <a:pt x="102" y="246"/>
                    </a:lnTo>
                    <a:lnTo>
                      <a:pt x="106" y="244"/>
                    </a:lnTo>
                    <a:lnTo>
                      <a:pt x="106" y="244"/>
                    </a:lnTo>
                    <a:lnTo>
                      <a:pt x="106" y="242"/>
                    </a:lnTo>
                    <a:lnTo>
                      <a:pt x="108" y="242"/>
                    </a:lnTo>
                    <a:lnTo>
                      <a:pt x="108" y="242"/>
                    </a:lnTo>
                    <a:lnTo>
                      <a:pt x="112" y="242"/>
                    </a:lnTo>
                    <a:lnTo>
                      <a:pt x="114" y="242"/>
                    </a:lnTo>
                    <a:lnTo>
                      <a:pt x="114" y="242"/>
                    </a:lnTo>
                    <a:lnTo>
                      <a:pt x="116" y="242"/>
                    </a:lnTo>
                    <a:lnTo>
                      <a:pt x="116" y="242"/>
                    </a:lnTo>
                    <a:lnTo>
                      <a:pt x="118" y="240"/>
                    </a:lnTo>
                    <a:lnTo>
                      <a:pt x="120" y="238"/>
                    </a:lnTo>
                    <a:lnTo>
                      <a:pt x="120" y="238"/>
                    </a:lnTo>
                    <a:lnTo>
                      <a:pt x="122" y="236"/>
                    </a:lnTo>
                    <a:lnTo>
                      <a:pt x="122" y="236"/>
                    </a:lnTo>
                    <a:lnTo>
                      <a:pt x="126" y="232"/>
                    </a:lnTo>
                    <a:lnTo>
                      <a:pt x="128" y="230"/>
                    </a:lnTo>
                    <a:lnTo>
                      <a:pt x="130" y="228"/>
                    </a:lnTo>
                    <a:lnTo>
                      <a:pt x="130" y="228"/>
                    </a:lnTo>
                    <a:lnTo>
                      <a:pt x="132" y="226"/>
                    </a:lnTo>
                    <a:lnTo>
                      <a:pt x="132" y="226"/>
                    </a:lnTo>
                    <a:lnTo>
                      <a:pt x="132" y="222"/>
                    </a:lnTo>
                    <a:lnTo>
                      <a:pt x="132" y="220"/>
                    </a:lnTo>
                    <a:lnTo>
                      <a:pt x="132" y="218"/>
                    </a:lnTo>
                    <a:lnTo>
                      <a:pt x="132" y="218"/>
                    </a:lnTo>
                    <a:lnTo>
                      <a:pt x="132" y="210"/>
                    </a:lnTo>
                    <a:lnTo>
                      <a:pt x="132" y="210"/>
                    </a:lnTo>
                    <a:lnTo>
                      <a:pt x="132" y="208"/>
                    </a:lnTo>
                    <a:lnTo>
                      <a:pt x="134" y="204"/>
                    </a:lnTo>
                    <a:lnTo>
                      <a:pt x="134" y="204"/>
                    </a:lnTo>
                    <a:lnTo>
                      <a:pt x="134" y="202"/>
                    </a:lnTo>
                    <a:lnTo>
                      <a:pt x="134" y="198"/>
                    </a:lnTo>
                    <a:lnTo>
                      <a:pt x="134" y="196"/>
                    </a:lnTo>
                    <a:lnTo>
                      <a:pt x="134" y="194"/>
                    </a:lnTo>
                    <a:lnTo>
                      <a:pt x="134" y="194"/>
                    </a:lnTo>
                    <a:lnTo>
                      <a:pt x="132" y="192"/>
                    </a:lnTo>
                    <a:lnTo>
                      <a:pt x="132" y="190"/>
                    </a:lnTo>
                    <a:lnTo>
                      <a:pt x="132" y="188"/>
                    </a:lnTo>
                    <a:lnTo>
                      <a:pt x="132" y="188"/>
                    </a:lnTo>
                    <a:lnTo>
                      <a:pt x="132" y="188"/>
                    </a:lnTo>
                    <a:lnTo>
                      <a:pt x="134" y="186"/>
                    </a:lnTo>
                    <a:lnTo>
                      <a:pt x="134" y="186"/>
                    </a:lnTo>
                    <a:lnTo>
                      <a:pt x="134" y="184"/>
                    </a:lnTo>
                    <a:lnTo>
                      <a:pt x="134" y="184"/>
                    </a:lnTo>
                    <a:lnTo>
                      <a:pt x="134" y="184"/>
                    </a:lnTo>
                    <a:lnTo>
                      <a:pt x="134" y="184"/>
                    </a:lnTo>
                    <a:lnTo>
                      <a:pt x="134" y="18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94" name="Freeform 569"/>
              <p:cNvSpPr>
                <a:spLocks/>
              </p:cNvSpPr>
              <p:nvPr/>
            </p:nvSpPr>
            <p:spPr bwMode="auto">
              <a:xfrm>
                <a:off x="3375" y="2138"/>
                <a:ext cx="326" cy="256"/>
              </a:xfrm>
              <a:custGeom>
                <a:avLst/>
                <a:gdLst>
                  <a:gd name="T0" fmla="*/ 316 w 326"/>
                  <a:gd name="T1" fmla="*/ 214 h 256"/>
                  <a:gd name="T2" fmla="*/ 318 w 326"/>
                  <a:gd name="T3" fmla="*/ 202 h 256"/>
                  <a:gd name="T4" fmla="*/ 304 w 326"/>
                  <a:gd name="T5" fmla="*/ 192 h 256"/>
                  <a:gd name="T6" fmla="*/ 292 w 326"/>
                  <a:gd name="T7" fmla="*/ 186 h 256"/>
                  <a:gd name="T8" fmla="*/ 284 w 326"/>
                  <a:gd name="T9" fmla="*/ 174 h 256"/>
                  <a:gd name="T10" fmla="*/ 280 w 326"/>
                  <a:gd name="T11" fmla="*/ 168 h 256"/>
                  <a:gd name="T12" fmla="*/ 286 w 326"/>
                  <a:gd name="T13" fmla="*/ 156 h 256"/>
                  <a:gd name="T14" fmla="*/ 290 w 326"/>
                  <a:gd name="T15" fmla="*/ 144 h 256"/>
                  <a:gd name="T16" fmla="*/ 276 w 326"/>
                  <a:gd name="T17" fmla="*/ 140 h 256"/>
                  <a:gd name="T18" fmla="*/ 266 w 326"/>
                  <a:gd name="T19" fmla="*/ 128 h 256"/>
                  <a:gd name="T20" fmla="*/ 266 w 326"/>
                  <a:gd name="T21" fmla="*/ 106 h 256"/>
                  <a:gd name="T22" fmla="*/ 264 w 326"/>
                  <a:gd name="T23" fmla="*/ 94 h 256"/>
                  <a:gd name="T24" fmla="*/ 262 w 326"/>
                  <a:gd name="T25" fmla="*/ 68 h 256"/>
                  <a:gd name="T26" fmla="*/ 260 w 326"/>
                  <a:gd name="T27" fmla="*/ 56 h 256"/>
                  <a:gd name="T28" fmla="*/ 244 w 326"/>
                  <a:gd name="T29" fmla="*/ 46 h 256"/>
                  <a:gd name="T30" fmla="*/ 216 w 326"/>
                  <a:gd name="T31" fmla="*/ 28 h 256"/>
                  <a:gd name="T32" fmla="*/ 200 w 326"/>
                  <a:gd name="T33" fmla="*/ 22 h 256"/>
                  <a:gd name="T34" fmla="*/ 178 w 326"/>
                  <a:gd name="T35" fmla="*/ 18 h 256"/>
                  <a:gd name="T36" fmla="*/ 168 w 326"/>
                  <a:gd name="T37" fmla="*/ 26 h 256"/>
                  <a:gd name="T38" fmla="*/ 154 w 326"/>
                  <a:gd name="T39" fmla="*/ 40 h 256"/>
                  <a:gd name="T40" fmla="*/ 134 w 326"/>
                  <a:gd name="T41" fmla="*/ 46 h 256"/>
                  <a:gd name="T42" fmla="*/ 118 w 326"/>
                  <a:gd name="T43" fmla="*/ 52 h 256"/>
                  <a:gd name="T44" fmla="*/ 100 w 326"/>
                  <a:gd name="T45" fmla="*/ 44 h 256"/>
                  <a:gd name="T46" fmla="*/ 86 w 326"/>
                  <a:gd name="T47" fmla="*/ 38 h 256"/>
                  <a:gd name="T48" fmla="*/ 70 w 326"/>
                  <a:gd name="T49" fmla="*/ 28 h 256"/>
                  <a:gd name="T50" fmla="*/ 60 w 326"/>
                  <a:gd name="T51" fmla="*/ 18 h 256"/>
                  <a:gd name="T52" fmla="*/ 56 w 326"/>
                  <a:gd name="T53" fmla="*/ 6 h 256"/>
                  <a:gd name="T54" fmla="*/ 50 w 326"/>
                  <a:gd name="T55" fmla="*/ 0 h 256"/>
                  <a:gd name="T56" fmla="*/ 36 w 326"/>
                  <a:gd name="T57" fmla="*/ 8 h 256"/>
                  <a:gd name="T58" fmla="*/ 26 w 326"/>
                  <a:gd name="T59" fmla="*/ 16 h 256"/>
                  <a:gd name="T60" fmla="*/ 10 w 326"/>
                  <a:gd name="T61" fmla="*/ 8 h 256"/>
                  <a:gd name="T62" fmla="*/ 0 w 326"/>
                  <a:gd name="T63" fmla="*/ 8 h 256"/>
                  <a:gd name="T64" fmla="*/ 4 w 326"/>
                  <a:gd name="T65" fmla="*/ 22 h 256"/>
                  <a:gd name="T66" fmla="*/ 10 w 326"/>
                  <a:gd name="T67" fmla="*/ 36 h 256"/>
                  <a:gd name="T68" fmla="*/ 16 w 326"/>
                  <a:gd name="T69" fmla="*/ 48 h 256"/>
                  <a:gd name="T70" fmla="*/ 32 w 326"/>
                  <a:gd name="T71" fmla="*/ 74 h 256"/>
                  <a:gd name="T72" fmla="*/ 36 w 326"/>
                  <a:gd name="T73" fmla="*/ 92 h 256"/>
                  <a:gd name="T74" fmla="*/ 36 w 326"/>
                  <a:gd name="T75" fmla="*/ 112 h 256"/>
                  <a:gd name="T76" fmla="*/ 50 w 326"/>
                  <a:gd name="T77" fmla="*/ 130 h 256"/>
                  <a:gd name="T78" fmla="*/ 62 w 326"/>
                  <a:gd name="T79" fmla="*/ 134 h 256"/>
                  <a:gd name="T80" fmla="*/ 70 w 326"/>
                  <a:gd name="T81" fmla="*/ 144 h 256"/>
                  <a:gd name="T82" fmla="*/ 76 w 326"/>
                  <a:gd name="T83" fmla="*/ 162 h 256"/>
                  <a:gd name="T84" fmla="*/ 96 w 326"/>
                  <a:gd name="T85" fmla="*/ 182 h 256"/>
                  <a:gd name="T86" fmla="*/ 100 w 326"/>
                  <a:gd name="T87" fmla="*/ 174 h 256"/>
                  <a:gd name="T88" fmla="*/ 108 w 326"/>
                  <a:gd name="T89" fmla="*/ 178 h 256"/>
                  <a:gd name="T90" fmla="*/ 118 w 326"/>
                  <a:gd name="T91" fmla="*/ 188 h 256"/>
                  <a:gd name="T92" fmla="*/ 126 w 326"/>
                  <a:gd name="T93" fmla="*/ 198 h 256"/>
                  <a:gd name="T94" fmla="*/ 134 w 326"/>
                  <a:gd name="T95" fmla="*/ 212 h 256"/>
                  <a:gd name="T96" fmla="*/ 140 w 326"/>
                  <a:gd name="T97" fmla="*/ 218 h 256"/>
                  <a:gd name="T98" fmla="*/ 154 w 326"/>
                  <a:gd name="T99" fmla="*/ 218 h 256"/>
                  <a:gd name="T100" fmla="*/ 176 w 326"/>
                  <a:gd name="T101" fmla="*/ 232 h 256"/>
                  <a:gd name="T102" fmla="*/ 188 w 326"/>
                  <a:gd name="T103" fmla="*/ 234 h 256"/>
                  <a:gd name="T104" fmla="*/ 206 w 326"/>
                  <a:gd name="T105" fmla="*/ 230 h 256"/>
                  <a:gd name="T106" fmla="*/ 220 w 326"/>
                  <a:gd name="T107" fmla="*/ 224 h 256"/>
                  <a:gd name="T108" fmla="*/ 230 w 326"/>
                  <a:gd name="T109" fmla="*/ 240 h 256"/>
                  <a:gd name="T110" fmla="*/ 240 w 326"/>
                  <a:gd name="T111" fmla="*/ 248 h 256"/>
                  <a:gd name="T112" fmla="*/ 260 w 326"/>
                  <a:gd name="T113" fmla="*/ 250 h 256"/>
                  <a:gd name="T114" fmla="*/ 272 w 326"/>
                  <a:gd name="T115" fmla="*/ 254 h 256"/>
                  <a:gd name="T116" fmla="*/ 284 w 326"/>
                  <a:gd name="T117" fmla="*/ 254 h 256"/>
                  <a:gd name="T118" fmla="*/ 298 w 326"/>
                  <a:gd name="T119" fmla="*/ 256 h 256"/>
                  <a:gd name="T120" fmla="*/ 302 w 326"/>
                  <a:gd name="T121" fmla="*/ 244 h 256"/>
                  <a:gd name="T122" fmla="*/ 310 w 326"/>
                  <a:gd name="T123" fmla="*/ 230 h 256"/>
                  <a:gd name="T124" fmla="*/ 326 w 326"/>
                  <a:gd name="T125" fmla="*/ 220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26" h="256">
                    <a:moveTo>
                      <a:pt x="326" y="220"/>
                    </a:moveTo>
                    <a:lnTo>
                      <a:pt x="326" y="220"/>
                    </a:lnTo>
                    <a:lnTo>
                      <a:pt x="324" y="218"/>
                    </a:lnTo>
                    <a:lnTo>
                      <a:pt x="324" y="218"/>
                    </a:lnTo>
                    <a:lnTo>
                      <a:pt x="322" y="216"/>
                    </a:lnTo>
                    <a:lnTo>
                      <a:pt x="322" y="216"/>
                    </a:lnTo>
                    <a:lnTo>
                      <a:pt x="318" y="216"/>
                    </a:lnTo>
                    <a:lnTo>
                      <a:pt x="316" y="214"/>
                    </a:lnTo>
                    <a:lnTo>
                      <a:pt x="316" y="214"/>
                    </a:lnTo>
                    <a:lnTo>
                      <a:pt x="316" y="214"/>
                    </a:lnTo>
                    <a:lnTo>
                      <a:pt x="314" y="212"/>
                    </a:lnTo>
                    <a:lnTo>
                      <a:pt x="314" y="210"/>
                    </a:lnTo>
                    <a:lnTo>
                      <a:pt x="314" y="210"/>
                    </a:lnTo>
                    <a:lnTo>
                      <a:pt x="316" y="208"/>
                    </a:lnTo>
                    <a:lnTo>
                      <a:pt x="316" y="204"/>
                    </a:lnTo>
                    <a:lnTo>
                      <a:pt x="316" y="202"/>
                    </a:lnTo>
                    <a:lnTo>
                      <a:pt x="318" y="202"/>
                    </a:lnTo>
                    <a:lnTo>
                      <a:pt x="318" y="202"/>
                    </a:lnTo>
                    <a:lnTo>
                      <a:pt x="316" y="200"/>
                    </a:lnTo>
                    <a:lnTo>
                      <a:pt x="316" y="198"/>
                    </a:lnTo>
                    <a:lnTo>
                      <a:pt x="316" y="198"/>
                    </a:lnTo>
                    <a:lnTo>
                      <a:pt x="314" y="196"/>
                    </a:lnTo>
                    <a:lnTo>
                      <a:pt x="312" y="194"/>
                    </a:lnTo>
                    <a:lnTo>
                      <a:pt x="308" y="192"/>
                    </a:lnTo>
                    <a:lnTo>
                      <a:pt x="308" y="192"/>
                    </a:lnTo>
                    <a:lnTo>
                      <a:pt x="306" y="192"/>
                    </a:lnTo>
                    <a:lnTo>
                      <a:pt x="304" y="192"/>
                    </a:lnTo>
                    <a:lnTo>
                      <a:pt x="302" y="192"/>
                    </a:lnTo>
                    <a:lnTo>
                      <a:pt x="302" y="192"/>
                    </a:lnTo>
                    <a:lnTo>
                      <a:pt x="302" y="192"/>
                    </a:lnTo>
                    <a:lnTo>
                      <a:pt x="300" y="190"/>
                    </a:lnTo>
                    <a:lnTo>
                      <a:pt x="300" y="190"/>
                    </a:lnTo>
                    <a:lnTo>
                      <a:pt x="298" y="188"/>
                    </a:lnTo>
                    <a:lnTo>
                      <a:pt x="296" y="186"/>
                    </a:lnTo>
                    <a:lnTo>
                      <a:pt x="296" y="186"/>
                    </a:lnTo>
                    <a:lnTo>
                      <a:pt x="292" y="186"/>
                    </a:lnTo>
                    <a:lnTo>
                      <a:pt x="292" y="186"/>
                    </a:lnTo>
                    <a:lnTo>
                      <a:pt x="290" y="184"/>
                    </a:lnTo>
                    <a:lnTo>
                      <a:pt x="290" y="184"/>
                    </a:lnTo>
                    <a:lnTo>
                      <a:pt x="290" y="182"/>
                    </a:lnTo>
                    <a:lnTo>
                      <a:pt x="288" y="180"/>
                    </a:lnTo>
                    <a:lnTo>
                      <a:pt x="288" y="180"/>
                    </a:lnTo>
                    <a:lnTo>
                      <a:pt x="286" y="174"/>
                    </a:lnTo>
                    <a:lnTo>
                      <a:pt x="286" y="174"/>
                    </a:lnTo>
                    <a:lnTo>
                      <a:pt x="284" y="174"/>
                    </a:lnTo>
                    <a:lnTo>
                      <a:pt x="284" y="172"/>
                    </a:lnTo>
                    <a:lnTo>
                      <a:pt x="284" y="172"/>
                    </a:lnTo>
                    <a:lnTo>
                      <a:pt x="282" y="172"/>
                    </a:lnTo>
                    <a:lnTo>
                      <a:pt x="280" y="172"/>
                    </a:lnTo>
                    <a:lnTo>
                      <a:pt x="280" y="170"/>
                    </a:lnTo>
                    <a:lnTo>
                      <a:pt x="280" y="170"/>
                    </a:lnTo>
                    <a:lnTo>
                      <a:pt x="280" y="170"/>
                    </a:lnTo>
                    <a:lnTo>
                      <a:pt x="280" y="168"/>
                    </a:lnTo>
                    <a:lnTo>
                      <a:pt x="280" y="168"/>
                    </a:lnTo>
                    <a:lnTo>
                      <a:pt x="282" y="166"/>
                    </a:lnTo>
                    <a:lnTo>
                      <a:pt x="282" y="164"/>
                    </a:lnTo>
                    <a:lnTo>
                      <a:pt x="282" y="164"/>
                    </a:lnTo>
                    <a:lnTo>
                      <a:pt x="282" y="162"/>
                    </a:lnTo>
                    <a:lnTo>
                      <a:pt x="282" y="160"/>
                    </a:lnTo>
                    <a:lnTo>
                      <a:pt x="284" y="158"/>
                    </a:lnTo>
                    <a:lnTo>
                      <a:pt x="284" y="158"/>
                    </a:lnTo>
                    <a:lnTo>
                      <a:pt x="286" y="158"/>
                    </a:lnTo>
                    <a:lnTo>
                      <a:pt x="286" y="156"/>
                    </a:lnTo>
                    <a:lnTo>
                      <a:pt x="288" y="156"/>
                    </a:lnTo>
                    <a:lnTo>
                      <a:pt x="290" y="154"/>
                    </a:lnTo>
                    <a:lnTo>
                      <a:pt x="290" y="154"/>
                    </a:lnTo>
                    <a:lnTo>
                      <a:pt x="290" y="154"/>
                    </a:lnTo>
                    <a:lnTo>
                      <a:pt x="290" y="152"/>
                    </a:lnTo>
                    <a:lnTo>
                      <a:pt x="292" y="150"/>
                    </a:lnTo>
                    <a:lnTo>
                      <a:pt x="290" y="148"/>
                    </a:lnTo>
                    <a:lnTo>
                      <a:pt x="290" y="146"/>
                    </a:lnTo>
                    <a:lnTo>
                      <a:pt x="290" y="144"/>
                    </a:lnTo>
                    <a:lnTo>
                      <a:pt x="288" y="144"/>
                    </a:lnTo>
                    <a:lnTo>
                      <a:pt x="286" y="142"/>
                    </a:lnTo>
                    <a:lnTo>
                      <a:pt x="286" y="142"/>
                    </a:lnTo>
                    <a:lnTo>
                      <a:pt x="284" y="142"/>
                    </a:lnTo>
                    <a:lnTo>
                      <a:pt x="284" y="142"/>
                    </a:lnTo>
                    <a:lnTo>
                      <a:pt x="280" y="142"/>
                    </a:lnTo>
                    <a:lnTo>
                      <a:pt x="278" y="142"/>
                    </a:lnTo>
                    <a:lnTo>
                      <a:pt x="276" y="142"/>
                    </a:lnTo>
                    <a:lnTo>
                      <a:pt x="276" y="140"/>
                    </a:lnTo>
                    <a:lnTo>
                      <a:pt x="274" y="140"/>
                    </a:lnTo>
                    <a:lnTo>
                      <a:pt x="274" y="140"/>
                    </a:lnTo>
                    <a:lnTo>
                      <a:pt x="272" y="138"/>
                    </a:lnTo>
                    <a:lnTo>
                      <a:pt x="272" y="134"/>
                    </a:lnTo>
                    <a:lnTo>
                      <a:pt x="272" y="134"/>
                    </a:lnTo>
                    <a:lnTo>
                      <a:pt x="270" y="132"/>
                    </a:lnTo>
                    <a:lnTo>
                      <a:pt x="268" y="130"/>
                    </a:lnTo>
                    <a:lnTo>
                      <a:pt x="268" y="130"/>
                    </a:lnTo>
                    <a:lnTo>
                      <a:pt x="266" y="128"/>
                    </a:lnTo>
                    <a:lnTo>
                      <a:pt x="266" y="128"/>
                    </a:lnTo>
                    <a:lnTo>
                      <a:pt x="266" y="126"/>
                    </a:lnTo>
                    <a:lnTo>
                      <a:pt x="266" y="124"/>
                    </a:lnTo>
                    <a:lnTo>
                      <a:pt x="266" y="120"/>
                    </a:lnTo>
                    <a:lnTo>
                      <a:pt x="268" y="114"/>
                    </a:lnTo>
                    <a:lnTo>
                      <a:pt x="268" y="114"/>
                    </a:lnTo>
                    <a:lnTo>
                      <a:pt x="268" y="110"/>
                    </a:lnTo>
                    <a:lnTo>
                      <a:pt x="266" y="108"/>
                    </a:lnTo>
                    <a:lnTo>
                      <a:pt x="266" y="106"/>
                    </a:lnTo>
                    <a:lnTo>
                      <a:pt x="266" y="106"/>
                    </a:lnTo>
                    <a:lnTo>
                      <a:pt x="266" y="106"/>
                    </a:lnTo>
                    <a:lnTo>
                      <a:pt x="264" y="104"/>
                    </a:lnTo>
                    <a:lnTo>
                      <a:pt x="264" y="102"/>
                    </a:lnTo>
                    <a:lnTo>
                      <a:pt x="262" y="100"/>
                    </a:lnTo>
                    <a:lnTo>
                      <a:pt x="262" y="100"/>
                    </a:lnTo>
                    <a:lnTo>
                      <a:pt x="262" y="100"/>
                    </a:lnTo>
                    <a:lnTo>
                      <a:pt x="264" y="98"/>
                    </a:lnTo>
                    <a:lnTo>
                      <a:pt x="264" y="94"/>
                    </a:lnTo>
                    <a:lnTo>
                      <a:pt x="264" y="94"/>
                    </a:lnTo>
                    <a:lnTo>
                      <a:pt x="264" y="90"/>
                    </a:lnTo>
                    <a:lnTo>
                      <a:pt x="264" y="88"/>
                    </a:lnTo>
                    <a:lnTo>
                      <a:pt x="264" y="88"/>
                    </a:lnTo>
                    <a:lnTo>
                      <a:pt x="262" y="80"/>
                    </a:lnTo>
                    <a:lnTo>
                      <a:pt x="262" y="76"/>
                    </a:lnTo>
                    <a:lnTo>
                      <a:pt x="262" y="72"/>
                    </a:lnTo>
                    <a:lnTo>
                      <a:pt x="262" y="72"/>
                    </a:lnTo>
                    <a:lnTo>
                      <a:pt x="262" y="68"/>
                    </a:lnTo>
                    <a:lnTo>
                      <a:pt x="262" y="66"/>
                    </a:lnTo>
                    <a:lnTo>
                      <a:pt x="262" y="64"/>
                    </a:lnTo>
                    <a:lnTo>
                      <a:pt x="262" y="64"/>
                    </a:lnTo>
                    <a:lnTo>
                      <a:pt x="262" y="64"/>
                    </a:lnTo>
                    <a:lnTo>
                      <a:pt x="260" y="64"/>
                    </a:lnTo>
                    <a:lnTo>
                      <a:pt x="260" y="62"/>
                    </a:lnTo>
                    <a:lnTo>
                      <a:pt x="260" y="60"/>
                    </a:lnTo>
                    <a:lnTo>
                      <a:pt x="260" y="60"/>
                    </a:lnTo>
                    <a:lnTo>
                      <a:pt x="260" y="56"/>
                    </a:lnTo>
                    <a:lnTo>
                      <a:pt x="258" y="54"/>
                    </a:lnTo>
                    <a:lnTo>
                      <a:pt x="256" y="52"/>
                    </a:lnTo>
                    <a:lnTo>
                      <a:pt x="254" y="50"/>
                    </a:lnTo>
                    <a:lnTo>
                      <a:pt x="254" y="50"/>
                    </a:lnTo>
                    <a:lnTo>
                      <a:pt x="252" y="48"/>
                    </a:lnTo>
                    <a:lnTo>
                      <a:pt x="250" y="48"/>
                    </a:lnTo>
                    <a:lnTo>
                      <a:pt x="248" y="46"/>
                    </a:lnTo>
                    <a:lnTo>
                      <a:pt x="244" y="46"/>
                    </a:lnTo>
                    <a:lnTo>
                      <a:pt x="244" y="46"/>
                    </a:lnTo>
                    <a:lnTo>
                      <a:pt x="242" y="44"/>
                    </a:lnTo>
                    <a:lnTo>
                      <a:pt x="240" y="42"/>
                    </a:lnTo>
                    <a:lnTo>
                      <a:pt x="238" y="40"/>
                    </a:lnTo>
                    <a:lnTo>
                      <a:pt x="236" y="38"/>
                    </a:lnTo>
                    <a:lnTo>
                      <a:pt x="236" y="38"/>
                    </a:lnTo>
                    <a:lnTo>
                      <a:pt x="230" y="34"/>
                    </a:lnTo>
                    <a:lnTo>
                      <a:pt x="224" y="32"/>
                    </a:lnTo>
                    <a:lnTo>
                      <a:pt x="220" y="30"/>
                    </a:lnTo>
                    <a:lnTo>
                      <a:pt x="216" y="28"/>
                    </a:lnTo>
                    <a:lnTo>
                      <a:pt x="214" y="26"/>
                    </a:lnTo>
                    <a:lnTo>
                      <a:pt x="214" y="26"/>
                    </a:lnTo>
                    <a:lnTo>
                      <a:pt x="212" y="24"/>
                    </a:lnTo>
                    <a:lnTo>
                      <a:pt x="208" y="22"/>
                    </a:lnTo>
                    <a:lnTo>
                      <a:pt x="206" y="22"/>
                    </a:lnTo>
                    <a:lnTo>
                      <a:pt x="204" y="22"/>
                    </a:lnTo>
                    <a:lnTo>
                      <a:pt x="204" y="22"/>
                    </a:lnTo>
                    <a:lnTo>
                      <a:pt x="202" y="22"/>
                    </a:lnTo>
                    <a:lnTo>
                      <a:pt x="200" y="22"/>
                    </a:lnTo>
                    <a:lnTo>
                      <a:pt x="196" y="22"/>
                    </a:lnTo>
                    <a:lnTo>
                      <a:pt x="194" y="20"/>
                    </a:lnTo>
                    <a:lnTo>
                      <a:pt x="192" y="20"/>
                    </a:lnTo>
                    <a:lnTo>
                      <a:pt x="192" y="20"/>
                    </a:lnTo>
                    <a:lnTo>
                      <a:pt x="186" y="18"/>
                    </a:lnTo>
                    <a:lnTo>
                      <a:pt x="182" y="18"/>
                    </a:lnTo>
                    <a:lnTo>
                      <a:pt x="180" y="18"/>
                    </a:lnTo>
                    <a:lnTo>
                      <a:pt x="178" y="18"/>
                    </a:lnTo>
                    <a:lnTo>
                      <a:pt x="178" y="18"/>
                    </a:lnTo>
                    <a:lnTo>
                      <a:pt x="178" y="18"/>
                    </a:lnTo>
                    <a:lnTo>
                      <a:pt x="176" y="20"/>
                    </a:lnTo>
                    <a:lnTo>
                      <a:pt x="174" y="22"/>
                    </a:lnTo>
                    <a:lnTo>
                      <a:pt x="172" y="24"/>
                    </a:lnTo>
                    <a:lnTo>
                      <a:pt x="172" y="24"/>
                    </a:lnTo>
                    <a:lnTo>
                      <a:pt x="170" y="24"/>
                    </a:lnTo>
                    <a:lnTo>
                      <a:pt x="170" y="26"/>
                    </a:lnTo>
                    <a:lnTo>
                      <a:pt x="168" y="26"/>
                    </a:lnTo>
                    <a:lnTo>
                      <a:pt x="168" y="26"/>
                    </a:lnTo>
                    <a:lnTo>
                      <a:pt x="164" y="26"/>
                    </a:lnTo>
                    <a:lnTo>
                      <a:pt x="162" y="28"/>
                    </a:lnTo>
                    <a:lnTo>
                      <a:pt x="160" y="28"/>
                    </a:lnTo>
                    <a:lnTo>
                      <a:pt x="160" y="30"/>
                    </a:lnTo>
                    <a:lnTo>
                      <a:pt x="158" y="32"/>
                    </a:lnTo>
                    <a:lnTo>
                      <a:pt x="158" y="32"/>
                    </a:lnTo>
                    <a:lnTo>
                      <a:pt x="156" y="36"/>
                    </a:lnTo>
                    <a:lnTo>
                      <a:pt x="156" y="38"/>
                    </a:lnTo>
                    <a:lnTo>
                      <a:pt x="154" y="40"/>
                    </a:lnTo>
                    <a:lnTo>
                      <a:pt x="152" y="42"/>
                    </a:lnTo>
                    <a:lnTo>
                      <a:pt x="152" y="42"/>
                    </a:lnTo>
                    <a:lnTo>
                      <a:pt x="148" y="44"/>
                    </a:lnTo>
                    <a:lnTo>
                      <a:pt x="144" y="46"/>
                    </a:lnTo>
                    <a:lnTo>
                      <a:pt x="142" y="48"/>
                    </a:lnTo>
                    <a:lnTo>
                      <a:pt x="140" y="48"/>
                    </a:lnTo>
                    <a:lnTo>
                      <a:pt x="138" y="48"/>
                    </a:lnTo>
                    <a:lnTo>
                      <a:pt x="134" y="46"/>
                    </a:lnTo>
                    <a:lnTo>
                      <a:pt x="134" y="46"/>
                    </a:lnTo>
                    <a:lnTo>
                      <a:pt x="134" y="48"/>
                    </a:lnTo>
                    <a:lnTo>
                      <a:pt x="134" y="50"/>
                    </a:lnTo>
                    <a:lnTo>
                      <a:pt x="134" y="50"/>
                    </a:lnTo>
                    <a:lnTo>
                      <a:pt x="132" y="52"/>
                    </a:lnTo>
                    <a:lnTo>
                      <a:pt x="132" y="52"/>
                    </a:lnTo>
                    <a:lnTo>
                      <a:pt x="132" y="52"/>
                    </a:lnTo>
                    <a:lnTo>
                      <a:pt x="130" y="54"/>
                    </a:lnTo>
                    <a:lnTo>
                      <a:pt x="126" y="54"/>
                    </a:lnTo>
                    <a:lnTo>
                      <a:pt x="118" y="52"/>
                    </a:lnTo>
                    <a:lnTo>
                      <a:pt x="118" y="52"/>
                    </a:lnTo>
                    <a:lnTo>
                      <a:pt x="116" y="52"/>
                    </a:lnTo>
                    <a:lnTo>
                      <a:pt x="112" y="52"/>
                    </a:lnTo>
                    <a:lnTo>
                      <a:pt x="108" y="52"/>
                    </a:lnTo>
                    <a:lnTo>
                      <a:pt x="106" y="50"/>
                    </a:lnTo>
                    <a:lnTo>
                      <a:pt x="106" y="50"/>
                    </a:lnTo>
                    <a:lnTo>
                      <a:pt x="104" y="48"/>
                    </a:lnTo>
                    <a:lnTo>
                      <a:pt x="102" y="48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98" y="44"/>
                    </a:lnTo>
                    <a:lnTo>
                      <a:pt x="96" y="42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0" y="38"/>
                    </a:lnTo>
                    <a:lnTo>
                      <a:pt x="88" y="38"/>
                    </a:lnTo>
                    <a:lnTo>
                      <a:pt x="86" y="38"/>
                    </a:lnTo>
                    <a:lnTo>
                      <a:pt x="86" y="38"/>
                    </a:lnTo>
                    <a:lnTo>
                      <a:pt x="84" y="36"/>
                    </a:lnTo>
                    <a:lnTo>
                      <a:pt x="82" y="36"/>
                    </a:lnTo>
                    <a:lnTo>
                      <a:pt x="80" y="36"/>
                    </a:lnTo>
                    <a:lnTo>
                      <a:pt x="78" y="36"/>
                    </a:lnTo>
                    <a:lnTo>
                      <a:pt x="78" y="36"/>
                    </a:lnTo>
                    <a:lnTo>
                      <a:pt x="76" y="34"/>
                    </a:lnTo>
                    <a:lnTo>
                      <a:pt x="72" y="32"/>
                    </a:lnTo>
                    <a:lnTo>
                      <a:pt x="72" y="30"/>
                    </a:lnTo>
                    <a:lnTo>
                      <a:pt x="70" y="28"/>
                    </a:lnTo>
                    <a:lnTo>
                      <a:pt x="70" y="28"/>
                    </a:lnTo>
                    <a:lnTo>
                      <a:pt x="68" y="22"/>
                    </a:lnTo>
                    <a:lnTo>
                      <a:pt x="66" y="20"/>
                    </a:lnTo>
                    <a:lnTo>
                      <a:pt x="66" y="20"/>
                    </a:lnTo>
                    <a:lnTo>
                      <a:pt x="64" y="20"/>
                    </a:lnTo>
                    <a:lnTo>
                      <a:pt x="62" y="20"/>
                    </a:lnTo>
                    <a:lnTo>
                      <a:pt x="62" y="20"/>
                    </a:lnTo>
                    <a:lnTo>
                      <a:pt x="60" y="20"/>
                    </a:lnTo>
                    <a:lnTo>
                      <a:pt x="60" y="18"/>
                    </a:lnTo>
                    <a:lnTo>
                      <a:pt x="58" y="18"/>
                    </a:lnTo>
                    <a:lnTo>
                      <a:pt x="56" y="16"/>
                    </a:lnTo>
                    <a:lnTo>
                      <a:pt x="54" y="16"/>
                    </a:lnTo>
                    <a:lnTo>
                      <a:pt x="54" y="14"/>
                    </a:lnTo>
                    <a:lnTo>
                      <a:pt x="54" y="12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6" y="8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2"/>
                    </a:lnTo>
                    <a:lnTo>
                      <a:pt x="54" y="2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50" y="0"/>
                    </a:lnTo>
                    <a:lnTo>
                      <a:pt x="48" y="2"/>
                    </a:lnTo>
                    <a:lnTo>
                      <a:pt x="46" y="2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38" y="6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2"/>
                    </a:lnTo>
                    <a:lnTo>
                      <a:pt x="32" y="14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26" y="16"/>
                    </a:lnTo>
                    <a:lnTo>
                      <a:pt x="24" y="16"/>
                    </a:lnTo>
                    <a:lnTo>
                      <a:pt x="20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6" y="14"/>
                    </a:lnTo>
                    <a:lnTo>
                      <a:pt x="14" y="14"/>
                    </a:lnTo>
                    <a:lnTo>
                      <a:pt x="12" y="12"/>
                    </a:lnTo>
                    <a:lnTo>
                      <a:pt x="12" y="10"/>
                    </a:lnTo>
                    <a:lnTo>
                      <a:pt x="10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8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2"/>
                    </a:lnTo>
                    <a:lnTo>
                      <a:pt x="4" y="24"/>
                    </a:lnTo>
                    <a:lnTo>
                      <a:pt x="4" y="26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6"/>
                    </a:lnTo>
                    <a:lnTo>
                      <a:pt x="10" y="36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42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6"/>
                    </a:lnTo>
                    <a:lnTo>
                      <a:pt x="18" y="46"/>
                    </a:lnTo>
                    <a:lnTo>
                      <a:pt x="16" y="48"/>
                    </a:lnTo>
                    <a:lnTo>
                      <a:pt x="16" y="48"/>
                    </a:lnTo>
                    <a:lnTo>
                      <a:pt x="16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8" y="58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4" y="68"/>
                    </a:lnTo>
                    <a:lnTo>
                      <a:pt x="28" y="70"/>
                    </a:lnTo>
                    <a:lnTo>
                      <a:pt x="32" y="74"/>
                    </a:lnTo>
                    <a:lnTo>
                      <a:pt x="36" y="76"/>
                    </a:lnTo>
                    <a:lnTo>
                      <a:pt x="36" y="76"/>
                    </a:lnTo>
                    <a:lnTo>
                      <a:pt x="38" y="76"/>
                    </a:lnTo>
                    <a:lnTo>
                      <a:pt x="40" y="78"/>
                    </a:lnTo>
                    <a:lnTo>
                      <a:pt x="40" y="80"/>
                    </a:lnTo>
                    <a:lnTo>
                      <a:pt x="40" y="80"/>
                    </a:lnTo>
                    <a:lnTo>
                      <a:pt x="40" y="82"/>
                    </a:lnTo>
                    <a:lnTo>
                      <a:pt x="40" y="82"/>
                    </a:lnTo>
                    <a:lnTo>
                      <a:pt x="36" y="92"/>
                    </a:lnTo>
                    <a:lnTo>
                      <a:pt x="36" y="92"/>
                    </a:lnTo>
                    <a:lnTo>
                      <a:pt x="36" y="96"/>
                    </a:lnTo>
                    <a:lnTo>
                      <a:pt x="34" y="100"/>
                    </a:lnTo>
                    <a:lnTo>
                      <a:pt x="32" y="102"/>
                    </a:lnTo>
                    <a:lnTo>
                      <a:pt x="32" y="104"/>
                    </a:lnTo>
                    <a:lnTo>
                      <a:pt x="34" y="106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6" y="112"/>
                    </a:lnTo>
                    <a:lnTo>
                      <a:pt x="38" y="114"/>
                    </a:lnTo>
                    <a:lnTo>
                      <a:pt x="40" y="114"/>
                    </a:lnTo>
                    <a:lnTo>
                      <a:pt x="42" y="116"/>
                    </a:lnTo>
                    <a:lnTo>
                      <a:pt x="42" y="116"/>
                    </a:lnTo>
                    <a:lnTo>
                      <a:pt x="44" y="122"/>
                    </a:lnTo>
                    <a:lnTo>
                      <a:pt x="46" y="124"/>
                    </a:lnTo>
                    <a:lnTo>
                      <a:pt x="46" y="126"/>
                    </a:lnTo>
                    <a:lnTo>
                      <a:pt x="46" y="126"/>
                    </a:lnTo>
                    <a:lnTo>
                      <a:pt x="50" y="130"/>
                    </a:lnTo>
                    <a:lnTo>
                      <a:pt x="52" y="132"/>
                    </a:lnTo>
                    <a:lnTo>
                      <a:pt x="54" y="134"/>
                    </a:lnTo>
                    <a:lnTo>
                      <a:pt x="54" y="134"/>
                    </a:lnTo>
                    <a:lnTo>
                      <a:pt x="54" y="134"/>
                    </a:lnTo>
                    <a:lnTo>
                      <a:pt x="56" y="134"/>
                    </a:lnTo>
                    <a:lnTo>
                      <a:pt x="58" y="134"/>
                    </a:lnTo>
                    <a:lnTo>
                      <a:pt x="60" y="134"/>
                    </a:lnTo>
                    <a:lnTo>
                      <a:pt x="62" y="134"/>
                    </a:lnTo>
                    <a:lnTo>
                      <a:pt x="62" y="134"/>
                    </a:lnTo>
                    <a:lnTo>
                      <a:pt x="62" y="134"/>
                    </a:lnTo>
                    <a:lnTo>
                      <a:pt x="64" y="134"/>
                    </a:lnTo>
                    <a:lnTo>
                      <a:pt x="64" y="136"/>
                    </a:lnTo>
                    <a:lnTo>
                      <a:pt x="66" y="138"/>
                    </a:lnTo>
                    <a:lnTo>
                      <a:pt x="66" y="140"/>
                    </a:lnTo>
                    <a:lnTo>
                      <a:pt x="68" y="142"/>
                    </a:lnTo>
                    <a:lnTo>
                      <a:pt x="68" y="142"/>
                    </a:lnTo>
                    <a:lnTo>
                      <a:pt x="68" y="142"/>
                    </a:lnTo>
                    <a:lnTo>
                      <a:pt x="70" y="144"/>
                    </a:lnTo>
                    <a:lnTo>
                      <a:pt x="72" y="148"/>
                    </a:lnTo>
                    <a:lnTo>
                      <a:pt x="72" y="148"/>
                    </a:lnTo>
                    <a:lnTo>
                      <a:pt x="74" y="150"/>
                    </a:lnTo>
                    <a:lnTo>
                      <a:pt x="74" y="152"/>
                    </a:lnTo>
                    <a:lnTo>
                      <a:pt x="74" y="156"/>
                    </a:lnTo>
                    <a:lnTo>
                      <a:pt x="74" y="158"/>
                    </a:lnTo>
                    <a:lnTo>
                      <a:pt x="74" y="158"/>
                    </a:lnTo>
                    <a:lnTo>
                      <a:pt x="76" y="160"/>
                    </a:lnTo>
                    <a:lnTo>
                      <a:pt x="76" y="162"/>
                    </a:lnTo>
                    <a:lnTo>
                      <a:pt x="80" y="166"/>
                    </a:lnTo>
                    <a:lnTo>
                      <a:pt x="80" y="166"/>
                    </a:lnTo>
                    <a:lnTo>
                      <a:pt x="82" y="168"/>
                    </a:lnTo>
                    <a:lnTo>
                      <a:pt x="84" y="170"/>
                    </a:lnTo>
                    <a:lnTo>
                      <a:pt x="90" y="176"/>
                    </a:lnTo>
                    <a:lnTo>
                      <a:pt x="90" y="176"/>
                    </a:lnTo>
                    <a:lnTo>
                      <a:pt x="92" y="176"/>
                    </a:lnTo>
                    <a:lnTo>
                      <a:pt x="94" y="178"/>
                    </a:lnTo>
                    <a:lnTo>
                      <a:pt x="96" y="182"/>
                    </a:lnTo>
                    <a:lnTo>
                      <a:pt x="96" y="182"/>
                    </a:lnTo>
                    <a:lnTo>
                      <a:pt x="96" y="182"/>
                    </a:lnTo>
                    <a:lnTo>
                      <a:pt x="96" y="180"/>
                    </a:lnTo>
                    <a:lnTo>
                      <a:pt x="96" y="176"/>
                    </a:lnTo>
                    <a:lnTo>
                      <a:pt x="96" y="176"/>
                    </a:lnTo>
                    <a:lnTo>
                      <a:pt x="96" y="176"/>
                    </a:lnTo>
                    <a:lnTo>
                      <a:pt x="98" y="174"/>
                    </a:lnTo>
                    <a:lnTo>
                      <a:pt x="98" y="174"/>
                    </a:lnTo>
                    <a:lnTo>
                      <a:pt x="100" y="174"/>
                    </a:lnTo>
                    <a:lnTo>
                      <a:pt x="102" y="172"/>
                    </a:lnTo>
                    <a:lnTo>
                      <a:pt x="104" y="172"/>
                    </a:lnTo>
                    <a:lnTo>
                      <a:pt x="104" y="172"/>
                    </a:lnTo>
                    <a:lnTo>
                      <a:pt x="106" y="174"/>
                    </a:lnTo>
                    <a:lnTo>
                      <a:pt x="106" y="174"/>
                    </a:lnTo>
                    <a:lnTo>
                      <a:pt x="106" y="176"/>
                    </a:lnTo>
                    <a:lnTo>
                      <a:pt x="106" y="176"/>
                    </a:lnTo>
                    <a:lnTo>
                      <a:pt x="106" y="178"/>
                    </a:lnTo>
                    <a:lnTo>
                      <a:pt x="108" y="178"/>
                    </a:lnTo>
                    <a:lnTo>
                      <a:pt x="108" y="180"/>
                    </a:lnTo>
                    <a:lnTo>
                      <a:pt x="108" y="180"/>
                    </a:lnTo>
                    <a:lnTo>
                      <a:pt x="108" y="180"/>
                    </a:lnTo>
                    <a:lnTo>
                      <a:pt x="110" y="180"/>
                    </a:lnTo>
                    <a:lnTo>
                      <a:pt x="112" y="182"/>
                    </a:lnTo>
                    <a:lnTo>
                      <a:pt x="116" y="184"/>
                    </a:lnTo>
                    <a:lnTo>
                      <a:pt x="116" y="186"/>
                    </a:lnTo>
                    <a:lnTo>
                      <a:pt x="116" y="186"/>
                    </a:lnTo>
                    <a:lnTo>
                      <a:pt x="118" y="188"/>
                    </a:lnTo>
                    <a:lnTo>
                      <a:pt x="120" y="190"/>
                    </a:lnTo>
                    <a:lnTo>
                      <a:pt x="120" y="190"/>
                    </a:lnTo>
                    <a:lnTo>
                      <a:pt x="120" y="190"/>
                    </a:lnTo>
                    <a:lnTo>
                      <a:pt x="120" y="192"/>
                    </a:lnTo>
                    <a:lnTo>
                      <a:pt x="122" y="194"/>
                    </a:lnTo>
                    <a:lnTo>
                      <a:pt x="122" y="194"/>
                    </a:lnTo>
                    <a:lnTo>
                      <a:pt x="124" y="194"/>
                    </a:lnTo>
                    <a:lnTo>
                      <a:pt x="124" y="196"/>
                    </a:lnTo>
                    <a:lnTo>
                      <a:pt x="126" y="198"/>
                    </a:lnTo>
                    <a:lnTo>
                      <a:pt x="126" y="202"/>
                    </a:lnTo>
                    <a:lnTo>
                      <a:pt x="126" y="204"/>
                    </a:lnTo>
                    <a:lnTo>
                      <a:pt x="126" y="204"/>
                    </a:lnTo>
                    <a:lnTo>
                      <a:pt x="128" y="206"/>
                    </a:lnTo>
                    <a:lnTo>
                      <a:pt x="128" y="206"/>
                    </a:lnTo>
                    <a:lnTo>
                      <a:pt x="130" y="208"/>
                    </a:lnTo>
                    <a:lnTo>
                      <a:pt x="130" y="208"/>
                    </a:lnTo>
                    <a:lnTo>
                      <a:pt x="132" y="210"/>
                    </a:lnTo>
                    <a:lnTo>
                      <a:pt x="134" y="212"/>
                    </a:lnTo>
                    <a:lnTo>
                      <a:pt x="134" y="212"/>
                    </a:lnTo>
                    <a:lnTo>
                      <a:pt x="134" y="212"/>
                    </a:lnTo>
                    <a:lnTo>
                      <a:pt x="134" y="214"/>
                    </a:lnTo>
                    <a:lnTo>
                      <a:pt x="134" y="216"/>
                    </a:lnTo>
                    <a:lnTo>
                      <a:pt x="136" y="218"/>
                    </a:lnTo>
                    <a:lnTo>
                      <a:pt x="136" y="218"/>
                    </a:lnTo>
                    <a:lnTo>
                      <a:pt x="138" y="218"/>
                    </a:lnTo>
                    <a:lnTo>
                      <a:pt x="138" y="218"/>
                    </a:lnTo>
                    <a:lnTo>
                      <a:pt x="140" y="218"/>
                    </a:lnTo>
                    <a:lnTo>
                      <a:pt x="140" y="218"/>
                    </a:lnTo>
                    <a:lnTo>
                      <a:pt x="142" y="218"/>
                    </a:lnTo>
                    <a:lnTo>
                      <a:pt x="144" y="218"/>
                    </a:lnTo>
                    <a:lnTo>
                      <a:pt x="146" y="216"/>
                    </a:lnTo>
                    <a:lnTo>
                      <a:pt x="148" y="216"/>
                    </a:lnTo>
                    <a:lnTo>
                      <a:pt x="150" y="216"/>
                    </a:lnTo>
                    <a:lnTo>
                      <a:pt x="150" y="216"/>
                    </a:lnTo>
                    <a:lnTo>
                      <a:pt x="150" y="216"/>
                    </a:lnTo>
                    <a:lnTo>
                      <a:pt x="154" y="218"/>
                    </a:lnTo>
                    <a:lnTo>
                      <a:pt x="156" y="220"/>
                    </a:lnTo>
                    <a:lnTo>
                      <a:pt x="158" y="222"/>
                    </a:lnTo>
                    <a:lnTo>
                      <a:pt x="160" y="222"/>
                    </a:lnTo>
                    <a:lnTo>
                      <a:pt x="160" y="222"/>
                    </a:lnTo>
                    <a:lnTo>
                      <a:pt x="166" y="226"/>
                    </a:lnTo>
                    <a:lnTo>
                      <a:pt x="170" y="228"/>
                    </a:lnTo>
                    <a:lnTo>
                      <a:pt x="170" y="228"/>
                    </a:lnTo>
                    <a:lnTo>
                      <a:pt x="174" y="230"/>
                    </a:lnTo>
                    <a:lnTo>
                      <a:pt x="176" y="232"/>
                    </a:lnTo>
                    <a:lnTo>
                      <a:pt x="176" y="232"/>
                    </a:lnTo>
                    <a:lnTo>
                      <a:pt x="178" y="232"/>
                    </a:lnTo>
                    <a:lnTo>
                      <a:pt x="180" y="234"/>
                    </a:lnTo>
                    <a:lnTo>
                      <a:pt x="180" y="234"/>
                    </a:lnTo>
                    <a:lnTo>
                      <a:pt x="180" y="234"/>
                    </a:lnTo>
                    <a:lnTo>
                      <a:pt x="182" y="236"/>
                    </a:lnTo>
                    <a:lnTo>
                      <a:pt x="184" y="236"/>
                    </a:lnTo>
                    <a:lnTo>
                      <a:pt x="184" y="236"/>
                    </a:lnTo>
                    <a:lnTo>
                      <a:pt x="188" y="234"/>
                    </a:lnTo>
                    <a:lnTo>
                      <a:pt x="192" y="234"/>
                    </a:lnTo>
                    <a:lnTo>
                      <a:pt x="192" y="234"/>
                    </a:lnTo>
                    <a:lnTo>
                      <a:pt x="194" y="232"/>
                    </a:lnTo>
                    <a:lnTo>
                      <a:pt x="194" y="232"/>
                    </a:lnTo>
                    <a:lnTo>
                      <a:pt x="198" y="232"/>
                    </a:lnTo>
                    <a:lnTo>
                      <a:pt x="200" y="232"/>
                    </a:lnTo>
                    <a:lnTo>
                      <a:pt x="202" y="232"/>
                    </a:lnTo>
                    <a:lnTo>
                      <a:pt x="202" y="232"/>
                    </a:lnTo>
                    <a:lnTo>
                      <a:pt x="206" y="230"/>
                    </a:lnTo>
                    <a:lnTo>
                      <a:pt x="206" y="228"/>
                    </a:lnTo>
                    <a:lnTo>
                      <a:pt x="208" y="226"/>
                    </a:lnTo>
                    <a:lnTo>
                      <a:pt x="210" y="226"/>
                    </a:lnTo>
                    <a:lnTo>
                      <a:pt x="210" y="226"/>
                    </a:lnTo>
                    <a:lnTo>
                      <a:pt x="212" y="224"/>
                    </a:lnTo>
                    <a:lnTo>
                      <a:pt x="214" y="224"/>
                    </a:lnTo>
                    <a:lnTo>
                      <a:pt x="218" y="224"/>
                    </a:lnTo>
                    <a:lnTo>
                      <a:pt x="220" y="224"/>
                    </a:lnTo>
                    <a:lnTo>
                      <a:pt x="220" y="224"/>
                    </a:lnTo>
                    <a:lnTo>
                      <a:pt x="222" y="226"/>
                    </a:lnTo>
                    <a:lnTo>
                      <a:pt x="224" y="228"/>
                    </a:lnTo>
                    <a:lnTo>
                      <a:pt x="226" y="230"/>
                    </a:lnTo>
                    <a:lnTo>
                      <a:pt x="228" y="232"/>
                    </a:lnTo>
                    <a:lnTo>
                      <a:pt x="228" y="232"/>
                    </a:lnTo>
                    <a:lnTo>
                      <a:pt x="228" y="234"/>
                    </a:lnTo>
                    <a:lnTo>
                      <a:pt x="230" y="238"/>
                    </a:lnTo>
                    <a:lnTo>
                      <a:pt x="230" y="238"/>
                    </a:lnTo>
                    <a:lnTo>
                      <a:pt x="230" y="240"/>
                    </a:lnTo>
                    <a:lnTo>
                      <a:pt x="230" y="242"/>
                    </a:lnTo>
                    <a:lnTo>
                      <a:pt x="230" y="244"/>
                    </a:lnTo>
                    <a:lnTo>
                      <a:pt x="230" y="244"/>
                    </a:lnTo>
                    <a:lnTo>
                      <a:pt x="230" y="244"/>
                    </a:lnTo>
                    <a:lnTo>
                      <a:pt x="232" y="246"/>
                    </a:lnTo>
                    <a:lnTo>
                      <a:pt x="234" y="246"/>
                    </a:lnTo>
                    <a:lnTo>
                      <a:pt x="234" y="246"/>
                    </a:lnTo>
                    <a:lnTo>
                      <a:pt x="238" y="246"/>
                    </a:lnTo>
                    <a:lnTo>
                      <a:pt x="240" y="248"/>
                    </a:lnTo>
                    <a:lnTo>
                      <a:pt x="240" y="248"/>
                    </a:lnTo>
                    <a:lnTo>
                      <a:pt x="244" y="250"/>
                    </a:lnTo>
                    <a:lnTo>
                      <a:pt x="246" y="250"/>
                    </a:lnTo>
                    <a:lnTo>
                      <a:pt x="252" y="250"/>
                    </a:lnTo>
                    <a:lnTo>
                      <a:pt x="252" y="250"/>
                    </a:lnTo>
                    <a:lnTo>
                      <a:pt x="258" y="250"/>
                    </a:lnTo>
                    <a:lnTo>
                      <a:pt x="258" y="250"/>
                    </a:lnTo>
                    <a:lnTo>
                      <a:pt x="258" y="250"/>
                    </a:lnTo>
                    <a:lnTo>
                      <a:pt x="260" y="250"/>
                    </a:lnTo>
                    <a:lnTo>
                      <a:pt x="262" y="252"/>
                    </a:lnTo>
                    <a:lnTo>
                      <a:pt x="262" y="252"/>
                    </a:lnTo>
                    <a:lnTo>
                      <a:pt x="264" y="252"/>
                    </a:lnTo>
                    <a:lnTo>
                      <a:pt x="268" y="252"/>
                    </a:lnTo>
                    <a:lnTo>
                      <a:pt x="268" y="252"/>
                    </a:lnTo>
                    <a:lnTo>
                      <a:pt x="270" y="254"/>
                    </a:lnTo>
                    <a:lnTo>
                      <a:pt x="270" y="254"/>
                    </a:lnTo>
                    <a:lnTo>
                      <a:pt x="272" y="254"/>
                    </a:lnTo>
                    <a:lnTo>
                      <a:pt x="272" y="254"/>
                    </a:lnTo>
                    <a:lnTo>
                      <a:pt x="274" y="254"/>
                    </a:lnTo>
                    <a:lnTo>
                      <a:pt x="276" y="252"/>
                    </a:lnTo>
                    <a:lnTo>
                      <a:pt x="278" y="252"/>
                    </a:lnTo>
                    <a:lnTo>
                      <a:pt x="280" y="252"/>
                    </a:lnTo>
                    <a:lnTo>
                      <a:pt x="280" y="252"/>
                    </a:lnTo>
                    <a:lnTo>
                      <a:pt x="280" y="252"/>
                    </a:lnTo>
                    <a:lnTo>
                      <a:pt x="282" y="254"/>
                    </a:lnTo>
                    <a:lnTo>
                      <a:pt x="284" y="254"/>
                    </a:lnTo>
                    <a:lnTo>
                      <a:pt x="284" y="254"/>
                    </a:lnTo>
                    <a:lnTo>
                      <a:pt x="288" y="254"/>
                    </a:lnTo>
                    <a:lnTo>
                      <a:pt x="290" y="256"/>
                    </a:lnTo>
                    <a:lnTo>
                      <a:pt x="290" y="256"/>
                    </a:lnTo>
                    <a:lnTo>
                      <a:pt x="294" y="256"/>
                    </a:lnTo>
                    <a:lnTo>
                      <a:pt x="296" y="256"/>
                    </a:lnTo>
                    <a:lnTo>
                      <a:pt x="296" y="256"/>
                    </a:lnTo>
                    <a:lnTo>
                      <a:pt x="296" y="256"/>
                    </a:lnTo>
                    <a:lnTo>
                      <a:pt x="298" y="256"/>
                    </a:lnTo>
                    <a:lnTo>
                      <a:pt x="298" y="256"/>
                    </a:lnTo>
                    <a:lnTo>
                      <a:pt x="300" y="254"/>
                    </a:lnTo>
                    <a:lnTo>
                      <a:pt x="300" y="254"/>
                    </a:lnTo>
                    <a:lnTo>
                      <a:pt x="302" y="252"/>
                    </a:lnTo>
                    <a:lnTo>
                      <a:pt x="304" y="252"/>
                    </a:lnTo>
                    <a:lnTo>
                      <a:pt x="304" y="252"/>
                    </a:lnTo>
                    <a:lnTo>
                      <a:pt x="304" y="248"/>
                    </a:lnTo>
                    <a:lnTo>
                      <a:pt x="304" y="248"/>
                    </a:lnTo>
                    <a:lnTo>
                      <a:pt x="302" y="246"/>
                    </a:lnTo>
                    <a:lnTo>
                      <a:pt x="302" y="244"/>
                    </a:lnTo>
                    <a:lnTo>
                      <a:pt x="302" y="242"/>
                    </a:lnTo>
                    <a:lnTo>
                      <a:pt x="302" y="240"/>
                    </a:lnTo>
                    <a:lnTo>
                      <a:pt x="302" y="240"/>
                    </a:lnTo>
                    <a:lnTo>
                      <a:pt x="302" y="238"/>
                    </a:lnTo>
                    <a:lnTo>
                      <a:pt x="304" y="236"/>
                    </a:lnTo>
                    <a:lnTo>
                      <a:pt x="304" y="234"/>
                    </a:lnTo>
                    <a:lnTo>
                      <a:pt x="306" y="232"/>
                    </a:lnTo>
                    <a:lnTo>
                      <a:pt x="308" y="232"/>
                    </a:lnTo>
                    <a:lnTo>
                      <a:pt x="310" y="230"/>
                    </a:lnTo>
                    <a:lnTo>
                      <a:pt x="316" y="228"/>
                    </a:lnTo>
                    <a:lnTo>
                      <a:pt x="316" y="228"/>
                    </a:lnTo>
                    <a:lnTo>
                      <a:pt x="318" y="228"/>
                    </a:lnTo>
                    <a:lnTo>
                      <a:pt x="322" y="226"/>
                    </a:lnTo>
                    <a:lnTo>
                      <a:pt x="324" y="226"/>
                    </a:lnTo>
                    <a:lnTo>
                      <a:pt x="324" y="224"/>
                    </a:lnTo>
                    <a:lnTo>
                      <a:pt x="326" y="222"/>
                    </a:lnTo>
                    <a:lnTo>
                      <a:pt x="326" y="220"/>
                    </a:lnTo>
                    <a:lnTo>
                      <a:pt x="326" y="220"/>
                    </a:lnTo>
                    <a:lnTo>
                      <a:pt x="326" y="220"/>
                    </a:lnTo>
                    <a:lnTo>
                      <a:pt x="326" y="220"/>
                    </a:lnTo>
                    <a:lnTo>
                      <a:pt x="326" y="22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95" name="Freeform 571"/>
              <p:cNvSpPr>
                <a:spLocks/>
              </p:cNvSpPr>
              <p:nvPr/>
            </p:nvSpPr>
            <p:spPr bwMode="auto">
              <a:xfrm>
                <a:off x="3249" y="2188"/>
                <a:ext cx="110" cy="90"/>
              </a:xfrm>
              <a:custGeom>
                <a:avLst/>
                <a:gdLst>
                  <a:gd name="T0" fmla="*/ 20 w 110"/>
                  <a:gd name="T1" fmla="*/ 60 h 90"/>
                  <a:gd name="T2" fmla="*/ 18 w 110"/>
                  <a:gd name="T3" fmla="*/ 64 h 90"/>
                  <a:gd name="T4" fmla="*/ 14 w 110"/>
                  <a:gd name="T5" fmla="*/ 68 h 90"/>
                  <a:gd name="T6" fmla="*/ 12 w 110"/>
                  <a:gd name="T7" fmla="*/ 74 h 90"/>
                  <a:gd name="T8" fmla="*/ 10 w 110"/>
                  <a:gd name="T9" fmla="*/ 82 h 90"/>
                  <a:gd name="T10" fmla="*/ 12 w 110"/>
                  <a:gd name="T11" fmla="*/ 88 h 90"/>
                  <a:gd name="T12" fmla="*/ 12 w 110"/>
                  <a:gd name="T13" fmla="*/ 88 h 90"/>
                  <a:gd name="T14" fmla="*/ 16 w 110"/>
                  <a:gd name="T15" fmla="*/ 90 h 90"/>
                  <a:gd name="T16" fmla="*/ 24 w 110"/>
                  <a:gd name="T17" fmla="*/ 90 h 90"/>
                  <a:gd name="T18" fmla="*/ 30 w 110"/>
                  <a:gd name="T19" fmla="*/ 88 h 90"/>
                  <a:gd name="T20" fmla="*/ 40 w 110"/>
                  <a:gd name="T21" fmla="*/ 84 h 90"/>
                  <a:gd name="T22" fmla="*/ 50 w 110"/>
                  <a:gd name="T23" fmla="*/ 78 h 90"/>
                  <a:gd name="T24" fmla="*/ 60 w 110"/>
                  <a:gd name="T25" fmla="*/ 72 h 90"/>
                  <a:gd name="T26" fmla="*/ 82 w 110"/>
                  <a:gd name="T27" fmla="*/ 62 h 90"/>
                  <a:gd name="T28" fmla="*/ 88 w 110"/>
                  <a:gd name="T29" fmla="*/ 58 h 90"/>
                  <a:gd name="T30" fmla="*/ 90 w 110"/>
                  <a:gd name="T31" fmla="*/ 52 h 90"/>
                  <a:gd name="T32" fmla="*/ 90 w 110"/>
                  <a:gd name="T33" fmla="*/ 46 h 90"/>
                  <a:gd name="T34" fmla="*/ 90 w 110"/>
                  <a:gd name="T35" fmla="*/ 26 h 90"/>
                  <a:gd name="T36" fmla="*/ 90 w 110"/>
                  <a:gd name="T37" fmla="*/ 20 h 90"/>
                  <a:gd name="T38" fmla="*/ 94 w 110"/>
                  <a:gd name="T39" fmla="*/ 16 h 90"/>
                  <a:gd name="T40" fmla="*/ 100 w 110"/>
                  <a:gd name="T41" fmla="*/ 12 h 90"/>
                  <a:gd name="T42" fmla="*/ 110 w 110"/>
                  <a:gd name="T43" fmla="*/ 0 h 90"/>
                  <a:gd name="T44" fmla="*/ 100 w 110"/>
                  <a:gd name="T45" fmla="*/ 2 h 90"/>
                  <a:gd name="T46" fmla="*/ 86 w 110"/>
                  <a:gd name="T47" fmla="*/ 2 h 90"/>
                  <a:gd name="T48" fmla="*/ 78 w 110"/>
                  <a:gd name="T49" fmla="*/ 2 h 90"/>
                  <a:gd name="T50" fmla="*/ 68 w 110"/>
                  <a:gd name="T51" fmla="*/ 4 h 90"/>
                  <a:gd name="T52" fmla="*/ 64 w 110"/>
                  <a:gd name="T53" fmla="*/ 8 h 90"/>
                  <a:gd name="T54" fmla="*/ 62 w 110"/>
                  <a:gd name="T55" fmla="*/ 8 h 90"/>
                  <a:gd name="T56" fmla="*/ 52 w 110"/>
                  <a:gd name="T57" fmla="*/ 8 h 90"/>
                  <a:gd name="T58" fmla="*/ 40 w 110"/>
                  <a:gd name="T59" fmla="*/ 8 h 90"/>
                  <a:gd name="T60" fmla="*/ 38 w 110"/>
                  <a:gd name="T61" fmla="*/ 10 h 90"/>
                  <a:gd name="T62" fmla="*/ 36 w 110"/>
                  <a:gd name="T63" fmla="*/ 12 h 90"/>
                  <a:gd name="T64" fmla="*/ 34 w 110"/>
                  <a:gd name="T65" fmla="*/ 14 h 90"/>
                  <a:gd name="T66" fmla="*/ 28 w 110"/>
                  <a:gd name="T67" fmla="*/ 16 h 90"/>
                  <a:gd name="T68" fmla="*/ 24 w 110"/>
                  <a:gd name="T69" fmla="*/ 16 h 90"/>
                  <a:gd name="T70" fmla="*/ 20 w 110"/>
                  <a:gd name="T71" fmla="*/ 14 h 90"/>
                  <a:gd name="T72" fmla="*/ 18 w 110"/>
                  <a:gd name="T73" fmla="*/ 14 h 90"/>
                  <a:gd name="T74" fmla="*/ 16 w 110"/>
                  <a:gd name="T75" fmla="*/ 16 h 90"/>
                  <a:gd name="T76" fmla="*/ 16 w 110"/>
                  <a:gd name="T77" fmla="*/ 20 h 90"/>
                  <a:gd name="T78" fmla="*/ 16 w 110"/>
                  <a:gd name="T79" fmla="*/ 24 h 90"/>
                  <a:gd name="T80" fmla="*/ 16 w 110"/>
                  <a:gd name="T81" fmla="*/ 26 h 90"/>
                  <a:gd name="T82" fmla="*/ 14 w 110"/>
                  <a:gd name="T83" fmla="*/ 30 h 90"/>
                  <a:gd name="T84" fmla="*/ 10 w 110"/>
                  <a:gd name="T85" fmla="*/ 30 h 90"/>
                  <a:gd name="T86" fmla="*/ 2 w 110"/>
                  <a:gd name="T87" fmla="*/ 30 h 90"/>
                  <a:gd name="T88" fmla="*/ 0 w 110"/>
                  <a:gd name="T89" fmla="*/ 30 h 90"/>
                  <a:gd name="T90" fmla="*/ 0 w 110"/>
                  <a:gd name="T91" fmla="*/ 36 h 90"/>
                  <a:gd name="T92" fmla="*/ 0 w 110"/>
                  <a:gd name="T93" fmla="*/ 40 h 90"/>
                  <a:gd name="T94" fmla="*/ 2 w 110"/>
                  <a:gd name="T95" fmla="*/ 42 h 90"/>
                  <a:gd name="T96" fmla="*/ 4 w 110"/>
                  <a:gd name="T97" fmla="*/ 46 h 90"/>
                  <a:gd name="T98" fmla="*/ 2 w 110"/>
                  <a:gd name="T99" fmla="*/ 50 h 90"/>
                  <a:gd name="T100" fmla="*/ 12 w 110"/>
                  <a:gd name="T101" fmla="*/ 52 h 90"/>
                  <a:gd name="T102" fmla="*/ 18 w 110"/>
                  <a:gd name="T103" fmla="*/ 56 h 90"/>
                  <a:gd name="T104" fmla="*/ 18 w 110"/>
                  <a:gd name="T105" fmla="*/ 58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10" h="90">
                    <a:moveTo>
                      <a:pt x="18" y="58"/>
                    </a:moveTo>
                    <a:lnTo>
                      <a:pt x="18" y="58"/>
                    </a:lnTo>
                    <a:lnTo>
                      <a:pt x="20" y="60"/>
                    </a:lnTo>
                    <a:lnTo>
                      <a:pt x="18" y="62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6" y="66"/>
                    </a:lnTo>
                    <a:lnTo>
                      <a:pt x="14" y="68"/>
                    </a:lnTo>
                    <a:lnTo>
                      <a:pt x="14" y="68"/>
                    </a:lnTo>
                    <a:lnTo>
                      <a:pt x="14" y="70"/>
                    </a:lnTo>
                    <a:lnTo>
                      <a:pt x="12" y="72"/>
                    </a:lnTo>
                    <a:lnTo>
                      <a:pt x="12" y="74"/>
                    </a:lnTo>
                    <a:lnTo>
                      <a:pt x="12" y="76"/>
                    </a:lnTo>
                    <a:lnTo>
                      <a:pt x="10" y="78"/>
                    </a:lnTo>
                    <a:lnTo>
                      <a:pt x="10" y="82"/>
                    </a:lnTo>
                    <a:lnTo>
                      <a:pt x="10" y="82"/>
                    </a:lnTo>
                    <a:lnTo>
                      <a:pt x="10" y="86"/>
                    </a:lnTo>
                    <a:lnTo>
                      <a:pt x="12" y="88"/>
                    </a:lnTo>
                    <a:lnTo>
                      <a:pt x="12" y="88"/>
                    </a:lnTo>
                    <a:lnTo>
                      <a:pt x="12" y="88"/>
                    </a:lnTo>
                    <a:lnTo>
                      <a:pt x="12" y="88"/>
                    </a:lnTo>
                    <a:lnTo>
                      <a:pt x="14" y="90"/>
                    </a:lnTo>
                    <a:lnTo>
                      <a:pt x="14" y="90"/>
                    </a:lnTo>
                    <a:lnTo>
                      <a:pt x="16" y="90"/>
                    </a:lnTo>
                    <a:lnTo>
                      <a:pt x="18" y="90"/>
                    </a:lnTo>
                    <a:lnTo>
                      <a:pt x="24" y="90"/>
                    </a:lnTo>
                    <a:lnTo>
                      <a:pt x="24" y="90"/>
                    </a:lnTo>
                    <a:lnTo>
                      <a:pt x="26" y="90"/>
                    </a:lnTo>
                    <a:lnTo>
                      <a:pt x="28" y="90"/>
                    </a:lnTo>
                    <a:lnTo>
                      <a:pt x="30" y="88"/>
                    </a:lnTo>
                    <a:lnTo>
                      <a:pt x="32" y="88"/>
                    </a:lnTo>
                    <a:lnTo>
                      <a:pt x="36" y="86"/>
                    </a:lnTo>
                    <a:lnTo>
                      <a:pt x="40" y="84"/>
                    </a:lnTo>
                    <a:lnTo>
                      <a:pt x="40" y="84"/>
                    </a:lnTo>
                    <a:lnTo>
                      <a:pt x="46" y="80"/>
                    </a:lnTo>
                    <a:lnTo>
                      <a:pt x="50" y="78"/>
                    </a:lnTo>
                    <a:lnTo>
                      <a:pt x="56" y="76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64" y="70"/>
                    </a:lnTo>
                    <a:lnTo>
                      <a:pt x="70" y="66"/>
                    </a:lnTo>
                    <a:lnTo>
                      <a:pt x="82" y="62"/>
                    </a:lnTo>
                    <a:lnTo>
                      <a:pt x="82" y="62"/>
                    </a:lnTo>
                    <a:lnTo>
                      <a:pt x="86" y="60"/>
                    </a:lnTo>
                    <a:lnTo>
                      <a:pt x="88" y="58"/>
                    </a:lnTo>
                    <a:lnTo>
                      <a:pt x="90" y="56"/>
                    </a:lnTo>
                    <a:lnTo>
                      <a:pt x="90" y="54"/>
                    </a:lnTo>
                    <a:lnTo>
                      <a:pt x="90" y="52"/>
                    </a:lnTo>
                    <a:lnTo>
                      <a:pt x="90" y="50"/>
                    </a:lnTo>
                    <a:lnTo>
                      <a:pt x="90" y="46"/>
                    </a:lnTo>
                    <a:lnTo>
                      <a:pt x="90" y="46"/>
                    </a:lnTo>
                    <a:lnTo>
                      <a:pt x="90" y="38"/>
                    </a:lnTo>
                    <a:lnTo>
                      <a:pt x="90" y="26"/>
                    </a:lnTo>
                    <a:lnTo>
                      <a:pt x="90" y="26"/>
                    </a:lnTo>
                    <a:lnTo>
                      <a:pt x="90" y="24"/>
                    </a:lnTo>
                    <a:lnTo>
                      <a:pt x="90" y="22"/>
                    </a:lnTo>
                    <a:lnTo>
                      <a:pt x="90" y="20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94" y="16"/>
                    </a:lnTo>
                    <a:lnTo>
                      <a:pt x="96" y="14"/>
                    </a:lnTo>
                    <a:lnTo>
                      <a:pt x="98" y="14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6" y="6"/>
                    </a:lnTo>
                    <a:lnTo>
                      <a:pt x="110" y="0"/>
                    </a:lnTo>
                    <a:lnTo>
                      <a:pt x="110" y="0"/>
                    </a:lnTo>
                    <a:lnTo>
                      <a:pt x="104" y="2"/>
                    </a:lnTo>
                    <a:lnTo>
                      <a:pt x="100" y="2"/>
                    </a:lnTo>
                    <a:lnTo>
                      <a:pt x="100" y="2"/>
                    </a:lnTo>
                    <a:lnTo>
                      <a:pt x="92" y="2"/>
                    </a:lnTo>
                    <a:lnTo>
                      <a:pt x="86" y="2"/>
                    </a:lnTo>
                    <a:lnTo>
                      <a:pt x="86" y="2"/>
                    </a:lnTo>
                    <a:lnTo>
                      <a:pt x="82" y="2"/>
                    </a:lnTo>
                    <a:lnTo>
                      <a:pt x="78" y="2"/>
                    </a:lnTo>
                    <a:lnTo>
                      <a:pt x="72" y="2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6" y="6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2" y="8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52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6" y="10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2" y="16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26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2" y="14"/>
                    </a:lnTo>
                    <a:lnTo>
                      <a:pt x="20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6" y="14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8"/>
                    </a:lnTo>
                    <a:lnTo>
                      <a:pt x="16" y="20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4" y="28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0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2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2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2" y="42"/>
                    </a:lnTo>
                    <a:lnTo>
                      <a:pt x="2" y="42"/>
                    </a:lnTo>
                    <a:lnTo>
                      <a:pt x="2" y="42"/>
                    </a:lnTo>
                    <a:lnTo>
                      <a:pt x="4" y="44"/>
                    </a:lnTo>
                    <a:lnTo>
                      <a:pt x="4" y="46"/>
                    </a:lnTo>
                    <a:lnTo>
                      <a:pt x="4" y="48"/>
                    </a:lnTo>
                    <a:lnTo>
                      <a:pt x="2" y="50"/>
                    </a:lnTo>
                    <a:lnTo>
                      <a:pt x="2" y="50"/>
                    </a:lnTo>
                    <a:lnTo>
                      <a:pt x="8" y="50"/>
                    </a:lnTo>
                    <a:lnTo>
                      <a:pt x="10" y="50"/>
                    </a:lnTo>
                    <a:lnTo>
                      <a:pt x="12" y="52"/>
                    </a:lnTo>
                    <a:lnTo>
                      <a:pt x="16" y="52"/>
                    </a:lnTo>
                    <a:lnTo>
                      <a:pt x="16" y="54"/>
                    </a:lnTo>
                    <a:lnTo>
                      <a:pt x="18" y="56"/>
                    </a:lnTo>
                    <a:lnTo>
                      <a:pt x="18" y="58"/>
                    </a:lnTo>
                    <a:lnTo>
                      <a:pt x="18" y="58"/>
                    </a:lnTo>
                    <a:lnTo>
                      <a:pt x="18" y="58"/>
                    </a:lnTo>
                    <a:lnTo>
                      <a:pt x="18" y="58"/>
                    </a:lnTo>
                    <a:lnTo>
                      <a:pt x="18" y="58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96" name="Freeform 573"/>
              <p:cNvSpPr>
                <a:spLocks/>
              </p:cNvSpPr>
              <p:nvPr/>
            </p:nvSpPr>
            <p:spPr bwMode="auto">
              <a:xfrm>
                <a:off x="3303" y="2188"/>
                <a:ext cx="168" cy="144"/>
              </a:xfrm>
              <a:custGeom>
                <a:avLst/>
                <a:gdLst>
                  <a:gd name="T0" fmla="*/ 18 w 168"/>
                  <a:gd name="T1" fmla="*/ 100 h 144"/>
                  <a:gd name="T2" fmla="*/ 36 w 168"/>
                  <a:gd name="T3" fmla="*/ 100 h 144"/>
                  <a:gd name="T4" fmla="*/ 42 w 168"/>
                  <a:gd name="T5" fmla="*/ 102 h 144"/>
                  <a:gd name="T6" fmla="*/ 54 w 168"/>
                  <a:gd name="T7" fmla="*/ 110 h 144"/>
                  <a:gd name="T8" fmla="*/ 94 w 168"/>
                  <a:gd name="T9" fmla="*/ 140 h 144"/>
                  <a:gd name="T10" fmla="*/ 102 w 168"/>
                  <a:gd name="T11" fmla="*/ 144 h 144"/>
                  <a:gd name="T12" fmla="*/ 112 w 168"/>
                  <a:gd name="T13" fmla="*/ 144 h 144"/>
                  <a:gd name="T14" fmla="*/ 130 w 168"/>
                  <a:gd name="T15" fmla="*/ 144 h 144"/>
                  <a:gd name="T16" fmla="*/ 134 w 168"/>
                  <a:gd name="T17" fmla="*/ 142 h 144"/>
                  <a:gd name="T18" fmla="*/ 136 w 168"/>
                  <a:gd name="T19" fmla="*/ 136 h 144"/>
                  <a:gd name="T20" fmla="*/ 138 w 168"/>
                  <a:gd name="T21" fmla="*/ 132 h 144"/>
                  <a:gd name="T22" fmla="*/ 144 w 168"/>
                  <a:gd name="T23" fmla="*/ 128 h 144"/>
                  <a:gd name="T24" fmla="*/ 152 w 168"/>
                  <a:gd name="T25" fmla="*/ 128 h 144"/>
                  <a:gd name="T26" fmla="*/ 160 w 168"/>
                  <a:gd name="T27" fmla="*/ 132 h 144"/>
                  <a:gd name="T28" fmla="*/ 164 w 168"/>
                  <a:gd name="T29" fmla="*/ 134 h 144"/>
                  <a:gd name="T30" fmla="*/ 168 w 168"/>
                  <a:gd name="T31" fmla="*/ 134 h 144"/>
                  <a:gd name="T32" fmla="*/ 164 w 168"/>
                  <a:gd name="T33" fmla="*/ 126 h 144"/>
                  <a:gd name="T34" fmla="*/ 154 w 168"/>
                  <a:gd name="T35" fmla="*/ 118 h 144"/>
                  <a:gd name="T36" fmla="*/ 148 w 168"/>
                  <a:gd name="T37" fmla="*/ 110 h 144"/>
                  <a:gd name="T38" fmla="*/ 146 w 168"/>
                  <a:gd name="T39" fmla="*/ 102 h 144"/>
                  <a:gd name="T40" fmla="*/ 142 w 168"/>
                  <a:gd name="T41" fmla="*/ 94 h 144"/>
                  <a:gd name="T42" fmla="*/ 138 w 168"/>
                  <a:gd name="T43" fmla="*/ 90 h 144"/>
                  <a:gd name="T44" fmla="*/ 134 w 168"/>
                  <a:gd name="T45" fmla="*/ 84 h 144"/>
                  <a:gd name="T46" fmla="*/ 130 w 168"/>
                  <a:gd name="T47" fmla="*/ 84 h 144"/>
                  <a:gd name="T48" fmla="*/ 126 w 168"/>
                  <a:gd name="T49" fmla="*/ 84 h 144"/>
                  <a:gd name="T50" fmla="*/ 118 w 168"/>
                  <a:gd name="T51" fmla="*/ 76 h 144"/>
                  <a:gd name="T52" fmla="*/ 114 w 168"/>
                  <a:gd name="T53" fmla="*/ 66 h 144"/>
                  <a:gd name="T54" fmla="*/ 106 w 168"/>
                  <a:gd name="T55" fmla="*/ 58 h 144"/>
                  <a:gd name="T56" fmla="*/ 104 w 168"/>
                  <a:gd name="T57" fmla="*/ 52 h 144"/>
                  <a:gd name="T58" fmla="*/ 108 w 168"/>
                  <a:gd name="T59" fmla="*/ 42 h 144"/>
                  <a:gd name="T60" fmla="*/ 112 w 168"/>
                  <a:gd name="T61" fmla="*/ 30 h 144"/>
                  <a:gd name="T62" fmla="*/ 108 w 168"/>
                  <a:gd name="T63" fmla="*/ 26 h 144"/>
                  <a:gd name="T64" fmla="*/ 94 w 168"/>
                  <a:gd name="T65" fmla="*/ 14 h 144"/>
                  <a:gd name="T66" fmla="*/ 86 w 168"/>
                  <a:gd name="T67" fmla="*/ 0 h 144"/>
                  <a:gd name="T68" fmla="*/ 82 w 168"/>
                  <a:gd name="T69" fmla="*/ 2 h 144"/>
                  <a:gd name="T70" fmla="*/ 76 w 168"/>
                  <a:gd name="T71" fmla="*/ 0 h 144"/>
                  <a:gd name="T72" fmla="*/ 60 w 168"/>
                  <a:gd name="T73" fmla="*/ 0 h 144"/>
                  <a:gd name="T74" fmla="*/ 56 w 168"/>
                  <a:gd name="T75" fmla="*/ 0 h 144"/>
                  <a:gd name="T76" fmla="*/ 44 w 168"/>
                  <a:gd name="T77" fmla="*/ 14 h 144"/>
                  <a:gd name="T78" fmla="*/ 38 w 168"/>
                  <a:gd name="T79" fmla="*/ 16 h 144"/>
                  <a:gd name="T80" fmla="*/ 36 w 168"/>
                  <a:gd name="T81" fmla="*/ 26 h 144"/>
                  <a:gd name="T82" fmla="*/ 36 w 168"/>
                  <a:gd name="T83" fmla="*/ 46 h 144"/>
                  <a:gd name="T84" fmla="*/ 36 w 168"/>
                  <a:gd name="T85" fmla="*/ 56 h 144"/>
                  <a:gd name="T86" fmla="*/ 28 w 168"/>
                  <a:gd name="T87" fmla="*/ 62 h 144"/>
                  <a:gd name="T88" fmla="*/ 6 w 168"/>
                  <a:gd name="T89" fmla="*/ 72 h 144"/>
                  <a:gd name="T90" fmla="*/ 4 w 168"/>
                  <a:gd name="T91" fmla="*/ 86 h 144"/>
                  <a:gd name="T92" fmla="*/ 10 w 168"/>
                  <a:gd name="T93" fmla="*/ 96 h 144"/>
                  <a:gd name="T94" fmla="*/ 12 w 168"/>
                  <a:gd name="T95" fmla="*/ 100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68" h="144">
                    <a:moveTo>
                      <a:pt x="12" y="100"/>
                    </a:moveTo>
                    <a:lnTo>
                      <a:pt x="12" y="100"/>
                    </a:lnTo>
                    <a:lnTo>
                      <a:pt x="14" y="100"/>
                    </a:lnTo>
                    <a:lnTo>
                      <a:pt x="18" y="100"/>
                    </a:lnTo>
                    <a:lnTo>
                      <a:pt x="24" y="100"/>
                    </a:lnTo>
                    <a:lnTo>
                      <a:pt x="24" y="100"/>
                    </a:lnTo>
                    <a:lnTo>
                      <a:pt x="30" y="100"/>
                    </a:lnTo>
                    <a:lnTo>
                      <a:pt x="36" y="100"/>
                    </a:lnTo>
                    <a:lnTo>
                      <a:pt x="36" y="100"/>
                    </a:lnTo>
                    <a:lnTo>
                      <a:pt x="38" y="100"/>
                    </a:lnTo>
                    <a:lnTo>
                      <a:pt x="40" y="100"/>
                    </a:lnTo>
                    <a:lnTo>
                      <a:pt x="42" y="102"/>
                    </a:lnTo>
                    <a:lnTo>
                      <a:pt x="44" y="104"/>
                    </a:lnTo>
                    <a:lnTo>
                      <a:pt x="44" y="104"/>
                    </a:lnTo>
                    <a:lnTo>
                      <a:pt x="48" y="108"/>
                    </a:lnTo>
                    <a:lnTo>
                      <a:pt x="54" y="110"/>
                    </a:lnTo>
                    <a:lnTo>
                      <a:pt x="60" y="116"/>
                    </a:lnTo>
                    <a:lnTo>
                      <a:pt x="60" y="116"/>
                    </a:lnTo>
                    <a:lnTo>
                      <a:pt x="78" y="128"/>
                    </a:lnTo>
                    <a:lnTo>
                      <a:pt x="94" y="140"/>
                    </a:lnTo>
                    <a:lnTo>
                      <a:pt x="94" y="140"/>
                    </a:lnTo>
                    <a:lnTo>
                      <a:pt x="96" y="142"/>
                    </a:lnTo>
                    <a:lnTo>
                      <a:pt x="98" y="142"/>
                    </a:lnTo>
                    <a:lnTo>
                      <a:pt x="102" y="144"/>
                    </a:lnTo>
                    <a:lnTo>
                      <a:pt x="104" y="144"/>
                    </a:lnTo>
                    <a:lnTo>
                      <a:pt x="108" y="144"/>
                    </a:lnTo>
                    <a:lnTo>
                      <a:pt x="112" y="144"/>
                    </a:lnTo>
                    <a:lnTo>
                      <a:pt x="112" y="144"/>
                    </a:lnTo>
                    <a:lnTo>
                      <a:pt x="118" y="142"/>
                    </a:lnTo>
                    <a:lnTo>
                      <a:pt x="124" y="142"/>
                    </a:lnTo>
                    <a:lnTo>
                      <a:pt x="124" y="142"/>
                    </a:lnTo>
                    <a:lnTo>
                      <a:pt x="130" y="144"/>
                    </a:lnTo>
                    <a:lnTo>
                      <a:pt x="132" y="144"/>
                    </a:lnTo>
                    <a:lnTo>
                      <a:pt x="134" y="142"/>
                    </a:lnTo>
                    <a:lnTo>
                      <a:pt x="134" y="142"/>
                    </a:lnTo>
                    <a:lnTo>
                      <a:pt x="134" y="142"/>
                    </a:lnTo>
                    <a:lnTo>
                      <a:pt x="136" y="140"/>
                    </a:lnTo>
                    <a:lnTo>
                      <a:pt x="136" y="140"/>
                    </a:lnTo>
                    <a:lnTo>
                      <a:pt x="136" y="138"/>
                    </a:lnTo>
                    <a:lnTo>
                      <a:pt x="136" y="136"/>
                    </a:lnTo>
                    <a:lnTo>
                      <a:pt x="136" y="134"/>
                    </a:lnTo>
                    <a:lnTo>
                      <a:pt x="136" y="134"/>
                    </a:lnTo>
                    <a:lnTo>
                      <a:pt x="136" y="134"/>
                    </a:lnTo>
                    <a:lnTo>
                      <a:pt x="138" y="132"/>
                    </a:lnTo>
                    <a:lnTo>
                      <a:pt x="140" y="130"/>
                    </a:lnTo>
                    <a:lnTo>
                      <a:pt x="142" y="128"/>
                    </a:lnTo>
                    <a:lnTo>
                      <a:pt x="144" y="128"/>
                    </a:lnTo>
                    <a:lnTo>
                      <a:pt x="144" y="128"/>
                    </a:lnTo>
                    <a:lnTo>
                      <a:pt x="146" y="126"/>
                    </a:lnTo>
                    <a:lnTo>
                      <a:pt x="148" y="126"/>
                    </a:lnTo>
                    <a:lnTo>
                      <a:pt x="150" y="128"/>
                    </a:lnTo>
                    <a:lnTo>
                      <a:pt x="152" y="128"/>
                    </a:lnTo>
                    <a:lnTo>
                      <a:pt x="156" y="130"/>
                    </a:lnTo>
                    <a:lnTo>
                      <a:pt x="160" y="132"/>
                    </a:lnTo>
                    <a:lnTo>
                      <a:pt x="160" y="132"/>
                    </a:lnTo>
                    <a:lnTo>
                      <a:pt x="160" y="132"/>
                    </a:lnTo>
                    <a:lnTo>
                      <a:pt x="160" y="132"/>
                    </a:lnTo>
                    <a:lnTo>
                      <a:pt x="160" y="132"/>
                    </a:lnTo>
                    <a:lnTo>
                      <a:pt x="162" y="132"/>
                    </a:lnTo>
                    <a:lnTo>
                      <a:pt x="164" y="134"/>
                    </a:lnTo>
                    <a:lnTo>
                      <a:pt x="164" y="134"/>
                    </a:lnTo>
                    <a:lnTo>
                      <a:pt x="166" y="134"/>
                    </a:lnTo>
                    <a:lnTo>
                      <a:pt x="166" y="134"/>
                    </a:lnTo>
                    <a:lnTo>
                      <a:pt x="168" y="134"/>
                    </a:lnTo>
                    <a:lnTo>
                      <a:pt x="168" y="132"/>
                    </a:lnTo>
                    <a:lnTo>
                      <a:pt x="168" y="132"/>
                    </a:lnTo>
                    <a:lnTo>
                      <a:pt x="166" y="128"/>
                    </a:lnTo>
                    <a:lnTo>
                      <a:pt x="164" y="126"/>
                    </a:lnTo>
                    <a:lnTo>
                      <a:pt x="162" y="126"/>
                    </a:lnTo>
                    <a:lnTo>
                      <a:pt x="162" y="126"/>
                    </a:lnTo>
                    <a:lnTo>
                      <a:pt x="156" y="120"/>
                    </a:lnTo>
                    <a:lnTo>
                      <a:pt x="154" y="118"/>
                    </a:lnTo>
                    <a:lnTo>
                      <a:pt x="152" y="116"/>
                    </a:lnTo>
                    <a:lnTo>
                      <a:pt x="152" y="116"/>
                    </a:lnTo>
                    <a:lnTo>
                      <a:pt x="148" y="112"/>
                    </a:lnTo>
                    <a:lnTo>
                      <a:pt x="148" y="110"/>
                    </a:lnTo>
                    <a:lnTo>
                      <a:pt x="146" y="108"/>
                    </a:lnTo>
                    <a:lnTo>
                      <a:pt x="146" y="108"/>
                    </a:lnTo>
                    <a:lnTo>
                      <a:pt x="146" y="106"/>
                    </a:lnTo>
                    <a:lnTo>
                      <a:pt x="146" y="102"/>
                    </a:lnTo>
                    <a:lnTo>
                      <a:pt x="146" y="100"/>
                    </a:lnTo>
                    <a:lnTo>
                      <a:pt x="144" y="98"/>
                    </a:lnTo>
                    <a:lnTo>
                      <a:pt x="144" y="98"/>
                    </a:lnTo>
                    <a:lnTo>
                      <a:pt x="142" y="94"/>
                    </a:lnTo>
                    <a:lnTo>
                      <a:pt x="140" y="92"/>
                    </a:lnTo>
                    <a:lnTo>
                      <a:pt x="140" y="92"/>
                    </a:lnTo>
                    <a:lnTo>
                      <a:pt x="140" y="92"/>
                    </a:lnTo>
                    <a:lnTo>
                      <a:pt x="138" y="90"/>
                    </a:lnTo>
                    <a:lnTo>
                      <a:pt x="138" y="88"/>
                    </a:lnTo>
                    <a:lnTo>
                      <a:pt x="136" y="86"/>
                    </a:lnTo>
                    <a:lnTo>
                      <a:pt x="136" y="84"/>
                    </a:lnTo>
                    <a:lnTo>
                      <a:pt x="134" y="84"/>
                    </a:lnTo>
                    <a:lnTo>
                      <a:pt x="134" y="84"/>
                    </a:lnTo>
                    <a:lnTo>
                      <a:pt x="134" y="84"/>
                    </a:lnTo>
                    <a:lnTo>
                      <a:pt x="132" y="84"/>
                    </a:lnTo>
                    <a:lnTo>
                      <a:pt x="130" y="84"/>
                    </a:lnTo>
                    <a:lnTo>
                      <a:pt x="128" y="84"/>
                    </a:lnTo>
                    <a:lnTo>
                      <a:pt x="126" y="84"/>
                    </a:lnTo>
                    <a:lnTo>
                      <a:pt x="126" y="84"/>
                    </a:lnTo>
                    <a:lnTo>
                      <a:pt x="126" y="84"/>
                    </a:lnTo>
                    <a:lnTo>
                      <a:pt x="124" y="82"/>
                    </a:lnTo>
                    <a:lnTo>
                      <a:pt x="122" y="80"/>
                    </a:lnTo>
                    <a:lnTo>
                      <a:pt x="118" y="76"/>
                    </a:lnTo>
                    <a:lnTo>
                      <a:pt x="118" y="76"/>
                    </a:lnTo>
                    <a:lnTo>
                      <a:pt x="118" y="74"/>
                    </a:lnTo>
                    <a:lnTo>
                      <a:pt x="116" y="72"/>
                    </a:lnTo>
                    <a:lnTo>
                      <a:pt x="114" y="66"/>
                    </a:lnTo>
                    <a:lnTo>
                      <a:pt x="114" y="66"/>
                    </a:lnTo>
                    <a:lnTo>
                      <a:pt x="112" y="64"/>
                    </a:lnTo>
                    <a:lnTo>
                      <a:pt x="110" y="64"/>
                    </a:lnTo>
                    <a:lnTo>
                      <a:pt x="108" y="62"/>
                    </a:lnTo>
                    <a:lnTo>
                      <a:pt x="106" y="58"/>
                    </a:lnTo>
                    <a:lnTo>
                      <a:pt x="106" y="58"/>
                    </a:lnTo>
                    <a:lnTo>
                      <a:pt x="106" y="56"/>
                    </a:lnTo>
                    <a:lnTo>
                      <a:pt x="104" y="54"/>
                    </a:lnTo>
                    <a:lnTo>
                      <a:pt x="104" y="52"/>
                    </a:lnTo>
                    <a:lnTo>
                      <a:pt x="106" y="50"/>
                    </a:lnTo>
                    <a:lnTo>
                      <a:pt x="108" y="46"/>
                    </a:lnTo>
                    <a:lnTo>
                      <a:pt x="108" y="42"/>
                    </a:lnTo>
                    <a:lnTo>
                      <a:pt x="108" y="42"/>
                    </a:lnTo>
                    <a:lnTo>
                      <a:pt x="112" y="32"/>
                    </a:lnTo>
                    <a:lnTo>
                      <a:pt x="112" y="32"/>
                    </a:lnTo>
                    <a:lnTo>
                      <a:pt x="112" y="30"/>
                    </a:lnTo>
                    <a:lnTo>
                      <a:pt x="112" y="30"/>
                    </a:lnTo>
                    <a:lnTo>
                      <a:pt x="112" y="28"/>
                    </a:lnTo>
                    <a:lnTo>
                      <a:pt x="110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4" y="24"/>
                    </a:lnTo>
                    <a:lnTo>
                      <a:pt x="100" y="20"/>
                    </a:lnTo>
                    <a:lnTo>
                      <a:pt x="96" y="18"/>
                    </a:lnTo>
                    <a:lnTo>
                      <a:pt x="94" y="14"/>
                    </a:lnTo>
                    <a:lnTo>
                      <a:pt x="94" y="14"/>
                    </a:lnTo>
                    <a:lnTo>
                      <a:pt x="90" y="8"/>
                    </a:lnTo>
                    <a:lnTo>
                      <a:pt x="86" y="0"/>
                    </a:lnTo>
                    <a:lnTo>
                      <a:pt x="86" y="0"/>
                    </a:lnTo>
                    <a:lnTo>
                      <a:pt x="84" y="0"/>
                    </a:lnTo>
                    <a:lnTo>
                      <a:pt x="84" y="0"/>
                    </a:lnTo>
                    <a:lnTo>
                      <a:pt x="84" y="2"/>
                    </a:lnTo>
                    <a:lnTo>
                      <a:pt x="82" y="2"/>
                    </a:lnTo>
                    <a:lnTo>
                      <a:pt x="80" y="0"/>
                    </a:lnTo>
                    <a:lnTo>
                      <a:pt x="80" y="0"/>
                    </a:lnTo>
                    <a:lnTo>
                      <a:pt x="78" y="0"/>
                    </a:lnTo>
                    <a:lnTo>
                      <a:pt x="76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64" y="0"/>
                    </a:lnTo>
                    <a:lnTo>
                      <a:pt x="60" y="0"/>
                    </a:lnTo>
                    <a:lnTo>
                      <a:pt x="58" y="0"/>
                    </a:lnTo>
                    <a:lnTo>
                      <a:pt x="58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2" y="6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4" y="14"/>
                    </a:lnTo>
                    <a:lnTo>
                      <a:pt x="42" y="14"/>
                    </a:lnTo>
                    <a:lnTo>
                      <a:pt x="40" y="16"/>
                    </a:lnTo>
                    <a:lnTo>
                      <a:pt x="38" y="16"/>
                    </a:lnTo>
                    <a:lnTo>
                      <a:pt x="38" y="16"/>
                    </a:lnTo>
                    <a:lnTo>
                      <a:pt x="36" y="20"/>
                    </a:lnTo>
                    <a:lnTo>
                      <a:pt x="36" y="22"/>
                    </a:lnTo>
                    <a:lnTo>
                      <a:pt x="36" y="24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36" y="38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50"/>
                    </a:lnTo>
                    <a:lnTo>
                      <a:pt x="36" y="52"/>
                    </a:lnTo>
                    <a:lnTo>
                      <a:pt x="36" y="54"/>
                    </a:lnTo>
                    <a:lnTo>
                      <a:pt x="36" y="56"/>
                    </a:lnTo>
                    <a:lnTo>
                      <a:pt x="34" y="58"/>
                    </a:lnTo>
                    <a:lnTo>
                      <a:pt x="32" y="60"/>
                    </a:lnTo>
                    <a:lnTo>
                      <a:pt x="28" y="62"/>
                    </a:lnTo>
                    <a:lnTo>
                      <a:pt x="28" y="62"/>
                    </a:lnTo>
                    <a:lnTo>
                      <a:pt x="16" y="66"/>
                    </a:lnTo>
                    <a:lnTo>
                      <a:pt x="10" y="70"/>
                    </a:lnTo>
                    <a:lnTo>
                      <a:pt x="6" y="72"/>
                    </a:lnTo>
                    <a:lnTo>
                      <a:pt x="6" y="72"/>
                    </a:lnTo>
                    <a:lnTo>
                      <a:pt x="2" y="76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4" y="86"/>
                    </a:lnTo>
                    <a:lnTo>
                      <a:pt x="8" y="92"/>
                    </a:lnTo>
                    <a:lnTo>
                      <a:pt x="8" y="92"/>
                    </a:lnTo>
                    <a:lnTo>
                      <a:pt x="10" y="94"/>
                    </a:lnTo>
                    <a:lnTo>
                      <a:pt x="10" y="96"/>
                    </a:lnTo>
                    <a:lnTo>
                      <a:pt x="10" y="98"/>
                    </a:lnTo>
                    <a:lnTo>
                      <a:pt x="10" y="98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97" name="Freeform 575"/>
              <p:cNvSpPr>
                <a:spLocks/>
              </p:cNvSpPr>
              <p:nvPr/>
            </p:nvSpPr>
            <p:spPr bwMode="auto">
              <a:xfrm>
                <a:off x="3243" y="2238"/>
                <a:ext cx="26" cy="32"/>
              </a:xfrm>
              <a:custGeom>
                <a:avLst/>
                <a:gdLst>
                  <a:gd name="T0" fmla="*/ 20 w 26"/>
                  <a:gd name="T1" fmla="*/ 18 h 32"/>
                  <a:gd name="T2" fmla="*/ 20 w 26"/>
                  <a:gd name="T3" fmla="*/ 18 h 32"/>
                  <a:gd name="T4" fmla="*/ 22 w 26"/>
                  <a:gd name="T5" fmla="*/ 16 h 32"/>
                  <a:gd name="T6" fmla="*/ 24 w 26"/>
                  <a:gd name="T7" fmla="*/ 14 h 32"/>
                  <a:gd name="T8" fmla="*/ 24 w 26"/>
                  <a:gd name="T9" fmla="*/ 14 h 32"/>
                  <a:gd name="T10" fmla="*/ 24 w 26"/>
                  <a:gd name="T11" fmla="*/ 12 h 32"/>
                  <a:gd name="T12" fmla="*/ 26 w 26"/>
                  <a:gd name="T13" fmla="*/ 10 h 32"/>
                  <a:gd name="T14" fmla="*/ 24 w 26"/>
                  <a:gd name="T15" fmla="*/ 8 h 32"/>
                  <a:gd name="T16" fmla="*/ 24 w 26"/>
                  <a:gd name="T17" fmla="*/ 8 h 32"/>
                  <a:gd name="T18" fmla="*/ 24 w 26"/>
                  <a:gd name="T19" fmla="*/ 6 h 32"/>
                  <a:gd name="T20" fmla="*/ 22 w 26"/>
                  <a:gd name="T21" fmla="*/ 4 h 32"/>
                  <a:gd name="T22" fmla="*/ 22 w 26"/>
                  <a:gd name="T23" fmla="*/ 2 h 32"/>
                  <a:gd name="T24" fmla="*/ 18 w 26"/>
                  <a:gd name="T25" fmla="*/ 2 h 32"/>
                  <a:gd name="T26" fmla="*/ 16 w 26"/>
                  <a:gd name="T27" fmla="*/ 0 h 32"/>
                  <a:gd name="T28" fmla="*/ 14 w 26"/>
                  <a:gd name="T29" fmla="*/ 0 h 32"/>
                  <a:gd name="T30" fmla="*/ 8 w 26"/>
                  <a:gd name="T31" fmla="*/ 0 h 32"/>
                  <a:gd name="T32" fmla="*/ 8 w 26"/>
                  <a:gd name="T33" fmla="*/ 0 h 32"/>
                  <a:gd name="T34" fmla="*/ 6 w 26"/>
                  <a:gd name="T35" fmla="*/ 6 h 32"/>
                  <a:gd name="T36" fmla="*/ 6 w 26"/>
                  <a:gd name="T37" fmla="*/ 6 h 32"/>
                  <a:gd name="T38" fmla="*/ 4 w 26"/>
                  <a:gd name="T39" fmla="*/ 10 h 32"/>
                  <a:gd name="T40" fmla="*/ 4 w 26"/>
                  <a:gd name="T41" fmla="*/ 12 h 32"/>
                  <a:gd name="T42" fmla="*/ 4 w 26"/>
                  <a:gd name="T43" fmla="*/ 14 h 32"/>
                  <a:gd name="T44" fmla="*/ 4 w 26"/>
                  <a:gd name="T45" fmla="*/ 14 h 32"/>
                  <a:gd name="T46" fmla="*/ 2 w 26"/>
                  <a:gd name="T47" fmla="*/ 18 h 32"/>
                  <a:gd name="T48" fmla="*/ 2 w 26"/>
                  <a:gd name="T49" fmla="*/ 22 h 32"/>
                  <a:gd name="T50" fmla="*/ 2 w 26"/>
                  <a:gd name="T51" fmla="*/ 22 h 32"/>
                  <a:gd name="T52" fmla="*/ 0 w 26"/>
                  <a:gd name="T53" fmla="*/ 30 h 32"/>
                  <a:gd name="T54" fmla="*/ 0 w 26"/>
                  <a:gd name="T55" fmla="*/ 30 h 32"/>
                  <a:gd name="T56" fmla="*/ 0 w 26"/>
                  <a:gd name="T57" fmla="*/ 32 h 32"/>
                  <a:gd name="T58" fmla="*/ 0 w 26"/>
                  <a:gd name="T59" fmla="*/ 32 h 32"/>
                  <a:gd name="T60" fmla="*/ 4 w 26"/>
                  <a:gd name="T61" fmla="*/ 28 h 32"/>
                  <a:gd name="T62" fmla="*/ 10 w 26"/>
                  <a:gd name="T63" fmla="*/ 24 h 32"/>
                  <a:gd name="T64" fmla="*/ 10 w 26"/>
                  <a:gd name="T65" fmla="*/ 24 h 32"/>
                  <a:gd name="T66" fmla="*/ 12 w 26"/>
                  <a:gd name="T67" fmla="*/ 22 h 32"/>
                  <a:gd name="T68" fmla="*/ 14 w 26"/>
                  <a:gd name="T69" fmla="*/ 20 h 32"/>
                  <a:gd name="T70" fmla="*/ 18 w 26"/>
                  <a:gd name="T71" fmla="*/ 20 h 32"/>
                  <a:gd name="T72" fmla="*/ 20 w 26"/>
                  <a:gd name="T73" fmla="*/ 18 h 32"/>
                  <a:gd name="T74" fmla="*/ 20 w 26"/>
                  <a:gd name="T75" fmla="*/ 18 h 32"/>
                  <a:gd name="T76" fmla="*/ 20 w 26"/>
                  <a:gd name="T77" fmla="*/ 18 h 32"/>
                  <a:gd name="T78" fmla="*/ 20 w 26"/>
                  <a:gd name="T79" fmla="*/ 18 h 32"/>
                  <a:gd name="T80" fmla="*/ 20 w 26"/>
                  <a:gd name="T81" fmla="*/ 18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6" h="32">
                    <a:moveTo>
                      <a:pt x="20" y="18"/>
                    </a:moveTo>
                    <a:lnTo>
                      <a:pt x="20" y="18"/>
                    </a:lnTo>
                    <a:lnTo>
                      <a:pt x="22" y="16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2"/>
                    </a:lnTo>
                    <a:lnTo>
                      <a:pt x="26" y="10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6"/>
                    </a:lnTo>
                    <a:lnTo>
                      <a:pt x="22" y="4"/>
                    </a:lnTo>
                    <a:lnTo>
                      <a:pt x="22" y="2"/>
                    </a:lnTo>
                    <a:lnTo>
                      <a:pt x="18" y="2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4" y="10"/>
                    </a:lnTo>
                    <a:lnTo>
                      <a:pt x="4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2" y="18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4" y="28"/>
                    </a:lnTo>
                    <a:lnTo>
                      <a:pt x="10" y="24"/>
                    </a:lnTo>
                    <a:lnTo>
                      <a:pt x="10" y="24"/>
                    </a:lnTo>
                    <a:lnTo>
                      <a:pt x="12" y="22"/>
                    </a:lnTo>
                    <a:lnTo>
                      <a:pt x="14" y="20"/>
                    </a:lnTo>
                    <a:lnTo>
                      <a:pt x="18" y="20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98" name="Freeform 576"/>
              <p:cNvSpPr>
                <a:spLocks/>
              </p:cNvSpPr>
              <p:nvPr/>
            </p:nvSpPr>
            <p:spPr bwMode="auto">
              <a:xfrm>
                <a:off x="3243" y="2238"/>
                <a:ext cx="26" cy="32"/>
              </a:xfrm>
              <a:custGeom>
                <a:avLst/>
                <a:gdLst>
                  <a:gd name="T0" fmla="*/ 20 w 26"/>
                  <a:gd name="T1" fmla="*/ 18 h 32"/>
                  <a:gd name="T2" fmla="*/ 20 w 26"/>
                  <a:gd name="T3" fmla="*/ 18 h 32"/>
                  <a:gd name="T4" fmla="*/ 22 w 26"/>
                  <a:gd name="T5" fmla="*/ 16 h 32"/>
                  <a:gd name="T6" fmla="*/ 24 w 26"/>
                  <a:gd name="T7" fmla="*/ 14 h 32"/>
                  <a:gd name="T8" fmla="*/ 24 w 26"/>
                  <a:gd name="T9" fmla="*/ 14 h 32"/>
                  <a:gd name="T10" fmla="*/ 24 w 26"/>
                  <a:gd name="T11" fmla="*/ 12 h 32"/>
                  <a:gd name="T12" fmla="*/ 26 w 26"/>
                  <a:gd name="T13" fmla="*/ 10 h 32"/>
                  <a:gd name="T14" fmla="*/ 24 w 26"/>
                  <a:gd name="T15" fmla="*/ 8 h 32"/>
                  <a:gd name="T16" fmla="*/ 24 w 26"/>
                  <a:gd name="T17" fmla="*/ 8 h 32"/>
                  <a:gd name="T18" fmla="*/ 24 w 26"/>
                  <a:gd name="T19" fmla="*/ 6 h 32"/>
                  <a:gd name="T20" fmla="*/ 22 w 26"/>
                  <a:gd name="T21" fmla="*/ 4 h 32"/>
                  <a:gd name="T22" fmla="*/ 22 w 26"/>
                  <a:gd name="T23" fmla="*/ 2 h 32"/>
                  <a:gd name="T24" fmla="*/ 18 w 26"/>
                  <a:gd name="T25" fmla="*/ 2 h 32"/>
                  <a:gd name="T26" fmla="*/ 16 w 26"/>
                  <a:gd name="T27" fmla="*/ 0 h 32"/>
                  <a:gd name="T28" fmla="*/ 14 w 26"/>
                  <a:gd name="T29" fmla="*/ 0 h 32"/>
                  <a:gd name="T30" fmla="*/ 8 w 26"/>
                  <a:gd name="T31" fmla="*/ 0 h 32"/>
                  <a:gd name="T32" fmla="*/ 8 w 26"/>
                  <a:gd name="T33" fmla="*/ 0 h 32"/>
                  <a:gd name="T34" fmla="*/ 6 w 26"/>
                  <a:gd name="T35" fmla="*/ 6 h 32"/>
                  <a:gd name="T36" fmla="*/ 6 w 26"/>
                  <a:gd name="T37" fmla="*/ 6 h 32"/>
                  <a:gd name="T38" fmla="*/ 4 w 26"/>
                  <a:gd name="T39" fmla="*/ 10 h 32"/>
                  <a:gd name="T40" fmla="*/ 4 w 26"/>
                  <a:gd name="T41" fmla="*/ 12 h 32"/>
                  <a:gd name="T42" fmla="*/ 4 w 26"/>
                  <a:gd name="T43" fmla="*/ 14 h 32"/>
                  <a:gd name="T44" fmla="*/ 4 w 26"/>
                  <a:gd name="T45" fmla="*/ 14 h 32"/>
                  <a:gd name="T46" fmla="*/ 2 w 26"/>
                  <a:gd name="T47" fmla="*/ 18 h 32"/>
                  <a:gd name="T48" fmla="*/ 2 w 26"/>
                  <a:gd name="T49" fmla="*/ 22 h 32"/>
                  <a:gd name="T50" fmla="*/ 2 w 26"/>
                  <a:gd name="T51" fmla="*/ 22 h 32"/>
                  <a:gd name="T52" fmla="*/ 0 w 26"/>
                  <a:gd name="T53" fmla="*/ 30 h 32"/>
                  <a:gd name="T54" fmla="*/ 0 w 26"/>
                  <a:gd name="T55" fmla="*/ 30 h 32"/>
                  <a:gd name="T56" fmla="*/ 0 w 26"/>
                  <a:gd name="T57" fmla="*/ 32 h 32"/>
                  <a:gd name="T58" fmla="*/ 0 w 26"/>
                  <a:gd name="T59" fmla="*/ 32 h 32"/>
                  <a:gd name="T60" fmla="*/ 4 w 26"/>
                  <a:gd name="T61" fmla="*/ 28 h 32"/>
                  <a:gd name="T62" fmla="*/ 10 w 26"/>
                  <a:gd name="T63" fmla="*/ 24 h 32"/>
                  <a:gd name="T64" fmla="*/ 10 w 26"/>
                  <a:gd name="T65" fmla="*/ 24 h 32"/>
                  <a:gd name="T66" fmla="*/ 12 w 26"/>
                  <a:gd name="T67" fmla="*/ 22 h 32"/>
                  <a:gd name="T68" fmla="*/ 14 w 26"/>
                  <a:gd name="T69" fmla="*/ 20 h 32"/>
                  <a:gd name="T70" fmla="*/ 18 w 26"/>
                  <a:gd name="T71" fmla="*/ 20 h 32"/>
                  <a:gd name="T72" fmla="*/ 20 w 26"/>
                  <a:gd name="T73" fmla="*/ 18 h 32"/>
                  <a:gd name="T74" fmla="*/ 20 w 26"/>
                  <a:gd name="T75" fmla="*/ 18 h 32"/>
                  <a:gd name="T76" fmla="*/ 20 w 26"/>
                  <a:gd name="T77" fmla="*/ 18 h 32"/>
                  <a:gd name="T78" fmla="*/ 20 w 26"/>
                  <a:gd name="T79" fmla="*/ 18 h 32"/>
                  <a:gd name="T80" fmla="*/ 20 w 26"/>
                  <a:gd name="T81" fmla="*/ 18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6" h="32">
                    <a:moveTo>
                      <a:pt x="20" y="18"/>
                    </a:moveTo>
                    <a:lnTo>
                      <a:pt x="20" y="18"/>
                    </a:lnTo>
                    <a:lnTo>
                      <a:pt x="22" y="16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2"/>
                    </a:lnTo>
                    <a:lnTo>
                      <a:pt x="26" y="10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6"/>
                    </a:lnTo>
                    <a:lnTo>
                      <a:pt x="22" y="4"/>
                    </a:lnTo>
                    <a:lnTo>
                      <a:pt x="22" y="2"/>
                    </a:lnTo>
                    <a:lnTo>
                      <a:pt x="18" y="2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4" y="10"/>
                    </a:lnTo>
                    <a:lnTo>
                      <a:pt x="4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2" y="18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4" y="28"/>
                    </a:lnTo>
                    <a:lnTo>
                      <a:pt x="10" y="24"/>
                    </a:lnTo>
                    <a:lnTo>
                      <a:pt x="10" y="24"/>
                    </a:lnTo>
                    <a:lnTo>
                      <a:pt x="12" y="22"/>
                    </a:lnTo>
                    <a:lnTo>
                      <a:pt x="14" y="20"/>
                    </a:lnTo>
                    <a:lnTo>
                      <a:pt x="18" y="20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99" name="Freeform 577"/>
              <p:cNvSpPr>
                <a:spLocks/>
              </p:cNvSpPr>
              <p:nvPr/>
            </p:nvSpPr>
            <p:spPr bwMode="auto">
              <a:xfrm>
                <a:off x="3237" y="2256"/>
                <a:ext cx="26" cy="68"/>
              </a:xfrm>
              <a:custGeom>
                <a:avLst/>
                <a:gdLst>
                  <a:gd name="T0" fmla="*/ 8 w 26"/>
                  <a:gd name="T1" fmla="*/ 58 h 68"/>
                  <a:gd name="T2" fmla="*/ 10 w 26"/>
                  <a:gd name="T3" fmla="*/ 64 h 68"/>
                  <a:gd name="T4" fmla="*/ 12 w 26"/>
                  <a:gd name="T5" fmla="*/ 68 h 68"/>
                  <a:gd name="T6" fmla="*/ 12 w 26"/>
                  <a:gd name="T7" fmla="*/ 68 h 68"/>
                  <a:gd name="T8" fmla="*/ 14 w 26"/>
                  <a:gd name="T9" fmla="*/ 66 h 68"/>
                  <a:gd name="T10" fmla="*/ 18 w 26"/>
                  <a:gd name="T11" fmla="*/ 56 h 68"/>
                  <a:gd name="T12" fmla="*/ 18 w 26"/>
                  <a:gd name="T13" fmla="*/ 52 h 68"/>
                  <a:gd name="T14" fmla="*/ 18 w 26"/>
                  <a:gd name="T15" fmla="*/ 42 h 68"/>
                  <a:gd name="T16" fmla="*/ 20 w 26"/>
                  <a:gd name="T17" fmla="*/ 40 h 68"/>
                  <a:gd name="T18" fmla="*/ 20 w 26"/>
                  <a:gd name="T19" fmla="*/ 36 h 68"/>
                  <a:gd name="T20" fmla="*/ 22 w 26"/>
                  <a:gd name="T21" fmla="*/ 36 h 68"/>
                  <a:gd name="T22" fmla="*/ 20 w 26"/>
                  <a:gd name="T23" fmla="*/ 34 h 68"/>
                  <a:gd name="T24" fmla="*/ 20 w 26"/>
                  <a:gd name="T25" fmla="*/ 32 h 68"/>
                  <a:gd name="T26" fmla="*/ 20 w 26"/>
                  <a:gd name="T27" fmla="*/ 30 h 68"/>
                  <a:gd name="T28" fmla="*/ 20 w 26"/>
                  <a:gd name="T29" fmla="*/ 30 h 68"/>
                  <a:gd name="T30" fmla="*/ 22 w 26"/>
                  <a:gd name="T31" fmla="*/ 28 h 68"/>
                  <a:gd name="T32" fmla="*/ 22 w 26"/>
                  <a:gd name="T33" fmla="*/ 24 h 68"/>
                  <a:gd name="T34" fmla="*/ 24 w 26"/>
                  <a:gd name="T35" fmla="*/ 20 h 68"/>
                  <a:gd name="T36" fmla="*/ 24 w 26"/>
                  <a:gd name="T37" fmla="*/ 20 h 68"/>
                  <a:gd name="T38" fmla="*/ 22 w 26"/>
                  <a:gd name="T39" fmla="*/ 14 h 68"/>
                  <a:gd name="T40" fmla="*/ 22 w 26"/>
                  <a:gd name="T41" fmla="*/ 10 h 68"/>
                  <a:gd name="T42" fmla="*/ 24 w 26"/>
                  <a:gd name="T43" fmla="*/ 6 h 68"/>
                  <a:gd name="T44" fmla="*/ 26 w 26"/>
                  <a:gd name="T45" fmla="*/ 2 h 68"/>
                  <a:gd name="T46" fmla="*/ 26 w 26"/>
                  <a:gd name="T47" fmla="*/ 0 h 68"/>
                  <a:gd name="T48" fmla="*/ 24 w 26"/>
                  <a:gd name="T49" fmla="*/ 2 h 68"/>
                  <a:gd name="T50" fmla="*/ 18 w 26"/>
                  <a:gd name="T51" fmla="*/ 4 h 68"/>
                  <a:gd name="T52" fmla="*/ 16 w 26"/>
                  <a:gd name="T53" fmla="*/ 6 h 68"/>
                  <a:gd name="T54" fmla="*/ 6 w 26"/>
                  <a:gd name="T55" fmla="*/ 14 h 68"/>
                  <a:gd name="T56" fmla="*/ 4 w 26"/>
                  <a:gd name="T57" fmla="*/ 16 h 68"/>
                  <a:gd name="T58" fmla="*/ 4 w 26"/>
                  <a:gd name="T59" fmla="*/ 20 h 68"/>
                  <a:gd name="T60" fmla="*/ 4 w 26"/>
                  <a:gd name="T61" fmla="*/ 26 h 68"/>
                  <a:gd name="T62" fmla="*/ 2 w 26"/>
                  <a:gd name="T63" fmla="*/ 28 h 68"/>
                  <a:gd name="T64" fmla="*/ 2 w 26"/>
                  <a:gd name="T65" fmla="*/ 30 h 68"/>
                  <a:gd name="T66" fmla="*/ 0 w 26"/>
                  <a:gd name="T67" fmla="*/ 34 h 68"/>
                  <a:gd name="T68" fmla="*/ 0 w 26"/>
                  <a:gd name="T69" fmla="*/ 36 h 68"/>
                  <a:gd name="T70" fmla="*/ 0 w 26"/>
                  <a:gd name="T71" fmla="*/ 40 h 68"/>
                  <a:gd name="T72" fmla="*/ 4 w 26"/>
                  <a:gd name="T73" fmla="*/ 50 h 68"/>
                  <a:gd name="T74" fmla="*/ 4 w 26"/>
                  <a:gd name="T75" fmla="*/ 52 h 68"/>
                  <a:gd name="T76" fmla="*/ 8 w 26"/>
                  <a:gd name="T77" fmla="*/ 58 h 68"/>
                  <a:gd name="T78" fmla="*/ 8 w 26"/>
                  <a:gd name="T79" fmla="*/ 58 h 68"/>
                  <a:gd name="T80" fmla="*/ 8 w 26"/>
                  <a:gd name="T81" fmla="*/ 5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6" h="68">
                    <a:moveTo>
                      <a:pt x="8" y="58"/>
                    </a:moveTo>
                    <a:lnTo>
                      <a:pt x="8" y="58"/>
                    </a:lnTo>
                    <a:lnTo>
                      <a:pt x="10" y="62"/>
                    </a:lnTo>
                    <a:lnTo>
                      <a:pt x="10" y="64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4" y="68"/>
                    </a:lnTo>
                    <a:lnTo>
                      <a:pt x="14" y="66"/>
                    </a:lnTo>
                    <a:lnTo>
                      <a:pt x="16" y="62"/>
                    </a:lnTo>
                    <a:lnTo>
                      <a:pt x="18" y="56"/>
                    </a:lnTo>
                    <a:lnTo>
                      <a:pt x="18" y="56"/>
                    </a:lnTo>
                    <a:lnTo>
                      <a:pt x="18" y="52"/>
                    </a:lnTo>
                    <a:lnTo>
                      <a:pt x="18" y="48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0" y="40"/>
                    </a:lnTo>
                    <a:lnTo>
                      <a:pt x="20" y="38"/>
                    </a:lnTo>
                    <a:lnTo>
                      <a:pt x="20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4"/>
                    </a:lnTo>
                    <a:lnTo>
                      <a:pt x="20" y="34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28"/>
                    </a:lnTo>
                    <a:lnTo>
                      <a:pt x="22" y="28"/>
                    </a:lnTo>
                    <a:lnTo>
                      <a:pt x="22" y="26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4" y="20"/>
                    </a:lnTo>
                    <a:lnTo>
                      <a:pt x="24" y="20"/>
                    </a:lnTo>
                    <a:lnTo>
                      <a:pt x="24" y="20"/>
                    </a:lnTo>
                    <a:lnTo>
                      <a:pt x="22" y="18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4" y="8"/>
                    </a:lnTo>
                    <a:lnTo>
                      <a:pt x="24" y="6"/>
                    </a:lnTo>
                    <a:lnTo>
                      <a:pt x="24" y="4"/>
                    </a:lnTo>
                    <a:lnTo>
                      <a:pt x="26" y="2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4" y="2"/>
                    </a:lnTo>
                    <a:lnTo>
                      <a:pt x="20" y="2"/>
                    </a:lnTo>
                    <a:lnTo>
                      <a:pt x="18" y="4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4" y="16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4"/>
                    </a:lnTo>
                    <a:lnTo>
                      <a:pt x="4" y="26"/>
                    </a:lnTo>
                    <a:lnTo>
                      <a:pt x="2" y="28"/>
                    </a:lnTo>
                    <a:lnTo>
                      <a:pt x="2" y="28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2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40"/>
                    </a:lnTo>
                    <a:lnTo>
                      <a:pt x="2" y="44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2"/>
                    </a:lnTo>
                    <a:lnTo>
                      <a:pt x="6" y="54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00" name="Freeform 579"/>
              <p:cNvSpPr>
                <a:spLocks/>
              </p:cNvSpPr>
              <p:nvPr/>
            </p:nvSpPr>
            <p:spPr bwMode="auto">
              <a:xfrm>
                <a:off x="3249" y="2266"/>
                <a:ext cx="64" cy="74"/>
              </a:xfrm>
              <a:custGeom>
                <a:avLst/>
                <a:gdLst>
                  <a:gd name="T0" fmla="*/ 20 w 64"/>
                  <a:gd name="T1" fmla="*/ 72 h 74"/>
                  <a:gd name="T2" fmla="*/ 26 w 64"/>
                  <a:gd name="T3" fmla="*/ 70 h 74"/>
                  <a:gd name="T4" fmla="*/ 28 w 64"/>
                  <a:gd name="T5" fmla="*/ 66 h 74"/>
                  <a:gd name="T6" fmla="*/ 32 w 64"/>
                  <a:gd name="T7" fmla="*/ 60 h 74"/>
                  <a:gd name="T8" fmla="*/ 34 w 64"/>
                  <a:gd name="T9" fmla="*/ 60 h 74"/>
                  <a:gd name="T10" fmla="*/ 38 w 64"/>
                  <a:gd name="T11" fmla="*/ 60 h 74"/>
                  <a:gd name="T12" fmla="*/ 44 w 64"/>
                  <a:gd name="T13" fmla="*/ 60 h 74"/>
                  <a:gd name="T14" fmla="*/ 44 w 64"/>
                  <a:gd name="T15" fmla="*/ 58 h 74"/>
                  <a:gd name="T16" fmla="*/ 44 w 64"/>
                  <a:gd name="T17" fmla="*/ 58 h 74"/>
                  <a:gd name="T18" fmla="*/ 44 w 64"/>
                  <a:gd name="T19" fmla="*/ 56 h 74"/>
                  <a:gd name="T20" fmla="*/ 48 w 64"/>
                  <a:gd name="T21" fmla="*/ 52 h 74"/>
                  <a:gd name="T22" fmla="*/ 48 w 64"/>
                  <a:gd name="T23" fmla="*/ 42 h 74"/>
                  <a:gd name="T24" fmla="*/ 46 w 64"/>
                  <a:gd name="T25" fmla="*/ 38 h 74"/>
                  <a:gd name="T26" fmla="*/ 42 w 64"/>
                  <a:gd name="T27" fmla="*/ 32 h 74"/>
                  <a:gd name="T28" fmla="*/ 42 w 64"/>
                  <a:gd name="T29" fmla="*/ 30 h 74"/>
                  <a:gd name="T30" fmla="*/ 50 w 64"/>
                  <a:gd name="T31" fmla="*/ 26 h 74"/>
                  <a:gd name="T32" fmla="*/ 52 w 64"/>
                  <a:gd name="T33" fmla="*/ 24 h 74"/>
                  <a:gd name="T34" fmla="*/ 58 w 64"/>
                  <a:gd name="T35" fmla="*/ 24 h 74"/>
                  <a:gd name="T36" fmla="*/ 64 w 64"/>
                  <a:gd name="T37" fmla="*/ 20 h 74"/>
                  <a:gd name="T38" fmla="*/ 62 w 64"/>
                  <a:gd name="T39" fmla="*/ 14 h 74"/>
                  <a:gd name="T40" fmla="*/ 54 w 64"/>
                  <a:gd name="T41" fmla="*/ 0 h 74"/>
                  <a:gd name="T42" fmla="*/ 40 w 64"/>
                  <a:gd name="T43" fmla="*/ 6 h 74"/>
                  <a:gd name="T44" fmla="*/ 30 w 64"/>
                  <a:gd name="T45" fmla="*/ 10 h 74"/>
                  <a:gd name="T46" fmla="*/ 24 w 64"/>
                  <a:gd name="T47" fmla="*/ 12 h 74"/>
                  <a:gd name="T48" fmla="*/ 16 w 64"/>
                  <a:gd name="T49" fmla="*/ 12 h 74"/>
                  <a:gd name="T50" fmla="*/ 12 w 64"/>
                  <a:gd name="T51" fmla="*/ 10 h 74"/>
                  <a:gd name="T52" fmla="*/ 10 w 64"/>
                  <a:gd name="T53" fmla="*/ 14 h 74"/>
                  <a:gd name="T54" fmla="*/ 10 w 64"/>
                  <a:gd name="T55" fmla="*/ 18 h 74"/>
                  <a:gd name="T56" fmla="*/ 8 w 64"/>
                  <a:gd name="T57" fmla="*/ 20 h 74"/>
                  <a:gd name="T58" fmla="*/ 8 w 64"/>
                  <a:gd name="T59" fmla="*/ 22 h 74"/>
                  <a:gd name="T60" fmla="*/ 10 w 64"/>
                  <a:gd name="T61" fmla="*/ 24 h 74"/>
                  <a:gd name="T62" fmla="*/ 8 w 64"/>
                  <a:gd name="T63" fmla="*/ 26 h 74"/>
                  <a:gd name="T64" fmla="*/ 6 w 64"/>
                  <a:gd name="T65" fmla="*/ 32 h 74"/>
                  <a:gd name="T66" fmla="*/ 6 w 64"/>
                  <a:gd name="T67" fmla="*/ 42 h 74"/>
                  <a:gd name="T68" fmla="*/ 4 w 64"/>
                  <a:gd name="T69" fmla="*/ 52 h 74"/>
                  <a:gd name="T70" fmla="*/ 0 w 64"/>
                  <a:gd name="T71" fmla="*/ 58 h 74"/>
                  <a:gd name="T72" fmla="*/ 0 w 64"/>
                  <a:gd name="T73" fmla="*/ 58 h 74"/>
                  <a:gd name="T74" fmla="*/ 2 w 64"/>
                  <a:gd name="T75" fmla="*/ 70 h 74"/>
                  <a:gd name="T76" fmla="*/ 2 w 64"/>
                  <a:gd name="T77" fmla="*/ 70 h 74"/>
                  <a:gd name="T78" fmla="*/ 2 w 64"/>
                  <a:gd name="T79" fmla="*/ 74 h 74"/>
                  <a:gd name="T80" fmla="*/ 10 w 64"/>
                  <a:gd name="T81" fmla="*/ 72 h 74"/>
                  <a:gd name="T82" fmla="*/ 14 w 64"/>
                  <a:gd name="T83" fmla="*/ 72 h 74"/>
                  <a:gd name="T84" fmla="*/ 16 w 64"/>
                  <a:gd name="T85" fmla="*/ 72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64" h="74">
                    <a:moveTo>
                      <a:pt x="16" y="72"/>
                    </a:moveTo>
                    <a:lnTo>
                      <a:pt x="16" y="72"/>
                    </a:lnTo>
                    <a:lnTo>
                      <a:pt x="20" y="72"/>
                    </a:lnTo>
                    <a:lnTo>
                      <a:pt x="22" y="72"/>
                    </a:lnTo>
                    <a:lnTo>
                      <a:pt x="24" y="70"/>
                    </a:lnTo>
                    <a:lnTo>
                      <a:pt x="26" y="70"/>
                    </a:lnTo>
                    <a:lnTo>
                      <a:pt x="26" y="68"/>
                    </a:lnTo>
                    <a:lnTo>
                      <a:pt x="28" y="66"/>
                    </a:lnTo>
                    <a:lnTo>
                      <a:pt x="28" y="66"/>
                    </a:lnTo>
                    <a:lnTo>
                      <a:pt x="28" y="64"/>
                    </a:lnTo>
                    <a:lnTo>
                      <a:pt x="30" y="62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34" y="60"/>
                    </a:lnTo>
                    <a:lnTo>
                      <a:pt x="34" y="60"/>
                    </a:lnTo>
                    <a:lnTo>
                      <a:pt x="36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40" y="60"/>
                    </a:lnTo>
                    <a:lnTo>
                      <a:pt x="42" y="60"/>
                    </a:lnTo>
                    <a:lnTo>
                      <a:pt x="44" y="60"/>
                    </a:lnTo>
                    <a:lnTo>
                      <a:pt x="44" y="60"/>
                    </a:lnTo>
                    <a:lnTo>
                      <a:pt x="44" y="60"/>
                    </a:lnTo>
                    <a:lnTo>
                      <a:pt x="44" y="58"/>
                    </a:lnTo>
                    <a:lnTo>
                      <a:pt x="44" y="58"/>
                    </a:lnTo>
                    <a:lnTo>
                      <a:pt x="44" y="58"/>
                    </a:lnTo>
                    <a:lnTo>
                      <a:pt x="44" y="58"/>
                    </a:lnTo>
                    <a:lnTo>
                      <a:pt x="44" y="58"/>
                    </a:lnTo>
                    <a:lnTo>
                      <a:pt x="44" y="56"/>
                    </a:lnTo>
                    <a:lnTo>
                      <a:pt x="44" y="56"/>
                    </a:lnTo>
                    <a:lnTo>
                      <a:pt x="46" y="54"/>
                    </a:lnTo>
                    <a:lnTo>
                      <a:pt x="46" y="54"/>
                    </a:lnTo>
                    <a:lnTo>
                      <a:pt x="48" y="52"/>
                    </a:lnTo>
                    <a:lnTo>
                      <a:pt x="48" y="48"/>
                    </a:lnTo>
                    <a:lnTo>
                      <a:pt x="48" y="44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6" y="40"/>
                    </a:lnTo>
                    <a:lnTo>
                      <a:pt x="46" y="38"/>
                    </a:lnTo>
                    <a:lnTo>
                      <a:pt x="44" y="34"/>
                    </a:lnTo>
                    <a:lnTo>
                      <a:pt x="42" y="34"/>
                    </a:lnTo>
                    <a:lnTo>
                      <a:pt x="42" y="32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4" y="28"/>
                    </a:lnTo>
                    <a:lnTo>
                      <a:pt x="46" y="28"/>
                    </a:lnTo>
                    <a:lnTo>
                      <a:pt x="50" y="26"/>
                    </a:lnTo>
                    <a:lnTo>
                      <a:pt x="50" y="26"/>
                    </a:lnTo>
                    <a:lnTo>
                      <a:pt x="52" y="24"/>
                    </a:lnTo>
                    <a:lnTo>
                      <a:pt x="52" y="24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8" y="24"/>
                    </a:lnTo>
                    <a:lnTo>
                      <a:pt x="60" y="22"/>
                    </a:lnTo>
                    <a:lnTo>
                      <a:pt x="64" y="20"/>
                    </a:lnTo>
                    <a:lnTo>
                      <a:pt x="64" y="20"/>
                    </a:lnTo>
                    <a:lnTo>
                      <a:pt x="64" y="16"/>
                    </a:lnTo>
                    <a:lnTo>
                      <a:pt x="62" y="14"/>
                    </a:lnTo>
                    <a:lnTo>
                      <a:pt x="62" y="14"/>
                    </a:lnTo>
                    <a:lnTo>
                      <a:pt x="58" y="8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48" y="2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36" y="8"/>
                    </a:lnTo>
                    <a:lnTo>
                      <a:pt x="32" y="10"/>
                    </a:lnTo>
                    <a:lnTo>
                      <a:pt x="30" y="10"/>
                    </a:lnTo>
                    <a:lnTo>
                      <a:pt x="28" y="12"/>
                    </a:lnTo>
                    <a:lnTo>
                      <a:pt x="26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18" y="12"/>
                    </a:lnTo>
                    <a:lnTo>
                      <a:pt x="16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6"/>
                    </a:lnTo>
                    <a:lnTo>
                      <a:pt x="10" y="18"/>
                    </a:lnTo>
                    <a:lnTo>
                      <a:pt x="8" y="18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4"/>
                    </a:lnTo>
                    <a:lnTo>
                      <a:pt x="10" y="24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8" y="26"/>
                    </a:lnTo>
                    <a:lnTo>
                      <a:pt x="8" y="28"/>
                    </a:lnTo>
                    <a:lnTo>
                      <a:pt x="8" y="30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6" y="38"/>
                    </a:lnTo>
                    <a:lnTo>
                      <a:pt x="6" y="42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4" y="52"/>
                    </a:lnTo>
                    <a:lnTo>
                      <a:pt x="2" y="56"/>
                    </a:lnTo>
                    <a:lnTo>
                      <a:pt x="2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2" y="70"/>
                    </a:lnTo>
                    <a:lnTo>
                      <a:pt x="2" y="70"/>
                    </a:lnTo>
                    <a:lnTo>
                      <a:pt x="2" y="70"/>
                    </a:lnTo>
                    <a:lnTo>
                      <a:pt x="2" y="70"/>
                    </a:lnTo>
                    <a:lnTo>
                      <a:pt x="2" y="70"/>
                    </a:lnTo>
                    <a:lnTo>
                      <a:pt x="2" y="72"/>
                    </a:lnTo>
                    <a:lnTo>
                      <a:pt x="2" y="74"/>
                    </a:lnTo>
                    <a:lnTo>
                      <a:pt x="2" y="74"/>
                    </a:lnTo>
                    <a:lnTo>
                      <a:pt x="6" y="74"/>
                    </a:lnTo>
                    <a:lnTo>
                      <a:pt x="10" y="72"/>
                    </a:lnTo>
                    <a:lnTo>
                      <a:pt x="10" y="72"/>
                    </a:lnTo>
                    <a:lnTo>
                      <a:pt x="12" y="72"/>
                    </a:lnTo>
                    <a:lnTo>
                      <a:pt x="14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01" name="Freeform 581"/>
              <p:cNvSpPr>
                <a:spLocks/>
              </p:cNvSpPr>
              <p:nvPr/>
            </p:nvSpPr>
            <p:spPr bwMode="auto">
              <a:xfrm>
                <a:off x="3507" y="2382"/>
                <a:ext cx="18" cy="30"/>
              </a:xfrm>
              <a:custGeom>
                <a:avLst/>
                <a:gdLst>
                  <a:gd name="T0" fmla="*/ 6 w 18"/>
                  <a:gd name="T1" fmla="*/ 28 h 30"/>
                  <a:gd name="T2" fmla="*/ 6 w 18"/>
                  <a:gd name="T3" fmla="*/ 28 h 30"/>
                  <a:gd name="T4" fmla="*/ 8 w 18"/>
                  <a:gd name="T5" fmla="*/ 30 h 30"/>
                  <a:gd name="T6" fmla="*/ 10 w 18"/>
                  <a:gd name="T7" fmla="*/ 30 h 30"/>
                  <a:gd name="T8" fmla="*/ 12 w 18"/>
                  <a:gd name="T9" fmla="*/ 28 h 30"/>
                  <a:gd name="T10" fmla="*/ 12 w 18"/>
                  <a:gd name="T11" fmla="*/ 28 h 30"/>
                  <a:gd name="T12" fmla="*/ 12 w 18"/>
                  <a:gd name="T13" fmla="*/ 28 h 30"/>
                  <a:gd name="T14" fmla="*/ 12 w 18"/>
                  <a:gd name="T15" fmla="*/ 28 h 30"/>
                  <a:gd name="T16" fmla="*/ 14 w 18"/>
                  <a:gd name="T17" fmla="*/ 24 h 30"/>
                  <a:gd name="T18" fmla="*/ 14 w 18"/>
                  <a:gd name="T19" fmla="*/ 22 h 30"/>
                  <a:gd name="T20" fmla="*/ 16 w 18"/>
                  <a:gd name="T21" fmla="*/ 20 h 30"/>
                  <a:gd name="T22" fmla="*/ 16 w 18"/>
                  <a:gd name="T23" fmla="*/ 18 h 30"/>
                  <a:gd name="T24" fmla="*/ 16 w 18"/>
                  <a:gd name="T25" fmla="*/ 18 h 30"/>
                  <a:gd name="T26" fmla="*/ 18 w 18"/>
                  <a:gd name="T27" fmla="*/ 16 h 30"/>
                  <a:gd name="T28" fmla="*/ 16 w 18"/>
                  <a:gd name="T29" fmla="*/ 14 h 30"/>
                  <a:gd name="T30" fmla="*/ 16 w 18"/>
                  <a:gd name="T31" fmla="*/ 12 h 30"/>
                  <a:gd name="T32" fmla="*/ 14 w 18"/>
                  <a:gd name="T33" fmla="*/ 6 h 30"/>
                  <a:gd name="T34" fmla="*/ 14 w 18"/>
                  <a:gd name="T35" fmla="*/ 6 h 30"/>
                  <a:gd name="T36" fmla="*/ 12 w 18"/>
                  <a:gd name="T37" fmla="*/ 4 h 30"/>
                  <a:gd name="T38" fmla="*/ 12 w 18"/>
                  <a:gd name="T39" fmla="*/ 2 h 30"/>
                  <a:gd name="T40" fmla="*/ 12 w 18"/>
                  <a:gd name="T41" fmla="*/ 2 h 30"/>
                  <a:gd name="T42" fmla="*/ 10 w 18"/>
                  <a:gd name="T43" fmla="*/ 0 h 30"/>
                  <a:gd name="T44" fmla="*/ 10 w 18"/>
                  <a:gd name="T45" fmla="*/ 0 h 30"/>
                  <a:gd name="T46" fmla="*/ 8 w 18"/>
                  <a:gd name="T47" fmla="*/ 0 h 30"/>
                  <a:gd name="T48" fmla="*/ 8 w 18"/>
                  <a:gd name="T49" fmla="*/ 0 h 30"/>
                  <a:gd name="T50" fmla="*/ 6 w 18"/>
                  <a:gd name="T51" fmla="*/ 0 h 30"/>
                  <a:gd name="T52" fmla="*/ 6 w 18"/>
                  <a:gd name="T53" fmla="*/ 0 h 30"/>
                  <a:gd name="T54" fmla="*/ 4 w 18"/>
                  <a:gd name="T55" fmla="*/ 0 h 30"/>
                  <a:gd name="T56" fmla="*/ 4 w 18"/>
                  <a:gd name="T57" fmla="*/ 2 h 30"/>
                  <a:gd name="T58" fmla="*/ 2 w 18"/>
                  <a:gd name="T59" fmla="*/ 4 h 30"/>
                  <a:gd name="T60" fmla="*/ 2 w 18"/>
                  <a:gd name="T61" fmla="*/ 8 h 30"/>
                  <a:gd name="T62" fmla="*/ 2 w 18"/>
                  <a:gd name="T63" fmla="*/ 8 h 30"/>
                  <a:gd name="T64" fmla="*/ 2 w 18"/>
                  <a:gd name="T65" fmla="*/ 12 h 30"/>
                  <a:gd name="T66" fmla="*/ 0 w 18"/>
                  <a:gd name="T67" fmla="*/ 14 h 30"/>
                  <a:gd name="T68" fmla="*/ 0 w 18"/>
                  <a:gd name="T69" fmla="*/ 18 h 30"/>
                  <a:gd name="T70" fmla="*/ 0 w 18"/>
                  <a:gd name="T71" fmla="*/ 18 h 30"/>
                  <a:gd name="T72" fmla="*/ 2 w 18"/>
                  <a:gd name="T73" fmla="*/ 20 h 30"/>
                  <a:gd name="T74" fmla="*/ 2 w 18"/>
                  <a:gd name="T75" fmla="*/ 22 h 30"/>
                  <a:gd name="T76" fmla="*/ 2 w 18"/>
                  <a:gd name="T77" fmla="*/ 22 h 30"/>
                  <a:gd name="T78" fmla="*/ 2 w 18"/>
                  <a:gd name="T79" fmla="*/ 24 h 30"/>
                  <a:gd name="T80" fmla="*/ 2 w 18"/>
                  <a:gd name="T81" fmla="*/ 24 h 30"/>
                  <a:gd name="T82" fmla="*/ 2 w 18"/>
                  <a:gd name="T83" fmla="*/ 24 h 30"/>
                  <a:gd name="T84" fmla="*/ 4 w 18"/>
                  <a:gd name="T85" fmla="*/ 26 h 30"/>
                  <a:gd name="T86" fmla="*/ 4 w 18"/>
                  <a:gd name="T87" fmla="*/ 28 h 30"/>
                  <a:gd name="T88" fmla="*/ 6 w 18"/>
                  <a:gd name="T89" fmla="*/ 28 h 30"/>
                  <a:gd name="T90" fmla="*/ 6 w 18"/>
                  <a:gd name="T91" fmla="*/ 28 h 30"/>
                  <a:gd name="T92" fmla="*/ 6 w 18"/>
                  <a:gd name="T93" fmla="*/ 28 h 30"/>
                  <a:gd name="T94" fmla="*/ 6 w 18"/>
                  <a:gd name="T95" fmla="*/ 28 h 30"/>
                  <a:gd name="T96" fmla="*/ 6 w 18"/>
                  <a:gd name="T97" fmla="*/ 28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8" h="30">
                    <a:moveTo>
                      <a:pt x="6" y="28"/>
                    </a:moveTo>
                    <a:lnTo>
                      <a:pt x="6" y="28"/>
                    </a:lnTo>
                    <a:lnTo>
                      <a:pt x="8" y="30"/>
                    </a:lnTo>
                    <a:lnTo>
                      <a:pt x="10" y="30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4" y="24"/>
                    </a:lnTo>
                    <a:lnTo>
                      <a:pt x="14" y="22"/>
                    </a:lnTo>
                    <a:lnTo>
                      <a:pt x="16" y="20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8" y="16"/>
                    </a:lnTo>
                    <a:lnTo>
                      <a:pt x="16" y="14"/>
                    </a:lnTo>
                    <a:lnTo>
                      <a:pt x="16" y="12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2" y="4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12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0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4" y="26"/>
                    </a:lnTo>
                    <a:lnTo>
                      <a:pt x="4" y="28"/>
                    </a:lnTo>
                    <a:lnTo>
                      <a:pt x="6" y="28"/>
                    </a:lnTo>
                    <a:lnTo>
                      <a:pt x="6" y="28"/>
                    </a:lnTo>
                    <a:lnTo>
                      <a:pt x="6" y="28"/>
                    </a:lnTo>
                    <a:lnTo>
                      <a:pt x="6" y="28"/>
                    </a:lnTo>
                    <a:lnTo>
                      <a:pt x="6" y="28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02" name="Freeform 583"/>
              <p:cNvSpPr>
                <a:spLocks/>
              </p:cNvSpPr>
              <p:nvPr/>
            </p:nvSpPr>
            <p:spPr bwMode="auto">
              <a:xfrm>
                <a:off x="3501" y="2376"/>
                <a:ext cx="6" cy="12"/>
              </a:xfrm>
              <a:custGeom>
                <a:avLst/>
                <a:gdLst>
                  <a:gd name="T0" fmla="*/ 0 w 6"/>
                  <a:gd name="T1" fmla="*/ 4 h 12"/>
                  <a:gd name="T2" fmla="*/ 0 w 6"/>
                  <a:gd name="T3" fmla="*/ 4 h 12"/>
                  <a:gd name="T4" fmla="*/ 0 w 6"/>
                  <a:gd name="T5" fmla="*/ 8 h 12"/>
                  <a:gd name="T6" fmla="*/ 0 w 6"/>
                  <a:gd name="T7" fmla="*/ 10 h 12"/>
                  <a:gd name="T8" fmla="*/ 0 w 6"/>
                  <a:gd name="T9" fmla="*/ 10 h 12"/>
                  <a:gd name="T10" fmla="*/ 0 w 6"/>
                  <a:gd name="T11" fmla="*/ 10 h 12"/>
                  <a:gd name="T12" fmla="*/ 0 w 6"/>
                  <a:gd name="T13" fmla="*/ 10 h 12"/>
                  <a:gd name="T14" fmla="*/ 2 w 6"/>
                  <a:gd name="T15" fmla="*/ 12 h 12"/>
                  <a:gd name="T16" fmla="*/ 2 w 6"/>
                  <a:gd name="T17" fmla="*/ 12 h 12"/>
                  <a:gd name="T18" fmla="*/ 4 w 6"/>
                  <a:gd name="T19" fmla="*/ 10 h 12"/>
                  <a:gd name="T20" fmla="*/ 4 w 6"/>
                  <a:gd name="T21" fmla="*/ 10 h 12"/>
                  <a:gd name="T22" fmla="*/ 6 w 6"/>
                  <a:gd name="T23" fmla="*/ 8 h 12"/>
                  <a:gd name="T24" fmla="*/ 6 w 6"/>
                  <a:gd name="T25" fmla="*/ 8 h 12"/>
                  <a:gd name="T26" fmla="*/ 6 w 6"/>
                  <a:gd name="T27" fmla="*/ 6 h 12"/>
                  <a:gd name="T28" fmla="*/ 6 w 6"/>
                  <a:gd name="T29" fmla="*/ 4 h 12"/>
                  <a:gd name="T30" fmla="*/ 6 w 6"/>
                  <a:gd name="T31" fmla="*/ 2 h 12"/>
                  <a:gd name="T32" fmla="*/ 4 w 6"/>
                  <a:gd name="T33" fmla="*/ 0 h 12"/>
                  <a:gd name="T34" fmla="*/ 4 w 6"/>
                  <a:gd name="T35" fmla="*/ 0 h 12"/>
                  <a:gd name="T36" fmla="*/ 4 w 6"/>
                  <a:gd name="T37" fmla="*/ 0 h 12"/>
                  <a:gd name="T38" fmla="*/ 2 w 6"/>
                  <a:gd name="T39" fmla="*/ 0 h 12"/>
                  <a:gd name="T40" fmla="*/ 2 w 6"/>
                  <a:gd name="T41" fmla="*/ 0 h 12"/>
                  <a:gd name="T42" fmla="*/ 0 w 6"/>
                  <a:gd name="T43" fmla="*/ 0 h 12"/>
                  <a:gd name="T44" fmla="*/ 0 w 6"/>
                  <a:gd name="T45" fmla="*/ 0 h 12"/>
                  <a:gd name="T46" fmla="*/ 0 w 6"/>
                  <a:gd name="T47" fmla="*/ 2 h 12"/>
                  <a:gd name="T48" fmla="*/ 0 w 6"/>
                  <a:gd name="T49" fmla="*/ 2 h 12"/>
                  <a:gd name="T50" fmla="*/ 0 w 6"/>
                  <a:gd name="T51" fmla="*/ 4 h 12"/>
                  <a:gd name="T52" fmla="*/ 0 w 6"/>
                  <a:gd name="T53" fmla="*/ 4 h 12"/>
                  <a:gd name="T54" fmla="*/ 0 w 6"/>
                  <a:gd name="T55" fmla="*/ 4 h 12"/>
                  <a:gd name="T56" fmla="*/ 0 w 6"/>
                  <a:gd name="T57" fmla="*/ 4 h 12"/>
                  <a:gd name="T58" fmla="*/ 0 w 6"/>
                  <a:gd name="T59" fmla="*/ 4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6" h="12">
                    <a:moveTo>
                      <a:pt x="0" y="4"/>
                    </a:moveTo>
                    <a:lnTo>
                      <a:pt x="0" y="4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03" name="Freeform 585"/>
              <p:cNvSpPr>
                <a:spLocks/>
              </p:cNvSpPr>
              <p:nvPr/>
            </p:nvSpPr>
            <p:spPr bwMode="auto">
              <a:xfrm>
                <a:off x="3251" y="2286"/>
                <a:ext cx="340" cy="272"/>
              </a:xfrm>
              <a:custGeom>
                <a:avLst/>
                <a:gdLst>
                  <a:gd name="T0" fmla="*/ 172 w 340"/>
                  <a:gd name="T1" fmla="*/ 250 h 272"/>
                  <a:gd name="T2" fmla="*/ 184 w 340"/>
                  <a:gd name="T3" fmla="*/ 254 h 272"/>
                  <a:gd name="T4" fmla="*/ 198 w 340"/>
                  <a:gd name="T5" fmla="*/ 262 h 272"/>
                  <a:gd name="T6" fmla="*/ 206 w 340"/>
                  <a:gd name="T7" fmla="*/ 272 h 272"/>
                  <a:gd name="T8" fmla="*/ 214 w 340"/>
                  <a:gd name="T9" fmla="*/ 262 h 272"/>
                  <a:gd name="T10" fmla="*/ 224 w 340"/>
                  <a:gd name="T11" fmla="*/ 252 h 272"/>
                  <a:gd name="T12" fmla="*/ 232 w 340"/>
                  <a:gd name="T13" fmla="*/ 242 h 272"/>
                  <a:gd name="T14" fmla="*/ 266 w 340"/>
                  <a:gd name="T15" fmla="*/ 228 h 272"/>
                  <a:gd name="T16" fmla="*/ 320 w 340"/>
                  <a:gd name="T17" fmla="*/ 208 h 272"/>
                  <a:gd name="T18" fmla="*/ 338 w 340"/>
                  <a:gd name="T19" fmla="*/ 196 h 272"/>
                  <a:gd name="T20" fmla="*/ 340 w 340"/>
                  <a:gd name="T21" fmla="*/ 170 h 272"/>
                  <a:gd name="T22" fmla="*/ 332 w 340"/>
                  <a:gd name="T23" fmla="*/ 160 h 272"/>
                  <a:gd name="T24" fmla="*/ 316 w 340"/>
                  <a:gd name="T25" fmla="*/ 158 h 272"/>
                  <a:gd name="T26" fmla="*/ 286 w 340"/>
                  <a:gd name="T27" fmla="*/ 154 h 272"/>
                  <a:gd name="T28" fmla="*/ 274 w 340"/>
                  <a:gd name="T29" fmla="*/ 152 h 272"/>
                  <a:gd name="T30" fmla="*/ 270 w 340"/>
                  <a:gd name="T31" fmla="*/ 138 h 272"/>
                  <a:gd name="T32" fmla="*/ 268 w 340"/>
                  <a:gd name="T33" fmla="*/ 124 h 272"/>
                  <a:gd name="T34" fmla="*/ 260 w 340"/>
                  <a:gd name="T35" fmla="*/ 122 h 272"/>
                  <a:gd name="T36" fmla="*/ 256 w 340"/>
                  <a:gd name="T37" fmla="*/ 118 h 272"/>
                  <a:gd name="T38" fmla="*/ 252 w 340"/>
                  <a:gd name="T39" fmla="*/ 108 h 272"/>
                  <a:gd name="T40" fmla="*/ 244 w 340"/>
                  <a:gd name="T41" fmla="*/ 104 h 272"/>
                  <a:gd name="T42" fmla="*/ 238 w 340"/>
                  <a:gd name="T43" fmla="*/ 86 h 272"/>
                  <a:gd name="T44" fmla="*/ 224 w 340"/>
                  <a:gd name="T45" fmla="*/ 78 h 272"/>
                  <a:gd name="T46" fmla="*/ 218 w 340"/>
                  <a:gd name="T47" fmla="*/ 66 h 272"/>
                  <a:gd name="T48" fmla="*/ 212 w 340"/>
                  <a:gd name="T49" fmla="*/ 52 h 272"/>
                  <a:gd name="T50" fmla="*/ 206 w 340"/>
                  <a:gd name="T51" fmla="*/ 44 h 272"/>
                  <a:gd name="T52" fmla="*/ 210 w 340"/>
                  <a:gd name="T53" fmla="*/ 40 h 272"/>
                  <a:gd name="T54" fmla="*/ 212 w 340"/>
                  <a:gd name="T55" fmla="*/ 34 h 272"/>
                  <a:gd name="T56" fmla="*/ 196 w 340"/>
                  <a:gd name="T57" fmla="*/ 30 h 272"/>
                  <a:gd name="T58" fmla="*/ 188 w 340"/>
                  <a:gd name="T59" fmla="*/ 36 h 272"/>
                  <a:gd name="T60" fmla="*/ 186 w 340"/>
                  <a:gd name="T61" fmla="*/ 44 h 272"/>
                  <a:gd name="T62" fmla="*/ 164 w 340"/>
                  <a:gd name="T63" fmla="*/ 46 h 272"/>
                  <a:gd name="T64" fmla="*/ 146 w 340"/>
                  <a:gd name="T65" fmla="*/ 42 h 272"/>
                  <a:gd name="T66" fmla="*/ 96 w 340"/>
                  <a:gd name="T67" fmla="*/ 6 h 272"/>
                  <a:gd name="T68" fmla="*/ 76 w 340"/>
                  <a:gd name="T69" fmla="*/ 2 h 272"/>
                  <a:gd name="T70" fmla="*/ 62 w 340"/>
                  <a:gd name="T71" fmla="*/ 0 h 272"/>
                  <a:gd name="T72" fmla="*/ 50 w 340"/>
                  <a:gd name="T73" fmla="*/ 4 h 272"/>
                  <a:gd name="T74" fmla="*/ 40 w 340"/>
                  <a:gd name="T75" fmla="*/ 10 h 272"/>
                  <a:gd name="T76" fmla="*/ 46 w 340"/>
                  <a:gd name="T77" fmla="*/ 22 h 272"/>
                  <a:gd name="T78" fmla="*/ 42 w 340"/>
                  <a:gd name="T79" fmla="*/ 36 h 272"/>
                  <a:gd name="T80" fmla="*/ 42 w 340"/>
                  <a:gd name="T81" fmla="*/ 40 h 272"/>
                  <a:gd name="T82" fmla="*/ 32 w 340"/>
                  <a:gd name="T83" fmla="*/ 40 h 272"/>
                  <a:gd name="T84" fmla="*/ 26 w 340"/>
                  <a:gd name="T85" fmla="*/ 46 h 272"/>
                  <a:gd name="T86" fmla="*/ 14 w 340"/>
                  <a:gd name="T87" fmla="*/ 52 h 272"/>
                  <a:gd name="T88" fmla="*/ 0 w 340"/>
                  <a:gd name="T89" fmla="*/ 54 h 272"/>
                  <a:gd name="T90" fmla="*/ 0 w 340"/>
                  <a:gd name="T91" fmla="*/ 76 h 272"/>
                  <a:gd name="T92" fmla="*/ 10 w 340"/>
                  <a:gd name="T93" fmla="*/ 86 h 272"/>
                  <a:gd name="T94" fmla="*/ 20 w 340"/>
                  <a:gd name="T95" fmla="*/ 96 h 272"/>
                  <a:gd name="T96" fmla="*/ 28 w 340"/>
                  <a:gd name="T97" fmla="*/ 112 h 272"/>
                  <a:gd name="T98" fmla="*/ 40 w 340"/>
                  <a:gd name="T99" fmla="*/ 122 h 272"/>
                  <a:gd name="T100" fmla="*/ 50 w 340"/>
                  <a:gd name="T101" fmla="*/ 142 h 272"/>
                  <a:gd name="T102" fmla="*/ 64 w 340"/>
                  <a:gd name="T103" fmla="*/ 148 h 272"/>
                  <a:gd name="T104" fmla="*/ 78 w 340"/>
                  <a:gd name="T105" fmla="*/ 166 h 272"/>
                  <a:gd name="T106" fmla="*/ 84 w 340"/>
                  <a:gd name="T107" fmla="*/ 192 h 272"/>
                  <a:gd name="T108" fmla="*/ 90 w 340"/>
                  <a:gd name="T109" fmla="*/ 202 h 272"/>
                  <a:gd name="T110" fmla="*/ 106 w 340"/>
                  <a:gd name="T111" fmla="*/ 210 h 272"/>
                  <a:gd name="T112" fmla="*/ 114 w 340"/>
                  <a:gd name="T113" fmla="*/ 218 h 272"/>
                  <a:gd name="T114" fmla="*/ 136 w 340"/>
                  <a:gd name="T115" fmla="*/ 258 h 272"/>
                  <a:gd name="T116" fmla="*/ 148 w 340"/>
                  <a:gd name="T117" fmla="*/ 266 h 272"/>
                  <a:gd name="T118" fmla="*/ 152 w 340"/>
                  <a:gd name="T119" fmla="*/ 256 h 272"/>
                  <a:gd name="T120" fmla="*/ 158 w 340"/>
                  <a:gd name="T121" fmla="*/ 254 h 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40" h="272">
                    <a:moveTo>
                      <a:pt x="158" y="254"/>
                    </a:moveTo>
                    <a:lnTo>
                      <a:pt x="158" y="254"/>
                    </a:lnTo>
                    <a:lnTo>
                      <a:pt x="164" y="252"/>
                    </a:lnTo>
                    <a:lnTo>
                      <a:pt x="166" y="252"/>
                    </a:lnTo>
                    <a:lnTo>
                      <a:pt x="170" y="252"/>
                    </a:lnTo>
                    <a:lnTo>
                      <a:pt x="170" y="252"/>
                    </a:lnTo>
                    <a:lnTo>
                      <a:pt x="172" y="250"/>
                    </a:lnTo>
                    <a:lnTo>
                      <a:pt x="174" y="250"/>
                    </a:lnTo>
                    <a:lnTo>
                      <a:pt x="174" y="250"/>
                    </a:lnTo>
                    <a:lnTo>
                      <a:pt x="174" y="250"/>
                    </a:lnTo>
                    <a:lnTo>
                      <a:pt x="178" y="252"/>
                    </a:lnTo>
                    <a:lnTo>
                      <a:pt x="180" y="252"/>
                    </a:lnTo>
                    <a:lnTo>
                      <a:pt x="180" y="252"/>
                    </a:lnTo>
                    <a:lnTo>
                      <a:pt x="184" y="254"/>
                    </a:lnTo>
                    <a:lnTo>
                      <a:pt x="186" y="256"/>
                    </a:lnTo>
                    <a:lnTo>
                      <a:pt x="186" y="256"/>
                    </a:lnTo>
                    <a:lnTo>
                      <a:pt x="192" y="258"/>
                    </a:lnTo>
                    <a:lnTo>
                      <a:pt x="194" y="260"/>
                    </a:lnTo>
                    <a:lnTo>
                      <a:pt x="196" y="260"/>
                    </a:lnTo>
                    <a:lnTo>
                      <a:pt x="196" y="260"/>
                    </a:lnTo>
                    <a:lnTo>
                      <a:pt x="198" y="262"/>
                    </a:lnTo>
                    <a:lnTo>
                      <a:pt x="198" y="264"/>
                    </a:lnTo>
                    <a:lnTo>
                      <a:pt x="200" y="266"/>
                    </a:lnTo>
                    <a:lnTo>
                      <a:pt x="202" y="270"/>
                    </a:lnTo>
                    <a:lnTo>
                      <a:pt x="204" y="270"/>
                    </a:lnTo>
                    <a:lnTo>
                      <a:pt x="206" y="272"/>
                    </a:lnTo>
                    <a:lnTo>
                      <a:pt x="206" y="272"/>
                    </a:lnTo>
                    <a:lnTo>
                      <a:pt x="206" y="272"/>
                    </a:lnTo>
                    <a:lnTo>
                      <a:pt x="206" y="272"/>
                    </a:lnTo>
                    <a:lnTo>
                      <a:pt x="208" y="272"/>
                    </a:lnTo>
                    <a:lnTo>
                      <a:pt x="208" y="270"/>
                    </a:lnTo>
                    <a:lnTo>
                      <a:pt x="210" y="268"/>
                    </a:lnTo>
                    <a:lnTo>
                      <a:pt x="212" y="264"/>
                    </a:lnTo>
                    <a:lnTo>
                      <a:pt x="214" y="262"/>
                    </a:lnTo>
                    <a:lnTo>
                      <a:pt x="214" y="262"/>
                    </a:lnTo>
                    <a:lnTo>
                      <a:pt x="216" y="260"/>
                    </a:lnTo>
                    <a:lnTo>
                      <a:pt x="218" y="258"/>
                    </a:lnTo>
                    <a:lnTo>
                      <a:pt x="222" y="256"/>
                    </a:lnTo>
                    <a:lnTo>
                      <a:pt x="222" y="256"/>
                    </a:lnTo>
                    <a:lnTo>
                      <a:pt x="222" y="256"/>
                    </a:lnTo>
                    <a:lnTo>
                      <a:pt x="222" y="254"/>
                    </a:lnTo>
                    <a:lnTo>
                      <a:pt x="224" y="252"/>
                    </a:lnTo>
                    <a:lnTo>
                      <a:pt x="226" y="250"/>
                    </a:lnTo>
                    <a:lnTo>
                      <a:pt x="226" y="246"/>
                    </a:lnTo>
                    <a:lnTo>
                      <a:pt x="226" y="246"/>
                    </a:lnTo>
                    <a:lnTo>
                      <a:pt x="230" y="244"/>
                    </a:lnTo>
                    <a:lnTo>
                      <a:pt x="232" y="242"/>
                    </a:lnTo>
                    <a:lnTo>
                      <a:pt x="232" y="242"/>
                    </a:lnTo>
                    <a:lnTo>
                      <a:pt x="232" y="242"/>
                    </a:lnTo>
                    <a:lnTo>
                      <a:pt x="234" y="240"/>
                    </a:lnTo>
                    <a:lnTo>
                      <a:pt x="240" y="238"/>
                    </a:lnTo>
                    <a:lnTo>
                      <a:pt x="240" y="238"/>
                    </a:lnTo>
                    <a:lnTo>
                      <a:pt x="246" y="234"/>
                    </a:lnTo>
                    <a:lnTo>
                      <a:pt x="252" y="232"/>
                    </a:lnTo>
                    <a:lnTo>
                      <a:pt x="266" y="228"/>
                    </a:lnTo>
                    <a:lnTo>
                      <a:pt x="266" y="228"/>
                    </a:lnTo>
                    <a:lnTo>
                      <a:pt x="274" y="228"/>
                    </a:lnTo>
                    <a:lnTo>
                      <a:pt x="284" y="224"/>
                    </a:lnTo>
                    <a:lnTo>
                      <a:pt x="300" y="216"/>
                    </a:lnTo>
                    <a:lnTo>
                      <a:pt x="300" y="216"/>
                    </a:lnTo>
                    <a:lnTo>
                      <a:pt x="310" y="212"/>
                    </a:lnTo>
                    <a:lnTo>
                      <a:pt x="320" y="208"/>
                    </a:lnTo>
                    <a:lnTo>
                      <a:pt x="320" y="208"/>
                    </a:lnTo>
                    <a:lnTo>
                      <a:pt x="328" y="204"/>
                    </a:lnTo>
                    <a:lnTo>
                      <a:pt x="332" y="202"/>
                    </a:lnTo>
                    <a:lnTo>
                      <a:pt x="336" y="200"/>
                    </a:lnTo>
                    <a:lnTo>
                      <a:pt x="336" y="200"/>
                    </a:lnTo>
                    <a:lnTo>
                      <a:pt x="336" y="198"/>
                    </a:lnTo>
                    <a:lnTo>
                      <a:pt x="338" y="196"/>
                    </a:lnTo>
                    <a:lnTo>
                      <a:pt x="338" y="196"/>
                    </a:lnTo>
                    <a:lnTo>
                      <a:pt x="338" y="194"/>
                    </a:lnTo>
                    <a:lnTo>
                      <a:pt x="340" y="190"/>
                    </a:lnTo>
                    <a:lnTo>
                      <a:pt x="340" y="186"/>
                    </a:lnTo>
                    <a:lnTo>
                      <a:pt x="340" y="186"/>
                    </a:lnTo>
                    <a:lnTo>
                      <a:pt x="340" y="178"/>
                    </a:lnTo>
                    <a:lnTo>
                      <a:pt x="340" y="174"/>
                    </a:lnTo>
                    <a:lnTo>
                      <a:pt x="340" y="170"/>
                    </a:lnTo>
                    <a:lnTo>
                      <a:pt x="340" y="170"/>
                    </a:lnTo>
                    <a:lnTo>
                      <a:pt x="340" y="170"/>
                    </a:lnTo>
                    <a:lnTo>
                      <a:pt x="338" y="168"/>
                    </a:lnTo>
                    <a:lnTo>
                      <a:pt x="336" y="164"/>
                    </a:lnTo>
                    <a:lnTo>
                      <a:pt x="336" y="164"/>
                    </a:lnTo>
                    <a:lnTo>
                      <a:pt x="334" y="162"/>
                    </a:lnTo>
                    <a:lnTo>
                      <a:pt x="332" y="160"/>
                    </a:lnTo>
                    <a:lnTo>
                      <a:pt x="332" y="160"/>
                    </a:lnTo>
                    <a:lnTo>
                      <a:pt x="332" y="160"/>
                    </a:lnTo>
                    <a:lnTo>
                      <a:pt x="330" y="158"/>
                    </a:lnTo>
                    <a:lnTo>
                      <a:pt x="328" y="158"/>
                    </a:lnTo>
                    <a:lnTo>
                      <a:pt x="324" y="158"/>
                    </a:lnTo>
                    <a:lnTo>
                      <a:pt x="320" y="158"/>
                    </a:lnTo>
                    <a:lnTo>
                      <a:pt x="316" y="158"/>
                    </a:lnTo>
                    <a:lnTo>
                      <a:pt x="316" y="158"/>
                    </a:lnTo>
                    <a:lnTo>
                      <a:pt x="306" y="156"/>
                    </a:lnTo>
                    <a:lnTo>
                      <a:pt x="304" y="156"/>
                    </a:lnTo>
                    <a:lnTo>
                      <a:pt x="298" y="156"/>
                    </a:lnTo>
                    <a:lnTo>
                      <a:pt x="298" y="156"/>
                    </a:lnTo>
                    <a:lnTo>
                      <a:pt x="290" y="156"/>
                    </a:lnTo>
                    <a:lnTo>
                      <a:pt x="286" y="154"/>
                    </a:lnTo>
                    <a:lnTo>
                      <a:pt x="282" y="154"/>
                    </a:lnTo>
                    <a:lnTo>
                      <a:pt x="282" y="154"/>
                    </a:lnTo>
                    <a:lnTo>
                      <a:pt x="278" y="154"/>
                    </a:lnTo>
                    <a:lnTo>
                      <a:pt x="276" y="152"/>
                    </a:lnTo>
                    <a:lnTo>
                      <a:pt x="276" y="152"/>
                    </a:lnTo>
                    <a:lnTo>
                      <a:pt x="274" y="152"/>
                    </a:lnTo>
                    <a:lnTo>
                      <a:pt x="274" y="152"/>
                    </a:lnTo>
                    <a:lnTo>
                      <a:pt x="274" y="150"/>
                    </a:lnTo>
                    <a:lnTo>
                      <a:pt x="274" y="148"/>
                    </a:lnTo>
                    <a:lnTo>
                      <a:pt x="272" y="146"/>
                    </a:lnTo>
                    <a:lnTo>
                      <a:pt x="272" y="144"/>
                    </a:lnTo>
                    <a:lnTo>
                      <a:pt x="272" y="144"/>
                    </a:lnTo>
                    <a:lnTo>
                      <a:pt x="270" y="140"/>
                    </a:lnTo>
                    <a:lnTo>
                      <a:pt x="270" y="138"/>
                    </a:lnTo>
                    <a:lnTo>
                      <a:pt x="270" y="134"/>
                    </a:lnTo>
                    <a:lnTo>
                      <a:pt x="270" y="132"/>
                    </a:lnTo>
                    <a:lnTo>
                      <a:pt x="270" y="132"/>
                    </a:lnTo>
                    <a:lnTo>
                      <a:pt x="270" y="130"/>
                    </a:lnTo>
                    <a:lnTo>
                      <a:pt x="268" y="128"/>
                    </a:lnTo>
                    <a:lnTo>
                      <a:pt x="268" y="128"/>
                    </a:lnTo>
                    <a:lnTo>
                      <a:pt x="268" y="124"/>
                    </a:lnTo>
                    <a:lnTo>
                      <a:pt x="268" y="124"/>
                    </a:lnTo>
                    <a:lnTo>
                      <a:pt x="266" y="126"/>
                    </a:lnTo>
                    <a:lnTo>
                      <a:pt x="264" y="126"/>
                    </a:lnTo>
                    <a:lnTo>
                      <a:pt x="262" y="124"/>
                    </a:lnTo>
                    <a:lnTo>
                      <a:pt x="262" y="124"/>
                    </a:lnTo>
                    <a:lnTo>
                      <a:pt x="260" y="124"/>
                    </a:lnTo>
                    <a:lnTo>
                      <a:pt x="260" y="122"/>
                    </a:lnTo>
                    <a:lnTo>
                      <a:pt x="258" y="120"/>
                    </a:lnTo>
                    <a:lnTo>
                      <a:pt x="258" y="120"/>
                    </a:lnTo>
                    <a:lnTo>
                      <a:pt x="256" y="122"/>
                    </a:lnTo>
                    <a:lnTo>
                      <a:pt x="256" y="122"/>
                    </a:lnTo>
                    <a:lnTo>
                      <a:pt x="256" y="122"/>
                    </a:lnTo>
                    <a:lnTo>
                      <a:pt x="256" y="120"/>
                    </a:lnTo>
                    <a:lnTo>
                      <a:pt x="256" y="118"/>
                    </a:lnTo>
                    <a:lnTo>
                      <a:pt x="256" y="118"/>
                    </a:lnTo>
                    <a:lnTo>
                      <a:pt x="256" y="114"/>
                    </a:lnTo>
                    <a:lnTo>
                      <a:pt x="254" y="112"/>
                    </a:lnTo>
                    <a:lnTo>
                      <a:pt x="254" y="112"/>
                    </a:lnTo>
                    <a:lnTo>
                      <a:pt x="254" y="110"/>
                    </a:lnTo>
                    <a:lnTo>
                      <a:pt x="252" y="108"/>
                    </a:lnTo>
                    <a:lnTo>
                      <a:pt x="252" y="108"/>
                    </a:lnTo>
                    <a:lnTo>
                      <a:pt x="252" y="106"/>
                    </a:lnTo>
                    <a:lnTo>
                      <a:pt x="250" y="106"/>
                    </a:lnTo>
                    <a:lnTo>
                      <a:pt x="248" y="106"/>
                    </a:lnTo>
                    <a:lnTo>
                      <a:pt x="248" y="106"/>
                    </a:lnTo>
                    <a:lnTo>
                      <a:pt x="246" y="106"/>
                    </a:lnTo>
                    <a:lnTo>
                      <a:pt x="246" y="106"/>
                    </a:lnTo>
                    <a:lnTo>
                      <a:pt x="244" y="104"/>
                    </a:lnTo>
                    <a:lnTo>
                      <a:pt x="242" y="102"/>
                    </a:lnTo>
                    <a:lnTo>
                      <a:pt x="242" y="98"/>
                    </a:lnTo>
                    <a:lnTo>
                      <a:pt x="240" y="96"/>
                    </a:lnTo>
                    <a:lnTo>
                      <a:pt x="240" y="94"/>
                    </a:lnTo>
                    <a:lnTo>
                      <a:pt x="240" y="88"/>
                    </a:lnTo>
                    <a:lnTo>
                      <a:pt x="240" y="88"/>
                    </a:lnTo>
                    <a:lnTo>
                      <a:pt x="238" y="86"/>
                    </a:lnTo>
                    <a:lnTo>
                      <a:pt x="238" y="84"/>
                    </a:lnTo>
                    <a:lnTo>
                      <a:pt x="236" y="84"/>
                    </a:lnTo>
                    <a:lnTo>
                      <a:pt x="234" y="82"/>
                    </a:lnTo>
                    <a:lnTo>
                      <a:pt x="230" y="80"/>
                    </a:lnTo>
                    <a:lnTo>
                      <a:pt x="226" y="78"/>
                    </a:lnTo>
                    <a:lnTo>
                      <a:pt x="226" y="78"/>
                    </a:lnTo>
                    <a:lnTo>
                      <a:pt x="224" y="78"/>
                    </a:lnTo>
                    <a:lnTo>
                      <a:pt x="224" y="76"/>
                    </a:lnTo>
                    <a:lnTo>
                      <a:pt x="222" y="76"/>
                    </a:lnTo>
                    <a:lnTo>
                      <a:pt x="222" y="74"/>
                    </a:lnTo>
                    <a:lnTo>
                      <a:pt x="222" y="74"/>
                    </a:lnTo>
                    <a:lnTo>
                      <a:pt x="222" y="72"/>
                    </a:lnTo>
                    <a:lnTo>
                      <a:pt x="220" y="70"/>
                    </a:lnTo>
                    <a:lnTo>
                      <a:pt x="218" y="66"/>
                    </a:lnTo>
                    <a:lnTo>
                      <a:pt x="216" y="62"/>
                    </a:lnTo>
                    <a:lnTo>
                      <a:pt x="216" y="62"/>
                    </a:lnTo>
                    <a:lnTo>
                      <a:pt x="214" y="60"/>
                    </a:lnTo>
                    <a:lnTo>
                      <a:pt x="214" y="60"/>
                    </a:lnTo>
                    <a:lnTo>
                      <a:pt x="214" y="56"/>
                    </a:lnTo>
                    <a:lnTo>
                      <a:pt x="214" y="54"/>
                    </a:lnTo>
                    <a:lnTo>
                      <a:pt x="212" y="52"/>
                    </a:lnTo>
                    <a:lnTo>
                      <a:pt x="212" y="52"/>
                    </a:lnTo>
                    <a:lnTo>
                      <a:pt x="210" y="52"/>
                    </a:lnTo>
                    <a:lnTo>
                      <a:pt x="210" y="50"/>
                    </a:lnTo>
                    <a:lnTo>
                      <a:pt x="208" y="48"/>
                    </a:lnTo>
                    <a:lnTo>
                      <a:pt x="208" y="46"/>
                    </a:lnTo>
                    <a:lnTo>
                      <a:pt x="208" y="46"/>
                    </a:lnTo>
                    <a:lnTo>
                      <a:pt x="206" y="44"/>
                    </a:lnTo>
                    <a:lnTo>
                      <a:pt x="206" y="40"/>
                    </a:lnTo>
                    <a:lnTo>
                      <a:pt x="206" y="40"/>
                    </a:lnTo>
                    <a:lnTo>
                      <a:pt x="206" y="40"/>
                    </a:lnTo>
                    <a:lnTo>
                      <a:pt x="206" y="40"/>
                    </a:lnTo>
                    <a:lnTo>
                      <a:pt x="208" y="40"/>
                    </a:lnTo>
                    <a:lnTo>
                      <a:pt x="210" y="40"/>
                    </a:lnTo>
                    <a:lnTo>
                      <a:pt x="210" y="40"/>
                    </a:lnTo>
                    <a:lnTo>
                      <a:pt x="210" y="40"/>
                    </a:lnTo>
                    <a:lnTo>
                      <a:pt x="212" y="38"/>
                    </a:lnTo>
                    <a:lnTo>
                      <a:pt x="212" y="38"/>
                    </a:lnTo>
                    <a:lnTo>
                      <a:pt x="212" y="38"/>
                    </a:lnTo>
                    <a:lnTo>
                      <a:pt x="210" y="36"/>
                    </a:lnTo>
                    <a:lnTo>
                      <a:pt x="210" y="36"/>
                    </a:lnTo>
                    <a:lnTo>
                      <a:pt x="212" y="34"/>
                    </a:lnTo>
                    <a:lnTo>
                      <a:pt x="212" y="34"/>
                    </a:lnTo>
                    <a:lnTo>
                      <a:pt x="208" y="32"/>
                    </a:lnTo>
                    <a:lnTo>
                      <a:pt x="204" y="30"/>
                    </a:lnTo>
                    <a:lnTo>
                      <a:pt x="202" y="30"/>
                    </a:lnTo>
                    <a:lnTo>
                      <a:pt x="200" y="28"/>
                    </a:lnTo>
                    <a:lnTo>
                      <a:pt x="198" y="28"/>
                    </a:lnTo>
                    <a:lnTo>
                      <a:pt x="196" y="30"/>
                    </a:lnTo>
                    <a:lnTo>
                      <a:pt x="196" y="30"/>
                    </a:lnTo>
                    <a:lnTo>
                      <a:pt x="194" y="30"/>
                    </a:lnTo>
                    <a:lnTo>
                      <a:pt x="192" y="32"/>
                    </a:lnTo>
                    <a:lnTo>
                      <a:pt x="190" y="34"/>
                    </a:lnTo>
                    <a:lnTo>
                      <a:pt x="188" y="36"/>
                    </a:lnTo>
                    <a:lnTo>
                      <a:pt x="188" y="36"/>
                    </a:lnTo>
                    <a:lnTo>
                      <a:pt x="188" y="36"/>
                    </a:lnTo>
                    <a:lnTo>
                      <a:pt x="188" y="38"/>
                    </a:lnTo>
                    <a:lnTo>
                      <a:pt x="188" y="40"/>
                    </a:lnTo>
                    <a:lnTo>
                      <a:pt x="188" y="42"/>
                    </a:lnTo>
                    <a:lnTo>
                      <a:pt x="188" y="42"/>
                    </a:lnTo>
                    <a:lnTo>
                      <a:pt x="186" y="44"/>
                    </a:lnTo>
                    <a:lnTo>
                      <a:pt x="186" y="44"/>
                    </a:lnTo>
                    <a:lnTo>
                      <a:pt x="186" y="44"/>
                    </a:lnTo>
                    <a:lnTo>
                      <a:pt x="184" y="46"/>
                    </a:lnTo>
                    <a:lnTo>
                      <a:pt x="182" y="46"/>
                    </a:lnTo>
                    <a:lnTo>
                      <a:pt x="176" y="44"/>
                    </a:lnTo>
                    <a:lnTo>
                      <a:pt x="176" y="44"/>
                    </a:lnTo>
                    <a:lnTo>
                      <a:pt x="170" y="44"/>
                    </a:lnTo>
                    <a:lnTo>
                      <a:pt x="164" y="46"/>
                    </a:lnTo>
                    <a:lnTo>
                      <a:pt x="164" y="46"/>
                    </a:lnTo>
                    <a:lnTo>
                      <a:pt x="160" y="46"/>
                    </a:lnTo>
                    <a:lnTo>
                      <a:pt x="156" y="46"/>
                    </a:lnTo>
                    <a:lnTo>
                      <a:pt x="154" y="46"/>
                    </a:lnTo>
                    <a:lnTo>
                      <a:pt x="150" y="44"/>
                    </a:lnTo>
                    <a:lnTo>
                      <a:pt x="148" y="44"/>
                    </a:lnTo>
                    <a:lnTo>
                      <a:pt x="146" y="42"/>
                    </a:lnTo>
                    <a:lnTo>
                      <a:pt x="146" y="42"/>
                    </a:lnTo>
                    <a:lnTo>
                      <a:pt x="130" y="30"/>
                    </a:lnTo>
                    <a:lnTo>
                      <a:pt x="112" y="18"/>
                    </a:lnTo>
                    <a:lnTo>
                      <a:pt x="112" y="18"/>
                    </a:lnTo>
                    <a:lnTo>
                      <a:pt x="106" y="12"/>
                    </a:lnTo>
                    <a:lnTo>
                      <a:pt x="100" y="10"/>
                    </a:lnTo>
                    <a:lnTo>
                      <a:pt x="96" y="6"/>
                    </a:lnTo>
                    <a:lnTo>
                      <a:pt x="96" y="6"/>
                    </a:lnTo>
                    <a:lnTo>
                      <a:pt x="94" y="4"/>
                    </a:lnTo>
                    <a:lnTo>
                      <a:pt x="92" y="2"/>
                    </a:lnTo>
                    <a:lnTo>
                      <a:pt x="90" y="2"/>
                    </a:lnTo>
                    <a:lnTo>
                      <a:pt x="88" y="2"/>
                    </a:lnTo>
                    <a:lnTo>
                      <a:pt x="88" y="2"/>
                    </a:lnTo>
                    <a:lnTo>
                      <a:pt x="82" y="2"/>
                    </a:lnTo>
                    <a:lnTo>
                      <a:pt x="76" y="2"/>
                    </a:lnTo>
                    <a:lnTo>
                      <a:pt x="76" y="2"/>
                    </a:lnTo>
                    <a:lnTo>
                      <a:pt x="70" y="2"/>
                    </a:lnTo>
                    <a:lnTo>
                      <a:pt x="66" y="2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58" y="2"/>
                    </a:lnTo>
                    <a:lnTo>
                      <a:pt x="56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48" y="6"/>
                    </a:lnTo>
                    <a:lnTo>
                      <a:pt x="48" y="6"/>
                    </a:lnTo>
                    <a:lnTo>
                      <a:pt x="44" y="8"/>
                    </a:lnTo>
                    <a:lnTo>
                      <a:pt x="42" y="8"/>
                    </a:lnTo>
                    <a:lnTo>
                      <a:pt x="40" y="10"/>
                    </a:lnTo>
                    <a:lnTo>
                      <a:pt x="40" y="10"/>
                    </a:lnTo>
                    <a:lnTo>
                      <a:pt x="40" y="10"/>
                    </a:lnTo>
                    <a:lnTo>
                      <a:pt x="40" y="12"/>
                    </a:lnTo>
                    <a:lnTo>
                      <a:pt x="40" y="14"/>
                    </a:lnTo>
                    <a:lnTo>
                      <a:pt x="42" y="14"/>
                    </a:lnTo>
                    <a:lnTo>
                      <a:pt x="44" y="18"/>
                    </a:lnTo>
                    <a:lnTo>
                      <a:pt x="44" y="20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24"/>
                    </a:lnTo>
                    <a:lnTo>
                      <a:pt x="46" y="28"/>
                    </a:lnTo>
                    <a:lnTo>
                      <a:pt x="46" y="32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2" y="36"/>
                    </a:lnTo>
                    <a:lnTo>
                      <a:pt x="42" y="36"/>
                    </a:lnTo>
                    <a:lnTo>
                      <a:pt x="42" y="38"/>
                    </a:lnTo>
                    <a:lnTo>
                      <a:pt x="42" y="38"/>
                    </a:lnTo>
                    <a:lnTo>
                      <a:pt x="42" y="38"/>
                    </a:lnTo>
                    <a:lnTo>
                      <a:pt x="42" y="38"/>
                    </a:lnTo>
                    <a:lnTo>
                      <a:pt x="42" y="38"/>
                    </a:lnTo>
                    <a:lnTo>
                      <a:pt x="42" y="40"/>
                    </a:lnTo>
                    <a:lnTo>
                      <a:pt x="42" y="40"/>
                    </a:lnTo>
                    <a:lnTo>
                      <a:pt x="42" y="40"/>
                    </a:lnTo>
                    <a:lnTo>
                      <a:pt x="40" y="40"/>
                    </a:lnTo>
                    <a:lnTo>
                      <a:pt x="38" y="40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4" y="40"/>
                    </a:lnTo>
                    <a:lnTo>
                      <a:pt x="32" y="40"/>
                    </a:lnTo>
                    <a:lnTo>
                      <a:pt x="32" y="40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28" y="42"/>
                    </a:lnTo>
                    <a:lnTo>
                      <a:pt x="26" y="44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4" y="48"/>
                    </a:lnTo>
                    <a:lnTo>
                      <a:pt x="24" y="50"/>
                    </a:lnTo>
                    <a:lnTo>
                      <a:pt x="22" y="50"/>
                    </a:lnTo>
                    <a:lnTo>
                      <a:pt x="20" y="52"/>
                    </a:lnTo>
                    <a:lnTo>
                      <a:pt x="18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2" y="52"/>
                    </a:lnTo>
                    <a:lnTo>
                      <a:pt x="10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4" y="54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0" y="60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70"/>
                    </a:lnTo>
                    <a:lnTo>
                      <a:pt x="0" y="72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8"/>
                    </a:lnTo>
                    <a:lnTo>
                      <a:pt x="2" y="82"/>
                    </a:lnTo>
                    <a:lnTo>
                      <a:pt x="4" y="84"/>
                    </a:lnTo>
                    <a:lnTo>
                      <a:pt x="6" y="84"/>
                    </a:lnTo>
                    <a:lnTo>
                      <a:pt x="6" y="84"/>
                    </a:lnTo>
                    <a:lnTo>
                      <a:pt x="8" y="86"/>
                    </a:lnTo>
                    <a:lnTo>
                      <a:pt x="10" y="86"/>
                    </a:lnTo>
                    <a:lnTo>
                      <a:pt x="14" y="86"/>
                    </a:lnTo>
                    <a:lnTo>
                      <a:pt x="14" y="88"/>
                    </a:lnTo>
                    <a:lnTo>
                      <a:pt x="14" y="88"/>
                    </a:lnTo>
                    <a:lnTo>
                      <a:pt x="14" y="88"/>
                    </a:lnTo>
                    <a:lnTo>
                      <a:pt x="16" y="90"/>
                    </a:lnTo>
                    <a:lnTo>
                      <a:pt x="18" y="92"/>
                    </a:lnTo>
                    <a:lnTo>
                      <a:pt x="20" y="96"/>
                    </a:lnTo>
                    <a:lnTo>
                      <a:pt x="22" y="98"/>
                    </a:lnTo>
                    <a:lnTo>
                      <a:pt x="24" y="104"/>
                    </a:lnTo>
                    <a:lnTo>
                      <a:pt x="24" y="106"/>
                    </a:lnTo>
                    <a:lnTo>
                      <a:pt x="26" y="108"/>
                    </a:lnTo>
                    <a:lnTo>
                      <a:pt x="26" y="108"/>
                    </a:lnTo>
                    <a:lnTo>
                      <a:pt x="28" y="110"/>
                    </a:lnTo>
                    <a:lnTo>
                      <a:pt x="28" y="112"/>
                    </a:lnTo>
                    <a:lnTo>
                      <a:pt x="30" y="114"/>
                    </a:lnTo>
                    <a:lnTo>
                      <a:pt x="32" y="116"/>
                    </a:lnTo>
                    <a:lnTo>
                      <a:pt x="32" y="116"/>
                    </a:lnTo>
                    <a:lnTo>
                      <a:pt x="38" y="118"/>
                    </a:lnTo>
                    <a:lnTo>
                      <a:pt x="38" y="120"/>
                    </a:lnTo>
                    <a:lnTo>
                      <a:pt x="40" y="122"/>
                    </a:lnTo>
                    <a:lnTo>
                      <a:pt x="40" y="122"/>
                    </a:lnTo>
                    <a:lnTo>
                      <a:pt x="42" y="124"/>
                    </a:lnTo>
                    <a:lnTo>
                      <a:pt x="42" y="126"/>
                    </a:lnTo>
                    <a:lnTo>
                      <a:pt x="44" y="132"/>
                    </a:lnTo>
                    <a:lnTo>
                      <a:pt x="46" y="136"/>
                    </a:lnTo>
                    <a:lnTo>
                      <a:pt x="48" y="138"/>
                    </a:lnTo>
                    <a:lnTo>
                      <a:pt x="50" y="142"/>
                    </a:lnTo>
                    <a:lnTo>
                      <a:pt x="50" y="142"/>
                    </a:lnTo>
                    <a:lnTo>
                      <a:pt x="52" y="144"/>
                    </a:lnTo>
                    <a:lnTo>
                      <a:pt x="54" y="144"/>
                    </a:lnTo>
                    <a:lnTo>
                      <a:pt x="56" y="146"/>
                    </a:lnTo>
                    <a:lnTo>
                      <a:pt x="58" y="146"/>
                    </a:lnTo>
                    <a:lnTo>
                      <a:pt x="58" y="146"/>
                    </a:lnTo>
                    <a:lnTo>
                      <a:pt x="62" y="146"/>
                    </a:lnTo>
                    <a:lnTo>
                      <a:pt x="64" y="148"/>
                    </a:lnTo>
                    <a:lnTo>
                      <a:pt x="66" y="148"/>
                    </a:lnTo>
                    <a:lnTo>
                      <a:pt x="68" y="150"/>
                    </a:lnTo>
                    <a:lnTo>
                      <a:pt x="68" y="150"/>
                    </a:lnTo>
                    <a:lnTo>
                      <a:pt x="70" y="152"/>
                    </a:lnTo>
                    <a:lnTo>
                      <a:pt x="72" y="156"/>
                    </a:lnTo>
                    <a:lnTo>
                      <a:pt x="76" y="160"/>
                    </a:lnTo>
                    <a:lnTo>
                      <a:pt x="78" y="166"/>
                    </a:lnTo>
                    <a:lnTo>
                      <a:pt x="80" y="170"/>
                    </a:lnTo>
                    <a:lnTo>
                      <a:pt x="80" y="170"/>
                    </a:lnTo>
                    <a:lnTo>
                      <a:pt x="80" y="180"/>
                    </a:lnTo>
                    <a:lnTo>
                      <a:pt x="82" y="184"/>
                    </a:lnTo>
                    <a:lnTo>
                      <a:pt x="82" y="188"/>
                    </a:lnTo>
                    <a:lnTo>
                      <a:pt x="82" y="188"/>
                    </a:lnTo>
                    <a:lnTo>
                      <a:pt x="84" y="192"/>
                    </a:lnTo>
                    <a:lnTo>
                      <a:pt x="84" y="194"/>
                    </a:lnTo>
                    <a:lnTo>
                      <a:pt x="84" y="196"/>
                    </a:lnTo>
                    <a:lnTo>
                      <a:pt x="84" y="196"/>
                    </a:lnTo>
                    <a:lnTo>
                      <a:pt x="86" y="196"/>
                    </a:lnTo>
                    <a:lnTo>
                      <a:pt x="88" y="200"/>
                    </a:lnTo>
                    <a:lnTo>
                      <a:pt x="90" y="202"/>
                    </a:lnTo>
                    <a:lnTo>
                      <a:pt x="90" y="202"/>
                    </a:lnTo>
                    <a:lnTo>
                      <a:pt x="92" y="204"/>
                    </a:lnTo>
                    <a:lnTo>
                      <a:pt x="96" y="206"/>
                    </a:lnTo>
                    <a:lnTo>
                      <a:pt x="96" y="208"/>
                    </a:lnTo>
                    <a:lnTo>
                      <a:pt x="96" y="208"/>
                    </a:lnTo>
                    <a:lnTo>
                      <a:pt x="100" y="208"/>
                    </a:lnTo>
                    <a:lnTo>
                      <a:pt x="102" y="208"/>
                    </a:lnTo>
                    <a:lnTo>
                      <a:pt x="106" y="210"/>
                    </a:lnTo>
                    <a:lnTo>
                      <a:pt x="108" y="210"/>
                    </a:lnTo>
                    <a:lnTo>
                      <a:pt x="108" y="210"/>
                    </a:lnTo>
                    <a:lnTo>
                      <a:pt x="110" y="212"/>
                    </a:lnTo>
                    <a:lnTo>
                      <a:pt x="112" y="214"/>
                    </a:lnTo>
                    <a:lnTo>
                      <a:pt x="112" y="216"/>
                    </a:lnTo>
                    <a:lnTo>
                      <a:pt x="114" y="218"/>
                    </a:lnTo>
                    <a:lnTo>
                      <a:pt x="114" y="218"/>
                    </a:lnTo>
                    <a:lnTo>
                      <a:pt x="118" y="228"/>
                    </a:lnTo>
                    <a:lnTo>
                      <a:pt x="124" y="238"/>
                    </a:lnTo>
                    <a:lnTo>
                      <a:pt x="124" y="238"/>
                    </a:lnTo>
                    <a:lnTo>
                      <a:pt x="126" y="242"/>
                    </a:lnTo>
                    <a:lnTo>
                      <a:pt x="130" y="248"/>
                    </a:lnTo>
                    <a:lnTo>
                      <a:pt x="136" y="258"/>
                    </a:lnTo>
                    <a:lnTo>
                      <a:pt x="136" y="258"/>
                    </a:lnTo>
                    <a:lnTo>
                      <a:pt x="138" y="260"/>
                    </a:lnTo>
                    <a:lnTo>
                      <a:pt x="140" y="264"/>
                    </a:lnTo>
                    <a:lnTo>
                      <a:pt x="146" y="268"/>
                    </a:lnTo>
                    <a:lnTo>
                      <a:pt x="146" y="268"/>
                    </a:lnTo>
                    <a:lnTo>
                      <a:pt x="146" y="268"/>
                    </a:lnTo>
                    <a:lnTo>
                      <a:pt x="146" y="268"/>
                    </a:lnTo>
                    <a:lnTo>
                      <a:pt x="148" y="266"/>
                    </a:lnTo>
                    <a:lnTo>
                      <a:pt x="148" y="264"/>
                    </a:lnTo>
                    <a:lnTo>
                      <a:pt x="150" y="262"/>
                    </a:lnTo>
                    <a:lnTo>
                      <a:pt x="150" y="260"/>
                    </a:lnTo>
                    <a:lnTo>
                      <a:pt x="150" y="260"/>
                    </a:lnTo>
                    <a:lnTo>
                      <a:pt x="150" y="258"/>
                    </a:lnTo>
                    <a:lnTo>
                      <a:pt x="150" y="256"/>
                    </a:lnTo>
                    <a:lnTo>
                      <a:pt x="152" y="256"/>
                    </a:lnTo>
                    <a:lnTo>
                      <a:pt x="152" y="256"/>
                    </a:lnTo>
                    <a:lnTo>
                      <a:pt x="156" y="254"/>
                    </a:lnTo>
                    <a:lnTo>
                      <a:pt x="158" y="254"/>
                    </a:lnTo>
                    <a:lnTo>
                      <a:pt x="158" y="254"/>
                    </a:lnTo>
                    <a:lnTo>
                      <a:pt x="158" y="254"/>
                    </a:lnTo>
                    <a:lnTo>
                      <a:pt x="158" y="254"/>
                    </a:lnTo>
                    <a:lnTo>
                      <a:pt x="158" y="25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04" name="Freeform 587"/>
              <p:cNvSpPr>
                <a:spLocks/>
              </p:cNvSpPr>
              <p:nvPr/>
            </p:nvSpPr>
            <p:spPr bwMode="auto">
              <a:xfrm>
                <a:off x="3395" y="2508"/>
                <a:ext cx="168" cy="112"/>
              </a:xfrm>
              <a:custGeom>
                <a:avLst/>
                <a:gdLst>
                  <a:gd name="T0" fmla="*/ 156 w 168"/>
                  <a:gd name="T1" fmla="*/ 30 h 112"/>
                  <a:gd name="T2" fmla="*/ 156 w 168"/>
                  <a:gd name="T3" fmla="*/ 28 h 112"/>
                  <a:gd name="T4" fmla="*/ 154 w 168"/>
                  <a:gd name="T5" fmla="*/ 20 h 112"/>
                  <a:gd name="T6" fmla="*/ 146 w 168"/>
                  <a:gd name="T7" fmla="*/ 4 h 112"/>
                  <a:gd name="T8" fmla="*/ 128 w 168"/>
                  <a:gd name="T9" fmla="*/ 6 h 112"/>
                  <a:gd name="T10" fmla="*/ 102 w 168"/>
                  <a:gd name="T11" fmla="*/ 12 h 112"/>
                  <a:gd name="T12" fmla="*/ 88 w 168"/>
                  <a:gd name="T13" fmla="*/ 20 h 112"/>
                  <a:gd name="T14" fmla="*/ 82 w 168"/>
                  <a:gd name="T15" fmla="*/ 24 h 112"/>
                  <a:gd name="T16" fmla="*/ 78 w 168"/>
                  <a:gd name="T17" fmla="*/ 32 h 112"/>
                  <a:gd name="T18" fmla="*/ 74 w 168"/>
                  <a:gd name="T19" fmla="*/ 36 h 112"/>
                  <a:gd name="T20" fmla="*/ 68 w 168"/>
                  <a:gd name="T21" fmla="*/ 42 h 112"/>
                  <a:gd name="T22" fmla="*/ 62 w 168"/>
                  <a:gd name="T23" fmla="*/ 50 h 112"/>
                  <a:gd name="T24" fmla="*/ 60 w 168"/>
                  <a:gd name="T25" fmla="*/ 48 h 112"/>
                  <a:gd name="T26" fmla="*/ 54 w 168"/>
                  <a:gd name="T27" fmla="*/ 40 h 112"/>
                  <a:gd name="T28" fmla="*/ 48 w 168"/>
                  <a:gd name="T29" fmla="*/ 36 h 112"/>
                  <a:gd name="T30" fmla="*/ 36 w 168"/>
                  <a:gd name="T31" fmla="*/ 30 h 112"/>
                  <a:gd name="T32" fmla="*/ 30 w 168"/>
                  <a:gd name="T33" fmla="*/ 28 h 112"/>
                  <a:gd name="T34" fmla="*/ 26 w 168"/>
                  <a:gd name="T35" fmla="*/ 30 h 112"/>
                  <a:gd name="T36" fmla="*/ 14 w 168"/>
                  <a:gd name="T37" fmla="*/ 32 h 112"/>
                  <a:gd name="T38" fmla="*/ 6 w 168"/>
                  <a:gd name="T39" fmla="*/ 34 h 112"/>
                  <a:gd name="T40" fmla="*/ 6 w 168"/>
                  <a:gd name="T41" fmla="*/ 40 h 112"/>
                  <a:gd name="T42" fmla="*/ 2 w 168"/>
                  <a:gd name="T43" fmla="*/ 46 h 112"/>
                  <a:gd name="T44" fmla="*/ 6 w 168"/>
                  <a:gd name="T45" fmla="*/ 54 h 112"/>
                  <a:gd name="T46" fmla="*/ 2 w 168"/>
                  <a:gd name="T47" fmla="*/ 64 h 112"/>
                  <a:gd name="T48" fmla="*/ 2 w 168"/>
                  <a:gd name="T49" fmla="*/ 70 h 112"/>
                  <a:gd name="T50" fmla="*/ 8 w 168"/>
                  <a:gd name="T51" fmla="*/ 78 h 112"/>
                  <a:gd name="T52" fmla="*/ 8 w 168"/>
                  <a:gd name="T53" fmla="*/ 88 h 112"/>
                  <a:gd name="T54" fmla="*/ 8 w 168"/>
                  <a:gd name="T55" fmla="*/ 96 h 112"/>
                  <a:gd name="T56" fmla="*/ 16 w 168"/>
                  <a:gd name="T57" fmla="*/ 100 h 112"/>
                  <a:gd name="T58" fmla="*/ 18 w 168"/>
                  <a:gd name="T59" fmla="*/ 106 h 112"/>
                  <a:gd name="T60" fmla="*/ 24 w 168"/>
                  <a:gd name="T61" fmla="*/ 110 h 112"/>
                  <a:gd name="T62" fmla="*/ 36 w 168"/>
                  <a:gd name="T63" fmla="*/ 112 h 112"/>
                  <a:gd name="T64" fmla="*/ 42 w 168"/>
                  <a:gd name="T65" fmla="*/ 108 h 112"/>
                  <a:gd name="T66" fmla="*/ 46 w 168"/>
                  <a:gd name="T67" fmla="*/ 102 h 112"/>
                  <a:gd name="T68" fmla="*/ 52 w 168"/>
                  <a:gd name="T69" fmla="*/ 100 h 112"/>
                  <a:gd name="T70" fmla="*/ 64 w 168"/>
                  <a:gd name="T71" fmla="*/ 98 h 112"/>
                  <a:gd name="T72" fmla="*/ 80 w 168"/>
                  <a:gd name="T73" fmla="*/ 90 h 112"/>
                  <a:gd name="T74" fmla="*/ 90 w 168"/>
                  <a:gd name="T75" fmla="*/ 88 h 112"/>
                  <a:gd name="T76" fmla="*/ 98 w 168"/>
                  <a:gd name="T77" fmla="*/ 84 h 112"/>
                  <a:gd name="T78" fmla="*/ 110 w 168"/>
                  <a:gd name="T79" fmla="*/ 76 h 112"/>
                  <a:gd name="T80" fmla="*/ 118 w 168"/>
                  <a:gd name="T81" fmla="*/ 72 h 112"/>
                  <a:gd name="T82" fmla="*/ 130 w 168"/>
                  <a:gd name="T83" fmla="*/ 68 h 112"/>
                  <a:gd name="T84" fmla="*/ 140 w 168"/>
                  <a:gd name="T85" fmla="*/ 66 h 112"/>
                  <a:gd name="T86" fmla="*/ 144 w 168"/>
                  <a:gd name="T87" fmla="*/ 64 h 112"/>
                  <a:gd name="T88" fmla="*/ 152 w 168"/>
                  <a:gd name="T89" fmla="*/ 64 h 112"/>
                  <a:gd name="T90" fmla="*/ 156 w 168"/>
                  <a:gd name="T91" fmla="*/ 62 h 112"/>
                  <a:gd name="T92" fmla="*/ 156 w 168"/>
                  <a:gd name="T93" fmla="*/ 56 h 112"/>
                  <a:gd name="T94" fmla="*/ 158 w 168"/>
                  <a:gd name="T95" fmla="*/ 48 h 112"/>
                  <a:gd name="T96" fmla="*/ 168 w 168"/>
                  <a:gd name="T97" fmla="*/ 44 h 112"/>
                  <a:gd name="T98" fmla="*/ 160 w 168"/>
                  <a:gd name="T99" fmla="*/ 34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68" h="112">
                    <a:moveTo>
                      <a:pt x="160" y="34"/>
                    </a:moveTo>
                    <a:lnTo>
                      <a:pt x="160" y="34"/>
                    </a:lnTo>
                    <a:lnTo>
                      <a:pt x="158" y="32"/>
                    </a:lnTo>
                    <a:lnTo>
                      <a:pt x="156" y="30"/>
                    </a:lnTo>
                    <a:lnTo>
                      <a:pt x="156" y="30"/>
                    </a:lnTo>
                    <a:lnTo>
                      <a:pt x="156" y="30"/>
                    </a:lnTo>
                    <a:lnTo>
                      <a:pt x="156" y="28"/>
                    </a:lnTo>
                    <a:lnTo>
                      <a:pt x="156" y="28"/>
                    </a:lnTo>
                    <a:lnTo>
                      <a:pt x="156" y="26"/>
                    </a:lnTo>
                    <a:lnTo>
                      <a:pt x="156" y="24"/>
                    </a:lnTo>
                    <a:lnTo>
                      <a:pt x="156" y="24"/>
                    </a:lnTo>
                    <a:lnTo>
                      <a:pt x="154" y="20"/>
                    </a:lnTo>
                    <a:lnTo>
                      <a:pt x="154" y="18"/>
                    </a:lnTo>
                    <a:lnTo>
                      <a:pt x="150" y="12"/>
                    </a:lnTo>
                    <a:lnTo>
                      <a:pt x="146" y="6"/>
                    </a:lnTo>
                    <a:lnTo>
                      <a:pt x="146" y="4"/>
                    </a:lnTo>
                    <a:lnTo>
                      <a:pt x="144" y="0"/>
                    </a:lnTo>
                    <a:lnTo>
                      <a:pt x="144" y="0"/>
                    </a:lnTo>
                    <a:lnTo>
                      <a:pt x="134" y="4"/>
                    </a:lnTo>
                    <a:lnTo>
                      <a:pt x="128" y="6"/>
                    </a:lnTo>
                    <a:lnTo>
                      <a:pt x="122" y="6"/>
                    </a:lnTo>
                    <a:lnTo>
                      <a:pt x="122" y="6"/>
                    </a:lnTo>
                    <a:lnTo>
                      <a:pt x="108" y="10"/>
                    </a:lnTo>
                    <a:lnTo>
                      <a:pt x="102" y="12"/>
                    </a:lnTo>
                    <a:lnTo>
                      <a:pt x="96" y="16"/>
                    </a:lnTo>
                    <a:lnTo>
                      <a:pt x="96" y="16"/>
                    </a:lnTo>
                    <a:lnTo>
                      <a:pt x="90" y="18"/>
                    </a:lnTo>
                    <a:lnTo>
                      <a:pt x="88" y="20"/>
                    </a:lnTo>
                    <a:lnTo>
                      <a:pt x="88" y="20"/>
                    </a:lnTo>
                    <a:lnTo>
                      <a:pt x="88" y="20"/>
                    </a:lnTo>
                    <a:lnTo>
                      <a:pt x="86" y="22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2" y="28"/>
                    </a:lnTo>
                    <a:lnTo>
                      <a:pt x="80" y="30"/>
                    </a:lnTo>
                    <a:lnTo>
                      <a:pt x="78" y="32"/>
                    </a:lnTo>
                    <a:lnTo>
                      <a:pt x="78" y="34"/>
                    </a:lnTo>
                    <a:lnTo>
                      <a:pt x="78" y="34"/>
                    </a:lnTo>
                    <a:lnTo>
                      <a:pt x="78" y="34"/>
                    </a:lnTo>
                    <a:lnTo>
                      <a:pt x="74" y="36"/>
                    </a:lnTo>
                    <a:lnTo>
                      <a:pt x="72" y="38"/>
                    </a:lnTo>
                    <a:lnTo>
                      <a:pt x="70" y="40"/>
                    </a:lnTo>
                    <a:lnTo>
                      <a:pt x="70" y="40"/>
                    </a:lnTo>
                    <a:lnTo>
                      <a:pt x="68" y="42"/>
                    </a:lnTo>
                    <a:lnTo>
                      <a:pt x="66" y="46"/>
                    </a:lnTo>
                    <a:lnTo>
                      <a:pt x="64" y="48"/>
                    </a:lnTo>
                    <a:lnTo>
                      <a:pt x="64" y="50"/>
                    </a:lnTo>
                    <a:lnTo>
                      <a:pt x="62" y="50"/>
                    </a:lnTo>
                    <a:lnTo>
                      <a:pt x="62" y="50"/>
                    </a:lnTo>
                    <a:lnTo>
                      <a:pt x="62" y="50"/>
                    </a:lnTo>
                    <a:lnTo>
                      <a:pt x="62" y="50"/>
                    </a:lnTo>
                    <a:lnTo>
                      <a:pt x="60" y="48"/>
                    </a:lnTo>
                    <a:lnTo>
                      <a:pt x="58" y="48"/>
                    </a:lnTo>
                    <a:lnTo>
                      <a:pt x="56" y="44"/>
                    </a:lnTo>
                    <a:lnTo>
                      <a:pt x="54" y="42"/>
                    </a:lnTo>
                    <a:lnTo>
                      <a:pt x="54" y="40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0" y="38"/>
                    </a:lnTo>
                    <a:lnTo>
                      <a:pt x="48" y="36"/>
                    </a:lnTo>
                    <a:lnTo>
                      <a:pt x="42" y="34"/>
                    </a:lnTo>
                    <a:lnTo>
                      <a:pt x="42" y="34"/>
                    </a:lnTo>
                    <a:lnTo>
                      <a:pt x="40" y="32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4" y="30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28" y="28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20" y="30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2" y="32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6" y="34"/>
                    </a:lnTo>
                    <a:lnTo>
                      <a:pt x="6" y="36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40"/>
                    </a:lnTo>
                    <a:lnTo>
                      <a:pt x="4" y="42"/>
                    </a:lnTo>
                    <a:lnTo>
                      <a:pt x="4" y="44"/>
                    </a:lnTo>
                    <a:lnTo>
                      <a:pt x="2" y="46"/>
                    </a:lnTo>
                    <a:lnTo>
                      <a:pt x="2" y="46"/>
                    </a:lnTo>
                    <a:lnTo>
                      <a:pt x="4" y="48"/>
                    </a:lnTo>
                    <a:lnTo>
                      <a:pt x="4" y="50"/>
                    </a:lnTo>
                    <a:lnTo>
                      <a:pt x="6" y="52"/>
                    </a:lnTo>
                    <a:lnTo>
                      <a:pt x="6" y="54"/>
                    </a:lnTo>
                    <a:lnTo>
                      <a:pt x="6" y="54"/>
                    </a:lnTo>
                    <a:lnTo>
                      <a:pt x="6" y="56"/>
                    </a:lnTo>
                    <a:lnTo>
                      <a:pt x="4" y="58"/>
                    </a:lnTo>
                    <a:lnTo>
                      <a:pt x="2" y="64"/>
                    </a:lnTo>
                    <a:lnTo>
                      <a:pt x="2" y="64"/>
                    </a:lnTo>
                    <a:lnTo>
                      <a:pt x="0" y="66"/>
                    </a:lnTo>
                    <a:lnTo>
                      <a:pt x="0" y="68"/>
                    </a:lnTo>
                    <a:lnTo>
                      <a:pt x="2" y="70"/>
                    </a:lnTo>
                    <a:lnTo>
                      <a:pt x="2" y="74"/>
                    </a:lnTo>
                    <a:lnTo>
                      <a:pt x="2" y="74"/>
                    </a:lnTo>
                    <a:lnTo>
                      <a:pt x="6" y="76"/>
                    </a:lnTo>
                    <a:lnTo>
                      <a:pt x="8" y="78"/>
                    </a:lnTo>
                    <a:lnTo>
                      <a:pt x="8" y="80"/>
                    </a:lnTo>
                    <a:lnTo>
                      <a:pt x="8" y="80"/>
                    </a:lnTo>
                    <a:lnTo>
                      <a:pt x="8" y="84"/>
                    </a:lnTo>
                    <a:lnTo>
                      <a:pt x="8" y="88"/>
                    </a:lnTo>
                    <a:lnTo>
                      <a:pt x="8" y="94"/>
                    </a:lnTo>
                    <a:lnTo>
                      <a:pt x="8" y="94"/>
                    </a:lnTo>
                    <a:lnTo>
                      <a:pt x="8" y="94"/>
                    </a:lnTo>
                    <a:lnTo>
                      <a:pt x="8" y="96"/>
                    </a:lnTo>
                    <a:lnTo>
                      <a:pt x="10" y="98"/>
                    </a:lnTo>
                    <a:lnTo>
                      <a:pt x="14" y="100"/>
                    </a:lnTo>
                    <a:lnTo>
                      <a:pt x="14" y="100"/>
                    </a:lnTo>
                    <a:lnTo>
                      <a:pt x="16" y="100"/>
                    </a:lnTo>
                    <a:lnTo>
                      <a:pt x="16" y="102"/>
                    </a:lnTo>
                    <a:lnTo>
                      <a:pt x="16" y="102"/>
                    </a:lnTo>
                    <a:lnTo>
                      <a:pt x="16" y="106"/>
                    </a:lnTo>
                    <a:lnTo>
                      <a:pt x="18" y="106"/>
                    </a:lnTo>
                    <a:lnTo>
                      <a:pt x="18" y="106"/>
                    </a:lnTo>
                    <a:lnTo>
                      <a:pt x="20" y="108"/>
                    </a:lnTo>
                    <a:lnTo>
                      <a:pt x="22" y="110"/>
                    </a:lnTo>
                    <a:lnTo>
                      <a:pt x="24" y="110"/>
                    </a:lnTo>
                    <a:lnTo>
                      <a:pt x="28" y="112"/>
                    </a:lnTo>
                    <a:lnTo>
                      <a:pt x="28" y="112"/>
                    </a:lnTo>
                    <a:lnTo>
                      <a:pt x="34" y="112"/>
                    </a:lnTo>
                    <a:lnTo>
                      <a:pt x="36" y="112"/>
                    </a:lnTo>
                    <a:lnTo>
                      <a:pt x="38" y="110"/>
                    </a:lnTo>
                    <a:lnTo>
                      <a:pt x="38" y="110"/>
                    </a:lnTo>
                    <a:lnTo>
                      <a:pt x="40" y="110"/>
                    </a:lnTo>
                    <a:lnTo>
                      <a:pt x="42" y="108"/>
                    </a:lnTo>
                    <a:lnTo>
                      <a:pt x="42" y="106"/>
                    </a:lnTo>
                    <a:lnTo>
                      <a:pt x="44" y="104"/>
                    </a:lnTo>
                    <a:lnTo>
                      <a:pt x="44" y="104"/>
                    </a:lnTo>
                    <a:lnTo>
                      <a:pt x="46" y="102"/>
                    </a:lnTo>
                    <a:lnTo>
                      <a:pt x="48" y="100"/>
                    </a:lnTo>
                    <a:lnTo>
                      <a:pt x="50" y="100"/>
                    </a:lnTo>
                    <a:lnTo>
                      <a:pt x="52" y="100"/>
                    </a:lnTo>
                    <a:lnTo>
                      <a:pt x="52" y="100"/>
                    </a:lnTo>
                    <a:lnTo>
                      <a:pt x="60" y="100"/>
                    </a:lnTo>
                    <a:lnTo>
                      <a:pt x="62" y="98"/>
                    </a:lnTo>
                    <a:lnTo>
                      <a:pt x="64" y="98"/>
                    </a:lnTo>
                    <a:lnTo>
                      <a:pt x="64" y="98"/>
                    </a:lnTo>
                    <a:lnTo>
                      <a:pt x="68" y="98"/>
                    </a:lnTo>
                    <a:lnTo>
                      <a:pt x="70" y="96"/>
                    </a:lnTo>
                    <a:lnTo>
                      <a:pt x="74" y="94"/>
                    </a:lnTo>
                    <a:lnTo>
                      <a:pt x="80" y="90"/>
                    </a:lnTo>
                    <a:lnTo>
                      <a:pt x="82" y="90"/>
                    </a:lnTo>
                    <a:lnTo>
                      <a:pt x="86" y="88"/>
                    </a:lnTo>
                    <a:lnTo>
                      <a:pt x="86" y="88"/>
                    </a:lnTo>
                    <a:lnTo>
                      <a:pt x="90" y="88"/>
                    </a:lnTo>
                    <a:lnTo>
                      <a:pt x="94" y="86"/>
                    </a:lnTo>
                    <a:lnTo>
                      <a:pt x="96" y="84"/>
                    </a:lnTo>
                    <a:lnTo>
                      <a:pt x="96" y="84"/>
                    </a:lnTo>
                    <a:lnTo>
                      <a:pt x="98" y="84"/>
                    </a:lnTo>
                    <a:lnTo>
                      <a:pt x="102" y="82"/>
                    </a:lnTo>
                    <a:lnTo>
                      <a:pt x="106" y="78"/>
                    </a:lnTo>
                    <a:lnTo>
                      <a:pt x="106" y="78"/>
                    </a:lnTo>
                    <a:lnTo>
                      <a:pt x="110" y="76"/>
                    </a:lnTo>
                    <a:lnTo>
                      <a:pt x="112" y="76"/>
                    </a:lnTo>
                    <a:lnTo>
                      <a:pt x="114" y="74"/>
                    </a:lnTo>
                    <a:lnTo>
                      <a:pt x="118" y="72"/>
                    </a:lnTo>
                    <a:lnTo>
                      <a:pt x="118" y="72"/>
                    </a:lnTo>
                    <a:lnTo>
                      <a:pt x="124" y="70"/>
                    </a:lnTo>
                    <a:lnTo>
                      <a:pt x="126" y="70"/>
                    </a:lnTo>
                    <a:lnTo>
                      <a:pt x="130" y="68"/>
                    </a:lnTo>
                    <a:lnTo>
                      <a:pt x="130" y="68"/>
                    </a:lnTo>
                    <a:lnTo>
                      <a:pt x="132" y="68"/>
                    </a:lnTo>
                    <a:lnTo>
                      <a:pt x="134" y="68"/>
                    </a:lnTo>
                    <a:lnTo>
                      <a:pt x="136" y="68"/>
                    </a:lnTo>
                    <a:lnTo>
                      <a:pt x="140" y="66"/>
                    </a:lnTo>
                    <a:lnTo>
                      <a:pt x="140" y="66"/>
                    </a:lnTo>
                    <a:lnTo>
                      <a:pt x="140" y="64"/>
                    </a:lnTo>
                    <a:lnTo>
                      <a:pt x="142" y="64"/>
                    </a:lnTo>
                    <a:lnTo>
                      <a:pt x="144" y="64"/>
                    </a:lnTo>
                    <a:lnTo>
                      <a:pt x="146" y="64"/>
                    </a:lnTo>
                    <a:lnTo>
                      <a:pt x="150" y="64"/>
                    </a:lnTo>
                    <a:lnTo>
                      <a:pt x="150" y="64"/>
                    </a:lnTo>
                    <a:lnTo>
                      <a:pt x="152" y="64"/>
                    </a:lnTo>
                    <a:lnTo>
                      <a:pt x="154" y="64"/>
                    </a:lnTo>
                    <a:lnTo>
                      <a:pt x="156" y="62"/>
                    </a:lnTo>
                    <a:lnTo>
                      <a:pt x="156" y="62"/>
                    </a:lnTo>
                    <a:lnTo>
                      <a:pt x="156" y="62"/>
                    </a:lnTo>
                    <a:lnTo>
                      <a:pt x="156" y="60"/>
                    </a:lnTo>
                    <a:lnTo>
                      <a:pt x="156" y="58"/>
                    </a:lnTo>
                    <a:lnTo>
                      <a:pt x="156" y="58"/>
                    </a:lnTo>
                    <a:lnTo>
                      <a:pt x="156" y="56"/>
                    </a:lnTo>
                    <a:lnTo>
                      <a:pt x="156" y="54"/>
                    </a:lnTo>
                    <a:lnTo>
                      <a:pt x="158" y="52"/>
                    </a:lnTo>
                    <a:lnTo>
                      <a:pt x="158" y="48"/>
                    </a:lnTo>
                    <a:lnTo>
                      <a:pt x="158" y="48"/>
                    </a:lnTo>
                    <a:lnTo>
                      <a:pt x="160" y="46"/>
                    </a:lnTo>
                    <a:lnTo>
                      <a:pt x="162" y="46"/>
                    </a:lnTo>
                    <a:lnTo>
                      <a:pt x="168" y="44"/>
                    </a:lnTo>
                    <a:lnTo>
                      <a:pt x="168" y="44"/>
                    </a:lnTo>
                    <a:lnTo>
                      <a:pt x="164" y="38"/>
                    </a:lnTo>
                    <a:lnTo>
                      <a:pt x="160" y="34"/>
                    </a:lnTo>
                    <a:lnTo>
                      <a:pt x="160" y="34"/>
                    </a:lnTo>
                    <a:lnTo>
                      <a:pt x="160" y="34"/>
                    </a:lnTo>
                    <a:lnTo>
                      <a:pt x="160" y="34"/>
                    </a:lnTo>
                    <a:lnTo>
                      <a:pt x="160" y="3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05" name="Freeform 589"/>
              <p:cNvSpPr>
                <a:spLocks/>
              </p:cNvSpPr>
              <p:nvPr/>
            </p:nvSpPr>
            <p:spPr bwMode="auto">
              <a:xfrm>
                <a:off x="3551" y="2614"/>
                <a:ext cx="26" cy="10"/>
              </a:xfrm>
              <a:custGeom>
                <a:avLst/>
                <a:gdLst>
                  <a:gd name="T0" fmla="*/ 8 w 26"/>
                  <a:gd name="T1" fmla="*/ 4 h 10"/>
                  <a:gd name="T2" fmla="*/ 8 w 26"/>
                  <a:gd name="T3" fmla="*/ 4 h 10"/>
                  <a:gd name="T4" fmla="*/ 6 w 26"/>
                  <a:gd name="T5" fmla="*/ 4 h 10"/>
                  <a:gd name="T6" fmla="*/ 4 w 26"/>
                  <a:gd name="T7" fmla="*/ 4 h 10"/>
                  <a:gd name="T8" fmla="*/ 4 w 26"/>
                  <a:gd name="T9" fmla="*/ 4 h 10"/>
                  <a:gd name="T10" fmla="*/ 2 w 26"/>
                  <a:gd name="T11" fmla="*/ 4 h 10"/>
                  <a:gd name="T12" fmla="*/ 2 w 26"/>
                  <a:gd name="T13" fmla="*/ 4 h 10"/>
                  <a:gd name="T14" fmla="*/ 0 w 26"/>
                  <a:gd name="T15" fmla="*/ 4 h 10"/>
                  <a:gd name="T16" fmla="*/ 0 w 26"/>
                  <a:gd name="T17" fmla="*/ 6 h 10"/>
                  <a:gd name="T18" fmla="*/ 0 w 26"/>
                  <a:gd name="T19" fmla="*/ 6 h 10"/>
                  <a:gd name="T20" fmla="*/ 0 w 26"/>
                  <a:gd name="T21" fmla="*/ 8 h 10"/>
                  <a:gd name="T22" fmla="*/ 4 w 26"/>
                  <a:gd name="T23" fmla="*/ 8 h 10"/>
                  <a:gd name="T24" fmla="*/ 6 w 26"/>
                  <a:gd name="T25" fmla="*/ 10 h 10"/>
                  <a:gd name="T26" fmla="*/ 6 w 26"/>
                  <a:gd name="T27" fmla="*/ 10 h 10"/>
                  <a:gd name="T28" fmla="*/ 8 w 26"/>
                  <a:gd name="T29" fmla="*/ 10 h 10"/>
                  <a:gd name="T30" fmla="*/ 8 w 26"/>
                  <a:gd name="T31" fmla="*/ 10 h 10"/>
                  <a:gd name="T32" fmla="*/ 12 w 26"/>
                  <a:gd name="T33" fmla="*/ 8 h 10"/>
                  <a:gd name="T34" fmla="*/ 18 w 26"/>
                  <a:gd name="T35" fmla="*/ 8 h 10"/>
                  <a:gd name="T36" fmla="*/ 20 w 26"/>
                  <a:gd name="T37" fmla="*/ 6 h 10"/>
                  <a:gd name="T38" fmla="*/ 20 w 26"/>
                  <a:gd name="T39" fmla="*/ 6 h 10"/>
                  <a:gd name="T40" fmla="*/ 24 w 26"/>
                  <a:gd name="T41" fmla="*/ 6 h 10"/>
                  <a:gd name="T42" fmla="*/ 26 w 26"/>
                  <a:gd name="T43" fmla="*/ 6 h 10"/>
                  <a:gd name="T44" fmla="*/ 26 w 26"/>
                  <a:gd name="T45" fmla="*/ 4 h 10"/>
                  <a:gd name="T46" fmla="*/ 26 w 26"/>
                  <a:gd name="T47" fmla="*/ 4 h 10"/>
                  <a:gd name="T48" fmla="*/ 26 w 26"/>
                  <a:gd name="T49" fmla="*/ 4 h 10"/>
                  <a:gd name="T50" fmla="*/ 26 w 26"/>
                  <a:gd name="T51" fmla="*/ 4 h 10"/>
                  <a:gd name="T52" fmla="*/ 26 w 26"/>
                  <a:gd name="T53" fmla="*/ 2 h 10"/>
                  <a:gd name="T54" fmla="*/ 26 w 26"/>
                  <a:gd name="T55" fmla="*/ 2 h 10"/>
                  <a:gd name="T56" fmla="*/ 24 w 26"/>
                  <a:gd name="T57" fmla="*/ 2 h 10"/>
                  <a:gd name="T58" fmla="*/ 22 w 26"/>
                  <a:gd name="T59" fmla="*/ 0 h 10"/>
                  <a:gd name="T60" fmla="*/ 20 w 26"/>
                  <a:gd name="T61" fmla="*/ 0 h 10"/>
                  <a:gd name="T62" fmla="*/ 20 w 26"/>
                  <a:gd name="T63" fmla="*/ 0 h 10"/>
                  <a:gd name="T64" fmla="*/ 18 w 26"/>
                  <a:gd name="T65" fmla="*/ 0 h 10"/>
                  <a:gd name="T66" fmla="*/ 16 w 26"/>
                  <a:gd name="T67" fmla="*/ 0 h 10"/>
                  <a:gd name="T68" fmla="*/ 12 w 26"/>
                  <a:gd name="T69" fmla="*/ 2 h 10"/>
                  <a:gd name="T70" fmla="*/ 10 w 26"/>
                  <a:gd name="T71" fmla="*/ 2 h 10"/>
                  <a:gd name="T72" fmla="*/ 8 w 26"/>
                  <a:gd name="T73" fmla="*/ 4 h 10"/>
                  <a:gd name="T74" fmla="*/ 8 w 26"/>
                  <a:gd name="T75" fmla="*/ 4 h 10"/>
                  <a:gd name="T76" fmla="*/ 8 w 26"/>
                  <a:gd name="T77" fmla="*/ 4 h 10"/>
                  <a:gd name="T78" fmla="*/ 8 w 26"/>
                  <a:gd name="T79" fmla="*/ 4 h 10"/>
                  <a:gd name="T80" fmla="*/ 8 w 26"/>
                  <a:gd name="T81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6" h="10">
                    <a:moveTo>
                      <a:pt x="8" y="4"/>
                    </a:moveTo>
                    <a:lnTo>
                      <a:pt x="8" y="4"/>
                    </a:lnTo>
                    <a:lnTo>
                      <a:pt x="6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2" y="8"/>
                    </a:lnTo>
                    <a:lnTo>
                      <a:pt x="18" y="8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4" y="6"/>
                    </a:lnTo>
                    <a:lnTo>
                      <a:pt x="26" y="6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4" y="2"/>
                    </a:lnTo>
                    <a:lnTo>
                      <a:pt x="22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06" name="Freeform 590"/>
              <p:cNvSpPr>
                <a:spLocks/>
              </p:cNvSpPr>
              <p:nvPr/>
            </p:nvSpPr>
            <p:spPr bwMode="auto">
              <a:xfrm>
                <a:off x="3551" y="2614"/>
                <a:ext cx="26" cy="10"/>
              </a:xfrm>
              <a:custGeom>
                <a:avLst/>
                <a:gdLst>
                  <a:gd name="T0" fmla="*/ 8 w 26"/>
                  <a:gd name="T1" fmla="*/ 4 h 10"/>
                  <a:gd name="T2" fmla="*/ 8 w 26"/>
                  <a:gd name="T3" fmla="*/ 4 h 10"/>
                  <a:gd name="T4" fmla="*/ 6 w 26"/>
                  <a:gd name="T5" fmla="*/ 4 h 10"/>
                  <a:gd name="T6" fmla="*/ 4 w 26"/>
                  <a:gd name="T7" fmla="*/ 4 h 10"/>
                  <a:gd name="T8" fmla="*/ 4 w 26"/>
                  <a:gd name="T9" fmla="*/ 4 h 10"/>
                  <a:gd name="T10" fmla="*/ 2 w 26"/>
                  <a:gd name="T11" fmla="*/ 4 h 10"/>
                  <a:gd name="T12" fmla="*/ 2 w 26"/>
                  <a:gd name="T13" fmla="*/ 4 h 10"/>
                  <a:gd name="T14" fmla="*/ 0 w 26"/>
                  <a:gd name="T15" fmla="*/ 4 h 10"/>
                  <a:gd name="T16" fmla="*/ 0 w 26"/>
                  <a:gd name="T17" fmla="*/ 6 h 10"/>
                  <a:gd name="T18" fmla="*/ 0 w 26"/>
                  <a:gd name="T19" fmla="*/ 6 h 10"/>
                  <a:gd name="T20" fmla="*/ 0 w 26"/>
                  <a:gd name="T21" fmla="*/ 8 h 10"/>
                  <a:gd name="T22" fmla="*/ 4 w 26"/>
                  <a:gd name="T23" fmla="*/ 8 h 10"/>
                  <a:gd name="T24" fmla="*/ 6 w 26"/>
                  <a:gd name="T25" fmla="*/ 10 h 10"/>
                  <a:gd name="T26" fmla="*/ 6 w 26"/>
                  <a:gd name="T27" fmla="*/ 10 h 10"/>
                  <a:gd name="T28" fmla="*/ 8 w 26"/>
                  <a:gd name="T29" fmla="*/ 10 h 10"/>
                  <a:gd name="T30" fmla="*/ 8 w 26"/>
                  <a:gd name="T31" fmla="*/ 10 h 10"/>
                  <a:gd name="T32" fmla="*/ 12 w 26"/>
                  <a:gd name="T33" fmla="*/ 8 h 10"/>
                  <a:gd name="T34" fmla="*/ 18 w 26"/>
                  <a:gd name="T35" fmla="*/ 8 h 10"/>
                  <a:gd name="T36" fmla="*/ 20 w 26"/>
                  <a:gd name="T37" fmla="*/ 6 h 10"/>
                  <a:gd name="T38" fmla="*/ 20 w 26"/>
                  <a:gd name="T39" fmla="*/ 6 h 10"/>
                  <a:gd name="T40" fmla="*/ 24 w 26"/>
                  <a:gd name="T41" fmla="*/ 6 h 10"/>
                  <a:gd name="T42" fmla="*/ 26 w 26"/>
                  <a:gd name="T43" fmla="*/ 6 h 10"/>
                  <a:gd name="T44" fmla="*/ 26 w 26"/>
                  <a:gd name="T45" fmla="*/ 4 h 10"/>
                  <a:gd name="T46" fmla="*/ 26 w 26"/>
                  <a:gd name="T47" fmla="*/ 4 h 10"/>
                  <a:gd name="T48" fmla="*/ 26 w 26"/>
                  <a:gd name="T49" fmla="*/ 4 h 10"/>
                  <a:gd name="T50" fmla="*/ 26 w 26"/>
                  <a:gd name="T51" fmla="*/ 4 h 10"/>
                  <a:gd name="T52" fmla="*/ 26 w 26"/>
                  <a:gd name="T53" fmla="*/ 2 h 10"/>
                  <a:gd name="T54" fmla="*/ 26 w 26"/>
                  <a:gd name="T55" fmla="*/ 2 h 10"/>
                  <a:gd name="T56" fmla="*/ 24 w 26"/>
                  <a:gd name="T57" fmla="*/ 2 h 10"/>
                  <a:gd name="T58" fmla="*/ 22 w 26"/>
                  <a:gd name="T59" fmla="*/ 0 h 10"/>
                  <a:gd name="T60" fmla="*/ 20 w 26"/>
                  <a:gd name="T61" fmla="*/ 0 h 10"/>
                  <a:gd name="T62" fmla="*/ 20 w 26"/>
                  <a:gd name="T63" fmla="*/ 0 h 10"/>
                  <a:gd name="T64" fmla="*/ 18 w 26"/>
                  <a:gd name="T65" fmla="*/ 0 h 10"/>
                  <a:gd name="T66" fmla="*/ 16 w 26"/>
                  <a:gd name="T67" fmla="*/ 0 h 10"/>
                  <a:gd name="T68" fmla="*/ 12 w 26"/>
                  <a:gd name="T69" fmla="*/ 2 h 10"/>
                  <a:gd name="T70" fmla="*/ 10 w 26"/>
                  <a:gd name="T71" fmla="*/ 2 h 10"/>
                  <a:gd name="T72" fmla="*/ 8 w 26"/>
                  <a:gd name="T73" fmla="*/ 4 h 10"/>
                  <a:gd name="T74" fmla="*/ 8 w 26"/>
                  <a:gd name="T75" fmla="*/ 4 h 10"/>
                  <a:gd name="T76" fmla="*/ 8 w 26"/>
                  <a:gd name="T77" fmla="*/ 4 h 10"/>
                  <a:gd name="T78" fmla="*/ 8 w 26"/>
                  <a:gd name="T79" fmla="*/ 4 h 10"/>
                  <a:gd name="T80" fmla="*/ 8 w 26"/>
                  <a:gd name="T81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6" h="10">
                    <a:moveTo>
                      <a:pt x="8" y="4"/>
                    </a:moveTo>
                    <a:lnTo>
                      <a:pt x="8" y="4"/>
                    </a:lnTo>
                    <a:lnTo>
                      <a:pt x="6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2" y="8"/>
                    </a:lnTo>
                    <a:lnTo>
                      <a:pt x="18" y="8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4" y="6"/>
                    </a:lnTo>
                    <a:lnTo>
                      <a:pt x="26" y="6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4" y="2"/>
                    </a:lnTo>
                    <a:lnTo>
                      <a:pt x="22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07" name="Freeform 591"/>
              <p:cNvSpPr>
                <a:spLocks/>
              </p:cNvSpPr>
              <p:nvPr/>
            </p:nvSpPr>
            <p:spPr bwMode="auto">
              <a:xfrm>
                <a:off x="3583" y="2372"/>
                <a:ext cx="10" cy="14"/>
              </a:xfrm>
              <a:custGeom>
                <a:avLst/>
                <a:gdLst>
                  <a:gd name="T0" fmla="*/ 10 w 10"/>
                  <a:gd name="T1" fmla="*/ 14 h 14"/>
                  <a:gd name="T2" fmla="*/ 10 w 10"/>
                  <a:gd name="T3" fmla="*/ 14 h 14"/>
                  <a:gd name="T4" fmla="*/ 10 w 10"/>
                  <a:gd name="T5" fmla="*/ 6 h 14"/>
                  <a:gd name="T6" fmla="*/ 10 w 10"/>
                  <a:gd name="T7" fmla="*/ 6 h 14"/>
                  <a:gd name="T8" fmla="*/ 10 w 10"/>
                  <a:gd name="T9" fmla="*/ 4 h 14"/>
                  <a:gd name="T10" fmla="*/ 8 w 10"/>
                  <a:gd name="T11" fmla="*/ 2 h 14"/>
                  <a:gd name="T12" fmla="*/ 8 w 10"/>
                  <a:gd name="T13" fmla="*/ 0 h 14"/>
                  <a:gd name="T14" fmla="*/ 6 w 10"/>
                  <a:gd name="T15" fmla="*/ 0 h 14"/>
                  <a:gd name="T16" fmla="*/ 6 w 10"/>
                  <a:gd name="T17" fmla="*/ 0 h 14"/>
                  <a:gd name="T18" fmla="*/ 4 w 10"/>
                  <a:gd name="T19" fmla="*/ 2 h 14"/>
                  <a:gd name="T20" fmla="*/ 4 w 10"/>
                  <a:gd name="T21" fmla="*/ 2 h 14"/>
                  <a:gd name="T22" fmla="*/ 4 w 10"/>
                  <a:gd name="T23" fmla="*/ 4 h 14"/>
                  <a:gd name="T24" fmla="*/ 2 w 10"/>
                  <a:gd name="T25" fmla="*/ 6 h 14"/>
                  <a:gd name="T26" fmla="*/ 2 w 10"/>
                  <a:gd name="T27" fmla="*/ 10 h 14"/>
                  <a:gd name="T28" fmla="*/ 0 w 10"/>
                  <a:gd name="T29" fmla="*/ 12 h 14"/>
                  <a:gd name="T30" fmla="*/ 0 w 10"/>
                  <a:gd name="T31" fmla="*/ 12 h 14"/>
                  <a:gd name="T32" fmla="*/ 0 w 10"/>
                  <a:gd name="T33" fmla="*/ 12 h 14"/>
                  <a:gd name="T34" fmla="*/ 0 w 10"/>
                  <a:gd name="T35" fmla="*/ 12 h 14"/>
                  <a:gd name="T36" fmla="*/ 2 w 10"/>
                  <a:gd name="T37" fmla="*/ 14 h 14"/>
                  <a:gd name="T38" fmla="*/ 4 w 10"/>
                  <a:gd name="T39" fmla="*/ 14 h 14"/>
                  <a:gd name="T40" fmla="*/ 4 w 10"/>
                  <a:gd name="T41" fmla="*/ 14 h 14"/>
                  <a:gd name="T42" fmla="*/ 4 w 10"/>
                  <a:gd name="T43" fmla="*/ 14 h 14"/>
                  <a:gd name="T44" fmla="*/ 6 w 10"/>
                  <a:gd name="T45" fmla="*/ 14 h 14"/>
                  <a:gd name="T46" fmla="*/ 10 w 10"/>
                  <a:gd name="T47" fmla="*/ 14 h 14"/>
                  <a:gd name="T48" fmla="*/ 10 w 10"/>
                  <a:gd name="T49" fmla="*/ 14 h 14"/>
                  <a:gd name="T50" fmla="*/ 10 w 10"/>
                  <a:gd name="T51" fmla="*/ 14 h 14"/>
                  <a:gd name="T52" fmla="*/ 10 w 10"/>
                  <a:gd name="T53" fmla="*/ 14 h 14"/>
                  <a:gd name="T54" fmla="*/ 10 w 10"/>
                  <a:gd name="T55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0" h="14">
                    <a:moveTo>
                      <a:pt x="10" y="14"/>
                    </a:moveTo>
                    <a:lnTo>
                      <a:pt x="10" y="14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8" y="2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2" y="10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08" name="Freeform 593"/>
              <p:cNvSpPr>
                <a:spLocks/>
              </p:cNvSpPr>
              <p:nvPr/>
            </p:nvSpPr>
            <p:spPr bwMode="auto">
              <a:xfrm>
                <a:off x="3539" y="2398"/>
                <a:ext cx="116" cy="154"/>
              </a:xfrm>
              <a:custGeom>
                <a:avLst/>
                <a:gdLst>
                  <a:gd name="T0" fmla="*/ 114 w 116"/>
                  <a:gd name="T1" fmla="*/ 44 h 154"/>
                  <a:gd name="T2" fmla="*/ 108 w 116"/>
                  <a:gd name="T3" fmla="*/ 40 h 154"/>
                  <a:gd name="T4" fmla="*/ 102 w 116"/>
                  <a:gd name="T5" fmla="*/ 34 h 154"/>
                  <a:gd name="T6" fmla="*/ 96 w 116"/>
                  <a:gd name="T7" fmla="*/ 26 h 154"/>
                  <a:gd name="T8" fmla="*/ 86 w 116"/>
                  <a:gd name="T9" fmla="*/ 22 h 154"/>
                  <a:gd name="T10" fmla="*/ 70 w 116"/>
                  <a:gd name="T11" fmla="*/ 18 h 154"/>
                  <a:gd name="T12" fmla="*/ 62 w 116"/>
                  <a:gd name="T13" fmla="*/ 14 h 154"/>
                  <a:gd name="T14" fmla="*/ 58 w 116"/>
                  <a:gd name="T15" fmla="*/ 6 h 154"/>
                  <a:gd name="T16" fmla="*/ 52 w 116"/>
                  <a:gd name="T17" fmla="*/ 0 h 154"/>
                  <a:gd name="T18" fmla="*/ 46 w 116"/>
                  <a:gd name="T19" fmla="*/ 4 h 154"/>
                  <a:gd name="T20" fmla="*/ 44 w 116"/>
                  <a:gd name="T21" fmla="*/ 8 h 154"/>
                  <a:gd name="T22" fmla="*/ 48 w 116"/>
                  <a:gd name="T23" fmla="*/ 18 h 154"/>
                  <a:gd name="T24" fmla="*/ 44 w 116"/>
                  <a:gd name="T25" fmla="*/ 24 h 154"/>
                  <a:gd name="T26" fmla="*/ 44 w 116"/>
                  <a:gd name="T27" fmla="*/ 30 h 154"/>
                  <a:gd name="T28" fmla="*/ 42 w 116"/>
                  <a:gd name="T29" fmla="*/ 36 h 154"/>
                  <a:gd name="T30" fmla="*/ 42 w 116"/>
                  <a:gd name="T31" fmla="*/ 46 h 154"/>
                  <a:gd name="T32" fmla="*/ 44 w 116"/>
                  <a:gd name="T33" fmla="*/ 48 h 154"/>
                  <a:gd name="T34" fmla="*/ 50 w 116"/>
                  <a:gd name="T35" fmla="*/ 56 h 154"/>
                  <a:gd name="T36" fmla="*/ 52 w 116"/>
                  <a:gd name="T37" fmla="*/ 62 h 154"/>
                  <a:gd name="T38" fmla="*/ 52 w 116"/>
                  <a:gd name="T39" fmla="*/ 78 h 154"/>
                  <a:gd name="T40" fmla="*/ 48 w 116"/>
                  <a:gd name="T41" fmla="*/ 86 h 154"/>
                  <a:gd name="T42" fmla="*/ 40 w 116"/>
                  <a:gd name="T43" fmla="*/ 92 h 154"/>
                  <a:gd name="T44" fmla="*/ 12 w 116"/>
                  <a:gd name="T45" fmla="*/ 104 h 154"/>
                  <a:gd name="T46" fmla="*/ 2 w 116"/>
                  <a:gd name="T47" fmla="*/ 114 h 154"/>
                  <a:gd name="T48" fmla="*/ 10 w 116"/>
                  <a:gd name="T49" fmla="*/ 130 h 154"/>
                  <a:gd name="T50" fmla="*/ 12 w 116"/>
                  <a:gd name="T51" fmla="*/ 138 h 154"/>
                  <a:gd name="T52" fmla="*/ 12 w 116"/>
                  <a:gd name="T53" fmla="*/ 140 h 154"/>
                  <a:gd name="T54" fmla="*/ 20 w 116"/>
                  <a:gd name="T55" fmla="*/ 148 h 154"/>
                  <a:gd name="T56" fmla="*/ 32 w 116"/>
                  <a:gd name="T57" fmla="*/ 150 h 154"/>
                  <a:gd name="T58" fmla="*/ 42 w 116"/>
                  <a:gd name="T59" fmla="*/ 146 h 154"/>
                  <a:gd name="T60" fmla="*/ 54 w 116"/>
                  <a:gd name="T61" fmla="*/ 144 h 154"/>
                  <a:gd name="T62" fmla="*/ 56 w 116"/>
                  <a:gd name="T63" fmla="*/ 140 h 154"/>
                  <a:gd name="T64" fmla="*/ 58 w 116"/>
                  <a:gd name="T65" fmla="*/ 132 h 154"/>
                  <a:gd name="T66" fmla="*/ 62 w 116"/>
                  <a:gd name="T67" fmla="*/ 130 h 154"/>
                  <a:gd name="T68" fmla="*/ 70 w 116"/>
                  <a:gd name="T69" fmla="*/ 128 h 154"/>
                  <a:gd name="T70" fmla="*/ 74 w 116"/>
                  <a:gd name="T71" fmla="*/ 120 h 154"/>
                  <a:gd name="T72" fmla="*/ 76 w 116"/>
                  <a:gd name="T73" fmla="*/ 116 h 154"/>
                  <a:gd name="T74" fmla="*/ 80 w 116"/>
                  <a:gd name="T75" fmla="*/ 112 h 154"/>
                  <a:gd name="T76" fmla="*/ 88 w 116"/>
                  <a:gd name="T77" fmla="*/ 106 h 154"/>
                  <a:gd name="T78" fmla="*/ 92 w 116"/>
                  <a:gd name="T79" fmla="*/ 100 h 154"/>
                  <a:gd name="T80" fmla="*/ 94 w 116"/>
                  <a:gd name="T81" fmla="*/ 90 h 154"/>
                  <a:gd name="T82" fmla="*/ 96 w 116"/>
                  <a:gd name="T83" fmla="*/ 88 h 154"/>
                  <a:gd name="T84" fmla="*/ 102 w 116"/>
                  <a:gd name="T85" fmla="*/ 86 h 154"/>
                  <a:gd name="T86" fmla="*/ 104 w 116"/>
                  <a:gd name="T87" fmla="*/ 80 h 154"/>
                  <a:gd name="T88" fmla="*/ 106 w 116"/>
                  <a:gd name="T89" fmla="*/ 74 h 154"/>
                  <a:gd name="T90" fmla="*/ 112 w 116"/>
                  <a:gd name="T91" fmla="*/ 68 h 154"/>
                  <a:gd name="T92" fmla="*/ 116 w 116"/>
                  <a:gd name="T93" fmla="*/ 62 h 154"/>
                  <a:gd name="T94" fmla="*/ 116 w 116"/>
                  <a:gd name="T95" fmla="*/ 54 h 154"/>
                  <a:gd name="T96" fmla="*/ 116 w 116"/>
                  <a:gd name="T97" fmla="*/ 46 h 154"/>
                  <a:gd name="T98" fmla="*/ 116 w 116"/>
                  <a:gd name="T99" fmla="*/ 46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16" h="154">
                    <a:moveTo>
                      <a:pt x="116" y="46"/>
                    </a:moveTo>
                    <a:lnTo>
                      <a:pt x="116" y="46"/>
                    </a:lnTo>
                    <a:lnTo>
                      <a:pt x="116" y="46"/>
                    </a:lnTo>
                    <a:lnTo>
                      <a:pt x="114" y="44"/>
                    </a:lnTo>
                    <a:lnTo>
                      <a:pt x="112" y="44"/>
                    </a:lnTo>
                    <a:lnTo>
                      <a:pt x="110" y="42"/>
                    </a:lnTo>
                    <a:lnTo>
                      <a:pt x="110" y="42"/>
                    </a:lnTo>
                    <a:lnTo>
                      <a:pt x="108" y="40"/>
                    </a:lnTo>
                    <a:lnTo>
                      <a:pt x="106" y="38"/>
                    </a:lnTo>
                    <a:lnTo>
                      <a:pt x="104" y="36"/>
                    </a:lnTo>
                    <a:lnTo>
                      <a:pt x="102" y="34"/>
                    </a:lnTo>
                    <a:lnTo>
                      <a:pt x="102" y="34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98" y="28"/>
                    </a:lnTo>
                    <a:lnTo>
                      <a:pt x="96" y="26"/>
                    </a:lnTo>
                    <a:lnTo>
                      <a:pt x="96" y="26"/>
                    </a:lnTo>
                    <a:lnTo>
                      <a:pt x="94" y="24"/>
                    </a:lnTo>
                    <a:lnTo>
                      <a:pt x="90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0" y="20"/>
                    </a:lnTo>
                    <a:lnTo>
                      <a:pt x="76" y="20"/>
                    </a:lnTo>
                    <a:lnTo>
                      <a:pt x="70" y="18"/>
                    </a:lnTo>
                    <a:lnTo>
                      <a:pt x="68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2" y="14"/>
                    </a:lnTo>
                    <a:lnTo>
                      <a:pt x="60" y="12"/>
                    </a:lnTo>
                    <a:lnTo>
                      <a:pt x="60" y="10"/>
                    </a:lnTo>
                    <a:lnTo>
                      <a:pt x="58" y="6"/>
                    </a:lnTo>
                    <a:lnTo>
                      <a:pt x="58" y="6"/>
                    </a:lnTo>
                    <a:lnTo>
                      <a:pt x="56" y="4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2" y="0"/>
                    </a:lnTo>
                    <a:lnTo>
                      <a:pt x="50" y="2"/>
                    </a:lnTo>
                    <a:lnTo>
                      <a:pt x="48" y="2"/>
                    </a:lnTo>
                    <a:lnTo>
                      <a:pt x="46" y="2"/>
                    </a:lnTo>
                    <a:lnTo>
                      <a:pt x="46" y="4"/>
                    </a:lnTo>
                    <a:lnTo>
                      <a:pt x="44" y="6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10"/>
                    </a:lnTo>
                    <a:lnTo>
                      <a:pt x="46" y="14"/>
                    </a:lnTo>
                    <a:lnTo>
                      <a:pt x="46" y="16"/>
                    </a:lnTo>
                    <a:lnTo>
                      <a:pt x="48" y="18"/>
                    </a:lnTo>
                    <a:lnTo>
                      <a:pt x="48" y="20"/>
                    </a:lnTo>
                    <a:lnTo>
                      <a:pt x="46" y="20"/>
                    </a:lnTo>
                    <a:lnTo>
                      <a:pt x="46" y="20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30"/>
                    </a:lnTo>
                    <a:lnTo>
                      <a:pt x="42" y="30"/>
                    </a:lnTo>
                    <a:lnTo>
                      <a:pt x="42" y="34"/>
                    </a:lnTo>
                    <a:lnTo>
                      <a:pt x="42" y="34"/>
                    </a:lnTo>
                    <a:lnTo>
                      <a:pt x="42" y="36"/>
                    </a:lnTo>
                    <a:lnTo>
                      <a:pt x="42" y="38"/>
                    </a:lnTo>
                    <a:lnTo>
                      <a:pt x="42" y="42"/>
                    </a:lnTo>
                    <a:lnTo>
                      <a:pt x="42" y="44"/>
                    </a:lnTo>
                    <a:lnTo>
                      <a:pt x="42" y="46"/>
                    </a:lnTo>
                    <a:lnTo>
                      <a:pt x="42" y="46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6" y="50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50" y="56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52" y="62"/>
                    </a:lnTo>
                    <a:lnTo>
                      <a:pt x="52" y="66"/>
                    </a:lnTo>
                    <a:lnTo>
                      <a:pt x="52" y="74"/>
                    </a:lnTo>
                    <a:lnTo>
                      <a:pt x="52" y="74"/>
                    </a:lnTo>
                    <a:lnTo>
                      <a:pt x="52" y="78"/>
                    </a:lnTo>
                    <a:lnTo>
                      <a:pt x="50" y="82"/>
                    </a:lnTo>
                    <a:lnTo>
                      <a:pt x="50" y="84"/>
                    </a:lnTo>
                    <a:lnTo>
                      <a:pt x="50" y="84"/>
                    </a:lnTo>
                    <a:lnTo>
                      <a:pt x="48" y="86"/>
                    </a:lnTo>
                    <a:lnTo>
                      <a:pt x="48" y="88"/>
                    </a:lnTo>
                    <a:lnTo>
                      <a:pt x="48" y="88"/>
                    </a:lnTo>
                    <a:lnTo>
                      <a:pt x="44" y="90"/>
                    </a:lnTo>
                    <a:lnTo>
                      <a:pt x="40" y="92"/>
                    </a:lnTo>
                    <a:lnTo>
                      <a:pt x="32" y="96"/>
                    </a:lnTo>
                    <a:lnTo>
                      <a:pt x="32" y="96"/>
                    </a:lnTo>
                    <a:lnTo>
                      <a:pt x="22" y="100"/>
                    </a:lnTo>
                    <a:lnTo>
                      <a:pt x="12" y="104"/>
                    </a:lnTo>
                    <a:lnTo>
                      <a:pt x="12" y="104"/>
                    </a:lnTo>
                    <a:lnTo>
                      <a:pt x="0" y="110"/>
                    </a:lnTo>
                    <a:lnTo>
                      <a:pt x="0" y="110"/>
                    </a:lnTo>
                    <a:lnTo>
                      <a:pt x="2" y="114"/>
                    </a:lnTo>
                    <a:lnTo>
                      <a:pt x="2" y="116"/>
                    </a:lnTo>
                    <a:lnTo>
                      <a:pt x="6" y="122"/>
                    </a:lnTo>
                    <a:lnTo>
                      <a:pt x="10" y="128"/>
                    </a:lnTo>
                    <a:lnTo>
                      <a:pt x="10" y="130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6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40"/>
                    </a:lnTo>
                    <a:lnTo>
                      <a:pt x="12" y="140"/>
                    </a:lnTo>
                    <a:lnTo>
                      <a:pt x="12" y="140"/>
                    </a:lnTo>
                    <a:lnTo>
                      <a:pt x="14" y="142"/>
                    </a:lnTo>
                    <a:lnTo>
                      <a:pt x="16" y="144"/>
                    </a:lnTo>
                    <a:lnTo>
                      <a:pt x="16" y="144"/>
                    </a:lnTo>
                    <a:lnTo>
                      <a:pt x="20" y="148"/>
                    </a:lnTo>
                    <a:lnTo>
                      <a:pt x="24" y="154"/>
                    </a:lnTo>
                    <a:lnTo>
                      <a:pt x="24" y="152"/>
                    </a:lnTo>
                    <a:lnTo>
                      <a:pt x="24" y="152"/>
                    </a:lnTo>
                    <a:lnTo>
                      <a:pt x="32" y="150"/>
                    </a:lnTo>
                    <a:lnTo>
                      <a:pt x="34" y="148"/>
                    </a:lnTo>
                    <a:lnTo>
                      <a:pt x="38" y="148"/>
                    </a:lnTo>
                    <a:lnTo>
                      <a:pt x="38" y="148"/>
                    </a:lnTo>
                    <a:lnTo>
                      <a:pt x="42" y="146"/>
                    </a:lnTo>
                    <a:lnTo>
                      <a:pt x="48" y="144"/>
                    </a:lnTo>
                    <a:lnTo>
                      <a:pt x="48" y="144"/>
                    </a:lnTo>
                    <a:lnTo>
                      <a:pt x="52" y="144"/>
                    </a:lnTo>
                    <a:lnTo>
                      <a:pt x="54" y="144"/>
                    </a:lnTo>
                    <a:lnTo>
                      <a:pt x="54" y="144"/>
                    </a:lnTo>
                    <a:lnTo>
                      <a:pt x="56" y="142"/>
                    </a:lnTo>
                    <a:lnTo>
                      <a:pt x="56" y="142"/>
                    </a:lnTo>
                    <a:lnTo>
                      <a:pt x="56" y="140"/>
                    </a:lnTo>
                    <a:lnTo>
                      <a:pt x="56" y="140"/>
                    </a:lnTo>
                    <a:lnTo>
                      <a:pt x="56" y="138"/>
                    </a:lnTo>
                    <a:lnTo>
                      <a:pt x="56" y="134"/>
                    </a:lnTo>
                    <a:lnTo>
                      <a:pt x="58" y="132"/>
                    </a:lnTo>
                    <a:lnTo>
                      <a:pt x="58" y="132"/>
                    </a:lnTo>
                    <a:lnTo>
                      <a:pt x="60" y="130"/>
                    </a:lnTo>
                    <a:lnTo>
                      <a:pt x="60" y="130"/>
                    </a:lnTo>
                    <a:lnTo>
                      <a:pt x="62" y="130"/>
                    </a:lnTo>
                    <a:lnTo>
                      <a:pt x="64" y="130"/>
                    </a:lnTo>
                    <a:lnTo>
                      <a:pt x="68" y="128"/>
                    </a:lnTo>
                    <a:lnTo>
                      <a:pt x="70" y="128"/>
                    </a:lnTo>
                    <a:lnTo>
                      <a:pt x="70" y="128"/>
                    </a:lnTo>
                    <a:lnTo>
                      <a:pt x="72" y="126"/>
                    </a:lnTo>
                    <a:lnTo>
                      <a:pt x="74" y="124"/>
                    </a:lnTo>
                    <a:lnTo>
                      <a:pt x="74" y="122"/>
                    </a:lnTo>
                    <a:lnTo>
                      <a:pt x="74" y="120"/>
                    </a:lnTo>
                    <a:lnTo>
                      <a:pt x="74" y="120"/>
                    </a:lnTo>
                    <a:lnTo>
                      <a:pt x="74" y="116"/>
                    </a:lnTo>
                    <a:lnTo>
                      <a:pt x="74" y="116"/>
                    </a:lnTo>
                    <a:lnTo>
                      <a:pt x="76" y="116"/>
                    </a:lnTo>
                    <a:lnTo>
                      <a:pt x="76" y="114"/>
                    </a:lnTo>
                    <a:lnTo>
                      <a:pt x="80" y="114"/>
                    </a:lnTo>
                    <a:lnTo>
                      <a:pt x="80" y="114"/>
                    </a:lnTo>
                    <a:lnTo>
                      <a:pt x="80" y="112"/>
                    </a:lnTo>
                    <a:lnTo>
                      <a:pt x="82" y="110"/>
                    </a:lnTo>
                    <a:lnTo>
                      <a:pt x="82" y="110"/>
                    </a:lnTo>
                    <a:lnTo>
                      <a:pt x="86" y="108"/>
                    </a:lnTo>
                    <a:lnTo>
                      <a:pt x="88" y="106"/>
                    </a:lnTo>
                    <a:lnTo>
                      <a:pt x="88" y="106"/>
                    </a:lnTo>
                    <a:lnTo>
                      <a:pt x="90" y="104"/>
                    </a:lnTo>
                    <a:lnTo>
                      <a:pt x="92" y="102"/>
                    </a:lnTo>
                    <a:lnTo>
                      <a:pt x="92" y="100"/>
                    </a:lnTo>
                    <a:lnTo>
                      <a:pt x="92" y="98"/>
                    </a:lnTo>
                    <a:lnTo>
                      <a:pt x="92" y="98"/>
                    </a:lnTo>
                    <a:lnTo>
                      <a:pt x="92" y="92"/>
                    </a:lnTo>
                    <a:lnTo>
                      <a:pt x="94" y="90"/>
                    </a:lnTo>
                    <a:lnTo>
                      <a:pt x="94" y="88"/>
                    </a:lnTo>
                    <a:lnTo>
                      <a:pt x="94" y="88"/>
                    </a:lnTo>
                    <a:lnTo>
                      <a:pt x="96" y="88"/>
                    </a:lnTo>
                    <a:lnTo>
                      <a:pt x="96" y="88"/>
                    </a:lnTo>
                    <a:lnTo>
                      <a:pt x="98" y="86"/>
                    </a:lnTo>
                    <a:lnTo>
                      <a:pt x="100" y="86"/>
                    </a:lnTo>
                    <a:lnTo>
                      <a:pt x="102" y="86"/>
                    </a:lnTo>
                    <a:lnTo>
                      <a:pt x="102" y="86"/>
                    </a:lnTo>
                    <a:lnTo>
                      <a:pt x="102" y="86"/>
                    </a:lnTo>
                    <a:lnTo>
                      <a:pt x="104" y="84"/>
                    </a:lnTo>
                    <a:lnTo>
                      <a:pt x="104" y="84"/>
                    </a:lnTo>
                    <a:lnTo>
                      <a:pt x="104" y="80"/>
                    </a:lnTo>
                    <a:lnTo>
                      <a:pt x="106" y="78"/>
                    </a:lnTo>
                    <a:lnTo>
                      <a:pt x="106" y="76"/>
                    </a:lnTo>
                    <a:lnTo>
                      <a:pt x="106" y="74"/>
                    </a:lnTo>
                    <a:lnTo>
                      <a:pt x="106" y="74"/>
                    </a:lnTo>
                    <a:lnTo>
                      <a:pt x="108" y="72"/>
                    </a:lnTo>
                    <a:lnTo>
                      <a:pt x="108" y="70"/>
                    </a:lnTo>
                    <a:lnTo>
                      <a:pt x="112" y="68"/>
                    </a:lnTo>
                    <a:lnTo>
                      <a:pt x="112" y="68"/>
                    </a:lnTo>
                    <a:lnTo>
                      <a:pt x="114" y="66"/>
                    </a:lnTo>
                    <a:lnTo>
                      <a:pt x="114" y="64"/>
                    </a:lnTo>
                    <a:lnTo>
                      <a:pt x="116" y="62"/>
                    </a:lnTo>
                    <a:lnTo>
                      <a:pt x="116" y="62"/>
                    </a:lnTo>
                    <a:lnTo>
                      <a:pt x="116" y="60"/>
                    </a:lnTo>
                    <a:lnTo>
                      <a:pt x="116" y="58"/>
                    </a:lnTo>
                    <a:lnTo>
                      <a:pt x="116" y="58"/>
                    </a:lnTo>
                    <a:lnTo>
                      <a:pt x="116" y="54"/>
                    </a:lnTo>
                    <a:lnTo>
                      <a:pt x="116" y="52"/>
                    </a:lnTo>
                    <a:lnTo>
                      <a:pt x="116" y="48"/>
                    </a:lnTo>
                    <a:lnTo>
                      <a:pt x="116" y="48"/>
                    </a:lnTo>
                    <a:lnTo>
                      <a:pt x="116" y="46"/>
                    </a:lnTo>
                    <a:lnTo>
                      <a:pt x="116" y="46"/>
                    </a:lnTo>
                    <a:lnTo>
                      <a:pt x="116" y="46"/>
                    </a:lnTo>
                    <a:lnTo>
                      <a:pt x="116" y="46"/>
                    </a:lnTo>
                    <a:lnTo>
                      <a:pt x="116" y="4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09" name="Freeform 595"/>
              <p:cNvSpPr>
                <a:spLocks/>
              </p:cNvSpPr>
              <p:nvPr/>
            </p:nvSpPr>
            <p:spPr bwMode="auto">
              <a:xfrm>
                <a:off x="3521" y="2384"/>
                <a:ext cx="72" cy="60"/>
              </a:xfrm>
              <a:custGeom>
                <a:avLst/>
                <a:gdLst>
                  <a:gd name="T0" fmla="*/ 60 w 72"/>
                  <a:gd name="T1" fmla="*/ 48 h 60"/>
                  <a:gd name="T2" fmla="*/ 62 w 72"/>
                  <a:gd name="T3" fmla="*/ 44 h 60"/>
                  <a:gd name="T4" fmla="*/ 62 w 72"/>
                  <a:gd name="T5" fmla="*/ 42 h 60"/>
                  <a:gd name="T6" fmla="*/ 62 w 72"/>
                  <a:gd name="T7" fmla="*/ 38 h 60"/>
                  <a:gd name="T8" fmla="*/ 64 w 72"/>
                  <a:gd name="T9" fmla="*/ 34 h 60"/>
                  <a:gd name="T10" fmla="*/ 66 w 72"/>
                  <a:gd name="T11" fmla="*/ 32 h 60"/>
                  <a:gd name="T12" fmla="*/ 64 w 72"/>
                  <a:gd name="T13" fmla="*/ 28 h 60"/>
                  <a:gd name="T14" fmla="*/ 62 w 72"/>
                  <a:gd name="T15" fmla="*/ 22 h 60"/>
                  <a:gd name="T16" fmla="*/ 62 w 72"/>
                  <a:gd name="T17" fmla="*/ 22 h 60"/>
                  <a:gd name="T18" fmla="*/ 64 w 72"/>
                  <a:gd name="T19" fmla="*/ 18 h 60"/>
                  <a:gd name="T20" fmla="*/ 66 w 72"/>
                  <a:gd name="T21" fmla="*/ 16 h 60"/>
                  <a:gd name="T22" fmla="*/ 70 w 72"/>
                  <a:gd name="T23" fmla="*/ 14 h 60"/>
                  <a:gd name="T24" fmla="*/ 72 w 72"/>
                  <a:gd name="T25" fmla="*/ 14 h 60"/>
                  <a:gd name="T26" fmla="*/ 72 w 72"/>
                  <a:gd name="T27" fmla="*/ 10 h 60"/>
                  <a:gd name="T28" fmla="*/ 72 w 72"/>
                  <a:gd name="T29" fmla="*/ 2 h 60"/>
                  <a:gd name="T30" fmla="*/ 68 w 72"/>
                  <a:gd name="T31" fmla="*/ 2 h 60"/>
                  <a:gd name="T32" fmla="*/ 66 w 72"/>
                  <a:gd name="T33" fmla="*/ 2 h 60"/>
                  <a:gd name="T34" fmla="*/ 64 w 72"/>
                  <a:gd name="T35" fmla="*/ 2 h 60"/>
                  <a:gd name="T36" fmla="*/ 62 w 72"/>
                  <a:gd name="T37" fmla="*/ 0 h 60"/>
                  <a:gd name="T38" fmla="*/ 62 w 72"/>
                  <a:gd name="T39" fmla="*/ 4 h 60"/>
                  <a:gd name="T40" fmla="*/ 60 w 72"/>
                  <a:gd name="T41" fmla="*/ 8 h 60"/>
                  <a:gd name="T42" fmla="*/ 58 w 72"/>
                  <a:gd name="T43" fmla="*/ 8 h 60"/>
                  <a:gd name="T44" fmla="*/ 56 w 72"/>
                  <a:gd name="T45" fmla="*/ 8 h 60"/>
                  <a:gd name="T46" fmla="*/ 54 w 72"/>
                  <a:gd name="T47" fmla="*/ 10 h 60"/>
                  <a:gd name="T48" fmla="*/ 52 w 72"/>
                  <a:gd name="T49" fmla="*/ 12 h 60"/>
                  <a:gd name="T50" fmla="*/ 48 w 72"/>
                  <a:gd name="T51" fmla="*/ 16 h 60"/>
                  <a:gd name="T52" fmla="*/ 46 w 72"/>
                  <a:gd name="T53" fmla="*/ 22 h 60"/>
                  <a:gd name="T54" fmla="*/ 42 w 72"/>
                  <a:gd name="T55" fmla="*/ 26 h 60"/>
                  <a:gd name="T56" fmla="*/ 40 w 72"/>
                  <a:gd name="T57" fmla="*/ 30 h 60"/>
                  <a:gd name="T58" fmla="*/ 38 w 72"/>
                  <a:gd name="T59" fmla="*/ 32 h 60"/>
                  <a:gd name="T60" fmla="*/ 36 w 72"/>
                  <a:gd name="T61" fmla="*/ 34 h 60"/>
                  <a:gd name="T62" fmla="*/ 32 w 72"/>
                  <a:gd name="T63" fmla="*/ 34 h 60"/>
                  <a:gd name="T64" fmla="*/ 28 w 72"/>
                  <a:gd name="T65" fmla="*/ 34 h 60"/>
                  <a:gd name="T66" fmla="*/ 26 w 72"/>
                  <a:gd name="T67" fmla="*/ 34 h 60"/>
                  <a:gd name="T68" fmla="*/ 20 w 72"/>
                  <a:gd name="T69" fmla="*/ 32 h 60"/>
                  <a:gd name="T70" fmla="*/ 16 w 72"/>
                  <a:gd name="T71" fmla="*/ 34 h 60"/>
                  <a:gd name="T72" fmla="*/ 12 w 72"/>
                  <a:gd name="T73" fmla="*/ 36 h 60"/>
                  <a:gd name="T74" fmla="*/ 8 w 72"/>
                  <a:gd name="T75" fmla="*/ 36 h 60"/>
                  <a:gd name="T76" fmla="*/ 6 w 72"/>
                  <a:gd name="T77" fmla="*/ 36 h 60"/>
                  <a:gd name="T78" fmla="*/ 2 w 72"/>
                  <a:gd name="T79" fmla="*/ 34 h 60"/>
                  <a:gd name="T80" fmla="*/ 0 w 72"/>
                  <a:gd name="T81" fmla="*/ 34 h 60"/>
                  <a:gd name="T82" fmla="*/ 0 w 72"/>
                  <a:gd name="T83" fmla="*/ 34 h 60"/>
                  <a:gd name="T84" fmla="*/ 0 w 72"/>
                  <a:gd name="T85" fmla="*/ 40 h 60"/>
                  <a:gd name="T86" fmla="*/ 2 w 72"/>
                  <a:gd name="T87" fmla="*/ 46 h 60"/>
                  <a:gd name="T88" fmla="*/ 2 w 72"/>
                  <a:gd name="T89" fmla="*/ 48 h 60"/>
                  <a:gd name="T90" fmla="*/ 4 w 72"/>
                  <a:gd name="T91" fmla="*/ 52 h 60"/>
                  <a:gd name="T92" fmla="*/ 4 w 72"/>
                  <a:gd name="T93" fmla="*/ 54 h 60"/>
                  <a:gd name="T94" fmla="*/ 6 w 72"/>
                  <a:gd name="T95" fmla="*/ 54 h 60"/>
                  <a:gd name="T96" fmla="*/ 12 w 72"/>
                  <a:gd name="T97" fmla="*/ 56 h 60"/>
                  <a:gd name="T98" fmla="*/ 16 w 72"/>
                  <a:gd name="T99" fmla="*/ 56 h 60"/>
                  <a:gd name="T100" fmla="*/ 28 w 72"/>
                  <a:gd name="T101" fmla="*/ 58 h 60"/>
                  <a:gd name="T102" fmla="*/ 34 w 72"/>
                  <a:gd name="T103" fmla="*/ 58 h 60"/>
                  <a:gd name="T104" fmla="*/ 46 w 72"/>
                  <a:gd name="T105" fmla="*/ 60 h 60"/>
                  <a:gd name="T106" fmla="*/ 50 w 72"/>
                  <a:gd name="T107" fmla="*/ 60 h 60"/>
                  <a:gd name="T108" fmla="*/ 58 w 72"/>
                  <a:gd name="T109" fmla="*/ 60 h 60"/>
                  <a:gd name="T110" fmla="*/ 60 w 72"/>
                  <a:gd name="T111" fmla="*/ 60 h 60"/>
                  <a:gd name="T112" fmla="*/ 60 w 72"/>
                  <a:gd name="T113" fmla="*/ 56 h 60"/>
                  <a:gd name="T114" fmla="*/ 60 w 72"/>
                  <a:gd name="T115" fmla="*/ 50 h 60"/>
                  <a:gd name="T116" fmla="*/ 60 w 72"/>
                  <a:gd name="T117" fmla="*/ 48 h 60"/>
                  <a:gd name="T118" fmla="*/ 60 w 72"/>
                  <a:gd name="T119" fmla="*/ 48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2" h="60">
                    <a:moveTo>
                      <a:pt x="60" y="48"/>
                    </a:moveTo>
                    <a:lnTo>
                      <a:pt x="60" y="48"/>
                    </a:lnTo>
                    <a:lnTo>
                      <a:pt x="60" y="44"/>
                    </a:lnTo>
                    <a:lnTo>
                      <a:pt x="62" y="44"/>
                    </a:lnTo>
                    <a:lnTo>
                      <a:pt x="62" y="42"/>
                    </a:lnTo>
                    <a:lnTo>
                      <a:pt x="62" y="42"/>
                    </a:lnTo>
                    <a:lnTo>
                      <a:pt x="62" y="38"/>
                    </a:lnTo>
                    <a:lnTo>
                      <a:pt x="62" y="38"/>
                    </a:lnTo>
                    <a:lnTo>
                      <a:pt x="64" y="34"/>
                    </a:lnTo>
                    <a:lnTo>
                      <a:pt x="64" y="34"/>
                    </a:lnTo>
                    <a:lnTo>
                      <a:pt x="66" y="34"/>
                    </a:lnTo>
                    <a:lnTo>
                      <a:pt x="66" y="32"/>
                    </a:lnTo>
                    <a:lnTo>
                      <a:pt x="64" y="30"/>
                    </a:lnTo>
                    <a:lnTo>
                      <a:pt x="64" y="28"/>
                    </a:lnTo>
                    <a:lnTo>
                      <a:pt x="62" y="24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0"/>
                    </a:lnTo>
                    <a:lnTo>
                      <a:pt x="64" y="18"/>
                    </a:lnTo>
                    <a:lnTo>
                      <a:pt x="64" y="16"/>
                    </a:lnTo>
                    <a:lnTo>
                      <a:pt x="66" y="16"/>
                    </a:lnTo>
                    <a:lnTo>
                      <a:pt x="68" y="16"/>
                    </a:lnTo>
                    <a:lnTo>
                      <a:pt x="70" y="14"/>
                    </a:lnTo>
                    <a:lnTo>
                      <a:pt x="72" y="14"/>
                    </a:lnTo>
                    <a:lnTo>
                      <a:pt x="72" y="14"/>
                    </a:lnTo>
                    <a:lnTo>
                      <a:pt x="72" y="12"/>
                    </a:lnTo>
                    <a:lnTo>
                      <a:pt x="72" y="10"/>
                    </a:lnTo>
                    <a:lnTo>
                      <a:pt x="72" y="10"/>
                    </a:lnTo>
                    <a:lnTo>
                      <a:pt x="72" y="2"/>
                    </a:lnTo>
                    <a:lnTo>
                      <a:pt x="72" y="2"/>
                    </a:lnTo>
                    <a:lnTo>
                      <a:pt x="68" y="2"/>
                    </a:lnTo>
                    <a:lnTo>
                      <a:pt x="66" y="2"/>
                    </a:lnTo>
                    <a:lnTo>
                      <a:pt x="66" y="2"/>
                    </a:lnTo>
                    <a:lnTo>
                      <a:pt x="66" y="2"/>
                    </a:lnTo>
                    <a:lnTo>
                      <a:pt x="64" y="2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2"/>
                    </a:lnTo>
                    <a:lnTo>
                      <a:pt x="62" y="4"/>
                    </a:lnTo>
                    <a:lnTo>
                      <a:pt x="60" y="6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58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4" y="10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0" y="14"/>
                    </a:lnTo>
                    <a:lnTo>
                      <a:pt x="48" y="16"/>
                    </a:lnTo>
                    <a:lnTo>
                      <a:pt x="46" y="20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2" y="26"/>
                    </a:lnTo>
                    <a:lnTo>
                      <a:pt x="40" y="28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38" y="32"/>
                    </a:lnTo>
                    <a:lnTo>
                      <a:pt x="38" y="34"/>
                    </a:lnTo>
                    <a:lnTo>
                      <a:pt x="36" y="34"/>
                    </a:lnTo>
                    <a:lnTo>
                      <a:pt x="34" y="34"/>
                    </a:lnTo>
                    <a:lnTo>
                      <a:pt x="32" y="34"/>
                    </a:lnTo>
                    <a:lnTo>
                      <a:pt x="30" y="34"/>
                    </a:lnTo>
                    <a:lnTo>
                      <a:pt x="28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2" y="32"/>
                    </a:lnTo>
                    <a:lnTo>
                      <a:pt x="20" y="32"/>
                    </a:lnTo>
                    <a:lnTo>
                      <a:pt x="18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2" y="36"/>
                    </a:lnTo>
                    <a:lnTo>
                      <a:pt x="10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6" y="36"/>
                    </a:lnTo>
                    <a:lnTo>
                      <a:pt x="4" y="36"/>
                    </a:lnTo>
                    <a:lnTo>
                      <a:pt x="2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6"/>
                    </a:lnTo>
                    <a:lnTo>
                      <a:pt x="0" y="40"/>
                    </a:lnTo>
                    <a:lnTo>
                      <a:pt x="0" y="42"/>
                    </a:lnTo>
                    <a:lnTo>
                      <a:pt x="2" y="46"/>
                    </a:lnTo>
                    <a:lnTo>
                      <a:pt x="2" y="46"/>
                    </a:lnTo>
                    <a:lnTo>
                      <a:pt x="2" y="48"/>
                    </a:lnTo>
                    <a:lnTo>
                      <a:pt x="4" y="50"/>
                    </a:lnTo>
                    <a:lnTo>
                      <a:pt x="4" y="52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6" y="54"/>
                    </a:lnTo>
                    <a:lnTo>
                      <a:pt x="6" y="54"/>
                    </a:lnTo>
                    <a:lnTo>
                      <a:pt x="8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6" y="56"/>
                    </a:lnTo>
                    <a:lnTo>
                      <a:pt x="20" y="58"/>
                    </a:lnTo>
                    <a:lnTo>
                      <a:pt x="28" y="58"/>
                    </a:lnTo>
                    <a:lnTo>
                      <a:pt x="28" y="58"/>
                    </a:lnTo>
                    <a:lnTo>
                      <a:pt x="34" y="58"/>
                    </a:lnTo>
                    <a:lnTo>
                      <a:pt x="36" y="58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50" y="60"/>
                    </a:lnTo>
                    <a:lnTo>
                      <a:pt x="54" y="60"/>
                    </a:lnTo>
                    <a:lnTo>
                      <a:pt x="58" y="60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60" y="58"/>
                    </a:lnTo>
                    <a:lnTo>
                      <a:pt x="60" y="56"/>
                    </a:lnTo>
                    <a:lnTo>
                      <a:pt x="60" y="52"/>
                    </a:lnTo>
                    <a:lnTo>
                      <a:pt x="60" y="50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10" name="Freeform 597"/>
              <p:cNvSpPr>
                <a:spLocks/>
              </p:cNvSpPr>
              <p:nvPr/>
            </p:nvSpPr>
            <p:spPr bwMode="auto">
              <a:xfrm>
                <a:off x="2509" y="2234"/>
                <a:ext cx="190" cy="144"/>
              </a:xfrm>
              <a:custGeom>
                <a:avLst/>
                <a:gdLst>
                  <a:gd name="T0" fmla="*/ 78 w 190"/>
                  <a:gd name="T1" fmla="*/ 130 h 144"/>
                  <a:gd name="T2" fmla="*/ 80 w 190"/>
                  <a:gd name="T3" fmla="*/ 120 h 144"/>
                  <a:gd name="T4" fmla="*/ 88 w 190"/>
                  <a:gd name="T5" fmla="*/ 116 h 144"/>
                  <a:gd name="T6" fmla="*/ 100 w 190"/>
                  <a:gd name="T7" fmla="*/ 112 h 144"/>
                  <a:gd name="T8" fmla="*/ 110 w 190"/>
                  <a:gd name="T9" fmla="*/ 110 h 144"/>
                  <a:gd name="T10" fmla="*/ 130 w 190"/>
                  <a:gd name="T11" fmla="*/ 106 h 144"/>
                  <a:gd name="T12" fmla="*/ 136 w 190"/>
                  <a:gd name="T13" fmla="*/ 100 h 144"/>
                  <a:gd name="T14" fmla="*/ 142 w 190"/>
                  <a:gd name="T15" fmla="*/ 90 h 144"/>
                  <a:gd name="T16" fmla="*/ 148 w 190"/>
                  <a:gd name="T17" fmla="*/ 90 h 144"/>
                  <a:gd name="T18" fmla="*/ 154 w 190"/>
                  <a:gd name="T19" fmla="*/ 86 h 144"/>
                  <a:gd name="T20" fmla="*/ 154 w 190"/>
                  <a:gd name="T21" fmla="*/ 82 h 144"/>
                  <a:gd name="T22" fmla="*/ 152 w 190"/>
                  <a:gd name="T23" fmla="*/ 80 h 144"/>
                  <a:gd name="T24" fmla="*/ 156 w 190"/>
                  <a:gd name="T25" fmla="*/ 72 h 144"/>
                  <a:gd name="T26" fmla="*/ 162 w 190"/>
                  <a:gd name="T27" fmla="*/ 66 h 144"/>
                  <a:gd name="T28" fmla="*/ 174 w 190"/>
                  <a:gd name="T29" fmla="*/ 66 h 144"/>
                  <a:gd name="T30" fmla="*/ 186 w 190"/>
                  <a:gd name="T31" fmla="*/ 66 h 144"/>
                  <a:gd name="T32" fmla="*/ 190 w 190"/>
                  <a:gd name="T33" fmla="*/ 64 h 144"/>
                  <a:gd name="T34" fmla="*/ 190 w 190"/>
                  <a:gd name="T35" fmla="*/ 56 h 144"/>
                  <a:gd name="T36" fmla="*/ 184 w 190"/>
                  <a:gd name="T37" fmla="*/ 44 h 144"/>
                  <a:gd name="T38" fmla="*/ 182 w 190"/>
                  <a:gd name="T39" fmla="*/ 36 h 144"/>
                  <a:gd name="T40" fmla="*/ 178 w 190"/>
                  <a:gd name="T41" fmla="*/ 22 h 144"/>
                  <a:gd name="T42" fmla="*/ 178 w 190"/>
                  <a:gd name="T43" fmla="*/ 10 h 144"/>
                  <a:gd name="T44" fmla="*/ 168 w 190"/>
                  <a:gd name="T45" fmla="*/ 6 h 144"/>
                  <a:gd name="T46" fmla="*/ 162 w 190"/>
                  <a:gd name="T47" fmla="*/ 4 h 144"/>
                  <a:gd name="T48" fmla="*/ 158 w 190"/>
                  <a:gd name="T49" fmla="*/ 6 h 144"/>
                  <a:gd name="T50" fmla="*/ 156 w 190"/>
                  <a:gd name="T51" fmla="*/ 8 h 144"/>
                  <a:gd name="T52" fmla="*/ 152 w 190"/>
                  <a:gd name="T53" fmla="*/ 8 h 144"/>
                  <a:gd name="T54" fmla="*/ 148 w 190"/>
                  <a:gd name="T55" fmla="*/ 6 h 144"/>
                  <a:gd name="T56" fmla="*/ 140 w 190"/>
                  <a:gd name="T57" fmla="*/ 8 h 144"/>
                  <a:gd name="T58" fmla="*/ 136 w 190"/>
                  <a:gd name="T59" fmla="*/ 8 h 144"/>
                  <a:gd name="T60" fmla="*/ 130 w 190"/>
                  <a:gd name="T61" fmla="*/ 6 h 144"/>
                  <a:gd name="T62" fmla="*/ 126 w 190"/>
                  <a:gd name="T63" fmla="*/ 2 h 144"/>
                  <a:gd name="T64" fmla="*/ 122 w 190"/>
                  <a:gd name="T65" fmla="*/ 0 h 144"/>
                  <a:gd name="T66" fmla="*/ 116 w 190"/>
                  <a:gd name="T67" fmla="*/ 2 h 144"/>
                  <a:gd name="T68" fmla="*/ 114 w 190"/>
                  <a:gd name="T69" fmla="*/ 6 h 144"/>
                  <a:gd name="T70" fmla="*/ 112 w 190"/>
                  <a:gd name="T71" fmla="*/ 14 h 144"/>
                  <a:gd name="T72" fmla="*/ 108 w 190"/>
                  <a:gd name="T73" fmla="*/ 22 h 144"/>
                  <a:gd name="T74" fmla="*/ 102 w 190"/>
                  <a:gd name="T75" fmla="*/ 30 h 144"/>
                  <a:gd name="T76" fmla="*/ 92 w 190"/>
                  <a:gd name="T77" fmla="*/ 36 h 144"/>
                  <a:gd name="T78" fmla="*/ 78 w 190"/>
                  <a:gd name="T79" fmla="*/ 42 h 144"/>
                  <a:gd name="T80" fmla="*/ 74 w 190"/>
                  <a:gd name="T81" fmla="*/ 46 h 144"/>
                  <a:gd name="T82" fmla="*/ 70 w 190"/>
                  <a:gd name="T83" fmla="*/ 52 h 144"/>
                  <a:gd name="T84" fmla="*/ 64 w 190"/>
                  <a:gd name="T85" fmla="*/ 56 h 144"/>
                  <a:gd name="T86" fmla="*/ 58 w 190"/>
                  <a:gd name="T87" fmla="*/ 66 h 144"/>
                  <a:gd name="T88" fmla="*/ 56 w 190"/>
                  <a:gd name="T89" fmla="*/ 80 h 144"/>
                  <a:gd name="T90" fmla="*/ 54 w 190"/>
                  <a:gd name="T91" fmla="*/ 88 h 144"/>
                  <a:gd name="T92" fmla="*/ 58 w 190"/>
                  <a:gd name="T93" fmla="*/ 92 h 144"/>
                  <a:gd name="T94" fmla="*/ 58 w 190"/>
                  <a:gd name="T95" fmla="*/ 98 h 144"/>
                  <a:gd name="T96" fmla="*/ 56 w 190"/>
                  <a:gd name="T97" fmla="*/ 108 h 144"/>
                  <a:gd name="T98" fmla="*/ 46 w 190"/>
                  <a:gd name="T99" fmla="*/ 118 h 144"/>
                  <a:gd name="T100" fmla="*/ 28 w 190"/>
                  <a:gd name="T101" fmla="*/ 130 h 144"/>
                  <a:gd name="T102" fmla="*/ 18 w 190"/>
                  <a:gd name="T103" fmla="*/ 136 h 144"/>
                  <a:gd name="T104" fmla="*/ 10 w 190"/>
                  <a:gd name="T105" fmla="*/ 136 h 144"/>
                  <a:gd name="T106" fmla="*/ 4 w 190"/>
                  <a:gd name="T107" fmla="*/ 136 h 144"/>
                  <a:gd name="T108" fmla="*/ 0 w 190"/>
                  <a:gd name="T109" fmla="*/ 144 h 144"/>
                  <a:gd name="T110" fmla="*/ 78 w 190"/>
                  <a:gd name="T111" fmla="*/ 1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90" h="144">
                    <a:moveTo>
                      <a:pt x="78" y="144"/>
                    </a:moveTo>
                    <a:lnTo>
                      <a:pt x="78" y="144"/>
                    </a:lnTo>
                    <a:lnTo>
                      <a:pt x="78" y="136"/>
                    </a:lnTo>
                    <a:lnTo>
                      <a:pt x="78" y="130"/>
                    </a:lnTo>
                    <a:lnTo>
                      <a:pt x="78" y="126"/>
                    </a:lnTo>
                    <a:lnTo>
                      <a:pt x="78" y="122"/>
                    </a:lnTo>
                    <a:lnTo>
                      <a:pt x="80" y="120"/>
                    </a:lnTo>
                    <a:lnTo>
                      <a:pt x="80" y="120"/>
                    </a:lnTo>
                    <a:lnTo>
                      <a:pt x="82" y="118"/>
                    </a:lnTo>
                    <a:lnTo>
                      <a:pt x="82" y="118"/>
                    </a:lnTo>
                    <a:lnTo>
                      <a:pt x="82" y="118"/>
                    </a:lnTo>
                    <a:lnTo>
                      <a:pt x="88" y="116"/>
                    </a:lnTo>
                    <a:lnTo>
                      <a:pt x="92" y="114"/>
                    </a:lnTo>
                    <a:lnTo>
                      <a:pt x="94" y="114"/>
                    </a:lnTo>
                    <a:lnTo>
                      <a:pt x="94" y="114"/>
                    </a:lnTo>
                    <a:lnTo>
                      <a:pt x="100" y="112"/>
                    </a:lnTo>
                    <a:lnTo>
                      <a:pt x="104" y="112"/>
                    </a:lnTo>
                    <a:lnTo>
                      <a:pt x="108" y="110"/>
                    </a:lnTo>
                    <a:lnTo>
                      <a:pt x="110" y="110"/>
                    </a:lnTo>
                    <a:lnTo>
                      <a:pt x="110" y="110"/>
                    </a:lnTo>
                    <a:lnTo>
                      <a:pt x="116" y="110"/>
                    </a:lnTo>
                    <a:lnTo>
                      <a:pt x="120" y="108"/>
                    </a:lnTo>
                    <a:lnTo>
                      <a:pt x="126" y="108"/>
                    </a:lnTo>
                    <a:lnTo>
                      <a:pt x="130" y="106"/>
                    </a:lnTo>
                    <a:lnTo>
                      <a:pt x="130" y="106"/>
                    </a:lnTo>
                    <a:lnTo>
                      <a:pt x="132" y="104"/>
                    </a:lnTo>
                    <a:lnTo>
                      <a:pt x="134" y="102"/>
                    </a:lnTo>
                    <a:lnTo>
                      <a:pt x="136" y="100"/>
                    </a:lnTo>
                    <a:lnTo>
                      <a:pt x="136" y="98"/>
                    </a:lnTo>
                    <a:lnTo>
                      <a:pt x="138" y="94"/>
                    </a:lnTo>
                    <a:lnTo>
                      <a:pt x="140" y="92"/>
                    </a:lnTo>
                    <a:lnTo>
                      <a:pt x="142" y="90"/>
                    </a:lnTo>
                    <a:lnTo>
                      <a:pt x="144" y="90"/>
                    </a:lnTo>
                    <a:lnTo>
                      <a:pt x="144" y="90"/>
                    </a:lnTo>
                    <a:lnTo>
                      <a:pt x="146" y="90"/>
                    </a:lnTo>
                    <a:lnTo>
                      <a:pt x="148" y="90"/>
                    </a:lnTo>
                    <a:lnTo>
                      <a:pt x="152" y="88"/>
                    </a:lnTo>
                    <a:lnTo>
                      <a:pt x="152" y="88"/>
                    </a:lnTo>
                    <a:lnTo>
                      <a:pt x="154" y="86"/>
                    </a:lnTo>
                    <a:lnTo>
                      <a:pt x="154" y="86"/>
                    </a:lnTo>
                    <a:lnTo>
                      <a:pt x="156" y="84"/>
                    </a:lnTo>
                    <a:lnTo>
                      <a:pt x="156" y="84"/>
                    </a:lnTo>
                    <a:lnTo>
                      <a:pt x="156" y="82"/>
                    </a:lnTo>
                    <a:lnTo>
                      <a:pt x="154" y="82"/>
                    </a:lnTo>
                    <a:lnTo>
                      <a:pt x="152" y="82"/>
                    </a:lnTo>
                    <a:lnTo>
                      <a:pt x="152" y="80"/>
                    </a:lnTo>
                    <a:lnTo>
                      <a:pt x="152" y="80"/>
                    </a:lnTo>
                    <a:lnTo>
                      <a:pt x="152" y="80"/>
                    </a:lnTo>
                    <a:lnTo>
                      <a:pt x="152" y="78"/>
                    </a:lnTo>
                    <a:lnTo>
                      <a:pt x="152" y="76"/>
                    </a:lnTo>
                    <a:lnTo>
                      <a:pt x="154" y="74"/>
                    </a:lnTo>
                    <a:lnTo>
                      <a:pt x="156" y="72"/>
                    </a:lnTo>
                    <a:lnTo>
                      <a:pt x="158" y="70"/>
                    </a:lnTo>
                    <a:lnTo>
                      <a:pt x="158" y="70"/>
                    </a:lnTo>
                    <a:lnTo>
                      <a:pt x="160" y="68"/>
                    </a:lnTo>
                    <a:lnTo>
                      <a:pt x="162" y="66"/>
                    </a:lnTo>
                    <a:lnTo>
                      <a:pt x="166" y="66"/>
                    </a:lnTo>
                    <a:lnTo>
                      <a:pt x="168" y="66"/>
                    </a:lnTo>
                    <a:lnTo>
                      <a:pt x="168" y="66"/>
                    </a:lnTo>
                    <a:lnTo>
                      <a:pt x="174" y="66"/>
                    </a:lnTo>
                    <a:lnTo>
                      <a:pt x="178" y="68"/>
                    </a:lnTo>
                    <a:lnTo>
                      <a:pt x="180" y="68"/>
                    </a:lnTo>
                    <a:lnTo>
                      <a:pt x="182" y="68"/>
                    </a:lnTo>
                    <a:lnTo>
                      <a:pt x="186" y="66"/>
                    </a:lnTo>
                    <a:lnTo>
                      <a:pt x="188" y="66"/>
                    </a:lnTo>
                    <a:lnTo>
                      <a:pt x="188" y="66"/>
                    </a:lnTo>
                    <a:lnTo>
                      <a:pt x="190" y="66"/>
                    </a:lnTo>
                    <a:lnTo>
                      <a:pt x="190" y="64"/>
                    </a:lnTo>
                    <a:lnTo>
                      <a:pt x="190" y="64"/>
                    </a:lnTo>
                    <a:lnTo>
                      <a:pt x="190" y="62"/>
                    </a:lnTo>
                    <a:lnTo>
                      <a:pt x="190" y="58"/>
                    </a:lnTo>
                    <a:lnTo>
                      <a:pt x="190" y="56"/>
                    </a:lnTo>
                    <a:lnTo>
                      <a:pt x="188" y="54"/>
                    </a:lnTo>
                    <a:lnTo>
                      <a:pt x="186" y="48"/>
                    </a:lnTo>
                    <a:lnTo>
                      <a:pt x="186" y="46"/>
                    </a:lnTo>
                    <a:lnTo>
                      <a:pt x="184" y="44"/>
                    </a:lnTo>
                    <a:lnTo>
                      <a:pt x="184" y="44"/>
                    </a:lnTo>
                    <a:lnTo>
                      <a:pt x="184" y="42"/>
                    </a:lnTo>
                    <a:lnTo>
                      <a:pt x="184" y="40"/>
                    </a:lnTo>
                    <a:lnTo>
                      <a:pt x="182" y="36"/>
                    </a:lnTo>
                    <a:lnTo>
                      <a:pt x="180" y="30"/>
                    </a:lnTo>
                    <a:lnTo>
                      <a:pt x="178" y="26"/>
                    </a:lnTo>
                    <a:lnTo>
                      <a:pt x="178" y="26"/>
                    </a:lnTo>
                    <a:lnTo>
                      <a:pt x="178" y="22"/>
                    </a:lnTo>
                    <a:lnTo>
                      <a:pt x="178" y="18"/>
                    </a:lnTo>
                    <a:lnTo>
                      <a:pt x="178" y="10"/>
                    </a:lnTo>
                    <a:lnTo>
                      <a:pt x="178" y="10"/>
                    </a:lnTo>
                    <a:lnTo>
                      <a:pt x="178" y="10"/>
                    </a:lnTo>
                    <a:lnTo>
                      <a:pt x="178" y="10"/>
                    </a:lnTo>
                    <a:lnTo>
                      <a:pt x="176" y="10"/>
                    </a:lnTo>
                    <a:lnTo>
                      <a:pt x="174" y="8"/>
                    </a:lnTo>
                    <a:lnTo>
                      <a:pt x="168" y="6"/>
                    </a:lnTo>
                    <a:lnTo>
                      <a:pt x="168" y="6"/>
                    </a:lnTo>
                    <a:lnTo>
                      <a:pt x="166" y="4"/>
                    </a:lnTo>
                    <a:lnTo>
                      <a:pt x="162" y="4"/>
                    </a:lnTo>
                    <a:lnTo>
                      <a:pt x="162" y="4"/>
                    </a:lnTo>
                    <a:lnTo>
                      <a:pt x="162" y="4"/>
                    </a:lnTo>
                    <a:lnTo>
                      <a:pt x="160" y="4"/>
                    </a:lnTo>
                    <a:lnTo>
                      <a:pt x="160" y="4"/>
                    </a:lnTo>
                    <a:lnTo>
                      <a:pt x="158" y="6"/>
                    </a:lnTo>
                    <a:lnTo>
                      <a:pt x="158" y="8"/>
                    </a:lnTo>
                    <a:lnTo>
                      <a:pt x="156" y="8"/>
                    </a:lnTo>
                    <a:lnTo>
                      <a:pt x="156" y="8"/>
                    </a:lnTo>
                    <a:lnTo>
                      <a:pt x="156" y="8"/>
                    </a:lnTo>
                    <a:lnTo>
                      <a:pt x="154" y="8"/>
                    </a:lnTo>
                    <a:lnTo>
                      <a:pt x="154" y="8"/>
                    </a:lnTo>
                    <a:lnTo>
                      <a:pt x="152" y="8"/>
                    </a:lnTo>
                    <a:lnTo>
                      <a:pt x="152" y="8"/>
                    </a:lnTo>
                    <a:lnTo>
                      <a:pt x="152" y="6"/>
                    </a:lnTo>
                    <a:lnTo>
                      <a:pt x="150" y="6"/>
                    </a:lnTo>
                    <a:lnTo>
                      <a:pt x="148" y="6"/>
                    </a:lnTo>
                    <a:lnTo>
                      <a:pt x="148" y="6"/>
                    </a:lnTo>
                    <a:lnTo>
                      <a:pt x="146" y="8"/>
                    </a:lnTo>
                    <a:lnTo>
                      <a:pt x="146" y="8"/>
                    </a:lnTo>
                    <a:lnTo>
                      <a:pt x="142" y="8"/>
                    </a:lnTo>
                    <a:lnTo>
                      <a:pt x="140" y="8"/>
                    </a:lnTo>
                    <a:lnTo>
                      <a:pt x="140" y="8"/>
                    </a:lnTo>
                    <a:lnTo>
                      <a:pt x="138" y="8"/>
                    </a:lnTo>
                    <a:lnTo>
                      <a:pt x="136" y="8"/>
                    </a:lnTo>
                    <a:lnTo>
                      <a:pt x="136" y="8"/>
                    </a:lnTo>
                    <a:lnTo>
                      <a:pt x="134" y="8"/>
                    </a:lnTo>
                    <a:lnTo>
                      <a:pt x="132" y="6"/>
                    </a:lnTo>
                    <a:lnTo>
                      <a:pt x="132" y="6"/>
                    </a:lnTo>
                    <a:lnTo>
                      <a:pt x="130" y="6"/>
                    </a:lnTo>
                    <a:lnTo>
                      <a:pt x="128" y="6"/>
                    </a:lnTo>
                    <a:lnTo>
                      <a:pt x="128" y="4"/>
                    </a:lnTo>
                    <a:lnTo>
                      <a:pt x="128" y="4"/>
                    </a:lnTo>
                    <a:lnTo>
                      <a:pt x="126" y="2"/>
                    </a:lnTo>
                    <a:lnTo>
                      <a:pt x="126" y="2"/>
                    </a:lnTo>
                    <a:lnTo>
                      <a:pt x="124" y="0"/>
                    </a:lnTo>
                    <a:lnTo>
                      <a:pt x="122" y="0"/>
                    </a:lnTo>
                    <a:lnTo>
                      <a:pt x="122" y="0"/>
                    </a:lnTo>
                    <a:lnTo>
                      <a:pt x="120" y="0"/>
                    </a:lnTo>
                    <a:lnTo>
                      <a:pt x="120" y="0"/>
                    </a:lnTo>
                    <a:lnTo>
                      <a:pt x="118" y="2"/>
                    </a:lnTo>
                    <a:lnTo>
                      <a:pt x="116" y="2"/>
                    </a:lnTo>
                    <a:lnTo>
                      <a:pt x="114" y="4"/>
                    </a:lnTo>
                    <a:lnTo>
                      <a:pt x="114" y="4"/>
                    </a:lnTo>
                    <a:lnTo>
                      <a:pt x="114" y="6"/>
                    </a:lnTo>
                    <a:lnTo>
                      <a:pt x="114" y="6"/>
                    </a:lnTo>
                    <a:lnTo>
                      <a:pt x="114" y="10"/>
                    </a:lnTo>
                    <a:lnTo>
                      <a:pt x="114" y="12"/>
                    </a:lnTo>
                    <a:lnTo>
                      <a:pt x="112" y="14"/>
                    </a:lnTo>
                    <a:lnTo>
                      <a:pt x="112" y="14"/>
                    </a:lnTo>
                    <a:lnTo>
                      <a:pt x="110" y="16"/>
                    </a:lnTo>
                    <a:lnTo>
                      <a:pt x="110" y="18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6" y="26"/>
                    </a:lnTo>
                    <a:lnTo>
                      <a:pt x="104" y="28"/>
                    </a:lnTo>
                    <a:lnTo>
                      <a:pt x="102" y="30"/>
                    </a:lnTo>
                    <a:lnTo>
                      <a:pt x="102" y="30"/>
                    </a:lnTo>
                    <a:lnTo>
                      <a:pt x="100" y="32"/>
                    </a:lnTo>
                    <a:lnTo>
                      <a:pt x="100" y="34"/>
                    </a:lnTo>
                    <a:lnTo>
                      <a:pt x="94" y="36"/>
                    </a:lnTo>
                    <a:lnTo>
                      <a:pt x="92" y="36"/>
                    </a:lnTo>
                    <a:lnTo>
                      <a:pt x="92" y="36"/>
                    </a:lnTo>
                    <a:lnTo>
                      <a:pt x="88" y="38"/>
                    </a:lnTo>
                    <a:lnTo>
                      <a:pt x="82" y="40"/>
                    </a:lnTo>
                    <a:lnTo>
                      <a:pt x="78" y="42"/>
                    </a:lnTo>
                    <a:lnTo>
                      <a:pt x="76" y="44"/>
                    </a:lnTo>
                    <a:lnTo>
                      <a:pt x="74" y="46"/>
                    </a:lnTo>
                    <a:lnTo>
                      <a:pt x="74" y="46"/>
                    </a:lnTo>
                    <a:lnTo>
                      <a:pt x="74" y="46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50"/>
                    </a:lnTo>
                    <a:lnTo>
                      <a:pt x="70" y="52"/>
                    </a:lnTo>
                    <a:lnTo>
                      <a:pt x="68" y="52"/>
                    </a:lnTo>
                    <a:lnTo>
                      <a:pt x="68" y="52"/>
                    </a:lnTo>
                    <a:lnTo>
                      <a:pt x="66" y="54"/>
                    </a:lnTo>
                    <a:lnTo>
                      <a:pt x="64" y="56"/>
                    </a:lnTo>
                    <a:lnTo>
                      <a:pt x="62" y="58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58" y="66"/>
                    </a:lnTo>
                    <a:lnTo>
                      <a:pt x="58" y="70"/>
                    </a:lnTo>
                    <a:lnTo>
                      <a:pt x="56" y="74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54" y="82"/>
                    </a:lnTo>
                    <a:lnTo>
                      <a:pt x="54" y="86"/>
                    </a:lnTo>
                    <a:lnTo>
                      <a:pt x="54" y="86"/>
                    </a:lnTo>
                    <a:lnTo>
                      <a:pt x="54" y="88"/>
                    </a:lnTo>
                    <a:lnTo>
                      <a:pt x="54" y="90"/>
                    </a:lnTo>
                    <a:lnTo>
                      <a:pt x="56" y="90"/>
                    </a:lnTo>
                    <a:lnTo>
                      <a:pt x="56" y="90"/>
                    </a:lnTo>
                    <a:lnTo>
                      <a:pt x="58" y="92"/>
                    </a:lnTo>
                    <a:lnTo>
                      <a:pt x="58" y="92"/>
                    </a:lnTo>
                    <a:lnTo>
                      <a:pt x="58" y="94"/>
                    </a:lnTo>
                    <a:lnTo>
                      <a:pt x="58" y="94"/>
                    </a:lnTo>
                    <a:lnTo>
                      <a:pt x="58" y="98"/>
                    </a:lnTo>
                    <a:lnTo>
                      <a:pt x="58" y="102"/>
                    </a:lnTo>
                    <a:lnTo>
                      <a:pt x="58" y="106"/>
                    </a:lnTo>
                    <a:lnTo>
                      <a:pt x="56" y="108"/>
                    </a:lnTo>
                    <a:lnTo>
                      <a:pt x="56" y="108"/>
                    </a:lnTo>
                    <a:lnTo>
                      <a:pt x="54" y="112"/>
                    </a:lnTo>
                    <a:lnTo>
                      <a:pt x="52" y="114"/>
                    </a:lnTo>
                    <a:lnTo>
                      <a:pt x="50" y="116"/>
                    </a:lnTo>
                    <a:lnTo>
                      <a:pt x="46" y="118"/>
                    </a:lnTo>
                    <a:lnTo>
                      <a:pt x="46" y="118"/>
                    </a:lnTo>
                    <a:lnTo>
                      <a:pt x="38" y="124"/>
                    </a:lnTo>
                    <a:lnTo>
                      <a:pt x="28" y="130"/>
                    </a:lnTo>
                    <a:lnTo>
                      <a:pt x="28" y="130"/>
                    </a:lnTo>
                    <a:lnTo>
                      <a:pt x="24" y="134"/>
                    </a:lnTo>
                    <a:lnTo>
                      <a:pt x="22" y="134"/>
                    </a:lnTo>
                    <a:lnTo>
                      <a:pt x="18" y="136"/>
                    </a:lnTo>
                    <a:lnTo>
                      <a:pt x="18" y="136"/>
                    </a:lnTo>
                    <a:lnTo>
                      <a:pt x="16" y="136"/>
                    </a:lnTo>
                    <a:lnTo>
                      <a:pt x="14" y="136"/>
                    </a:lnTo>
                    <a:lnTo>
                      <a:pt x="10" y="136"/>
                    </a:lnTo>
                    <a:lnTo>
                      <a:pt x="10" y="136"/>
                    </a:lnTo>
                    <a:lnTo>
                      <a:pt x="10" y="136"/>
                    </a:lnTo>
                    <a:lnTo>
                      <a:pt x="8" y="136"/>
                    </a:lnTo>
                    <a:lnTo>
                      <a:pt x="6" y="136"/>
                    </a:lnTo>
                    <a:lnTo>
                      <a:pt x="4" y="136"/>
                    </a:lnTo>
                    <a:lnTo>
                      <a:pt x="4" y="138"/>
                    </a:lnTo>
                    <a:lnTo>
                      <a:pt x="2" y="140"/>
                    </a:lnTo>
                    <a:lnTo>
                      <a:pt x="0" y="144"/>
                    </a:lnTo>
                    <a:lnTo>
                      <a:pt x="0" y="144"/>
                    </a:lnTo>
                    <a:lnTo>
                      <a:pt x="38" y="142"/>
                    </a:lnTo>
                    <a:lnTo>
                      <a:pt x="58" y="142"/>
                    </a:lnTo>
                    <a:lnTo>
                      <a:pt x="78" y="144"/>
                    </a:lnTo>
                    <a:lnTo>
                      <a:pt x="78" y="144"/>
                    </a:lnTo>
                    <a:lnTo>
                      <a:pt x="78" y="144"/>
                    </a:lnTo>
                    <a:lnTo>
                      <a:pt x="78" y="144"/>
                    </a:lnTo>
                    <a:lnTo>
                      <a:pt x="78" y="14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11" name="Freeform 599"/>
              <p:cNvSpPr>
                <a:spLocks/>
              </p:cNvSpPr>
              <p:nvPr/>
            </p:nvSpPr>
            <p:spPr bwMode="auto">
              <a:xfrm>
                <a:off x="2445" y="2376"/>
                <a:ext cx="142" cy="110"/>
              </a:xfrm>
              <a:custGeom>
                <a:avLst/>
                <a:gdLst>
                  <a:gd name="T0" fmla="*/ 46 w 142"/>
                  <a:gd name="T1" fmla="*/ 110 h 110"/>
                  <a:gd name="T2" fmla="*/ 58 w 142"/>
                  <a:gd name="T3" fmla="*/ 110 h 110"/>
                  <a:gd name="T4" fmla="*/ 64 w 142"/>
                  <a:gd name="T5" fmla="*/ 108 h 110"/>
                  <a:gd name="T6" fmla="*/ 66 w 142"/>
                  <a:gd name="T7" fmla="*/ 104 h 110"/>
                  <a:gd name="T8" fmla="*/ 68 w 142"/>
                  <a:gd name="T9" fmla="*/ 96 h 110"/>
                  <a:gd name="T10" fmla="*/ 68 w 142"/>
                  <a:gd name="T11" fmla="*/ 88 h 110"/>
                  <a:gd name="T12" fmla="*/ 68 w 142"/>
                  <a:gd name="T13" fmla="*/ 82 h 110"/>
                  <a:gd name="T14" fmla="*/ 74 w 142"/>
                  <a:gd name="T15" fmla="*/ 78 h 110"/>
                  <a:gd name="T16" fmla="*/ 82 w 142"/>
                  <a:gd name="T17" fmla="*/ 74 h 110"/>
                  <a:gd name="T18" fmla="*/ 84 w 142"/>
                  <a:gd name="T19" fmla="*/ 42 h 110"/>
                  <a:gd name="T20" fmla="*/ 84 w 142"/>
                  <a:gd name="T21" fmla="*/ 36 h 110"/>
                  <a:gd name="T22" fmla="*/ 86 w 142"/>
                  <a:gd name="T23" fmla="*/ 34 h 110"/>
                  <a:gd name="T24" fmla="*/ 92 w 142"/>
                  <a:gd name="T25" fmla="*/ 34 h 110"/>
                  <a:gd name="T26" fmla="*/ 118 w 142"/>
                  <a:gd name="T27" fmla="*/ 34 h 110"/>
                  <a:gd name="T28" fmla="*/ 128 w 142"/>
                  <a:gd name="T29" fmla="*/ 34 h 110"/>
                  <a:gd name="T30" fmla="*/ 136 w 142"/>
                  <a:gd name="T31" fmla="*/ 34 h 110"/>
                  <a:gd name="T32" fmla="*/ 138 w 142"/>
                  <a:gd name="T33" fmla="*/ 32 h 110"/>
                  <a:gd name="T34" fmla="*/ 142 w 142"/>
                  <a:gd name="T35" fmla="*/ 24 h 110"/>
                  <a:gd name="T36" fmla="*/ 142 w 142"/>
                  <a:gd name="T37" fmla="*/ 16 h 110"/>
                  <a:gd name="T38" fmla="*/ 142 w 142"/>
                  <a:gd name="T39" fmla="*/ 4 h 110"/>
                  <a:gd name="T40" fmla="*/ 122 w 142"/>
                  <a:gd name="T41" fmla="*/ 0 h 110"/>
                  <a:gd name="T42" fmla="*/ 64 w 142"/>
                  <a:gd name="T43" fmla="*/ 2 h 110"/>
                  <a:gd name="T44" fmla="*/ 60 w 142"/>
                  <a:gd name="T45" fmla="*/ 10 h 110"/>
                  <a:gd name="T46" fmla="*/ 56 w 142"/>
                  <a:gd name="T47" fmla="*/ 16 h 110"/>
                  <a:gd name="T48" fmla="*/ 52 w 142"/>
                  <a:gd name="T49" fmla="*/ 20 h 110"/>
                  <a:gd name="T50" fmla="*/ 46 w 142"/>
                  <a:gd name="T51" fmla="*/ 26 h 110"/>
                  <a:gd name="T52" fmla="*/ 42 w 142"/>
                  <a:gd name="T53" fmla="*/ 30 h 110"/>
                  <a:gd name="T54" fmla="*/ 40 w 142"/>
                  <a:gd name="T55" fmla="*/ 34 h 110"/>
                  <a:gd name="T56" fmla="*/ 38 w 142"/>
                  <a:gd name="T57" fmla="*/ 40 h 110"/>
                  <a:gd name="T58" fmla="*/ 38 w 142"/>
                  <a:gd name="T59" fmla="*/ 44 h 110"/>
                  <a:gd name="T60" fmla="*/ 38 w 142"/>
                  <a:gd name="T61" fmla="*/ 50 h 110"/>
                  <a:gd name="T62" fmla="*/ 34 w 142"/>
                  <a:gd name="T63" fmla="*/ 52 h 110"/>
                  <a:gd name="T64" fmla="*/ 28 w 142"/>
                  <a:gd name="T65" fmla="*/ 56 h 110"/>
                  <a:gd name="T66" fmla="*/ 24 w 142"/>
                  <a:gd name="T67" fmla="*/ 60 h 110"/>
                  <a:gd name="T68" fmla="*/ 18 w 142"/>
                  <a:gd name="T69" fmla="*/ 66 h 110"/>
                  <a:gd name="T70" fmla="*/ 16 w 142"/>
                  <a:gd name="T71" fmla="*/ 80 h 110"/>
                  <a:gd name="T72" fmla="*/ 14 w 142"/>
                  <a:gd name="T73" fmla="*/ 86 h 110"/>
                  <a:gd name="T74" fmla="*/ 6 w 142"/>
                  <a:gd name="T75" fmla="*/ 96 h 110"/>
                  <a:gd name="T76" fmla="*/ 2 w 142"/>
                  <a:gd name="T77" fmla="*/ 102 h 110"/>
                  <a:gd name="T78" fmla="*/ 0 w 142"/>
                  <a:gd name="T79" fmla="*/ 110 h 110"/>
                  <a:gd name="T80" fmla="*/ 0 w 142"/>
                  <a:gd name="T81" fmla="*/ 110 h 110"/>
                  <a:gd name="T82" fmla="*/ 26 w 142"/>
                  <a:gd name="T83" fmla="*/ 110 h 110"/>
                  <a:gd name="T84" fmla="*/ 26 w 142"/>
                  <a:gd name="T85" fmla="*/ 11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42" h="110">
                    <a:moveTo>
                      <a:pt x="26" y="110"/>
                    </a:moveTo>
                    <a:lnTo>
                      <a:pt x="26" y="110"/>
                    </a:lnTo>
                    <a:lnTo>
                      <a:pt x="46" y="110"/>
                    </a:lnTo>
                    <a:lnTo>
                      <a:pt x="46" y="110"/>
                    </a:lnTo>
                    <a:lnTo>
                      <a:pt x="52" y="110"/>
                    </a:lnTo>
                    <a:lnTo>
                      <a:pt x="58" y="110"/>
                    </a:lnTo>
                    <a:lnTo>
                      <a:pt x="60" y="110"/>
                    </a:lnTo>
                    <a:lnTo>
                      <a:pt x="62" y="110"/>
                    </a:lnTo>
                    <a:lnTo>
                      <a:pt x="64" y="108"/>
                    </a:lnTo>
                    <a:lnTo>
                      <a:pt x="66" y="106"/>
                    </a:lnTo>
                    <a:lnTo>
                      <a:pt x="66" y="106"/>
                    </a:lnTo>
                    <a:lnTo>
                      <a:pt x="66" y="104"/>
                    </a:lnTo>
                    <a:lnTo>
                      <a:pt x="68" y="100"/>
                    </a:lnTo>
                    <a:lnTo>
                      <a:pt x="68" y="96"/>
                    </a:lnTo>
                    <a:lnTo>
                      <a:pt x="68" y="96"/>
                    </a:lnTo>
                    <a:lnTo>
                      <a:pt x="68" y="92"/>
                    </a:lnTo>
                    <a:lnTo>
                      <a:pt x="68" y="90"/>
                    </a:lnTo>
                    <a:lnTo>
                      <a:pt x="68" y="88"/>
                    </a:lnTo>
                    <a:lnTo>
                      <a:pt x="68" y="86"/>
                    </a:lnTo>
                    <a:lnTo>
                      <a:pt x="68" y="86"/>
                    </a:lnTo>
                    <a:lnTo>
                      <a:pt x="68" y="82"/>
                    </a:lnTo>
                    <a:lnTo>
                      <a:pt x="70" y="80"/>
                    </a:lnTo>
                    <a:lnTo>
                      <a:pt x="72" y="80"/>
                    </a:lnTo>
                    <a:lnTo>
                      <a:pt x="74" y="78"/>
                    </a:lnTo>
                    <a:lnTo>
                      <a:pt x="78" y="76"/>
                    </a:lnTo>
                    <a:lnTo>
                      <a:pt x="82" y="74"/>
                    </a:lnTo>
                    <a:lnTo>
                      <a:pt x="82" y="74"/>
                    </a:lnTo>
                    <a:lnTo>
                      <a:pt x="84" y="48"/>
                    </a:lnTo>
                    <a:lnTo>
                      <a:pt x="84" y="48"/>
                    </a:lnTo>
                    <a:lnTo>
                      <a:pt x="84" y="42"/>
                    </a:lnTo>
                    <a:lnTo>
                      <a:pt x="84" y="40"/>
                    </a:lnTo>
                    <a:lnTo>
                      <a:pt x="84" y="38"/>
                    </a:lnTo>
                    <a:lnTo>
                      <a:pt x="84" y="36"/>
                    </a:lnTo>
                    <a:lnTo>
                      <a:pt x="84" y="36"/>
                    </a:lnTo>
                    <a:lnTo>
                      <a:pt x="86" y="36"/>
                    </a:lnTo>
                    <a:lnTo>
                      <a:pt x="86" y="34"/>
                    </a:lnTo>
                    <a:lnTo>
                      <a:pt x="88" y="34"/>
                    </a:lnTo>
                    <a:lnTo>
                      <a:pt x="88" y="34"/>
                    </a:lnTo>
                    <a:lnTo>
                      <a:pt x="92" y="34"/>
                    </a:lnTo>
                    <a:lnTo>
                      <a:pt x="96" y="34"/>
                    </a:lnTo>
                    <a:lnTo>
                      <a:pt x="96" y="34"/>
                    </a:lnTo>
                    <a:lnTo>
                      <a:pt x="118" y="34"/>
                    </a:lnTo>
                    <a:lnTo>
                      <a:pt x="118" y="34"/>
                    </a:lnTo>
                    <a:lnTo>
                      <a:pt x="122" y="34"/>
                    </a:lnTo>
                    <a:lnTo>
                      <a:pt x="128" y="34"/>
                    </a:lnTo>
                    <a:lnTo>
                      <a:pt x="130" y="34"/>
                    </a:lnTo>
                    <a:lnTo>
                      <a:pt x="134" y="34"/>
                    </a:lnTo>
                    <a:lnTo>
                      <a:pt x="136" y="34"/>
                    </a:lnTo>
                    <a:lnTo>
                      <a:pt x="138" y="34"/>
                    </a:lnTo>
                    <a:lnTo>
                      <a:pt x="138" y="34"/>
                    </a:lnTo>
                    <a:lnTo>
                      <a:pt x="138" y="32"/>
                    </a:lnTo>
                    <a:lnTo>
                      <a:pt x="140" y="30"/>
                    </a:lnTo>
                    <a:lnTo>
                      <a:pt x="142" y="28"/>
                    </a:lnTo>
                    <a:lnTo>
                      <a:pt x="142" y="24"/>
                    </a:lnTo>
                    <a:lnTo>
                      <a:pt x="142" y="20"/>
                    </a:lnTo>
                    <a:lnTo>
                      <a:pt x="142" y="16"/>
                    </a:lnTo>
                    <a:lnTo>
                      <a:pt x="142" y="16"/>
                    </a:lnTo>
                    <a:lnTo>
                      <a:pt x="142" y="12"/>
                    </a:lnTo>
                    <a:lnTo>
                      <a:pt x="142" y="8"/>
                    </a:lnTo>
                    <a:lnTo>
                      <a:pt x="142" y="4"/>
                    </a:lnTo>
                    <a:lnTo>
                      <a:pt x="140" y="2"/>
                    </a:lnTo>
                    <a:lnTo>
                      <a:pt x="140" y="2"/>
                    </a:lnTo>
                    <a:lnTo>
                      <a:pt x="122" y="0"/>
                    </a:lnTo>
                    <a:lnTo>
                      <a:pt x="102" y="0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62" y="6"/>
                    </a:lnTo>
                    <a:lnTo>
                      <a:pt x="62" y="6"/>
                    </a:lnTo>
                    <a:lnTo>
                      <a:pt x="60" y="10"/>
                    </a:lnTo>
                    <a:lnTo>
                      <a:pt x="58" y="14"/>
                    </a:lnTo>
                    <a:lnTo>
                      <a:pt x="58" y="14"/>
                    </a:lnTo>
                    <a:lnTo>
                      <a:pt x="56" y="16"/>
                    </a:lnTo>
                    <a:lnTo>
                      <a:pt x="56" y="18"/>
                    </a:lnTo>
                    <a:lnTo>
                      <a:pt x="54" y="18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4" y="28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2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8"/>
                    </a:lnTo>
                    <a:lnTo>
                      <a:pt x="38" y="38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4"/>
                    </a:lnTo>
                    <a:lnTo>
                      <a:pt x="38" y="44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6" y="52"/>
                    </a:lnTo>
                    <a:lnTo>
                      <a:pt x="34" y="52"/>
                    </a:lnTo>
                    <a:lnTo>
                      <a:pt x="32" y="54"/>
                    </a:lnTo>
                    <a:lnTo>
                      <a:pt x="32" y="54"/>
                    </a:lnTo>
                    <a:lnTo>
                      <a:pt x="28" y="56"/>
                    </a:lnTo>
                    <a:lnTo>
                      <a:pt x="26" y="58"/>
                    </a:lnTo>
                    <a:lnTo>
                      <a:pt x="26" y="58"/>
                    </a:lnTo>
                    <a:lnTo>
                      <a:pt x="24" y="60"/>
                    </a:lnTo>
                    <a:lnTo>
                      <a:pt x="22" y="62"/>
                    </a:lnTo>
                    <a:lnTo>
                      <a:pt x="20" y="64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76"/>
                    </a:lnTo>
                    <a:lnTo>
                      <a:pt x="16" y="80"/>
                    </a:lnTo>
                    <a:lnTo>
                      <a:pt x="16" y="84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2" y="90"/>
                    </a:lnTo>
                    <a:lnTo>
                      <a:pt x="8" y="92"/>
                    </a:lnTo>
                    <a:lnTo>
                      <a:pt x="6" y="96"/>
                    </a:lnTo>
                    <a:lnTo>
                      <a:pt x="2" y="100"/>
                    </a:lnTo>
                    <a:lnTo>
                      <a:pt x="2" y="100"/>
                    </a:lnTo>
                    <a:lnTo>
                      <a:pt x="2" y="102"/>
                    </a:lnTo>
                    <a:lnTo>
                      <a:pt x="0" y="104"/>
                    </a:lnTo>
                    <a:lnTo>
                      <a:pt x="0" y="106"/>
                    </a:lnTo>
                    <a:lnTo>
                      <a:pt x="0" y="110"/>
                    </a:lnTo>
                    <a:lnTo>
                      <a:pt x="0" y="110"/>
                    </a:lnTo>
                    <a:lnTo>
                      <a:pt x="0" y="110"/>
                    </a:lnTo>
                    <a:lnTo>
                      <a:pt x="0" y="110"/>
                    </a:lnTo>
                    <a:lnTo>
                      <a:pt x="6" y="110"/>
                    </a:lnTo>
                    <a:lnTo>
                      <a:pt x="12" y="110"/>
                    </a:lnTo>
                    <a:lnTo>
                      <a:pt x="26" y="110"/>
                    </a:lnTo>
                    <a:lnTo>
                      <a:pt x="26" y="110"/>
                    </a:lnTo>
                    <a:lnTo>
                      <a:pt x="26" y="110"/>
                    </a:lnTo>
                    <a:lnTo>
                      <a:pt x="26" y="110"/>
                    </a:lnTo>
                    <a:lnTo>
                      <a:pt x="26" y="11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12" name="Freeform 601"/>
              <p:cNvSpPr>
                <a:spLocks/>
              </p:cNvSpPr>
              <p:nvPr/>
            </p:nvSpPr>
            <p:spPr bwMode="auto">
              <a:xfrm>
                <a:off x="2585" y="2212"/>
                <a:ext cx="318" cy="308"/>
              </a:xfrm>
              <a:custGeom>
                <a:avLst/>
                <a:gdLst>
                  <a:gd name="T0" fmla="*/ 82 w 318"/>
                  <a:gd name="T1" fmla="*/ 226 h 308"/>
                  <a:gd name="T2" fmla="*/ 108 w 318"/>
                  <a:gd name="T3" fmla="*/ 244 h 308"/>
                  <a:gd name="T4" fmla="*/ 120 w 318"/>
                  <a:gd name="T5" fmla="*/ 254 h 308"/>
                  <a:gd name="T6" fmla="*/ 152 w 318"/>
                  <a:gd name="T7" fmla="*/ 278 h 308"/>
                  <a:gd name="T8" fmla="*/ 160 w 318"/>
                  <a:gd name="T9" fmla="*/ 286 h 308"/>
                  <a:gd name="T10" fmla="*/ 176 w 318"/>
                  <a:gd name="T11" fmla="*/ 290 h 308"/>
                  <a:gd name="T12" fmla="*/ 184 w 318"/>
                  <a:gd name="T13" fmla="*/ 302 h 308"/>
                  <a:gd name="T14" fmla="*/ 194 w 318"/>
                  <a:gd name="T15" fmla="*/ 308 h 308"/>
                  <a:gd name="T16" fmla="*/ 218 w 318"/>
                  <a:gd name="T17" fmla="*/ 304 h 308"/>
                  <a:gd name="T18" fmla="*/ 246 w 318"/>
                  <a:gd name="T19" fmla="*/ 286 h 308"/>
                  <a:gd name="T20" fmla="*/ 280 w 318"/>
                  <a:gd name="T21" fmla="*/ 260 h 308"/>
                  <a:gd name="T22" fmla="*/ 302 w 318"/>
                  <a:gd name="T23" fmla="*/ 244 h 308"/>
                  <a:gd name="T24" fmla="*/ 316 w 318"/>
                  <a:gd name="T25" fmla="*/ 232 h 308"/>
                  <a:gd name="T26" fmla="*/ 312 w 318"/>
                  <a:gd name="T27" fmla="*/ 224 h 308"/>
                  <a:gd name="T28" fmla="*/ 294 w 318"/>
                  <a:gd name="T29" fmla="*/ 212 h 308"/>
                  <a:gd name="T30" fmla="*/ 290 w 318"/>
                  <a:gd name="T31" fmla="*/ 206 h 308"/>
                  <a:gd name="T32" fmla="*/ 284 w 318"/>
                  <a:gd name="T33" fmla="*/ 192 h 308"/>
                  <a:gd name="T34" fmla="*/ 284 w 318"/>
                  <a:gd name="T35" fmla="*/ 182 h 308"/>
                  <a:gd name="T36" fmla="*/ 286 w 318"/>
                  <a:gd name="T37" fmla="*/ 168 h 308"/>
                  <a:gd name="T38" fmla="*/ 284 w 318"/>
                  <a:gd name="T39" fmla="*/ 150 h 308"/>
                  <a:gd name="T40" fmla="*/ 280 w 318"/>
                  <a:gd name="T41" fmla="*/ 112 h 308"/>
                  <a:gd name="T42" fmla="*/ 274 w 318"/>
                  <a:gd name="T43" fmla="*/ 102 h 308"/>
                  <a:gd name="T44" fmla="*/ 272 w 318"/>
                  <a:gd name="T45" fmla="*/ 90 h 308"/>
                  <a:gd name="T46" fmla="*/ 264 w 318"/>
                  <a:gd name="T47" fmla="*/ 80 h 308"/>
                  <a:gd name="T48" fmla="*/ 256 w 318"/>
                  <a:gd name="T49" fmla="*/ 72 h 308"/>
                  <a:gd name="T50" fmla="*/ 250 w 318"/>
                  <a:gd name="T51" fmla="*/ 66 h 308"/>
                  <a:gd name="T52" fmla="*/ 248 w 318"/>
                  <a:gd name="T53" fmla="*/ 54 h 308"/>
                  <a:gd name="T54" fmla="*/ 250 w 318"/>
                  <a:gd name="T55" fmla="*/ 46 h 308"/>
                  <a:gd name="T56" fmla="*/ 258 w 318"/>
                  <a:gd name="T57" fmla="*/ 34 h 308"/>
                  <a:gd name="T58" fmla="*/ 252 w 318"/>
                  <a:gd name="T59" fmla="*/ 20 h 308"/>
                  <a:gd name="T60" fmla="*/ 246 w 318"/>
                  <a:gd name="T61" fmla="*/ 4 h 308"/>
                  <a:gd name="T62" fmla="*/ 240 w 318"/>
                  <a:gd name="T63" fmla="*/ 0 h 308"/>
                  <a:gd name="T64" fmla="*/ 222 w 318"/>
                  <a:gd name="T65" fmla="*/ 0 h 308"/>
                  <a:gd name="T66" fmla="*/ 218 w 318"/>
                  <a:gd name="T67" fmla="*/ 2 h 308"/>
                  <a:gd name="T68" fmla="*/ 210 w 318"/>
                  <a:gd name="T69" fmla="*/ 6 h 308"/>
                  <a:gd name="T70" fmla="*/ 202 w 318"/>
                  <a:gd name="T71" fmla="*/ 2 h 308"/>
                  <a:gd name="T72" fmla="*/ 188 w 318"/>
                  <a:gd name="T73" fmla="*/ 2 h 308"/>
                  <a:gd name="T74" fmla="*/ 178 w 318"/>
                  <a:gd name="T75" fmla="*/ 6 h 308"/>
                  <a:gd name="T76" fmla="*/ 156 w 318"/>
                  <a:gd name="T77" fmla="*/ 4 h 308"/>
                  <a:gd name="T78" fmla="*/ 144 w 318"/>
                  <a:gd name="T79" fmla="*/ 6 h 308"/>
                  <a:gd name="T80" fmla="*/ 132 w 318"/>
                  <a:gd name="T81" fmla="*/ 12 h 308"/>
                  <a:gd name="T82" fmla="*/ 126 w 318"/>
                  <a:gd name="T83" fmla="*/ 16 h 308"/>
                  <a:gd name="T84" fmla="*/ 116 w 318"/>
                  <a:gd name="T85" fmla="*/ 20 h 308"/>
                  <a:gd name="T86" fmla="*/ 104 w 318"/>
                  <a:gd name="T87" fmla="*/ 30 h 308"/>
                  <a:gd name="T88" fmla="*/ 102 w 318"/>
                  <a:gd name="T89" fmla="*/ 48 h 308"/>
                  <a:gd name="T90" fmla="*/ 108 w 318"/>
                  <a:gd name="T91" fmla="*/ 66 h 308"/>
                  <a:gd name="T92" fmla="*/ 114 w 318"/>
                  <a:gd name="T93" fmla="*/ 80 h 308"/>
                  <a:gd name="T94" fmla="*/ 112 w 318"/>
                  <a:gd name="T95" fmla="*/ 88 h 308"/>
                  <a:gd name="T96" fmla="*/ 92 w 318"/>
                  <a:gd name="T97" fmla="*/ 88 h 308"/>
                  <a:gd name="T98" fmla="*/ 82 w 318"/>
                  <a:gd name="T99" fmla="*/ 92 h 308"/>
                  <a:gd name="T100" fmla="*/ 76 w 318"/>
                  <a:gd name="T101" fmla="*/ 102 h 308"/>
                  <a:gd name="T102" fmla="*/ 80 w 318"/>
                  <a:gd name="T103" fmla="*/ 106 h 308"/>
                  <a:gd name="T104" fmla="*/ 70 w 318"/>
                  <a:gd name="T105" fmla="*/ 112 h 308"/>
                  <a:gd name="T106" fmla="*/ 60 w 318"/>
                  <a:gd name="T107" fmla="*/ 120 h 308"/>
                  <a:gd name="T108" fmla="*/ 50 w 318"/>
                  <a:gd name="T109" fmla="*/ 130 h 308"/>
                  <a:gd name="T110" fmla="*/ 28 w 318"/>
                  <a:gd name="T111" fmla="*/ 134 h 308"/>
                  <a:gd name="T112" fmla="*/ 6 w 318"/>
                  <a:gd name="T113" fmla="*/ 140 h 308"/>
                  <a:gd name="T114" fmla="*/ 2 w 318"/>
                  <a:gd name="T115" fmla="*/ 148 h 308"/>
                  <a:gd name="T116" fmla="*/ 0 w 318"/>
                  <a:gd name="T117" fmla="*/ 166 h 308"/>
                  <a:gd name="T118" fmla="*/ 18 w 318"/>
                  <a:gd name="T119" fmla="*/ 180 h 308"/>
                  <a:gd name="T120" fmla="*/ 42 w 318"/>
                  <a:gd name="T121" fmla="*/ 196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18" h="308">
                    <a:moveTo>
                      <a:pt x="42" y="196"/>
                    </a:moveTo>
                    <a:lnTo>
                      <a:pt x="42" y="196"/>
                    </a:lnTo>
                    <a:lnTo>
                      <a:pt x="62" y="210"/>
                    </a:lnTo>
                    <a:lnTo>
                      <a:pt x="72" y="218"/>
                    </a:lnTo>
                    <a:lnTo>
                      <a:pt x="82" y="226"/>
                    </a:lnTo>
                    <a:lnTo>
                      <a:pt x="82" y="226"/>
                    </a:lnTo>
                    <a:lnTo>
                      <a:pt x="86" y="228"/>
                    </a:lnTo>
                    <a:lnTo>
                      <a:pt x="90" y="232"/>
                    </a:lnTo>
                    <a:lnTo>
                      <a:pt x="100" y="238"/>
                    </a:lnTo>
                    <a:lnTo>
                      <a:pt x="100" y="238"/>
                    </a:lnTo>
                    <a:lnTo>
                      <a:pt x="106" y="242"/>
                    </a:lnTo>
                    <a:lnTo>
                      <a:pt x="108" y="244"/>
                    </a:lnTo>
                    <a:lnTo>
                      <a:pt x="110" y="246"/>
                    </a:lnTo>
                    <a:lnTo>
                      <a:pt x="110" y="246"/>
                    </a:lnTo>
                    <a:lnTo>
                      <a:pt x="114" y="250"/>
                    </a:lnTo>
                    <a:lnTo>
                      <a:pt x="116" y="252"/>
                    </a:lnTo>
                    <a:lnTo>
                      <a:pt x="120" y="254"/>
                    </a:lnTo>
                    <a:lnTo>
                      <a:pt x="120" y="254"/>
                    </a:lnTo>
                    <a:lnTo>
                      <a:pt x="130" y="262"/>
                    </a:lnTo>
                    <a:lnTo>
                      <a:pt x="142" y="270"/>
                    </a:lnTo>
                    <a:lnTo>
                      <a:pt x="142" y="270"/>
                    </a:lnTo>
                    <a:lnTo>
                      <a:pt x="150" y="276"/>
                    </a:lnTo>
                    <a:lnTo>
                      <a:pt x="150" y="276"/>
                    </a:lnTo>
                    <a:lnTo>
                      <a:pt x="152" y="278"/>
                    </a:lnTo>
                    <a:lnTo>
                      <a:pt x="152" y="280"/>
                    </a:lnTo>
                    <a:lnTo>
                      <a:pt x="154" y="282"/>
                    </a:lnTo>
                    <a:lnTo>
                      <a:pt x="156" y="284"/>
                    </a:lnTo>
                    <a:lnTo>
                      <a:pt x="156" y="284"/>
                    </a:lnTo>
                    <a:lnTo>
                      <a:pt x="158" y="286"/>
                    </a:lnTo>
                    <a:lnTo>
                      <a:pt x="160" y="286"/>
                    </a:lnTo>
                    <a:lnTo>
                      <a:pt x="164" y="286"/>
                    </a:lnTo>
                    <a:lnTo>
                      <a:pt x="164" y="286"/>
                    </a:lnTo>
                    <a:lnTo>
                      <a:pt x="168" y="288"/>
                    </a:lnTo>
                    <a:lnTo>
                      <a:pt x="172" y="288"/>
                    </a:lnTo>
                    <a:lnTo>
                      <a:pt x="174" y="290"/>
                    </a:lnTo>
                    <a:lnTo>
                      <a:pt x="176" y="290"/>
                    </a:lnTo>
                    <a:lnTo>
                      <a:pt x="176" y="290"/>
                    </a:lnTo>
                    <a:lnTo>
                      <a:pt x="180" y="292"/>
                    </a:lnTo>
                    <a:lnTo>
                      <a:pt x="182" y="294"/>
                    </a:lnTo>
                    <a:lnTo>
                      <a:pt x="184" y="296"/>
                    </a:lnTo>
                    <a:lnTo>
                      <a:pt x="184" y="298"/>
                    </a:lnTo>
                    <a:lnTo>
                      <a:pt x="184" y="302"/>
                    </a:lnTo>
                    <a:lnTo>
                      <a:pt x="184" y="306"/>
                    </a:lnTo>
                    <a:lnTo>
                      <a:pt x="184" y="308"/>
                    </a:lnTo>
                    <a:lnTo>
                      <a:pt x="184" y="308"/>
                    </a:lnTo>
                    <a:lnTo>
                      <a:pt x="186" y="308"/>
                    </a:lnTo>
                    <a:lnTo>
                      <a:pt x="188" y="308"/>
                    </a:lnTo>
                    <a:lnTo>
                      <a:pt x="194" y="308"/>
                    </a:lnTo>
                    <a:lnTo>
                      <a:pt x="198" y="308"/>
                    </a:lnTo>
                    <a:lnTo>
                      <a:pt x="202" y="308"/>
                    </a:lnTo>
                    <a:lnTo>
                      <a:pt x="202" y="308"/>
                    </a:lnTo>
                    <a:lnTo>
                      <a:pt x="210" y="306"/>
                    </a:lnTo>
                    <a:lnTo>
                      <a:pt x="218" y="304"/>
                    </a:lnTo>
                    <a:lnTo>
                      <a:pt x="218" y="304"/>
                    </a:lnTo>
                    <a:lnTo>
                      <a:pt x="220" y="302"/>
                    </a:lnTo>
                    <a:lnTo>
                      <a:pt x="224" y="302"/>
                    </a:lnTo>
                    <a:lnTo>
                      <a:pt x="230" y="296"/>
                    </a:lnTo>
                    <a:lnTo>
                      <a:pt x="230" y="296"/>
                    </a:lnTo>
                    <a:lnTo>
                      <a:pt x="238" y="290"/>
                    </a:lnTo>
                    <a:lnTo>
                      <a:pt x="246" y="286"/>
                    </a:lnTo>
                    <a:lnTo>
                      <a:pt x="246" y="286"/>
                    </a:lnTo>
                    <a:lnTo>
                      <a:pt x="262" y="276"/>
                    </a:lnTo>
                    <a:lnTo>
                      <a:pt x="268" y="270"/>
                    </a:lnTo>
                    <a:lnTo>
                      <a:pt x="274" y="264"/>
                    </a:lnTo>
                    <a:lnTo>
                      <a:pt x="274" y="264"/>
                    </a:lnTo>
                    <a:lnTo>
                      <a:pt x="280" y="260"/>
                    </a:lnTo>
                    <a:lnTo>
                      <a:pt x="286" y="256"/>
                    </a:lnTo>
                    <a:lnTo>
                      <a:pt x="290" y="254"/>
                    </a:lnTo>
                    <a:lnTo>
                      <a:pt x="294" y="250"/>
                    </a:lnTo>
                    <a:lnTo>
                      <a:pt x="294" y="250"/>
                    </a:lnTo>
                    <a:lnTo>
                      <a:pt x="298" y="246"/>
                    </a:lnTo>
                    <a:lnTo>
                      <a:pt x="302" y="244"/>
                    </a:lnTo>
                    <a:lnTo>
                      <a:pt x="306" y="240"/>
                    </a:lnTo>
                    <a:lnTo>
                      <a:pt x="310" y="238"/>
                    </a:lnTo>
                    <a:lnTo>
                      <a:pt x="310" y="238"/>
                    </a:lnTo>
                    <a:lnTo>
                      <a:pt x="314" y="236"/>
                    </a:lnTo>
                    <a:lnTo>
                      <a:pt x="316" y="234"/>
                    </a:lnTo>
                    <a:lnTo>
                      <a:pt x="316" y="232"/>
                    </a:lnTo>
                    <a:lnTo>
                      <a:pt x="318" y="230"/>
                    </a:lnTo>
                    <a:lnTo>
                      <a:pt x="318" y="230"/>
                    </a:lnTo>
                    <a:lnTo>
                      <a:pt x="316" y="228"/>
                    </a:lnTo>
                    <a:lnTo>
                      <a:pt x="314" y="226"/>
                    </a:lnTo>
                    <a:lnTo>
                      <a:pt x="312" y="224"/>
                    </a:lnTo>
                    <a:lnTo>
                      <a:pt x="312" y="224"/>
                    </a:lnTo>
                    <a:lnTo>
                      <a:pt x="310" y="222"/>
                    </a:lnTo>
                    <a:lnTo>
                      <a:pt x="308" y="220"/>
                    </a:lnTo>
                    <a:lnTo>
                      <a:pt x="302" y="218"/>
                    </a:lnTo>
                    <a:lnTo>
                      <a:pt x="298" y="216"/>
                    </a:lnTo>
                    <a:lnTo>
                      <a:pt x="296" y="214"/>
                    </a:lnTo>
                    <a:lnTo>
                      <a:pt x="294" y="212"/>
                    </a:lnTo>
                    <a:lnTo>
                      <a:pt x="294" y="212"/>
                    </a:lnTo>
                    <a:lnTo>
                      <a:pt x="292" y="210"/>
                    </a:lnTo>
                    <a:lnTo>
                      <a:pt x="290" y="210"/>
                    </a:lnTo>
                    <a:lnTo>
                      <a:pt x="290" y="208"/>
                    </a:lnTo>
                    <a:lnTo>
                      <a:pt x="290" y="206"/>
                    </a:lnTo>
                    <a:lnTo>
                      <a:pt x="290" y="206"/>
                    </a:lnTo>
                    <a:lnTo>
                      <a:pt x="290" y="204"/>
                    </a:lnTo>
                    <a:lnTo>
                      <a:pt x="288" y="202"/>
                    </a:lnTo>
                    <a:lnTo>
                      <a:pt x="286" y="200"/>
                    </a:lnTo>
                    <a:lnTo>
                      <a:pt x="286" y="196"/>
                    </a:lnTo>
                    <a:lnTo>
                      <a:pt x="286" y="196"/>
                    </a:lnTo>
                    <a:lnTo>
                      <a:pt x="284" y="192"/>
                    </a:lnTo>
                    <a:lnTo>
                      <a:pt x="282" y="190"/>
                    </a:lnTo>
                    <a:lnTo>
                      <a:pt x="282" y="188"/>
                    </a:lnTo>
                    <a:lnTo>
                      <a:pt x="282" y="188"/>
                    </a:lnTo>
                    <a:lnTo>
                      <a:pt x="284" y="186"/>
                    </a:lnTo>
                    <a:lnTo>
                      <a:pt x="284" y="184"/>
                    </a:lnTo>
                    <a:lnTo>
                      <a:pt x="284" y="182"/>
                    </a:lnTo>
                    <a:lnTo>
                      <a:pt x="286" y="180"/>
                    </a:lnTo>
                    <a:lnTo>
                      <a:pt x="286" y="180"/>
                    </a:lnTo>
                    <a:lnTo>
                      <a:pt x="286" y="174"/>
                    </a:lnTo>
                    <a:lnTo>
                      <a:pt x="286" y="172"/>
                    </a:lnTo>
                    <a:lnTo>
                      <a:pt x="286" y="168"/>
                    </a:lnTo>
                    <a:lnTo>
                      <a:pt x="286" y="168"/>
                    </a:lnTo>
                    <a:lnTo>
                      <a:pt x="286" y="166"/>
                    </a:lnTo>
                    <a:lnTo>
                      <a:pt x="286" y="164"/>
                    </a:lnTo>
                    <a:lnTo>
                      <a:pt x="284" y="158"/>
                    </a:lnTo>
                    <a:lnTo>
                      <a:pt x="284" y="158"/>
                    </a:lnTo>
                    <a:lnTo>
                      <a:pt x="284" y="154"/>
                    </a:lnTo>
                    <a:lnTo>
                      <a:pt x="284" y="150"/>
                    </a:lnTo>
                    <a:lnTo>
                      <a:pt x="282" y="138"/>
                    </a:lnTo>
                    <a:lnTo>
                      <a:pt x="282" y="138"/>
                    </a:lnTo>
                    <a:lnTo>
                      <a:pt x="282" y="128"/>
                    </a:lnTo>
                    <a:lnTo>
                      <a:pt x="280" y="118"/>
                    </a:lnTo>
                    <a:lnTo>
                      <a:pt x="280" y="118"/>
                    </a:lnTo>
                    <a:lnTo>
                      <a:pt x="280" y="112"/>
                    </a:lnTo>
                    <a:lnTo>
                      <a:pt x="280" y="112"/>
                    </a:lnTo>
                    <a:lnTo>
                      <a:pt x="278" y="108"/>
                    </a:lnTo>
                    <a:lnTo>
                      <a:pt x="278" y="108"/>
                    </a:lnTo>
                    <a:lnTo>
                      <a:pt x="278" y="106"/>
                    </a:lnTo>
                    <a:lnTo>
                      <a:pt x="276" y="104"/>
                    </a:lnTo>
                    <a:lnTo>
                      <a:pt x="274" y="102"/>
                    </a:lnTo>
                    <a:lnTo>
                      <a:pt x="272" y="100"/>
                    </a:lnTo>
                    <a:lnTo>
                      <a:pt x="272" y="100"/>
                    </a:lnTo>
                    <a:lnTo>
                      <a:pt x="272" y="96"/>
                    </a:lnTo>
                    <a:lnTo>
                      <a:pt x="272" y="94"/>
                    </a:lnTo>
                    <a:lnTo>
                      <a:pt x="272" y="92"/>
                    </a:lnTo>
                    <a:lnTo>
                      <a:pt x="272" y="90"/>
                    </a:lnTo>
                    <a:lnTo>
                      <a:pt x="272" y="90"/>
                    </a:lnTo>
                    <a:lnTo>
                      <a:pt x="270" y="88"/>
                    </a:lnTo>
                    <a:lnTo>
                      <a:pt x="270" y="86"/>
                    </a:lnTo>
                    <a:lnTo>
                      <a:pt x="266" y="82"/>
                    </a:lnTo>
                    <a:lnTo>
                      <a:pt x="266" y="82"/>
                    </a:lnTo>
                    <a:lnTo>
                      <a:pt x="264" y="80"/>
                    </a:lnTo>
                    <a:lnTo>
                      <a:pt x="262" y="78"/>
                    </a:lnTo>
                    <a:lnTo>
                      <a:pt x="262" y="76"/>
                    </a:lnTo>
                    <a:lnTo>
                      <a:pt x="258" y="74"/>
                    </a:lnTo>
                    <a:lnTo>
                      <a:pt x="258" y="74"/>
                    </a:lnTo>
                    <a:lnTo>
                      <a:pt x="258" y="72"/>
                    </a:lnTo>
                    <a:lnTo>
                      <a:pt x="256" y="72"/>
                    </a:lnTo>
                    <a:lnTo>
                      <a:pt x="254" y="70"/>
                    </a:lnTo>
                    <a:lnTo>
                      <a:pt x="252" y="70"/>
                    </a:lnTo>
                    <a:lnTo>
                      <a:pt x="252" y="70"/>
                    </a:lnTo>
                    <a:lnTo>
                      <a:pt x="252" y="68"/>
                    </a:lnTo>
                    <a:lnTo>
                      <a:pt x="252" y="68"/>
                    </a:lnTo>
                    <a:lnTo>
                      <a:pt x="250" y="66"/>
                    </a:lnTo>
                    <a:lnTo>
                      <a:pt x="252" y="64"/>
                    </a:lnTo>
                    <a:lnTo>
                      <a:pt x="250" y="62"/>
                    </a:lnTo>
                    <a:lnTo>
                      <a:pt x="250" y="62"/>
                    </a:lnTo>
                    <a:lnTo>
                      <a:pt x="250" y="58"/>
                    </a:lnTo>
                    <a:lnTo>
                      <a:pt x="248" y="56"/>
                    </a:lnTo>
                    <a:lnTo>
                      <a:pt x="248" y="54"/>
                    </a:lnTo>
                    <a:lnTo>
                      <a:pt x="246" y="52"/>
                    </a:lnTo>
                    <a:lnTo>
                      <a:pt x="246" y="52"/>
                    </a:lnTo>
                    <a:lnTo>
                      <a:pt x="246" y="52"/>
                    </a:lnTo>
                    <a:lnTo>
                      <a:pt x="246" y="50"/>
                    </a:lnTo>
                    <a:lnTo>
                      <a:pt x="248" y="48"/>
                    </a:lnTo>
                    <a:lnTo>
                      <a:pt x="250" y="46"/>
                    </a:lnTo>
                    <a:lnTo>
                      <a:pt x="250" y="44"/>
                    </a:lnTo>
                    <a:lnTo>
                      <a:pt x="254" y="40"/>
                    </a:lnTo>
                    <a:lnTo>
                      <a:pt x="256" y="40"/>
                    </a:lnTo>
                    <a:lnTo>
                      <a:pt x="256" y="38"/>
                    </a:lnTo>
                    <a:lnTo>
                      <a:pt x="256" y="38"/>
                    </a:lnTo>
                    <a:lnTo>
                      <a:pt x="258" y="34"/>
                    </a:lnTo>
                    <a:lnTo>
                      <a:pt x="256" y="32"/>
                    </a:lnTo>
                    <a:lnTo>
                      <a:pt x="256" y="30"/>
                    </a:lnTo>
                    <a:lnTo>
                      <a:pt x="256" y="28"/>
                    </a:lnTo>
                    <a:lnTo>
                      <a:pt x="254" y="24"/>
                    </a:lnTo>
                    <a:lnTo>
                      <a:pt x="252" y="20"/>
                    </a:lnTo>
                    <a:lnTo>
                      <a:pt x="252" y="20"/>
                    </a:lnTo>
                    <a:lnTo>
                      <a:pt x="250" y="16"/>
                    </a:lnTo>
                    <a:lnTo>
                      <a:pt x="248" y="12"/>
                    </a:lnTo>
                    <a:lnTo>
                      <a:pt x="246" y="4"/>
                    </a:lnTo>
                    <a:lnTo>
                      <a:pt x="246" y="4"/>
                    </a:lnTo>
                    <a:lnTo>
                      <a:pt x="246" y="4"/>
                    </a:lnTo>
                    <a:lnTo>
                      <a:pt x="246" y="4"/>
                    </a:lnTo>
                    <a:lnTo>
                      <a:pt x="246" y="4"/>
                    </a:lnTo>
                    <a:lnTo>
                      <a:pt x="244" y="4"/>
                    </a:lnTo>
                    <a:lnTo>
                      <a:pt x="242" y="2"/>
                    </a:lnTo>
                    <a:lnTo>
                      <a:pt x="242" y="0"/>
                    </a:lnTo>
                    <a:lnTo>
                      <a:pt x="240" y="0"/>
                    </a:lnTo>
                    <a:lnTo>
                      <a:pt x="240" y="0"/>
                    </a:lnTo>
                    <a:lnTo>
                      <a:pt x="240" y="0"/>
                    </a:lnTo>
                    <a:lnTo>
                      <a:pt x="236" y="0"/>
                    </a:lnTo>
                    <a:lnTo>
                      <a:pt x="232" y="0"/>
                    </a:lnTo>
                    <a:lnTo>
                      <a:pt x="226" y="0"/>
                    </a:lnTo>
                    <a:lnTo>
                      <a:pt x="226" y="0"/>
                    </a:lnTo>
                    <a:lnTo>
                      <a:pt x="222" y="0"/>
                    </a:lnTo>
                    <a:lnTo>
                      <a:pt x="222" y="0"/>
                    </a:lnTo>
                    <a:lnTo>
                      <a:pt x="220" y="0"/>
                    </a:lnTo>
                    <a:lnTo>
                      <a:pt x="220" y="0"/>
                    </a:lnTo>
                    <a:lnTo>
                      <a:pt x="220" y="0"/>
                    </a:lnTo>
                    <a:lnTo>
                      <a:pt x="218" y="2"/>
                    </a:lnTo>
                    <a:lnTo>
                      <a:pt x="218" y="2"/>
                    </a:lnTo>
                    <a:lnTo>
                      <a:pt x="214" y="4"/>
                    </a:lnTo>
                    <a:lnTo>
                      <a:pt x="214" y="6"/>
                    </a:lnTo>
                    <a:lnTo>
                      <a:pt x="212" y="6"/>
                    </a:lnTo>
                    <a:lnTo>
                      <a:pt x="212" y="6"/>
                    </a:lnTo>
                    <a:lnTo>
                      <a:pt x="212" y="6"/>
                    </a:lnTo>
                    <a:lnTo>
                      <a:pt x="210" y="6"/>
                    </a:lnTo>
                    <a:lnTo>
                      <a:pt x="208" y="4"/>
                    </a:lnTo>
                    <a:lnTo>
                      <a:pt x="206" y="2"/>
                    </a:lnTo>
                    <a:lnTo>
                      <a:pt x="206" y="2"/>
                    </a:lnTo>
                    <a:lnTo>
                      <a:pt x="206" y="2"/>
                    </a:lnTo>
                    <a:lnTo>
                      <a:pt x="204" y="2"/>
                    </a:lnTo>
                    <a:lnTo>
                      <a:pt x="202" y="2"/>
                    </a:lnTo>
                    <a:lnTo>
                      <a:pt x="202" y="2"/>
                    </a:lnTo>
                    <a:lnTo>
                      <a:pt x="192" y="2"/>
                    </a:lnTo>
                    <a:lnTo>
                      <a:pt x="192" y="2"/>
                    </a:lnTo>
                    <a:lnTo>
                      <a:pt x="190" y="2"/>
                    </a:lnTo>
                    <a:lnTo>
                      <a:pt x="190" y="2"/>
                    </a:lnTo>
                    <a:lnTo>
                      <a:pt x="188" y="2"/>
                    </a:lnTo>
                    <a:lnTo>
                      <a:pt x="188" y="2"/>
                    </a:lnTo>
                    <a:lnTo>
                      <a:pt x="186" y="2"/>
                    </a:lnTo>
                    <a:lnTo>
                      <a:pt x="184" y="4"/>
                    </a:lnTo>
                    <a:lnTo>
                      <a:pt x="184" y="4"/>
                    </a:lnTo>
                    <a:lnTo>
                      <a:pt x="178" y="6"/>
                    </a:lnTo>
                    <a:lnTo>
                      <a:pt x="178" y="6"/>
                    </a:lnTo>
                    <a:lnTo>
                      <a:pt x="176" y="6"/>
                    </a:lnTo>
                    <a:lnTo>
                      <a:pt x="174" y="6"/>
                    </a:lnTo>
                    <a:lnTo>
                      <a:pt x="172" y="6"/>
                    </a:lnTo>
                    <a:lnTo>
                      <a:pt x="172" y="6"/>
                    </a:lnTo>
                    <a:lnTo>
                      <a:pt x="164" y="6"/>
                    </a:lnTo>
                    <a:lnTo>
                      <a:pt x="156" y="4"/>
                    </a:lnTo>
                    <a:lnTo>
                      <a:pt x="156" y="4"/>
                    </a:lnTo>
                    <a:lnTo>
                      <a:pt x="154" y="4"/>
                    </a:lnTo>
                    <a:lnTo>
                      <a:pt x="150" y="4"/>
                    </a:lnTo>
                    <a:lnTo>
                      <a:pt x="148" y="6"/>
                    </a:lnTo>
                    <a:lnTo>
                      <a:pt x="144" y="6"/>
                    </a:lnTo>
                    <a:lnTo>
                      <a:pt x="144" y="6"/>
                    </a:lnTo>
                    <a:lnTo>
                      <a:pt x="144" y="6"/>
                    </a:lnTo>
                    <a:lnTo>
                      <a:pt x="142" y="8"/>
                    </a:lnTo>
                    <a:lnTo>
                      <a:pt x="140" y="10"/>
                    </a:lnTo>
                    <a:lnTo>
                      <a:pt x="140" y="10"/>
                    </a:lnTo>
                    <a:lnTo>
                      <a:pt x="136" y="10"/>
                    </a:lnTo>
                    <a:lnTo>
                      <a:pt x="132" y="12"/>
                    </a:lnTo>
                    <a:lnTo>
                      <a:pt x="132" y="12"/>
                    </a:lnTo>
                    <a:lnTo>
                      <a:pt x="130" y="14"/>
                    </a:lnTo>
                    <a:lnTo>
                      <a:pt x="128" y="14"/>
                    </a:lnTo>
                    <a:lnTo>
                      <a:pt x="128" y="14"/>
                    </a:lnTo>
                    <a:lnTo>
                      <a:pt x="126" y="16"/>
                    </a:lnTo>
                    <a:lnTo>
                      <a:pt x="126" y="16"/>
                    </a:lnTo>
                    <a:lnTo>
                      <a:pt x="126" y="16"/>
                    </a:lnTo>
                    <a:lnTo>
                      <a:pt x="122" y="18"/>
                    </a:lnTo>
                    <a:lnTo>
                      <a:pt x="120" y="18"/>
                    </a:lnTo>
                    <a:lnTo>
                      <a:pt x="120" y="18"/>
                    </a:lnTo>
                    <a:lnTo>
                      <a:pt x="116" y="20"/>
                    </a:lnTo>
                    <a:lnTo>
                      <a:pt x="116" y="20"/>
                    </a:lnTo>
                    <a:lnTo>
                      <a:pt x="114" y="22"/>
                    </a:lnTo>
                    <a:lnTo>
                      <a:pt x="114" y="22"/>
                    </a:lnTo>
                    <a:lnTo>
                      <a:pt x="110" y="26"/>
                    </a:lnTo>
                    <a:lnTo>
                      <a:pt x="106" y="28"/>
                    </a:lnTo>
                    <a:lnTo>
                      <a:pt x="106" y="28"/>
                    </a:lnTo>
                    <a:lnTo>
                      <a:pt x="104" y="30"/>
                    </a:lnTo>
                    <a:lnTo>
                      <a:pt x="104" y="32"/>
                    </a:lnTo>
                    <a:lnTo>
                      <a:pt x="102" y="32"/>
                    </a:lnTo>
                    <a:lnTo>
                      <a:pt x="102" y="32"/>
                    </a:lnTo>
                    <a:lnTo>
                      <a:pt x="102" y="40"/>
                    </a:lnTo>
                    <a:lnTo>
                      <a:pt x="102" y="44"/>
                    </a:lnTo>
                    <a:lnTo>
                      <a:pt x="102" y="48"/>
                    </a:lnTo>
                    <a:lnTo>
                      <a:pt x="102" y="48"/>
                    </a:lnTo>
                    <a:lnTo>
                      <a:pt x="104" y="52"/>
                    </a:lnTo>
                    <a:lnTo>
                      <a:pt x="106" y="58"/>
                    </a:lnTo>
                    <a:lnTo>
                      <a:pt x="108" y="62"/>
                    </a:lnTo>
                    <a:lnTo>
                      <a:pt x="108" y="64"/>
                    </a:lnTo>
                    <a:lnTo>
                      <a:pt x="108" y="66"/>
                    </a:lnTo>
                    <a:lnTo>
                      <a:pt x="108" y="66"/>
                    </a:lnTo>
                    <a:lnTo>
                      <a:pt x="110" y="68"/>
                    </a:lnTo>
                    <a:lnTo>
                      <a:pt x="110" y="70"/>
                    </a:lnTo>
                    <a:lnTo>
                      <a:pt x="112" y="76"/>
                    </a:lnTo>
                    <a:lnTo>
                      <a:pt x="114" y="78"/>
                    </a:lnTo>
                    <a:lnTo>
                      <a:pt x="114" y="80"/>
                    </a:lnTo>
                    <a:lnTo>
                      <a:pt x="114" y="84"/>
                    </a:lnTo>
                    <a:lnTo>
                      <a:pt x="114" y="86"/>
                    </a:lnTo>
                    <a:lnTo>
                      <a:pt x="114" y="86"/>
                    </a:lnTo>
                    <a:lnTo>
                      <a:pt x="114" y="88"/>
                    </a:lnTo>
                    <a:lnTo>
                      <a:pt x="112" y="88"/>
                    </a:lnTo>
                    <a:lnTo>
                      <a:pt x="112" y="88"/>
                    </a:lnTo>
                    <a:lnTo>
                      <a:pt x="110" y="88"/>
                    </a:lnTo>
                    <a:lnTo>
                      <a:pt x="106" y="90"/>
                    </a:lnTo>
                    <a:lnTo>
                      <a:pt x="104" y="90"/>
                    </a:lnTo>
                    <a:lnTo>
                      <a:pt x="102" y="90"/>
                    </a:lnTo>
                    <a:lnTo>
                      <a:pt x="98" y="88"/>
                    </a:lnTo>
                    <a:lnTo>
                      <a:pt x="92" y="88"/>
                    </a:lnTo>
                    <a:lnTo>
                      <a:pt x="92" y="88"/>
                    </a:lnTo>
                    <a:lnTo>
                      <a:pt x="90" y="88"/>
                    </a:lnTo>
                    <a:lnTo>
                      <a:pt x="86" y="88"/>
                    </a:lnTo>
                    <a:lnTo>
                      <a:pt x="84" y="90"/>
                    </a:lnTo>
                    <a:lnTo>
                      <a:pt x="82" y="92"/>
                    </a:lnTo>
                    <a:lnTo>
                      <a:pt x="82" y="92"/>
                    </a:lnTo>
                    <a:lnTo>
                      <a:pt x="80" y="94"/>
                    </a:lnTo>
                    <a:lnTo>
                      <a:pt x="78" y="96"/>
                    </a:lnTo>
                    <a:lnTo>
                      <a:pt x="76" y="98"/>
                    </a:lnTo>
                    <a:lnTo>
                      <a:pt x="76" y="100"/>
                    </a:lnTo>
                    <a:lnTo>
                      <a:pt x="76" y="102"/>
                    </a:lnTo>
                    <a:lnTo>
                      <a:pt x="76" y="102"/>
                    </a:lnTo>
                    <a:lnTo>
                      <a:pt x="76" y="102"/>
                    </a:lnTo>
                    <a:lnTo>
                      <a:pt x="76" y="104"/>
                    </a:lnTo>
                    <a:lnTo>
                      <a:pt x="78" y="104"/>
                    </a:lnTo>
                    <a:lnTo>
                      <a:pt x="80" y="104"/>
                    </a:lnTo>
                    <a:lnTo>
                      <a:pt x="80" y="106"/>
                    </a:lnTo>
                    <a:lnTo>
                      <a:pt x="80" y="106"/>
                    </a:lnTo>
                    <a:lnTo>
                      <a:pt x="78" y="108"/>
                    </a:lnTo>
                    <a:lnTo>
                      <a:pt x="78" y="108"/>
                    </a:lnTo>
                    <a:lnTo>
                      <a:pt x="76" y="110"/>
                    </a:lnTo>
                    <a:lnTo>
                      <a:pt x="76" y="110"/>
                    </a:lnTo>
                    <a:lnTo>
                      <a:pt x="72" y="112"/>
                    </a:lnTo>
                    <a:lnTo>
                      <a:pt x="70" y="112"/>
                    </a:lnTo>
                    <a:lnTo>
                      <a:pt x="68" y="112"/>
                    </a:lnTo>
                    <a:lnTo>
                      <a:pt x="68" y="112"/>
                    </a:lnTo>
                    <a:lnTo>
                      <a:pt x="66" y="112"/>
                    </a:lnTo>
                    <a:lnTo>
                      <a:pt x="64" y="114"/>
                    </a:lnTo>
                    <a:lnTo>
                      <a:pt x="62" y="116"/>
                    </a:lnTo>
                    <a:lnTo>
                      <a:pt x="60" y="120"/>
                    </a:lnTo>
                    <a:lnTo>
                      <a:pt x="60" y="122"/>
                    </a:lnTo>
                    <a:lnTo>
                      <a:pt x="58" y="124"/>
                    </a:lnTo>
                    <a:lnTo>
                      <a:pt x="56" y="126"/>
                    </a:lnTo>
                    <a:lnTo>
                      <a:pt x="54" y="128"/>
                    </a:lnTo>
                    <a:lnTo>
                      <a:pt x="54" y="128"/>
                    </a:lnTo>
                    <a:lnTo>
                      <a:pt x="50" y="130"/>
                    </a:lnTo>
                    <a:lnTo>
                      <a:pt x="44" y="130"/>
                    </a:lnTo>
                    <a:lnTo>
                      <a:pt x="40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2" y="132"/>
                    </a:lnTo>
                    <a:lnTo>
                      <a:pt x="28" y="134"/>
                    </a:lnTo>
                    <a:lnTo>
                      <a:pt x="24" y="134"/>
                    </a:lnTo>
                    <a:lnTo>
                      <a:pt x="18" y="136"/>
                    </a:lnTo>
                    <a:lnTo>
                      <a:pt x="18" y="136"/>
                    </a:lnTo>
                    <a:lnTo>
                      <a:pt x="16" y="136"/>
                    </a:lnTo>
                    <a:lnTo>
                      <a:pt x="12" y="138"/>
                    </a:lnTo>
                    <a:lnTo>
                      <a:pt x="6" y="140"/>
                    </a:lnTo>
                    <a:lnTo>
                      <a:pt x="6" y="140"/>
                    </a:lnTo>
                    <a:lnTo>
                      <a:pt x="6" y="140"/>
                    </a:lnTo>
                    <a:lnTo>
                      <a:pt x="4" y="142"/>
                    </a:lnTo>
                    <a:lnTo>
                      <a:pt x="4" y="142"/>
                    </a:lnTo>
                    <a:lnTo>
                      <a:pt x="2" y="144"/>
                    </a:lnTo>
                    <a:lnTo>
                      <a:pt x="2" y="148"/>
                    </a:lnTo>
                    <a:lnTo>
                      <a:pt x="2" y="152"/>
                    </a:lnTo>
                    <a:lnTo>
                      <a:pt x="2" y="158"/>
                    </a:lnTo>
                    <a:lnTo>
                      <a:pt x="2" y="166"/>
                    </a:lnTo>
                    <a:lnTo>
                      <a:pt x="2" y="166"/>
                    </a:lnTo>
                    <a:lnTo>
                      <a:pt x="0" y="166"/>
                    </a:lnTo>
                    <a:lnTo>
                      <a:pt x="0" y="166"/>
                    </a:lnTo>
                    <a:lnTo>
                      <a:pt x="2" y="168"/>
                    </a:lnTo>
                    <a:lnTo>
                      <a:pt x="2" y="168"/>
                    </a:lnTo>
                    <a:lnTo>
                      <a:pt x="6" y="172"/>
                    </a:lnTo>
                    <a:lnTo>
                      <a:pt x="10" y="174"/>
                    </a:lnTo>
                    <a:lnTo>
                      <a:pt x="18" y="180"/>
                    </a:lnTo>
                    <a:lnTo>
                      <a:pt x="18" y="180"/>
                    </a:lnTo>
                    <a:lnTo>
                      <a:pt x="32" y="188"/>
                    </a:lnTo>
                    <a:lnTo>
                      <a:pt x="36" y="192"/>
                    </a:lnTo>
                    <a:lnTo>
                      <a:pt x="42" y="196"/>
                    </a:lnTo>
                    <a:lnTo>
                      <a:pt x="42" y="196"/>
                    </a:lnTo>
                    <a:lnTo>
                      <a:pt x="42" y="196"/>
                    </a:lnTo>
                    <a:lnTo>
                      <a:pt x="42" y="196"/>
                    </a:lnTo>
                    <a:lnTo>
                      <a:pt x="42" y="19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13" name="Freeform 603"/>
              <p:cNvSpPr>
                <a:spLocks/>
              </p:cNvSpPr>
              <p:nvPr/>
            </p:nvSpPr>
            <p:spPr bwMode="auto">
              <a:xfrm>
                <a:off x="2831" y="2206"/>
                <a:ext cx="66" cy="122"/>
              </a:xfrm>
              <a:custGeom>
                <a:avLst/>
                <a:gdLst>
                  <a:gd name="T0" fmla="*/ 42 w 66"/>
                  <a:gd name="T1" fmla="*/ 106 h 122"/>
                  <a:gd name="T2" fmla="*/ 42 w 66"/>
                  <a:gd name="T3" fmla="*/ 96 h 122"/>
                  <a:gd name="T4" fmla="*/ 52 w 66"/>
                  <a:gd name="T5" fmla="*/ 92 h 122"/>
                  <a:gd name="T6" fmla="*/ 60 w 66"/>
                  <a:gd name="T7" fmla="*/ 82 h 122"/>
                  <a:gd name="T8" fmla="*/ 66 w 66"/>
                  <a:gd name="T9" fmla="*/ 74 h 122"/>
                  <a:gd name="T10" fmla="*/ 58 w 66"/>
                  <a:gd name="T11" fmla="*/ 70 h 122"/>
                  <a:gd name="T12" fmla="*/ 52 w 66"/>
                  <a:gd name="T13" fmla="*/ 64 h 122"/>
                  <a:gd name="T14" fmla="*/ 46 w 66"/>
                  <a:gd name="T15" fmla="*/ 62 h 122"/>
                  <a:gd name="T16" fmla="*/ 42 w 66"/>
                  <a:gd name="T17" fmla="*/ 60 h 122"/>
                  <a:gd name="T18" fmla="*/ 42 w 66"/>
                  <a:gd name="T19" fmla="*/ 56 h 122"/>
                  <a:gd name="T20" fmla="*/ 44 w 66"/>
                  <a:gd name="T21" fmla="*/ 52 h 122"/>
                  <a:gd name="T22" fmla="*/ 50 w 66"/>
                  <a:gd name="T23" fmla="*/ 48 h 122"/>
                  <a:gd name="T24" fmla="*/ 50 w 66"/>
                  <a:gd name="T25" fmla="*/ 46 h 122"/>
                  <a:gd name="T26" fmla="*/ 52 w 66"/>
                  <a:gd name="T27" fmla="*/ 40 h 122"/>
                  <a:gd name="T28" fmla="*/ 54 w 66"/>
                  <a:gd name="T29" fmla="*/ 38 h 122"/>
                  <a:gd name="T30" fmla="*/ 54 w 66"/>
                  <a:gd name="T31" fmla="*/ 34 h 122"/>
                  <a:gd name="T32" fmla="*/ 50 w 66"/>
                  <a:gd name="T33" fmla="*/ 32 h 122"/>
                  <a:gd name="T34" fmla="*/ 46 w 66"/>
                  <a:gd name="T35" fmla="*/ 28 h 122"/>
                  <a:gd name="T36" fmla="*/ 42 w 66"/>
                  <a:gd name="T37" fmla="*/ 24 h 122"/>
                  <a:gd name="T38" fmla="*/ 42 w 66"/>
                  <a:gd name="T39" fmla="*/ 20 h 122"/>
                  <a:gd name="T40" fmla="*/ 44 w 66"/>
                  <a:gd name="T41" fmla="*/ 16 h 122"/>
                  <a:gd name="T42" fmla="*/ 50 w 66"/>
                  <a:gd name="T43" fmla="*/ 6 h 122"/>
                  <a:gd name="T44" fmla="*/ 50 w 66"/>
                  <a:gd name="T45" fmla="*/ 2 h 122"/>
                  <a:gd name="T46" fmla="*/ 46 w 66"/>
                  <a:gd name="T47" fmla="*/ 2 h 122"/>
                  <a:gd name="T48" fmla="*/ 42 w 66"/>
                  <a:gd name="T49" fmla="*/ 8 h 122"/>
                  <a:gd name="T50" fmla="*/ 36 w 66"/>
                  <a:gd name="T51" fmla="*/ 6 h 122"/>
                  <a:gd name="T52" fmla="*/ 34 w 66"/>
                  <a:gd name="T53" fmla="*/ 2 h 122"/>
                  <a:gd name="T54" fmla="*/ 30 w 66"/>
                  <a:gd name="T55" fmla="*/ 0 h 122"/>
                  <a:gd name="T56" fmla="*/ 20 w 66"/>
                  <a:gd name="T57" fmla="*/ 0 h 122"/>
                  <a:gd name="T58" fmla="*/ 12 w 66"/>
                  <a:gd name="T59" fmla="*/ 2 h 122"/>
                  <a:gd name="T60" fmla="*/ 6 w 66"/>
                  <a:gd name="T61" fmla="*/ 8 h 122"/>
                  <a:gd name="T62" fmla="*/ 4 w 66"/>
                  <a:gd name="T63" fmla="*/ 10 h 122"/>
                  <a:gd name="T64" fmla="*/ 0 w 66"/>
                  <a:gd name="T65" fmla="*/ 10 h 122"/>
                  <a:gd name="T66" fmla="*/ 6 w 66"/>
                  <a:gd name="T67" fmla="*/ 26 h 122"/>
                  <a:gd name="T68" fmla="*/ 10 w 66"/>
                  <a:gd name="T69" fmla="*/ 38 h 122"/>
                  <a:gd name="T70" fmla="*/ 10 w 66"/>
                  <a:gd name="T71" fmla="*/ 46 h 122"/>
                  <a:gd name="T72" fmla="*/ 2 w 66"/>
                  <a:gd name="T73" fmla="*/ 54 h 122"/>
                  <a:gd name="T74" fmla="*/ 0 w 66"/>
                  <a:gd name="T75" fmla="*/ 58 h 122"/>
                  <a:gd name="T76" fmla="*/ 4 w 66"/>
                  <a:gd name="T77" fmla="*/ 68 h 122"/>
                  <a:gd name="T78" fmla="*/ 6 w 66"/>
                  <a:gd name="T79" fmla="*/ 74 h 122"/>
                  <a:gd name="T80" fmla="*/ 8 w 66"/>
                  <a:gd name="T81" fmla="*/ 76 h 122"/>
                  <a:gd name="T82" fmla="*/ 12 w 66"/>
                  <a:gd name="T83" fmla="*/ 80 h 122"/>
                  <a:gd name="T84" fmla="*/ 20 w 66"/>
                  <a:gd name="T85" fmla="*/ 88 h 122"/>
                  <a:gd name="T86" fmla="*/ 26 w 66"/>
                  <a:gd name="T87" fmla="*/ 96 h 122"/>
                  <a:gd name="T88" fmla="*/ 26 w 66"/>
                  <a:gd name="T89" fmla="*/ 102 h 122"/>
                  <a:gd name="T90" fmla="*/ 30 w 66"/>
                  <a:gd name="T91" fmla="*/ 110 h 122"/>
                  <a:gd name="T92" fmla="*/ 34 w 66"/>
                  <a:gd name="T93" fmla="*/ 118 h 122"/>
                  <a:gd name="T94" fmla="*/ 40 w 66"/>
                  <a:gd name="T95" fmla="*/ 118 h 122"/>
                  <a:gd name="T96" fmla="*/ 42 w 66"/>
                  <a:gd name="T97" fmla="*/ 110 h 122"/>
                  <a:gd name="T98" fmla="*/ 42 w 66"/>
                  <a:gd name="T99" fmla="*/ 110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66" h="122">
                    <a:moveTo>
                      <a:pt x="42" y="110"/>
                    </a:moveTo>
                    <a:lnTo>
                      <a:pt x="42" y="110"/>
                    </a:lnTo>
                    <a:lnTo>
                      <a:pt x="42" y="108"/>
                    </a:lnTo>
                    <a:lnTo>
                      <a:pt x="42" y="106"/>
                    </a:lnTo>
                    <a:lnTo>
                      <a:pt x="42" y="102"/>
                    </a:lnTo>
                    <a:lnTo>
                      <a:pt x="42" y="100"/>
                    </a:lnTo>
                    <a:lnTo>
                      <a:pt x="42" y="98"/>
                    </a:lnTo>
                    <a:lnTo>
                      <a:pt x="42" y="96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50" y="94"/>
                    </a:lnTo>
                    <a:lnTo>
                      <a:pt x="52" y="92"/>
                    </a:lnTo>
                    <a:lnTo>
                      <a:pt x="56" y="88"/>
                    </a:lnTo>
                    <a:lnTo>
                      <a:pt x="58" y="84"/>
                    </a:lnTo>
                    <a:lnTo>
                      <a:pt x="58" y="84"/>
                    </a:lnTo>
                    <a:lnTo>
                      <a:pt x="60" y="82"/>
                    </a:lnTo>
                    <a:lnTo>
                      <a:pt x="62" y="80"/>
                    </a:lnTo>
                    <a:lnTo>
                      <a:pt x="64" y="76"/>
                    </a:lnTo>
                    <a:lnTo>
                      <a:pt x="66" y="74"/>
                    </a:lnTo>
                    <a:lnTo>
                      <a:pt x="66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0" y="72"/>
                    </a:lnTo>
                    <a:lnTo>
                      <a:pt x="58" y="70"/>
                    </a:lnTo>
                    <a:lnTo>
                      <a:pt x="58" y="70"/>
                    </a:lnTo>
                    <a:lnTo>
                      <a:pt x="58" y="70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0" y="62"/>
                    </a:lnTo>
                    <a:lnTo>
                      <a:pt x="50" y="62"/>
                    </a:lnTo>
                    <a:lnTo>
                      <a:pt x="48" y="62"/>
                    </a:lnTo>
                    <a:lnTo>
                      <a:pt x="46" y="62"/>
                    </a:lnTo>
                    <a:lnTo>
                      <a:pt x="44" y="62"/>
                    </a:lnTo>
                    <a:lnTo>
                      <a:pt x="44" y="62"/>
                    </a:lnTo>
                    <a:lnTo>
                      <a:pt x="44" y="60"/>
                    </a:lnTo>
                    <a:lnTo>
                      <a:pt x="42" y="60"/>
                    </a:lnTo>
                    <a:lnTo>
                      <a:pt x="42" y="58"/>
                    </a:lnTo>
                    <a:lnTo>
                      <a:pt x="40" y="58"/>
                    </a:lnTo>
                    <a:lnTo>
                      <a:pt x="40" y="56"/>
                    </a:lnTo>
                    <a:lnTo>
                      <a:pt x="42" y="56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2"/>
                    </a:lnTo>
                    <a:lnTo>
                      <a:pt x="44" y="52"/>
                    </a:lnTo>
                    <a:lnTo>
                      <a:pt x="46" y="52"/>
                    </a:lnTo>
                    <a:lnTo>
                      <a:pt x="48" y="50"/>
                    </a:lnTo>
                    <a:lnTo>
                      <a:pt x="48" y="50"/>
                    </a:lnTo>
                    <a:lnTo>
                      <a:pt x="50" y="48"/>
                    </a:lnTo>
                    <a:lnTo>
                      <a:pt x="50" y="48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52" y="44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0"/>
                    </a:lnTo>
                    <a:lnTo>
                      <a:pt x="52" y="40"/>
                    </a:lnTo>
                    <a:lnTo>
                      <a:pt x="52" y="40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6"/>
                    </a:lnTo>
                    <a:lnTo>
                      <a:pt x="54" y="34"/>
                    </a:lnTo>
                    <a:lnTo>
                      <a:pt x="54" y="34"/>
                    </a:lnTo>
                    <a:lnTo>
                      <a:pt x="54" y="34"/>
                    </a:lnTo>
                    <a:lnTo>
                      <a:pt x="54" y="34"/>
                    </a:lnTo>
                    <a:lnTo>
                      <a:pt x="52" y="32"/>
                    </a:lnTo>
                    <a:lnTo>
                      <a:pt x="50" y="32"/>
                    </a:lnTo>
                    <a:lnTo>
                      <a:pt x="50" y="32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6" y="28"/>
                    </a:lnTo>
                    <a:lnTo>
                      <a:pt x="44" y="28"/>
                    </a:lnTo>
                    <a:lnTo>
                      <a:pt x="44" y="26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42" y="22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2" y="18"/>
                    </a:lnTo>
                    <a:lnTo>
                      <a:pt x="42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6" y="14"/>
                    </a:lnTo>
                    <a:lnTo>
                      <a:pt x="48" y="12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4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48" y="2"/>
                    </a:lnTo>
                    <a:lnTo>
                      <a:pt x="48" y="2"/>
                    </a:lnTo>
                    <a:lnTo>
                      <a:pt x="46" y="2"/>
                    </a:lnTo>
                    <a:lnTo>
                      <a:pt x="46" y="4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38" y="6"/>
                    </a:lnTo>
                    <a:lnTo>
                      <a:pt x="36" y="6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2" y="0"/>
                    </a:lnTo>
                    <a:lnTo>
                      <a:pt x="30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2" y="0"/>
                    </a:lnTo>
                    <a:lnTo>
                      <a:pt x="20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8" y="6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4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2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8"/>
                    </a:lnTo>
                    <a:lnTo>
                      <a:pt x="4" y="22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8" y="30"/>
                    </a:lnTo>
                    <a:lnTo>
                      <a:pt x="10" y="34"/>
                    </a:lnTo>
                    <a:lnTo>
                      <a:pt x="10" y="36"/>
                    </a:lnTo>
                    <a:lnTo>
                      <a:pt x="10" y="38"/>
                    </a:lnTo>
                    <a:lnTo>
                      <a:pt x="12" y="40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10" y="46"/>
                    </a:lnTo>
                    <a:lnTo>
                      <a:pt x="8" y="46"/>
                    </a:lnTo>
                    <a:lnTo>
                      <a:pt x="4" y="50"/>
                    </a:lnTo>
                    <a:lnTo>
                      <a:pt x="4" y="52"/>
                    </a:lnTo>
                    <a:lnTo>
                      <a:pt x="2" y="54"/>
                    </a:lnTo>
                    <a:lnTo>
                      <a:pt x="0" y="56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2" y="60"/>
                    </a:lnTo>
                    <a:lnTo>
                      <a:pt x="2" y="62"/>
                    </a:lnTo>
                    <a:lnTo>
                      <a:pt x="4" y="64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6" y="70"/>
                    </a:lnTo>
                    <a:lnTo>
                      <a:pt x="4" y="72"/>
                    </a:lnTo>
                    <a:lnTo>
                      <a:pt x="6" y="74"/>
                    </a:lnTo>
                    <a:lnTo>
                      <a:pt x="6" y="74"/>
                    </a:lnTo>
                    <a:lnTo>
                      <a:pt x="6" y="76"/>
                    </a:lnTo>
                    <a:lnTo>
                      <a:pt x="6" y="76"/>
                    </a:lnTo>
                    <a:lnTo>
                      <a:pt x="8" y="76"/>
                    </a:lnTo>
                    <a:lnTo>
                      <a:pt x="10" y="78"/>
                    </a:lnTo>
                    <a:lnTo>
                      <a:pt x="12" y="78"/>
                    </a:lnTo>
                    <a:lnTo>
                      <a:pt x="12" y="80"/>
                    </a:lnTo>
                    <a:lnTo>
                      <a:pt x="12" y="80"/>
                    </a:lnTo>
                    <a:lnTo>
                      <a:pt x="16" y="82"/>
                    </a:lnTo>
                    <a:lnTo>
                      <a:pt x="16" y="84"/>
                    </a:lnTo>
                    <a:lnTo>
                      <a:pt x="18" y="86"/>
                    </a:lnTo>
                    <a:lnTo>
                      <a:pt x="20" y="88"/>
                    </a:lnTo>
                    <a:lnTo>
                      <a:pt x="20" y="88"/>
                    </a:lnTo>
                    <a:lnTo>
                      <a:pt x="24" y="92"/>
                    </a:lnTo>
                    <a:lnTo>
                      <a:pt x="24" y="94"/>
                    </a:lnTo>
                    <a:lnTo>
                      <a:pt x="26" y="96"/>
                    </a:lnTo>
                    <a:lnTo>
                      <a:pt x="26" y="96"/>
                    </a:lnTo>
                    <a:lnTo>
                      <a:pt x="26" y="98"/>
                    </a:lnTo>
                    <a:lnTo>
                      <a:pt x="26" y="100"/>
                    </a:lnTo>
                    <a:lnTo>
                      <a:pt x="26" y="102"/>
                    </a:lnTo>
                    <a:lnTo>
                      <a:pt x="26" y="106"/>
                    </a:lnTo>
                    <a:lnTo>
                      <a:pt x="26" y="106"/>
                    </a:lnTo>
                    <a:lnTo>
                      <a:pt x="28" y="108"/>
                    </a:lnTo>
                    <a:lnTo>
                      <a:pt x="30" y="110"/>
                    </a:lnTo>
                    <a:lnTo>
                      <a:pt x="32" y="112"/>
                    </a:lnTo>
                    <a:lnTo>
                      <a:pt x="32" y="114"/>
                    </a:lnTo>
                    <a:lnTo>
                      <a:pt x="32" y="114"/>
                    </a:lnTo>
                    <a:lnTo>
                      <a:pt x="34" y="118"/>
                    </a:lnTo>
                    <a:lnTo>
                      <a:pt x="34" y="122"/>
                    </a:lnTo>
                    <a:lnTo>
                      <a:pt x="34" y="122"/>
                    </a:lnTo>
                    <a:lnTo>
                      <a:pt x="36" y="118"/>
                    </a:lnTo>
                    <a:lnTo>
                      <a:pt x="40" y="118"/>
                    </a:lnTo>
                    <a:lnTo>
                      <a:pt x="40" y="116"/>
                    </a:lnTo>
                    <a:lnTo>
                      <a:pt x="42" y="114"/>
                    </a:lnTo>
                    <a:lnTo>
                      <a:pt x="42" y="112"/>
                    </a:lnTo>
                    <a:lnTo>
                      <a:pt x="42" y="110"/>
                    </a:lnTo>
                    <a:lnTo>
                      <a:pt x="42" y="110"/>
                    </a:lnTo>
                    <a:lnTo>
                      <a:pt x="42" y="110"/>
                    </a:lnTo>
                    <a:lnTo>
                      <a:pt x="42" y="110"/>
                    </a:lnTo>
                    <a:lnTo>
                      <a:pt x="42" y="11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14" name="Freeform 605"/>
              <p:cNvSpPr>
                <a:spLocks/>
              </p:cNvSpPr>
              <p:nvPr/>
            </p:nvSpPr>
            <p:spPr bwMode="auto">
              <a:xfrm>
                <a:off x="2865" y="2280"/>
                <a:ext cx="244" cy="224"/>
              </a:xfrm>
              <a:custGeom>
                <a:avLst/>
                <a:gdLst>
                  <a:gd name="T0" fmla="*/ 66 w 244"/>
                  <a:gd name="T1" fmla="*/ 172 h 224"/>
                  <a:gd name="T2" fmla="*/ 78 w 244"/>
                  <a:gd name="T3" fmla="*/ 182 h 224"/>
                  <a:gd name="T4" fmla="*/ 88 w 244"/>
                  <a:gd name="T5" fmla="*/ 176 h 224"/>
                  <a:gd name="T6" fmla="*/ 102 w 244"/>
                  <a:gd name="T7" fmla="*/ 168 h 224"/>
                  <a:gd name="T8" fmla="*/ 114 w 244"/>
                  <a:gd name="T9" fmla="*/ 170 h 224"/>
                  <a:gd name="T10" fmla="*/ 150 w 244"/>
                  <a:gd name="T11" fmla="*/ 188 h 224"/>
                  <a:gd name="T12" fmla="*/ 210 w 244"/>
                  <a:gd name="T13" fmla="*/ 218 h 224"/>
                  <a:gd name="T14" fmla="*/ 228 w 244"/>
                  <a:gd name="T15" fmla="*/ 224 h 224"/>
                  <a:gd name="T16" fmla="*/ 240 w 244"/>
                  <a:gd name="T17" fmla="*/ 224 h 224"/>
                  <a:gd name="T18" fmla="*/ 244 w 244"/>
                  <a:gd name="T19" fmla="*/ 222 h 224"/>
                  <a:gd name="T20" fmla="*/ 244 w 244"/>
                  <a:gd name="T21" fmla="*/ 190 h 224"/>
                  <a:gd name="T22" fmla="*/ 242 w 244"/>
                  <a:gd name="T23" fmla="*/ 138 h 224"/>
                  <a:gd name="T24" fmla="*/ 238 w 244"/>
                  <a:gd name="T25" fmla="*/ 80 h 224"/>
                  <a:gd name="T26" fmla="*/ 236 w 244"/>
                  <a:gd name="T27" fmla="*/ 44 h 224"/>
                  <a:gd name="T28" fmla="*/ 236 w 244"/>
                  <a:gd name="T29" fmla="*/ 22 h 224"/>
                  <a:gd name="T30" fmla="*/ 232 w 244"/>
                  <a:gd name="T31" fmla="*/ 18 h 224"/>
                  <a:gd name="T32" fmla="*/ 218 w 244"/>
                  <a:gd name="T33" fmla="*/ 16 h 224"/>
                  <a:gd name="T34" fmla="*/ 210 w 244"/>
                  <a:gd name="T35" fmla="*/ 16 h 224"/>
                  <a:gd name="T36" fmla="*/ 204 w 244"/>
                  <a:gd name="T37" fmla="*/ 16 h 224"/>
                  <a:gd name="T38" fmla="*/ 202 w 244"/>
                  <a:gd name="T39" fmla="*/ 14 h 224"/>
                  <a:gd name="T40" fmla="*/ 200 w 244"/>
                  <a:gd name="T41" fmla="*/ 6 h 224"/>
                  <a:gd name="T42" fmla="*/ 196 w 244"/>
                  <a:gd name="T43" fmla="*/ 4 h 224"/>
                  <a:gd name="T44" fmla="*/ 180 w 244"/>
                  <a:gd name="T45" fmla="*/ 4 h 224"/>
                  <a:gd name="T46" fmla="*/ 170 w 244"/>
                  <a:gd name="T47" fmla="*/ 4 h 224"/>
                  <a:gd name="T48" fmla="*/ 160 w 244"/>
                  <a:gd name="T49" fmla="*/ 6 h 224"/>
                  <a:gd name="T50" fmla="*/ 158 w 244"/>
                  <a:gd name="T51" fmla="*/ 12 h 224"/>
                  <a:gd name="T52" fmla="*/ 154 w 244"/>
                  <a:gd name="T53" fmla="*/ 22 h 224"/>
                  <a:gd name="T54" fmla="*/ 156 w 244"/>
                  <a:gd name="T55" fmla="*/ 28 h 224"/>
                  <a:gd name="T56" fmla="*/ 154 w 244"/>
                  <a:gd name="T57" fmla="*/ 32 h 224"/>
                  <a:gd name="T58" fmla="*/ 150 w 244"/>
                  <a:gd name="T59" fmla="*/ 40 h 224"/>
                  <a:gd name="T60" fmla="*/ 146 w 244"/>
                  <a:gd name="T61" fmla="*/ 44 h 224"/>
                  <a:gd name="T62" fmla="*/ 142 w 244"/>
                  <a:gd name="T63" fmla="*/ 46 h 224"/>
                  <a:gd name="T64" fmla="*/ 132 w 244"/>
                  <a:gd name="T65" fmla="*/ 44 h 224"/>
                  <a:gd name="T66" fmla="*/ 112 w 244"/>
                  <a:gd name="T67" fmla="*/ 32 h 224"/>
                  <a:gd name="T68" fmla="*/ 100 w 244"/>
                  <a:gd name="T69" fmla="*/ 32 h 224"/>
                  <a:gd name="T70" fmla="*/ 90 w 244"/>
                  <a:gd name="T71" fmla="*/ 28 h 224"/>
                  <a:gd name="T72" fmla="*/ 86 w 244"/>
                  <a:gd name="T73" fmla="*/ 20 h 224"/>
                  <a:gd name="T74" fmla="*/ 82 w 244"/>
                  <a:gd name="T75" fmla="*/ 12 h 224"/>
                  <a:gd name="T76" fmla="*/ 74 w 244"/>
                  <a:gd name="T77" fmla="*/ 8 h 224"/>
                  <a:gd name="T78" fmla="*/ 58 w 244"/>
                  <a:gd name="T79" fmla="*/ 4 h 224"/>
                  <a:gd name="T80" fmla="*/ 44 w 244"/>
                  <a:gd name="T81" fmla="*/ 4 h 224"/>
                  <a:gd name="T82" fmla="*/ 32 w 244"/>
                  <a:gd name="T83" fmla="*/ 0 h 224"/>
                  <a:gd name="T84" fmla="*/ 24 w 244"/>
                  <a:gd name="T85" fmla="*/ 10 h 224"/>
                  <a:gd name="T86" fmla="*/ 12 w 244"/>
                  <a:gd name="T87" fmla="*/ 22 h 224"/>
                  <a:gd name="T88" fmla="*/ 8 w 244"/>
                  <a:gd name="T89" fmla="*/ 28 h 224"/>
                  <a:gd name="T90" fmla="*/ 8 w 244"/>
                  <a:gd name="T91" fmla="*/ 38 h 224"/>
                  <a:gd name="T92" fmla="*/ 0 w 244"/>
                  <a:gd name="T93" fmla="*/ 48 h 224"/>
                  <a:gd name="T94" fmla="*/ 2 w 244"/>
                  <a:gd name="T95" fmla="*/ 70 h 224"/>
                  <a:gd name="T96" fmla="*/ 4 w 244"/>
                  <a:gd name="T97" fmla="*/ 90 h 224"/>
                  <a:gd name="T98" fmla="*/ 6 w 244"/>
                  <a:gd name="T99" fmla="*/ 104 h 224"/>
                  <a:gd name="T100" fmla="*/ 4 w 244"/>
                  <a:gd name="T101" fmla="*/ 116 h 224"/>
                  <a:gd name="T102" fmla="*/ 4 w 244"/>
                  <a:gd name="T103" fmla="*/ 124 h 224"/>
                  <a:gd name="T104" fmla="*/ 10 w 244"/>
                  <a:gd name="T105" fmla="*/ 136 h 224"/>
                  <a:gd name="T106" fmla="*/ 12 w 244"/>
                  <a:gd name="T107" fmla="*/ 142 h 224"/>
                  <a:gd name="T108" fmla="*/ 22 w 244"/>
                  <a:gd name="T109" fmla="*/ 150 h 224"/>
                  <a:gd name="T110" fmla="*/ 34 w 244"/>
                  <a:gd name="T111" fmla="*/ 158 h 224"/>
                  <a:gd name="T112" fmla="*/ 42 w 244"/>
                  <a:gd name="T113" fmla="*/ 162 h 224"/>
                  <a:gd name="T114" fmla="*/ 62 w 244"/>
                  <a:gd name="T115" fmla="*/ 166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44" h="224">
                    <a:moveTo>
                      <a:pt x="62" y="166"/>
                    </a:moveTo>
                    <a:lnTo>
                      <a:pt x="62" y="166"/>
                    </a:lnTo>
                    <a:lnTo>
                      <a:pt x="62" y="166"/>
                    </a:lnTo>
                    <a:lnTo>
                      <a:pt x="64" y="168"/>
                    </a:lnTo>
                    <a:lnTo>
                      <a:pt x="66" y="172"/>
                    </a:lnTo>
                    <a:lnTo>
                      <a:pt x="72" y="178"/>
                    </a:lnTo>
                    <a:lnTo>
                      <a:pt x="74" y="180"/>
                    </a:lnTo>
                    <a:lnTo>
                      <a:pt x="76" y="180"/>
                    </a:lnTo>
                    <a:lnTo>
                      <a:pt x="76" y="182"/>
                    </a:lnTo>
                    <a:lnTo>
                      <a:pt x="78" y="182"/>
                    </a:lnTo>
                    <a:lnTo>
                      <a:pt x="80" y="182"/>
                    </a:lnTo>
                    <a:lnTo>
                      <a:pt x="82" y="180"/>
                    </a:lnTo>
                    <a:lnTo>
                      <a:pt x="84" y="180"/>
                    </a:lnTo>
                    <a:lnTo>
                      <a:pt x="84" y="180"/>
                    </a:lnTo>
                    <a:lnTo>
                      <a:pt x="88" y="176"/>
                    </a:lnTo>
                    <a:lnTo>
                      <a:pt x="92" y="174"/>
                    </a:lnTo>
                    <a:lnTo>
                      <a:pt x="96" y="172"/>
                    </a:lnTo>
                    <a:lnTo>
                      <a:pt x="100" y="170"/>
                    </a:lnTo>
                    <a:lnTo>
                      <a:pt x="100" y="170"/>
                    </a:lnTo>
                    <a:lnTo>
                      <a:pt x="102" y="168"/>
                    </a:lnTo>
                    <a:lnTo>
                      <a:pt x="106" y="168"/>
                    </a:lnTo>
                    <a:lnTo>
                      <a:pt x="108" y="168"/>
                    </a:lnTo>
                    <a:lnTo>
                      <a:pt x="110" y="168"/>
                    </a:lnTo>
                    <a:lnTo>
                      <a:pt x="112" y="168"/>
                    </a:lnTo>
                    <a:lnTo>
                      <a:pt x="114" y="170"/>
                    </a:lnTo>
                    <a:lnTo>
                      <a:pt x="118" y="172"/>
                    </a:lnTo>
                    <a:lnTo>
                      <a:pt x="118" y="172"/>
                    </a:lnTo>
                    <a:lnTo>
                      <a:pt x="130" y="178"/>
                    </a:lnTo>
                    <a:lnTo>
                      <a:pt x="140" y="184"/>
                    </a:lnTo>
                    <a:lnTo>
                      <a:pt x="150" y="188"/>
                    </a:lnTo>
                    <a:lnTo>
                      <a:pt x="160" y="194"/>
                    </a:lnTo>
                    <a:lnTo>
                      <a:pt x="160" y="194"/>
                    </a:lnTo>
                    <a:lnTo>
                      <a:pt x="186" y="208"/>
                    </a:lnTo>
                    <a:lnTo>
                      <a:pt x="210" y="218"/>
                    </a:lnTo>
                    <a:lnTo>
                      <a:pt x="210" y="218"/>
                    </a:lnTo>
                    <a:lnTo>
                      <a:pt x="214" y="222"/>
                    </a:lnTo>
                    <a:lnTo>
                      <a:pt x="218" y="222"/>
                    </a:lnTo>
                    <a:lnTo>
                      <a:pt x="224" y="224"/>
                    </a:lnTo>
                    <a:lnTo>
                      <a:pt x="226" y="224"/>
                    </a:lnTo>
                    <a:lnTo>
                      <a:pt x="228" y="224"/>
                    </a:lnTo>
                    <a:lnTo>
                      <a:pt x="230" y="224"/>
                    </a:lnTo>
                    <a:lnTo>
                      <a:pt x="230" y="224"/>
                    </a:lnTo>
                    <a:lnTo>
                      <a:pt x="234" y="224"/>
                    </a:lnTo>
                    <a:lnTo>
                      <a:pt x="236" y="224"/>
                    </a:lnTo>
                    <a:lnTo>
                      <a:pt x="240" y="224"/>
                    </a:lnTo>
                    <a:lnTo>
                      <a:pt x="240" y="224"/>
                    </a:lnTo>
                    <a:lnTo>
                      <a:pt x="242" y="224"/>
                    </a:lnTo>
                    <a:lnTo>
                      <a:pt x="242" y="222"/>
                    </a:lnTo>
                    <a:lnTo>
                      <a:pt x="244" y="222"/>
                    </a:lnTo>
                    <a:lnTo>
                      <a:pt x="244" y="222"/>
                    </a:lnTo>
                    <a:lnTo>
                      <a:pt x="244" y="220"/>
                    </a:lnTo>
                    <a:lnTo>
                      <a:pt x="244" y="216"/>
                    </a:lnTo>
                    <a:lnTo>
                      <a:pt x="244" y="216"/>
                    </a:lnTo>
                    <a:lnTo>
                      <a:pt x="244" y="204"/>
                    </a:lnTo>
                    <a:lnTo>
                      <a:pt x="244" y="190"/>
                    </a:lnTo>
                    <a:lnTo>
                      <a:pt x="242" y="178"/>
                    </a:lnTo>
                    <a:lnTo>
                      <a:pt x="242" y="164"/>
                    </a:lnTo>
                    <a:lnTo>
                      <a:pt x="242" y="164"/>
                    </a:lnTo>
                    <a:lnTo>
                      <a:pt x="242" y="152"/>
                    </a:lnTo>
                    <a:lnTo>
                      <a:pt x="242" y="138"/>
                    </a:lnTo>
                    <a:lnTo>
                      <a:pt x="240" y="124"/>
                    </a:lnTo>
                    <a:lnTo>
                      <a:pt x="240" y="112"/>
                    </a:lnTo>
                    <a:lnTo>
                      <a:pt x="240" y="112"/>
                    </a:lnTo>
                    <a:lnTo>
                      <a:pt x="240" y="90"/>
                    </a:lnTo>
                    <a:lnTo>
                      <a:pt x="238" y="80"/>
                    </a:lnTo>
                    <a:lnTo>
                      <a:pt x="238" y="68"/>
                    </a:lnTo>
                    <a:lnTo>
                      <a:pt x="238" y="68"/>
                    </a:lnTo>
                    <a:lnTo>
                      <a:pt x="236" y="64"/>
                    </a:lnTo>
                    <a:lnTo>
                      <a:pt x="236" y="58"/>
                    </a:lnTo>
                    <a:lnTo>
                      <a:pt x="236" y="44"/>
                    </a:lnTo>
                    <a:lnTo>
                      <a:pt x="236" y="44"/>
                    </a:lnTo>
                    <a:lnTo>
                      <a:pt x="236" y="34"/>
                    </a:lnTo>
                    <a:lnTo>
                      <a:pt x="236" y="28"/>
                    </a:lnTo>
                    <a:lnTo>
                      <a:pt x="236" y="22"/>
                    </a:lnTo>
                    <a:lnTo>
                      <a:pt x="236" y="22"/>
                    </a:lnTo>
                    <a:lnTo>
                      <a:pt x="236" y="22"/>
                    </a:lnTo>
                    <a:lnTo>
                      <a:pt x="236" y="22"/>
                    </a:lnTo>
                    <a:lnTo>
                      <a:pt x="234" y="20"/>
                    </a:lnTo>
                    <a:lnTo>
                      <a:pt x="232" y="18"/>
                    </a:lnTo>
                    <a:lnTo>
                      <a:pt x="232" y="18"/>
                    </a:lnTo>
                    <a:lnTo>
                      <a:pt x="228" y="18"/>
                    </a:lnTo>
                    <a:lnTo>
                      <a:pt x="226" y="16"/>
                    </a:lnTo>
                    <a:lnTo>
                      <a:pt x="224" y="16"/>
                    </a:lnTo>
                    <a:lnTo>
                      <a:pt x="222" y="16"/>
                    </a:lnTo>
                    <a:lnTo>
                      <a:pt x="218" y="16"/>
                    </a:lnTo>
                    <a:lnTo>
                      <a:pt x="218" y="16"/>
                    </a:lnTo>
                    <a:lnTo>
                      <a:pt x="214" y="16"/>
                    </a:lnTo>
                    <a:lnTo>
                      <a:pt x="214" y="16"/>
                    </a:lnTo>
                    <a:lnTo>
                      <a:pt x="212" y="16"/>
                    </a:lnTo>
                    <a:lnTo>
                      <a:pt x="210" y="16"/>
                    </a:lnTo>
                    <a:lnTo>
                      <a:pt x="208" y="16"/>
                    </a:lnTo>
                    <a:lnTo>
                      <a:pt x="206" y="16"/>
                    </a:lnTo>
                    <a:lnTo>
                      <a:pt x="206" y="16"/>
                    </a:lnTo>
                    <a:lnTo>
                      <a:pt x="204" y="16"/>
                    </a:lnTo>
                    <a:lnTo>
                      <a:pt x="204" y="16"/>
                    </a:lnTo>
                    <a:lnTo>
                      <a:pt x="202" y="16"/>
                    </a:lnTo>
                    <a:lnTo>
                      <a:pt x="202" y="16"/>
                    </a:lnTo>
                    <a:lnTo>
                      <a:pt x="202" y="16"/>
                    </a:lnTo>
                    <a:lnTo>
                      <a:pt x="202" y="14"/>
                    </a:lnTo>
                    <a:lnTo>
                      <a:pt x="202" y="14"/>
                    </a:lnTo>
                    <a:lnTo>
                      <a:pt x="202" y="10"/>
                    </a:lnTo>
                    <a:lnTo>
                      <a:pt x="202" y="10"/>
                    </a:lnTo>
                    <a:lnTo>
                      <a:pt x="202" y="8"/>
                    </a:lnTo>
                    <a:lnTo>
                      <a:pt x="200" y="8"/>
                    </a:lnTo>
                    <a:lnTo>
                      <a:pt x="200" y="6"/>
                    </a:lnTo>
                    <a:lnTo>
                      <a:pt x="198" y="4"/>
                    </a:lnTo>
                    <a:lnTo>
                      <a:pt x="198" y="4"/>
                    </a:lnTo>
                    <a:lnTo>
                      <a:pt x="198" y="4"/>
                    </a:lnTo>
                    <a:lnTo>
                      <a:pt x="198" y="4"/>
                    </a:lnTo>
                    <a:lnTo>
                      <a:pt x="196" y="4"/>
                    </a:lnTo>
                    <a:lnTo>
                      <a:pt x="196" y="4"/>
                    </a:lnTo>
                    <a:lnTo>
                      <a:pt x="188" y="4"/>
                    </a:lnTo>
                    <a:lnTo>
                      <a:pt x="188" y="4"/>
                    </a:lnTo>
                    <a:lnTo>
                      <a:pt x="180" y="4"/>
                    </a:lnTo>
                    <a:lnTo>
                      <a:pt x="180" y="4"/>
                    </a:lnTo>
                    <a:lnTo>
                      <a:pt x="178" y="4"/>
                    </a:lnTo>
                    <a:lnTo>
                      <a:pt x="174" y="4"/>
                    </a:lnTo>
                    <a:lnTo>
                      <a:pt x="174" y="4"/>
                    </a:lnTo>
                    <a:lnTo>
                      <a:pt x="172" y="4"/>
                    </a:lnTo>
                    <a:lnTo>
                      <a:pt x="170" y="4"/>
                    </a:lnTo>
                    <a:lnTo>
                      <a:pt x="170" y="4"/>
                    </a:lnTo>
                    <a:lnTo>
                      <a:pt x="166" y="6"/>
                    </a:lnTo>
                    <a:lnTo>
                      <a:pt x="162" y="6"/>
                    </a:lnTo>
                    <a:lnTo>
                      <a:pt x="162" y="6"/>
                    </a:lnTo>
                    <a:lnTo>
                      <a:pt x="160" y="6"/>
                    </a:lnTo>
                    <a:lnTo>
                      <a:pt x="160" y="8"/>
                    </a:lnTo>
                    <a:lnTo>
                      <a:pt x="160" y="8"/>
                    </a:lnTo>
                    <a:lnTo>
                      <a:pt x="158" y="10"/>
                    </a:lnTo>
                    <a:lnTo>
                      <a:pt x="158" y="10"/>
                    </a:lnTo>
                    <a:lnTo>
                      <a:pt x="158" y="12"/>
                    </a:lnTo>
                    <a:lnTo>
                      <a:pt x="156" y="14"/>
                    </a:lnTo>
                    <a:lnTo>
                      <a:pt x="156" y="14"/>
                    </a:lnTo>
                    <a:lnTo>
                      <a:pt x="156" y="16"/>
                    </a:lnTo>
                    <a:lnTo>
                      <a:pt x="154" y="18"/>
                    </a:lnTo>
                    <a:lnTo>
                      <a:pt x="154" y="22"/>
                    </a:lnTo>
                    <a:lnTo>
                      <a:pt x="154" y="22"/>
                    </a:lnTo>
                    <a:lnTo>
                      <a:pt x="154" y="24"/>
                    </a:lnTo>
                    <a:lnTo>
                      <a:pt x="154" y="26"/>
                    </a:lnTo>
                    <a:lnTo>
                      <a:pt x="154" y="26"/>
                    </a:lnTo>
                    <a:lnTo>
                      <a:pt x="156" y="28"/>
                    </a:lnTo>
                    <a:lnTo>
                      <a:pt x="156" y="30"/>
                    </a:lnTo>
                    <a:lnTo>
                      <a:pt x="154" y="30"/>
                    </a:lnTo>
                    <a:lnTo>
                      <a:pt x="154" y="30"/>
                    </a:lnTo>
                    <a:lnTo>
                      <a:pt x="154" y="32"/>
                    </a:lnTo>
                    <a:lnTo>
                      <a:pt x="154" y="32"/>
                    </a:lnTo>
                    <a:lnTo>
                      <a:pt x="154" y="36"/>
                    </a:lnTo>
                    <a:lnTo>
                      <a:pt x="154" y="36"/>
                    </a:lnTo>
                    <a:lnTo>
                      <a:pt x="154" y="36"/>
                    </a:lnTo>
                    <a:lnTo>
                      <a:pt x="152" y="38"/>
                    </a:lnTo>
                    <a:lnTo>
                      <a:pt x="150" y="40"/>
                    </a:lnTo>
                    <a:lnTo>
                      <a:pt x="150" y="40"/>
                    </a:lnTo>
                    <a:lnTo>
                      <a:pt x="148" y="42"/>
                    </a:lnTo>
                    <a:lnTo>
                      <a:pt x="146" y="42"/>
                    </a:lnTo>
                    <a:lnTo>
                      <a:pt x="146" y="42"/>
                    </a:lnTo>
                    <a:lnTo>
                      <a:pt x="146" y="44"/>
                    </a:lnTo>
                    <a:lnTo>
                      <a:pt x="146" y="44"/>
                    </a:lnTo>
                    <a:lnTo>
                      <a:pt x="144" y="46"/>
                    </a:lnTo>
                    <a:lnTo>
                      <a:pt x="144" y="46"/>
                    </a:lnTo>
                    <a:lnTo>
                      <a:pt x="144" y="46"/>
                    </a:lnTo>
                    <a:lnTo>
                      <a:pt x="142" y="46"/>
                    </a:lnTo>
                    <a:lnTo>
                      <a:pt x="138" y="46"/>
                    </a:lnTo>
                    <a:lnTo>
                      <a:pt x="138" y="46"/>
                    </a:lnTo>
                    <a:lnTo>
                      <a:pt x="136" y="46"/>
                    </a:lnTo>
                    <a:lnTo>
                      <a:pt x="136" y="46"/>
                    </a:lnTo>
                    <a:lnTo>
                      <a:pt x="132" y="44"/>
                    </a:lnTo>
                    <a:lnTo>
                      <a:pt x="132" y="44"/>
                    </a:lnTo>
                    <a:lnTo>
                      <a:pt x="122" y="38"/>
                    </a:lnTo>
                    <a:lnTo>
                      <a:pt x="116" y="34"/>
                    </a:lnTo>
                    <a:lnTo>
                      <a:pt x="112" y="32"/>
                    </a:lnTo>
                    <a:lnTo>
                      <a:pt x="112" y="32"/>
                    </a:lnTo>
                    <a:lnTo>
                      <a:pt x="110" y="32"/>
                    </a:lnTo>
                    <a:lnTo>
                      <a:pt x="108" y="32"/>
                    </a:lnTo>
                    <a:lnTo>
                      <a:pt x="108" y="32"/>
                    </a:lnTo>
                    <a:lnTo>
                      <a:pt x="100" y="32"/>
                    </a:lnTo>
                    <a:lnTo>
                      <a:pt x="100" y="32"/>
                    </a:lnTo>
                    <a:lnTo>
                      <a:pt x="96" y="32"/>
                    </a:lnTo>
                    <a:lnTo>
                      <a:pt x="94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0" y="28"/>
                    </a:lnTo>
                    <a:lnTo>
                      <a:pt x="88" y="26"/>
                    </a:lnTo>
                    <a:lnTo>
                      <a:pt x="88" y="22"/>
                    </a:lnTo>
                    <a:lnTo>
                      <a:pt x="88" y="22"/>
                    </a:lnTo>
                    <a:lnTo>
                      <a:pt x="86" y="20"/>
                    </a:lnTo>
                    <a:lnTo>
                      <a:pt x="86" y="20"/>
                    </a:lnTo>
                    <a:lnTo>
                      <a:pt x="86" y="18"/>
                    </a:lnTo>
                    <a:lnTo>
                      <a:pt x="84" y="16"/>
                    </a:lnTo>
                    <a:lnTo>
                      <a:pt x="84" y="16"/>
                    </a:lnTo>
                    <a:lnTo>
                      <a:pt x="84" y="14"/>
                    </a:lnTo>
                    <a:lnTo>
                      <a:pt x="82" y="12"/>
                    </a:lnTo>
                    <a:lnTo>
                      <a:pt x="80" y="10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76" y="8"/>
                    </a:lnTo>
                    <a:lnTo>
                      <a:pt x="74" y="8"/>
                    </a:lnTo>
                    <a:lnTo>
                      <a:pt x="70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2" y="6"/>
                    </a:lnTo>
                    <a:lnTo>
                      <a:pt x="58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0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0" y="4"/>
                    </a:lnTo>
                    <a:lnTo>
                      <a:pt x="38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0" y="2"/>
                    </a:lnTo>
                    <a:lnTo>
                      <a:pt x="28" y="6"/>
                    </a:lnTo>
                    <a:lnTo>
                      <a:pt x="26" y="8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2" y="14"/>
                    </a:lnTo>
                    <a:lnTo>
                      <a:pt x="18" y="18"/>
                    </a:lnTo>
                    <a:lnTo>
                      <a:pt x="16" y="20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4"/>
                    </a:lnTo>
                    <a:lnTo>
                      <a:pt x="8" y="26"/>
                    </a:lnTo>
                    <a:lnTo>
                      <a:pt x="8" y="28"/>
                    </a:lnTo>
                    <a:lnTo>
                      <a:pt x="8" y="32"/>
                    </a:lnTo>
                    <a:lnTo>
                      <a:pt x="8" y="34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8"/>
                    </a:lnTo>
                    <a:lnTo>
                      <a:pt x="8" y="40"/>
                    </a:lnTo>
                    <a:lnTo>
                      <a:pt x="6" y="42"/>
                    </a:lnTo>
                    <a:lnTo>
                      <a:pt x="6" y="44"/>
                    </a:lnTo>
                    <a:lnTo>
                      <a:pt x="2" y="44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2" y="60"/>
                    </a:lnTo>
                    <a:lnTo>
                      <a:pt x="2" y="70"/>
                    </a:lnTo>
                    <a:lnTo>
                      <a:pt x="2" y="70"/>
                    </a:lnTo>
                    <a:lnTo>
                      <a:pt x="4" y="82"/>
                    </a:lnTo>
                    <a:lnTo>
                      <a:pt x="4" y="86"/>
                    </a:lnTo>
                    <a:lnTo>
                      <a:pt x="4" y="90"/>
                    </a:lnTo>
                    <a:lnTo>
                      <a:pt x="4" y="90"/>
                    </a:lnTo>
                    <a:lnTo>
                      <a:pt x="6" y="96"/>
                    </a:lnTo>
                    <a:lnTo>
                      <a:pt x="6" y="98"/>
                    </a:lnTo>
                    <a:lnTo>
                      <a:pt x="6" y="100"/>
                    </a:lnTo>
                    <a:lnTo>
                      <a:pt x="6" y="100"/>
                    </a:lnTo>
                    <a:lnTo>
                      <a:pt x="6" y="104"/>
                    </a:lnTo>
                    <a:lnTo>
                      <a:pt x="6" y="106"/>
                    </a:lnTo>
                    <a:lnTo>
                      <a:pt x="6" y="112"/>
                    </a:lnTo>
                    <a:lnTo>
                      <a:pt x="6" y="112"/>
                    </a:lnTo>
                    <a:lnTo>
                      <a:pt x="4" y="114"/>
                    </a:lnTo>
                    <a:lnTo>
                      <a:pt x="4" y="116"/>
                    </a:lnTo>
                    <a:lnTo>
                      <a:pt x="4" y="118"/>
                    </a:lnTo>
                    <a:lnTo>
                      <a:pt x="2" y="120"/>
                    </a:lnTo>
                    <a:lnTo>
                      <a:pt x="2" y="120"/>
                    </a:lnTo>
                    <a:lnTo>
                      <a:pt x="2" y="122"/>
                    </a:lnTo>
                    <a:lnTo>
                      <a:pt x="4" y="124"/>
                    </a:lnTo>
                    <a:lnTo>
                      <a:pt x="6" y="128"/>
                    </a:lnTo>
                    <a:lnTo>
                      <a:pt x="6" y="128"/>
                    </a:lnTo>
                    <a:lnTo>
                      <a:pt x="6" y="132"/>
                    </a:lnTo>
                    <a:lnTo>
                      <a:pt x="8" y="134"/>
                    </a:lnTo>
                    <a:lnTo>
                      <a:pt x="10" y="136"/>
                    </a:lnTo>
                    <a:lnTo>
                      <a:pt x="10" y="138"/>
                    </a:lnTo>
                    <a:lnTo>
                      <a:pt x="10" y="138"/>
                    </a:lnTo>
                    <a:lnTo>
                      <a:pt x="10" y="140"/>
                    </a:lnTo>
                    <a:lnTo>
                      <a:pt x="10" y="142"/>
                    </a:lnTo>
                    <a:lnTo>
                      <a:pt x="12" y="142"/>
                    </a:lnTo>
                    <a:lnTo>
                      <a:pt x="14" y="144"/>
                    </a:lnTo>
                    <a:lnTo>
                      <a:pt x="14" y="144"/>
                    </a:lnTo>
                    <a:lnTo>
                      <a:pt x="16" y="146"/>
                    </a:lnTo>
                    <a:lnTo>
                      <a:pt x="18" y="148"/>
                    </a:lnTo>
                    <a:lnTo>
                      <a:pt x="22" y="150"/>
                    </a:lnTo>
                    <a:lnTo>
                      <a:pt x="28" y="152"/>
                    </a:lnTo>
                    <a:lnTo>
                      <a:pt x="30" y="154"/>
                    </a:lnTo>
                    <a:lnTo>
                      <a:pt x="32" y="156"/>
                    </a:lnTo>
                    <a:lnTo>
                      <a:pt x="32" y="156"/>
                    </a:lnTo>
                    <a:lnTo>
                      <a:pt x="34" y="158"/>
                    </a:lnTo>
                    <a:lnTo>
                      <a:pt x="36" y="158"/>
                    </a:lnTo>
                    <a:lnTo>
                      <a:pt x="36" y="160"/>
                    </a:lnTo>
                    <a:lnTo>
                      <a:pt x="38" y="162"/>
                    </a:lnTo>
                    <a:lnTo>
                      <a:pt x="38" y="162"/>
                    </a:lnTo>
                    <a:lnTo>
                      <a:pt x="42" y="162"/>
                    </a:lnTo>
                    <a:lnTo>
                      <a:pt x="50" y="162"/>
                    </a:lnTo>
                    <a:lnTo>
                      <a:pt x="56" y="164"/>
                    </a:lnTo>
                    <a:lnTo>
                      <a:pt x="58" y="164"/>
                    </a:lnTo>
                    <a:lnTo>
                      <a:pt x="62" y="166"/>
                    </a:lnTo>
                    <a:lnTo>
                      <a:pt x="62" y="166"/>
                    </a:lnTo>
                    <a:lnTo>
                      <a:pt x="62" y="166"/>
                    </a:lnTo>
                    <a:lnTo>
                      <a:pt x="62" y="166"/>
                    </a:lnTo>
                    <a:lnTo>
                      <a:pt x="62" y="16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</p:grpSp>
        <p:grpSp>
          <p:nvGrpSpPr>
            <p:cNvPr id="43" name="Group 808"/>
            <p:cNvGrpSpPr>
              <a:grpSpLocks/>
            </p:cNvGrpSpPr>
            <p:nvPr/>
          </p:nvGrpSpPr>
          <p:grpSpPr bwMode="auto">
            <a:xfrm>
              <a:off x="3806279" y="3493451"/>
              <a:ext cx="3941715" cy="1831241"/>
              <a:chOff x="2439" y="2292"/>
              <a:chExt cx="2428" cy="1128"/>
            </a:xfrm>
            <a:grpFill/>
          </p:grpSpPr>
          <p:sp>
            <p:nvSpPr>
              <p:cNvPr id="209" name="Freeform 608"/>
              <p:cNvSpPr>
                <a:spLocks/>
              </p:cNvSpPr>
              <p:nvPr/>
            </p:nvSpPr>
            <p:spPr bwMode="auto">
              <a:xfrm>
                <a:off x="3101" y="2292"/>
                <a:ext cx="174" cy="178"/>
              </a:xfrm>
              <a:custGeom>
                <a:avLst/>
                <a:gdLst>
                  <a:gd name="T0" fmla="*/ 122 w 174"/>
                  <a:gd name="T1" fmla="*/ 170 h 178"/>
                  <a:gd name="T2" fmla="*/ 132 w 174"/>
                  <a:gd name="T3" fmla="*/ 170 h 178"/>
                  <a:gd name="T4" fmla="*/ 140 w 174"/>
                  <a:gd name="T5" fmla="*/ 178 h 178"/>
                  <a:gd name="T6" fmla="*/ 146 w 174"/>
                  <a:gd name="T7" fmla="*/ 176 h 178"/>
                  <a:gd name="T8" fmla="*/ 154 w 174"/>
                  <a:gd name="T9" fmla="*/ 164 h 178"/>
                  <a:gd name="T10" fmla="*/ 164 w 174"/>
                  <a:gd name="T11" fmla="*/ 154 h 178"/>
                  <a:gd name="T12" fmla="*/ 174 w 174"/>
                  <a:gd name="T13" fmla="*/ 152 h 178"/>
                  <a:gd name="T14" fmla="*/ 168 w 174"/>
                  <a:gd name="T15" fmla="*/ 142 h 178"/>
                  <a:gd name="T16" fmla="*/ 170 w 174"/>
                  <a:gd name="T17" fmla="*/ 136 h 178"/>
                  <a:gd name="T18" fmla="*/ 166 w 174"/>
                  <a:gd name="T19" fmla="*/ 130 h 178"/>
                  <a:gd name="T20" fmla="*/ 160 w 174"/>
                  <a:gd name="T21" fmla="*/ 124 h 178"/>
                  <a:gd name="T22" fmla="*/ 148 w 174"/>
                  <a:gd name="T23" fmla="*/ 110 h 178"/>
                  <a:gd name="T24" fmla="*/ 140 w 174"/>
                  <a:gd name="T25" fmla="*/ 100 h 178"/>
                  <a:gd name="T26" fmla="*/ 136 w 174"/>
                  <a:gd name="T27" fmla="*/ 92 h 178"/>
                  <a:gd name="T28" fmla="*/ 134 w 174"/>
                  <a:gd name="T29" fmla="*/ 84 h 178"/>
                  <a:gd name="T30" fmla="*/ 122 w 174"/>
                  <a:gd name="T31" fmla="*/ 74 h 178"/>
                  <a:gd name="T32" fmla="*/ 118 w 174"/>
                  <a:gd name="T33" fmla="*/ 68 h 178"/>
                  <a:gd name="T34" fmla="*/ 116 w 174"/>
                  <a:gd name="T35" fmla="*/ 56 h 178"/>
                  <a:gd name="T36" fmla="*/ 108 w 174"/>
                  <a:gd name="T37" fmla="*/ 44 h 178"/>
                  <a:gd name="T38" fmla="*/ 108 w 174"/>
                  <a:gd name="T39" fmla="*/ 34 h 178"/>
                  <a:gd name="T40" fmla="*/ 112 w 174"/>
                  <a:gd name="T41" fmla="*/ 34 h 178"/>
                  <a:gd name="T42" fmla="*/ 116 w 174"/>
                  <a:gd name="T43" fmla="*/ 42 h 178"/>
                  <a:gd name="T44" fmla="*/ 120 w 174"/>
                  <a:gd name="T45" fmla="*/ 52 h 178"/>
                  <a:gd name="T46" fmla="*/ 130 w 174"/>
                  <a:gd name="T47" fmla="*/ 68 h 178"/>
                  <a:gd name="T48" fmla="*/ 136 w 174"/>
                  <a:gd name="T49" fmla="*/ 84 h 178"/>
                  <a:gd name="T50" fmla="*/ 140 w 174"/>
                  <a:gd name="T51" fmla="*/ 88 h 178"/>
                  <a:gd name="T52" fmla="*/ 144 w 174"/>
                  <a:gd name="T53" fmla="*/ 84 h 178"/>
                  <a:gd name="T54" fmla="*/ 142 w 174"/>
                  <a:gd name="T55" fmla="*/ 68 h 178"/>
                  <a:gd name="T56" fmla="*/ 146 w 174"/>
                  <a:gd name="T57" fmla="*/ 50 h 178"/>
                  <a:gd name="T58" fmla="*/ 148 w 174"/>
                  <a:gd name="T59" fmla="*/ 32 h 178"/>
                  <a:gd name="T60" fmla="*/ 144 w 174"/>
                  <a:gd name="T61" fmla="*/ 22 h 178"/>
                  <a:gd name="T62" fmla="*/ 140 w 174"/>
                  <a:gd name="T63" fmla="*/ 14 h 178"/>
                  <a:gd name="T64" fmla="*/ 134 w 174"/>
                  <a:gd name="T65" fmla="*/ 6 h 178"/>
                  <a:gd name="T66" fmla="*/ 128 w 174"/>
                  <a:gd name="T67" fmla="*/ 12 h 178"/>
                  <a:gd name="T68" fmla="*/ 120 w 174"/>
                  <a:gd name="T69" fmla="*/ 16 h 178"/>
                  <a:gd name="T70" fmla="*/ 108 w 174"/>
                  <a:gd name="T71" fmla="*/ 14 h 178"/>
                  <a:gd name="T72" fmla="*/ 94 w 174"/>
                  <a:gd name="T73" fmla="*/ 6 h 178"/>
                  <a:gd name="T74" fmla="*/ 88 w 174"/>
                  <a:gd name="T75" fmla="*/ 4 h 178"/>
                  <a:gd name="T76" fmla="*/ 80 w 174"/>
                  <a:gd name="T77" fmla="*/ 6 h 178"/>
                  <a:gd name="T78" fmla="*/ 68 w 174"/>
                  <a:gd name="T79" fmla="*/ 10 h 178"/>
                  <a:gd name="T80" fmla="*/ 60 w 174"/>
                  <a:gd name="T81" fmla="*/ 18 h 178"/>
                  <a:gd name="T82" fmla="*/ 54 w 174"/>
                  <a:gd name="T83" fmla="*/ 18 h 178"/>
                  <a:gd name="T84" fmla="*/ 44 w 174"/>
                  <a:gd name="T85" fmla="*/ 16 h 178"/>
                  <a:gd name="T86" fmla="*/ 38 w 174"/>
                  <a:gd name="T87" fmla="*/ 16 h 178"/>
                  <a:gd name="T88" fmla="*/ 32 w 174"/>
                  <a:gd name="T89" fmla="*/ 14 h 178"/>
                  <a:gd name="T90" fmla="*/ 20 w 174"/>
                  <a:gd name="T91" fmla="*/ 12 h 178"/>
                  <a:gd name="T92" fmla="*/ 4 w 174"/>
                  <a:gd name="T93" fmla="*/ 12 h 178"/>
                  <a:gd name="T94" fmla="*/ 0 w 174"/>
                  <a:gd name="T95" fmla="*/ 32 h 178"/>
                  <a:gd name="T96" fmla="*/ 2 w 174"/>
                  <a:gd name="T97" fmla="*/ 56 h 178"/>
                  <a:gd name="T98" fmla="*/ 4 w 174"/>
                  <a:gd name="T99" fmla="*/ 112 h 178"/>
                  <a:gd name="T100" fmla="*/ 6 w 174"/>
                  <a:gd name="T101" fmla="*/ 174 h 178"/>
                  <a:gd name="T102" fmla="*/ 62 w 174"/>
                  <a:gd name="T103" fmla="*/ 174 h 178"/>
                  <a:gd name="T104" fmla="*/ 108 w 174"/>
                  <a:gd name="T105" fmla="*/ 172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74" h="178">
                    <a:moveTo>
                      <a:pt x="108" y="172"/>
                    </a:moveTo>
                    <a:lnTo>
                      <a:pt x="108" y="172"/>
                    </a:lnTo>
                    <a:lnTo>
                      <a:pt x="118" y="172"/>
                    </a:lnTo>
                    <a:lnTo>
                      <a:pt x="118" y="172"/>
                    </a:lnTo>
                    <a:lnTo>
                      <a:pt x="122" y="170"/>
                    </a:lnTo>
                    <a:lnTo>
                      <a:pt x="124" y="170"/>
                    </a:lnTo>
                    <a:lnTo>
                      <a:pt x="128" y="170"/>
                    </a:lnTo>
                    <a:lnTo>
                      <a:pt x="130" y="170"/>
                    </a:lnTo>
                    <a:lnTo>
                      <a:pt x="130" y="170"/>
                    </a:lnTo>
                    <a:lnTo>
                      <a:pt x="132" y="170"/>
                    </a:lnTo>
                    <a:lnTo>
                      <a:pt x="134" y="170"/>
                    </a:lnTo>
                    <a:lnTo>
                      <a:pt x="136" y="172"/>
                    </a:lnTo>
                    <a:lnTo>
                      <a:pt x="138" y="176"/>
                    </a:lnTo>
                    <a:lnTo>
                      <a:pt x="140" y="176"/>
                    </a:lnTo>
                    <a:lnTo>
                      <a:pt x="140" y="178"/>
                    </a:lnTo>
                    <a:lnTo>
                      <a:pt x="142" y="178"/>
                    </a:lnTo>
                    <a:lnTo>
                      <a:pt x="142" y="178"/>
                    </a:lnTo>
                    <a:lnTo>
                      <a:pt x="144" y="178"/>
                    </a:lnTo>
                    <a:lnTo>
                      <a:pt x="146" y="176"/>
                    </a:lnTo>
                    <a:lnTo>
                      <a:pt x="146" y="176"/>
                    </a:lnTo>
                    <a:lnTo>
                      <a:pt x="148" y="174"/>
                    </a:lnTo>
                    <a:lnTo>
                      <a:pt x="150" y="174"/>
                    </a:lnTo>
                    <a:lnTo>
                      <a:pt x="150" y="172"/>
                    </a:lnTo>
                    <a:lnTo>
                      <a:pt x="152" y="170"/>
                    </a:lnTo>
                    <a:lnTo>
                      <a:pt x="154" y="164"/>
                    </a:lnTo>
                    <a:lnTo>
                      <a:pt x="156" y="162"/>
                    </a:lnTo>
                    <a:lnTo>
                      <a:pt x="158" y="160"/>
                    </a:lnTo>
                    <a:lnTo>
                      <a:pt x="158" y="160"/>
                    </a:lnTo>
                    <a:lnTo>
                      <a:pt x="160" y="158"/>
                    </a:lnTo>
                    <a:lnTo>
                      <a:pt x="164" y="154"/>
                    </a:lnTo>
                    <a:lnTo>
                      <a:pt x="166" y="152"/>
                    </a:lnTo>
                    <a:lnTo>
                      <a:pt x="170" y="152"/>
                    </a:lnTo>
                    <a:lnTo>
                      <a:pt x="172" y="152"/>
                    </a:lnTo>
                    <a:lnTo>
                      <a:pt x="174" y="152"/>
                    </a:lnTo>
                    <a:lnTo>
                      <a:pt x="174" y="152"/>
                    </a:lnTo>
                    <a:lnTo>
                      <a:pt x="170" y="148"/>
                    </a:lnTo>
                    <a:lnTo>
                      <a:pt x="170" y="148"/>
                    </a:lnTo>
                    <a:lnTo>
                      <a:pt x="168" y="146"/>
                    </a:lnTo>
                    <a:lnTo>
                      <a:pt x="168" y="142"/>
                    </a:lnTo>
                    <a:lnTo>
                      <a:pt x="168" y="142"/>
                    </a:lnTo>
                    <a:lnTo>
                      <a:pt x="168" y="140"/>
                    </a:lnTo>
                    <a:lnTo>
                      <a:pt x="168" y="140"/>
                    </a:lnTo>
                    <a:lnTo>
                      <a:pt x="170" y="138"/>
                    </a:lnTo>
                    <a:lnTo>
                      <a:pt x="170" y="138"/>
                    </a:lnTo>
                    <a:lnTo>
                      <a:pt x="170" y="136"/>
                    </a:lnTo>
                    <a:lnTo>
                      <a:pt x="172" y="136"/>
                    </a:lnTo>
                    <a:lnTo>
                      <a:pt x="170" y="134"/>
                    </a:lnTo>
                    <a:lnTo>
                      <a:pt x="170" y="134"/>
                    </a:lnTo>
                    <a:lnTo>
                      <a:pt x="168" y="132"/>
                    </a:lnTo>
                    <a:lnTo>
                      <a:pt x="166" y="130"/>
                    </a:lnTo>
                    <a:lnTo>
                      <a:pt x="166" y="130"/>
                    </a:lnTo>
                    <a:lnTo>
                      <a:pt x="164" y="128"/>
                    </a:lnTo>
                    <a:lnTo>
                      <a:pt x="164" y="126"/>
                    </a:lnTo>
                    <a:lnTo>
                      <a:pt x="160" y="124"/>
                    </a:lnTo>
                    <a:lnTo>
                      <a:pt x="160" y="124"/>
                    </a:lnTo>
                    <a:lnTo>
                      <a:pt x="156" y="120"/>
                    </a:lnTo>
                    <a:lnTo>
                      <a:pt x="154" y="116"/>
                    </a:lnTo>
                    <a:lnTo>
                      <a:pt x="150" y="112"/>
                    </a:lnTo>
                    <a:lnTo>
                      <a:pt x="148" y="110"/>
                    </a:lnTo>
                    <a:lnTo>
                      <a:pt x="148" y="110"/>
                    </a:lnTo>
                    <a:lnTo>
                      <a:pt x="146" y="106"/>
                    </a:lnTo>
                    <a:lnTo>
                      <a:pt x="142" y="102"/>
                    </a:lnTo>
                    <a:lnTo>
                      <a:pt x="142" y="102"/>
                    </a:lnTo>
                    <a:lnTo>
                      <a:pt x="140" y="100"/>
                    </a:lnTo>
                    <a:lnTo>
                      <a:pt x="140" y="100"/>
                    </a:lnTo>
                    <a:lnTo>
                      <a:pt x="138" y="98"/>
                    </a:lnTo>
                    <a:lnTo>
                      <a:pt x="138" y="98"/>
                    </a:lnTo>
                    <a:lnTo>
                      <a:pt x="136" y="94"/>
                    </a:lnTo>
                    <a:lnTo>
                      <a:pt x="136" y="92"/>
                    </a:lnTo>
                    <a:lnTo>
                      <a:pt x="136" y="92"/>
                    </a:lnTo>
                    <a:lnTo>
                      <a:pt x="136" y="90"/>
                    </a:lnTo>
                    <a:lnTo>
                      <a:pt x="136" y="88"/>
                    </a:lnTo>
                    <a:lnTo>
                      <a:pt x="136" y="86"/>
                    </a:lnTo>
                    <a:lnTo>
                      <a:pt x="136" y="86"/>
                    </a:lnTo>
                    <a:lnTo>
                      <a:pt x="134" y="84"/>
                    </a:lnTo>
                    <a:lnTo>
                      <a:pt x="132" y="82"/>
                    </a:lnTo>
                    <a:lnTo>
                      <a:pt x="128" y="80"/>
                    </a:lnTo>
                    <a:lnTo>
                      <a:pt x="124" y="78"/>
                    </a:lnTo>
                    <a:lnTo>
                      <a:pt x="124" y="76"/>
                    </a:lnTo>
                    <a:lnTo>
                      <a:pt x="122" y="74"/>
                    </a:lnTo>
                    <a:lnTo>
                      <a:pt x="122" y="74"/>
                    </a:lnTo>
                    <a:lnTo>
                      <a:pt x="120" y="70"/>
                    </a:lnTo>
                    <a:lnTo>
                      <a:pt x="118" y="70"/>
                    </a:lnTo>
                    <a:lnTo>
                      <a:pt x="118" y="68"/>
                    </a:lnTo>
                    <a:lnTo>
                      <a:pt x="118" y="68"/>
                    </a:lnTo>
                    <a:lnTo>
                      <a:pt x="118" y="64"/>
                    </a:lnTo>
                    <a:lnTo>
                      <a:pt x="116" y="62"/>
                    </a:lnTo>
                    <a:lnTo>
                      <a:pt x="116" y="60"/>
                    </a:lnTo>
                    <a:lnTo>
                      <a:pt x="116" y="60"/>
                    </a:lnTo>
                    <a:lnTo>
                      <a:pt x="116" y="56"/>
                    </a:lnTo>
                    <a:lnTo>
                      <a:pt x="114" y="54"/>
                    </a:lnTo>
                    <a:lnTo>
                      <a:pt x="112" y="50"/>
                    </a:lnTo>
                    <a:lnTo>
                      <a:pt x="112" y="50"/>
                    </a:lnTo>
                    <a:lnTo>
                      <a:pt x="110" y="46"/>
                    </a:lnTo>
                    <a:lnTo>
                      <a:pt x="108" y="44"/>
                    </a:lnTo>
                    <a:lnTo>
                      <a:pt x="106" y="40"/>
                    </a:lnTo>
                    <a:lnTo>
                      <a:pt x="106" y="38"/>
                    </a:lnTo>
                    <a:lnTo>
                      <a:pt x="106" y="36"/>
                    </a:lnTo>
                    <a:lnTo>
                      <a:pt x="106" y="36"/>
                    </a:lnTo>
                    <a:lnTo>
                      <a:pt x="108" y="34"/>
                    </a:lnTo>
                    <a:lnTo>
                      <a:pt x="108" y="34"/>
                    </a:lnTo>
                    <a:lnTo>
                      <a:pt x="110" y="34"/>
                    </a:lnTo>
                    <a:lnTo>
                      <a:pt x="110" y="34"/>
                    </a:lnTo>
                    <a:lnTo>
                      <a:pt x="110" y="34"/>
                    </a:lnTo>
                    <a:lnTo>
                      <a:pt x="112" y="34"/>
                    </a:lnTo>
                    <a:lnTo>
                      <a:pt x="114" y="34"/>
                    </a:lnTo>
                    <a:lnTo>
                      <a:pt x="114" y="36"/>
                    </a:lnTo>
                    <a:lnTo>
                      <a:pt x="114" y="36"/>
                    </a:lnTo>
                    <a:lnTo>
                      <a:pt x="114" y="40"/>
                    </a:lnTo>
                    <a:lnTo>
                      <a:pt x="116" y="42"/>
                    </a:lnTo>
                    <a:lnTo>
                      <a:pt x="116" y="42"/>
                    </a:lnTo>
                    <a:lnTo>
                      <a:pt x="116" y="46"/>
                    </a:lnTo>
                    <a:lnTo>
                      <a:pt x="116" y="48"/>
                    </a:lnTo>
                    <a:lnTo>
                      <a:pt x="120" y="52"/>
                    </a:lnTo>
                    <a:lnTo>
                      <a:pt x="120" y="52"/>
                    </a:lnTo>
                    <a:lnTo>
                      <a:pt x="124" y="56"/>
                    </a:lnTo>
                    <a:lnTo>
                      <a:pt x="126" y="62"/>
                    </a:lnTo>
                    <a:lnTo>
                      <a:pt x="126" y="62"/>
                    </a:lnTo>
                    <a:lnTo>
                      <a:pt x="128" y="66"/>
                    </a:lnTo>
                    <a:lnTo>
                      <a:pt x="130" y="68"/>
                    </a:lnTo>
                    <a:lnTo>
                      <a:pt x="132" y="74"/>
                    </a:lnTo>
                    <a:lnTo>
                      <a:pt x="132" y="74"/>
                    </a:lnTo>
                    <a:lnTo>
                      <a:pt x="134" y="78"/>
                    </a:lnTo>
                    <a:lnTo>
                      <a:pt x="136" y="82"/>
                    </a:lnTo>
                    <a:lnTo>
                      <a:pt x="136" y="84"/>
                    </a:lnTo>
                    <a:lnTo>
                      <a:pt x="136" y="84"/>
                    </a:lnTo>
                    <a:lnTo>
                      <a:pt x="138" y="86"/>
                    </a:lnTo>
                    <a:lnTo>
                      <a:pt x="140" y="88"/>
                    </a:lnTo>
                    <a:lnTo>
                      <a:pt x="140" y="88"/>
                    </a:lnTo>
                    <a:lnTo>
                      <a:pt x="140" y="88"/>
                    </a:lnTo>
                    <a:lnTo>
                      <a:pt x="140" y="88"/>
                    </a:lnTo>
                    <a:lnTo>
                      <a:pt x="142" y="88"/>
                    </a:lnTo>
                    <a:lnTo>
                      <a:pt x="142" y="86"/>
                    </a:lnTo>
                    <a:lnTo>
                      <a:pt x="142" y="86"/>
                    </a:lnTo>
                    <a:lnTo>
                      <a:pt x="144" y="84"/>
                    </a:lnTo>
                    <a:lnTo>
                      <a:pt x="144" y="80"/>
                    </a:lnTo>
                    <a:lnTo>
                      <a:pt x="142" y="76"/>
                    </a:lnTo>
                    <a:lnTo>
                      <a:pt x="142" y="76"/>
                    </a:lnTo>
                    <a:lnTo>
                      <a:pt x="142" y="70"/>
                    </a:lnTo>
                    <a:lnTo>
                      <a:pt x="142" y="68"/>
                    </a:lnTo>
                    <a:lnTo>
                      <a:pt x="142" y="64"/>
                    </a:lnTo>
                    <a:lnTo>
                      <a:pt x="142" y="64"/>
                    </a:lnTo>
                    <a:lnTo>
                      <a:pt x="144" y="58"/>
                    </a:lnTo>
                    <a:lnTo>
                      <a:pt x="144" y="54"/>
                    </a:lnTo>
                    <a:lnTo>
                      <a:pt x="146" y="50"/>
                    </a:lnTo>
                    <a:lnTo>
                      <a:pt x="150" y="44"/>
                    </a:lnTo>
                    <a:lnTo>
                      <a:pt x="150" y="44"/>
                    </a:lnTo>
                    <a:lnTo>
                      <a:pt x="148" y="36"/>
                    </a:lnTo>
                    <a:lnTo>
                      <a:pt x="148" y="36"/>
                    </a:lnTo>
                    <a:lnTo>
                      <a:pt x="148" y="32"/>
                    </a:lnTo>
                    <a:lnTo>
                      <a:pt x="148" y="32"/>
                    </a:lnTo>
                    <a:lnTo>
                      <a:pt x="148" y="32"/>
                    </a:lnTo>
                    <a:lnTo>
                      <a:pt x="146" y="28"/>
                    </a:lnTo>
                    <a:lnTo>
                      <a:pt x="146" y="26"/>
                    </a:lnTo>
                    <a:lnTo>
                      <a:pt x="144" y="22"/>
                    </a:lnTo>
                    <a:lnTo>
                      <a:pt x="144" y="22"/>
                    </a:lnTo>
                    <a:lnTo>
                      <a:pt x="142" y="18"/>
                    </a:lnTo>
                    <a:lnTo>
                      <a:pt x="140" y="16"/>
                    </a:lnTo>
                    <a:lnTo>
                      <a:pt x="140" y="14"/>
                    </a:lnTo>
                    <a:lnTo>
                      <a:pt x="140" y="14"/>
                    </a:lnTo>
                    <a:lnTo>
                      <a:pt x="138" y="8"/>
                    </a:lnTo>
                    <a:lnTo>
                      <a:pt x="136" y="4"/>
                    </a:lnTo>
                    <a:lnTo>
                      <a:pt x="136" y="0"/>
                    </a:lnTo>
                    <a:lnTo>
                      <a:pt x="136" y="0"/>
                    </a:lnTo>
                    <a:lnTo>
                      <a:pt x="134" y="6"/>
                    </a:lnTo>
                    <a:lnTo>
                      <a:pt x="134" y="6"/>
                    </a:lnTo>
                    <a:lnTo>
                      <a:pt x="132" y="8"/>
                    </a:lnTo>
                    <a:lnTo>
                      <a:pt x="130" y="8"/>
                    </a:lnTo>
                    <a:lnTo>
                      <a:pt x="130" y="10"/>
                    </a:lnTo>
                    <a:lnTo>
                      <a:pt x="128" y="12"/>
                    </a:lnTo>
                    <a:lnTo>
                      <a:pt x="128" y="12"/>
                    </a:lnTo>
                    <a:lnTo>
                      <a:pt x="124" y="14"/>
                    </a:lnTo>
                    <a:lnTo>
                      <a:pt x="124" y="14"/>
                    </a:lnTo>
                    <a:lnTo>
                      <a:pt x="122" y="16"/>
                    </a:lnTo>
                    <a:lnTo>
                      <a:pt x="120" y="16"/>
                    </a:lnTo>
                    <a:lnTo>
                      <a:pt x="118" y="16"/>
                    </a:lnTo>
                    <a:lnTo>
                      <a:pt x="118" y="16"/>
                    </a:lnTo>
                    <a:lnTo>
                      <a:pt x="116" y="16"/>
                    </a:lnTo>
                    <a:lnTo>
                      <a:pt x="112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4" y="12"/>
                    </a:lnTo>
                    <a:lnTo>
                      <a:pt x="100" y="10"/>
                    </a:lnTo>
                    <a:lnTo>
                      <a:pt x="100" y="10"/>
                    </a:lnTo>
                    <a:lnTo>
                      <a:pt x="94" y="6"/>
                    </a:lnTo>
                    <a:lnTo>
                      <a:pt x="94" y="6"/>
                    </a:lnTo>
                    <a:lnTo>
                      <a:pt x="92" y="6"/>
                    </a:lnTo>
                    <a:lnTo>
                      <a:pt x="90" y="4"/>
                    </a:lnTo>
                    <a:lnTo>
                      <a:pt x="90" y="4"/>
                    </a:lnTo>
                    <a:lnTo>
                      <a:pt x="88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2" y="4"/>
                    </a:lnTo>
                    <a:lnTo>
                      <a:pt x="80" y="6"/>
                    </a:lnTo>
                    <a:lnTo>
                      <a:pt x="80" y="6"/>
                    </a:lnTo>
                    <a:lnTo>
                      <a:pt x="78" y="6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72" y="8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66" y="14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8"/>
                    </a:lnTo>
                    <a:lnTo>
                      <a:pt x="58" y="18"/>
                    </a:lnTo>
                    <a:lnTo>
                      <a:pt x="58" y="18"/>
                    </a:lnTo>
                    <a:lnTo>
                      <a:pt x="56" y="18"/>
                    </a:lnTo>
                    <a:lnTo>
                      <a:pt x="54" y="18"/>
                    </a:lnTo>
                    <a:lnTo>
                      <a:pt x="54" y="18"/>
                    </a:lnTo>
                    <a:lnTo>
                      <a:pt x="52" y="18"/>
                    </a:lnTo>
                    <a:lnTo>
                      <a:pt x="50" y="16"/>
                    </a:lnTo>
                    <a:lnTo>
                      <a:pt x="50" y="16"/>
                    </a:lnTo>
                    <a:lnTo>
                      <a:pt x="48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2" y="18"/>
                    </a:lnTo>
                    <a:lnTo>
                      <a:pt x="40" y="18"/>
                    </a:lnTo>
                    <a:lnTo>
                      <a:pt x="38" y="18"/>
                    </a:lnTo>
                    <a:lnTo>
                      <a:pt x="38" y="16"/>
                    </a:lnTo>
                    <a:lnTo>
                      <a:pt x="38" y="16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2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16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6" y="12"/>
                    </a:lnTo>
                    <a:lnTo>
                      <a:pt x="4" y="12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46"/>
                    </a:lnTo>
                    <a:lnTo>
                      <a:pt x="0" y="52"/>
                    </a:lnTo>
                    <a:lnTo>
                      <a:pt x="2" y="56"/>
                    </a:lnTo>
                    <a:lnTo>
                      <a:pt x="2" y="56"/>
                    </a:lnTo>
                    <a:lnTo>
                      <a:pt x="4" y="68"/>
                    </a:lnTo>
                    <a:lnTo>
                      <a:pt x="4" y="78"/>
                    </a:lnTo>
                    <a:lnTo>
                      <a:pt x="4" y="100"/>
                    </a:lnTo>
                    <a:lnTo>
                      <a:pt x="4" y="100"/>
                    </a:lnTo>
                    <a:lnTo>
                      <a:pt x="4" y="112"/>
                    </a:lnTo>
                    <a:lnTo>
                      <a:pt x="6" y="126"/>
                    </a:lnTo>
                    <a:lnTo>
                      <a:pt x="6" y="140"/>
                    </a:lnTo>
                    <a:lnTo>
                      <a:pt x="6" y="154"/>
                    </a:lnTo>
                    <a:lnTo>
                      <a:pt x="6" y="154"/>
                    </a:lnTo>
                    <a:lnTo>
                      <a:pt x="6" y="174"/>
                    </a:lnTo>
                    <a:lnTo>
                      <a:pt x="6" y="174"/>
                    </a:lnTo>
                    <a:lnTo>
                      <a:pt x="16" y="174"/>
                    </a:lnTo>
                    <a:lnTo>
                      <a:pt x="16" y="174"/>
                    </a:lnTo>
                    <a:lnTo>
                      <a:pt x="38" y="174"/>
                    </a:lnTo>
                    <a:lnTo>
                      <a:pt x="62" y="174"/>
                    </a:lnTo>
                    <a:lnTo>
                      <a:pt x="84" y="172"/>
                    </a:lnTo>
                    <a:lnTo>
                      <a:pt x="108" y="172"/>
                    </a:lnTo>
                    <a:lnTo>
                      <a:pt x="108" y="172"/>
                    </a:lnTo>
                    <a:lnTo>
                      <a:pt x="108" y="172"/>
                    </a:lnTo>
                    <a:lnTo>
                      <a:pt x="108" y="172"/>
                    </a:lnTo>
                    <a:lnTo>
                      <a:pt x="108" y="17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10" name="Freeform 610"/>
              <p:cNvSpPr>
                <a:spLocks/>
              </p:cNvSpPr>
              <p:nvPr/>
            </p:nvSpPr>
            <p:spPr bwMode="auto">
              <a:xfrm>
                <a:off x="2445" y="2380"/>
                <a:ext cx="198" cy="208"/>
              </a:xfrm>
              <a:custGeom>
                <a:avLst/>
                <a:gdLst>
                  <a:gd name="T0" fmla="*/ 32 w 198"/>
                  <a:gd name="T1" fmla="*/ 180 h 208"/>
                  <a:gd name="T2" fmla="*/ 40 w 198"/>
                  <a:gd name="T3" fmla="*/ 180 h 208"/>
                  <a:gd name="T4" fmla="*/ 44 w 198"/>
                  <a:gd name="T5" fmla="*/ 182 h 208"/>
                  <a:gd name="T6" fmla="*/ 52 w 198"/>
                  <a:gd name="T7" fmla="*/ 186 h 208"/>
                  <a:gd name="T8" fmla="*/ 62 w 198"/>
                  <a:gd name="T9" fmla="*/ 192 h 208"/>
                  <a:gd name="T10" fmla="*/ 64 w 198"/>
                  <a:gd name="T11" fmla="*/ 200 h 208"/>
                  <a:gd name="T12" fmla="*/ 70 w 198"/>
                  <a:gd name="T13" fmla="*/ 204 h 208"/>
                  <a:gd name="T14" fmla="*/ 80 w 198"/>
                  <a:gd name="T15" fmla="*/ 206 h 208"/>
                  <a:gd name="T16" fmla="*/ 90 w 198"/>
                  <a:gd name="T17" fmla="*/ 198 h 208"/>
                  <a:gd name="T18" fmla="*/ 98 w 198"/>
                  <a:gd name="T19" fmla="*/ 202 h 208"/>
                  <a:gd name="T20" fmla="*/ 118 w 198"/>
                  <a:gd name="T21" fmla="*/ 202 h 208"/>
                  <a:gd name="T22" fmla="*/ 186 w 198"/>
                  <a:gd name="T23" fmla="*/ 198 h 208"/>
                  <a:gd name="T24" fmla="*/ 190 w 198"/>
                  <a:gd name="T25" fmla="*/ 184 h 208"/>
                  <a:gd name="T26" fmla="*/ 198 w 198"/>
                  <a:gd name="T27" fmla="*/ 42 h 208"/>
                  <a:gd name="T28" fmla="*/ 182 w 198"/>
                  <a:gd name="T29" fmla="*/ 28 h 208"/>
                  <a:gd name="T30" fmla="*/ 158 w 198"/>
                  <a:gd name="T31" fmla="*/ 12 h 208"/>
                  <a:gd name="T32" fmla="*/ 146 w 198"/>
                  <a:gd name="T33" fmla="*/ 4 h 208"/>
                  <a:gd name="T34" fmla="*/ 142 w 198"/>
                  <a:gd name="T35" fmla="*/ 2 h 208"/>
                  <a:gd name="T36" fmla="*/ 142 w 198"/>
                  <a:gd name="T37" fmla="*/ 12 h 208"/>
                  <a:gd name="T38" fmla="*/ 142 w 198"/>
                  <a:gd name="T39" fmla="*/ 24 h 208"/>
                  <a:gd name="T40" fmla="*/ 138 w 198"/>
                  <a:gd name="T41" fmla="*/ 30 h 208"/>
                  <a:gd name="T42" fmla="*/ 134 w 198"/>
                  <a:gd name="T43" fmla="*/ 30 h 208"/>
                  <a:gd name="T44" fmla="*/ 122 w 198"/>
                  <a:gd name="T45" fmla="*/ 30 h 208"/>
                  <a:gd name="T46" fmla="*/ 96 w 198"/>
                  <a:gd name="T47" fmla="*/ 30 h 208"/>
                  <a:gd name="T48" fmla="*/ 88 w 198"/>
                  <a:gd name="T49" fmla="*/ 30 h 208"/>
                  <a:gd name="T50" fmla="*/ 86 w 198"/>
                  <a:gd name="T51" fmla="*/ 32 h 208"/>
                  <a:gd name="T52" fmla="*/ 84 w 198"/>
                  <a:gd name="T53" fmla="*/ 34 h 208"/>
                  <a:gd name="T54" fmla="*/ 84 w 198"/>
                  <a:gd name="T55" fmla="*/ 44 h 208"/>
                  <a:gd name="T56" fmla="*/ 82 w 198"/>
                  <a:gd name="T57" fmla="*/ 70 h 208"/>
                  <a:gd name="T58" fmla="*/ 72 w 198"/>
                  <a:gd name="T59" fmla="*/ 76 h 208"/>
                  <a:gd name="T60" fmla="*/ 68 w 198"/>
                  <a:gd name="T61" fmla="*/ 82 h 208"/>
                  <a:gd name="T62" fmla="*/ 68 w 198"/>
                  <a:gd name="T63" fmla="*/ 86 h 208"/>
                  <a:gd name="T64" fmla="*/ 68 w 198"/>
                  <a:gd name="T65" fmla="*/ 92 h 208"/>
                  <a:gd name="T66" fmla="*/ 66 w 198"/>
                  <a:gd name="T67" fmla="*/ 102 h 208"/>
                  <a:gd name="T68" fmla="*/ 62 w 198"/>
                  <a:gd name="T69" fmla="*/ 106 h 208"/>
                  <a:gd name="T70" fmla="*/ 52 w 198"/>
                  <a:gd name="T71" fmla="*/ 106 h 208"/>
                  <a:gd name="T72" fmla="*/ 26 w 198"/>
                  <a:gd name="T73" fmla="*/ 106 h 208"/>
                  <a:gd name="T74" fmla="*/ 6 w 198"/>
                  <a:gd name="T75" fmla="*/ 106 h 208"/>
                  <a:gd name="T76" fmla="*/ 0 w 198"/>
                  <a:gd name="T77" fmla="*/ 110 h 208"/>
                  <a:gd name="T78" fmla="*/ 2 w 198"/>
                  <a:gd name="T79" fmla="*/ 114 h 208"/>
                  <a:gd name="T80" fmla="*/ 6 w 198"/>
                  <a:gd name="T81" fmla="*/ 114 h 208"/>
                  <a:gd name="T82" fmla="*/ 8 w 198"/>
                  <a:gd name="T83" fmla="*/ 116 h 208"/>
                  <a:gd name="T84" fmla="*/ 12 w 198"/>
                  <a:gd name="T85" fmla="*/ 118 h 208"/>
                  <a:gd name="T86" fmla="*/ 14 w 198"/>
                  <a:gd name="T87" fmla="*/ 122 h 208"/>
                  <a:gd name="T88" fmla="*/ 14 w 198"/>
                  <a:gd name="T89" fmla="*/ 124 h 208"/>
                  <a:gd name="T90" fmla="*/ 10 w 198"/>
                  <a:gd name="T91" fmla="*/ 132 h 208"/>
                  <a:gd name="T92" fmla="*/ 10 w 198"/>
                  <a:gd name="T93" fmla="*/ 136 h 208"/>
                  <a:gd name="T94" fmla="*/ 14 w 198"/>
                  <a:gd name="T95" fmla="*/ 142 h 208"/>
                  <a:gd name="T96" fmla="*/ 16 w 198"/>
                  <a:gd name="T97" fmla="*/ 152 h 208"/>
                  <a:gd name="T98" fmla="*/ 18 w 198"/>
                  <a:gd name="T99" fmla="*/ 158 h 208"/>
                  <a:gd name="T100" fmla="*/ 18 w 198"/>
                  <a:gd name="T101" fmla="*/ 162 h 208"/>
                  <a:gd name="T102" fmla="*/ 18 w 198"/>
                  <a:gd name="T103" fmla="*/ 164 h 208"/>
                  <a:gd name="T104" fmla="*/ 14 w 198"/>
                  <a:gd name="T105" fmla="*/ 170 h 208"/>
                  <a:gd name="T106" fmla="*/ 12 w 198"/>
                  <a:gd name="T107" fmla="*/ 176 h 208"/>
                  <a:gd name="T108" fmla="*/ 12 w 198"/>
                  <a:gd name="T109" fmla="*/ 188 h 208"/>
                  <a:gd name="T110" fmla="*/ 22 w 198"/>
                  <a:gd name="T111" fmla="*/ 184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98" h="208">
                    <a:moveTo>
                      <a:pt x="22" y="184"/>
                    </a:moveTo>
                    <a:lnTo>
                      <a:pt x="26" y="182"/>
                    </a:lnTo>
                    <a:lnTo>
                      <a:pt x="32" y="180"/>
                    </a:lnTo>
                    <a:lnTo>
                      <a:pt x="32" y="180"/>
                    </a:lnTo>
                    <a:lnTo>
                      <a:pt x="40" y="180"/>
                    </a:lnTo>
                    <a:lnTo>
                      <a:pt x="40" y="180"/>
                    </a:lnTo>
                    <a:lnTo>
                      <a:pt x="40" y="180"/>
                    </a:lnTo>
                    <a:lnTo>
                      <a:pt x="42" y="182"/>
                    </a:lnTo>
                    <a:lnTo>
                      <a:pt x="44" y="182"/>
                    </a:lnTo>
                    <a:lnTo>
                      <a:pt x="46" y="184"/>
                    </a:lnTo>
                    <a:lnTo>
                      <a:pt x="50" y="186"/>
                    </a:lnTo>
                    <a:lnTo>
                      <a:pt x="52" y="186"/>
                    </a:lnTo>
                    <a:lnTo>
                      <a:pt x="58" y="186"/>
                    </a:lnTo>
                    <a:lnTo>
                      <a:pt x="62" y="190"/>
                    </a:lnTo>
                    <a:lnTo>
                      <a:pt x="62" y="192"/>
                    </a:lnTo>
                    <a:lnTo>
                      <a:pt x="62" y="198"/>
                    </a:lnTo>
                    <a:lnTo>
                      <a:pt x="62" y="198"/>
                    </a:lnTo>
                    <a:lnTo>
                      <a:pt x="64" y="200"/>
                    </a:lnTo>
                    <a:lnTo>
                      <a:pt x="68" y="204"/>
                    </a:lnTo>
                    <a:lnTo>
                      <a:pt x="68" y="204"/>
                    </a:lnTo>
                    <a:lnTo>
                      <a:pt x="70" y="204"/>
                    </a:lnTo>
                    <a:lnTo>
                      <a:pt x="72" y="206"/>
                    </a:lnTo>
                    <a:lnTo>
                      <a:pt x="74" y="208"/>
                    </a:lnTo>
                    <a:lnTo>
                      <a:pt x="80" y="206"/>
                    </a:lnTo>
                    <a:lnTo>
                      <a:pt x="84" y="202"/>
                    </a:lnTo>
                    <a:lnTo>
                      <a:pt x="86" y="200"/>
                    </a:lnTo>
                    <a:lnTo>
                      <a:pt x="90" y="198"/>
                    </a:lnTo>
                    <a:lnTo>
                      <a:pt x="90" y="198"/>
                    </a:lnTo>
                    <a:lnTo>
                      <a:pt x="98" y="202"/>
                    </a:lnTo>
                    <a:lnTo>
                      <a:pt x="98" y="202"/>
                    </a:lnTo>
                    <a:lnTo>
                      <a:pt x="100" y="204"/>
                    </a:lnTo>
                    <a:lnTo>
                      <a:pt x="102" y="204"/>
                    </a:lnTo>
                    <a:lnTo>
                      <a:pt x="118" y="202"/>
                    </a:lnTo>
                    <a:lnTo>
                      <a:pt x="122" y="198"/>
                    </a:lnTo>
                    <a:lnTo>
                      <a:pt x="126" y="200"/>
                    </a:lnTo>
                    <a:lnTo>
                      <a:pt x="186" y="198"/>
                    </a:lnTo>
                    <a:lnTo>
                      <a:pt x="188" y="196"/>
                    </a:lnTo>
                    <a:lnTo>
                      <a:pt x="190" y="190"/>
                    </a:lnTo>
                    <a:lnTo>
                      <a:pt x="190" y="184"/>
                    </a:lnTo>
                    <a:lnTo>
                      <a:pt x="186" y="180"/>
                    </a:lnTo>
                    <a:lnTo>
                      <a:pt x="168" y="42"/>
                    </a:lnTo>
                    <a:lnTo>
                      <a:pt x="198" y="42"/>
                    </a:lnTo>
                    <a:lnTo>
                      <a:pt x="198" y="42"/>
                    </a:lnTo>
                    <a:lnTo>
                      <a:pt x="182" y="28"/>
                    </a:lnTo>
                    <a:lnTo>
                      <a:pt x="182" y="28"/>
                    </a:lnTo>
                    <a:lnTo>
                      <a:pt x="176" y="24"/>
                    </a:lnTo>
                    <a:lnTo>
                      <a:pt x="172" y="20"/>
                    </a:lnTo>
                    <a:lnTo>
                      <a:pt x="158" y="12"/>
                    </a:lnTo>
                    <a:lnTo>
                      <a:pt x="158" y="12"/>
                    </a:lnTo>
                    <a:lnTo>
                      <a:pt x="150" y="6"/>
                    </a:lnTo>
                    <a:lnTo>
                      <a:pt x="146" y="4"/>
                    </a:lnTo>
                    <a:lnTo>
                      <a:pt x="142" y="0"/>
                    </a:lnTo>
                    <a:lnTo>
                      <a:pt x="142" y="0"/>
                    </a:lnTo>
                    <a:lnTo>
                      <a:pt x="142" y="2"/>
                    </a:lnTo>
                    <a:lnTo>
                      <a:pt x="142" y="6"/>
                    </a:lnTo>
                    <a:lnTo>
                      <a:pt x="142" y="12"/>
                    </a:lnTo>
                    <a:lnTo>
                      <a:pt x="142" y="12"/>
                    </a:lnTo>
                    <a:lnTo>
                      <a:pt x="142" y="16"/>
                    </a:lnTo>
                    <a:lnTo>
                      <a:pt x="142" y="20"/>
                    </a:lnTo>
                    <a:lnTo>
                      <a:pt x="142" y="24"/>
                    </a:lnTo>
                    <a:lnTo>
                      <a:pt x="140" y="26"/>
                    </a:lnTo>
                    <a:lnTo>
                      <a:pt x="138" y="28"/>
                    </a:lnTo>
                    <a:lnTo>
                      <a:pt x="138" y="30"/>
                    </a:lnTo>
                    <a:lnTo>
                      <a:pt x="138" y="30"/>
                    </a:lnTo>
                    <a:lnTo>
                      <a:pt x="136" y="30"/>
                    </a:lnTo>
                    <a:lnTo>
                      <a:pt x="134" y="30"/>
                    </a:lnTo>
                    <a:lnTo>
                      <a:pt x="130" y="30"/>
                    </a:lnTo>
                    <a:lnTo>
                      <a:pt x="128" y="30"/>
                    </a:lnTo>
                    <a:lnTo>
                      <a:pt x="122" y="30"/>
                    </a:lnTo>
                    <a:lnTo>
                      <a:pt x="118" y="30"/>
                    </a:lnTo>
                    <a:lnTo>
                      <a:pt x="118" y="30"/>
                    </a:lnTo>
                    <a:lnTo>
                      <a:pt x="96" y="30"/>
                    </a:lnTo>
                    <a:lnTo>
                      <a:pt x="96" y="30"/>
                    </a:lnTo>
                    <a:lnTo>
                      <a:pt x="92" y="30"/>
                    </a:lnTo>
                    <a:lnTo>
                      <a:pt x="88" y="30"/>
                    </a:lnTo>
                    <a:lnTo>
                      <a:pt x="88" y="30"/>
                    </a:lnTo>
                    <a:lnTo>
                      <a:pt x="86" y="30"/>
                    </a:lnTo>
                    <a:lnTo>
                      <a:pt x="86" y="32"/>
                    </a:lnTo>
                    <a:lnTo>
                      <a:pt x="84" y="32"/>
                    </a:lnTo>
                    <a:lnTo>
                      <a:pt x="84" y="32"/>
                    </a:lnTo>
                    <a:lnTo>
                      <a:pt x="84" y="34"/>
                    </a:lnTo>
                    <a:lnTo>
                      <a:pt x="84" y="36"/>
                    </a:lnTo>
                    <a:lnTo>
                      <a:pt x="84" y="38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82" y="70"/>
                    </a:lnTo>
                    <a:lnTo>
                      <a:pt x="82" y="70"/>
                    </a:lnTo>
                    <a:lnTo>
                      <a:pt x="78" y="72"/>
                    </a:lnTo>
                    <a:lnTo>
                      <a:pt x="74" y="74"/>
                    </a:lnTo>
                    <a:lnTo>
                      <a:pt x="72" y="76"/>
                    </a:lnTo>
                    <a:lnTo>
                      <a:pt x="70" y="76"/>
                    </a:lnTo>
                    <a:lnTo>
                      <a:pt x="68" y="78"/>
                    </a:lnTo>
                    <a:lnTo>
                      <a:pt x="68" y="82"/>
                    </a:lnTo>
                    <a:lnTo>
                      <a:pt x="68" y="82"/>
                    </a:lnTo>
                    <a:lnTo>
                      <a:pt x="68" y="84"/>
                    </a:lnTo>
                    <a:lnTo>
                      <a:pt x="68" y="86"/>
                    </a:lnTo>
                    <a:lnTo>
                      <a:pt x="68" y="88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68" y="96"/>
                    </a:lnTo>
                    <a:lnTo>
                      <a:pt x="66" y="100"/>
                    </a:lnTo>
                    <a:lnTo>
                      <a:pt x="66" y="102"/>
                    </a:lnTo>
                    <a:lnTo>
                      <a:pt x="66" y="102"/>
                    </a:lnTo>
                    <a:lnTo>
                      <a:pt x="64" y="104"/>
                    </a:lnTo>
                    <a:lnTo>
                      <a:pt x="62" y="106"/>
                    </a:lnTo>
                    <a:lnTo>
                      <a:pt x="60" y="106"/>
                    </a:lnTo>
                    <a:lnTo>
                      <a:pt x="58" y="106"/>
                    </a:lnTo>
                    <a:lnTo>
                      <a:pt x="52" y="106"/>
                    </a:lnTo>
                    <a:lnTo>
                      <a:pt x="46" y="106"/>
                    </a:lnTo>
                    <a:lnTo>
                      <a:pt x="46" y="106"/>
                    </a:lnTo>
                    <a:lnTo>
                      <a:pt x="26" y="106"/>
                    </a:lnTo>
                    <a:lnTo>
                      <a:pt x="26" y="106"/>
                    </a:lnTo>
                    <a:lnTo>
                      <a:pt x="12" y="106"/>
                    </a:lnTo>
                    <a:lnTo>
                      <a:pt x="6" y="106"/>
                    </a:lnTo>
                    <a:lnTo>
                      <a:pt x="0" y="106"/>
                    </a:lnTo>
                    <a:lnTo>
                      <a:pt x="0" y="106"/>
                    </a:lnTo>
                    <a:lnTo>
                      <a:pt x="0" y="110"/>
                    </a:lnTo>
                    <a:lnTo>
                      <a:pt x="2" y="112"/>
                    </a:lnTo>
                    <a:lnTo>
                      <a:pt x="2" y="114"/>
                    </a:lnTo>
                    <a:lnTo>
                      <a:pt x="2" y="114"/>
                    </a:lnTo>
                    <a:lnTo>
                      <a:pt x="2" y="114"/>
                    </a:lnTo>
                    <a:lnTo>
                      <a:pt x="4" y="114"/>
                    </a:lnTo>
                    <a:lnTo>
                      <a:pt x="6" y="114"/>
                    </a:lnTo>
                    <a:lnTo>
                      <a:pt x="6" y="114"/>
                    </a:lnTo>
                    <a:lnTo>
                      <a:pt x="8" y="116"/>
                    </a:lnTo>
                    <a:lnTo>
                      <a:pt x="8" y="116"/>
                    </a:lnTo>
                    <a:lnTo>
                      <a:pt x="10" y="118"/>
                    </a:lnTo>
                    <a:lnTo>
                      <a:pt x="10" y="118"/>
                    </a:lnTo>
                    <a:lnTo>
                      <a:pt x="12" y="118"/>
                    </a:lnTo>
                    <a:lnTo>
                      <a:pt x="14" y="120"/>
                    </a:lnTo>
                    <a:lnTo>
                      <a:pt x="14" y="120"/>
                    </a:lnTo>
                    <a:lnTo>
                      <a:pt x="14" y="122"/>
                    </a:lnTo>
                    <a:lnTo>
                      <a:pt x="14" y="124"/>
                    </a:lnTo>
                    <a:lnTo>
                      <a:pt x="14" y="124"/>
                    </a:lnTo>
                    <a:lnTo>
                      <a:pt x="14" y="124"/>
                    </a:lnTo>
                    <a:lnTo>
                      <a:pt x="12" y="126"/>
                    </a:lnTo>
                    <a:lnTo>
                      <a:pt x="10" y="130"/>
                    </a:lnTo>
                    <a:lnTo>
                      <a:pt x="10" y="132"/>
                    </a:lnTo>
                    <a:lnTo>
                      <a:pt x="10" y="134"/>
                    </a:lnTo>
                    <a:lnTo>
                      <a:pt x="10" y="134"/>
                    </a:lnTo>
                    <a:lnTo>
                      <a:pt x="10" y="136"/>
                    </a:lnTo>
                    <a:lnTo>
                      <a:pt x="12" y="138"/>
                    </a:lnTo>
                    <a:lnTo>
                      <a:pt x="14" y="140"/>
                    </a:lnTo>
                    <a:lnTo>
                      <a:pt x="14" y="142"/>
                    </a:lnTo>
                    <a:lnTo>
                      <a:pt x="14" y="142"/>
                    </a:lnTo>
                    <a:lnTo>
                      <a:pt x="14" y="148"/>
                    </a:lnTo>
                    <a:lnTo>
                      <a:pt x="16" y="152"/>
                    </a:lnTo>
                    <a:lnTo>
                      <a:pt x="16" y="152"/>
                    </a:lnTo>
                    <a:lnTo>
                      <a:pt x="18" y="156"/>
                    </a:lnTo>
                    <a:lnTo>
                      <a:pt x="18" y="158"/>
                    </a:lnTo>
                    <a:lnTo>
                      <a:pt x="18" y="158"/>
                    </a:lnTo>
                    <a:lnTo>
                      <a:pt x="20" y="160"/>
                    </a:lnTo>
                    <a:lnTo>
                      <a:pt x="18" y="162"/>
                    </a:lnTo>
                    <a:lnTo>
                      <a:pt x="18" y="162"/>
                    </a:lnTo>
                    <a:lnTo>
                      <a:pt x="18" y="162"/>
                    </a:lnTo>
                    <a:lnTo>
                      <a:pt x="18" y="164"/>
                    </a:lnTo>
                    <a:lnTo>
                      <a:pt x="16" y="166"/>
                    </a:lnTo>
                    <a:lnTo>
                      <a:pt x="14" y="168"/>
                    </a:lnTo>
                    <a:lnTo>
                      <a:pt x="14" y="170"/>
                    </a:lnTo>
                    <a:lnTo>
                      <a:pt x="12" y="172"/>
                    </a:lnTo>
                    <a:lnTo>
                      <a:pt x="12" y="172"/>
                    </a:lnTo>
                    <a:lnTo>
                      <a:pt x="12" y="176"/>
                    </a:lnTo>
                    <a:lnTo>
                      <a:pt x="12" y="180"/>
                    </a:lnTo>
                    <a:lnTo>
                      <a:pt x="12" y="184"/>
                    </a:lnTo>
                    <a:lnTo>
                      <a:pt x="12" y="188"/>
                    </a:lnTo>
                    <a:lnTo>
                      <a:pt x="18" y="186"/>
                    </a:lnTo>
                    <a:lnTo>
                      <a:pt x="22" y="184"/>
                    </a:lnTo>
                    <a:lnTo>
                      <a:pt x="22" y="184"/>
                    </a:lnTo>
                    <a:lnTo>
                      <a:pt x="22" y="184"/>
                    </a:lnTo>
                    <a:lnTo>
                      <a:pt x="22" y="18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11" name="Freeform 612"/>
              <p:cNvSpPr>
                <a:spLocks/>
              </p:cNvSpPr>
              <p:nvPr/>
            </p:nvSpPr>
            <p:spPr bwMode="auto">
              <a:xfrm>
                <a:off x="2449" y="2608"/>
                <a:ext cx="46" cy="12"/>
              </a:xfrm>
              <a:custGeom>
                <a:avLst/>
                <a:gdLst>
                  <a:gd name="T0" fmla="*/ 20 w 46"/>
                  <a:gd name="T1" fmla="*/ 10 h 12"/>
                  <a:gd name="T2" fmla="*/ 20 w 46"/>
                  <a:gd name="T3" fmla="*/ 10 h 12"/>
                  <a:gd name="T4" fmla="*/ 22 w 46"/>
                  <a:gd name="T5" fmla="*/ 10 h 12"/>
                  <a:gd name="T6" fmla="*/ 24 w 46"/>
                  <a:gd name="T7" fmla="*/ 10 h 12"/>
                  <a:gd name="T8" fmla="*/ 30 w 46"/>
                  <a:gd name="T9" fmla="*/ 10 h 12"/>
                  <a:gd name="T10" fmla="*/ 38 w 46"/>
                  <a:gd name="T11" fmla="*/ 10 h 12"/>
                  <a:gd name="T12" fmla="*/ 40 w 46"/>
                  <a:gd name="T13" fmla="*/ 10 h 12"/>
                  <a:gd name="T14" fmla="*/ 42 w 46"/>
                  <a:gd name="T15" fmla="*/ 10 h 12"/>
                  <a:gd name="T16" fmla="*/ 42 w 46"/>
                  <a:gd name="T17" fmla="*/ 10 h 12"/>
                  <a:gd name="T18" fmla="*/ 44 w 46"/>
                  <a:gd name="T19" fmla="*/ 10 h 12"/>
                  <a:gd name="T20" fmla="*/ 46 w 46"/>
                  <a:gd name="T21" fmla="*/ 8 h 12"/>
                  <a:gd name="T22" fmla="*/ 46 w 46"/>
                  <a:gd name="T23" fmla="*/ 8 h 12"/>
                  <a:gd name="T24" fmla="*/ 46 w 46"/>
                  <a:gd name="T25" fmla="*/ 6 h 12"/>
                  <a:gd name="T26" fmla="*/ 46 w 46"/>
                  <a:gd name="T27" fmla="*/ 6 h 12"/>
                  <a:gd name="T28" fmla="*/ 46 w 46"/>
                  <a:gd name="T29" fmla="*/ 4 h 12"/>
                  <a:gd name="T30" fmla="*/ 46 w 46"/>
                  <a:gd name="T31" fmla="*/ 2 h 12"/>
                  <a:gd name="T32" fmla="*/ 44 w 46"/>
                  <a:gd name="T33" fmla="*/ 2 h 12"/>
                  <a:gd name="T34" fmla="*/ 44 w 46"/>
                  <a:gd name="T35" fmla="*/ 2 h 12"/>
                  <a:gd name="T36" fmla="*/ 40 w 46"/>
                  <a:gd name="T37" fmla="*/ 0 h 12"/>
                  <a:gd name="T38" fmla="*/ 36 w 46"/>
                  <a:gd name="T39" fmla="*/ 0 h 12"/>
                  <a:gd name="T40" fmla="*/ 34 w 46"/>
                  <a:gd name="T41" fmla="*/ 0 h 12"/>
                  <a:gd name="T42" fmla="*/ 30 w 46"/>
                  <a:gd name="T43" fmla="*/ 0 h 12"/>
                  <a:gd name="T44" fmla="*/ 30 w 46"/>
                  <a:gd name="T45" fmla="*/ 0 h 12"/>
                  <a:gd name="T46" fmla="*/ 16 w 46"/>
                  <a:gd name="T47" fmla="*/ 0 h 12"/>
                  <a:gd name="T48" fmla="*/ 16 w 46"/>
                  <a:gd name="T49" fmla="*/ 0 h 12"/>
                  <a:gd name="T50" fmla="*/ 10 w 46"/>
                  <a:gd name="T51" fmla="*/ 0 h 12"/>
                  <a:gd name="T52" fmla="*/ 4 w 46"/>
                  <a:gd name="T53" fmla="*/ 0 h 12"/>
                  <a:gd name="T54" fmla="*/ 4 w 46"/>
                  <a:gd name="T55" fmla="*/ 0 h 12"/>
                  <a:gd name="T56" fmla="*/ 4 w 46"/>
                  <a:gd name="T57" fmla="*/ 0 h 12"/>
                  <a:gd name="T58" fmla="*/ 4 w 46"/>
                  <a:gd name="T59" fmla="*/ 0 h 12"/>
                  <a:gd name="T60" fmla="*/ 4 w 46"/>
                  <a:gd name="T61" fmla="*/ 2 h 12"/>
                  <a:gd name="T62" fmla="*/ 4 w 46"/>
                  <a:gd name="T63" fmla="*/ 4 h 12"/>
                  <a:gd name="T64" fmla="*/ 4 w 46"/>
                  <a:gd name="T65" fmla="*/ 4 h 12"/>
                  <a:gd name="T66" fmla="*/ 4 w 46"/>
                  <a:gd name="T67" fmla="*/ 4 h 12"/>
                  <a:gd name="T68" fmla="*/ 2 w 46"/>
                  <a:gd name="T69" fmla="*/ 6 h 12"/>
                  <a:gd name="T70" fmla="*/ 2 w 46"/>
                  <a:gd name="T71" fmla="*/ 6 h 12"/>
                  <a:gd name="T72" fmla="*/ 0 w 46"/>
                  <a:gd name="T73" fmla="*/ 6 h 12"/>
                  <a:gd name="T74" fmla="*/ 0 w 46"/>
                  <a:gd name="T75" fmla="*/ 6 h 12"/>
                  <a:gd name="T76" fmla="*/ 0 w 46"/>
                  <a:gd name="T77" fmla="*/ 8 h 12"/>
                  <a:gd name="T78" fmla="*/ 0 w 46"/>
                  <a:gd name="T79" fmla="*/ 8 h 12"/>
                  <a:gd name="T80" fmla="*/ 0 w 46"/>
                  <a:gd name="T81" fmla="*/ 12 h 12"/>
                  <a:gd name="T82" fmla="*/ 0 w 46"/>
                  <a:gd name="T83" fmla="*/ 12 h 12"/>
                  <a:gd name="T84" fmla="*/ 8 w 46"/>
                  <a:gd name="T85" fmla="*/ 12 h 12"/>
                  <a:gd name="T86" fmla="*/ 8 w 46"/>
                  <a:gd name="T87" fmla="*/ 12 h 12"/>
                  <a:gd name="T88" fmla="*/ 10 w 46"/>
                  <a:gd name="T89" fmla="*/ 12 h 12"/>
                  <a:gd name="T90" fmla="*/ 14 w 46"/>
                  <a:gd name="T91" fmla="*/ 12 h 12"/>
                  <a:gd name="T92" fmla="*/ 20 w 46"/>
                  <a:gd name="T93" fmla="*/ 10 h 12"/>
                  <a:gd name="T94" fmla="*/ 20 w 46"/>
                  <a:gd name="T95" fmla="*/ 10 h 12"/>
                  <a:gd name="T96" fmla="*/ 20 w 46"/>
                  <a:gd name="T97" fmla="*/ 10 h 12"/>
                  <a:gd name="T98" fmla="*/ 20 w 46"/>
                  <a:gd name="T99" fmla="*/ 10 h 12"/>
                  <a:gd name="T100" fmla="*/ 20 w 46"/>
                  <a:gd name="T101" fmla="*/ 1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46" h="12">
                    <a:moveTo>
                      <a:pt x="20" y="10"/>
                    </a:moveTo>
                    <a:lnTo>
                      <a:pt x="20" y="10"/>
                    </a:lnTo>
                    <a:lnTo>
                      <a:pt x="22" y="10"/>
                    </a:lnTo>
                    <a:lnTo>
                      <a:pt x="24" y="10"/>
                    </a:lnTo>
                    <a:lnTo>
                      <a:pt x="30" y="10"/>
                    </a:lnTo>
                    <a:lnTo>
                      <a:pt x="38" y="10"/>
                    </a:lnTo>
                    <a:lnTo>
                      <a:pt x="40" y="10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4" y="10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4"/>
                    </a:lnTo>
                    <a:lnTo>
                      <a:pt x="46" y="2"/>
                    </a:lnTo>
                    <a:lnTo>
                      <a:pt x="44" y="2"/>
                    </a:lnTo>
                    <a:lnTo>
                      <a:pt x="44" y="2"/>
                    </a:lnTo>
                    <a:lnTo>
                      <a:pt x="40" y="0"/>
                    </a:lnTo>
                    <a:lnTo>
                      <a:pt x="36" y="0"/>
                    </a:lnTo>
                    <a:lnTo>
                      <a:pt x="34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0" y="12"/>
                    </a:lnTo>
                    <a:lnTo>
                      <a:pt x="14" y="12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12" name="Freeform 614"/>
              <p:cNvSpPr>
                <a:spLocks/>
              </p:cNvSpPr>
              <p:nvPr/>
            </p:nvSpPr>
            <p:spPr bwMode="auto">
              <a:xfrm>
                <a:off x="2439" y="2560"/>
                <a:ext cx="98" cy="74"/>
              </a:xfrm>
              <a:custGeom>
                <a:avLst/>
                <a:gdLst>
                  <a:gd name="T0" fmla="*/ 96 w 98"/>
                  <a:gd name="T1" fmla="*/ 64 h 74"/>
                  <a:gd name="T2" fmla="*/ 90 w 98"/>
                  <a:gd name="T3" fmla="*/ 54 h 74"/>
                  <a:gd name="T4" fmla="*/ 86 w 98"/>
                  <a:gd name="T5" fmla="*/ 46 h 74"/>
                  <a:gd name="T6" fmla="*/ 86 w 98"/>
                  <a:gd name="T7" fmla="*/ 36 h 74"/>
                  <a:gd name="T8" fmla="*/ 80 w 98"/>
                  <a:gd name="T9" fmla="*/ 28 h 74"/>
                  <a:gd name="T10" fmla="*/ 74 w 98"/>
                  <a:gd name="T11" fmla="*/ 24 h 74"/>
                  <a:gd name="T12" fmla="*/ 68 w 98"/>
                  <a:gd name="T13" fmla="*/ 18 h 74"/>
                  <a:gd name="T14" fmla="*/ 64 w 98"/>
                  <a:gd name="T15" fmla="*/ 6 h 74"/>
                  <a:gd name="T16" fmla="*/ 52 w 98"/>
                  <a:gd name="T17" fmla="*/ 4 h 74"/>
                  <a:gd name="T18" fmla="*/ 48 w 98"/>
                  <a:gd name="T19" fmla="*/ 2 h 74"/>
                  <a:gd name="T20" fmla="*/ 46 w 98"/>
                  <a:gd name="T21" fmla="*/ 0 h 74"/>
                  <a:gd name="T22" fmla="*/ 28 w 98"/>
                  <a:gd name="T23" fmla="*/ 4 h 74"/>
                  <a:gd name="T24" fmla="*/ 18 w 98"/>
                  <a:gd name="T25" fmla="*/ 8 h 74"/>
                  <a:gd name="T26" fmla="*/ 18 w 98"/>
                  <a:gd name="T27" fmla="*/ 10 h 74"/>
                  <a:gd name="T28" fmla="*/ 16 w 98"/>
                  <a:gd name="T29" fmla="*/ 18 h 74"/>
                  <a:gd name="T30" fmla="*/ 10 w 98"/>
                  <a:gd name="T31" fmla="*/ 22 h 74"/>
                  <a:gd name="T32" fmla="*/ 6 w 98"/>
                  <a:gd name="T33" fmla="*/ 26 h 74"/>
                  <a:gd name="T34" fmla="*/ 2 w 98"/>
                  <a:gd name="T35" fmla="*/ 26 h 74"/>
                  <a:gd name="T36" fmla="*/ 0 w 98"/>
                  <a:gd name="T37" fmla="*/ 28 h 74"/>
                  <a:gd name="T38" fmla="*/ 4 w 98"/>
                  <a:gd name="T39" fmla="*/ 32 h 74"/>
                  <a:gd name="T40" fmla="*/ 8 w 98"/>
                  <a:gd name="T41" fmla="*/ 36 h 74"/>
                  <a:gd name="T42" fmla="*/ 8 w 98"/>
                  <a:gd name="T43" fmla="*/ 38 h 74"/>
                  <a:gd name="T44" fmla="*/ 8 w 98"/>
                  <a:gd name="T45" fmla="*/ 42 h 74"/>
                  <a:gd name="T46" fmla="*/ 10 w 98"/>
                  <a:gd name="T47" fmla="*/ 44 h 74"/>
                  <a:gd name="T48" fmla="*/ 12 w 98"/>
                  <a:gd name="T49" fmla="*/ 44 h 74"/>
                  <a:gd name="T50" fmla="*/ 12 w 98"/>
                  <a:gd name="T51" fmla="*/ 46 h 74"/>
                  <a:gd name="T52" fmla="*/ 14 w 98"/>
                  <a:gd name="T53" fmla="*/ 48 h 74"/>
                  <a:gd name="T54" fmla="*/ 26 w 98"/>
                  <a:gd name="T55" fmla="*/ 48 h 74"/>
                  <a:gd name="T56" fmla="*/ 44 w 98"/>
                  <a:gd name="T57" fmla="*/ 48 h 74"/>
                  <a:gd name="T58" fmla="*/ 54 w 98"/>
                  <a:gd name="T59" fmla="*/ 50 h 74"/>
                  <a:gd name="T60" fmla="*/ 56 w 98"/>
                  <a:gd name="T61" fmla="*/ 52 h 74"/>
                  <a:gd name="T62" fmla="*/ 56 w 98"/>
                  <a:gd name="T63" fmla="*/ 56 h 74"/>
                  <a:gd name="T64" fmla="*/ 52 w 98"/>
                  <a:gd name="T65" fmla="*/ 58 h 74"/>
                  <a:gd name="T66" fmla="*/ 48 w 98"/>
                  <a:gd name="T67" fmla="*/ 58 h 74"/>
                  <a:gd name="T68" fmla="*/ 32 w 98"/>
                  <a:gd name="T69" fmla="*/ 58 h 74"/>
                  <a:gd name="T70" fmla="*/ 24 w 98"/>
                  <a:gd name="T71" fmla="*/ 60 h 74"/>
                  <a:gd name="T72" fmla="*/ 18 w 98"/>
                  <a:gd name="T73" fmla="*/ 60 h 74"/>
                  <a:gd name="T74" fmla="*/ 10 w 98"/>
                  <a:gd name="T75" fmla="*/ 60 h 74"/>
                  <a:gd name="T76" fmla="*/ 12 w 98"/>
                  <a:gd name="T77" fmla="*/ 64 h 74"/>
                  <a:gd name="T78" fmla="*/ 16 w 98"/>
                  <a:gd name="T79" fmla="*/ 66 h 74"/>
                  <a:gd name="T80" fmla="*/ 16 w 98"/>
                  <a:gd name="T81" fmla="*/ 68 h 74"/>
                  <a:gd name="T82" fmla="*/ 18 w 98"/>
                  <a:gd name="T83" fmla="*/ 72 h 74"/>
                  <a:gd name="T84" fmla="*/ 24 w 98"/>
                  <a:gd name="T85" fmla="*/ 70 h 74"/>
                  <a:gd name="T86" fmla="*/ 32 w 98"/>
                  <a:gd name="T87" fmla="*/ 66 h 74"/>
                  <a:gd name="T88" fmla="*/ 38 w 98"/>
                  <a:gd name="T89" fmla="*/ 66 h 74"/>
                  <a:gd name="T90" fmla="*/ 54 w 98"/>
                  <a:gd name="T91" fmla="*/ 66 h 74"/>
                  <a:gd name="T92" fmla="*/ 66 w 98"/>
                  <a:gd name="T93" fmla="*/ 66 h 74"/>
                  <a:gd name="T94" fmla="*/ 72 w 98"/>
                  <a:gd name="T95" fmla="*/ 68 h 74"/>
                  <a:gd name="T96" fmla="*/ 82 w 98"/>
                  <a:gd name="T97" fmla="*/ 72 h 74"/>
                  <a:gd name="T98" fmla="*/ 86 w 98"/>
                  <a:gd name="T99" fmla="*/ 74 h 74"/>
                  <a:gd name="T100" fmla="*/ 94 w 98"/>
                  <a:gd name="T101" fmla="*/ 74 h 74"/>
                  <a:gd name="T102" fmla="*/ 98 w 98"/>
                  <a:gd name="T103" fmla="*/ 70 h 74"/>
                  <a:gd name="T104" fmla="*/ 98 w 98"/>
                  <a:gd name="T105" fmla="*/ 66 h 74"/>
                  <a:gd name="T106" fmla="*/ 98 w 98"/>
                  <a:gd name="T107" fmla="*/ 66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98" h="74">
                    <a:moveTo>
                      <a:pt x="98" y="66"/>
                    </a:moveTo>
                    <a:lnTo>
                      <a:pt x="98" y="66"/>
                    </a:lnTo>
                    <a:lnTo>
                      <a:pt x="96" y="64"/>
                    </a:lnTo>
                    <a:lnTo>
                      <a:pt x="96" y="60"/>
                    </a:lnTo>
                    <a:lnTo>
                      <a:pt x="92" y="56"/>
                    </a:lnTo>
                    <a:lnTo>
                      <a:pt x="90" y="54"/>
                    </a:lnTo>
                    <a:lnTo>
                      <a:pt x="88" y="50"/>
                    </a:lnTo>
                    <a:lnTo>
                      <a:pt x="88" y="48"/>
                    </a:lnTo>
                    <a:lnTo>
                      <a:pt x="86" y="46"/>
                    </a:lnTo>
                    <a:lnTo>
                      <a:pt x="86" y="46"/>
                    </a:lnTo>
                    <a:lnTo>
                      <a:pt x="86" y="42"/>
                    </a:lnTo>
                    <a:lnTo>
                      <a:pt x="86" y="36"/>
                    </a:lnTo>
                    <a:lnTo>
                      <a:pt x="84" y="26"/>
                    </a:lnTo>
                    <a:lnTo>
                      <a:pt x="80" y="28"/>
                    </a:lnTo>
                    <a:lnTo>
                      <a:pt x="80" y="28"/>
                    </a:lnTo>
                    <a:lnTo>
                      <a:pt x="78" y="26"/>
                    </a:lnTo>
                    <a:lnTo>
                      <a:pt x="76" y="24"/>
                    </a:lnTo>
                    <a:lnTo>
                      <a:pt x="74" y="24"/>
                    </a:lnTo>
                    <a:lnTo>
                      <a:pt x="74" y="24"/>
                    </a:lnTo>
                    <a:lnTo>
                      <a:pt x="70" y="20"/>
                    </a:lnTo>
                    <a:lnTo>
                      <a:pt x="68" y="18"/>
                    </a:lnTo>
                    <a:lnTo>
                      <a:pt x="68" y="12"/>
                    </a:lnTo>
                    <a:lnTo>
                      <a:pt x="68" y="10"/>
                    </a:lnTo>
                    <a:lnTo>
                      <a:pt x="64" y="6"/>
                    </a:lnTo>
                    <a:lnTo>
                      <a:pt x="58" y="6"/>
                    </a:lnTo>
                    <a:lnTo>
                      <a:pt x="56" y="6"/>
                    </a:lnTo>
                    <a:lnTo>
                      <a:pt x="52" y="4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48" y="2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38" y="0"/>
                    </a:lnTo>
                    <a:lnTo>
                      <a:pt x="32" y="2"/>
                    </a:lnTo>
                    <a:lnTo>
                      <a:pt x="28" y="4"/>
                    </a:lnTo>
                    <a:lnTo>
                      <a:pt x="24" y="6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10"/>
                    </a:lnTo>
                    <a:lnTo>
                      <a:pt x="18" y="14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4" y="20"/>
                    </a:lnTo>
                    <a:lnTo>
                      <a:pt x="12" y="22"/>
                    </a:lnTo>
                    <a:lnTo>
                      <a:pt x="10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4" y="26"/>
                    </a:lnTo>
                    <a:lnTo>
                      <a:pt x="2" y="26"/>
                    </a:lnTo>
                    <a:lnTo>
                      <a:pt x="2" y="28"/>
                    </a:lnTo>
                    <a:lnTo>
                      <a:pt x="2" y="28"/>
                    </a:lnTo>
                    <a:lnTo>
                      <a:pt x="0" y="28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4" y="32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8"/>
                    </a:lnTo>
                    <a:lnTo>
                      <a:pt x="8" y="40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0" y="42"/>
                    </a:lnTo>
                    <a:lnTo>
                      <a:pt x="10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6"/>
                    </a:lnTo>
                    <a:lnTo>
                      <a:pt x="12" y="46"/>
                    </a:lnTo>
                    <a:lnTo>
                      <a:pt x="12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20" y="48"/>
                    </a:lnTo>
                    <a:lnTo>
                      <a:pt x="26" y="48"/>
                    </a:lnTo>
                    <a:lnTo>
                      <a:pt x="26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4" y="48"/>
                    </a:lnTo>
                    <a:lnTo>
                      <a:pt x="46" y="48"/>
                    </a:lnTo>
                    <a:lnTo>
                      <a:pt x="50" y="48"/>
                    </a:lnTo>
                    <a:lnTo>
                      <a:pt x="54" y="50"/>
                    </a:lnTo>
                    <a:lnTo>
                      <a:pt x="54" y="50"/>
                    </a:lnTo>
                    <a:lnTo>
                      <a:pt x="56" y="50"/>
                    </a:lnTo>
                    <a:lnTo>
                      <a:pt x="56" y="52"/>
                    </a:lnTo>
                    <a:lnTo>
                      <a:pt x="56" y="54"/>
                    </a:lnTo>
                    <a:lnTo>
                      <a:pt x="56" y="54"/>
                    </a:lnTo>
                    <a:lnTo>
                      <a:pt x="56" y="56"/>
                    </a:lnTo>
                    <a:lnTo>
                      <a:pt x="56" y="56"/>
                    </a:lnTo>
                    <a:lnTo>
                      <a:pt x="54" y="58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50" y="58"/>
                    </a:lnTo>
                    <a:lnTo>
                      <a:pt x="48" y="58"/>
                    </a:lnTo>
                    <a:lnTo>
                      <a:pt x="40" y="58"/>
                    </a:lnTo>
                    <a:lnTo>
                      <a:pt x="34" y="58"/>
                    </a:lnTo>
                    <a:lnTo>
                      <a:pt x="32" y="58"/>
                    </a:lnTo>
                    <a:lnTo>
                      <a:pt x="30" y="58"/>
                    </a:lnTo>
                    <a:lnTo>
                      <a:pt x="30" y="58"/>
                    </a:lnTo>
                    <a:lnTo>
                      <a:pt x="24" y="60"/>
                    </a:lnTo>
                    <a:lnTo>
                      <a:pt x="20" y="6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0" y="60"/>
                    </a:lnTo>
                    <a:lnTo>
                      <a:pt x="10" y="60"/>
                    </a:lnTo>
                    <a:lnTo>
                      <a:pt x="10" y="60"/>
                    </a:lnTo>
                    <a:lnTo>
                      <a:pt x="10" y="60"/>
                    </a:lnTo>
                    <a:lnTo>
                      <a:pt x="10" y="62"/>
                    </a:lnTo>
                    <a:lnTo>
                      <a:pt x="12" y="64"/>
                    </a:lnTo>
                    <a:lnTo>
                      <a:pt x="14" y="64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6" y="68"/>
                    </a:lnTo>
                    <a:lnTo>
                      <a:pt x="18" y="70"/>
                    </a:lnTo>
                    <a:lnTo>
                      <a:pt x="18" y="72"/>
                    </a:lnTo>
                    <a:lnTo>
                      <a:pt x="18" y="72"/>
                    </a:lnTo>
                    <a:lnTo>
                      <a:pt x="18" y="72"/>
                    </a:lnTo>
                    <a:lnTo>
                      <a:pt x="18" y="72"/>
                    </a:lnTo>
                    <a:lnTo>
                      <a:pt x="24" y="70"/>
                    </a:lnTo>
                    <a:lnTo>
                      <a:pt x="28" y="68"/>
                    </a:lnTo>
                    <a:lnTo>
                      <a:pt x="28" y="68"/>
                    </a:lnTo>
                    <a:lnTo>
                      <a:pt x="32" y="66"/>
                    </a:lnTo>
                    <a:lnTo>
                      <a:pt x="34" y="66"/>
                    </a:lnTo>
                    <a:lnTo>
                      <a:pt x="38" y="66"/>
                    </a:lnTo>
                    <a:lnTo>
                      <a:pt x="38" y="66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54" y="66"/>
                    </a:lnTo>
                    <a:lnTo>
                      <a:pt x="58" y="66"/>
                    </a:lnTo>
                    <a:lnTo>
                      <a:pt x="64" y="66"/>
                    </a:lnTo>
                    <a:lnTo>
                      <a:pt x="66" y="66"/>
                    </a:lnTo>
                    <a:lnTo>
                      <a:pt x="70" y="66"/>
                    </a:lnTo>
                    <a:lnTo>
                      <a:pt x="70" y="66"/>
                    </a:lnTo>
                    <a:lnTo>
                      <a:pt x="72" y="68"/>
                    </a:lnTo>
                    <a:lnTo>
                      <a:pt x="74" y="68"/>
                    </a:lnTo>
                    <a:lnTo>
                      <a:pt x="78" y="72"/>
                    </a:lnTo>
                    <a:lnTo>
                      <a:pt x="82" y="72"/>
                    </a:lnTo>
                    <a:lnTo>
                      <a:pt x="84" y="74"/>
                    </a:lnTo>
                    <a:lnTo>
                      <a:pt x="86" y="74"/>
                    </a:lnTo>
                    <a:lnTo>
                      <a:pt x="86" y="74"/>
                    </a:lnTo>
                    <a:lnTo>
                      <a:pt x="88" y="74"/>
                    </a:lnTo>
                    <a:lnTo>
                      <a:pt x="92" y="74"/>
                    </a:lnTo>
                    <a:lnTo>
                      <a:pt x="94" y="74"/>
                    </a:lnTo>
                    <a:lnTo>
                      <a:pt x="96" y="72"/>
                    </a:lnTo>
                    <a:lnTo>
                      <a:pt x="96" y="72"/>
                    </a:lnTo>
                    <a:lnTo>
                      <a:pt x="98" y="70"/>
                    </a:lnTo>
                    <a:lnTo>
                      <a:pt x="98" y="68"/>
                    </a:lnTo>
                    <a:lnTo>
                      <a:pt x="98" y="66"/>
                    </a:lnTo>
                    <a:lnTo>
                      <a:pt x="98" y="66"/>
                    </a:lnTo>
                    <a:lnTo>
                      <a:pt x="98" y="66"/>
                    </a:lnTo>
                    <a:lnTo>
                      <a:pt x="98" y="66"/>
                    </a:lnTo>
                    <a:lnTo>
                      <a:pt x="98" y="6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13" name="Freeform 616"/>
              <p:cNvSpPr>
                <a:spLocks/>
              </p:cNvSpPr>
              <p:nvPr/>
            </p:nvSpPr>
            <p:spPr bwMode="auto">
              <a:xfrm>
                <a:off x="2523" y="2422"/>
                <a:ext cx="264" cy="242"/>
              </a:xfrm>
              <a:custGeom>
                <a:avLst/>
                <a:gdLst>
                  <a:gd name="T0" fmla="*/ 36 w 264"/>
                  <a:gd name="T1" fmla="*/ 214 h 242"/>
                  <a:gd name="T2" fmla="*/ 44 w 264"/>
                  <a:gd name="T3" fmla="*/ 210 h 242"/>
                  <a:gd name="T4" fmla="*/ 48 w 264"/>
                  <a:gd name="T5" fmla="*/ 210 h 242"/>
                  <a:gd name="T6" fmla="*/ 52 w 264"/>
                  <a:gd name="T7" fmla="*/ 214 h 242"/>
                  <a:gd name="T8" fmla="*/ 56 w 264"/>
                  <a:gd name="T9" fmla="*/ 222 h 242"/>
                  <a:gd name="T10" fmla="*/ 60 w 264"/>
                  <a:gd name="T11" fmla="*/ 230 h 242"/>
                  <a:gd name="T12" fmla="*/ 64 w 264"/>
                  <a:gd name="T13" fmla="*/ 238 h 242"/>
                  <a:gd name="T14" fmla="*/ 68 w 264"/>
                  <a:gd name="T15" fmla="*/ 242 h 242"/>
                  <a:gd name="T16" fmla="*/ 72 w 264"/>
                  <a:gd name="T17" fmla="*/ 242 h 242"/>
                  <a:gd name="T18" fmla="*/ 90 w 264"/>
                  <a:gd name="T19" fmla="*/ 240 h 242"/>
                  <a:gd name="T20" fmla="*/ 98 w 264"/>
                  <a:gd name="T21" fmla="*/ 242 h 242"/>
                  <a:gd name="T22" fmla="*/ 106 w 264"/>
                  <a:gd name="T23" fmla="*/ 238 h 242"/>
                  <a:gd name="T24" fmla="*/ 108 w 264"/>
                  <a:gd name="T25" fmla="*/ 232 h 242"/>
                  <a:gd name="T26" fmla="*/ 110 w 264"/>
                  <a:gd name="T27" fmla="*/ 224 h 242"/>
                  <a:gd name="T28" fmla="*/ 116 w 264"/>
                  <a:gd name="T29" fmla="*/ 216 h 242"/>
                  <a:gd name="T30" fmla="*/ 120 w 264"/>
                  <a:gd name="T31" fmla="*/ 208 h 242"/>
                  <a:gd name="T32" fmla="*/ 126 w 264"/>
                  <a:gd name="T33" fmla="*/ 200 h 242"/>
                  <a:gd name="T34" fmla="*/ 134 w 264"/>
                  <a:gd name="T35" fmla="*/ 198 h 242"/>
                  <a:gd name="T36" fmla="*/ 140 w 264"/>
                  <a:gd name="T37" fmla="*/ 194 h 242"/>
                  <a:gd name="T38" fmla="*/ 144 w 264"/>
                  <a:gd name="T39" fmla="*/ 188 h 242"/>
                  <a:gd name="T40" fmla="*/ 154 w 264"/>
                  <a:gd name="T41" fmla="*/ 182 h 242"/>
                  <a:gd name="T42" fmla="*/ 164 w 264"/>
                  <a:gd name="T43" fmla="*/ 174 h 242"/>
                  <a:gd name="T44" fmla="*/ 178 w 264"/>
                  <a:gd name="T45" fmla="*/ 164 h 242"/>
                  <a:gd name="T46" fmla="*/ 188 w 264"/>
                  <a:gd name="T47" fmla="*/ 164 h 242"/>
                  <a:gd name="T48" fmla="*/ 196 w 264"/>
                  <a:gd name="T49" fmla="*/ 166 h 242"/>
                  <a:gd name="T50" fmla="*/ 204 w 264"/>
                  <a:gd name="T51" fmla="*/ 166 h 242"/>
                  <a:gd name="T52" fmla="*/ 216 w 264"/>
                  <a:gd name="T53" fmla="*/ 160 h 242"/>
                  <a:gd name="T54" fmla="*/ 226 w 264"/>
                  <a:gd name="T55" fmla="*/ 162 h 242"/>
                  <a:gd name="T56" fmla="*/ 236 w 264"/>
                  <a:gd name="T57" fmla="*/ 158 h 242"/>
                  <a:gd name="T58" fmla="*/ 242 w 264"/>
                  <a:gd name="T59" fmla="*/ 158 h 242"/>
                  <a:gd name="T60" fmla="*/ 250 w 264"/>
                  <a:gd name="T61" fmla="*/ 158 h 242"/>
                  <a:gd name="T62" fmla="*/ 254 w 264"/>
                  <a:gd name="T63" fmla="*/ 158 h 242"/>
                  <a:gd name="T64" fmla="*/ 258 w 264"/>
                  <a:gd name="T65" fmla="*/ 148 h 242"/>
                  <a:gd name="T66" fmla="*/ 260 w 264"/>
                  <a:gd name="T67" fmla="*/ 130 h 242"/>
                  <a:gd name="T68" fmla="*/ 264 w 264"/>
                  <a:gd name="T69" fmla="*/ 104 h 242"/>
                  <a:gd name="T70" fmla="*/ 254 w 264"/>
                  <a:gd name="T71" fmla="*/ 98 h 242"/>
                  <a:gd name="T72" fmla="*/ 246 w 264"/>
                  <a:gd name="T73" fmla="*/ 96 h 242"/>
                  <a:gd name="T74" fmla="*/ 244 w 264"/>
                  <a:gd name="T75" fmla="*/ 84 h 242"/>
                  <a:gd name="T76" fmla="*/ 236 w 264"/>
                  <a:gd name="T77" fmla="*/ 80 h 242"/>
                  <a:gd name="T78" fmla="*/ 226 w 264"/>
                  <a:gd name="T79" fmla="*/ 76 h 242"/>
                  <a:gd name="T80" fmla="*/ 218 w 264"/>
                  <a:gd name="T81" fmla="*/ 74 h 242"/>
                  <a:gd name="T82" fmla="*/ 212 w 264"/>
                  <a:gd name="T83" fmla="*/ 66 h 242"/>
                  <a:gd name="T84" fmla="*/ 192 w 264"/>
                  <a:gd name="T85" fmla="*/ 52 h 242"/>
                  <a:gd name="T86" fmla="*/ 176 w 264"/>
                  <a:gd name="T87" fmla="*/ 40 h 242"/>
                  <a:gd name="T88" fmla="*/ 168 w 264"/>
                  <a:gd name="T89" fmla="*/ 32 h 242"/>
                  <a:gd name="T90" fmla="*/ 148 w 264"/>
                  <a:gd name="T91" fmla="*/ 18 h 242"/>
                  <a:gd name="T92" fmla="*/ 120 w 264"/>
                  <a:gd name="T93" fmla="*/ 0 h 242"/>
                  <a:gd name="T94" fmla="*/ 112 w 264"/>
                  <a:gd name="T95" fmla="*/ 148 h 242"/>
                  <a:gd name="T96" fmla="*/ 44 w 264"/>
                  <a:gd name="T97" fmla="*/ 156 h 242"/>
                  <a:gd name="T98" fmla="*/ 22 w 264"/>
                  <a:gd name="T99" fmla="*/ 162 h 242"/>
                  <a:gd name="T100" fmla="*/ 8 w 264"/>
                  <a:gd name="T101" fmla="*/ 158 h 242"/>
                  <a:gd name="T102" fmla="*/ 0 w 264"/>
                  <a:gd name="T103" fmla="*/ 164 h 242"/>
                  <a:gd name="T104" fmla="*/ 2 w 264"/>
                  <a:gd name="T105" fmla="*/ 184 h 242"/>
                  <a:gd name="T106" fmla="*/ 8 w 264"/>
                  <a:gd name="T107" fmla="*/ 194 h 242"/>
                  <a:gd name="T108" fmla="*/ 14 w 264"/>
                  <a:gd name="T109" fmla="*/ 204 h 242"/>
                  <a:gd name="T110" fmla="*/ 12 w 264"/>
                  <a:gd name="T111" fmla="*/ 212 h 242"/>
                  <a:gd name="T112" fmla="*/ 20 w 264"/>
                  <a:gd name="T113" fmla="*/ 216 h 242"/>
                  <a:gd name="T114" fmla="*/ 30 w 264"/>
                  <a:gd name="T115" fmla="*/ 216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64" h="242">
                    <a:moveTo>
                      <a:pt x="30" y="216"/>
                    </a:moveTo>
                    <a:lnTo>
                      <a:pt x="30" y="216"/>
                    </a:lnTo>
                    <a:lnTo>
                      <a:pt x="34" y="216"/>
                    </a:lnTo>
                    <a:lnTo>
                      <a:pt x="36" y="214"/>
                    </a:lnTo>
                    <a:lnTo>
                      <a:pt x="40" y="212"/>
                    </a:lnTo>
                    <a:lnTo>
                      <a:pt x="42" y="210"/>
                    </a:lnTo>
                    <a:lnTo>
                      <a:pt x="42" y="210"/>
                    </a:lnTo>
                    <a:lnTo>
                      <a:pt x="44" y="210"/>
                    </a:lnTo>
                    <a:lnTo>
                      <a:pt x="46" y="210"/>
                    </a:lnTo>
                    <a:lnTo>
                      <a:pt x="46" y="210"/>
                    </a:lnTo>
                    <a:lnTo>
                      <a:pt x="48" y="210"/>
                    </a:lnTo>
                    <a:lnTo>
                      <a:pt x="48" y="210"/>
                    </a:lnTo>
                    <a:lnTo>
                      <a:pt x="50" y="210"/>
                    </a:lnTo>
                    <a:lnTo>
                      <a:pt x="52" y="212"/>
                    </a:lnTo>
                    <a:lnTo>
                      <a:pt x="52" y="214"/>
                    </a:lnTo>
                    <a:lnTo>
                      <a:pt x="52" y="214"/>
                    </a:lnTo>
                    <a:lnTo>
                      <a:pt x="54" y="216"/>
                    </a:lnTo>
                    <a:lnTo>
                      <a:pt x="54" y="218"/>
                    </a:lnTo>
                    <a:lnTo>
                      <a:pt x="54" y="220"/>
                    </a:lnTo>
                    <a:lnTo>
                      <a:pt x="56" y="222"/>
                    </a:lnTo>
                    <a:lnTo>
                      <a:pt x="56" y="222"/>
                    </a:lnTo>
                    <a:lnTo>
                      <a:pt x="56" y="224"/>
                    </a:lnTo>
                    <a:lnTo>
                      <a:pt x="58" y="226"/>
                    </a:lnTo>
                    <a:lnTo>
                      <a:pt x="60" y="230"/>
                    </a:lnTo>
                    <a:lnTo>
                      <a:pt x="60" y="230"/>
                    </a:lnTo>
                    <a:lnTo>
                      <a:pt x="62" y="234"/>
                    </a:lnTo>
                    <a:lnTo>
                      <a:pt x="62" y="234"/>
                    </a:lnTo>
                    <a:lnTo>
                      <a:pt x="64" y="238"/>
                    </a:lnTo>
                    <a:lnTo>
                      <a:pt x="64" y="240"/>
                    </a:lnTo>
                    <a:lnTo>
                      <a:pt x="64" y="240"/>
                    </a:lnTo>
                    <a:lnTo>
                      <a:pt x="66" y="242"/>
                    </a:lnTo>
                    <a:lnTo>
                      <a:pt x="68" y="242"/>
                    </a:lnTo>
                    <a:lnTo>
                      <a:pt x="68" y="242"/>
                    </a:lnTo>
                    <a:lnTo>
                      <a:pt x="68" y="242"/>
                    </a:lnTo>
                    <a:lnTo>
                      <a:pt x="72" y="242"/>
                    </a:lnTo>
                    <a:lnTo>
                      <a:pt x="72" y="242"/>
                    </a:lnTo>
                    <a:lnTo>
                      <a:pt x="74" y="240"/>
                    </a:lnTo>
                    <a:lnTo>
                      <a:pt x="76" y="240"/>
                    </a:lnTo>
                    <a:lnTo>
                      <a:pt x="84" y="240"/>
                    </a:lnTo>
                    <a:lnTo>
                      <a:pt x="90" y="240"/>
                    </a:lnTo>
                    <a:lnTo>
                      <a:pt x="94" y="242"/>
                    </a:lnTo>
                    <a:lnTo>
                      <a:pt x="94" y="242"/>
                    </a:lnTo>
                    <a:lnTo>
                      <a:pt x="96" y="242"/>
                    </a:lnTo>
                    <a:lnTo>
                      <a:pt x="98" y="242"/>
                    </a:lnTo>
                    <a:lnTo>
                      <a:pt x="100" y="242"/>
                    </a:lnTo>
                    <a:lnTo>
                      <a:pt x="102" y="242"/>
                    </a:lnTo>
                    <a:lnTo>
                      <a:pt x="104" y="240"/>
                    </a:lnTo>
                    <a:lnTo>
                      <a:pt x="106" y="238"/>
                    </a:lnTo>
                    <a:lnTo>
                      <a:pt x="108" y="236"/>
                    </a:lnTo>
                    <a:lnTo>
                      <a:pt x="108" y="234"/>
                    </a:lnTo>
                    <a:lnTo>
                      <a:pt x="108" y="234"/>
                    </a:lnTo>
                    <a:lnTo>
                      <a:pt x="108" y="232"/>
                    </a:lnTo>
                    <a:lnTo>
                      <a:pt x="108" y="230"/>
                    </a:lnTo>
                    <a:lnTo>
                      <a:pt x="110" y="226"/>
                    </a:lnTo>
                    <a:lnTo>
                      <a:pt x="110" y="224"/>
                    </a:lnTo>
                    <a:lnTo>
                      <a:pt x="110" y="224"/>
                    </a:lnTo>
                    <a:lnTo>
                      <a:pt x="112" y="222"/>
                    </a:lnTo>
                    <a:lnTo>
                      <a:pt x="112" y="220"/>
                    </a:lnTo>
                    <a:lnTo>
                      <a:pt x="116" y="216"/>
                    </a:lnTo>
                    <a:lnTo>
                      <a:pt x="116" y="216"/>
                    </a:lnTo>
                    <a:lnTo>
                      <a:pt x="118" y="212"/>
                    </a:lnTo>
                    <a:lnTo>
                      <a:pt x="118" y="210"/>
                    </a:lnTo>
                    <a:lnTo>
                      <a:pt x="120" y="208"/>
                    </a:lnTo>
                    <a:lnTo>
                      <a:pt x="120" y="208"/>
                    </a:lnTo>
                    <a:lnTo>
                      <a:pt x="120" y="206"/>
                    </a:lnTo>
                    <a:lnTo>
                      <a:pt x="122" y="204"/>
                    </a:lnTo>
                    <a:lnTo>
                      <a:pt x="124" y="202"/>
                    </a:lnTo>
                    <a:lnTo>
                      <a:pt x="126" y="200"/>
                    </a:lnTo>
                    <a:lnTo>
                      <a:pt x="126" y="200"/>
                    </a:lnTo>
                    <a:lnTo>
                      <a:pt x="128" y="198"/>
                    </a:lnTo>
                    <a:lnTo>
                      <a:pt x="132" y="198"/>
                    </a:lnTo>
                    <a:lnTo>
                      <a:pt x="134" y="198"/>
                    </a:lnTo>
                    <a:lnTo>
                      <a:pt x="136" y="196"/>
                    </a:lnTo>
                    <a:lnTo>
                      <a:pt x="136" y="196"/>
                    </a:lnTo>
                    <a:lnTo>
                      <a:pt x="138" y="196"/>
                    </a:lnTo>
                    <a:lnTo>
                      <a:pt x="140" y="194"/>
                    </a:lnTo>
                    <a:lnTo>
                      <a:pt x="142" y="192"/>
                    </a:lnTo>
                    <a:lnTo>
                      <a:pt x="142" y="190"/>
                    </a:lnTo>
                    <a:lnTo>
                      <a:pt x="142" y="190"/>
                    </a:lnTo>
                    <a:lnTo>
                      <a:pt x="144" y="188"/>
                    </a:lnTo>
                    <a:lnTo>
                      <a:pt x="146" y="186"/>
                    </a:lnTo>
                    <a:lnTo>
                      <a:pt x="148" y="186"/>
                    </a:lnTo>
                    <a:lnTo>
                      <a:pt x="150" y="184"/>
                    </a:lnTo>
                    <a:lnTo>
                      <a:pt x="154" y="182"/>
                    </a:lnTo>
                    <a:lnTo>
                      <a:pt x="156" y="180"/>
                    </a:lnTo>
                    <a:lnTo>
                      <a:pt x="158" y="178"/>
                    </a:lnTo>
                    <a:lnTo>
                      <a:pt x="158" y="178"/>
                    </a:lnTo>
                    <a:lnTo>
                      <a:pt x="164" y="174"/>
                    </a:lnTo>
                    <a:lnTo>
                      <a:pt x="166" y="170"/>
                    </a:lnTo>
                    <a:lnTo>
                      <a:pt x="172" y="166"/>
                    </a:lnTo>
                    <a:lnTo>
                      <a:pt x="174" y="166"/>
                    </a:lnTo>
                    <a:lnTo>
                      <a:pt x="178" y="164"/>
                    </a:lnTo>
                    <a:lnTo>
                      <a:pt x="178" y="164"/>
                    </a:lnTo>
                    <a:lnTo>
                      <a:pt x="180" y="164"/>
                    </a:lnTo>
                    <a:lnTo>
                      <a:pt x="182" y="164"/>
                    </a:lnTo>
                    <a:lnTo>
                      <a:pt x="188" y="164"/>
                    </a:lnTo>
                    <a:lnTo>
                      <a:pt x="188" y="164"/>
                    </a:lnTo>
                    <a:lnTo>
                      <a:pt x="190" y="164"/>
                    </a:lnTo>
                    <a:lnTo>
                      <a:pt x="194" y="166"/>
                    </a:lnTo>
                    <a:lnTo>
                      <a:pt x="196" y="166"/>
                    </a:lnTo>
                    <a:lnTo>
                      <a:pt x="198" y="166"/>
                    </a:lnTo>
                    <a:lnTo>
                      <a:pt x="198" y="166"/>
                    </a:lnTo>
                    <a:lnTo>
                      <a:pt x="200" y="166"/>
                    </a:lnTo>
                    <a:lnTo>
                      <a:pt x="204" y="166"/>
                    </a:lnTo>
                    <a:lnTo>
                      <a:pt x="208" y="164"/>
                    </a:lnTo>
                    <a:lnTo>
                      <a:pt x="212" y="162"/>
                    </a:lnTo>
                    <a:lnTo>
                      <a:pt x="214" y="162"/>
                    </a:lnTo>
                    <a:lnTo>
                      <a:pt x="216" y="160"/>
                    </a:lnTo>
                    <a:lnTo>
                      <a:pt x="216" y="160"/>
                    </a:lnTo>
                    <a:lnTo>
                      <a:pt x="220" y="160"/>
                    </a:lnTo>
                    <a:lnTo>
                      <a:pt x="222" y="160"/>
                    </a:lnTo>
                    <a:lnTo>
                      <a:pt x="226" y="162"/>
                    </a:lnTo>
                    <a:lnTo>
                      <a:pt x="226" y="162"/>
                    </a:lnTo>
                    <a:lnTo>
                      <a:pt x="230" y="162"/>
                    </a:lnTo>
                    <a:lnTo>
                      <a:pt x="232" y="160"/>
                    </a:lnTo>
                    <a:lnTo>
                      <a:pt x="236" y="158"/>
                    </a:lnTo>
                    <a:lnTo>
                      <a:pt x="236" y="158"/>
                    </a:lnTo>
                    <a:lnTo>
                      <a:pt x="236" y="158"/>
                    </a:lnTo>
                    <a:lnTo>
                      <a:pt x="240" y="158"/>
                    </a:lnTo>
                    <a:lnTo>
                      <a:pt x="242" y="158"/>
                    </a:lnTo>
                    <a:lnTo>
                      <a:pt x="244" y="158"/>
                    </a:lnTo>
                    <a:lnTo>
                      <a:pt x="244" y="158"/>
                    </a:lnTo>
                    <a:lnTo>
                      <a:pt x="246" y="158"/>
                    </a:lnTo>
                    <a:lnTo>
                      <a:pt x="250" y="158"/>
                    </a:lnTo>
                    <a:lnTo>
                      <a:pt x="252" y="158"/>
                    </a:lnTo>
                    <a:lnTo>
                      <a:pt x="252" y="158"/>
                    </a:lnTo>
                    <a:lnTo>
                      <a:pt x="254" y="158"/>
                    </a:lnTo>
                    <a:lnTo>
                      <a:pt x="254" y="158"/>
                    </a:lnTo>
                    <a:lnTo>
                      <a:pt x="256" y="156"/>
                    </a:lnTo>
                    <a:lnTo>
                      <a:pt x="256" y="154"/>
                    </a:lnTo>
                    <a:lnTo>
                      <a:pt x="258" y="152"/>
                    </a:lnTo>
                    <a:lnTo>
                      <a:pt x="258" y="148"/>
                    </a:lnTo>
                    <a:lnTo>
                      <a:pt x="258" y="144"/>
                    </a:lnTo>
                    <a:lnTo>
                      <a:pt x="260" y="140"/>
                    </a:lnTo>
                    <a:lnTo>
                      <a:pt x="260" y="140"/>
                    </a:lnTo>
                    <a:lnTo>
                      <a:pt x="260" y="130"/>
                    </a:lnTo>
                    <a:lnTo>
                      <a:pt x="262" y="120"/>
                    </a:lnTo>
                    <a:lnTo>
                      <a:pt x="264" y="114"/>
                    </a:lnTo>
                    <a:lnTo>
                      <a:pt x="264" y="108"/>
                    </a:lnTo>
                    <a:lnTo>
                      <a:pt x="264" y="104"/>
                    </a:lnTo>
                    <a:lnTo>
                      <a:pt x="262" y="98"/>
                    </a:lnTo>
                    <a:lnTo>
                      <a:pt x="262" y="98"/>
                    </a:lnTo>
                    <a:lnTo>
                      <a:pt x="260" y="98"/>
                    </a:lnTo>
                    <a:lnTo>
                      <a:pt x="254" y="98"/>
                    </a:lnTo>
                    <a:lnTo>
                      <a:pt x="250" y="98"/>
                    </a:lnTo>
                    <a:lnTo>
                      <a:pt x="246" y="98"/>
                    </a:lnTo>
                    <a:lnTo>
                      <a:pt x="246" y="98"/>
                    </a:lnTo>
                    <a:lnTo>
                      <a:pt x="246" y="96"/>
                    </a:lnTo>
                    <a:lnTo>
                      <a:pt x="246" y="92"/>
                    </a:lnTo>
                    <a:lnTo>
                      <a:pt x="246" y="88"/>
                    </a:lnTo>
                    <a:lnTo>
                      <a:pt x="246" y="86"/>
                    </a:lnTo>
                    <a:lnTo>
                      <a:pt x="244" y="84"/>
                    </a:lnTo>
                    <a:lnTo>
                      <a:pt x="242" y="82"/>
                    </a:lnTo>
                    <a:lnTo>
                      <a:pt x="238" y="80"/>
                    </a:lnTo>
                    <a:lnTo>
                      <a:pt x="238" y="80"/>
                    </a:lnTo>
                    <a:lnTo>
                      <a:pt x="236" y="80"/>
                    </a:lnTo>
                    <a:lnTo>
                      <a:pt x="234" y="78"/>
                    </a:lnTo>
                    <a:lnTo>
                      <a:pt x="230" y="78"/>
                    </a:lnTo>
                    <a:lnTo>
                      <a:pt x="226" y="76"/>
                    </a:lnTo>
                    <a:lnTo>
                      <a:pt x="226" y="76"/>
                    </a:lnTo>
                    <a:lnTo>
                      <a:pt x="222" y="76"/>
                    </a:lnTo>
                    <a:lnTo>
                      <a:pt x="220" y="76"/>
                    </a:lnTo>
                    <a:lnTo>
                      <a:pt x="218" y="74"/>
                    </a:lnTo>
                    <a:lnTo>
                      <a:pt x="218" y="74"/>
                    </a:lnTo>
                    <a:lnTo>
                      <a:pt x="216" y="72"/>
                    </a:lnTo>
                    <a:lnTo>
                      <a:pt x="214" y="70"/>
                    </a:lnTo>
                    <a:lnTo>
                      <a:pt x="214" y="68"/>
                    </a:lnTo>
                    <a:lnTo>
                      <a:pt x="212" y="66"/>
                    </a:lnTo>
                    <a:lnTo>
                      <a:pt x="212" y="66"/>
                    </a:lnTo>
                    <a:lnTo>
                      <a:pt x="204" y="60"/>
                    </a:lnTo>
                    <a:lnTo>
                      <a:pt x="204" y="60"/>
                    </a:lnTo>
                    <a:lnTo>
                      <a:pt x="192" y="52"/>
                    </a:lnTo>
                    <a:lnTo>
                      <a:pt x="182" y="44"/>
                    </a:lnTo>
                    <a:lnTo>
                      <a:pt x="182" y="44"/>
                    </a:lnTo>
                    <a:lnTo>
                      <a:pt x="178" y="42"/>
                    </a:lnTo>
                    <a:lnTo>
                      <a:pt x="176" y="40"/>
                    </a:lnTo>
                    <a:lnTo>
                      <a:pt x="172" y="36"/>
                    </a:lnTo>
                    <a:lnTo>
                      <a:pt x="172" y="36"/>
                    </a:lnTo>
                    <a:lnTo>
                      <a:pt x="170" y="34"/>
                    </a:lnTo>
                    <a:lnTo>
                      <a:pt x="168" y="32"/>
                    </a:lnTo>
                    <a:lnTo>
                      <a:pt x="162" y="28"/>
                    </a:lnTo>
                    <a:lnTo>
                      <a:pt x="162" y="28"/>
                    </a:lnTo>
                    <a:lnTo>
                      <a:pt x="152" y="22"/>
                    </a:lnTo>
                    <a:lnTo>
                      <a:pt x="148" y="18"/>
                    </a:lnTo>
                    <a:lnTo>
                      <a:pt x="144" y="16"/>
                    </a:lnTo>
                    <a:lnTo>
                      <a:pt x="144" y="16"/>
                    </a:lnTo>
                    <a:lnTo>
                      <a:pt x="132" y="8"/>
                    </a:lnTo>
                    <a:lnTo>
                      <a:pt x="120" y="0"/>
                    </a:lnTo>
                    <a:lnTo>
                      <a:pt x="90" y="0"/>
                    </a:lnTo>
                    <a:lnTo>
                      <a:pt x="108" y="138"/>
                    </a:lnTo>
                    <a:lnTo>
                      <a:pt x="112" y="142"/>
                    </a:lnTo>
                    <a:lnTo>
                      <a:pt x="112" y="148"/>
                    </a:lnTo>
                    <a:lnTo>
                      <a:pt x="110" y="154"/>
                    </a:lnTo>
                    <a:lnTo>
                      <a:pt x="108" y="156"/>
                    </a:lnTo>
                    <a:lnTo>
                      <a:pt x="48" y="158"/>
                    </a:lnTo>
                    <a:lnTo>
                      <a:pt x="44" y="156"/>
                    </a:lnTo>
                    <a:lnTo>
                      <a:pt x="40" y="160"/>
                    </a:lnTo>
                    <a:lnTo>
                      <a:pt x="24" y="162"/>
                    </a:lnTo>
                    <a:lnTo>
                      <a:pt x="24" y="162"/>
                    </a:lnTo>
                    <a:lnTo>
                      <a:pt x="22" y="162"/>
                    </a:lnTo>
                    <a:lnTo>
                      <a:pt x="20" y="160"/>
                    </a:lnTo>
                    <a:lnTo>
                      <a:pt x="20" y="160"/>
                    </a:lnTo>
                    <a:lnTo>
                      <a:pt x="12" y="156"/>
                    </a:lnTo>
                    <a:lnTo>
                      <a:pt x="8" y="158"/>
                    </a:lnTo>
                    <a:lnTo>
                      <a:pt x="6" y="160"/>
                    </a:lnTo>
                    <a:lnTo>
                      <a:pt x="2" y="164"/>
                    </a:lnTo>
                    <a:lnTo>
                      <a:pt x="0" y="164"/>
                    </a:lnTo>
                    <a:lnTo>
                      <a:pt x="0" y="164"/>
                    </a:lnTo>
                    <a:lnTo>
                      <a:pt x="2" y="174"/>
                    </a:lnTo>
                    <a:lnTo>
                      <a:pt x="2" y="180"/>
                    </a:lnTo>
                    <a:lnTo>
                      <a:pt x="2" y="184"/>
                    </a:lnTo>
                    <a:lnTo>
                      <a:pt x="2" y="184"/>
                    </a:lnTo>
                    <a:lnTo>
                      <a:pt x="4" y="186"/>
                    </a:lnTo>
                    <a:lnTo>
                      <a:pt x="4" y="188"/>
                    </a:lnTo>
                    <a:lnTo>
                      <a:pt x="6" y="192"/>
                    </a:lnTo>
                    <a:lnTo>
                      <a:pt x="8" y="194"/>
                    </a:lnTo>
                    <a:lnTo>
                      <a:pt x="12" y="198"/>
                    </a:lnTo>
                    <a:lnTo>
                      <a:pt x="12" y="202"/>
                    </a:lnTo>
                    <a:lnTo>
                      <a:pt x="14" y="204"/>
                    </a:lnTo>
                    <a:lnTo>
                      <a:pt x="14" y="204"/>
                    </a:lnTo>
                    <a:lnTo>
                      <a:pt x="14" y="206"/>
                    </a:lnTo>
                    <a:lnTo>
                      <a:pt x="14" y="208"/>
                    </a:lnTo>
                    <a:lnTo>
                      <a:pt x="12" y="210"/>
                    </a:lnTo>
                    <a:lnTo>
                      <a:pt x="12" y="212"/>
                    </a:lnTo>
                    <a:lnTo>
                      <a:pt x="12" y="212"/>
                    </a:lnTo>
                    <a:lnTo>
                      <a:pt x="18" y="214"/>
                    </a:lnTo>
                    <a:lnTo>
                      <a:pt x="18" y="214"/>
                    </a:lnTo>
                    <a:lnTo>
                      <a:pt x="20" y="216"/>
                    </a:lnTo>
                    <a:lnTo>
                      <a:pt x="20" y="216"/>
                    </a:lnTo>
                    <a:lnTo>
                      <a:pt x="24" y="216"/>
                    </a:lnTo>
                    <a:lnTo>
                      <a:pt x="30" y="216"/>
                    </a:lnTo>
                    <a:lnTo>
                      <a:pt x="30" y="216"/>
                    </a:lnTo>
                    <a:lnTo>
                      <a:pt x="30" y="216"/>
                    </a:lnTo>
                    <a:lnTo>
                      <a:pt x="30" y="216"/>
                    </a:lnTo>
                    <a:lnTo>
                      <a:pt x="30" y="21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14" name="Freeform 618"/>
              <p:cNvSpPr>
                <a:spLocks/>
              </p:cNvSpPr>
              <p:nvPr/>
            </p:nvSpPr>
            <p:spPr bwMode="auto">
              <a:xfrm>
                <a:off x="2721" y="2442"/>
                <a:ext cx="248" cy="190"/>
              </a:xfrm>
              <a:custGeom>
                <a:avLst/>
                <a:gdLst>
                  <a:gd name="T0" fmla="*/ 16 w 248"/>
                  <a:gd name="T1" fmla="*/ 178 h 190"/>
                  <a:gd name="T2" fmla="*/ 24 w 248"/>
                  <a:gd name="T3" fmla="*/ 180 h 190"/>
                  <a:gd name="T4" fmla="*/ 30 w 248"/>
                  <a:gd name="T5" fmla="*/ 186 h 190"/>
                  <a:gd name="T6" fmla="*/ 38 w 248"/>
                  <a:gd name="T7" fmla="*/ 190 h 190"/>
                  <a:gd name="T8" fmla="*/ 48 w 248"/>
                  <a:gd name="T9" fmla="*/ 190 h 190"/>
                  <a:gd name="T10" fmla="*/ 58 w 248"/>
                  <a:gd name="T11" fmla="*/ 188 h 190"/>
                  <a:gd name="T12" fmla="*/ 64 w 248"/>
                  <a:gd name="T13" fmla="*/ 178 h 190"/>
                  <a:gd name="T14" fmla="*/ 68 w 248"/>
                  <a:gd name="T15" fmla="*/ 168 h 190"/>
                  <a:gd name="T16" fmla="*/ 72 w 248"/>
                  <a:gd name="T17" fmla="*/ 166 h 190"/>
                  <a:gd name="T18" fmla="*/ 86 w 248"/>
                  <a:gd name="T19" fmla="*/ 166 h 190"/>
                  <a:gd name="T20" fmla="*/ 96 w 248"/>
                  <a:gd name="T21" fmla="*/ 168 h 190"/>
                  <a:gd name="T22" fmla="*/ 106 w 248"/>
                  <a:gd name="T23" fmla="*/ 178 h 190"/>
                  <a:gd name="T24" fmla="*/ 110 w 248"/>
                  <a:gd name="T25" fmla="*/ 178 h 190"/>
                  <a:gd name="T26" fmla="*/ 116 w 248"/>
                  <a:gd name="T27" fmla="*/ 174 h 190"/>
                  <a:gd name="T28" fmla="*/ 132 w 248"/>
                  <a:gd name="T29" fmla="*/ 180 h 190"/>
                  <a:gd name="T30" fmla="*/ 148 w 248"/>
                  <a:gd name="T31" fmla="*/ 182 h 190"/>
                  <a:gd name="T32" fmla="*/ 154 w 248"/>
                  <a:gd name="T33" fmla="*/ 176 h 190"/>
                  <a:gd name="T34" fmla="*/ 164 w 248"/>
                  <a:gd name="T35" fmla="*/ 174 h 190"/>
                  <a:gd name="T36" fmla="*/ 176 w 248"/>
                  <a:gd name="T37" fmla="*/ 178 h 190"/>
                  <a:gd name="T38" fmla="*/ 186 w 248"/>
                  <a:gd name="T39" fmla="*/ 176 h 190"/>
                  <a:gd name="T40" fmla="*/ 198 w 248"/>
                  <a:gd name="T41" fmla="*/ 172 h 190"/>
                  <a:gd name="T42" fmla="*/ 202 w 248"/>
                  <a:gd name="T43" fmla="*/ 164 h 190"/>
                  <a:gd name="T44" fmla="*/ 202 w 248"/>
                  <a:gd name="T45" fmla="*/ 154 h 190"/>
                  <a:gd name="T46" fmla="*/ 208 w 248"/>
                  <a:gd name="T47" fmla="*/ 152 h 190"/>
                  <a:gd name="T48" fmla="*/ 212 w 248"/>
                  <a:gd name="T49" fmla="*/ 150 h 190"/>
                  <a:gd name="T50" fmla="*/ 212 w 248"/>
                  <a:gd name="T51" fmla="*/ 142 h 190"/>
                  <a:gd name="T52" fmla="*/ 218 w 248"/>
                  <a:gd name="T53" fmla="*/ 134 h 190"/>
                  <a:gd name="T54" fmla="*/ 234 w 248"/>
                  <a:gd name="T55" fmla="*/ 120 h 190"/>
                  <a:gd name="T56" fmla="*/ 244 w 248"/>
                  <a:gd name="T57" fmla="*/ 106 h 190"/>
                  <a:gd name="T58" fmla="*/ 242 w 248"/>
                  <a:gd name="T59" fmla="*/ 82 h 190"/>
                  <a:gd name="T60" fmla="*/ 246 w 248"/>
                  <a:gd name="T61" fmla="*/ 72 h 190"/>
                  <a:gd name="T62" fmla="*/ 246 w 248"/>
                  <a:gd name="T63" fmla="*/ 64 h 190"/>
                  <a:gd name="T64" fmla="*/ 246 w 248"/>
                  <a:gd name="T65" fmla="*/ 54 h 190"/>
                  <a:gd name="T66" fmla="*/ 242 w 248"/>
                  <a:gd name="T67" fmla="*/ 48 h 190"/>
                  <a:gd name="T68" fmla="*/ 236 w 248"/>
                  <a:gd name="T69" fmla="*/ 34 h 190"/>
                  <a:gd name="T70" fmla="*/ 236 w 248"/>
                  <a:gd name="T71" fmla="*/ 20 h 190"/>
                  <a:gd name="T72" fmla="*/ 228 w 248"/>
                  <a:gd name="T73" fmla="*/ 18 h 190"/>
                  <a:gd name="T74" fmla="*/ 220 w 248"/>
                  <a:gd name="T75" fmla="*/ 20 h 190"/>
                  <a:gd name="T76" fmla="*/ 208 w 248"/>
                  <a:gd name="T77" fmla="*/ 6 h 190"/>
                  <a:gd name="T78" fmla="*/ 200 w 248"/>
                  <a:gd name="T79" fmla="*/ 2 h 190"/>
                  <a:gd name="T80" fmla="*/ 182 w 248"/>
                  <a:gd name="T81" fmla="*/ 0 h 190"/>
                  <a:gd name="T82" fmla="*/ 174 w 248"/>
                  <a:gd name="T83" fmla="*/ 8 h 190"/>
                  <a:gd name="T84" fmla="*/ 158 w 248"/>
                  <a:gd name="T85" fmla="*/ 20 h 190"/>
                  <a:gd name="T86" fmla="*/ 138 w 248"/>
                  <a:gd name="T87" fmla="*/ 34 h 190"/>
                  <a:gd name="T88" fmla="*/ 110 w 248"/>
                  <a:gd name="T89" fmla="*/ 56 h 190"/>
                  <a:gd name="T90" fmla="*/ 84 w 248"/>
                  <a:gd name="T91" fmla="*/ 72 h 190"/>
                  <a:gd name="T92" fmla="*/ 66 w 248"/>
                  <a:gd name="T93" fmla="*/ 78 h 190"/>
                  <a:gd name="T94" fmla="*/ 66 w 248"/>
                  <a:gd name="T95" fmla="*/ 94 h 190"/>
                  <a:gd name="T96" fmla="*/ 60 w 248"/>
                  <a:gd name="T97" fmla="*/ 124 h 190"/>
                  <a:gd name="T98" fmla="*/ 56 w 248"/>
                  <a:gd name="T99" fmla="*/ 138 h 190"/>
                  <a:gd name="T100" fmla="*/ 48 w 248"/>
                  <a:gd name="T101" fmla="*/ 138 h 190"/>
                  <a:gd name="T102" fmla="*/ 38 w 248"/>
                  <a:gd name="T103" fmla="*/ 138 h 190"/>
                  <a:gd name="T104" fmla="*/ 28 w 248"/>
                  <a:gd name="T105" fmla="*/ 142 h 190"/>
                  <a:gd name="T106" fmla="*/ 18 w 248"/>
                  <a:gd name="T107" fmla="*/ 140 h 190"/>
                  <a:gd name="T108" fmla="*/ 2 w 248"/>
                  <a:gd name="T109" fmla="*/ 146 h 190"/>
                  <a:gd name="T110" fmla="*/ 4 w 248"/>
                  <a:gd name="T111" fmla="*/ 160 h 190"/>
                  <a:gd name="T112" fmla="*/ 12 w 248"/>
                  <a:gd name="T113" fmla="*/ 166 h 190"/>
                  <a:gd name="T114" fmla="*/ 14 w 248"/>
                  <a:gd name="T115" fmla="*/ 172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48" h="190">
                    <a:moveTo>
                      <a:pt x="14" y="172"/>
                    </a:moveTo>
                    <a:lnTo>
                      <a:pt x="14" y="172"/>
                    </a:lnTo>
                    <a:lnTo>
                      <a:pt x="14" y="176"/>
                    </a:lnTo>
                    <a:lnTo>
                      <a:pt x="14" y="178"/>
                    </a:lnTo>
                    <a:lnTo>
                      <a:pt x="16" y="178"/>
                    </a:lnTo>
                    <a:lnTo>
                      <a:pt x="16" y="178"/>
                    </a:lnTo>
                    <a:lnTo>
                      <a:pt x="16" y="180"/>
                    </a:lnTo>
                    <a:lnTo>
                      <a:pt x="20" y="180"/>
                    </a:lnTo>
                    <a:lnTo>
                      <a:pt x="20" y="180"/>
                    </a:lnTo>
                    <a:lnTo>
                      <a:pt x="24" y="180"/>
                    </a:lnTo>
                    <a:lnTo>
                      <a:pt x="26" y="180"/>
                    </a:lnTo>
                    <a:lnTo>
                      <a:pt x="28" y="182"/>
                    </a:lnTo>
                    <a:lnTo>
                      <a:pt x="28" y="184"/>
                    </a:lnTo>
                    <a:lnTo>
                      <a:pt x="28" y="184"/>
                    </a:lnTo>
                    <a:lnTo>
                      <a:pt x="30" y="186"/>
                    </a:lnTo>
                    <a:lnTo>
                      <a:pt x="32" y="188"/>
                    </a:lnTo>
                    <a:lnTo>
                      <a:pt x="32" y="190"/>
                    </a:lnTo>
                    <a:lnTo>
                      <a:pt x="34" y="190"/>
                    </a:lnTo>
                    <a:lnTo>
                      <a:pt x="34" y="190"/>
                    </a:lnTo>
                    <a:lnTo>
                      <a:pt x="38" y="190"/>
                    </a:lnTo>
                    <a:lnTo>
                      <a:pt x="38" y="190"/>
                    </a:lnTo>
                    <a:lnTo>
                      <a:pt x="42" y="190"/>
                    </a:lnTo>
                    <a:lnTo>
                      <a:pt x="44" y="190"/>
                    </a:lnTo>
                    <a:lnTo>
                      <a:pt x="44" y="190"/>
                    </a:lnTo>
                    <a:lnTo>
                      <a:pt x="48" y="190"/>
                    </a:lnTo>
                    <a:lnTo>
                      <a:pt x="50" y="190"/>
                    </a:lnTo>
                    <a:lnTo>
                      <a:pt x="52" y="190"/>
                    </a:lnTo>
                    <a:lnTo>
                      <a:pt x="54" y="190"/>
                    </a:lnTo>
                    <a:lnTo>
                      <a:pt x="56" y="190"/>
                    </a:lnTo>
                    <a:lnTo>
                      <a:pt x="58" y="188"/>
                    </a:lnTo>
                    <a:lnTo>
                      <a:pt x="60" y="186"/>
                    </a:lnTo>
                    <a:lnTo>
                      <a:pt x="62" y="184"/>
                    </a:lnTo>
                    <a:lnTo>
                      <a:pt x="62" y="184"/>
                    </a:lnTo>
                    <a:lnTo>
                      <a:pt x="64" y="180"/>
                    </a:lnTo>
                    <a:lnTo>
                      <a:pt x="64" y="178"/>
                    </a:lnTo>
                    <a:lnTo>
                      <a:pt x="66" y="176"/>
                    </a:lnTo>
                    <a:lnTo>
                      <a:pt x="66" y="176"/>
                    </a:lnTo>
                    <a:lnTo>
                      <a:pt x="66" y="174"/>
                    </a:lnTo>
                    <a:lnTo>
                      <a:pt x="66" y="170"/>
                    </a:lnTo>
                    <a:lnTo>
                      <a:pt x="68" y="168"/>
                    </a:lnTo>
                    <a:lnTo>
                      <a:pt x="68" y="168"/>
                    </a:lnTo>
                    <a:lnTo>
                      <a:pt x="70" y="166"/>
                    </a:lnTo>
                    <a:lnTo>
                      <a:pt x="70" y="166"/>
                    </a:lnTo>
                    <a:lnTo>
                      <a:pt x="70" y="166"/>
                    </a:lnTo>
                    <a:lnTo>
                      <a:pt x="72" y="166"/>
                    </a:lnTo>
                    <a:lnTo>
                      <a:pt x="76" y="166"/>
                    </a:lnTo>
                    <a:lnTo>
                      <a:pt x="80" y="166"/>
                    </a:lnTo>
                    <a:lnTo>
                      <a:pt x="82" y="166"/>
                    </a:lnTo>
                    <a:lnTo>
                      <a:pt x="82" y="166"/>
                    </a:lnTo>
                    <a:lnTo>
                      <a:pt x="86" y="166"/>
                    </a:lnTo>
                    <a:lnTo>
                      <a:pt x="90" y="166"/>
                    </a:lnTo>
                    <a:lnTo>
                      <a:pt x="92" y="166"/>
                    </a:lnTo>
                    <a:lnTo>
                      <a:pt x="92" y="166"/>
                    </a:lnTo>
                    <a:lnTo>
                      <a:pt x="94" y="166"/>
                    </a:lnTo>
                    <a:lnTo>
                      <a:pt x="96" y="168"/>
                    </a:lnTo>
                    <a:lnTo>
                      <a:pt x="98" y="170"/>
                    </a:lnTo>
                    <a:lnTo>
                      <a:pt x="100" y="172"/>
                    </a:lnTo>
                    <a:lnTo>
                      <a:pt x="100" y="172"/>
                    </a:lnTo>
                    <a:lnTo>
                      <a:pt x="104" y="176"/>
                    </a:lnTo>
                    <a:lnTo>
                      <a:pt x="106" y="178"/>
                    </a:lnTo>
                    <a:lnTo>
                      <a:pt x="106" y="178"/>
                    </a:lnTo>
                    <a:lnTo>
                      <a:pt x="108" y="178"/>
                    </a:lnTo>
                    <a:lnTo>
                      <a:pt x="108" y="178"/>
                    </a:lnTo>
                    <a:lnTo>
                      <a:pt x="110" y="178"/>
                    </a:lnTo>
                    <a:lnTo>
                      <a:pt x="110" y="178"/>
                    </a:lnTo>
                    <a:lnTo>
                      <a:pt x="112" y="176"/>
                    </a:lnTo>
                    <a:lnTo>
                      <a:pt x="112" y="174"/>
                    </a:lnTo>
                    <a:lnTo>
                      <a:pt x="114" y="174"/>
                    </a:lnTo>
                    <a:lnTo>
                      <a:pt x="116" y="174"/>
                    </a:lnTo>
                    <a:lnTo>
                      <a:pt x="116" y="174"/>
                    </a:lnTo>
                    <a:lnTo>
                      <a:pt x="118" y="174"/>
                    </a:lnTo>
                    <a:lnTo>
                      <a:pt x="122" y="176"/>
                    </a:lnTo>
                    <a:lnTo>
                      <a:pt x="128" y="178"/>
                    </a:lnTo>
                    <a:lnTo>
                      <a:pt x="128" y="178"/>
                    </a:lnTo>
                    <a:lnTo>
                      <a:pt x="132" y="180"/>
                    </a:lnTo>
                    <a:lnTo>
                      <a:pt x="136" y="182"/>
                    </a:lnTo>
                    <a:lnTo>
                      <a:pt x="138" y="182"/>
                    </a:lnTo>
                    <a:lnTo>
                      <a:pt x="142" y="182"/>
                    </a:lnTo>
                    <a:lnTo>
                      <a:pt x="144" y="182"/>
                    </a:lnTo>
                    <a:lnTo>
                      <a:pt x="148" y="182"/>
                    </a:lnTo>
                    <a:lnTo>
                      <a:pt x="148" y="182"/>
                    </a:lnTo>
                    <a:lnTo>
                      <a:pt x="150" y="182"/>
                    </a:lnTo>
                    <a:lnTo>
                      <a:pt x="150" y="180"/>
                    </a:lnTo>
                    <a:lnTo>
                      <a:pt x="152" y="178"/>
                    </a:lnTo>
                    <a:lnTo>
                      <a:pt x="154" y="176"/>
                    </a:lnTo>
                    <a:lnTo>
                      <a:pt x="154" y="176"/>
                    </a:lnTo>
                    <a:lnTo>
                      <a:pt x="158" y="176"/>
                    </a:lnTo>
                    <a:lnTo>
                      <a:pt x="160" y="174"/>
                    </a:lnTo>
                    <a:lnTo>
                      <a:pt x="162" y="174"/>
                    </a:lnTo>
                    <a:lnTo>
                      <a:pt x="164" y="174"/>
                    </a:lnTo>
                    <a:lnTo>
                      <a:pt x="164" y="174"/>
                    </a:lnTo>
                    <a:lnTo>
                      <a:pt x="168" y="174"/>
                    </a:lnTo>
                    <a:lnTo>
                      <a:pt x="170" y="176"/>
                    </a:lnTo>
                    <a:lnTo>
                      <a:pt x="174" y="176"/>
                    </a:lnTo>
                    <a:lnTo>
                      <a:pt x="176" y="178"/>
                    </a:lnTo>
                    <a:lnTo>
                      <a:pt x="176" y="178"/>
                    </a:lnTo>
                    <a:lnTo>
                      <a:pt x="178" y="178"/>
                    </a:lnTo>
                    <a:lnTo>
                      <a:pt x="180" y="178"/>
                    </a:lnTo>
                    <a:lnTo>
                      <a:pt x="184" y="176"/>
                    </a:lnTo>
                    <a:lnTo>
                      <a:pt x="186" y="176"/>
                    </a:lnTo>
                    <a:lnTo>
                      <a:pt x="190" y="174"/>
                    </a:lnTo>
                    <a:lnTo>
                      <a:pt x="190" y="174"/>
                    </a:lnTo>
                    <a:lnTo>
                      <a:pt x="194" y="172"/>
                    </a:lnTo>
                    <a:lnTo>
                      <a:pt x="196" y="172"/>
                    </a:lnTo>
                    <a:lnTo>
                      <a:pt x="198" y="172"/>
                    </a:lnTo>
                    <a:lnTo>
                      <a:pt x="200" y="170"/>
                    </a:lnTo>
                    <a:lnTo>
                      <a:pt x="202" y="168"/>
                    </a:lnTo>
                    <a:lnTo>
                      <a:pt x="202" y="166"/>
                    </a:lnTo>
                    <a:lnTo>
                      <a:pt x="202" y="164"/>
                    </a:lnTo>
                    <a:lnTo>
                      <a:pt x="202" y="164"/>
                    </a:lnTo>
                    <a:lnTo>
                      <a:pt x="200" y="160"/>
                    </a:lnTo>
                    <a:lnTo>
                      <a:pt x="200" y="158"/>
                    </a:lnTo>
                    <a:lnTo>
                      <a:pt x="202" y="156"/>
                    </a:lnTo>
                    <a:lnTo>
                      <a:pt x="202" y="156"/>
                    </a:lnTo>
                    <a:lnTo>
                      <a:pt x="202" y="154"/>
                    </a:lnTo>
                    <a:lnTo>
                      <a:pt x="204" y="154"/>
                    </a:lnTo>
                    <a:lnTo>
                      <a:pt x="204" y="154"/>
                    </a:lnTo>
                    <a:lnTo>
                      <a:pt x="204" y="152"/>
                    </a:lnTo>
                    <a:lnTo>
                      <a:pt x="206" y="152"/>
                    </a:lnTo>
                    <a:lnTo>
                      <a:pt x="208" y="152"/>
                    </a:lnTo>
                    <a:lnTo>
                      <a:pt x="208" y="152"/>
                    </a:lnTo>
                    <a:lnTo>
                      <a:pt x="210" y="152"/>
                    </a:lnTo>
                    <a:lnTo>
                      <a:pt x="210" y="150"/>
                    </a:lnTo>
                    <a:lnTo>
                      <a:pt x="212" y="150"/>
                    </a:lnTo>
                    <a:lnTo>
                      <a:pt x="212" y="150"/>
                    </a:lnTo>
                    <a:lnTo>
                      <a:pt x="212" y="148"/>
                    </a:lnTo>
                    <a:lnTo>
                      <a:pt x="212" y="148"/>
                    </a:lnTo>
                    <a:lnTo>
                      <a:pt x="212" y="146"/>
                    </a:lnTo>
                    <a:lnTo>
                      <a:pt x="212" y="142"/>
                    </a:lnTo>
                    <a:lnTo>
                      <a:pt x="212" y="142"/>
                    </a:lnTo>
                    <a:lnTo>
                      <a:pt x="212" y="142"/>
                    </a:lnTo>
                    <a:lnTo>
                      <a:pt x="212" y="140"/>
                    </a:lnTo>
                    <a:lnTo>
                      <a:pt x="214" y="138"/>
                    </a:lnTo>
                    <a:lnTo>
                      <a:pt x="218" y="134"/>
                    </a:lnTo>
                    <a:lnTo>
                      <a:pt x="218" y="134"/>
                    </a:lnTo>
                    <a:lnTo>
                      <a:pt x="222" y="130"/>
                    </a:lnTo>
                    <a:lnTo>
                      <a:pt x="226" y="128"/>
                    </a:lnTo>
                    <a:lnTo>
                      <a:pt x="230" y="124"/>
                    </a:lnTo>
                    <a:lnTo>
                      <a:pt x="234" y="120"/>
                    </a:lnTo>
                    <a:lnTo>
                      <a:pt x="234" y="120"/>
                    </a:lnTo>
                    <a:lnTo>
                      <a:pt x="238" y="118"/>
                    </a:lnTo>
                    <a:lnTo>
                      <a:pt x="240" y="114"/>
                    </a:lnTo>
                    <a:lnTo>
                      <a:pt x="242" y="112"/>
                    </a:lnTo>
                    <a:lnTo>
                      <a:pt x="242" y="108"/>
                    </a:lnTo>
                    <a:lnTo>
                      <a:pt x="244" y="106"/>
                    </a:lnTo>
                    <a:lnTo>
                      <a:pt x="244" y="104"/>
                    </a:lnTo>
                    <a:lnTo>
                      <a:pt x="244" y="104"/>
                    </a:lnTo>
                    <a:lnTo>
                      <a:pt x="244" y="98"/>
                    </a:lnTo>
                    <a:lnTo>
                      <a:pt x="244" y="94"/>
                    </a:lnTo>
                    <a:lnTo>
                      <a:pt x="242" y="82"/>
                    </a:lnTo>
                    <a:lnTo>
                      <a:pt x="242" y="82"/>
                    </a:lnTo>
                    <a:lnTo>
                      <a:pt x="242" y="80"/>
                    </a:lnTo>
                    <a:lnTo>
                      <a:pt x="244" y="76"/>
                    </a:lnTo>
                    <a:lnTo>
                      <a:pt x="244" y="74"/>
                    </a:lnTo>
                    <a:lnTo>
                      <a:pt x="246" y="72"/>
                    </a:lnTo>
                    <a:lnTo>
                      <a:pt x="246" y="72"/>
                    </a:lnTo>
                    <a:lnTo>
                      <a:pt x="246" y="72"/>
                    </a:lnTo>
                    <a:lnTo>
                      <a:pt x="248" y="70"/>
                    </a:lnTo>
                    <a:lnTo>
                      <a:pt x="246" y="64"/>
                    </a:lnTo>
                    <a:lnTo>
                      <a:pt x="246" y="64"/>
                    </a:lnTo>
                    <a:lnTo>
                      <a:pt x="246" y="62"/>
                    </a:lnTo>
                    <a:lnTo>
                      <a:pt x="248" y="58"/>
                    </a:lnTo>
                    <a:lnTo>
                      <a:pt x="248" y="56"/>
                    </a:lnTo>
                    <a:lnTo>
                      <a:pt x="246" y="54"/>
                    </a:lnTo>
                    <a:lnTo>
                      <a:pt x="246" y="54"/>
                    </a:lnTo>
                    <a:lnTo>
                      <a:pt x="246" y="52"/>
                    </a:lnTo>
                    <a:lnTo>
                      <a:pt x="244" y="50"/>
                    </a:lnTo>
                    <a:lnTo>
                      <a:pt x="244" y="48"/>
                    </a:lnTo>
                    <a:lnTo>
                      <a:pt x="242" y="48"/>
                    </a:lnTo>
                    <a:lnTo>
                      <a:pt x="242" y="48"/>
                    </a:lnTo>
                    <a:lnTo>
                      <a:pt x="240" y="46"/>
                    </a:lnTo>
                    <a:lnTo>
                      <a:pt x="238" y="44"/>
                    </a:lnTo>
                    <a:lnTo>
                      <a:pt x="238" y="40"/>
                    </a:lnTo>
                    <a:lnTo>
                      <a:pt x="238" y="38"/>
                    </a:lnTo>
                    <a:lnTo>
                      <a:pt x="236" y="34"/>
                    </a:lnTo>
                    <a:lnTo>
                      <a:pt x="236" y="28"/>
                    </a:lnTo>
                    <a:lnTo>
                      <a:pt x="236" y="28"/>
                    </a:lnTo>
                    <a:lnTo>
                      <a:pt x="238" y="24"/>
                    </a:lnTo>
                    <a:lnTo>
                      <a:pt x="236" y="22"/>
                    </a:lnTo>
                    <a:lnTo>
                      <a:pt x="236" y="20"/>
                    </a:lnTo>
                    <a:lnTo>
                      <a:pt x="236" y="20"/>
                    </a:lnTo>
                    <a:lnTo>
                      <a:pt x="234" y="18"/>
                    </a:lnTo>
                    <a:lnTo>
                      <a:pt x="232" y="16"/>
                    </a:lnTo>
                    <a:lnTo>
                      <a:pt x="232" y="16"/>
                    </a:lnTo>
                    <a:lnTo>
                      <a:pt x="228" y="18"/>
                    </a:lnTo>
                    <a:lnTo>
                      <a:pt x="228" y="18"/>
                    </a:lnTo>
                    <a:lnTo>
                      <a:pt x="226" y="18"/>
                    </a:lnTo>
                    <a:lnTo>
                      <a:pt x="224" y="20"/>
                    </a:lnTo>
                    <a:lnTo>
                      <a:pt x="222" y="20"/>
                    </a:lnTo>
                    <a:lnTo>
                      <a:pt x="220" y="20"/>
                    </a:lnTo>
                    <a:lnTo>
                      <a:pt x="220" y="18"/>
                    </a:lnTo>
                    <a:lnTo>
                      <a:pt x="218" y="18"/>
                    </a:lnTo>
                    <a:lnTo>
                      <a:pt x="216" y="16"/>
                    </a:lnTo>
                    <a:lnTo>
                      <a:pt x="210" y="10"/>
                    </a:lnTo>
                    <a:lnTo>
                      <a:pt x="208" y="6"/>
                    </a:lnTo>
                    <a:lnTo>
                      <a:pt x="206" y="4"/>
                    </a:lnTo>
                    <a:lnTo>
                      <a:pt x="206" y="4"/>
                    </a:lnTo>
                    <a:lnTo>
                      <a:pt x="206" y="4"/>
                    </a:lnTo>
                    <a:lnTo>
                      <a:pt x="202" y="2"/>
                    </a:lnTo>
                    <a:lnTo>
                      <a:pt x="200" y="2"/>
                    </a:lnTo>
                    <a:lnTo>
                      <a:pt x="194" y="0"/>
                    </a:lnTo>
                    <a:lnTo>
                      <a:pt x="186" y="0"/>
                    </a:lnTo>
                    <a:lnTo>
                      <a:pt x="182" y="0"/>
                    </a:lnTo>
                    <a:lnTo>
                      <a:pt x="182" y="0"/>
                    </a:lnTo>
                    <a:lnTo>
                      <a:pt x="182" y="0"/>
                    </a:lnTo>
                    <a:lnTo>
                      <a:pt x="182" y="2"/>
                    </a:lnTo>
                    <a:lnTo>
                      <a:pt x="180" y="2"/>
                    </a:lnTo>
                    <a:lnTo>
                      <a:pt x="180" y="4"/>
                    </a:lnTo>
                    <a:lnTo>
                      <a:pt x="178" y="6"/>
                    </a:lnTo>
                    <a:lnTo>
                      <a:pt x="174" y="8"/>
                    </a:lnTo>
                    <a:lnTo>
                      <a:pt x="174" y="8"/>
                    </a:lnTo>
                    <a:lnTo>
                      <a:pt x="170" y="10"/>
                    </a:lnTo>
                    <a:lnTo>
                      <a:pt x="166" y="14"/>
                    </a:lnTo>
                    <a:lnTo>
                      <a:pt x="162" y="16"/>
                    </a:lnTo>
                    <a:lnTo>
                      <a:pt x="158" y="20"/>
                    </a:lnTo>
                    <a:lnTo>
                      <a:pt x="158" y="20"/>
                    </a:lnTo>
                    <a:lnTo>
                      <a:pt x="154" y="24"/>
                    </a:lnTo>
                    <a:lnTo>
                      <a:pt x="150" y="26"/>
                    </a:lnTo>
                    <a:lnTo>
                      <a:pt x="144" y="30"/>
                    </a:lnTo>
                    <a:lnTo>
                      <a:pt x="138" y="34"/>
                    </a:lnTo>
                    <a:lnTo>
                      <a:pt x="138" y="34"/>
                    </a:lnTo>
                    <a:lnTo>
                      <a:pt x="132" y="40"/>
                    </a:lnTo>
                    <a:lnTo>
                      <a:pt x="126" y="46"/>
                    </a:lnTo>
                    <a:lnTo>
                      <a:pt x="110" y="56"/>
                    </a:lnTo>
                    <a:lnTo>
                      <a:pt x="110" y="56"/>
                    </a:lnTo>
                    <a:lnTo>
                      <a:pt x="102" y="60"/>
                    </a:lnTo>
                    <a:lnTo>
                      <a:pt x="94" y="66"/>
                    </a:lnTo>
                    <a:lnTo>
                      <a:pt x="94" y="66"/>
                    </a:lnTo>
                    <a:lnTo>
                      <a:pt x="88" y="72"/>
                    </a:lnTo>
                    <a:lnTo>
                      <a:pt x="84" y="72"/>
                    </a:lnTo>
                    <a:lnTo>
                      <a:pt x="82" y="74"/>
                    </a:lnTo>
                    <a:lnTo>
                      <a:pt x="82" y="74"/>
                    </a:lnTo>
                    <a:lnTo>
                      <a:pt x="74" y="76"/>
                    </a:lnTo>
                    <a:lnTo>
                      <a:pt x="66" y="78"/>
                    </a:lnTo>
                    <a:lnTo>
                      <a:pt x="66" y="78"/>
                    </a:lnTo>
                    <a:lnTo>
                      <a:pt x="64" y="78"/>
                    </a:lnTo>
                    <a:lnTo>
                      <a:pt x="64" y="78"/>
                    </a:lnTo>
                    <a:lnTo>
                      <a:pt x="66" y="84"/>
                    </a:lnTo>
                    <a:lnTo>
                      <a:pt x="66" y="88"/>
                    </a:lnTo>
                    <a:lnTo>
                      <a:pt x="66" y="94"/>
                    </a:lnTo>
                    <a:lnTo>
                      <a:pt x="64" y="100"/>
                    </a:lnTo>
                    <a:lnTo>
                      <a:pt x="62" y="110"/>
                    </a:lnTo>
                    <a:lnTo>
                      <a:pt x="62" y="120"/>
                    </a:lnTo>
                    <a:lnTo>
                      <a:pt x="62" y="120"/>
                    </a:lnTo>
                    <a:lnTo>
                      <a:pt x="60" y="124"/>
                    </a:lnTo>
                    <a:lnTo>
                      <a:pt x="60" y="128"/>
                    </a:lnTo>
                    <a:lnTo>
                      <a:pt x="60" y="132"/>
                    </a:lnTo>
                    <a:lnTo>
                      <a:pt x="58" y="134"/>
                    </a:lnTo>
                    <a:lnTo>
                      <a:pt x="58" y="136"/>
                    </a:lnTo>
                    <a:lnTo>
                      <a:pt x="56" y="138"/>
                    </a:lnTo>
                    <a:lnTo>
                      <a:pt x="56" y="138"/>
                    </a:lnTo>
                    <a:lnTo>
                      <a:pt x="54" y="138"/>
                    </a:lnTo>
                    <a:lnTo>
                      <a:pt x="54" y="138"/>
                    </a:lnTo>
                    <a:lnTo>
                      <a:pt x="52" y="138"/>
                    </a:lnTo>
                    <a:lnTo>
                      <a:pt x="48" y="138"/>
                    </a:lnTo>
                    <a:lnTo>
                      <a:pt x="46" y="138"/>
                    </a:lnTo>
                    <a:lnTo>
                      <a:pt x="46" y="138"/>
                    </a:lnTo>
                    <a:lnTo>
                      <a:pt x="44" y="138"/>
                    </a:lnTo>
                    <a:lnTo>
                      <a:pt x="42" y="138"/>
                    </a:lnTo>
                    <a:lnTo>
                      <a:pt x="38" y="138"/>
                    </a:lnTo>
                    <a:lnTo>
                      <a:pt x="38" y="138"/>
                    </a:lnTo>
                    <a:lnTo>
                      <a:pt x="38" y="138"/>
                    </a:lnTo>
                    <a:lnTo>
                      <a:pt x="34" y="140"/>
                    </a:lnTo>
                    <a:lnTo>
                      <a:pt x="32" y="142"/>
                    </a:lnTo>
                    <a:lnTo>
                      <a:pt x="28" y="142"/>
                    </a:lnTo>
                    <a:lnTo>
                      <a:pt x="28" y="142"/>
                    </a:lnTo>
                    <a:lnTo>
                      <a:pt x="24" y="140"/>
                    </a:lnTo>
                    <a:lnTo>
                      <a:pt x="22" y="140"/>
                    </a:lnTo>
                    <a:lnTo>
                      <a:pt x="18" y="140"/>
                    </a:lnTo>
                    <a:lnTo>
                      <a:pt x="18" y="140"/>
                    </a:lnTo>
                    <a:lnTo>
                      <a:pt x="16" y="142"/>
                    </a:lnTo>
                    <a:lnTo>
                      <a:pt x="14" y="142"/>
                    </a:lnTo>
                    <a:lnTo>
                      <a:pt x="10" y="144"/>
                    </a:lnTo>
                    <a:lnTo>
                      <a:pt x="6" y="146"/>
                    </a:lnTo>
                    <a:lnTo>
                      <a:pt x="2" y="146"/>
                    </a:lnTo>
                    <a:lnTo>
                      <a:pt x="0" y="146"/>
                    </a:lnTo>
                    <a:lnTo>
                      <a:pt x="0" y="146"/>
                    </a:lnTo>
                    <a:lnTo>
                      <a:pt x="2" y="154"/>
                    </a:lnTo>
                    <a:lnTo>
                      <a:pt x="2" y="156"/>
                    </a:lnTo>
                    <a:lnTo>
                      <a:pt x="4" y="160"/>
                    </a:lnTo>
                    <a:lnTo>
                      <a:pt x="4" y="160"/>
                    </a:lnTo>
                    <a:lnTo>
                      <a:pt x="4" y="162"/>
                    </a:lnTo>
                    <a:lnTo>
                      <a:pt x="6" y="164"/>
                    </a:lnTo>
                    <a:lnTo>
                      <a:pt x="10" y="166"/>
                    </a:lnTo>
                    <a:lnTo>
                      <a:pt x="12" y="166"/>
                    </a:lnTo>
                    <a:lnTo>
                      <a:pt x="12" y="168"/>
                    </a:lnTo>
                    <a:lnTo>
                      <a:pt x="14" y="170"/>
                    </a:lnTo>
                    <a:lnTo>
                      <a:pt x="14" y="172"/>
                    </a:lnTo>
                    <a:lnTo>
                      <a:pt x="14" y="172"/>
                    </a:lnTo>
                    <a:lnTo>
                      <a:pt x="14" y="172"/>
                    </a:lnTo>
                    <a:lnTo>
                      <a:pt x="14" y="172"/>
                    </a:lnTo>
                    <a:lnTo>
                      <a:pt x="14" y="17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15" name="Freeform 620"/>
              <p:cNvSpPr>
                <a:spLocks/>
              </p:cNvSpPr>
              <p:nvPr/>
            </p:nvSpPr>
            <p:spPr bwMode="auto">
              <a:xfrm>
                <a:off x="2921" y="2448"/>
                <a:ext cx="174" cy="256"/>
              </a:xfrm>
              <a:custGeom>
                <a:avLst/>
                <a:gdLst>
                  <a:gd name="T0" fmla="*/ 16 w 174"/>
                  <a:gd name="T1" fmla="*/ 182 h 256"/>
                  <a:gd name="T2" fmla="*/ 20 w 174"/>
                  <a:gd name="T3" fmla="*/ 182 h 256"/>
                  <a:gd name="T4" fmla="*/ 22 w 174"/>
                  <a:gd name="T5" fmla="*/ 174 h 256"/>
                  <a:gd name="T6" fmla="*/ 28 w 174"/>
                  <a:gd name="T7" fmla="*/ 172 h 256"/>
                  <a:gd name="T8" fmla="*/ 36 w 174"/>
                  <a:gd name="T9" fmla="*/ 180 h 256"/>
                  <a:gd name="T10" fmla="*/ 38 w 174"/>
                  <a:gd name="T11" fmla="*/ 186 h 256"/>
                  <a:gd name="T12" fmla="*/ 36 w 174"/>
                  <a:gd name="T13" fmla="*/ 192 h 256"/>
                  <a:gd name="T14" fmla="*/ 40 w 174"/>
                  <a:gd name="T15" fmla="*/ 198 h 256"/>
                  <a:gd name="T16" fmla="*/ 38 w 174"/>
                  <a:gd name="T17" fmla="*/ 214 h 256"/>
                  <a:gd name="T18" fmla="*/ 34 w 174"/>
                  <a:gd name="T19" fmla="*/ 218 h 256"/>
                  <a:gd name="T20" fmla="*/ 22 w 174"/>
                  <a:gd name="T21" fmla="*/ 218 h 256"/>
                  <a:gd name="T22" fmla="*/ 18 w 174"/>
                  <a:gd name="T23" fmla="*/ 224 h 256"/>
                  <a:gd name="T24" fmla="*/ 24 w 174"/>
                  <a:gd name="T25" fmla="*/ 230 h 256"/>
                  <a:gd name="T26" fmla="*/ 36 w 174"/>
                  <a:gd name="T27" fmla="*/ 236 h 256"/>
                  <a:gd name="T28" fmla="*/ 42 w 174"/>
                  <a:gd name="T29" fmla="*/ 248 h 256"/>
                  <a:gd name="T30" fmla="*/ 50 w 174"/>
                  <a:gd name="T31" fmla="*/ 256 h 256"/>
                  <a:gd name="T32" fmla="*/ 66 w 174"/>
                  <a:gd name="T33" fmla="*/ 254 h 256"/>
                  <a:gd name="T34" fmla="*/ 88 w 174"/>
                  <a:gd name="T35" fmla="*/ 250 h 256"/>
                  <a:gd name="T36" fmla="*/ 94 w 174"/>
                  <a:gd name="T37" fmla="*/ 244 h 256"/>
                  <a:gd name="T38" fmla="*/ 98 w 174"/>
                  <a:gd name="T39" fmla="*/ 236 h 256"/>
                  <a:gd name="T40" fmla="*/ 110 w 174"/>
                  <a:gd name="T41" fmla="*/ 234 h 256"/>
                  <a:gd name="T42" fmla="*/ 124 w 174"/>
                  <a:gd name="T43" fmla="*/ 228 h 256"/>
                  <a:gd name="T44" fmla="*/ 134 w 174"/>
                  <a:gd name="T45" fmla="*/ 218 h 256"/>
                  <a:gd name="T46" fmla="*/ 142 w 174"/>
                  <a:gd name="T47" fmla="*/ 206 h 256"/>
                  <a:gd name="T48" fmla="*/ 148 w 174"/>
                  <a:gd name="T49" fmla="*/ 202 h 256"/>
                  <a:gd name="T50" fmla="*/ 156 w 174"/>
                  <a:gd name="T51" fmla="*/ 202 h 256"/>
                  <a:gd name="T52" fmla="*/ 160 w 174"/>
                  <a:gd name="T53" fmla="*/ 196 h 256"/>
                  <a:gd name="T54" fmla="*/ 158 w 174"/>
                  <a:gd name="T55" fmla="*/ 188 h 256"/>
                  <a:gd name="T56" fmla="*/ 154 w 174"/>
                  <a:gd name="T57" fmla="*/ 182 h 256"/>
                  <a:gd name="T58" fmla="*/ 154 w 174"/>
                  <a:gd name="T59" fmla="*/ 174 h 256"/>
                  <a:gd name="T60" fmla="*/ 148 w 174"/>
                  <a:gd name="T61" fmla="*/ 170 h 256"/>
                  <a:gd name="T62" fmla="*/ 148 w 174"/>
                  <a:gd name="T63" fmla="*/ 162 h 256"/>
                  <a:gd name="T64" fmla="*/ 152 w 174"/>
                  <a:gd name="T65" fmla="*/ 152 h 256"/>
                  <a:gd name="T66" fmla="*/ 156 w 174"/>
                  <a:gd name="T67" fmla="*/ 140 h 256"/>
                  <a:gd name="T68" fmla="*/ 162 w 174"/>
                  <a:gd name="T69" fmla="*/ 130 h 256"/>
                  <a:gd name="T70" fmla="*/ 168 w 174"/>
                  <a:gd name="T71" fmla="*/ 128 h 256"/>
                  <a:gd name="T72" fmla="*/ 174 w 174"/>
                  <a:gd name="T73" fmla="*/ 124 h 256"/>
                  <a:gd name="T74" fmla="*/ 172 w 174"/>
                  <a:gd name="T75" fmla="*/ 116 h 256"/>
                  <a:gd name="T76" fmla="*/ 172 w 174"/>
                  <a:gd name="T77" fmla="*/ 78 h 256"/>
                  <a:gd name="T78" fmla="*/ 162 w 174"/>
                  <a:gd name="T79" fmla="*/ 54 h 256"/>
                  <a:gd name="T80" fmla="*/ 104 w 174"/>
                  <a:gd name="T81" fmla="*/ 26 h 256"/>
                  <a:gd name="T82" fmla="*/ 62 w 174"/>
                  <a:gd name="T83" fmla="*/ 4 h 256"/>
                  <a:gd name="T84" fmla="*/ 52 w 174"/>
                  <a:gd name="T85" fmla="*/ 0 h 256"/>
                  <a:gd name="T86" fmla="*/ 42 w 174"/>
                  <a:gd name="T87" fmla="*/ 4 h 256"/>
                  <a:gd name="T88" fmla="*/ 36 w 174"/>
                  <a:gd name="T89" fmla="*/ 14 h 256"/>
                  <a:gd name="T90" fmla="*/ 36 w 174"/>
                  <a:gd name="T91" fmla="*/ 22 h 256"/>
                  <a:gd name="T92" fmla="*/ 40 w 174"/>
                  <a:gd name="T93" fmla="*/ 40 h 256"/>
                  <a:gd name="T94" fmla="*/ 46 w 174"/>
                  <a:gd name="T95" fmla="*/ 46 h 256"/>
                  <a:gd name="T96" fmla="*/ 46 w 174"/>
                  <a:gd name="T97" fmla="*/ 56 h 256"/>
                  <a:gd name="T98" fmla="*/ 46 w 174"/>
                  <a:gd name="T99" fmla="*/ 66 h 256"/>
                  <a:gd name="T100" fmla="*/ 42 w 174"/>
                  <a:gd name="T101" fmla="*/ 76 h 256"/>
                  <a:gd name="T102" fmla="*/ 44 w 174"/>
                  <a:gd name="T103" fmla="*/ 98 h 256"/>
                  <a:gd name="T104" fmla="*/ 38 w 174"/>
                  <a:gd name="T105" fmla="*/ 112 h 256"/>
                  <a:gd name="T106" fmla="*/ 22 w 174"/>
                  <a:gd name="T107" fmla="*/ 124 h 256"/>
                  <a:gd name="T108" fmla="*/ 12 w 174"/>
                  <a:gd name="T109" fmla="*/ 136 h 256"/>
                  <a:gd name="T110" fmla="*/ 12 w 174"/>
                  <a:gd name="T111" fmla="*/ 142 h 256"/>
                  <a:gd name="T112" fmla="*/ 8 w 174"/>
                  <a:gd name="T113" fmla="*/ 146 h 256"/>
                  <a:gd name="T114" fmla="*/ 4 w 174"/>
                  <a:gd name="T115" fmla="*/ 148 h 256"/>
                  <a:gd name="T116" fmla="*/ 0 w 174"/>
                  <a:gd name="T117" fmla="*/ 154 h 256"/>
                  <a:gd name="T118" fmla="*/ 2 w 174"/>
                  <a:gd name="T119" fmla="*/ 162 h 256"/>
                  <a:gd name="T120" fmla="*/ 12 w 174"/>
                  <a:gd name="T121" fmla="*/ 172 h 256"/>
                  <a:gd name="T122" fmla="*/ 14 w 174"/>
                  <a:gd name="T123" fmla="*/ 176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74" h="256">
                    <a:moveTo>
                      <a:pt x="14" y="176"/>
                    </a:moveTo>
                    <a:lnTo>
                      <a:pt x="14" y="176"/>
                    </a:lnTo>
                    <a:lnTo>
                      <a:pt x="14" y="178"/>
                    </a:lnTo>
                    <a:lnTo>
                      <a:pt x="16" y="180"/>
                    </a:lnTo>
                    <a:lnTo>
                      <a:pt x="16" y="182"/>
                    </a:lnTo>
                    <a:lnTo>
                      <a:pt x="18" y="182"/>
                    </a:lnTo>
                    <a:lnTo>
                      <a:pt x="18" y="182"/>
                    </a:lnTo>
                    <a:lnTo>
                      <a:pt x="20" y="182"/>
                    </a:lnTo>
                    <a:lnTo>
                      <a:pt x="20" y="182"/>
                    </a:lnTo>
                    <a:lnTo>
                      <a:pt x="20" y="182"/>
                    </a:lnTo>
                    <a:lnTo>
                      <a:pt x="20" y="180"/>
                    </a:lnTo>
                    <a:lnTo>
                      <a:pt x="20" y="180"/>
                    </a:lnTo>
                    <a:lnTo>
                      <a:pt x="22" y="176"/>
                    </a:lnTo>
                    <a:lnTo>
                      <a:pt x="22" y="176"/>
                    </a:lnTo>
                    <a:lnTo>
                      <a:pt x="22" y="174"/>
                    </a:lnTo>
                    <a:lnTo>
                      <a:pt x="22" y="172"/>
                    </a:lnTo>
                    <a:lnTo>
                      <a:pt x="24" y="172"/>
                    </a:lnTo>
                    <a:lnTo>
                      <a:pt x="24" y="170"/>
                    </a:lnTo>
                    <a:lnTo>
                      <a:pt x="26" y="172"/>
                    </a:lnTo>
                    <a:lnTo>
                      <a:pt x="28" y="172"/>
                    </a:lnTo>
                    <a:lnTo>
                      <a:pt x="30" y="174"/>
                    </a:lnTo>
                    <a:lnTo>
                      <a:pt x="30" y="174"/>
                    </a:lnTo>
                    <a:lnTo>
                      <a:pt x="32" y="176"/>
                    </a:lnTo>
                    <a:lnTo>
                      <a:pt x="32" y="178"/>
                    </a:lnTo>
                    <a:lnTo>
                      <a:pt x="36" y="180"/>
                    </a:lnTo>
                    <a:lnTo>
                      <a:pt x="38" y="182"/>
                    </a:lnTo>
                    <a:lnTo>
                      <a:pt x="38" y="184"/>
                    </a:lnTo>
                    <a:lnTo>
                      <a:pt x="38" y="184"/>
                    </a:lnTo>
                    <a:lnTo>
                      <a:pt x="38" y="184"/>
                    </a:lnTo>
                    <a:lnTo>
                      <a:pt x="38" y="186"/>
                    </a:lnTo>
                    <a:lnTo>
                      <a:pt x="38" y="186"/>
                    </a:lnTo>
                    <a:lnTo>
                      <a:pt x="38" y="186"/>
                    </a:lnTo>
                    <a:lnTo>
                      <a:pt x="36" y="190"/>
                    </a:lnTo>
                    <a:lnTo>
                      <a:pt x="36" y="190"/>
                    </a:lnTo>
                    <a:lnTo>
                      <a:pt x="36" y="192"/>
                    </a:lnTo>
                    <a:lnTo>
                      <a:pt x="36" y="192"/>
                    </a:lnTo>
                    <a:lnTo>
                      <a:pt x="36" y="194"/>
                    </a:lnTo>
                    <a:lnTo>
                      <a:pt x="36" y="194"/>
                    </a:lnTo>
                    <a:lnTo>
                      <a:pt x="38" y="196"/>
                    </a:lnTo>
                    <a:lnTo>
                      <a:pt x="40" y="198"/>
                    </a:lnTo>
                    <a:lnTo>
                      <a:pt x="40" y="200"/>
                    </a:lnTo>
                    <a:lnTo>
                      <a:pt x="40" y="204"/>
                    </a:lnTo>
                    <a:lnTo>
                      <a:pt x="40" y="204"/>
                    </a:lnTo>
                    <a:lnTo>
                      <a:pt x="40" y="208"/>
                    </a:lnTo>
                    <a:lnTo>
                      <a:pt x="38" y="214"/>
                    </a:lnTo>
                    <a:lnTo>
                      <a:pt x="38" y="214"/>
                    </a:lnTo>
                    <a:lnTo>
                      <a:pt x="38" y="216"/>
                    </a:lnTo>
                    <a:lnTo>
                      <a:pt x="38" y="216"/>
                    </a:lnTo>
                    <a:lnTo>
                      <a:pt x="36" y="216"/>
                    </a:lnTo>
                    <a:lnTo>
                      <a:pt x="34" y="218"/>
                    </a:lnTo>
                    <a:lnTo>
                      <a:pt x="32" y="216"/>
                    </a:lnTo>
                    <a:lnTo>
                      <a:pt x="32" y="216"/>
                    </a:lnTo>
                    <a:lnTo>
                      <a:pt x="28" y="218"/>
                    </a:lnTo>
                    <a:lnTo>
                      <a:pt x="24" y="218"/>
                    </a:lnTo>
                    <a:lnTo>
                      <a:pt x="22" y="218"/>
                    </a:lnTo>
                    <a:lnTo>
                      <a:pt x="20" y="220"/>
                    </a:lnTo>
                    <a:lnTo>
                      <a:pt x="20" y="220"/>
                    </a:lnTo>
                    <a:lnTo>
                      <a:pt x="18" y="222"/>
                    </a:lnTo>
                    <a:lnTo>
                      <a:pt x="18" y="222"/>
                    </a:lnTo>
                    <a:lnTo>
                      <a:pt x="18" y="224"/>
                    </a:lnTo>
                    <a:lnTo>
                      <a:pt x="18" y="226"/>
                    </a:lnTo>
                    <a:lnTo>
                      <a:pt x="20" y="228"/>
                    </a:lnTo>
                    <a:lnTo>
                      <a:pt x="20" y="228"/>
                    </a:lnTo>
                    <a:lnTo>
                      <a:pt x="22" y="230"/>
                    </a:lnTo>
                    <a:lnTo>
                      <a:pt x="24" y="230"/>
                    </a:lnTo>
                    <a:lnTo>
                      <a:pt x="26" y="232"/>
                    </a:lnTo>
                    <a:lnTo>
                      <a:pt x="28" y="232"/>
                    </a:lnTo>
                    <a:lnTo>
                      <a:pt x="32" y="234"/>
                    </a:lnTo>
                    <a:lnTo>
                      <a:pt x="34" y="236"/>
                    </a:lnTo>
                    <a:lnTo>
                      <a:pt x="36" y="236"/>
                    </a:lnTo>
                    <a:lnTo>
                      <a:pt x="36" y="236"/>
                    </a:lnTo>
                    <a:lnTo>
                      <a:pt x="38" y="238"/>
                    </a:lnTo>
                    <a:lnTo>
                      <a:pt x="40" y="242"/>
                    </a:lnTo>
                    <a:lnTo>
                      <a:pt x="42" y="246"/>
                    </a:lnTo>
                    <a:lnTo>
                      <a:pt x="42" y="248"/>
                    </a:lnTo>
                    <a:lnTo>
                      <a:pt x="44" y="252"/>
                    </a:lnTo>
                    <a:lnTo>
                      <a:pt x="46" y="254"/>
                    </a:lnTo>
                    <a:lnTo>
                      <a:pt x="48" y="256"/>
                    </a:lnTo>
                    <a:lnTo>
                      <a:pt x="48" y="256"/>
                    </a:lnTo>
                    <a:lnTo>
                      <a:pt x="50" y="256"/>
                    </a:lnTo>
                    <a:lnTo>
                      <a:pt x="52" y="256"/>
                    </a:lnTo>
                    <a:lnTo>
                      <a:pt x="54" y="256"/>
                    </a:lnTo>
                    <a:lnTo>
                      <a:pt x="56" y="256"/>
                    </a:lnTo>
                    <a:lnTo>
                      <a:pt x="62" y="256"/>
                    </a:lnTo>
                    <a:lnTo>
                      <a:pt x="66" y="254"/>
                    </a:lnTo>
                    <a:lnTo>
                      <a:pt x="66" y="254"/>
                    </a:lnTo>
                    <a:lnTo>
                      <a:pt x="74" y="254"/>
                    </a:lnTo>
                    <a:lnTo>
                      <a:pt x="80" y="252"/>
                    </a:lnTo>
                    <a:lnTo>
                      <a:pt x="84" y="252"/>
                    </a:lnTo>
                    <a:lnTo>
                      <a:pt x="88" y="250"/>
                    </a:lnTo>
                    <a:lnTo>
                      <a:pt x="92" y="248"/>
                    </a:lnTo>
                    <a:lnTo>
                      <a:pt x="92" y="248"/>
                    </a:lnTo>
                    <a:lnTo>
                      <a:pt x="94" y="246"/>
                    </a:lnTo>
                    <a:lnTo>
                      <a:pt x="94" y="246"/>
                    </a:lnTo>
                    <a:lnTo>
                      <a:pt x="94" y="244"/>
                    </a:lnTo>
                    <a:lnTo>
                      <a:pt x="96" y="242"/>
                    </a:lnTo>
                    <a:lnTo>
                      <a:pt x="96" y="240"/>
                    </a:lnTo>
                    <a:lnTo>
                      <a:pt x="98" y="238"/>
                    </a:lnTo>
                    <a:lnTo>
                      <a:pt x="98" y="238"/>
                    </a:lnTo>
                    <a:lnTo>
                      <a:pt x="98" y="236"/>
                    </a:lnTo>
                    <a:lnTo>
                      <a:pt x="100" y="234"/>
                    </a:lnTo>
                    <a:lnTo>
                      <a:pt x="104" y="234"/>
                    </a:lnTo>
                    <a:lnTo>
                      <a:pt x="104" y="234"/>
                    </a:lnTo>
                    <a:lnTo>
                      <a:pt x="104" y="234"/>
                    </a:lnTo>
                    <a:lnTo>
                      <a:pt x="110" y="234"/>
                    </a:lnTo>
                    <a:lnTo>
                      <a:pt x="114" y="232"/>
                    </a:lnTo>
                    <a:lnTo>
                      <a:pt x="116" y="232"/>
                    </a:lnTo>
                    <a:lnTo>
                      <a:pt x="120" y="232"/>
                    </a:lnTo>
                    <a:lnTo>
                      <a:pt x="124" y="228"/>
                    </a:lnTo>
                    <a:lnTo>
                      <a:pt x="124" y="228"/>
                    </a:lnTo>
                    <a:lnTo>
                      <a:pt x="128" y="224"/>
                    </a:lnTo>
                    <a:lnTo>
                      <a:pt x="130" y="222"/>
                    </a:lnTo>
                    <a:lnTo>
                      <a:pt x="132" y="220"/>
                    </a:lnTo>
                    <a:lnTo>
                      <a:pt x="132" y="220"/>
                    </a:lnTo>
                    <a:lnTo>
                      <a:pt x="134" y="218"/>
                    </a:lnTo>
                    <a:lnTo>
                      <a:pt x="136" y="216"/>
                    </a:lnTo>
                    <a:lnTo>
                      <a:pt x="136" y="212"/>
                    </a:lnTo>
                    <a:lnTo>
                      <a:pt x="138" y="210"/>
                    </a:lnTo>
                    <a:lnTo>
                      <a:pt x="138" y="210"/>
                    </a:lnTo>
                    <a:lnTo>
                      <a:pt x="142" y="206"/>
                    </a:lnTo>
                    <a:lnTo>
                      <a:pt x="144" y="204"/>
                    </a:lnTo>
                    <a:lnTo>
                      <a:pt x="146" y="202"/>
                    </a:lnTo>
                    <a:lnTo>
                      <a:pt x="146" y="202"/>
                    </a:lnTo>
                    <a:lnTo>
                      <a:pt x="148" y="202"/>
                    </a:lnTo>
                    <a:lnTo>
                      <a:pt x="148" y="202"/>
                    </a:lnTo>
                    <a:lnTo>
                      <a:pt x="152" y="202"/>
                    </a:lnTo>
                    <a:lnTo>
                      <a:pt x="152" y="202"/>
                    </a:lnTo>
                    <a:lnTo>
                      <a:pt x="154" y="202"/>
                    </a:lnTo>
                    <a:lnTo>
                      <a:pt x="156" y="202"/>
                    </a:lnTo>
                    <a:lnTo>
                      <a:pt x="156" y="202"/>
                    </a:lnTo>
                    <a:lnTo>
                      <a:pt x="158" y="200"/>
                    </a:lnTo>
                    <a:lnTo>
                      <a:pt x="158" y="200"/>
                    </a:lnTo>
                    <a:lnTo>
                      <a:pt x="158" y="198"/>
                    </a:lnTo>
                    <a:lnTo>
                      <a:pt x="160" y="198"/>
                    </a:lnTo>
                    <a:lnTo>
                      <a:pt x="160" y="196"/>
                    </a:lnTo>
                    <a:lnTo>
                      <a:pt x="160" y="192"/>
                    </a:lnTo>
                    <a:lnTo>
                      <a:pt x="160" y="192"/>
                    </a:lnTo>
                    <a:lnTo>
                      <a:pt x="160" y="190"/>
                    </a:lnTo>
                    <a:lnTo>
                      <a:pt x="158" y="190"/>
                    </a:lnTo>
                    <a:lnTo>
                      <a:pt x="158" y="188"/>
                    </a:lnTo>
                    <a:lnTo>
                      <a:pt x="156" y="186"/>
                    </a:lnTo>
                    <a:lnTo>
                      <a:pt x="154" y="184"/>
                    </a:lnTo>
                    <a:lnTo>
                      <a:pt x="154" y="184"/>
                    </a:lnTo>
                    <a:lnTo>
                      <a:pt x="154" y="184"/>
                    </a:lnTo>
                    <a:lnTo>
                      <a:pt x="154" y="182"/>
                    </a:lnTo>
                    <a:lnTo>
                      <a:pt x="154" y="180"/>
                    </a:lnTo>
                    <a:lnTo>
                      <a:pt x="154" y="176"/>
                    </a:lnTo>
                    <a:lnTo>
                      <a:pt x="154" y="174"/>
                    </a:lnTo>
                    <a:lnTo>
                      <a:pt x="154" y="174"/>
                    </a:lnTo>
                    <a:lnTo>
                      <a:pt x="154" y="174"/>
                    </a:lnTo>
                    <a:lnTo>
                      <a:pt x="152" y="172"/>
                    </a:lnTo>
                    <a:lnTo>
                      <a:pt x="152" y="172"/>
                    </a:lnTo>
                    <a:lnTo>
                      <a:pt x="152" y="170"/>
                    </a:lnTo>
                    <a:lnTo>
                      <a:pt x="148" y="170"/>
                    </a:lnTo>
                    <a:lnTo>
                      <a:pt x="148" y="170"/>
                    </a:lnTo>
                    <a:lnTo>
                      <a:pt x="148" y="168"/>
                    </a:lnTo>
                    <a:lnTo>
                      <a:pt x="148" y="168"/>
                    </a:lnTo>
                    <a:lnTo>
                      <a:pt x="146" y="166"/>
                    </a:lnTo>
                    <a:lnTo>
                      <a:pt x="146" y="164"/>
                    </a:lnTo>
                    <a:lnTo>
                      <a:pt x="148" y="162"/>
                    </a:lnTo>
                    <a:lnTo>
                      <a:pt x="148" y="160"/>
                    </a:lnTo>
                    <a:lnTo>
                      <a:pt x="150" y="156"/>
                    </a:lnTo>
                    <a:lnTo>
                      <a:pt x="152" y="154"/>
                    </a:lnTo>
                    <a:lnTo>
                      <a:pt x="152" y="152"/>
                    </a:lnTo>
                    <a:lnTo>
                      <a:pt x="152" y="152"/>
                    </a:lnTo>
                    <a:lnTo>
                      <a:pt x="152" y="148"/>
                    </a:lnTo>
                    <a:lnTo>
                      <a:pt x="152" y="146"/>
                    </a:lnTo>
                    <a:lnTo>
                      <a:pt x="152" y="144"/>
                    </a:lnTo>
                    <a:lnTo>
                      <a:pt x="154" y="142"/>
                    </a:lnTo>
                    <a:lnTo>
                      <a:pt x="156" y="140"/>
                    </a:lnTo>
                    <a:lnTo>
                      <a:pt x="160" y="136"/>
                    </a:lnTo>
                    <a:lnTo>
                      <a:pt x="160" y="136"/>
                    </a:lnTo>
                    <a:lnTo>
                      <a:pt x="160" y="134"/>
                    </a:lnTo>
                    <a:lnTo>
                      <a:pt x="160" y="132"/>
                    </a:lnTo>
                    <a:lnTo>
                      <a:pt x="162" y="130"/>
                    </a:lnTo>
                    <a:lnTo>
                      <a:pt x="162" y="128"/>
                    </a:lnTo>
                    <a:lnTo>
                      <a:pt x="166" y="128"/>
                    </a:lnTo>
                    <a:lnTo>
                      <a:pt x="166" y="128"/>
                    </a:lnTo>
                    <a:lnTo>
                      <a:pt x="166" y="128"/>
                    </a:lnTo>
                    <a:lnTo>
                      <a:pt x="168" y="128"/>
                    </a:lnTo>
                    <a:lnTo>
                      <a:pt x="170" y="126"/>
                    </a:lnTo>
                    <a:lnTo>
                      <a:pt x="172" y="126"/>
                    </a:lnTo>
                    <a:lnTo>
                      <a:pt x="172" y="126"/>
                    </a:lnTo>
                    <a:lnTo>
                      <a:pt x="174" y="126"/>
                    </a:lnTo>
                    <a:lnTo>
                      <a:pt x="174" y="124"/>
                    </a:lnTo>
                    <a:lnTo>
                      <a:pt x="174" y="124"/>
                    </a:lnTo>
                    <a:lnTo>
                      <a:pt x="174" y="122"/>
                    </a:lnTo>
                    <a:lnTo>
                      <a:pt x="172" y="120"/>
                    </a:lnTo>
                    <a:lnTo>
                      <a:pt x="172" y="120"/>
                    </a:lnTo>
                    <a:lnTo>
                      <a:pt x="172" y="116"/>
                    </a:lnTo>
                    <a:lnTo>
                      <a:pt x="172" y="114"/>
                    </a:lnTo>
                    <a:lnTo>
                      <a:pt x="172" y="114"/>
                    </a:lnTo>
                    <a:lnTo>
                      <a:pt x="172" y="100"/>
                    </a:lnTo>
                    <a:lnTo>
                      <a:pt x="172" y="100"/>
                    </a:lnTo>
                    <a:lnTo>
                      <a:pt x="172" y="78"/>
                    </a:lnTo>
                    <a:lnTo>
                      <a:pt x="174" y="56"/>
                    </a:lnTo>
                    <a:lnTo>
                      <a:pt x="174" y="56"/>
                    </a:lnTo>
                    <a:lnTo>
                      <a:pt x="170" y="56"/>
                    </a:lnTo>
                    <a:lnTo>
                      <a:pt x="168" y="56"/>
                    </a:lnTo>
                    <a:lnTo>
                      <a:pt x="162" y="54"/>
                    </a:lnTo>
                    <a:lnTo>
                      <a:pt x="158" y="52"/>
                    </a:lnTo>
                    <a:lnTo>
                      <a:pt x="154" y="50"/>
                    </a:lnTo>
                    <a:lnTo>
                      <a:pt x="154" y="50"/>
                    </a:lnTo>
                    <a:lnTo>
                      <a:pt x="130" y="40"/>
                    </a:lnTo>
                    <a:lnTo>
                      <a:pt x="104" y="26"/>
                    </a:lnTo>
                    <a:lnTo>
                      <a:pt x="104" y="26"/>
                    </a:lnTo>
                    <a:lnTo>
                      <a:pt x="94" y="20"/>
                    </a:lnTo>
                    <a:lnTo>
                      <a:pt x="84" y="16"/>
                    </a:lnTo>
                    <a:lnTo>
                      <a:pt x="74" y="10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58" y="2"/>
                    </a:lnTo>
                    <a:lnTo>
                      <a:pt x="56" y="0"/>
                    </a:lnTo>
                    <a:lnTo>
                      <a:pt x="54" y="0"/>
                    </a:lnTo>
                    <a:lnTo>
                      <a:pt x="52" y="0"/>
                    </a:lnTo>
                    <a:lnTo>
                      <a:pt x="50" y="0"/>
                    </a:lnTo>
                    <a:lnTo>
                      <a:pt x="46" y="0"/>
                    </a:lnTo>
                    <a:lnTo>
                      <a:pt x="44" y="2"/>
                    </a:lnTo>
                    <a:lnTo>
                      <a:pt x="44" y="2"/>
                    </a:lnTo>
                    <a:lnTo>
                      <a:pt x="42" y="4"/>
                    </a:lnTo>
                    <a:lnTo>
                      <a:pt x="38" y="4"/>
                    </a:lnTo>
                    <a:lnTo>
                      <a:pt x="32" y="10"/>
                    </a:lnTo>
                    <a:lnTo>
                      <a:pt x="32" y="10"/>
                    </a:lnTo>
                    <a:lnTo>
                      <a:pt x="34" y="12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6" y="16"/>
                    </a:lnTo>
                    <a:lnTo>
                      <a:pt x="38" y="18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8"/>
                    </a:lnTo>
                    <a:lnTo>
                      <a:pt x="38" y="32"/>
                    </a:lnTo>
                    <a:lnTo>
                      <a:pt x="38" y="34"/>
                    </a:lnTo>
                    <a:lnTo>
                      <a:pt x="38" y="38"/>
                    </a:lnTo>
                    <a:lnTo>
                      <a:pt x="40" y="40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4" y="42"/>
                    </a:lnTo>
                    <a:lnTo>
                      <a:pt x="44" y="44"/>
                    </a:lnTo>
                    <a:lnTo>
                      <a:pt x="46" y="46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8" y="50"/>
                    </a:lnTo>
                    <a:lnTo>
                      <a:pt x="48" y="52"/>
                    </a:lnTo>
                    <a:lnTo>
                      <a:pt x="46" y="56"/>
                    </a:lnTo>
                    <a:lnTo>
                      <a:pt x="46" y="58"/>
                    </a:lnTo>
                    <a:lnTo>
                      <a:pt x="46" y="58"/>
                    </a:lnTo>
                    <a:lnTo>
                      <a:pt x="48" y="64"/>
                    </a:lnTo>
                    <a:lnTo>
                      <a:pt x="46" y="66"/>
                    </a:lnTo>
                    <a:lnTo>
                      <a:pt x="46" y="66"/>
                    </a:lnTo>
                    <a:lnTo>
                      <a:pt x="46" y="66"/>
                    </a:lnTo>
                    <a:lnTo>
                      <a:pt x="44" y="68"/>
                    </a:lnTo>
                    <a:lnTo>
                      <a:pt x="44" y="70"/>
                    </a:lnTo>
                    <a:lnTo>
                      <a:pt x="42" y="74"/>
                    </a:lnTo>
                    <a:lnTo>
                      <a:pt x="42" y="76"/>
                    </a:lnTo>
                    <a:lnTo>
                      <a:pt x="42" y="76"/>
                    </a:lnTo>
                    <a:lnTo>
                      <a:pt x="44" y="88"/>
                    </a:lnTo>
                    <a:lnTo>
                      <a:pt x="44" y="92"/>
                    </a:lnTo>
                    <a:lnTo>
                      <a:pt x="44" y="98"/>
                    </a:lnTo>
                    <a:lnTo>
                      <a:pt x="44" y="98"/>
                    </a:lnTo>
                    <a:lnTo>
                      <a:pt x="44" y="100"/>
                    </a:lnTo>
                    <a:lnTo>
                      <a:pt x="42" y="102"/>
                    </a:lnTo>
                    <a:lnTo>
                      <a:pt x="42" y="106"/>
                    </a:lnTo>
                    <a:lnTo>
                      <a:pt x="40" y="108"/>
                    </a:lnTo>
                    <a:lnTo>
                      <a:pt x="38" y="112"/>
                    </a:lnTo>
                    <a:lnTo>
                      <a:pt x="34" y="114"/>
                    </a:lnTo>
                    <a:lnTo>
                      <a:pt x="34" y="114"/>
                    </a:lnTo>
                    <a:lnTo>
                      <a:pt x="30" y="118"/>
                    </a:lnTo>
                    <a:lnTo>
                      <a:pt x="26" y="122"/>
                    </a:lnTo>
                    <a:lnTo>
                      <a:pt x="22" y="124"/>
                    </a:lnTo>
                    <a:lnTo>
                      <a:pt x="18" y="128"/>
                    </a:lnTo>
                    <a:lnTo>
                      <a:pt x="18" y="128"/>
                    </a:lnTo>
                    <a:lnTo>
                      <a:pt x="14" y="132"/>
                    </a:lnTo>
                    <a:lnTo>
                      <a:pt x="12" y="134"/>
                    </a:lnTo>
                    <a:lnTo>
                      <a:pt x="12" y="136"/>
                    </a:lnTo>
                    <a:lnTo>
                      <a:pt x="12" y="136"/>
                    </a:lnTo>
                    <a:lnTo>
                      <a:pt x="12" y="136"/>
                    </a:lnTo>
                    <a:lnTo>
                      <a:pt x="12" y="140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44"/>
                    </a:lnTo>
                    <a:lnTo>
                      <a:pt x="12" y="144"/>
                    </a:lnTo>
                    <a:lnTo>
                      <a:pt x="10" y="144"/>
                    </a:lnTo>
                    <a:lnTo>
                      <a:pt x="10" y="146"/>
                    </a:lnTo>
                    <a:lnTo>
                      <a:pt x="8" y="146"/>
                    </a:lnTo>
                    <a:lnTo>
                      <a:pt x="8" y="146"/>
                    </a:lnTo>
                    <a:lnTo>
                      <a:pt x="6" y="146"/>
                    </a:lnTo>
                    <a:lnTo>
                      <a:pt x="4" y="146"/>
                    </a:lnTo>
                    <a:lnTo>
                      <a:pt x="4" y="148"/>
                    </a:lnTo>
                    <a:lnTo>
                      <a:pt x="4" y="148"/>
                    </a:lnTo>
                    <a:lnTo>
                      <a:pt x="2" y="148"/>
                    </a:lnTo>
                    <a:lnTo>
                      <a:pt x="2" y="150"/>
                    </a:lnTo>
                    <a:lnTo>
                      <a:pt x="2" y="150"/>
                    </a:lnTo>
                    <a:lnTo>
                      <a:pt x="0" y="152"/>
                    </a:lnTo>
                    <a:lnTo>
                      <a:pt x="0" y="154"/>
                    </a:lnTo>
                    <a:lnTo>
                      <a:pt x="2" y="158"/>
                    </a:lnTo>
                    <a:lnTo>
                      <a:pt x="2" y="158"/>
                    </a:lnTo>
                    <a:lnTo>
                      <a:pt x="2" y="160"/>
                    </a:lnTo>
                    <a:lnTo>
                      <a:pt x="2" y="162"/>
                    </a:lnTo>
                    <a:lnTo>
                      <a:pt x="2" y="162"/>
                    </a:lnTo>
                    <a:lnTo>
                      <a:pt x="4" y="164"/>
                    </a:lnTo>
                    <a:lnTo>
                      <a:pt x="8" y="166"/>
                    </a:lnTo>
                    <a:lnTo>
                      <a:pt x="8" y="166"/>
                    </a:lnTo>
                    <a:lnTo>
                      <a:pt x="10" y="168"/>
                    </a:lnTo>
                    <a:lnTo>
                      <a:pt x="12" y="172"/>
                    </a:lnTo>
                    <a:lnTo>
                      <a:pt x="12" y="174"/>
                    </a:lnTo>
                    <a:lnTo>
                      <a:pt x="14" y="176"/>
                    </a:lnTo>
                    <a:lnTo>
                      <a:pt x="14" y="176"/>
                    </a:lnTo>
                    <a:lnTo>
                      <a:pt x="14" y="176"/>
                    </a:lnTo>
                    <a:lnTo>
                      <a:pt x="14" y="176"/>
                    </a:lnTo>
                    <a:lnTo>
                      <a:pt x="14" y="17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16" name="Freeform 622"/>
              <p:cNvSpPr>
                <a:spLocks/>
              </p:cNvSpPr>
              <p:nvPr/>
            </p:nvSpPr>
            <p:spPr bwMode="auto">
              <a:xfrm>
                <a:off x="3067" y="2444"/>
                <a:ext cx="254" cy="322"/>
              </a:xfrm>
              <a:custGeom>
                <a:avLst/>
                <a:gdLst>
                  <a:gd name="T0" fmla="*/ 34 w 254"/>
                  <a:gd name="T1" fmla="*/ 222 h 322"/>
                  <a:gd name="T2" fmla="*/ 32 w 254"/>
                  <a:gd name="T3" fmla="*/ 236 h 322"/>
                  <a:gd name="T4" fmla="*/ 38 w 254"/>
                  <a:gd name="T5" fmla="*/ 240 h 322"/>
                  <a:gd name="T6" fmla="*/ 44 w 254"/>
                  <a:gd name="T7" fmla="*/ 250 h 322"/>
                  <a:gd name="T8" fmla="*/ 64 w 254"/>
                  <a:gd name="T9" fmla="*/ 262 h 322"/>
                  <a:gd name="T10" fmla="*/ 74 w 254"/>
                  <a:gd name="T11" fmla="*/ 274 h 322"/>
                  <a:gd name="T12" fmla="*/ 88 w 254"/>
                  <a:gd name="T13" fmla="*/ 290 h 322"/>
                  <a:gd name="T14" fmla="*/ 96 w 254"/>
                  <a:gd name="T15" fmla="*/ 300 h 322"/>
                  <a:gd name="T16" fmla="*/ 102 w 254"/>
                  <a:gd name="T17" fmla="*/ 308 h 322"/>
                  <a:gd name="T18" fmla="*/ 126 w 254"/>
                  <a:gd name="T19" fmla="*/ 310 h 322"/>
                  <a:gd name="T20" fmla="*/ 144 w 254"/>
                  <a:gd name="T21" fmla="*/ 320 h 322"/>
                  <a:gd name="T22" fmla="*/ 166 w 254"/>
                  <a:gd name="T23" fmla="*/ 322 h 322"/>
                  <a:gd name="T24" fmla="*/ 190 w 254"/>
                  <a:gd name="T25" fmla="*/ 318 h 322"/>
                  <a:gd name="T26" fmla="*/ 200 w 254"/>
                  <a:gd name="T27" fmla="*/ 308 h 322"/>
                  <a:gd name="T28" fmla="*/ 218 w 254"/>
                  <a:gd name="T29" fmla="*/ 306 h 322"/>
                  <a:gd name="T30" fmla="*/ 220 w 254"/>
                  <a:gd name="T31" fmla="*/ 294 h 322"/>
                  <a:gd name="T32" fmla="*/ 208 w 254"/>
                  <a:gd name="T33" fmla="*/ 276 h 322"/>
                  <a:gd name="T34" fmla="*/ 196 w 254"/>
                  <a:gd name="T35" fmla="*/ 264 h 322"/>
                  <a:gd name="T36" fmla="*/ 184 w 254"/>
                  <a:gd name="T37" fmla="*/ 256 h 322"/>
                  <a:gd name="T38" fmla="*/ 180 w 254"/>
                  <a:gd name="T39" fmla="*/ 250 h 322"/>
                  <a:gd name="T40" fmla="*/ 194 w 254"/>
                  <a:gd name="T41" fmla="*/ 242 h 322"/>
                  <a:gd name="T42" fmla="*/ 198 w 254"/>
                  <a:gd name="T43" fmla="*/ 224 h 322"/>
                  <a:gd name="T44" fmla="*/ 198 w 254"/>
                  <a:gd name="T45" fmla="*/ 208 h 322"/>
                  <a:gd name="T46" fmla="*/ 208 w 254"/>
                  <a:gd name="T47" fmla="*/ 204 h 322"/>
                  <a:gd name="T48" fmla="*/ 210 w 254"/>
                  <a:gd name="T49" fmla="*/ 188 h 322"/>
                  <a:gd name="T50" fmla="*/ 226 w 254"/>
                  <a:gd name="T51" fmla="*/ 164 h 322"/>
                  <a:gd name="T52" fmla="*/ 228 w 254"/>
                  <a:gd name="T53" fmla="*/ 142 h 322"/>
                  <a:gd name="T54" fmla="*/ 234 w 254"/>
                  <a:gd name="T55" fmla="*/ 124 h 322"/>
                  <a:gd name="T56" fmla="*/ 238 w 254"/>
                  <a:gd name="T57" fmla="*/ 104 h 322"/>
                  <a:gd name="T58" fmla="*/ 254 w 254"/>
                  <a:gd name="T59" fmla="*/ 86 h 322"/>
                  <a:gd name="T60" fmla="*/ 242 w 254"/>
                  <a:gd name="T61" fmla="*/ 78 h 322"/>
                  <a:gd name="T62" fmla="*/ 238 w 254"/>
                  <a:gd name="T63" fmla="*/ 68 h 322"/>
                  <a:gd name="T64" fmla="*/ 234 w 254"/>
                  <a:gd name="T65" fmla="*/ 52 h 322"/>
                  <a:gd name="T66" fmla="*/ 230 w 254"/>
                  <a:gd name="T67" fmla="*/ 42 h 322"/>
                  <a:gd name="T68" fmla="*/ 230 w 254"/>
                  <a:gd name="T69" fmla="*/ 32 h 322"/>
                  <a:gd name="T70" fmla="*/ 226 w 254"/>
                  <a:gd name="T71" fmla="*/ 20 h 322"/>
                  <a:gd name="T72" fmla="*/ 208 w 254"/>
                  <a:gd name="T73" fmla="*/ 0 h 322"/>
                  <a:gd name="T74" fmla="*/ 192 w 254"/>
                  <a:gd name="T75" fmla="*/ 8 h 322"/>
                  <a:gd name="T76" fmla="*/ 182 w 254"/>
                  <a:gd name="T77" fmla="*/ 22 h 322"/>
                  <a:gd name="T78" fmla="*/ 174 w 254"/>
                  <a:gd name="T79" fmla="*/ 24 h 322"/>
                  <a:gd name="T80" fmla="*/ 162 w 254"/>
                  <a:gd name="T81" fmla="*/ 18 h 322"/>
                  <a:gd name="T82" fmla="*/ 118 w 254"/>
                  <a:gd name="T83" fmla="*/ 20 h 322"/>
                  <a:gd name="T84" fmla="*/ 42 w 254"/>
                  <a:gd name="T85" fmla="*/ 36 h 322"/>
                  <a:gd name="T86" fmla="*/ 40 w 254"/>
                  <a:gd name="T87" fmla="*/ 60 h 322"/>
                  <a:gd name="T88" fmla="*/ 28 w 254"/>
                  <a:gd name="T89" fmla="*/ 60 h 322"/>
                  <a:gd name="T90" fmla="*/ 26 w 254"/>
                  <a:gd name="T91" fmla="*/ 120 h 322"/>
                  <a:gd name="T92" fmla="*/ 26 w 254"/>
                  <a:gd name="T93" fmla="*/ 130 h 322"/>
                  <a:gd name="T94" fmla="*/ 16 w 254"/>
                  <a:gd name="T95" fmla="*/ 132 h 322"/>
                  <a:gd name="T96" fmla="*/ 8 w 254"/>
                  <a:gd name="T97" fmla="*/ 146 h 322"/>
                  <a:gd name="T98" fmla="*/ 4 w 254"/>
                  <a:gd name="T99" fmla="*/ 160 h 322"/>
                  <a:gd name="T100" fmla="*/ 2 w 254"/>
                  <a:gd name="T101" fmla="*/ 174 h 322"/>
                  <a:gd name="T102" fmla="*/ 8 w 254"/>
                  <a:gd name="T103" fmla="*/ 178 h 322"/>
                  <a:gd name="T104" fmla="*/ 10 w 254"/>
                  <a:gd name="T105" fmla="*/ 190 h 322"/>
                  <a:gd name="T106" fmla="*/ 14 w 254"/>
                  <a:gd name="T107" fmla="*/ 202 h 322"/>
                  <a:gd name="T108" fmla="*/ 24 w 254"/>
                  <a:gd name="T109" fmla="*/ 214 h 3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54" h="322">
                    <a:moveTo>
                      <a:pt x="24" y="214"/>
                    </a:moveTo>
                    <a:lnTo>
                      <a:pt x="24" y="214"/>
                    </a:lnTo>
                    <a:lnTo>
                      <a:pt x="30" y="216"/>
                    </a:lnTo>
                    <a:lnTo>
                      <a:pt x="32" y="218"/>
                    </a:lnTo>
                    <a:lnTo>
                      <a:pt x="32" y="218"/>
                    </a:lnTo>
                    <a:lnTo>
                      <a:pt x="32" y="220"/>
                    </a:lnTo>
                    <a:lnTo>
                      <a:pt x="34" y="222"/>
                    </a:lnTo>
                    <a:lnTo>
                      <a:pt x="34" y="224"/>
                    </a:lnTo>
                    <a:lnTo>
                      <a:pt x="32" y="228"/>
                    </a:lnTo>
                    <a:lnTo>
                      <a:pt x="32" y="228"/>
                    </a:lnTo>
                    <a:lnTo>
                      <a:pt x="32" y="232"/>
                    </a:lnTo>
                    <a:lnTo>
                      <a:pt x="32" y="234"/>
                    </a:lnTo>
                    <a:lnTo>
                      <a:pt x="32" y="236"/>
                    </a:lnTo>
                    <a:lnTo>
                      <a:pt x="32" y="236"/>
                    </a:lnTo>
                    <a:lnTo>
                      <a:pt x="32" y="236"/>
                    </a:lnTo>
                    <a:lnTo>
                      <a:pt x="32" y="238"/>
                    </a:lnTo>
                    <a:lnTo>
                      <a:pt x="32" y="238"/>
                    </a:lnTo>
                    <a:lnTo>
                      <a:pt x="36" y="240"/>
                    </a:lnTo>
                    <a:lnTo>
                      <a:pt x="36" y="240"/>
                    </a:lnTo>
                    <a:lnTo>
                      <a:pt x="38" y="240"/>
                    </a:lnTo>
                    <a:lnTo>
                      <a:pt x="38" y="240"/>
                    </a:lnTo>
                    <a:lnTo>
                      <a:pt x="38" y="242"/>
                    </a:lnTo>
                    <a:lnTo>
                      <a:pt x="40" y="244"/>
                    </a:lnTo>
                    <a:lnTo>
                      <a:pt x="40" y="246"/>
                    </a:lnTo>
                    <a:lnTo>
                      <a:pt x="42" y="248"/>
                    </a:lnTo>
                    <a:lnTo>
                      <a:pt x="42" y="248"/>
                    </a:lnTo>
                    <a:lnTo>
                      <a:pt x="42" y="248"/>
                    </a:lnTo>
                    <a:lnTo>
                      <a:pt x="44" y="250"/>
                    </a:lnTo>
                    <a:lnTo>
                      <a:pt x="48" y="250"/>
                    </a:lnTo>
                    <a:lnTo>
                      <a:pt x="50" y="252"/>
                    </a:lnTo>
                    <a:lnTo>
                      <a:pt x="52" y="252"/>
                    </a:lnTo>
                    <a:lnTo>
                      <a:pt x="52" y="252"/>
                    </a:lnTo>
                    <a:lnTo>
                      <a:pt x="56" y="256"/>
                    </a:lnTo>
                    <a:lnTo>
                      <a:pt x="60" y="258"/>
                    </a:lnTo>
                    <a:lnTo>
                      <a:pt x="64" y="262"/>
                    </a:lnTo>
                    <a:lnTo>
                      <a:pt x="68" y="266"/>
                    </a:lnTo>
                    <a:lnTo>
                      <a:pt x="68" y="266"/>
                    </a:lnTo>
                    <a:lnTo>
                      <a:pt x="70" y="268"/>
                    </a:lnTo>
                    <a:lnTo>
                      <a:pt x="70" y="270"/>
                    </a:lnTo>
                    <a:lnTo>
                      <a:pt x="72" y="272"/>
                    </a:lnTo>
                    <a:lnTo>
                      <a:pt x="74" y="274"/>
                    </a:lnTo>
                    <a:lnTo>
                      <a:pt x="74" y="274"/>
                    </a:lnTo>
                    <a:lnTo>
                      <a:pt x="74" y="276"/>
                    </a:lnTo>
                    <a:lnTo>
                      <a:pt x="76" y="278"/>
                    </a:lnTo>
                    <a:lnTo>
                      <a:pt x="80" y="282"/>
                    </a:lnTo>
                    <a:lnTo>
                      <a:pt x="80" y="282"/>
                    </a:lnTo>
                    <a:lnTo>
                      <a:pt x="84" y="286"/>
                    </a:lnTo>
                    <a:lnTo>
                      <a:pt x="86" y="288"/>
                    </a:lnTo>
                    <a:lnTo>
                      <a:pt x="88" y="290"/>
                    </a:lnTo>
                    <a:lnTo>
                      <a:pt x="88" y="290"/>
                    </a:lnTo>
                    <a:lnTo>
                      <a:pt x="90" y="294"/>
                    </a:lnTo>
                    <a:lnTo>
                      <a:pt x="92" y="296"/>
                    </a:lnTo>
                    <a:lnTo>
                      <a:pt x="92" y="298"/>
                    </a:lnTo>
                    <a:lnTo>
                      <a:pt x="92" y="298"/>
                    </a:lnTo>
                    <a:lnTo>
                      <a:pt x="96" y="300"/>
                    </a:lnTo>
                    <a:lnTo>
                      <a:pt x="96" y="300"/>
                    </a:lnTo>
                    <a:lnTo>
                      <a:pt x="98" y="302"/>
                    </a:lnTo>
                    <a:lnTo>
                      <a:pt x="98" y="302"/>
                    </a:lnTo>
                    <a:lnTo>
                      <a:pt x="98" y="302"/>
                    </a:lnTo>
                    <a:lnTo>
                      <a:pt x="98" y="304"/>
                    </a:lnTo>
                    <a:lnTo>
                      <a:pt x="100" y="306"/>
                    </a:lnTo>
                    <a:lnTo>
                      <a:pt x="100" y="306"/>
                    </a:lnTo>
                    <a:lnTo>
                      <a:pt x="102" y="308"/>
                    </a:lnTo>
                    <a:lnTo>
                      <a:pt x="102" y="308"/>
                    </a:lnTo>
                    <a:lnTo>
                      <a:pt x="104" y="310"/>
                    </a:lnTo>
                    <a:lnTo>
                      <a:pt x="106" y="310"/>
                    </a:lnTo>
                    <a:lnTo>
                      <a:pt x="106" y="310"/>
                    </a:lnTo>
                    <a:lnTo>
                      <a:pt x="114" y="310"/>
                    </a:lnTo>
                    <a:lnTo>
                      <a:pt x="120" y="310"/>
                    </a:lnTo>
                    <a:lnTo>
                      <a:pt x="126" y="310"/>
                    </a:lnTo>
                    <a:lnTo>
                      <a:pt x="132" y="310"/>
                    </a:lnTo>
                    <a:lnTo>
                      <a:pt x="132" y="310"/>
                    </a:lnTo>
                    <a:lnTo>
                      <a:pt x="134" y="312"/>
                    </a:lnTo>
                    <a:lnTo>
                      <a:pt x="136" y="312"/>
                    </a:lnTo>
                    <a:lnTo>
                      <a:pt x="138" y="314"/>
                    </a:lnTo>
                    <a:lnTo>
                      <a:pt x="140" y="316"/>
                    </a:lnTo>
                    <a:lnTo>
                      <a:pt x="144" y="320"/>
                    </a:lnTo>
                    <a:lnTo>
                      <a:pt x="146" y="320"/>
                    </a:lnTo>
                    <a:lnTo>
                      <a:pt x="148" y="322"/>
                    </a:lnTo>
                    <a:lnTo>
                      <a:pt x="148" y="322"/>
                    </a:lnTo>
                    <a:lnTo>
                      <a:pt x="150" y="322"/>
                    </a:lnTo>
                    <a:lnTo>
                      <a:pt x="152" y="322"/>
                    </a:lnTo>
                    <a:lnTo>
                      <a:pt x="158" y="322"/>
                    </a:lnTo>
                    <a:lnTo>
                      <a:pt x="166" y="322"/>
                    </a:lnTo>
                    <a:lnTo>
                      <a:pt x="172" y="322"/>
                    </a:lnTo>
                    <a:lnTo>
                      <a:pt x="172" y="322"/>
                    </a:lnTo>
                    <a:lnTo>
                      <a:pt x="176" y="322"/>
                    </a:lnTo>
                    <a:lnTo>
                      <a:pt x="182" y="322"/>
                    </a:lnTo>
                    <a:lnTo>
                      <a:pt x="184" y="320"/>
                    </a:lnTo>
                    <a:lnTo>
                      <a:pt x="188" y="320"/>
                    </a:lnTo>
                    <a:lnTo>
                      <a:pt x="190" y="318"/>
                    </a:lnTo>
                    <a:lnTo>
                      <a:pt x="192" y="316"/>
                    </a:lnTo>
                    <a:lnTo>
                      <a:pt x="192" y="316"/>
                    </a:lnTo>
                    <a:lnTo>
                      <a:pt x="194" y="314"/>
                    </a:lnTo>
                    <a:lnTo>
                      <a:pt x="196" y="312"/>
                    </a:lnTo>
                    <a:lnTo>
                      <a:pt x="198" y="310"/>
                    </a:lnTo>
                    <a:lnTo>
                      <a:pt x="200" y="308"/>
                    </a:lnTo>
                    <a:lnTo>
                      <a:pt x="200" y="308"/>
                    </a:lnTo>
                    <a:lnTo>
                      <a:pt x="204" y="308"/>
                    </a:lnTo>
                    <a:lnTo>
                      <a:pt x="206" y="308"/>
                    </a:lnTo>
                    <a:lnTo>
                      <a:pt x="208" y="306"/>
                    </a:lnTo>
                    <a:lnTo>
                      <a:pt x="208" y="306"/>
                    </a:lnTo>
                    <a:lnTo>
                      <a:pt x="214" y="306"/>
                    </a:lnTo>
                    <a:lnTo>
                      <a:pt x="216" y="306"/>
                    </a:lnTo>
                    <a:lnTo>
                      <a:pt x="218" y="306"/>
                    </a:lnTo>
                    <a:lnTo>
                      <a:pt x="220" y="304"/>
                    </a:lnTo>
                    <a:lnTo>
                      <a:pt x="220" y="304"/>
                    </a:lnTo>
                    <a:lnTo>
                      <a:pt x="220" y="302"/>
                    </a:lnTo>
                    <a:lnTo>
                      <a:pt x="222" y="300"/>
                    </a:lnTo>
                    <a:lnTo>
                      <a:pt x="220" y="298"/>
                    </a:lnTo>
                    <a:lnTo>
                      <a:pt x="220" y="298"/>
                    </a:lnTo>
                    <a:lnTo>
                      <a:pt x="220" y="294"/>
                    </a:lnTo>
                    <a:lnTo>
                      <a:pt x="218" y="292"/>
                    </a:lnTo>
                    <a:lnTo>
                      <a:pt x="216" y="288"/>
                    </a:lnTo>
                    <a:lnTo>
                      <a:pt x="212" y="284"/>
                    </a:lnTo>
                    <a:lnTo>
                      <a:pt x="210" y="284"/>
                    </a:lnTo>
                    <a:lnTo>
                      <a:pt x="210" y="282"/>
                    </a:lnTo>
                    <a:lnTo>
                      <a:pt x="210" y="282"/>
                    </a:lnTo>
                    <a:lnTo>
                      <a:pt x="208" y="276"/>
                    </a:lnTo>
                    <a:lnTo>
                      <a:pt x="208" y="274"/>
                    </a:lnTo>
                    <a:lnTo>
                      <a:pt x="206" y="272"/>
                    </a:lnTo>
                    <a:lnTo>
                      <a:pt x="206" y="272"/>
                    </a:lnTo>
                    <a:lnTo>
                      <a:pt x="204" y="270"/>
                    </a:lnTo>
                    <a:lnTo>
                      <a:pt x="200" y="268"/>
                    </a:lnTo>
                    <a:lnTo>
                      <a:pt x="198" y="266"/>
                    </a:lnTo>
                    <a:lnTo>
                      <a:pt x="196" y="264"/>
                    </a:lnTo>
                    <a:lnTo>
                      <a:pt x="196" y="264"/>
                    </a:lnTo>
                    <a:lnTo>
                      <a:pt x="194" y="262"/>
                    </a:lnTo>
                    <a:lnTo>
                      <a:pt x="192" y="260"/>
                    </a:lnTo>
                    <a:lnTo>
                      <a:pt x="190" y="258"/>
                    </a:lnTo>
                    <a:lnTo>
                      <a:pt x="186" y="258"/>
                    </a:lnTo>
                    <a:lnTo>
                      <a:pt x="186" y="258"/>
                    </a:lnTo>
                    <a:lnTo>
                      <a:pt x="184" y="256"/>
                    </a:lnTo>
                    <a:lnTo>
                      <a:pt x="182" y="256"/>
                    </a:lnTo>
                    <a:lnTo>
                      <a:pt x="180" y="256"/>
                    </a:lnTo>
                    <a:lnTo>
                      <a:pt x="180" y="254"/>
                    </a:lnTo>
                    <a:lnTo>
                      <a:pt x="180" y="254"/>
                    </a:lnTo>
                    <a:lnTo>
                      <a:pt x="180" y="252"/>
                    </a:lnTo>
                    <a:lnTo>
                      <a:pt x="180" y="252"/>
                    </a:lnTo>
                    <a:lnTo>
                      <a:pt x="180" y="250"/>
                    </a:lnTo>
                    <a:lnTo>
                      <a:pt x="180" y="248"/>
                    </a:lnTo>
                    <a:lnTo>
                      <a:pt x="182" y="248"/>
                    </a:lnTo>
                    <a:lnTo>
                      <a:pt x="182" y="248"/>
                    </a:lnTo>
                    <a:lnTo>
                      <a:pt x="184" y="246"/>
                    </a:lnTo>
                    <a:lnTo>
                      <a:pt x="188" y="246"/>
                    </a:lnTo>
                    <a:lnTo>
                      <a:pt x="192" y="244"/>
                    </a:lnTo>
                    <a:lnTo>
                      <a:pt x="194" y="242"/>
                    </a:lnTo>
                    <a:lnTo>
                      <a:pt x="196" y="242"/>
                    </a:lnTo>
                    <a:lnTo>
                      <a:pt x="196" y="242"/>
                    </a:lnTo>
                    <a:lnTo>
                      <a:pt x="198" y="240"/>
                    </a:lnTo>
                    <a:lnTo>
                      <a:pt x="198" y="236"/>
                    </a:lnTo>
                    <a:lnTo>
                      <a:pt x="198" y="234"/>
                    </a:lnTo>
                    <a:lnTo>
                      <a:pt x="198" y="232"/>
                    </a:lnTo>
                    <a:lnTo>
                      <a:pt x="198" y="224"/>
                    </a:lnTo>
                    <a:lnTo>
                      <a:pt x="198" y="220"/>
                    </a:lnTo>
                    <a:lnTo>
                      <a:pt x="198" y="220"/>
                    </a:lnTo>
                    <a:lnTo>
                      <a:pt x="198" y="214"/>
                    </a:lnTo>
                    <a:lnTo>
                      <a:pt x="198" y="212"/>
                    </a:lnTo>
                    <a:lnTo>
                      <a:pt x="198" y="210"/>
                    </a:lnTo>
                    <a:lnTo>
                      <a:pt x="198" y="208"/>
                    </a:lnTo>
                    <a:lnTo>
                      <a:pt x="198" y="208"/>
                    </a:lnTo>
                    <a:lnTo>
                      <a:pt x="200" y="208"/>
                    </a:lnTo>
                    <a:lnTo>
                      <a:pt x="200" y="208"/>
                    </a:lnTo>
                    <a:lnTo>
                      <a:pt x="204" y="206"/>
                    </a:lnTo>
                    <a:lnTo>
                      <a:pt x="206" y="206"/>
                    </a:lnTo>
                    <a:lnTo>
                      <a:pt x="206" y="206"/>
                    </a:lnTo>
                    <a:lnTo>
                      <a:pt x="208" y="204"/>
                    </a:lnTo>
                    <a:lnTo>
                      <a:pt x="208" y="204"/>
                    </a:lnTo>
                    <a:lnTo>
                      <a:pt x="208" y="204"/>
                    </a:lnTo>
                    <a:lnTo>
                      <a:pt x="208" y="202"/>
                    </a:lnTo>
                    <a:lnTo>
                      <a:pt x="210" y="200"/>
                    </a:lnTo>
                    <a:lnTo>
                      <a:pt x="210" y="194"/>
                    </a:lnTo>
                    <a:lnTo>
                      <a:pt x="210" y="194"/>
                    </a:lnTo>
                    <a:lnTo>
                      <a:pt x="210" y="190"/>
                    </a:lnTo>
                    <a:lnTo>
                      <a:pt x="210" y="188"/>
                    </a:lnTo>
                    <a:lnTo>
                      <a:pt x="212" y="186"/>
                    </a:lnTo>
                    <a:lnTo>
                      <a:pt x="214" y="184"/>
                    </a:lnTo>
                    <a:lnTo>
                      <a:pt x="214" y="184"/>
                    </a:lnTo>
                    <a:lnTo>
                      <a:pt x="218" y="178"/>
                    </a:lnTo>
                    <a:lnTo>
                      <a:pt x="222" y="174"/>
                    </a:lnTo>
                    <a:lnTo>
                      <a:pt x="224" y="168"/>
                    </a:lnTo>
                    <a:lnTo>
                      <a:pt x="226" y="164"/>
                    </a:lnTo>
                    <a:lnTo>
                      <a:pt x="228" y="164"/>
                    </a:lnTo>
                    <a:lnTo>
                      <a:pt x="228" y="164"/>
                    </a:lnTo>
                    <a:lnTo>
                      <a:pt x="228" y="160"/>
                    </a:lnTo>
                    <a:lnTo>
                      <a:pt x="230" y="158"/>
                    </a:lnTo>
                    <a:lnTo>
                      <a:pt x="230" y="152"/>
                    </a:lnTo>
                    <a:lnTo>
                      <a:pt x="230" y="146"/>
                    </a:lnTo>
                    <a:lnTo>
                      <a:pt x="228" y="142"/>
                    </a:lnTo>
                    <a:lnTo>
                      <a:pt x="228" y="142"/>
                    </a:lnTo>
                    <a:lnTo>
                      <a:pt x="228" y="140"/>
                    </a:lnTo>
                    <a:lnTo>
                      <a:pt x="228" y="138"/>
                    </a:lnTo>
                    <a:lnTo>
                      <a:pt x="228" y="134"/>
                    </a:lnTo>
                    <a:lnTo>
                      <a:pt x="230" y="132"/>
                    </a:lnTo>
                    <a:lnTo>
                      <a:pt x="232" y="128"/>
                    </a:lnTo>
                    <a:lnTo>
                      <a:pt x="234" y="124"/>
                    </a:lnTo>
                    <a:lnTo>
                      <a:pt x="234" y="124"/>
                    </a:lnTo>
                    <a:lnTo>
                      <a:pt x="234" y="120"/>
                    </a:lnTo>
                    <a:lnTo>
                      <a:pt x="234" y="118"/>
                    </a:lnTo>
                    <a:lnTo>
                      <a:pt x="234" y="112"/>
                    </a:lnTo>
                    <a:lnTo>
                      <a:pt x="236" y="110"/>
                    </a:lnTo>
                    <a:lnTo>
                      <a:pt x="236" y="106"/>
                    </a:lnTo>
                    <a:lnTo>
                      <a:pt x="238" y="104"/>
                    </a:lnTo>
                    <a:lnTo>
                      <a:pt x="242" y="102"/>
                    </a:lnTo>
                    <a:lnTo>
                      <a:pt x="242" y="102"/>
                    </a:lnTo>
                    <a:lnTo>
                      <a:pt x="244" y="100"/>
                    </a:lnTo>
                    <a:lnTo>
                      <a:pt x="246" y="98"/>
                    </a:lnTo>
                    <a:lnTo>
                      <a:pt x="248" y="94"/>
                    </a:lnTo>
                    <a:lnTo>
                      <a:pt x="252" y="90"/>
                    </a:lnTo>
                    <a:lnTo>
                      <a:pt x="254" y="86"/>
                    </a:lnTo>
                    <a:lnTo>
                      <a:pt x="254" y="86"/>
                    </a:lnTo>
                    <a:lnTo>
                      <a:pt x="252" y="82"/>
                    </a:lnTo>
                    <a:lnTo>
                      <a:pt x="252" y="82"/>
                    </a:lnTo>
                    <a:lnTo>
                      <a:pt x="250" y="80"/>
                    </a:lnTo>
                    <a:lnTo>
                      <a:pt x="246" y="80"/>
                    </a:lnTo>
                    <a:lnTo>
                      <a:pt x="246" y="78"/>
                    </a:lnTo>
                    <a:lnTo>
                      <a:pt x="242" y="78"/>
                    </a:lnTo>
                    <a:lnTo>
                      <a:pt x="242" y="78"/>
                    </a:lnTo>
                    <a:lnTo>
                      <a:pt x="240" y="76"/>
                    </a:lnTo>
                    <a:lnTo>
                      <a:pt x="240" y="74"/>
                    </a:lnTo>
                    <a:lnTo>
                      <a:pt x="238" y="72"/>
                    </a:lnTo>
                    <a:lnTo>
                      <a:pt x="238" y="70"/>
                    </a:lnTo>
                    <a:lnTo>
                      <a:pt x="238" y="70"/>
                    </a:lnTo>
                    <a:lnTo>
                      <a:pt x="238" y="68"/>
                    </a:lnTo>
                    <a:lnTo>
                      <a:pt x="238" y="66"/>
                    </a:lnTo>
                    <a:lnTo>
                      <a:pt x="238" y="66"/>
                    </a:lnTo>
                    <a:lnTo>
                      <a:pt x="238" y="64"/>
                    </a:lnTo>
                    <a:lnTo>
                      <a:pt x="238" y="62"/>
                    </a:lnTo>
                    <a:lnTo>
                      <a:pt x="236" y="60"/>
                    </a:lnTo>
                    <a:lnTo>
                      <a:pt x="236" y="60"/>
                    </a:lnTo>
                    <a:lnTo>
                      <a:pt x="234" y="52"/>
                    </a:lnTo>
                    <a:lnTo>
                      <a:pt x="232" y="48"/>
                    </a:lnTo>
                    <a:lnTo>
                      <a:pt x="232" y="46"/>
                    </a:lnTo>
                    <a:lnTo>
                      <a:pt x="232" y="46"/>
                    </a:lnTo>
                    <a:lnTo>
                      <a:pt x="230" y="44"/>
                    </a:lnTo>
                    <a:lnTo>
                      <a:pt x="230" y="42"/>
                    </a:lnTo>
                    <a:lnTo>
                      <a:pt x="230" y="42"/>
                    </a:lnTo>
                    <a:lnTo>
                      <a:pt x="230" y="42"/>
                    </a:lnTo>
                    <a:lnTo>
                      <a:pt x="232" y="40"/>
                    </a:lnTo>
                    <a:lnTo>
                      <a:pt x="232" y="38"/>
                    </a:lnTo>
                    <a:lnTo>
                      <a:pt x="232" y="36"/>
                    </a:lnTo>
                    <a:lnTo>
                      <a:pt x="232" y="36"/>
                    </a:lnTo>
                    <a:lnTo>
                      <a:pt x="232" y="34"/>
                    </a:lnTo>
                    <a:lnTo>
                      <a:pt x="230" y="34"/>
                    </a:lnTo>
                    <a:lnTo>
                      <a:pt x="230" y="32"/>
                    </a:lnTo>
                    <a:lnTo>
                      <a:pt x="230" y="30"/>
                    </a:lnTo>
                    <a:lnTo>
                      <a:pt x="230" y="30"/>
                    </a:lnTo>
                    <a:lnTo>
                      <a:pt x="228" y="28"/>
                    </a:lnTo>
                    <a:lnTo>
                      <a:pt x="228" y="24"/>
                    </a:lnTo>
                    <a:lnTo>
                      <a:pt x="228" y="22"/>
                    </a:lnTo>
                    <a:lnTo>
                      <a:pt x="228" y="22"/>
                    </a:lnTo>
                    <a:lnTo>
                      <a:pt x="226" y="20"/>
                    </a:lnTo>
                    <a:lnTo>
                      <a:pt x="226" y="20"/>
                    </a:lnTo>
                    <a:lnTo>
                      <a:pt x="222" y="18"/>
                    </a:lnTo>
                    <a:lnTo>
                      <a:pt x="220" y="16"/>
                    </a:lnTo>
                    <a:lnTo>
                      <a:pt x="218" y="12"/>
                    </a:lnTo>
                    <a:lnTo>
                      <a:pt x="218" y="12"/>
                    </a:lnTo>
                    <a:lnTo>
                      <a:pt x="214" y="6"/>
                    </a:lnTo>
                    <a:lnTo>
                      <a:pt x="208" y="0"/>
                    </a:lnTo>
                    <a:lnTo>
                      <a:pt x="208" y="0"/>
                    </a:lnTo>
                    <a:lnTo>
                      <a:pt x="206" y="0"/>
                    </a:lnTo>
                    <a:lnTo>
                      <a:pt x="204" y="0"/>
                    </a:lnTo>
                    <a:lnTo>
                      <a:pt x="200" y="0"/>
                    </a:lnTo>
                    <a:lnTo>
                      <a:pt x="198" y="2"/>
                    </a:lnTo>
                    <a:lnTo>
                      <a:pt x="194" y="6"/>
                    </a:lnTo>
                    <a:lnTo>
                      <a:pt x="192" y="8"/>
                    </a:lnTo>
                    <a:lnTo>
                      <a:pt x="192" y="8"/>
                    </a:lnTo>
                    <a:lnTo>
                      <a:pt x="190" y="10"/>
                    </a:lnTo>
                    <a:lnTo>
                      <a:pt x="188" y="12"/>
                    </a:lnTo>
                    <a:lnTo>
                      <a:pt x="186" y="18"/>
                    </a:lnTo>
                    <a:lnTo>
                      <a:pt x="184" y="20"/>
                    </a:lnTo>
                    <a:lnTo>
                      <a:pt x="184" y="22"/>
                    </a:lnTo>
                    <a:lnTo>
                      <a:pt x="182" y="22"/>
                    </a:lnTo>
                    <a:lnTo>
                      <a:pt x="180" y="24"/>
                    </a:lnTo>
                    <a:lnTo>
                      <a:pt x="180" y="24"/>
                    </a:lnTo>
                    <a:lnTo>
                      <a:pt x="178" y="26"/>
                    </a:lnTo>
                    <a:lnTo>
                      <a:pt x="176" y="26"/>
                    </a:lnTo>
                    <a:lnTo>
                      <a:pt x="176" y="26"/>
                    </a:lnTo>
                    <a:lnTo>
                      <a:pt x="174" y="26"/>
                    </a:lnTo>
                    <a:lnTo>
                      <a:pt x="174" y="24"/>
                    </a:lnTo>
                    <a:lnTo>
                      <a:pt x="172" y="24"/>
                    </a:lnTo>
                    <a:lnTo>
                      <a:pt x="170" y="20"/>
                    </a:lnTo>
                    <a:lnTo>
                      <a:pt x="168" y="18"/>
                    </a:lnTo>
                    <a:lnTo>
                      <a:pt x="166" y="18"/>
                    </a:lnTo>
                    <a:lnTo>
                      <a:pt x="164" y="18"/>
                    </a:lnTo>
                    <a:lnTo>
                      <a:pt x="164" y="18"/>
                    </a:lnTo>
                    <a:lnTo>
                      <a:pt x="162" y="18"/>
                    </a:lnTo>
                    <a:lnTo>
                      <a:pt x="158" y="18"/>
                    </a:lnTo>
                    <a:lnTo>
                      <a:pt x="156" y="18"/>
                    </a:lnTo>
                    <a:lnTo>
                      <a:pt x="152" y="20"/>
                    </a:lnTo>
                    <a:lnTo>
                      <a:pt x="152" y="20"/>
                    </a:lnTo>
                    <a:lnTo>
                      <a:pt x="142" y="20"/>
                    </a:lnTo>
                    <a:lnTo>
                      <a:pt x="142" y="20"/>
                    </a:lnTo>
                    <a:lnTo>
                      <a:pt x="118" y="20"/>
                    </a:lnTo>
                    <a:lnTo>
                      <a:pt x="96" y="22"/>
                    </a:lnTo>
                    <a:lnTo>
                      <a:pt x="72" y="22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2" y="36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6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0" y="60"/>
                    </a:lnTo>
                    <a:lnTo>
                      <a:pt x="40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4" y="60"/>
                    </a:lnTo>
                    <a:lnTo>
                      <a:pt x="32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6" y="82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18"/>
                    </a:lnTo>
                    <a:lnTo>
                      <a:pt x="26" y="118"/>
                    </a:lnTo>
                    <a:lnTo>
                      <a:pt x="26" y="120"/>
                    </a:lnTo>
                    <a:lnTo>
                      <a:pt x="26" y="124"/>
                    </a:lnTo>
                    <a:lnTo>
                      <a:pt x="26" y="124"/>
                    </a:lnTo>
                    <a:lnTo>
                      <a:pt x="28" y="126"/>
                    </a:lnTo>
                    <a:lnTo>
                      <a:pt x="28" y="128"/>
                    </a:lnTo>
                    <a:lnTo>
                      <a:pt x="28" y="128"/>
                    </a:lnTo>
                    <a:lnTo>
                      <a:pt x="28" y="130"/>
                    </a:lnTo>
                    <a:lnTo>
                      <a:pt x="26" y="130"/>
                    </a:lnTo>
                    <a:lnTo>
                      <a:pt x="26" y="130"/>
                    </a:lnTo>
                    <a:lnTo>
                      <a:pt x="24" y="130"/>
                    </a:lnTo>
                    <a:lnTo>
                      <a:pt x="22" y="132"/>
                    </a:lnTo>
                    <a:lnTo>
                      <a:pt x="20" y="132"/>
                    </a:lnTo>
                    <a:lnTo>
                      <a:pt x="20" y="132"/>
                    </a:lnTo>
                    <a:lnTo>
                      <a:pt x="20" y="132"/>
                    </a:lnTo>
                    <a:lnTo>
                      <a:pt x="16" y="132"/>
                    </a:lnTo>
                    <a:lnTo>
                      <a:pt x="16" y="134"/>
                    </a:lnTo>
                    <a:lnTo>
                      <a:pt x="14" y="136"/>
                    </a:lnTo>
                    <a:lnTo>
                      <a:pt x="14" y="138"/>
                    </a:lnTo>
                    <a:lnTo>
                      <a:pt x="14" y="140"/>
                    </a:lnTo>
                    <a:lnTo>
                      <a:pt x="14" y="140"/>
                    </a:lnTo>
                    <a:lnTo>
                      <a:pt x="10" y="144"/>
                    </a:lnTo>
                    <a:lnTo>
                      <a:pt x="8" y="146"/>
                    </a:lnTo>
                    <a:lnTo>
                      <a:pt x="6" y="148"/>
                    </a:lnTo>
                    <a:lnTo>
                      <a:pt x="6" y="150"/>
                    </a:lnTo>
                    <a:lnTo>
                      <a:pt x="6" y="152"/>
                    </a:lnTo>
                    <a:lnTo>
                      <a:pt x="6" y="156"/>
                    </a:lnTo>
                    <a:lnTo>
                      <a:pt x="6" y="156"/>
                    </a:lnTo>
                    <a:lnTo>
                      <a:pt x="6" y="158"/>
                    </a:lnTo>
                    <a:lnTo>
                      <a:pt x="4" y="160"/>
                    </a:lnTo>
                    <a:lnTo>
                      <a:pt x="2" y="164"/>
                    </a:lnTo>
                    <a:lnTo>
                      <a:pt x="2" y="166"/>
                    </a:lnTo>
                    <a:lnTo>
                      <a:pt x="0" y="168"/>
                    </a:lnTo>
                    <a:lnTo>
                      <a:pt x="0" y="170"/>
                    </a:lnTo>
                    <a:lnTo>
                      <a:pt x="2" y="172"/>
                    </a:lnTo>
                    <a:lnTo>
                      <a:pt x="2" y="172"/>
                    </a:lnTo>
                    <a:lnTo>
                      <a:pt x="2" y="174"/>
                    </a:lnTo>
                    <a:lnTo>
                      <a:pt x="2" y="174"/>
                    </a:lnTo>
                    <a:lnTo>
                      <a:pt x="6" y="174"/>
                    </a:lnTo>
                    <a:lnTo>
                      <a:pt x="6" y="176"/>
                    </a:lnTo>
                    <a:lnTo>
                      <a:pt x="6" y="176"/>
                    </a:lnTo>
                    <a:lnTo>
                      <a:pt x="8" y="178"/>
                    </a:lnTo>
                    <a:lnTo>
                      <a:pt x="8" y="178"/>
                    </a:lnTo>
                    <a:lnTo>
                      <a:pt x="8" y="178"/>
                    </a:lnTo>
                    <a:lnTo>
                      <a:pt x="8" y="180"/>
                    </a:lnTo>
                    <a:lnTo>
                      <a:pt x="8" y="184"/>
                    </a:lnTo>
                    <a:lnTo>
                      <a:pt x="8" y="186"/>
                    </a:lnTo>
                    <a:lnTo>
                      <a:pt x="8" y="188"/>
                    </a:lnTo>
                    <a:lnTo>
                      <a:pt x="8" y="188"/>
                    </a:lnTo>
                    <a:lnTo>
                      <a:pt x="8" y="188"/>
                    </a:lnTo>
                    <a:lnTo>
                      <a:pt x="10" y="190"/>
                    </a:lnTo>
                    <a:lnTo>
                      <a:pt x="12" y="192"/>
                    </a:lnTo>
                    <a:lnTo>
                      <a:pt x="12" y="194"/>
                    </a:lnTo>
                    <a:lnTo>
                      <a:pt x="14" y="194"/>
                    </a:lnTo>
                    <a:lnTo>
                      <a:pt x="14" y="196"/>
                    </a:lnTo>
                    <a:lnTo>
                      <a:pt x="14" y="196"/>
                    </a:lnTo>
                    <a:lnTo>
                      <a:pt x="14" y="200"/>
                    </a:lnTo>
                    <a:lnTo>
                      <a:pt x="14" y="202"/>
                    </a:lnTo>
                    <a:lnTo>
                      <a:pt x="12" y="204"/>
                    </a:lnTo>
                    <a:lnTo>
                      <a:pt x="12" y="204"/>
                    </a:lnTo>
                    <a:lnTo>
                      <a:pt x="12" y="204"/>
                    </a:lnTo>
                    <a:lnTo>
                      <a:pt x="12" y="204"/>
                    </a:lnTo>
                    <a:lnTo>
                      <a:pt x="14" y="208"/>
                    </a:lnTo>
                    <a:lnTo>
                      <a:pt x="16" y="210"/>
                    </a:lnTo>
                    <a:lnTo>
                      <a:pt x="24" y="214"/>
                    </a:lnTo>
                    <a:lnTo>
                      <a:pt x="24" y="214"/>
                    </a:lnTo>
                    <a:lnTo>
                      <a:pt x="24" y="214"/>
                    </a:lnTo>
                    <a:lnTo>
                      <a:pt x="24" y="214"/>
                    </a:lnTo>
                    <a:lnTo>
                      <a:pt x="24" y="21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17" name="Freeform 624"/>
              <p:cNvSpPr>
                <a:spLocks/>
              </p:cNvSpPr>
              <p:nvPr/>
            </p:nvSpPr>
            <p:spPr bwMode="auto">
              <a:xfrm>
                <a:off x="3295" y="2530"/>
                <a:ext cx="102" cy="92"/>
              </a:xfrm>
              <a:custGeom>
                <a:avLst/>
                <a:gdLst>
                  <a:gd name="T0" fmla="*/ 10 w 102"/>
                  <a:gd name="T1" fmla="*/ 60 h 92"/>
                  <a:gd name="T2" fmla="*/ 14 w 102"/>
                  <a:gd name="T3" fmla="*/ 60 h 92"/>
                  <a:gd name="T4" fmla="*/ 18 w 102"/>
                  <a:gd name="T5" fmla="*/ 58 h 92"/>
                  <a:gd name="T6" fmla="*/ 22 w 102"/>
                  <a:gd name="T7" fmla="*/ 58 h 92"/>
                  <a:gd name="T8" fmla="*/ 28 w 102"/>
                  <a:gd name="T9" fmla="*/ 56 h 92"/>
                  <a:gd name="T10" fmla="*/ 32 w 102"/>
                  <a:gd name="T11" fmla="*/ 56 h 92"/>
                  <a:gd name="T12" fmla="*/ 38 w 102"/>
                  <a:gd name="T13" fmla="*/ 60 h 92"/>
                  <a:gd name="T14" fmla="*/ 42 w 102"/>
                  <a:gd name="T15" fmla="*/ 60 h 92"/>
                  <a:gd name="T16" fmla="*/ 44 w 102"/>
                  <a:gd name="T17" fmla="*/ 60 h 92"/>
                  <a:gd name="T18" fmla="*/ 50 w 102"/>
                  <a:gd name="T19" fmla="*/ 66 h 92"/>
                  <a:gd name="T20" fmla="*/ 56 w 102"/>
                  <a:gd name="T21" fmla="*/ 70 h 92"/>
                  <a:gd name="T22" fmla="*/ 58 w 102"/>
                  <a:gd name="T23" fmla="*/ 72 h 92"/>
                  <a:gd name="T24" fmla="*/ 64 w 102"/>
                  <a:gd name="T25" fmla="*/ 72 h 92"/>
                  <a:gd name="T26" fmla="*/ 68 w 102"/>
                  <a:gd name="T27" fmla="*/ 74 h 92"/>
                  <a:gd name="T28" fmla="*/ 72 w 102"/>
                  <a:gd name="T29" fmla="*/ 76 h 92"/>
                  <a:gd name="T30" fmla="*/ 74 w 102"/>
                  <a:gd name="T31" fmla="*/ 76 h 92"/>
                  <a:gd name="T32" fmla="*/ 78 w 102"/>
                  <a:gd name="T33" fmla="*/ 80 h 92"/>
                  <a:gd name="T34" fmla="*/ 80 w 102"/>
                  <a:gd name="T35" fmla="*/ 82 h 92"/>
                  <a:gd name="T36" fmla="*/ 84 w 102"/>
                  <a:gd name="T37" fmla="*/ 84 h 92"/>
                  <a:gd name="T38" fmla="*/ 90 w 102"/>
                  <a:gd name="T39" fmla="*/ 88 h 92"/>
                  <a:gd name="T40" fmla="*/ 92 w 102"/>
                  <a:gd name="T41" fmla="*/ 90 h 92"/>
                  <a:gd name="T42" fmla="*/ 96 w 102"/>
                  <a:gd name="T43" fmla="*/ 92 h 92"/>
                  <a:gd name="T44" fmla="*/ 100 w 102"/>
                  <a:gd name="T45" fmla="*/ 90 h 92"/>
                  <a:gd name="T46" fmla="*/ 102 w 102"/>
                  <a:gd name="T47" fmla="*/ 86 h 92"/>
                  <a:gd name="T48" fmla="*/ 102 w 102"/>
                  <a:gd name="T49" fmla="*/ 80 h 92"/>
                  <a:gd name="T50" fmla="*/ 102 w 102"/>
                  <a:gd name="T51" fmla="*/ 80 h 92"/>
                  <a:gd name="T52" fmla="*/ 96 w 102"/>
                  <a:gd name="T53" fmla="*/ 78 h 92"/>
                  <a:gd name="T54" fmla="*/ 92 w 102"/>
                  <a:gd name="T55" fmla="*/ 78 h 92"/>
                  <a:gd name="T56" fmla="*/ 88 w 102"/>
                  <a:gd name="T57" fmla="*/ 76 h 92"/>
                  <a:gd name="T58" fmla="*/ 84 w 102"/>
                  <a:gd name="T59" fmla="*/ 74 h 92"/>
                  <a:gd name="T60" fmla="*/ 80 w 102"/>
                  <a:gd name="T61" fmla="*/ 64 h 92"/>
                  <a:gd name="T62" fmla="*/ 78 w 102"/>
                  <a:gd name="T63" fmla="*/ 60 h 92"/>
                  <a:gd name="T64" fmla="*/ 74 w 102"/>
                  <a:gd name="T65" fmla="*/ 56 h 92"/>
                  <a:gd name="T66" fmla="*/ 70 w 102"/>
                  <a:gd name="T67" fmla="*/ 56 h 92"/>
                  <a:gd name="T68" fmla="*/ 68 w 102"/>
                  <a:gd name="T69" fmla="*/ 56 h 92"/>
                  <a:gd name="T70" fmla="*/ 66 w 102"/>
                  <a:gd name="T71" fmla="*/ 52 h 92"/>
                  <a:gd name="T72" fmla="*/ 64 w 102"/>
                  <a:gd name="T73" fmla="*/ 50 h 92"/>
                  <a:gd name="T74" fmla="*/ 60 w 102"/>
                  <a:gd name="T75" fmla="*/ 48 h 92"/>
                  <a:gd name="T76" fmla="*/ 54 w 102"/>
                  <a:gd name="T77" fmla="*/ 44 h 92"/>
                  <a:gd name="T78" fmla="*/ 52 w 102"/>
                  <a:gd name="T79" fmla="*/ 46 h 92"/>
                  <a:gd name="T80" fmla="*/ 52 w 102"/>
                  <a:gd name="T81" fmla="*/ 46 h 92"/>
                  <a:gd name="T82" fmla="*/ 48 w 102"/>
                  <a:gd name="T83" fmla="*/ 44 h 92"/>
                  <a:gd name="T84" fmla="*/ 44 w 102"/>
                  <a:gd name="T85" fmla="*/ 38 h 92"/>
                  <a:gd name="T86" fmla="*/ 44 w 102"/>
                  <a:gd name="T87" fmla="*/ 34 h 92"/>
                  <a:gd name="T88" fmla="*/ 42 w 102"/>
                  <a:gd name="T89" fmla="*/ 28 h 92"/>
                  <a:gd name="T90" fmla="*/ 40 w 102"/>
                  <a:gd name="T91" fmla="*/ 22 h 92"/>
                  <a:gd name="T92" fmla="*/ 38 w 102"/>
                  <a:gd name="T93" fmla="*/ 16 h 92"/>
                  <a:gd name="T94" fmla="*/ 32 w 102"/>
                  <a:gd name="T95" fmla="*/ 4 h 92"/>
                  <a:gd name="T96" fmla="*/ 24 w 102"/>
                  <a:gd name="T97" fmla="*/ 4 h 92"/>
                  <a:gd name="T98" fmla="*/ 16 w 102"/>
                  <a:gd name="T99" fmla="*/ 14 h 92"/>
                  <a:gd name="T100" fmla="*/ 10 w 102"/>
                  <a:gd name="T101" fmla="*/ 18 h 92"/>
                  <a:gd name="T102" fmla="*/ 6 w 102"/>
                  <a:gd name="T103" fmla="*/ 26 h 92"/>
                  <a:gd name="T104" fmla="*/ 6 w 102"/>
                  <a:gd name="T105" fmla="*/ 38 h 92"/>
                  <a:gd name="T106" fmla="*/ 2 w 102"/>
                  <a:gd name="T107" fmla="*/ 46 h 92"/>
                  <a:gd name="T108" fmla="*/ 0 w 102"/>
                  <a:gd name="T109" fmla="*/ 54 h 92"/>
                  <a:gd name="T110" fmla="*/ 2 w 102"/>
                  <a:gd name="T111" fmla="*/ 58 h 92"/>
                  <a:gd name="T112" fmla="*/ 4 w 102"/>
                  <a:gd name="T113" fmla="*/ 58 h 92"/>
                  <a:gd name="T114" fmla="*/ 6 w 102"/>
                  <a:gd name="T115" fmla="*/ 60 h 92"/>
                  <a:gd name="T116" fmla="*/ 6 w 102"/>
                  <a:gd name="T117" fmla="*/ 6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02" h="92">
                    <a:moveTo>
                      <a:pt x="6" y="60"/>
                    </a:moveTo>
                    <a:lnTo>
                      <a:pt x="6" y="60"/>
                    </a:lnTo>
                    <a:lnTo>
                      <a:pt x="10" y="60"/>
                    </a:lnTo>
                    <a:lnTo>
                      <a:pt x="12" y="60"/>
                    </a:lnTo>
                    <a:lnTo>
                      <a:pt x="14" y="60"/>
                    </a:lnTo>
                    <a:lnTo>
                      <a:pt x="14" y="60"/>
                    </a:lnTo>
                    <a:lnTo>
                      <a:pt x="16" y="60"/>
                    </a:lnTo>
                    <a:lnTo>
                      <a:pt x="16" y="60"/>
                    </a:lnTo>
                    <a:lnTo>
                      <a:pt x="18" y="58"/>
                    </a:lnTo>
                    <a:lnTo>
                      <a:pt x="18" y="58"/>
                    </a:lnTo>
                    <a:lnTo>
                      <a:pt x="20" y="58"/>
                    </a:lnTo>
                    <a:lnTo>
                      <a:pt x="22" y="58"/>
                    </a:lnTo>
                    <a:lnTo>
                      <a:pt x="22" y="58"/>
                    </a:lnTo>
                    <a:lnTo>
                      <a:pt x="26" y="56"/>
                    </a:lnTo>
                    <a:lnTo>
                      <a:pt x="28" y="5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4" y="58"/>
                    </a:lnTo>
                    <a:lnTo>
                      <a:pt x="36" y="58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40" y="60"/>
                    </a:lnTo>
                    <a:lnTo>
                      <a:pt x="42" y="60"/>
                    </a:lnTo>
                    <a:lnTo>
                      <a:pt x="44" y="60"/>
                    </a:lnTo>
                    <a:lnTo>
                      <a:pt x="44" y="60"/>
                    </a:lnTo>
                    <a:lnTo>
                      <a:pt x="44" y="60"/>
                    </a:lnTo>
                    <a:lnTo>
                      <a:pt x="46" y="62"/>
                    </a:lnTo>
                    <a:lnTo>
                      <a:pt x="48" y="62"/>
                    </a:lnTo>
                    <a:lnTo>
                      <a:pt x="50" y="66"/>
                    </a:lnTo>
                    <a:lnTo>
                      <a:pt x="52" y="68"/>
                    </a:lnTo>
                    <a:lnTo>
                      <a:pt x="54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6" y="72"/>
                    </a:lnTo>
                    <a:lnTo>
                      <a:pt x="58" y="72"/>
                    </a:lnTo>
                    <a:lnTo>
                      <a:pt x="62" y="72"/>
                    </a:lnTo>
                    <a:lnTo>
                      <a:pt x="62" y="72"/>
                    </a:lnTo>
                    <a:lnTo>
                      <a:pt x="64" y="72"/>
                    </a:lnTo>
                    <a:lnTo>
                      <a:pt x="66" y="72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70" y="76"/>
                    </a:lnTo>
                    <a:lnTo>
                      <a:pt x="72" y="76"/>
                    </a:lnTo>
                    <a:lnTo>
                      <a:pt x="72" y="76"/>
                    </a:lnTo>
                    <a:lnTo>
                      <a:pt x="72" y="76"/>
                    </a:lnTo>
                    <a:lnTo>
                      <a:pt x="74" y="76"/>
                    </a:lnTo>
                    <a:lnTo>
                      <a:pt x="74" y="76"/>
                    </a:lnTo>
                    <a:lnTo>
                      <a:pt x="76" y="78"/>
                    </a:lnTo>
                    <a:lnTo>
                      <a:pt x="76" y="78"/>
                    </a:lnTo>
                    <a:lnTo>
                      <a:pt x="78" y="80"/>
                    </a:lnTo>
                    <a:lnTo>
                      <a:pt x="78" y="80"/>
                    </a:lnTo>
                    <a:lnTo>
                      <a:pt x="78" y="80"/>
                    </a:lnTo>
                    <a:lnTo>
                      <a:pt x="80" y="82"/>
                    </a:lnTo>
                    <a:lnTo>
                      <a:pt x="82" y="82"/>
                    </a:lnTo>
                    <a:lnTo>
                      <a:pt x="84" y="84"/>
                    </a:lnTo>
                    <a:lnTo>
                      <a:pt x="84" y="84"/>
                    </a:lnTo>
                    <a:lnTo>
                      <a:pt x="86" y="84"/>
                    </a:lnTo>
                    <a:lnTo>
                      <a:pt x="88" y="86"/>
                    </a:lnTo>
                    <a:lnTo>
                      <a:pt x="90" y="88"/>
                    </a:lnTo>
                    <a:lnTo>
                      <a:pt x="90" y="88"/>
                    </a:lnTo>
                    <a:lnTo>
                      <a:pt x="92" y="90"/>
                    </a:lnTo>
                    <a:lnTo>
                      <a:pt x="92" y="90"/>
                    </a:lnTo>
                    <a:lnTo>
                      <a:pt x="94" y="90"/>
                    </a:lnTo>
                    <a:lnTo>
                      <a:pt x="96" y="92"/>
                    </a:lnTo>
                    <a:lnTo>
                      <a:pt x="96" y="92"/>
                    </a:lnTo>
                    <a:lnTo>
                      <a:pt x="98" y="92"/>
                    </a:lnTo>
                    <a:lnTo>
                      <a:pt x="98" y="90"/>
                    </a:lnTo>
                    <a:lnTo>
                      <a:pt x="100" y="90"/>
                    </a:lnTo>
                    <a:lnTo>
                      <a:pt x="100" y="88"/>
                    </a:lnTo>
                    <a:lnTo>
                      <a:pt x="100" y="88"/>
                    </a:lnTo>
                    <a:lnTo>
                      <a:pt x="102" y="86"/>
                    </a:lnTo>
                    <a:lnTo>
                      <a:pt x="102" y="82"/>
                    </a:lnTo>
                    <a:lnTo>
                      <a:pt x="102" y="82"/>
                    </a:lnTo>
                    <a:lnTo>
                      <a:pt x="102" y="80"/>
                    </a:lnTo>
                    <a:lnTo>
                      <a:pt x="102" y="80"/>
                    </a:lnTo>
                    <a:lnTo>
                      <a:pt x="102" y="80"/>
                    </a:lnTo>
                    <a:lnTo>
                      <a:pt x="102" y="80"/>
                    </a:lnTo>
                    <a:lnTo>
                      <a:pt x="100" y="80"/>
                    </a:lnTo>
                    <a:lnTo>
                      <a:pt x="100" y="80"/>
                    </a:lnTo>
                    <a:lnTo>
                      <a:pt x="96" y="78"/>
                    </a:lnTo>
                    <a:lnTo>
                      <a:pt x="96" y="78"/>
                    </a:lnTo>
                    <a:lnTo>
                      <a:pt x="94" y="78"/>
                    </a:lnTo>
                    <a:lnTo>
                      <a:pt x="92" y="78"/>
                    </a:lnTo>
                    <a:lnTo>
                      <a:pt x="92" y="78"/>
                    </a:lnTo>
                    <a:lnTo>
                      <a:pt x="90" y="78"/>
                    </a:lnTo>
                    <a:lnTo>
                      <a:pt x="88" y="76"/>
                    </a:lnTo>
                    <a:lnTo>
                      <a:pt x="86" y="76"/>
                    </a:lnTo>
                    <a:lnTo>
                      <a:pt x="84" y="74"/>
                    </a:lnTo>
                    <a:lnTo>
                      <a:pt x="84" y="74"/>
                    </a:lnTo>
                    <a:lnTo>
                      <a:pt x="84" y="74"/>
                    </a:lnTo>
                    <a:lnTo>
                      <a:pt x="82" y="70"/>
                    </a:lnTo>
                    <a:lnTo>
                      <a:pt x="80" y="64"/>
                    </a:lnTo>
                    <a:lnTo>
                      <a:pt x="80" y="64"/>
                    </a:lnTo>
                    <a:lnTo>
                      <a:pt x="78" y="62"/>
                    </a:lnTo>
                    <a:lnTo>
                      <a:pt x="78" y="60"/>
                    </a:lnTo>
                    <a:lnTo>
                      <a:pt x="76" y="58"/>
                    </a:lnTo>
                    <a:lnTo>
                      <a:pt x="74" y="56"/>
                    </a:lnTo>
                    <a:lnTo>
                      <a:pt x="74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0" y="56"/>
                    </a:lnTo>
                    <a:lnTo>
                      <a:pt x="68" y="56"/>
                    </a:lnTo>
                    <a:lnTo>
                      <a:pt x="68" y="56"/>
                    </a:lnTo>
                    <a:lnTo>
                      <a:pt x="68" y="56"/>
                    </a:lnTo>
                    <a:lnTo>
                      <a:pt x="66" y="54"/>
                    </a:lnTo>
                    <a:lnTo>
                      <a:pt x="66" y="54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2" y="50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58" y="46"/>
                    </a:lnTo>
                    <a:lnTo>
                      <a:pt x="56" y="46"/>
                    </a:lnTo>
                    <a:lnTo>
                      <a:pt x="54" y="44"/>
                    </a:lnTo>
                    <a:lnTo>
                      <a:pt x="54" y="44"/>
                    </a:lnTo>
                    <a:lnTo>
                      <a:pt x="54" y="44"/>
                    </a:lnTo>
                    <a:lnTo>
                      <a:pt x="52" y="46"/>
                    </a:lnTo>
                    <a:lnTo>
                      <a:pt x="52" y="46"/>
                    </a:lnTo>
                    <a:lnTo>
                      <a:pt x="52" y="46"/>
                    </a:lnTo>
                    <a:lnTo>
                      <a:pt x="52" y="46"/>
                    </a:lnTo>
                    <a:lnTo>
                      <a:pt x="50" y="46"/>
                    </a:lnTo>
                    <a:lnTo>
                      <a:pt x="48" y="46"/>
                    </a:lnTo>
                    <a:lnTo>
                      <a:pt x="48" y="44"/>
                    </a:lnTo>
                    <a:lnTo>
                      <a:pt x="46" y="44"/>
                    </a:lnTo>
                    <a:lnTo>
                      <a:pt x="44" y="40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6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2" y="30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0" y="24"/>
                    </a:lnTo>
                    <a:lnTo>
                      <a:pt x="40" y="22"/>
                    </a:lnTo>
                    <a:lnTo>
                      <a:pt x="40" y="20"/>
                    </a:lnTo>
                    <a:lnTo>
                      <a:pt x="38" y="16"/>
                    </a:lnTo>
                    <a:lnTo>
                      <a:pt x="38" y="16"/>
                    </a:lnTo>
                    <a:lnTo>
                      <a:pt x="36" y="12"/>
                    </a:lnTo>
                    <a:lnTo>
                      <a:pt x="34" y="8"/>
                    </a:lnTo>
                    <a:lnTo>
                      <a:pt x="32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4" y="4"/>
                    </a:lnTo>
                    <a:lnTo>
                      <a:pt x="20" y="8"/>
                    </a:lnTo>
                    <a:lnTo>
                      <a:pt x="18" y="12"/>
                    </a:lnTo>
                    <a:lnTo>
                      <a:pt x="16" y="14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0" y="18"/>
                    </a:lnTo>
                    <a:lnTo>
                      <a:pt x="8" y="20"/>
                    </a:lnTo>
                    <a:lnTo>
                      <a:pt x="8" y="24"/>
                    </a:lnTo>
                    <a:lnTo>
                      <a:pt x="6" y="26"/>
                    </a:lnTo>
                    <a:lnTo>
                      <a:pt x="6" y="32"/>
                    </a:lnTo>
                    <a:lnTo>
                      <a:pt x="6" y="34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4" y="42"/>
                    </a:lnTo>
                    <a:lnTo>
                      <a:pt x="2" y="46"/>
                    </a:lnTo>
                    <a:lnTo>
                      <a:pt x="0" y="48"/>
                    </a:lnTo>
                    <a:lnTo>
                      <a:pt x="0" y="52"/>
                    </a:lnTo>
                    <a:lnTo>
                      <a:pt x="0" y="54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2" y="58"/>
                    </a:lnTo>
                    <a:lnTo>
                      <a:pt x="2" y="58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6" y="60"/>
                    </a:lnTo>
                    <a:lnTo>
                      <a:pt x="6" y="60"/>
                    </a:lnTo>
                    <a:lnTo>
                      <a:pt x="6" y="60"/>
                    </a:lnTo>
                    <a:lnTo>
                      <a:pt x="6" y="60"/>
                    </a:lnTo>
                    <a:lnTo>
                      <a:pt x="6" y="6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18" name="Freeform 626"/>
              <p:cNvSpPr>
                <a:spLocks/>
              </p:cNvSpPr>
              <p:nvPr/>
            </p:nvSpPr>
            <p:spPr bwMode="auto">
              <a:xfrm>
                <a:off x="3383" y="2610"/>
                <a:ext cx="26" cy="36"/>
              </a:xfrm>
              <a:custGeom>
                <a:avLst/>
                <a:gdLst>
                  <a:gd name="T0" fmla="*/ 4 w 26"/>
                  <a:gd name="T1" fmla="*/ 20 h 36"/>
                  <a:gd name="T2" fmla="*/ 0 w 26"/>
                  <a:gd name="T3" fmla="*/ 24 h 36"/>
                  <a:gd name="T4" fmla="*/ 0 w 26"/>
                  <a:gd name="T5" fmla="*/ 30 h 36"/>
                  <a:gd name="T6" fmla="*/ 0 w 26"/>
                  <a:gd name="T7" fmla="*/ 32 h 36"/>
                  <a:gd name="T8" fmla="*/ 0 w 26"/>
                  <a:gd name="T9" fmla="*/ 34 h 36"/>
                  <a:gd name="T10" fmla="*/ 2 w 26"/>
                  <a:gd name="T11" fmla="*/ 36 h 36"/>
                  <a:gd name="T12" fmla="*/ 8 w 26"/>
                  <a:gd name="T13" fmla="*/ 36 h 36"/>
                  <a:gd name="T14" fmla="*/ 10 w 26"/>
                  <a:gd name="T15" fmla="*/ 36 h 36"/>
                  <a:gd name="T16" fmla="*/ 18 w 26"/>
                  <a:gd name="T17" fmla="*/ 36 h 36"/>
                  <a:gd name="T18" fmla="*/ 22 w 26"/>
                  <a:gd name="T19" fmla="*/ 36 h 36"/>
                  <a:gd name="T20" fmla="*/ 24 w 26"/>
                  <a:gd name="T21" fmla="*/ 34 h 36"/>
                  <a:gd name="T22" fmla="*/ 24 w 26"/>
                  <a:gd name="T23" fmla="*/ 32 h 36"/>
                  <a:gd name="T24" fmla="*/ 18 w 26"/>
                  <a:gd name="T25" fmla="*/ 26 h 36"/>
                  <a:gd name="T26" fmla="*/ 18 w 26"/>
                  <a:gd name="T27" fmla="*/ 24 h 36"/>
                  <a:gd name="T28" fmla="*/ 18 w 26"/>
                  <a:gd name="T29" fmla="*/ 22 h 36"/>
                  <a:gd name="T30" fmla="*/ 22 w 26"/>
                  <a:gd name="T31" fmla="*/ 20 h 36"/>
                  <a:gd name="T32" fmla="*/ 24 w 26"/>
                  <a:gd name="T33" fmla="*/ 18 h 36"/>
                  <a:gd name="T34" fmla="*/ 24 w 26"/>
                  <a:gd name="T35" fmla="*/ 16 h 36"/>
                  <a:gd name="T36" fmla="*/ 26 w 26"/>
                  <a:gd name="T37" fmla="*/ 14 h 36"/>
                  <a:gd name="T38" fmla="*/ 24 w 26"/>
                  <a:gd name="T39" fmla="*/ 10 h 36"/>
                  <a:gd name="T40" fmla="*/ 22 w 26"/>
                  <a:gd name="T41" fmla="*/ 8 h 36"/>
                  <a:gd name="T42" fmla="*/ 18 w 26"/>
                  <a:gd name="T43" fmla="*/ 4 h 36"/>
                  <a:gd name="T44" fmla="*/ 14 w 26"/>
                  <a:gd name="T45" fmla="*/ 0 h 36"/>
                  <a:gd name="T46" fmla="*/ 14 w 26"/>
                  <a:gd name="T47" fmla="*/ 2 h 36"/>
                  <a:gd name="T48" fmla="*/ 14 w 26"/>
                  <a:gd name="T49" fmla="*/ 6 h 36"/>
                  <a:gd name="T50" fmla="*/ 12 w 26"/>
                  <a:gd name="T51" fmla="*/ 8 h 36"/>
                  <a:gd name="T52" fmla="*/ 10 w 26"/>
                  <a:gd name="T53" fmla="*/ 10 h 36"/>
                  <a:gd name="T54" fmla="*/ 8 w 26"/>
                  <a:gd name="T55" fmla="*/ 12 h 36"/>
                  <a:gd name="T56" fmla="*/ 8 w 26"/>
                  <a:gd name="T57" fmla="*/ 14 h 36"/>
                  <a:gd name="T58" fmla="*/ 4 w 26"/>
                  <a:gd name="T59" fmla="*/ 18 h 36"/>
                  <a:gd name="T60" fmla="*/ 4 w 26"/>
                  <a:gd name="T61" fmla="*/ 20 h 36"/>
                  <a:gd name="T62" fmla="*/ 4 w 26"/>
                  <a:gd name="T63" fmla="*/ 2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6" h="36">
                    <a:moveTo>
                      <a:pt x="4" y="20"/>
                    </a:moveTo>
                    <a:lnTo>
                      <a:pt x="4" y="20"/>
                    </a:lnTo>
                    <a:lnTo>
                      <a:pt x="2" y="22"/>
                    </a:lnTo>
                    <a:lnTo>
                      <a:pt x="0" y="24"/>
                    </a:lnTo>
                    <a:lnTo>
                      <a:pt x="0" y="26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2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4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10" y="36"/>
                    </a:lnTo>
                    <a:lnTo>
                      <a:pt x="14" y="36"/>
                    </a:lnTo>
                    <a:lnTo>
                      <a:pt x="18" y="36"/>
                    </a:lnTo>
                    <a:lnTo>
                      <a:pt x="20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4" y="34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0" y="28"/>
                    </a:lnTo>
                    <a:lnTo>
                      <a:pt x="18" y="26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8" y="22"/>
                    </a:lnTo>
                    <a:lnTo>
                      <a:pt x="20" y="22"/>
                    </a:lnTo>
                    <a:lnTo>
                      <a:pt x="22" y="20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6" y="14"/>
                    </a:lnTo>
                    <a:lnTo>
                      <a:pt x="24" y="12"/>
                    </a:lnTo>
                    <a:lnTo>
                      <a:pt x="24" y="10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0" y="6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4" y="6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10"/>
                    </a:lnTo>
                    <a:lnTo>
                      <a:pt x="10" y="10"/>
                    </a:lnTo>
                    <a:lnTo>
                      <a:pt x="10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19" name="Freeform 627"/>
              <p:cNvSpPr>
                <a:spLocks/>
              </p:cNvSpPr>
              <p:nvPr/>
            </p:nvSpPr>
            <p:spPr bwMode="auto">
              <a:xfrm>
                <a:off x="3383" y="2610"/>
                <a:ext cx="26" cy="36"/>
              </a:xfrm>
              <a:custGeom>
                <a:avLst/>
                <a:gdLst>
                  <a:gd name="T0" fmla="*/ 4 w 26"/>
                  <a:gd name="T1" fmla="*/ 20 h 36"/>
                  <a:gd name="T2" fmla="*/ 0 w 26"/>
                  <a:gd name="T3" fmla="*/ 24 h 36"/>
                  <a:gd name="T4" fmla="*/ 0 w 26"/>
                  <a:gd name="T5" fmla="*/ 30 h 36"/>
                  <a:gd name="T6" fmla="*/ 0 w 26"/>
                  <a:gd name="T7" fmla="*/ 32 h 36"/>
                  <a:gd name="T8" fmla="*/ 0 w 26"/>
                  <a:gd name="T9" fmla="*/ 34 h 36"/>
                  <a:gd name="T10" fmla="*/ 2 w 26"/>
                  <a:gd name="T11" fmla="*/ 36 h 36"/>
                  <a:gd name="T12" fmla="*/ 8 w 26"/>
                  <a:gd name="T13" fmla="*/ 36 h 36"/>
                  <a:gd name="T14" fmla="*/ 10 w 26"/>
                  <a:gd name="T15" fmla="*/ 36 h 36"/>
                  <a:gd name="T16" fmla="*/ 18 w 26"/>
                  <a:gd name="T17" fmla="*/ 36 h 36"/>
                  <a:gd name="T18" fmla="*/ 22 w 26"/>
                  <a:gd name="T19" fmla="*/ 36 h 36"/>
                  <a:gd name="T20" fmla="*/ 24 w 26"/>
                  <a:gd name="T21" fmla="*/ 34 h 36"/>
                  <a:gd name="T22" fmla="*/ 24 w 26"/>
                  <a:gd name="T23" fmla="*/ 32 h 36"/>
                  <a:gd name="T24" fmla="*/ 18 w 26"/>
                  <a:gd name="T25" fmla="*/ 26 h 36"/>
                  <a:gd name="T26" fmla="*/ 18 w 26"/>
                  <a:gd name="T27" fmla="*/ 24 h 36"/>
                  <a:gd name="T28" fmla="*/ 18 w 26"/>
                  <a:gd name="T29" fmla="*/ 22 h 36"/>
                  <a:gd name="T30" fmla="*/ 22 w 26"/>
                  <a:gd name="T31" fmla="*/ 20 h 36"/>
                  <a:gd name="T32" fmla="*/ 24 w 26"/>
                  <a:gd name="T33" fmla="*/ 18 h 36"/>
                  <a:gd name="T34" fmla="*/ 24 w 26"/>
                  <a:gd name="T35" fmla="*/ 16 h 36"/>
                  <a:gd name="T36" fmla="*/ 26 w 26"/>
                  <a:gd name="T37" fmla="*/ 14 h 36"/>
                  <a:gd name="T38" fmla="*/ 24 w 26"/>
                  <a:gd name="T39" fmla="*/ 10 h 36"/>
                  <a:gd name="T40" fmla="*/ 22 w 26"/>
                  <a:gd name="T41" fmla="*/ 8 h 36"/>
                  <a:gd name="T42" fmla="*/ 18 w 26"/>
                  <a:gd name="T43" fmla="*/ 4 h 36"/>
                  <a:gd name="T44" fmla="*/ 14 w 26"/>
                  <a:gd name="T45" fmla="*/ 0 h 36"/>
                  <a:gd name="T46" fmla="*/ 14 w 26"/>
                  <a:gd name="T47" fmla="*/ 2 h 36"/>
                  <a:gd name="T48" fmla="*/ 14 w 26"/>
                  <a:gd name="T49" fmla="*/ 6 h 36"/>
                  <a:gd name="T50" fmla="*/ 12 w 26"/>
                  <a:gd name="T51" fmla="*/ 8 h 36"/>
                  <a:gd name="T52" fmla="*/ 10 w 26"/>
                  <a:gd name="T53" fmla="*/ 10 h 36"/>
                  <a:gd name="T54" fmla="*/ 8 w 26"/>
                  <a:gd name="T55" fmla="*/ 12 h 36"/>
                  <a:gd name="T56" fmla="*/ 8 w 26"/>
                  <a:gd name="T57" fmla="*/ 14 h 36"/>
                  <a:gd name="T58" fmla="*/ 4 w 26"/>
                  <a:gd name="T59" fmla="*/ 18 h 36"/>
                  <a:gd name="T60" fmla="*/ 4 w 26"/>
                  <a:gd name="T61" fmla="*/ 20 h 36"/>
                  <a:gd name="T62" fmla="*/ 4 w 26"/>
                  <a:gd name="T63" fmla="*/ 2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6" h="36">
                    <a:moveTo>
                      <a:pt x="4" y="20"/>
                    </a:moveTo>
                    <a:lnTo>
                      <a:pt x="4" y="20"/>
                    </a:lnTo>
                    <a:lnTo>
                      <a:pt x="2" y="22"/>
                    </a:lnTo>
                    <a:lnTo>
                      <a:pt x="0" y="24"/>
                    </a:lnTo>
                    <a:lnTo>
                      <a:pt x="0" y="26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2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4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10" y="36"/>
                    </a:lnTo>
                    <a:lnTo>
                      <a:pt x="14" y="36"/>
                    </a:lnTo>
                    <a:lnTo>
                      <a:pt x="18" y="36"/>
                    </a:lnTo>
                    <a:lnTo>
                      <a:pt x="20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4" y="34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0" y="28"/>
                    </a:lnTo>
                    <a:lnTo>
                      <a:pt x="18" y="26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8" y="22"/>
                    </a:lnTo>
                    <a:lnTo>
                      <a:pt x="20" y="22"/>
                    </a:lnTo>
                    <a:lnTo>
                      <a:pt x="22" y="20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6" y="14"/>
                    </a:lnTo>
                    <a:lnTo>
                      <a:pt x="24" y="12"/>
                    </a:lnTo>
                    <a:lnTo>
                      <a:pt x="24" y="10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0" y="6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4" y="6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10"/>
                    </a:lnTo>
                    <a:lnTo>
                      <a:pt x="10" y="10"/>
                    </a:lnTo>
                    <a:lnTo>
                      <a:pt x="10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20" name="Freeform 628"/>
              <p:cNvSpPr>
                <a:spLocks/>
              </p:cNvSpPr>
              <p:nvPr/>
            </p:nvSpPr>
            <p:spPr bwMode="auto">
              <a:xfrm>
                <a:off x="3247" y="2586"/>
                <a:ext cx="234" cy="188"/>
              </a:xfrm>
              <a:custGeom>
                <a:avLst/>
                <a:gdLst>
                  <a:gd name="T0" fmla="*/ 54 w 234"/>
                  <a:gd name="T1" fmla="*/ 164 h 188"/>
                  <a:gd name="T2" fmla="*/ 64 w 234"/>
                  <a:gd name="T3" fmla="*/ 168 h 188"/>
                  <a:gd name="T4" fmla="*/ 74 w 234"/>
                  <a:gd name="T5" fmla="*/ 176 h 188"/>
                  <a:gd name="T6" fmla="*/ 82 w 234"/>
                  <a:gd name="T7" fmla="*/ 180 h 188"/>
                  <a:gd name="T8" fmla="*/ 96 w 234"/>
                  <a:gd name="T9" fmla="*/ 188 h 188"/>
                  <a:gd name="T10" fmla="*/ 106 w 234"/>
                  <a:gd name="T11" fmla="*/ 184 h 188"/>
                  <a:gd name="T12" fmla="*/ 122 w 234"/>
                  <a:gd name="T13" fmla="*/ 178 h 188"/>
                  <a:gd name="T14" fmla="*/ 144 w 234"/>
                  <a:gd name="T15" fmla="*/ 178 h 188"/>
                  <a:gd name="T16" fmla="*/ 158 w 234"/>
                  <a:gd name="T17" fmla="*/ 174 h 188"/>
                  <a:gd name="T18" fmla="*/ 164 w 234"/>
                  <a:gd name="T19" fmla="*/ 168 h 188"/>
                  <a:gd name="T20" fmla="*/ 170 w 234"/>
                  <a:gd name="T21" fmla="*/ 164 h 188"/>
                  <a:gd name="T22" fmla="*/ 184 w 234"/>
                  <a:gd name="T23" fmla="*/ 160 h 188"/>
                  <a:gd name="T24" fmla="*/ 192 w 234"/>
                  <a:gd name="T25" fmla="*/ 152 h 188"/>
                  <a:gd name="T26" fmla="*/ 202 w 234"/>
                  <a:gd name="T27" fmla="*/ 142 h 188"/>
                  <a:gd name="T28" fmla="*/ 212 w 234"/>
                  <a:gd name="T29" fmla="*/ 134 h 188"/>
                  <a:gd name="T30" fmla="*/ 222 w 234"/>
                  <a:gd name="T31" fmla="*/ 122 h 188"/>
                  <a:gd name="T32" fmla="*/ 232 w 234"/>
                  <a:gd name="T33" fmla="*/ 110 h 188"/>
                  <a:gd name="T34" fmla="*/ 234 w 234"/>
                  <a:gd name="T35" fmla="*/ 108 h 188"/>
                  <a:gd name="T36" fmla="*/ 222 w 234"/>
                  <a:gd name="T37" fmla="*/ 108 h 188"/>
                  <a:gd name="T38" fmla="*/ 206 w 234"/>
                  <a:gd name="T39" fmla="*/ 102 h 188"/>
                  <a:gd name="T40" fmla="*/ 190 w 234"/>
                  <a:gd name="T41" fmla="*/ 96 h 188"/>
                  <a:gd name="T42" fmla="*/ 182 w 234"/>
                  <a:gd name="T43" fmla="*/ 92 h 188"/>
                  <a:gd name="T44" fmla="*/ 172 w 234"/>
                  <a:gd name="T45" fmla="*/ 86 h 188"/>
                  <a:gd name="T46" fmla="*/ 162 w 234"/>
                  <a:gd name="T47" fmla="*/ 76 h 188"/>
                  <a:gd name="T48" fmla="*/ 158 w 234"/>
                  <a:gd name="T49" fmla="*/ 70 h 188"/>
                  <a:gd name="T50" fmla="*/ 156 w 234"/>
                  <a:gd name="T51" fmla="*/ 60 h 188"/>
                  <a:gd name="T52" fmla="*/ 146 w 234"/>
                  <a:gd name="T53" fmla="*/ 60 h 188"/>
                  <a:gd name="T54" fmla="*/ 138 w 234"/>
                  <a:gd name="T55" fmla="*/ 60 h 188"/>
                  <a:gd name="T56" fmla="*/ 136 w 234"/>
                  <a:gd name="T57" fmla="*/ 54 h 188"/>
                  <a:gd name="T58" fmla="*/ 140 w 234"/>
                  <a:gd name="T59" fmla="*/ 44 h 188"/>
                  <a:gd name="T60" fmla="*/ 144 w 234"/>
                  <a:gd name="T61" fmla="*/ 36 h 188"/>
                  <a:gd name="T62" fmla="*/ 140 w 234"/>
                  <a:gd name="T63" fmla="*/ 34 h 188"/>
                  <a:gd name="T64" fmla="*/ 132 w 234"/>
                  <a:gd name="T65" fmla="*/ 28 h 188"/>
                  <a:gd name="T66" fmla="*/ 126 w 234"/>
                  <a:gd name="T67" fmla="*/ 24 h 188"/>
                  <a:gd name="T68" fmla="*/ 122 w 234"/>
                  <a:gd name="T69" fmla="*/ 20 h 188"/>
                  <a:gd name="T70" fmla="*/ 116 w 234"/>
                  <a:gd name="T71" fmla="*/ 18 h 188"/>
                  <a:gd name="T72" fmla="*/ 110 w 234"/>
                  <a:gd name="T73" fmla="*/ 16 h 188"/>
                  <a:gd name="T74" fmla="*/ 102 w 234"/>
                  <a:gd name="T75" fmla="*/ 14 h 188"/>
                  <a:gd name="T76" fmla="*/ 92 w 234"/>
                  <a:gd name="T77" fmla="*/ 4 h 188"/>
                  <a:gd name="T78" fmla="*/ 86 w 234"/>
                  <a:gd name="T79" fmla="*/ 4 h 188"/>
                  <a:gd name="T80" fmla="*/ 80 w 234"/>
                  <a:gd name="T81" fmla="*/ 0 h 188"/>
                  <a:gd name="T82" fmla="*/ 70 w 234"/>
                  <a:gd name="T83" fmla="*/ 2 h 188"/>
                  <a:gd name="T84" fmla="*/ 64 w 234"/>
                  <a:gd name="T85" fmla="*/ 4 h 188"/>
                  <a:gd name="T86" fmla="*/ 54 w 234"/>
                  <a:gd name="T87" fmla="*/ 4 h 188"/>
                  <a:gd name="T88" fmla="*/ 50 w 234"/>
                  <a:gd name="T89" fmla="*/ 2 h 188"/>
                  <a:gd name="T90" fmla="*/ 48 w 234"/>
                  <a:gd name="T91" fmla="*/ 22 h 188"/>
                  <a:gd name="T92" fmla="*/ 38 w 234"/>
                  <a:gd name="T93" fmla="*/ 36 h 188"/>
                  <a:gd name="T94" fmla="*/ 30 w 234"/>
                  <a:gd name="T95" fmla="*/ 48 h 188"/>
                  <a:gd name="T96" fmla="*/ 28 w 234"/>
                  <a:gd name="T97" fmla="*/ 62 h 188"/>
                  <a:gd name="T98" fmla="*/ 24 w 234"/>
                  <a:gd name="T99" fmla="*/ 64 h 188"/>
                  <a:gd name="T100" fmla="*/ 18 w 234"/>
                  <a:gd name="T101" fmla="*/ 68 h 188"/>
                  <a:gd name="T102" fmla="*/ 18 w 234"/>
                  <a:gd name="T103" fmla="*/ 82 h 188"/>
                  <a:gd name="T104" fmla="*/ 16 w 234"/>
                  <a:gd name="T105" fmla="*/ 100 h 188"/>
                  <a:gd name="T106" fmla="*/ 4 w 234"/>
                  <a:gd name="T107" fmla="*/ 104 h 188"/>
                  <a:gd name="T108" fmla="*/ 0 w 234"/>
                  <a:gd name="T109" fmla="*/ 110 h 188"/>
                  <a:gd name="T110" fmla="*/ 2 w 234"/>
                  <a:gd name="T111" fmla="*/ 114 h 188"/>
                  <a:gd name="T112" fmla="*/ 12 w 234"/>
                  <a:gd name="T113" fmla="*/ 118 h 188"/>
                  <a:gd name="T114" fmla="*/ 20 w 234"/>
                  <a:gd name="T115" fmla="*/ 126 h 188"/>
                  <a:gd name="T116" fmla="*/ 28 w 234"/>
                  <a:gd name="T117" fmla="*/ 134 h 188"/>
                  <a:gd name="T118" fmla="*/ 36 w 234"/>
                  <a:gd name="T119" fmla="*/ 146 h 188"/>
                  <a:gd name="T120" fmla="*/ 42 w 234"/>
                  <a:gd name="T121" fmla="*/ 158 h 188"/>
                  <a:gd name="T122" fmla="*/ 44 w 234"/>
                  <a:gd name="T123" fmla="*/ 164 h 188"/>
                  <a:gd name="T124" fmla="*/ 46 w 234"/>
                  <a:gd name="T125" fmla="*/ 164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34" h="188">
                    <a:moveTo>
                      <a:pt x="46" y="164"/>
                    </a:moveTo>
                    <a:lnTo>
                      <a:pt x="46" y="164"/>
                    </a:lnTo>
                    <a:lnTo>
                      <a:pt x="50" y="164"/>
                    </a:lnTo>
                    <a:lnTo>
                      <a:pt x="54" y="164"/>
                    </a:lnTo>
                    <a:lnTo>
                      <a:pt x="54" y="164"/>
                    </a:lnTo>
                    <a:lnTo>
                      <a:pt x="56" y="164"/>
                    </a:lnTo>
                    <a:lnTo>
                      <a:pt x="58" y="164"/>
                    </a:lnTo>
                    <a:lnTo>
                      <a:pt x="60" y="166"/>
                    </a:lnTo>
                    <a:lnTo>
                      <a:pt x="62" y="166"/>
                    </a:lnTo>
                    <a:lnTo>
                      <a:pt x="64" y="168"/>
                    </a:lnTo>
                    <a:lnTo>
                      <a:pt x="68" y="170"/>
                    </a:lnTo>
                    <a:lnTo>
                      <a:pt x="68" y="170"/>
                    </a:lnTo>
                    <a:lnTo>
                      <a:pt x="70" y="174"/>
                    </a:lnTo>
                    <a:lnTo>
                      <a:pt x="72" y="174"/>
                    </a:lnTo>
                    <a:lnTo>
                      <a:pt x="74" y="176"/>
                    </a:lnTo>
                    <a:lnTo>
                      <a:pt x="74" y="176"/>
                    </a:lnTo>
                    <a:lnTo>
                      <a:pt x="76" y="176"/>
                    </a:lnTo>
                    <a:lnTo>
                      <a:pt x="80" y="178"/>
                    </a:lnTo>
                    <a:lnTo>
                      <a:pt x="82" y="180"/>
                    </a:lnTo>
                    <a:lnTo>
                      <a:pt x="82" y="180"/>
                    </a:lnTo>
                    <a:lnTo>
                      <a:pt x="86" y="184"/>
                    </a:lnTo>
                    <a:lnTo>
                      <a:pt x="90" y="186"/>
                    </a:lnTo>
                    <a:lnTo>
                      <a:pt x="92" y="186"/>
                    </a:lnTo>
                    <a:lnTo>
                      <a:pt x="94" y="188"/>
                    </a:lnTo>
                    <a:lnTo>
                      <a:pt x="96" y="188"/>
                    </a:lnTo>
                    <a:lnTo>
                      <a:pt x="100" y="188"/>
                    </a:lnTo>
                    <a:lnTo>
                      <a:pt x="100" y="188"/>
                    </a:lnTo>
                    <a:lnTo>
                      <a:pt x="100" y="186"/>
                    </a:lnTo>
                    <a:lnTo>
                      <a:pt x="102" y="186"/>
                    </a:lnTo>
                    <a:lnTo>
                      <a:pt x="106" y="184"/>
                    </a:lnTo>
                    <a:lnTo>
                      <a:pt x="110" y="182"/>
                    </a:lnTo>
                    <a:lnTo>
                      <a:pt x="114" y="180"/>
                    </a:lnTo>
                    <a:lnTo>
                      <a:pt x="114" y="180"/>
                    </a:lnTo>
                    <a:lnTo>
                      <a:pt x="118" y="180"/>
                    </a:lnTo>
                    <a:lnTo>
                      <a:pt x="122" y="178"/>
                    </a:lnTo>
                    <a:lnTo>
                      <a:pt x="132" y="178"/>
                    </a:lnTo>
                    <a:lnTo>
                      <a:pt x="132" y="178"/>
                    </a:lnTo>
                    <a:lnTo>
                      <a:pt x="136" y="178"/>
                    </a:lnTo>
                    <a:lnTo>
                      <a:pt x="140" y="178"/>
                    </a:lnTo>
                    <a:lnTo>
                      <a:pt x="144" y="178"/>
                    </a:lnTo>
                    <a:lnTo>
                      <a:pt x="148" y="178"/>
                    </a:lnTo>
                    <a:lnTo>
                      <a:pt x="150" y="178"/>
                    </a:lnTo>
                    <a:lnTo>
                      <a:pt x="150" y="178"/>
                    </a:lnTo>
                    <a:lnTo>
                      <a:pt x="154" y="176"/>
                    </a:lnTo>
                    <a:lnTo>
                      <a:pt x="158" y="174"/>
                    </a:lnTo>
                    <a:lnTo>
                      <a:pt x="160" y="174"/>
                    </a:lnTo>
                    <a:lnTo>
                      <a:pt x="160" y="174"/>
                    </a:lnTo>
                    <a:lnTo>
                      <a:pt x="160" y="172"/>
                    </a:lnTo>
                    <a:lnTo>
                      <a:pt x="162" y="170"/>
                    </a:lnTo>
                    <a:lnTo>
                      <a:pt x="164" y="168"/>
                    </a:lnTo>
                    <a:lnTo>
                      <a:pt x="164" y="168"/>
                    </a:lnTo>
                    <a:lnTo>
                      <a:pt x="164" y="166"/>
                    </a:lnTo>
                    <a:lnTo>
                      <a:pt x="166" y="166"/>
                    </a:lnTo>
                    <a:lnTo>
                      <a:pt x="168" y="164"/>
                    </a:lnTo>
                    <a:lnTo>
                      <a:pt x="170" y="164"/>
                    </a:lnTo>
                    <a:lnTo>
                      <a:pt x="176" y="162"/>
                    </a:lnTo>
                    <a:lnTo>
                      <a:pt x="180" y="162"/>
                    </a:lnTo>
                    <a:lnTo>
                      <a:pt x="180" y="162"/>
                    </a:lnTo>
                    <a:lnTo>
                      <a:pt x="182" y="162"/>
                    </a:lnTo>
                    <a:lnTo>
                      <a:pt x="184" y="160"/>
                    </a:lnTo>
                    <a:lnTo>
                      <a:pt x="186" y="160"/>
                    </a:lnTo>
                    <a:lnTo>
                      <a:pt x="188" y="158"/>
                    </a:lnTo>
                    <a:lnTo>
                      <a:pt x="190" y="156"/>
                    </a:lnTo>
                    <a:lnTo>
                      <a:pt x="192" y="152"/>
                    </a:lnTo>
                    <a:lnTo>
                      <a:pt x="192" y="152"/>
                    </a:lnTo>
                    <a:lnTo>
                      <a:pt x="196" y="148"/>
                    </a:lnTo>
                    <a:lnTo>
                      <a:pt x="200" y="146"/>
                    </a:lnTo>
                    <a:lnTo>
                      <a:pt x="200" y="146"/>
                    </a:lnTo>
                    <a:lnTo>
                      <a:pt x="200" y="144"/>
                    </a:lnTo>
                    <a:lnTo>
                      <a:pt x="202" y="142"/>
                    </a:lnTo>
                    <a:lnTo>
                      <a:pt x="204" y="140"/>
                    </a:lnTo>
                    <a:lnTo>
                      <a:pt x="204" y="140"/>
                    </a:lnTo>
                    <a:lnTo>
                      <a:pt x="204" y="140"/>
                    </a:lnTo>
                    <a:lnTo>
                      <a:pt x="208" y="136"/>
                    </a:lnTo>
                    <a:lnTo>
                      <a:pt x="212" y="134"/>
                    </a:lnTo>
                    <a:lnTo>
                      <a:pt x="214" y="130"/>
                    </a:lnTo>
                    <a:lnTo>
                      <a:pt x="218" y="128"/>
                    </a:lnTo>
                    <a:lnTo>
                      <a:pt x="218" y="128"/>
                    </a:lnTo>
                    <a:lnTo>
                      <a:pt x="220" y="124"/>
                    </a:lnTo>
                    <a:lnTo>
                      <a:pt x="222" y="122"/>
                    </a:lnTo>
                    <a:lnTo>
                      <a:pt x="224" y="118"/>
                    </a:lnTo>
                    <a:lnTo>
                      <a:pt x="226" y="116"/>
                    </a:lnTo>
                    <a:lnTo>
                      <a:pt x="226" y="116"/>
                    </a:lnTo>
                    <a:lnTo>
                      <a:pt x="228" y="114"/>
                    </a:lnTo>
                    <a:lnTo>
                      <a:pt x="232" y="110"/>
                    </a:lnTo>
                    <a:lnTo>
                      <a:pt x="232" y="110"/>
                    </a:lnTo>
                    <a:lnTo>
                      <a:pt x="234" y="110"/>
                    </a:lnTo>
                    <a:lnTo>
                      <a:pt x="234" y="108"/>
                    </a:lnTo>
                    <a:lnTo>
                      <a:pt x="234" y="108"/>
                    </a:lnTo>
                    <a:lnTo>
                      <a:pt x="234" y="108"/>
                    </a:lnTo>
                    <a:lnTo>
                      <a:pt x="232" y="108"/>
                    </a:lnTo>
                    <a:lnTo>
                      <a:pt x="232" y="108"/>
                    </a:lnTo>
                    <a:lnTo>
                      <a:pt x="230" y="106"/>
                    </a:lnTo>
                    <a:lnTo>
                      <a:pt x="228" y="106"/>
                    </a:lnTo>
                    <a:lnTo>
                      <a:pt x="222" y="108"/>
                    </a:lnTo>
                    <a:lnTo>
                      <a:pt x="222" y="108"/>
                    </a:lnTo>
                    <a:lnTo>
                      <a:pt x="220" y="106"/>
                    </a:lnTo>
                    <a:lnTo>
                      <a:pt x="216" y="106"/>
                    </a:lnTo>
                    <a:lnTo>
                      <a:pt x="216" y="106"/>
                    </a:lnTo>
                    <a:lnTo>
                      <a:pt x="206" y="102"/>
                    </a:lnTo>
                    <a:lnTo>
                      <a:pt x="202" y="102"/>
                    </a:lnTo>
                    <a:lnTo>
                      <a:pt x="198" y="100"/>
                    </a:lnTo>
                    <a:lnTo>
                      <a:pt x="198" y="100"/>
                    </a:lnTo>
                    <a:lnTo>
                      <a:pt x="194" y="98"/>
                    </a:lnTo>
                    <a:lnTo>
                      <a:pt x="190" y="96"/>
                    </a:lnTo>
                    <a:lnTo>
                      <a:pt x="188" y="94"/>
                    </a:lnTo>
                    <a:lnTo>
                      <a:pt x="188" y="94"/>
                    </a:lnTo>
                    <a:lnTo>
                      <a:pt x="188" y="94"/>
                    </a:lnTo>
                    <a:lnTo>
                      <a:pt x="186" y="94"/>
                    </a:lnTo>
                    <a:lnTo>
                      <a:pt x="182" y="92"/>
                    </a:lnTo>
                    <a:lnTo>
                      <a:pt x="182" y="92"/>
                    </a:lnTo>
                    <a:lnTo>
                      <a:pt x="178" y="90"/>
                    </a:lnTo>
                    <a:lnTo>
                      <a:pt x="174" y="88"/>
                    </a:lnTo>
                    <a:lnTo>
                      <a:pt x="174" y="88"/>
                    </a:lnTo>
                    <a:lnTo>
                      <a:pt x="172" y="86"/>
                    </a:lnTo>
                    <a:lnTo>
                      <a:pt x="170" y="84"/>
                    </a:lnTo>
                    <a:lnTo>
                      <a:pt x="168" y="82"/>
                    </a:lnTo>
                    <a:lnTo>
                      <a:pt x="168" y="82"/>
                    </a:lnTo>
                    <a:lnTo>
                      <a:pt x="164" y="78"/>
                    </a:lnTo>
                    <a:lnTo>
                      <a:pt x="162" y="76"/>
                    </a:lnTo>
                    <a:lnTo>
                      <a:pt x="162" y="76"/>
                    </a:lnTo>
                    <a:lnTo>
                      <a:pt x="160" y="74"/>
                    </a:lnTo>
                    <a:lnTo>
                      <a:pt x="160" y="72"/>
                    </a:lnTo>
                    <a:lnTo>
                      <a:pt x="160" y="70"/>
                    </a:lnTo>
                    <a:lnTo>
                      <a:pt x="158" y="70"/>
                    </a:lnTo>
                    <a:lnTo>
                      <a:pt x="158" y="70"/>
                    </a:lnTo>
                    <a:lnTo>
                      <a:pt x="158" y="68"/>
                    </a:lnTo>
                    <a:lnTo>
                      <a:pt x="158" y="64"/>
                    </a:lnTo>
                    <a:lnTo>
                      <a:pt x="158" y="62"/>
                    </a:lnTo>
                    <a:lnTo>
                      <a:pt x="156" y="60"/>
                    </a:lnTo>
                    <a:lnTo>
                      <a:pt x="156" y="60"/>
                    </a:lnTo>
                    <a:lnTo>
                      <a:pt x="156" y="60"/>
                    </a:lnTo>
                    <a:lnTo>
                      <a:pt x="154" y="60"/>
                    </a:lnTo>
                    <a:lnTo>
                      <a:pt x="150" y="60"/>
                    </a:lnTo>
                    <a:lnTo>
                      <a:pt x="146" y="60"/>
                    </a:lnTo>
                    <a:lnTo>
                      <a:pt x="144" y="60"/>
                    </a:lnTo>
                    <a:lnTo>
                      <a:pt x="144" y="60"/>
                    </a:lnTo>
                    <a:lnTo>
                      <a:pt x="140" y="60"/>
                    </a:lnTo>
                    <a:lnTo>
                      <a:pt x="138" y="60"/>
                    </a:lnTo>
                    <a:lnTo>
                      <a:pt x="138" y="60"/>
                    </a:lnTo>
                    <a:lnTo>
                      <a:pt x="136" y="58"/>
                    </a:lnTo>
                    <a:lnTo>
                      <a:pt x="136" y="58"/>
                    </a:lnTo>
                    <a:lnTo>
                      <a:pt x="136" y="56"/>
                    </a:lnTo>
                    <a:lnTo>
                      <a:pt x="136" y="54"/>
                    </a:lnTo>
                    <a:lnTo>
                      <a:pt x="136" y="54"/>
                    </a:lnTo>
                    <a:lnTo>
                      <a:pt x="136" y="50"/>
                    </a:lnTo>
                    <a:lnTo>
                      <a:pt x="136" y="48"/>
                    </a:lnTo>
                    <a:lnTo>
                      <a:pt x="138" y="46"/>
                    </a:lnTo>
                    <a:lnTo>
                      <a:pt x="140" y="44"/>
                    </a:lnTo>
                    <a:lnTo>
                      <a:pt x="140" y="44"/>
                    </a:lnTo>
                    <a:lnTo>
                      <a:pt x="140" y="42"/>
                    </a:lnTo>
                    <a:lnTo>
                      <a:pt x="142" y="40"/>
                    </a:lnTo>
                    <a:lnTo>
                      <a:pt x="144" y="38"/>
                    </a:lnTo>
                    <a:lnTo>
                      <a:pt x="144" y="36"/>
                    </a:lnTo>
                    <a:lnTo>
                      <a:pt x="144" y="36"/>
                    </a:lnTo>
                    <a:lnTo>
                      <a:pt x="144" y="36"/>
                    </a:lnTo>
                    <a:lnTo>
                      <a:pt x="144" y="36"/>
                    </a:lnTo>
                    <a:lnTo>
                      <a:pt x="142" y="34"/>
                    </a:lnTo>
                    <a:lnTo>
                      <a:pt x="140" y="34"/>
                    </a:lnTo>
                    <a:lnTo>
                      <a:pt x="140" y="34"/>
                    </a:lnTo>
                    <a:lnTo>
                      <a:pt x="138" y="32"/>
                    </a:lnTo>
                    <a:lnTo>
                      <a:pt x="138" y="32"/>
                    </a:lnTo>
                    <a:lnTo>
                      <a:pt x="136" y="30"/>
                    </a:lnTo>
                    <a:lnTo>
                      <a:pt x="134" y="28"/>
                    </a:lnTo>
                    <a:lnTo>
                      <a:pt x="132" y="28"/>
                    </a:lnTo>
                    <a:lnTo>
                      <a:pt x="132" y="28"/>
                    </a:lnTo>
                    <a:lnTo>
                      <a:pt x="130" y="26"/>
                    </a:lnTo>
                    <a:lnTo>
                      <a:pt x="128" y="26"/>
                    </a:lnTo>
                    <a:lnTo>
                      <a:pt x="126" y="24"/>
                    </a:lnTo>
                    <a:lnTo>
                      <a:pt x="126" y="24"/>
                    </a:lnTo>
                    <a:lnTo>
                      <a:pt x="126" y="24"/>
                    </a:lnTo>
                    <a:lnTo>
                      <a:pt x="124" y="22"/>
                    </a:lnTo>
                    <a:lnTo>
                      <a:pt x="124" y="22"/>
                    </a:lnTo>
                    <a:lnTo>
                      <a:pt x="122" y="20"/>
                    </a:lnTo>
                    <a:lnTo>
                      <a:pt x="122" y="20"/>
                    </a:lnTo>
                    <a:lnTo>
                      <a:pt x="120" y="20"/>
                    </a:lnTo>
                    <a:lnTo>
                      <a:pt x="120" y="20"/>
                    </a:lnTo>
                    <a:lnTo>
                      <a:pt x="120" y="20"/>
                    </a:lnTo>
                    <a:lnTo>
                      <a:pt x="118" y="20"/>
                    </a:lnTo>
                    <a:lnTo>
                      <a:pt x="116" y="18"/>
                    </a:lnTo>
                    <a:lnTo>
                      <a:pt x="116" y="18"/>
                    </a:lnTo>
                    <a:lnTo>
                      <a:pt x="114" y="16"/>
                    </a:lnTo>
                    <a:lnTo>
                      <a:pt x="112" y="16"/>
                    </a:lnTo>
                    <a:lnTo>
                      <a:pt x="110" y="16"/>
                    </a:lnTo>
                    <a:lnTo>
                      <a:pt x="110" y="16"/>
                    </a:lnTo>
                    <a:lnTo>
                      <a:pt x="106" y="16"/>
                    </a:lnTo>
                    <a:lnTo>
                      <a:pt x="104" y="16"/>
                    </a:lnTo>
                    <a:lnTo>
                      <a:pt x="104" y="14"/>
                    </a:lnTo>
                    <a:lnTo>
                      <a:pt x="104" y="14"/>
                    </a:lnTo>
                    <a:lnTo>
                      <a:pt x="102" y="14"/>
                    </a:lnTo>
                    <a:lnTo>
                      <a:pt x="100" y="12"/>
                    </a:lnTo>
                    <a:lnTo>
                      <a:pt x="98" y="10"/>
                    </a:lnTo>
                    <a:lnTo>
                      <a:pt x="96" y="6"/>
                    </a:lnTo>
                    <a:lnTo>
                      <a:pt x="94" y="6"/>
                    </a:lnTo>
                    <a:lnTo>
                      <a:pt x="92" y="4"/>
                    </a:lnTo>
                    <a:lnTo>
                      <a:pt x="92" y="4"/>
                    </a:lnTo>
                    <a:lnTo>
                      <a:pt x="92" y="4"/>
                    </a:lnTo>
                    <a:lnTo>
                      <a:pt x="90" y="4"/>
                    </a:lnTo>
                    <a:lnTo>
                      <a:pt x="88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4" y="2"/>
                    </a:lnTo>
                    <a:lnTo>
                      <a:pt x="82" y="2"/>
                    </a:lnTo>
                    <a:lnTo>
                      <a:pt x="80" y="0"/>
                    </a:lnTo>
                    <a:lnTo>
                      <a:pt x="80" y="0"/>
                    </a:lnTo>
                    <a:lnTo>
                      <a:pt x="80" y="0"/>
                    </a:lnTo>
                    <a:lnTo>
                      <a:pt x="76" y="0"/>
                    </a:lnTo>
                    <a:lnTo>
                      <a:pt x="74" y="0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68" y="2"/>
                    </a:lnTo>
                    <a:lnTo>
                      <a:pt x="66" y="2"/>
                    </a:lnTo>
                    <a:lnTo>
                      <a:pt x="66" y="2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0" y="4"/>
                    </a:lnTo>
                    <a:lnTo>
                      <a:pt x="58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2" y="2"/>
                    </a:lnTo>
                    <a:lnTo>
                      <a:pt x="52" y="2"/>
                    </a:lnTo>
                    <a:lnTo>
                      <a:pt x="52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0" y="6"/>
                    </a:lnTo>
                    <a:lnTo>
                      <a:pt x="50" y="12"/>
                    </a:lnTo>
                    <a:lnTo>
                      <a:pt x="50" y="16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6" y="22"/>
                    </a:lnTo>
                    <a:lnTo>
                      <a:pt x="44" y="26"/>
                    </a:lnTo>
                    <a:lnTo>
                      <a:pt x="42" y="32"/>
                    </a:lnTo>
                    <a:lnTo>
                      <a:pt x="38" y="36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2" y="44"/>
                    </a:lnTo>
                    <a:lnTo>
                      <a:pt x="30" y="46"/>
                    </a:lnTo>
                    <a:lnTo>
                      <a:pt x="30" y="48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30" y="58"/>
                    </a:lnTo>
                    <a:lnTo>
                      <a:pt x="28" y="60"/>
                    </a:lnTo>
                    <a:lnTo>
                      <a:pt x="28" y="62"/>
                    </a:lnTo>
                    <a:lnTo>
                      <a:pt x="28" y="62"/>
                    </a:lnTo>
                    <a:lnTo>
                      <a:pt x="28" y="62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4" y="64"/>
                    </a:lnTo>
                    <a:lnTo>
                      <a:pt x="20" y="66"/>
                    </a:lnTo>
                    <a:lnTo>
                      <a:pt x="20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8"/>
                    </a:lnTo>
                    <a:lnTo>
                      <a:pt x="18" y="70"/>
                    </a:lnTo>
                    <a:lnTo>
                      <a:pt x="18" y="72"/>
                    </a:lnTo>
                    <a:lnTo>
                      <a:pt x="18" y="78"/>
                    </a:lnTo>
                    <a:lnTo>
                      <a:pt x="18" y="78"/>
                    </a:lnTo>
                    <a:lnTo>
                      <a:pt x="18" y="82"/>
                    </a:lnTo>
                    <a:lnTo>
                      <a:pt x="18" y="90"/>
                    </a:lnTo>
                    <a:lnTo>
                      <a:pt x="18" y="92"/>
                    </a:lnTo>
                    <a:lnTo>
                      <a:pt x="18" y="94"/>
                    </a:lnTo>
                    <a:lnTo>
                      <a:pt x="18" y="98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4" y="100"/>
                    </a:lnTo>
                    <a:lnTo>
                      <a:pt x="12" y="102"/>
                    </a:lnTo>
                    <a:lnTo>
                      <a:pt x="8" y="104"/>
                    </a:lnTo>
                    <a:lnTo>
                      <a:pt x="4" y="104"/>
                    </a:lnTo>
                    <a:lnTo>
                      <a:pt x="2" y="106"/>
                    </a:lnTo>
                    <a:lnTo>
                      <a:pt x="2" y="106"/>
                    </a:lnTo>
                    <a:lnTo>
                      <a:pt x="0" y="106"/>
                    </a:lnTo>
                    <a:lnTo>
                      <a:pt x="0" y="108"/>
                    </a:lnTo>
                    <a:lnTo>
                      <a:pt x="0" y="110"/>
                    </a:lnTo>
                    <a:lnTo>
                      <a:pt x="0" y="110"/>
                    </a:lnTo>
                    <a:lnTo>
                      <a:pt x="0" y="112"/>
                    </a:lnTo>
                    <a:lnTo>
                      <a:pt x="0" y="112"/>
                    </a:lnTo>
                    <a:lnTo>
                      <a:pt x="0" y="114"/>
                    </a:lnTo>
                    <a:lnTo>
                      <a:pt x="2" y="114"/>
                    </a:lnTo>
                    <a:lnTo>
                      <a:pt x="4" y="114"/>
                    </a:lnTo>
                    <a:lnTo>
                      <a:pt x="6" y="116"/>
                    </a:lnTo>
                    <a:lnTo>
                      <a:pt x="6" y="116"/>
                    </a:lnTo>
                    <a:lnTo>
                      <a:pt x="10" y="116"/>
                    </a:lnTo>
                    <a:lnTo>
                      <a:pt x="12" y="118"/>
                    </a:lnTo>
                    <a:lnTo>
                      <a:pt x="14" y="120"/>
                    </a:lnTo>
                    <a:lnTo>
                      <a:pt x="16" y="122"/>
                    </a:lnTo>
                    <a:lnTo>
                      <a:pt x="16" y="122"/>
                    </a:lnTo>
                    <a:lnTo>
                      <a:pt x="18" y="124"/>
                    </a:lnTo>
                    <a:lnTo>
                      <a:pt x="20" y="126"/>
                    </a:lnTo>
                    <a:lnTo>
                      <a:pt x="24" y="128"/>
                    </a:lnTo>
                    <a:lnTo>
                      <a:pt x="26" y="130"/>
                    </a:lnTo>
                    <a:lnTo>
                      <a:pt x="26" y="130"/>
                    </a:lnTo>
                    <a:lnTo>
                      <a:pt x="28" y="132"/>
                    </a:lnTo>
                    <a:lnTo>
                      <a:pt x="28" y="134"/>
                    </a:lnTo>
                    <a:lnTo>
                      <a:pt x="30" y="140"/>
                    </a:lnTo>
                    <a:lnTo>
                      <a:pt x="30" y="140"/>
                    </a:lnTo>
                    <a:lnTo>
                      <a:pt x="30" y="142"/>
                    </a:lnTo>
                    <a:lnTo>
                      <a:pt x="32" y="142"/>
                    </a:lnTo>
                    <a:lnTo>
                      <a:pt x="36" y="146"/>
                    </a:lnTo>
                    <a:lnTo>
                      <a:pt x="38" y="150"/>
                    </a:lnTo>
                    <a:lnTo>
                      <a:pt x="40" y="152"/>
                    </a:lnTo>
                    <a:lnTo>
                      <a:pt x="40" y="156"/>
                    </a:lnTo>
                    <a:lnTo>
                      <a:pt x="40" y="156"/>
                    </a:lnTo>
                    <a:lnTo>
                      <a:pt x="42" y="158"/>
                    </a:lnTo>
                    <a:lnTo>
                      <a:pt x="42" y="160"/>
                    </a:lnTo>
                    <a:lnTo>
                      <a:pt x="40" y="160"/>
                    </a:lnTo>
                    <a:lnTo>
                      <a:pt x="40" y="160"/>
                    </a:lnTo>
                    <a:lnTo>
                      <a:pt x="44" y="164"/>
                    </a:lnTo>
                    <a:lnTo>
                      <a:pt x="44" y="164"/>
                    </a:lnTo>
                    <a:lnTo>
                      <a:pt x="46" y="164"/>
                    </a:lnTo>
                    <a:lnTo>
                      <a:pt x="46" y="164"/>
                    </a:lnTo>
                    <a:lnTo>
                      <a:pt x="46" y="164"/>
                    </a:lnTo>
                    <a:lnTo>
                      <a:pt x="46" y="164"/>
                    </a:lnTo>
                    <a:lnTo>
                      <a:pt x="46" y="16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21" name="Freeform 630"/>
              <p:cNvSpPr>
                <a:spLocks/>
              </p:cNvSpPr>
              <p:nvPr/>
            </p:nvSpPr>
            <p:spPr bwMode="auto">
              <a:xfrm>
                <a:off x="3373" y="2628"/>
                <a:ext cx="160" cy="228"/>
              </a:xfrm>
              <a:custGeom>
                <a:avLst/>
                <a:gdLst>
                  <a:gd name="T0" fmla="*/ 158 w 160"/>
                  <a:gd name="T1" fmla="*/ 20 h 228"/>
                  <a:gd name="T2" fmla="*/ 158 w 160"/>
                  <a:gd name="T3" fmla="*/ 8 h 228"/>
                  <a:gd name="T4" fmla="*/ 158 w 160"/>
                  <a:gd name="T5" fmla="*/ 4 h 228"/>
                  <a:gd name="T6" fmla="*/ 154 w 160"/>
                  <a:gd name="T7" fmla="*/ 0 h 228"/>
                  <a:gd name="T8" fmla="*/ 144 w 160"/>
                  <a:gd name="T9" fmla="*/ 6 h 228"/>
                  <a:gd name="T10" fmla="*/ 134 w 160"/>
                  <a:gd name="T11" fmla="*/ 8 h 228"/>
                  <a:gd name="T12" fmla="*/ 114 w 160"/>
                  <a:gd name="T13" fmla="*/ 12 h 228"/>
                  <a:gd name="T14" fmla="*/ 104 w 160"/>
                  <a:gd name="T15" fmla="*/ 12 h 228"/>
                  <a:gd name="T16" fmla="*/ 94 w 160"/>
                  <a:gd name="T17" fmla="*/ 20 h 228"/>
                  <a:gd name="T18" fmla="*/ 82 w 160"/>
                  <a:gd name="T19" fmla="*/ 20 h 228"/>
                  <a:gd name="T20" fmla="*/ 70 w 160"/>
                  <a:gd name="T21" fmla="*/ 24 h 228"/>
                  <a:gd name="T22" fmla="*/ 60 w 160"/>
                  <a:gd name="T23" fmla="*/ 32 h 228"/>
                  <a:gd name="T24" fmla="*/ 50 w 160"/>
                  <a:gd name="T25" fmla="*/ 28 h 228"/>
                  <a:gd name="T26" fmla="*/ 38 w 160"/>
                  <a:gd name="T27" fmla="*/ 20 h 228"/>
                  <a:gd name="T28" fmla="*/ 30 w 160"/>
                  <a:gd name="T29" fmla="*/ 18 h 228"/>
                  <a:gd name="T30" fmla="*/ 32 w 160"/>
                  <a:gd name="T31" fmla="*/ 28 h 228"/>
                  <a:gd name="T32" fmla="*/ 36 w 160"/>
                  <a:gd name="T33" fmla="*/ 34 h 228"/>
                  <a:gd name="T34" fmla="*/ 44 w 160"/>
                  <a:gd name="T35" fmla="*/ 42 h 228"/>
                  <a:gd name="T36" fmla="*/ 56 w 160"/>
                  <a:gd name="T37" fmla="*/ 50 h 228"/>
                  <a:gd name="T38" fmla="*/ 62 w 160"/>
                  <a:gd name="T39" fmla="*/ 52 h 228"/>
                  <a:gd name="T40" fmla="*/ 76 w 160"/>
                  <a:gd name="T41" fmla="*/ 60 h 228"/>
                  <a:gd name="T42" fmla="*/ 96 w 160"/>
                  <a:gd name="T43" fmla="*/ 66 h 228"/>
                  <a:gd name="T44" fmla="*/ 106 w 160"/>
                  <a:gd name="T45" fmla="*/ 66 h 228"/>
                  <a:gd name="T46" fmla="*/ 106 w 160"/>
                  <a:gd name="T47" fmla="*/ 68 h 228"/>
                  <a:gd name="T48" fmla="*/ 98 w 160"/>
                  <a:gd name="T49" fmla="*/ 76 h 228"/>
                  <a:gd name="T50" fmla="*/ 88 w 160"/>
                  <a:gd name="T51" fmla="*/ 88 h 228"/>
                  <a:gd name="T52" fmla="*/ 78 w 160"/>
                  <a:gd name="T53" fmla="*/ 98 h 228"/>
                  <a:gd name="T54" fmla="*/ 70 w 160"/>
                  <a:gd name="T55" fmla="*/ 106 h 228"/>
                  <a:gd name="T56" fmla="*/ 60 w 160"/>
                  <a:gd name="T57" fmla="*/ 118 h 228"/>
                  <a:gd name="T58" fmla="*/ 50 w 160"/>
                  <a:gd name="T59" fmla="*/ 120 h 228"/>
                  <a:gd name="T60" fmla="*/ 38 w 160"/>
                  <a:gd name="T61" fmla="*/ 126 h 228"/>
                  <a:gd name="T62" fmla="*/ 34 w 160"/>
                  <a:gd name="T63" fmla="*/ 132 h 228"/>
                  <a:gd name="T64" fmla="*/ 22 w 160"/>
                  <a:gd name="T65" fmla="*/ 136 h 228"/>
                  <a:gd name="T66" fmla="*/ 20 w 160"/>
                  <a:gd name="T67" fmla="*/ 140 h 228"/>
                  <a:gd name="T68" fmla="*/ 16 w 160"/>
                  <a:gd name="T69" fmla="*/ 148 h 228"/>
                  <a:gd name="T70" fmla="*/ 4 w 160"/>
                  <a:gd name="T71" fmla="*/ 154 h 228"/>
                  <a:gd name="T72" fmla="*/ 0 w 160"/>
                  <a:gd name="T73" fmla="*/ 166 h 228"/>
                  <a:gd name="T74" fmla="*/ 0 w 160"/>
                  <a:gd name="T75" fmla="*/ 200 h 228"/>
                  <a:gd name="T76" fmla="*/ 2 w 160"/>
                  <a:gd name="T77" fmla="*/ 212 h 228"/>
                  <a:gd name="T78" fmla="*/ 8 w 160"/>
                  <a:gd name="T79" fmla="*/ 222 h 228"/>
                  <a:gd name="T80" fmla="*/ 14 w 160"/>
                  <a:gd name="T81" fmla="*/ 228 h 228"/>
                  <a:gd name="T82" fmla="*/ 24 w 160"/>
                  <a:gd name="T83" fmla="*/ 216 h 228"/>
                  <a:gd name="T84" fmla="*/ 30 w 160"/>
                  <a:gd name="T85" fmla="*/ 206 h 228"/>
                  <a:gd name="T86" fmla="*/ 38 w 160"/>
                  <a:gd name="T87" fmla="*/ 198 h 228"/>
                  <a:gd name="T88" fmla="*/ 52 w 160"/>
                  <a:gd name="T89" fmla="*/ 186 h 228"/>
                  <a:gd name="T90" fmla="*/ 68 w 160"/>
                  <a:gd name="T91" fmla="*/ 170 h 228"/>
                  <a:gd name="T92" fmla="*/ 96 w 160"/>
                  <a:gd name="T93" fmla="*/ 144 h 228"/>
                  <a:gd name="T94" fmla="*/ 106 w 160"/>
                  <a:gd name="T95" fmla="*/ 132 h 228"/>
                  <a:gd name="T96" fmla="*/ 112 w 160"/>
                  <a:gd name="T97" fmla="*/ 126 h 228"/>
                  <a:gd name="T98" fmla="*/ 124 w 160"/>
                  <a:gd name="T99" fmla="*/ 108 h 228"/>
                  <a:gd name="T100" fmla="*/ 136 w 160"/>
                  <a:gd name="T101" fmla="*/ 90 h 228"/>
                  <a:gd name="T102" fmla="*/ 140 w 160"/>
                  <a:gd name="T103" fmla="*/ 74 h 228"/>
                  <a:gd name="T104" fmla="*/ 142 w 160"/>
                  <a:gd name="T105" fmla="*/ 66 h 228"/>
                  <a:gd name="T106" fmla="*/ 150 w 160"/>
                  <a:gd name="T107" fmla="*/ 54 h 228"/>
                  <a:gd name="T108" fmla="*/ 154 w 160"/>
                  <a:gd name="T109" fmla="*/ 36 h 228"/>
                  <a:gd name="T110" fmla="*/ 158 w 160"/>
                  <a:gd name="T111" fmla="*/ 26 h 228"/>
                  <a:gd name="T112" fmla="*/ 158 w 160"/>
                  <a:gd name="T113" fmla="*/ 22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60" h="228">
                    <a:moveTo>
                      <a:pt x="158" y="22"/>
                    </a:moveTo>
                    <a:lnTo>
                      <a:pt x="158" y="22"/>
                    </a:lnTo>
                    <a:lnTo>
                      <a:pt x="158" y="22"/>
                    </a:lnTo>
                    <a:lnTo>
                      <a:pt x="158" y="20"/>
                    </a:lnTo>
                    <a:lnTo>
                      <a:pt x="158" y="20"/>
                    </a:lnTo>
                    <a:lnTo>
                      <a:pt x="158" y="18"/>
                    </a:lnTo>
                    <a:lnTo>
                      <a:pt x="158" y="18"/>
                    </a:lnTo>
                    <a:lnTo>
                      <a:pt x="158" y="12"/>
                    </a:lnTo>
                    <a:lnTo>
                      <a:pt x="158" y="12"/>
                    </a:lnTo>
                    <a:lnTo>
                      <a:pt x="158" y="8"/>
                    </a:lnTo>
                    <a:lnTo>
                      <a:pt x="160" y="8"/>
                    </a:lnTo>
                    <a:lnTo>
                      <a:pt x="160" y="6"/>
                    </a:lnTo>
                    <a:lnTo>
                      <a:pt x="160" y="6"/>
                    </a:lnTo>
                    <a:lnTo>
                      <a:pt x="160" y="4"/>
                    </a:lnTo>
                    <a:lnTo>
                      <a:pt x="158" y="4"/>
                    </a:lnTo>
                    <a:lnTo>
                      <a:pt x="156" y="2"/>
                    </a:lnTo>
                    <a:lnTo>
                      <a:pt x="156" y="0"/>
                    </a:lnTo>
                    <a:lnTo>
                      <a:pt x="156" y="0"/>
                    </a:lnTo>
                    <a:lnTo>
                      <a:pt x="154" y="0"/>
                    </a:lnTo>
                    <a:lnTo>
                      <a:pt x="154" y="0"/>
                    </a:lnTo>
                    <a:lnTo>
                      <a:pt x="150" y="2"/>
                    </a:lnTo>
                    <a:lnTo>
                      <a:pt x="148" y="4"/>
                    </a:lnTo>
                    <a:lnTo>
                      <a:pt x="146" y="4"/>
                    </a:lnTo>
                    <a:lnTo>
                      <a:pt x="146" y="4"/>
                    </a:lnTo>
                    <a:lnTo>
                      <a:pt x="144" y="6"/>
                    </a:lnTo>
                    <a:lnTo>
                      <a:pt x="142" y="6"/>
                    </a:lnTo>
                    <a:lnTo>
                      <a:pt x="138" y="6"/>
                    </a:lnTo>
                    <a:lnTo>
                      <a:pt x="136" y="6"/>
                    </a:lnTo>
                    <a:lnTo>
                      <a:pt x="136" y="6"/>
                    </a:lnTo>
                    <a:lnTo>
                      <a:pt x="134" y="8"/>
                    </a:lnTo>
                    <a:lnTo>
                      <a:pt x="132" y="8"/>
                    </a:lnTo>
                    <a:lnTo>
                      <a:pt x="128" y="10"/>
                    </a:lnTo>
                    <a:lnTo>
                      <a:pt x="126" y="10"/>
                    </a:lnTo>
                    <a:lnTo>
                      <a:pt x="126" y="10"/>
                    </a:lnTo>
                    <a:lnTo>
                      <a:pt x="114" y="12"/>
                    </a:lnTo>
                    <a:lnTo>
                      <a:pt x="114" y="12"/>
                    </a:lnTo>
                    <a:lnTo>
                      <a:pt x="110" y="12"/>
                    </a:lnTo>
                    <a:lnTo>
                      <a:pt x="106" y="12"/>
                    </a:lnTo>
                    <a:lnTo>
                      <a:pt x="104" y="12"/>
                    </a:lnTo>
                    <a:lnTo>
                      <a:pt x="104" y="12"/>
                    </a:lnTo>
                    <a:lnTo>
                      <a:pt x="102" y="12"/>
                    </a:lnTo>
                    <a:lnTo>
                      <a:pt x="102" y="14"/>
                    </a:lnTo>
                    <a:lnTo>
                      <a:pt x="100" y="16"/>
                    </a:lnTo>
                    <a:lnTo>
                      <a:pt x="98" y="18"/>
                    </a:lnTo>
                    <a:lnTo>
                      <a:pt x="94" y="20"/>
                    </a:lnTo>
                    <a:lnTo>
                      <a:pt x="94" y="20"/>
                    </a:lnTo>
                    <a:lnTo>
                      <a:pt x="94" y="20"/>
                    </a:lnTo>
                    <a:lnTo>
                      <a:pt x="92" y="20"/>
                    </a:lnTo>
                    <a:lnTo>
                      <a:pt x="88" y="20"/>
                    </a:lnTo>
                    <a:lnTo>
                      <a:pt x="82" y="20"/>
                    </a:lnTo>
                    <a:lnTo>
                      <a:pt x="82" y="20"/>
                    </a:lnTo>
                    <a:lnTo>
                      <a:pt x="80" y="20"/>
                    </a:lnTo>
                    <a:lnTo>
                      <a:pt x="76" y="22"/>
                    </a:lnTo>
                    <a:lnTo>
                      <a:pt x="74" y="22"/>
                    </a:lnTo>
                    <a:lnTo>
                      <a:pt x="70" y="24"/>
                    </a:lnTo>
                    <a:lnTo>
                      <a:pt x="70" y="24"/>
                    </a:lnTo>
                    <a:lnTo>
                      <a:pt x="64" y="28"/>
                    </a:lnTo>
                    <a:lnTo>
                      <a:pt x="62" y="30"/>
                    </a:lnTo>
                    <a:lnTo>
                      <a:pt x="60" y="32"/>
                    </a:lnTo>
                    <a:lnTo>
                      <a:pt x="60" y="32"/>
                    </a:lnTo>
                    <a:lnTo>
                      <a:pt x="58" y="32"/>
                    </a:lnTo>
                    <a:lnTo>
                      <a:pt x="56" y="32"/>
                    </a:lnTo>
                    <a:lnTo>
                      <a:pt x="54" y="32"/>
                    </a:lnTo>
                    <a:lnTo>
                      <a:pt x="52" y="30"/>
                    </a:lnTo>
                    <a:lnTo>
                      <a:pt x="50" y="28"/>
                    </a:lnTo>
                    <a:lnTo>
                      <a:pt x="50" y="28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38" y="22"/>
                    </a:lnTo>
                    <a:lnTo>
                      <a:pt x="38" y="20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2" y="20"/>
                    </a:lnTo>
                    <a:lnTo>
                      <a:pt x="32" y="22"/>
                    </a:lnTo>
                    <a:lnTo>
                      <a:pt x="32" y="26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4" y="28"/>
                    </a:lnTo>
                    <a:lnTo>
                      <a:pt x="34" y="30"/>
                    </a:lnTo>
                    <a:lnTo>
                      <a:pt x="34" y="32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8" y="36"/>
                    </a:lnTo>
                    <a:lnTo>
                      <a:pt x="42" y="40"/>
                    </a:lnTo>
                    <a:lnTo>
                      <a:pt x="42" y="40"/>
                    </a:lnTo>
                    <a:lnTo>
                      <a:pt x="44" y="42"/>
                    </a:lnTo>
                    <a:lnTo>
                      <a:pt x="46" y="44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52" y="48"/>
                    </a:lnTo>
                    <a:lnTo>
                      <a:pt x="56" y="50"/>
                    </a:lnTo>
                    <a:lnTo>
                      <a:pt x="56" y="50"/>
                    </a:lnTo>
                    <a:lnTo>
                      <a:pt x="60" y="52"/>
                    </a:lnTo>
                    <a:lnTo>
                      <a:pt x="62" y="52"/>
                    </a:lnTo>
                    <a:lnTo>
                      <a:pt x="62" y="52"/>
                    </a:lnTo>
                    <a:lnTo>
                      <a:pt x="62" y="52"/>
                    </a:lnTo>
                    <a:lnTo>
                      <a:pt x="64" y="54"/>
                    </a:lnTo>
                    <a:lnTo>
                      <a:pt x="68" y="56"/>
                    </a:lnTo>
                    <a:lnTo>
                      <a:pt x="72" y="58"/>
                    </a:lnTo>
                    <a:lnTo>
                      <a:pt x="72" y="58"/>
                    </a:lnTo>
                    <a:lnTo>
                      <a:pt x="76" y="60"/>
                    </a:lnTo>
                    <a:lnTo>
                      <a:pt x="80" y="60"/>
                    </a:lnTo>
                    <a:lnTo>
                      <a:pt x="90" y="64"/>
                    </a:lnTo>
                    <a:lnTo>
                      <a:pt x="90" y="64"/>
                    </a:lnTo>
                    <a:lnTo>
                      <a:pt x="94" y="64"/>
                    </a:lnTo>
                    <a:lnTo>
                      <a:pt x="96" y="66"/>
                    </a:lnTo>
                    <a:lnTo>
                      <a:pt x="96" y="66"/>
                    </a:lnTo>
                    <a:lnTo>
                      <a:pt x="102" y="64"/>
                    </a:lnTo>
                    <a:lnTo>
                      <a:pt x="104" y="64"/>
                    </a:lnTo>
                    <a:lnTo>
                      <a:pt x="106" y="66"/>
                    </a:lnTo>
                    <a:lnTo>
                      <a:pt x="106" y="66"/>
                    </a:lnTo>
                    <a:lnTo>
                      <a:pt x="108" y="66"/>
                    </a:lnTo>
                    <a:lnTo>
                      <a:pt x="108" y="66"/>
                    </a:lnTo>
                    <a:lnTo>
                      <a:pt x="108" y="66"/>
                    </a:lnTo>
                    <a:lnTo>
                      <a:pt x="108" y="68"/>
                    </a:lnTo>
                    <a:lnTo>
                      <a:pt x="106" y="68"/>
                    </a:lnTo>
                    <a:lnTo>
                      <a:pt x="106" y="68"/>
                    </a:lnTo>
                    <a:lnTo>
                      <a:pt x="102" y="72"/>
                    </a:lnTo>
                    <a:lnTo>
                      <a:pt x="100" y="74"/>
                    </a:lnTo>
                    <a:lnTo>
                      <a:pt x="100" y="74"/>
                    </a:lnTo>
                    <a:lnTo>
                      <a:pt x="98" y="76"/>
                    </a:lnTo>
                    <a:lnTo>
                      <a:pt x="96" y="80"/>
                    </a:lnTo>
                    <a:lnTo>
                      <a:pt x="94" y="82"/>
                    </a:lnTo>
                    <a:lnTo>
                      <a:pt x="92" y="86"/>
                    </a:lnTo>
                    <a:lnTo>
                      <a:pt x="92" y="86"/>
                    </a:lnTo>
                    <a:lnTo>
                      <a:pt x="88" y="88"/>
                    </a:lnTo>
                    <a:lnTo>
                      <a:pt x="86" y="92"/>
                    </a:lnTo>
                    <a:lnTo>
                      <a:pt x="82" y="94"/>
                    </a:lnTo>
                    <a:lnTo>
                      <a:pt x="78" y="98"/>
                    </a:lnTo>
                    <a:lnTo>
                      <a:pt x="78" y="98"/>
                    </a:lnTo>
                    <a:lnTo>
                      <a:pt x="78" y="98"/>
                    </a:lnTo>
                    <a:lnTo>
                      <a:pt x="76" y="100"/>
                    </a:lnTo>
                    <a:lnTo>
                      <a:pt x="74" y="102"/>
                    </a:lnTo>
                    <a:lnTo>
                      <a:pt x="74" y="104"/>
                    </a:lnTo>
                    <a:lnTo>
                      <a:pt x="74" y="104"/>
                    </a:lnTo>
                    <a:lnTo>
                      <a:pt x="70" y="106"/>
                    </a:lnTo>
                    <a:lnTo>
                      <a:pt x="66" y="110"/>
                    </a:lnTo>
                    <a:lnTo>
                      <a:pt x="66" y="110"/>
                    </a:lnTo>
                    <a:lnTo>
                      <a:pt x="64" y="114"/>
                    </a:lnTo>
                    <a:lnTo>
                      <a:pt x="62" y="116"/>
                    </a:lnTo>
                    <a:lnTo>
                      <a:pt x="60" y="118"/>
                    </a:lnTo>
                    <a:lnTo>
                      <a:pt x="58" y="118"/>
                    </a:lnTo>
                    <a:lnTo>
                      <a:pt x="56" y="120"/>
                    </a:lnTo>
                    <a:lnTo>
                      <a:pt x="54" y="120"/>
                    </a:lnTo>
                    <a:lnTo>
                      <a:pt x="54" y="120"/>
                    </a:lnTo>
                    <a:lnTo>
                      <a:pt x="50" y="120"/>
                    </a:lnTo>
                    <a:lnTo>
                      <a:pt x="44" y="122"/>
                    </a:lnTo>
                    <a:lnTo>
                      <a:pt x="42" y="122"/>
                    </a:lnTo>
                    <a:lnTo>
                      <a:pt x="40" y="124"/>
                    </a:lnTo>
                    <a:lnTo>
                      <a:pt x="38" y="124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6" y="128"/>
                    </a:lnTo>
                    <a:lnTo>
                      <a:pt x="34" y="130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2" y="132"/>
                    </a:lnTo>
                    <a:lnTo>
                      <a:pt x="28" y="134"/>
                    </a:lnTo>
                    <a:lnTo>
                      <a:pt x="24" y="136"/>
                    </a:lnTo>
                    <a:lnTo>
                      <a:pt x="24" y="136"/>
                    </a:lnTo>
                    <a:lnTo>
                      <a:pt x="22" y="136"/>
                    </a:lnTo>
                    <a:lnTo>
                      <a:pt x="18" y="136"/>
                    </a:lnTo>
                    <a:lnTo>
                      <a:pt x="18" y="136"/>
                    </a:lnTo>
                    <a:lnTo>
                      <a:pt x="20" y="138"/>
                    </a:lnTo>
                    <a:lnTo>
                      <a:pt x="20" y="138"/>
                    </a:lnTo>
                    <a:lnTo>
                      <a:pt x="20" y="140"/>
                    </a:lnTo>
                    <a:lnTo>
                      <a:pt x="20" y="142"/>
                    </a:lnTo>
                    <a:lnTo>
                      <a:pt x="18" y="144"/>
                    </a:lnTo>
                    <a:lnTo>
                      <a:pt x="18" y="146"/>
                    </a:lnTo>
                    <a:lnTo>
                      <a:pt x="16" y="146"/>
                    </a:lnTo>
                    <a:lnTo>
                      <a:pt x="16" y="148"/>
                    </a:lnTo>
                    <a:lnTo>
                      <a:pt x="16" y="148"/>
                    </a:lnTo>
                    <a:lnTo>
                      <a:pt x="10" y="150"/>
                    </a:lnTo>
                    <a:lnTo>
                      <a:pt x="6" y="152"/>
                    </a:lnTo>
                    <a:lnTo>
                      <a:pt x="4" y="154"/>
                    </a:lnTo>
                    <a:lnTo>
                      <a:pt x="4" y="154"/>
                    </a:lnTo>
                    <a:lnTo>
                      <a:pt x="2" y="156"/>
                    </a:lnTo>
                    <a:lnTo>
                      <a:pt x="2" y="158"/>
                    </a:lnTo>
                    <a:lnTo>
                      <a:pt x="2" y="160"/>
                    </a:lnTo>
                    <a:lnTo>
                      <a:pt x="0" y="162"/>
                    </a:lnTo>
                    <a:lnTo>
                      <a:pt x="0" y="166"/>
                    </a:lnTo>
                    <a:lnTo>
                      <a:pt x="0" y="170"/>
                    </a:lnTo>
                    <a:lnTo>
                      <a:pt x="0" y="170"/>
                    </a:lnTo>
                    <a:lnTo>
                      <a:pt x="2" y="186"/>
                    </a:lnTo>
                    <a:lnTo>
                      <a:pt x="2" y="186"/>
                    </a:lnTo>
                    <a:lnTo>
                      <a:pt x="0" y="200"/>
                    </a:lnTo>
                    <a:lnTo>
                      <a:pt x="0" y="200"/>
                    </a:lnTo>
                    <a:lnTo>
                      <a:pt x="0" y="206"/>
                    </a:lnTo>
                    <a:lnTo>
                      <a:pt x="0" y="210"/>
                    </a:lnTo>
                    <a:lnTo>
                      <a:pt x="2" y="212"/>
                    </a:lnTo>
                    <a:lnTo>
                      <a:pt x="2" y="212"/>
                    </a:lnTo>
                    <a:lnTo>
                      <a:pt x="2" y="216"/>
                    </a:lnTo>
                    <a:lnTo>
                      <a:pt x="4" y="218"/>
                    </a:lnTo>
                    <a:lnTo>
                      <a:pt x="6" y="220"/>
                    </a:lnTo>
                    <a:lnTo>
                      <a:pt x="8" y="222"/>
                    </a:lnTo>
                    <a:lnTo>
                      <a:pt x="8" y="222"/>
                    </a:lnTo>
                    <a:lnTo>
                      <a:pt x="10" y="226"/>
                    </a:lnTo>
                    <a:lnTo>
                      <a:pt x="12" y="228"/>
                    </a:lnTo>
                    <a:lnTo>
                      <a:pt x="12" y="228"/>
                    </a:lnTo>
                    <a:lnTo>
                      <a:pt x="12" y="228"/>
                    </a:lnTo>
                    <a:lnTo>
                      <a:pt x="14" y="228"/>
                    </a:lnTo>
                    <a:lnTo>
                      <a:pt x="14" y="228"/>
                    </a:lnTo>
                    <a:lnTo>
                      <a:pt x="16" y="224"/>
                    </a:lnTo>
                    <a:lnTo>
                      <a:pt x="16" y="224"/>
                    </a:lnTo>
                    <a:lnTo>
                      <a:pt x="20" y="220"/>
                    </a:lnTo>
                    <a:lnTo>
                      <a:pt x="24" y="216"/>
                    </a:lnTo>
                    <a:lnTo>
                      <a:pt x="24" y="216"/>
                    </a:lnTo>
                    <a:lnTo>
                      <a:pt x="24" y="216"/>
                    </a:lnTo>
                    <a:lnTo>
                      <a:pt x="26" y="214"/>
                    </a:lnTo>
                    <a:lnTo>
                      <a:pt x="28" y="210"/>
                    </a:lnTo>
                    <a:lnTo>
                      <a:pt x="30" y="206"/>
                    </a:lnTo>
                    <a:lnTo>
                      <a:pt x="32" y="204"/>
                    </a:lnTo>
                    <a:lnTo>
                      <a:pt x="34" y="202"/>
                    </a:lnTo>
                    <a:lnTo>
                      <a:pt x="34" y="202"/>
                    </a:lnTo>
                    <a:lnTo>
                      <a:pt x="36" y="200"/>
                    </a:lnTo>
                    <a:lnTo>
                      <a:pt x="38" y="198"/>
                    </a:lnTo>
                    <a:lnTo>
                      <a:pt x="42" y="194"/>
                    </a:lnTo>
                    <a:lnTo>
                      <a:pt x="42" y="194"/>
                    </a:lnTo>
                    <a:lnTo>
                      <a:pt x="44" y="192"/>
                    </a:lnTo>
                    <a:lnTo>
                      <a:pt x="46" y="190"/>
                    </a:lnTo>
                    <a:lnTo>
                      <a:pt x="52" y="186"/>
                    </a:lnTo>
                    <a:lnTo>
                      <a:pt x="54" y="182"/>
                    </a:lnTo>
                    <a:lnTo>
                      <a:pt x="58" y="178"/>
                    </a:lnTo>
                    <a:lnTo>
                      <a:pt x="58" y="178"/>
                    </a:lnTo>
                    <a:lnTo>
                      <a:pt x="64" y="174"/>
                    </a:lnTo>
                    <a:lnTo>
                      <a:pt x="68" y="170"/>
                    </a:lnTo>
                    <a:lnTo>
                      <a:pt x="74" y="166"/>
                    </a:lnTo>
                    <a:lnTo>
                      <a:pt x="80" y="162"/>
                    </a:lnTo>
                    <a:lnTo>
                      <a:pt x="80" y="162"/>
                    </a:lnTo>
                    <a:lnTo>
                      <a:pt x="88" y="152"/>
                    </a:lnTo>
                    <a:lnTo>
                      <a:pt x="96" y="144"/>
                    </a:lnTo>
                    <a:lnTo>
                      <a:pt x="96" y="144"/>
                    </a:lnTo>
                    <a:lnTo>
                      <a:pt x="100" y="140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06" y="132"/>
                    </a:lnTo>
                    <a:lnTo>
                      <a:pt x="108" y="130"/>
                    </a:lnTo>
                    <a:lnTo>
                      <a:pt x="110" y="128"/>
                    </a:lnTo>
                    <a:lnTo>
                      <a:pt x="110" y="128"/>
                    </a:lnTo>
                    <a:lnTo>
                      <a:pt x="112" y="126"/>
                    </a:lnTo>
                    <a:lnTo>
                      <a:pt x="112" y="126"/>
                    </a:lnTo>
                    <a:lnTo>
                      <a:pt x="116" y="124"/>
                    </a:lnTo>
                    <a:lnTo>
                      <a:pt x="118" y="120"/>
                    </a:lnTo>
                    <a:lnTo>
                      <a:pt x="122" y="114"/>
                    </a:lnTo>
                    <a:lnTo>
                      <a:pt x="122" y="114"/>
                    </a:lnTo>
                    <a:lnTo>
                      <a:pt x="124" y="108"/>
                    </a:lnTo>
                    <a:lnTo>
                      <a:pt x="130" y="102"/>
                    </a:lnTo>
                    <a:lnTo>
                      <a:pt x="134" y="96"/>
                    </a:lnTo>
                    <a:lnTo>
                      <a:pt x="134" y="94"/>
                    </a:lnTo>
                    <a:lnTo>
                      <a:pt x="136" y="90"/>
                    </a:lnTo>
                    <a:lnTo>
                      <a:pt x="136" y="90"/>
                    </a:lnTo>
                    <a:lnTo>
                      <a:pt x="138" y="84"/>
                    </a:lnTo>
                    <a:lnTo>
                      <a:pt x="138" y="80"/>
                    </a:lnTo>
                    <a:lnTo>
                      <a:pt x="138" y="78"/>
                    </a:lnTo>
                    <a:lnTo>
                      <a:pt x="138" y="78"/>
                    </a:lnTo>
                    <a:lnTo>
                      <a:pt x="140" y="74"/>
                    </a:lnTo>
                    <a:lnTo>
                      <a:pt x="140" y="72"/>
                    </a:lnTo>
                    <a:lnTo>
                      <a:pt x="140" y="68"/>
                    </a:lnTo>
                    <a:lnTo>
                      <a:pt x="140" y="68"/>
                    </a:lnTo>
                    <a:lnTo>
                      <a:pt x="142" y="66"/>
                    </a:lnTo>
                    <a:lnTo>
                      <a:pt x="142" y="66"/>
                    </a:lnTo>
                    <a:lnTo>
                      <a:pt x="144" y="62"/>
                    </a:lnTo>
                    <a:lnTo>
                      <a:pt x="146" y="58"/>
                    </a:lnTo>
                    <a:lnTo>
                      <a:pt x="148" y="56"/>
                    </a:lnTo>
                    <a:lnTo>
                      <a:pt x="148" y="56"/>
                    </a:lnTo>
                    <a:lnTo>
                      <a:pt x="150" y="54"/>
                    </a:lnTo>
                    <a:lnTo>
                      <a:pt x="150" y="52"/>
                    </a:lnTo>
                    <a:lnTo>
                      <a:pt x="152" y="44"/>
                    </a:lnTo>
                    <a:lnTo>
                      <a:pt x="152" y="44"/>
                    </a:lnTo>
                    <a:lnTo>
                      <a:pt x="154" y="40"/>
                    </a:lnTo>
                    <a:lnTo>
                      <a:pt x="154" y="36"/>
                    </a:lnTo>
                    <a:lnTo>
                      <a:pt x="156" y="30"/>
                    </a:lnTo>
                    <a:lnTo>
                      <a:pt x="156" y="30"/>
                    </a:lnTo>
                    <a:lnTo>
                      <a:pt x="156" y="28"/>
                    </a:lnTo>
                    <a:lnTo>
                      <a:pt x="158" y="28"/>
                    </a:lnTo>
                    <a:lnTo>
                      <a:pt x="158" y="26"/>
                    </a:lnTo>
                    <a:lnTo>
                      <a:pt x="158" y="26"/>
                    </a:lnTo>
                    <a:lnTo>
                      <a:pt x="160" y="26"/>
                    </a:lnTo>
                    <a:lnTo>
                      <a:pt x="160" y="24"/>
                    </a:lnTo>
                    <a:lnTo>
                      <a:pt x="160" y="24"/>
                    </a:lnTo>
                    <a:lnTo>
                      <a:pt x="158" y="22"/>
                    </a:lnTo>
                    <a:lnTo>
                      <a:pt x="158" y="22"/>
                    </a:lnTo>
                    <a:lnTo>
                      <a:pt x="158" y="22"/>
                    </a:lnTo>
                    <a:lnTo>
                      <a:pt x="158" y="22"/>
                    </a:lnTo>
                    <a:lnTo>
                      <a:pt x="158" y="2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22" name="Freeform 632"/>
              <p:cNvSpPr>
                <a:spLocks/>
              </p:cNvSpPr>
              <p:nvPr/>
            </p:nvSpPr>
            <p:spPr bwMode="auto">
              <a:xfrm>
                <a:off x="3263" y="2746"/>
                <a:ext cx="130" cy="154"/>
              </a:xfrm>
              <a:custGeom>
                <a:avLst/>
                <a:gdLst>
                  <a:gd name="T0" fmla="*/ 118 w 130"/>
                  <a:gd name="T1" fmla="*/ 18 h 154"/>
                  <a:gd name="T2" fmla="*/ 102 w 130"/>
                  <a:gd name="T3" fmla="*/ 20 h 154"/>
                  <a:gd name="T4" fmla="*/ 90 w 130"/>
                  <a:gd name="T5" fmla="*/ 24 h 154"/>
                  <a:gd name="T6" fmla="*/ 84 w 130"/>
                  <a:gd name="T7" fmla="*/ 28 h 154"/>
                  <a:gd name="T8" fmla="*/ 74 w 130"/>
                  <a:gd name="T9" fmla="*/ 26 h 154"/>
                  <a:gd name="T10" fmla="*/ 64 w 130"/>
                  <a:gd name="T11" fmla="*/ 18 h 154"/>
                  <a:gd name="T12" fmla="*/ 56 w 130"/>
                  <a:gd name="T13" fmla="*/ 14 h 154"/>
                  <a:gd name="T14" fmla="*/ 48 w 130"/>
                  <a:gd name="T15" fmla="*/ 8 h 154"/>
                  <a:gd name="T16" fmla="*/ 40 w 130"/>
                  <a:gd name="T17" fmla="*/ 4 h 154"/>
                  <a:gd name="T18" fmla="*/ 30 w 130"/>
                  <a:gd name="T19" fmla="*/ 4 h 154"/>
                  <a:gd name="T20" fmla="*/ 24 w 130"/>
                  <a:gd name="T21" fmla="*/ 0 h 154"/>
                  <a:gd name="T22" fmla="*/ 22 w 130"/>
                  <a:gd name="T23" fmla="*/ 4 h 154"/>
                  <a:gd name="T24" fmla="*/ 12 w 130"/>
                  <a:gd name="T25" fmla="*/ 4 h 154"/>
                  <a:gd name="T26" fmla="*/ 4 w 130"/>
                  <a:gd name="T27" fmla="*/ 6 h 154"/>
                  <a:gd name="T28" fmla="*/ 0 w 130"/>
                  <a:gd name="T29" fmla="*/ 12 h 154"/>
                  <a:gd name="T30" fmla="*/ 4 w 130"/>
                  <a:gd name="T31" fmla="*/ 18 h 154"/>
                  <a:gd name="T32" fmla="*/ 6 w 130"/>
                  <a:gd name="T33" fmla="*/ 22 h 154"/>
                  <a:gd name="T34" fmla="*/ 10 w 130"/>
                  <a:gd name="T35" fmla="*/ 26 h 154"/>
                  <a:gd name="T36" fmla="*/ 14 w 130"/>
                  <a:gd name="T37" fmla="*/ 30 h 154"/>
                  <a:gd name="T38" fmla="*/ 18 w 130"/>
                  <a:gd name="T39" fmla="*/ 46 h 154"/>
                  <a:gd name="T40" fmla="*/ 16 w 130"/>
                  <a:gd name="T41" fmla="*/ 56 h 154"/>
                  <a:gd name="T42" fmla="*/ 10 w 130"/>
                  <a:gd name="T43" fmla="*/ 64 h 154"/>
                  <a:gd name="T44" fmla="*/ 4 w 130"/>
                  <a:gd name="T45" fmla="*/ 76 h 154"/>
                  <a:gd name="T46" fmla="*/ 6 w 130"/>
                  <a:gd name="T47" fmla="*/ 78 h 154"/>
                  <a:gd name="T48" fmla="*/ 14 w 130"/>
                  <a:gd name="T49" fmla="*/ 76 h 154"/>
                  <a:gd name="T50" fmla="*/ 12 w 130"/>
                  <a:gd name="T51" fmla="*/ 80 h 154"/>
                  <a:gd name="T52" fmla="*/ 8 w 130"/>
                  <a:gd name="T53" fmla="*/ 84 h 154"/>
                  <a:gd name="T54" fmla="*/ 2 w 130"/>
                  <a:gd name="T55" fmla="*/ 86 h 154"/>
                  <a:gd name="T56" fmla="*/ 2 w 130"/>
                  <a:gd name="T57" fmla="*/ 90 h 154"/>
                  <a:gd name="T58" fmla="*/ 0 w 130"/>
                  <a:gd name="T59" fmla="*/ 94 h 154"/>
                  <a:gd name="T60" fmla="*/ 2 w 130"/>
                  <a:gd name="T61" fmla="*/ 98 h 154"/>
                  <a:gd name="T62" fmla="*/ 12 w 130"/>
                  <a:gd name="T63" fmla="*/ 102 h 154"/>
                  <a:gd name="T64" fmla="*/ 28 w 130"/>
                  <a:gd name="T65" fmla="*/ 112 h 154"/>
                  <a:gd name="T66" fmla="*/ 40 w 130"/>
                  <a:gd name="T67" fmla="*/ 120 h 154"/>
                  <a:gd name="T68" fmla="*/ 50 w 130"/>
                  <a:gd name="T69" fmla="*/ 124 h 154"/>
                  <a:gd name="T70" fmla="*/ 64 w 130"/>
                  <a:gd name="T71" fmla="*/ 132 h 154"/>
                  <a:gd name="T72" fmla="*/ 66 w 130"/>
                  <a:gd name="T73" fmla="*/ 136 h 154"/>
                  <a:gd name="T74" fmla="*/ 66 w 130"/>
                  <a:gd name="T75" fmla="*/ 142 h 154"/>
                  <a:gd name="T76" fmla="*/ 76 w 130"/>
                  <a:gd name="T77" fmla="*/ 148 h 154"/>
                  <a:gd name="T78" fmla="*/ 90 w 130"/>
                  <a:gd name="T79" fmla="*/ 154 h 154"/>
                  <a:gd name="T80" fmla="*/ 94 w 130"/>
                  <a:gd name="T81" fmla="*/ 152 h 154"/>
                  <a:gd name="T82" fmla="*/ 98 w 130"/>
                  <a:gd name="T83" fmla="*/ 142 h 154"/>
                  <a:gd name="T84" fmla="*/ 100 w 130"/>
                  <a:gd name="T85" fmla="*/ 134 h 154"/>
                  <a:gd name="T86" fmla="*/ 104 w 130"/>
                  <a:gd name="T87" fmla="*/ 132 h 154"/>
                  <a:gd name="T88" fmla="*/ 104 w 130"/>
                  <a:gd name="T89" fmla="*/ 130 h 154"/>
                  <a:gd name="T90" fmla="*/ 106 w 130"/>
                  <a:gd name="T91" fmla="*/ 124 h 154"/>
                  <a:gd name="T92" fmla="*/ 112 w 130"/>
                  <a:gd name="T93" fmla="*/ 120 h 154"/>
                  <a:gd name="T94" fmla="*/ 114 w 130"/>
                  <a:gd name="T95" fmla="*/ 116 h 154"/>
                  <a:gd name="T96" fmla="*/ 116 w 130"/>
                  <a:gd name="T97" fmla="*/ 112 h 154"/>
                  <a:gd name="T98" fmla="*/ 122 w 130"/>
                  <a:gd name="T99" fmla="*/ 110 h 154"/>
                  <a:gd name="T100" fmla="*/ 118 w 130"/>
                  <a:gd name="T101" fmla="*/ 104 h 154"/>
                  <a:gd name="T102" fmla="*/ 112 w 130"/>
                  <a:gd name="T103" fmla="*/ 98 h 154"/>
                  <a:gd name="T104" fmla="*/ 110 w 130"/>
                  <a:gd name="T105" fmla="*/ 88 h 154"/>
                  <a:gd name="T106" fmla="*/ 112 w 130"/>
                  <a:gd name="T107" fmla="*/ 68 h 154"/>
                  <a:gd name="T108" fmla="*/ 110 w 130"/>
                  <a:gd name="T109" fmla="*/ 44 h 154"/>
                  <a:gd name="T110" fmla="*/ 114 w 130"/>
                  <a:gd name="T111" fmla="*/ 36 h 154"/>
                  <a:gd name="T112" fmla="*/ 126 w 130"/>
                  <a:gd name="T113" fmla="*/ 30 h 154"/>
                  <a:gd name="T114" fmla="*/ 128 w 130"/>
                  <a:gd name="T115" fmla="*/ 26 h 154"/>
                  <a:gd name="T116" fmla="*/ 130 w 130"/>
                  <a:gd name="T117" fmla="*/ 20 h 154"/>
                  <a:gd name="T118" fmla="*/ 128 w 130"/>
                  <a:gd name="T119" fmla="*/ 18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30" h="154">
                    <a:moveTo>
                      <a:pt x="128" y="18"/>
                    </a:moveTo>
                    <a:lnTo>
                      <a:pt x="128" y="18"/>
                    </a:lnTo>
                    <a:lnTo>
                      <a:pt x="122" y="18"/>
                    </a:lnTo>
                    <a:lnTo>
                      <a:pt x="118" y="18"/>
                    </a:lnTo>
                    <a:lnTo>
                      <a:pt x="116" y="18"/>
                    </a:lnTo>
                    <a:lnTo>
                      <a:pt x="116" y="18"/>
                    </a:lnTo>
                    <a:lnTo>
                      <a:pt x="106" y="18"/>
                    </a:lnTo>
                    <a:lnTo>
                      <a:pt x="102" y="20"/>
                    </a:lnTo>
                    <a:lnTo>
                      <a:pt x="98" y="20"/>
                    </a:lnTo>
                    <a:lnTo>
                      <a:pt x="98" y="20"/>
                    </a:lnTo>
                    <a:lnTo>
                      <a:pt x="94" y="22"/>
                    </a:lnTo>
                    <a:lnTo>
                      <a:pt x="90" y="24"/>
                    </a:lnTo>
                    <a:lnTo>
                      <a:pt x="86" y="26"/>
                    </a:lnTo>
                    <a:lnTo>
                      <a:pt x="84" y="26"/>
                    </a:lnTo>
                    <a:lnTo>
                      <a:pt x="84" y="28"/>
                    </a:lnTo>
                    <a:lnTo>
                      <a:pt x="84" y="28"/>
                    </a:lnTo>
                    <a:lnTo>
                      <a:pt x="80" y="28"/>
                    </a:lnTo>
                    <a:lnTo>
                      <a:pt x="78" y="28"/>
                    </a:lnTo>
                    <a:lnTo>
                      <a:pt x="76" y="26"/>
                    </a:lnTo>
                    <a:lnTo>
                      <a:pt x="74" y="26"/>
                    </a:lnTo>
                    <a:lnTo>
                      <a:pt x="70" y="24"/>
                    </a:lnTo>
                    <a:lnTo>
                      <a:pt x="66" y="20"/>
                    </a:lnTo>
                    <a:lnTo>
                      <a:pt x="66" y="20"/>
                    </a:lnTo>
                    <a:lnTo>
                      <a:pt x="64" y="18"/>
                    </a:lnTo>
                    <a:lnTo>
                      <a:pt x="60" y="16"/>
                    </a:lnTo>
                    <a:lnTo>
                      <a:pt x="58" y="16"/>
                    </a:lnTo>
                    <a:lnTo>
                      <a:pt x="58" y="16"/>
                    </a:lnTo>
                    <a:lnTo>
                      <a:pt x="56" y="14"/>
                    </a:lnTo>
                    <a:lnTo>
                      <a:pt x="54" y="14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48" y="8"/>
                    </a:lnTo>
                    <a:lnTo>
                      <a:pt x="46" y="6"/>
                    </a:lnTo>
                    <a:lnTo>
                      <a:pt x="44" y="6"/>
                    </a:lnTo>
                    <a:lnTo>
                      <a:pt x="42" y="4"/>
                    </a:lnTo>
                    <a:lnTo>
                      <a:pt x="40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4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2" y="4"/>
                    </a:lnTo>
                    <a:lnTo>
                      <a:pt x="20" y="4"/>
                    </a:lnTo>
                    <a:lnTo>
                      <a:pt x="16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6"/>
                    </a:lnTo>
                    <a:lnTo>
                      <a:pt x="8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4" y="18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4"/>
                    </a:lnTo>
                    <a:lnTo>
                      <a:pt x="8" y="24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2" y="28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6" y="34"/>
                    </a:lnTo>
                    <a:lnTo>
                      <a:pt x="16" y="38"/>
                    </a:lnTo>
                    <a:lnTo>
                      <a:pt x="16" y="42"/>
                    </a:lnTo>
                    <a:lnTo>
                      <a:pt x="18" y="46"/>
                    </a:lnTo>
                    <a:lnTo>
                      <a:pt x="18" y="46"/>
                    </a:lnTo>
                    <a:lnTo>
                      <a:pt x="18" y="50"/>
                    </a:lnTo>
                    <a:lnTo>
                      <a:pt x="16" y="54"/>
                    </a:lnTo>
                    <a:lnTo>
                      <a:pt x="16" y="56"/>
                    </a:lnTo>
                    <a:lnTo>
                      <a:pt x="14" y="60"/>
                    </a:lnTo>
                    <a:lnTo>
                      <a:pt x="14" y="60"/>
                    </a:lnTo>
                    <a:lnTo>
                      <a:pt x="12" y="62"/>
                    </a:lnTo>
                    <a:lnTo>
                      <a:pt x="10" y="64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6" y="74"/>
                    </a:lnTo>
                    <a:lnTo>
                      <a:pt x="4" y="76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6" y="78"/>
                    </a:lnTo>
                    <a:lnTo>
                      <a:pt x="10" y="76"/>
                    </a:lnTo>
                    <a:lnTo>
                      <a:pt x="12" y="76"/>
                    </a:lnTo>
                    <a:lnTo>
                      <a:pt x="12" y="76"/>
                    </a:lnTo>
                    <a:lnTo>
                      <a:pt x="14" y="76"/>
                    </a:lnTo>
                    <a:lnTo>
                      <a:pt x="14" y="78"/>
                    </a:lnTo>
                    <a:lnTo>
                      <a:pt x="14" y="78"/>
                    </a:lnTo>
                    <a:lnTo>
                      <a:pt x="12" y="78"/>
                    </a:lnTo>
                    <a:lnTo>
                      <a:pt x="12" y="80"/>
                    </a:lnTo>
                    <a:lnTo>
                      <a:pt x="10" y="82"/>
                    </a:lnTo>
                    <a:lnTo>
                      <a:pt x="10" y="82"/>
                    </a:lnTo>
                    <a:lnTo>
                      <a:pt x="10" y="84"/>
                    </a:lnTo>
                    <a:lnTo>
                      <a:pt x="8" y="84"/>
                    </a:lnTo>
                    <a:lnTo>
                      <a:pt x="6" y="84"/>
                    </a:lnTo>
                    <a:lnTo>
                      <a:pt x="6" y="84"/>
                    </a:lnTo>
                    <a:lnTo>
                      <a:pt x="4" y="84"/>
                    </a:lnTo>
                    <a:lnTo>
                      <a:pt x="2" y="86"/>
                    </a:lnTo>
                    <a:lnTo>
                      <a:pt x="2" y="86"/>
                    </a:lnTo>
                    <a:lnTo>
                      <a:pt x="2" y="88"/>
                    </a:lnTo>
                    <a:lnTo>
                      <a:pt x="2" y="88"/>
                    </a:lnTo>
                    <a:lnTo>
                      <a:pt x="2" y="90"/>
                    </a:lnTo>
                    <a:lnTo>
                      <a:pt x="2" y="92"/>
                    </a:lnTo>
                    <a:lnTo>
                      <a:pt x="0" y="92"/>
                    </a:lnTo>
                    <a:lnTo>
                      <a:pt x="0" y="94"/>
                    </a:lnTo>
                    <a:lnTo>
                      <a:pt x="0" y="94"/>
                    </a:lnTo>
                    <a:lnTo>
                      <a:pt x="0" y="94"/>
                    </a:lnTo>
                    <a:lnTo>
                      <a:pt x="0" y="96"/>
                    </a:lnTo>
                    <a:lnTo>
                      <a:pt x="0" y="96"/>
                    </a:lnTo>
                    <a:lnTo>
                      <a:pt x="2" y="98"/>
                    </a:lnTo>
                    <a:lnTo>
                      <a:pt x="4" y="100"/>
                    </a:lnTo>
                    <a:lnTo>
                      <a:pt x="8" y="102"/>
                    </a:lnTo>
                    <a:lnTo>
                      <a:pt x="12" y="102"/>
                    </a:lnTo>
                    <a:lnTo>
                      <a:pt x="12" y="102"/>
                    </a:lnTo>
                    <a:lnTo>
                      <a:pt x="16" y="104"/>
                    </a:lnTo>
                    <a:lnTo>
                      <a:pt x="20" y="108"/>
                    </a:lnTo>
                    <a:lnTo>
                      <a:pt x="24" y="110"/>
                    </a:lnTo>
                    <a:lnTo>
                      <a:pt x="28" y="112"/>
                    </a:lnTo>
                    <a:lnTo>
                      <a:pt x="28" y="112"/>
                    </a:lnTo>
                    <a:lnTo>
                      <a:pt x="32" y="114"/>
                    </a:lnTo>
                    <a:lnTo>
                      <a:pt x="36" y="116"/>
                    </a:lnTo>
                    <a:lnTo>
                      <a:pt x="40" y="120"/>
                    </a:lnTo>
                    <a:lnTo>
                      <a:pt x="44" y="122"/>
                    </a:lnTo>
                    <a:lnTo>
                      <a:pt x="44" y="122"/>
                    </a:lnTo>
                    <a:lnTo>
                      <a:pt x="48" y="122"/>
                    </a:lnTo>
                    <a:lnTo>
                      <a:pt x="50" y="124"/>
                    </a:lnTo>
                    <a:lnTo>
                      <a:pt x="56" y="128"/>
                    </a:lnTo>
                    <a:lnTo>
                      <a:pt x="56" y="128"/>
                    </a:lnTo>
                    <a:lnTo>
                      <a:pt x="60" y="130"/>
                    </a:lnTo>
                    <a:lnTo>
                      <a:pt x="64" y="132"/>
                    </a:lnTo>
                    <a:lnTo>
                      <a:pt x="64" y="132"/>
                    </a:lnTo>
                    <a:lnTo>
                      <a:pt x="64" y="132"/>
                    </a:lnTo>
                    <a:lnTo>
                      <a:pt x="66" y="134"/>
                    </a:lnTo>
                    <a:lnTo>
                      <a:pt x="66" y="136"/>
                    </a:lnTo>
                    <a:lnTo>
                      <a:pt x="66" y="138"/>
                    </a:lnTo>
                    <a:lnTo>
                      <a:pt x="66" y="140"/>
                    </a:lnTo>
                    <a:lnTo>
                      <a:pt x="66" y="140"/>
                    </a:lnTo>
                    <a:lnTo>
                      <a:pt x="66" y="142"/>
                    </a:lnTo>
                    <a:lnTo>
                      <a:pt x="68" y="144"/>
                    </a:lnTo>
                    <a:lnTo>
                      <a:pt x="70" y="144"/>
                    </a:lnTo>
                    <a:lnTo>
                      <a:pt x="72" y="146"/>
                    </a:lnTo>
                    <a:lnTo>
                      <a:pt x="76" y="148"/>
                    </a:lnTo>
                    <a:lnTo>
                      <a:pt x="78" y="148"/>
                    </a:lnTo>
                    <a:lnTo>
                      <a:pt x="78" y="148"/>
                    </a:lnTo>
                    <a:lnTo>
                      <a:pt x="84" y="152"/>
                    </a:lnTo>
                    <a:lnTo>
                      <a:pt x="90" y="154"/>
                    </a:lnTo>
                    <a:lnTo>
                      <a:pt x="90" y="154"/>
                    </a:lnTo>
                    <a:lnTo>
                      <a:pt x="94" y="152"/>
                    </a:lnTo>
                    <a:lnTo>
                      <a:pt x="94" y="152"/>
                    </a:lnTo>
                    <a:lnTo>
                      <a:pt x="94" y="152"/>
                    </a:lnTo>
                    <a:lnTo>
                      <a:pt x="96" y="150"/>
                    </a:lnTo>
                    <a:lnTo>
                      <a:pt x="96" y="148"/>
                    </a:lnTo>
                    <a:lnTo>
                      <a:pt x="98" y="142"/>
                    </a:lnTo>
                    <a:lnTo>
                      <a:pt x="98" y="142"/>
                    </a:lnTo>
                    <a:lnTo>
                      <a:pt x="98" y="140"/>
                    </a:lnTo>
                    <a:lnTo>
                      <a:pt x="98" y="136"/>
                    </a:lnTo>
                    <a:lnTo>
                      <a:pt x="100" y="134"/>
                    </a:lnTo>
                    <a:lnTo>
                      <a:pt x="100" y="134"/>
                    </a:lnTo>
                    <a:lnTo>
                      <a:pt x="100" y="132"/>
                    </a:lnTo>
                    <a:lnTo>
                      <a:pt x="100" y="132"/>
                    </a:lnTo>
                    <a:lnTo>
                      <a:pt x="100" y="132"/>
                    </a:lnTo>
                    <a:lnTo>
                      <a:pt x="104" y="132"/>
                    </a:lnTo>
                    <a:lnTo>
                      <a:pt x="104" y="132"/>
                    </a:lnTo>
                    <a:lnTo>
                      <a:pt x="104" y="130"/>
                    </a:lnTo>
                    <a:lnTo>
                      <a:pt x="104" y="130"/>
                    </a:lnTo>
                    <a:lnTo>
                      <a:pt x="104" y="130"/>
                    </a:lnTo>
                    <a:lnTo>
                      <a:pt x="104" y="128"/>
                    </a:lnTo>
                    <a:lnTo>
                      <a:pt x="104" y="126"/>
                    </a:lnTo>
                    <a:lnTo>
                      <a:pt x="106" y="124"/>
                    </a:lnTo>
                    <a:lnTo>
                      <a:pt x="106" y="124"/>
                    </a:lnTo>
                    <a:lnTo>
                      <a:pt x="106" y="124"/>
                    </a:lnTo>
                    <a:lnTo>
                      <a:pt x="106" y="124"/>
                    </a:lnTo>
                    <a:lnTo>
                      <a:pt x="108" y="122"/>
                    </a:lnTo>
                    <a:lnTo>
                      <a:pt x="112" y="120"/>
                    </a:lnTo>
                    <a:lnTo>
                      <a:pt x="112" y="118"/>
                    </a:lnTo>
                    <a:lnTo>
                      <a:pt x="112" y="118"/>
                    </a:lnTo>
                    <a:lnTo>
                      <a:pt x="114" y="118"/>
                    </a:lnTo>
                    <a:lnTo>
                      <a:pt x="114" y="116"/>
                    </a:lnTo>
                    <a:lnTo>
                      <a:pt x="114" y="114"/>
                    </a:lnTo>
                    <a:lnTo>
                      <a:pt x="114" y="114"/>
                    </a:lnTo>
                    <a:lnTo>
                      <a:pt x="116" y="112"/>
                    </a:lnTo>
                    <a:lnTo>
                      <a:pt x="116" y="112"/>
                    </a:lnTo>
                    <a:lnTo>
                      <a:pt x="118" y="112"/>
                    </a:lnTo>
                    <a:lnTo>
                      <a:pt x="118" y="112"/>
                    </a:lnTo>
                    <a:lnTo>
                      <a:pt x="120" y="112"/>
                    </a:lnTo>
                    <a:lnTo>
                      <a:pt x="122" y="110"/>
                    </a:lnTo>
                    <a:lnTo>
                      <a:pt x="122" y="110"/>
                    </a:lnTo>
                    <a:lnTo>
                      <a:pt x="122" y="110"/>
                    </a:lnTo>
                    <a:lnTo>
                      <a:pt x="120" y="108"/>
                    </a:lnTo>
                    <a:lnTo>
                      <a:pt x="118" y="104"/>
                    </a:lnTo>
                    <a:lnTo>
                      <a:pt x="118" y="104"/>
                    </a:lnTo>
                    <a:lnTo>
                      <a:pt x="116" y="102"/>
                    </a:lnTo>
                    <a:lnTo>
                      <a:pt x="114" y="100"/>
                    </a:lnTo>
                    <a:lnTo>
                      <a:pt x="112" y="98"/>
                    </a:lnTo>
                    <a:lnTo>
                      <a:pt x="112" y="94"/>
                    </a:lnTo>
                    <a:lnTo>
                      <a:pt x="112" y="94"/>
                    </a:lnTo>
                    <a:lnTo>
                      <a:pt x="110" y="92"/>
                    </a:lnTo>
                    <a:lnTo>
                      <a:pt x="110" y="88"/>
                    </a:lnTo>
                    <a:lnTo>
                      <a:pt x="110" y="82"/>
                    </a:lnTo>
                    <a:lnTo>
                      <a:pt x="110" y="82"/>
                    </a:lnTo>
                    <a:lnTo>
                      <a:pt x="112" y="68"/>
                    </a:lnTo>
                    <a:lnTo>
                      <a:pt x="112" y="68"/>
                    </a:lnTo>
                    <a:lnTo>
                      <a:pt x="110" y="52"/>
                    </a:lnTo>
                    <a:lnTo>
                      <a:pt x="110" y="52"/>
                    </a:lnTo>
                    <a:lnTo>
                      <a:pt x="110" y="48"/>
                    </a:lnTo>
                    <a:lnTo>
                      <a:pt x="110" y="44"/>
                    </a:lnTo>
                    <a:lnTo>
                      <a:pt x="112" y="42"/>
                    </a:lnTo>
                    <a:lnTo>
                      <a:pt x="112" y="40"/>
                    </a:lnTo>
                    <a:lnTo>
                      <a:pt x="112" y="38"/>
                    </a:lnTo>
                    <a:lnTo>
                      <a:pt x="114" y="36"/>
                    </a:lnTo>
                    <a:lnTo>
                      <a:pt x="114" y="36"/>
                    </a:lnTo>
                    <a:lnTo>
                      <a:pt x="116" y="34"/>
                    </a:lnTo>
                    <a:lnTo>
                      <a:pt x="120" y="32"/>
                    </a:lnTo>
                    <a:lnTo>
                      <a:pt x="126" y="30"/>
                    </a:lnTo>
                    <a:lnTo>
                      <a:pt x="126" y="30"/>
                    </a:lnTo>
                    <a:lnTo>
                      <a:pt x="126" y="28"/>
                    </a:lnTo>
                    <a:lnTo>
                      <a:pt x="128" y="28"/>
                    </a:lnTo>
                    <a:lnTo>
                      <a:pt x="128" y="26"/>
                    </a:lnTo>
                    <a:lnTo>
                      <a:pt x="130" y="24"/>
                    </a:lnTo>
                    <a:lnTo>
                      <a:pt x="130" y="22"/>
                    </a:lnTo>
                    <a:lnTo>
                      <a:pt x="130" y="20"/>
                    </a:lnTo>
                    <a:lnTo>
                      <a:pt x="130" y="20"/>
                    </a:lnTo>
                    <a:lnTo>
                      <a:pt x="128" y="18"/>
                    </a:lnTo>
                    <a:lnTo>
                      <a:pt x="128" y="18"/>
                    </a:lnTo>
                    <a:lnTo>
                      <a:pt x="128" y="18"/>
                    </a:lnTo>
                    <a:lnTo>
                      <a:pt x="128" y="18"/>
                    </a:lnTo>
                    <a:lnTo>
                      <a:pt x="128" y="18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23" name="Freeform 634"/>
              <p:cNvSpPr>
                <a:spLocks/>
              </p:cNvSpPr>
              <p:nvPr/>
            </p:nvSpPr>
            <p:spPr bwMode="auto">
              <a:xfrm>
                <a:off x="3189" y="2758"/>
                <a:ext cx="92" cy="112"/>
              </a:xfrm>
              <a:custGeom>
                <a:avLst/>
                <a:gdLst>
                  <a:gd name="T0" fmla="*/ 24 w 92"/>
                  <a:gd name="T1" fmla="*/ 12 h 112"/>
                  <a:gd name="T2" fmla="*/ 28 w 92"/>
                  <a:gd name="T3" fmla="*/ 22 h 112"/>
                  <a:gd name="T4" fmla="*/ 28 w 92"/>
                  <a:gd name="T5" fmla="*/ 30 h 112"/>
                  <a:gd name="T6" fmla="*/ 26 w 92"/>
                  <a:gd name="T7" fmla="*/ 38 h 112"/>
                  <a:gd name="T8" fmla="*/ 22 w 92"/>
                  <a:gd name="T9" fmla="*/ 40 h 112"/>
                  <a:gd name="T10" fmla="*/ 16 w 92"/>
                  <a:gd name="T11" fmla="*/ 46 h 112"/>
                  <a:gd name="T12" fmla="*/ 8 w 92"/>
                  <a:gd name="T13" fmla="*/ 56 h 112"/>
                  <a:gd name="T14" fmla="*/ 4 w 92"/>
                  <a:gd name="T15" fmla="*/ 64 h 112"/>
                  <a:gd name="T16" fmla="*/ 4 w 92"/>
                  <a:gd name="T17" fmla="*/ 78 h 112"/>
                  <a:gd name="T18" fmla="*/ 4 w 92"/>
                  <a:gd name="T19" fmla="*/ 86 h 112"/>
                  <a:gd name="T20" fmla="*/ 0 w 92"/>
                  <a:gd name="T21" fmla="*/ 90 h 112"/>
                  <a:gd name="T22" fmla="*/ 4 w 92"/>
                  <a:gd name="T23" fmla="*/ 94 h 112"/>
                  <a:gd name="T24" fmla="*/ 10 w 92"/>
                  <a:gd name="T25" fmla="*/ 88 h 112"/>
                  <a:gd name="T26" fmla="*/ 18 w 92"/>
                  <a:gd name="T27" fmla="*/ 88 h 112"/>
                  <a:gd name="T28" fmla="*/ 28 w 92"/>
                  <a:gd name="T29" fmla="*/ 88 h 112"/>
                  <a:gd name="T30" fmla="*/ 32 w 92"/>
                  <a:gd name="T31" fmla="*/ 90 h 112"/>
                  <a:gd name="T32" fmla="*/ 36 w 92"/>
                  <a:gd name="T33" fmla="*/ 98 h 112"/>
                  <a:gd name="T34" fmla="*/ 40 w 92"/>
                  <a:gd name="T35" fmla="*/ 102 h 112"/>
                  <a:gd name="T36" fmla="*/ 40 w 92"/>
                  <a:gd name="T37" fmla="*/ 108 h 112"/>
                  <a:gd name="T38" fmla="*/ 44 w 92"/>
                  <a:gd name="T39" fmla="*/ 104 h 112"/>
                  <a:gd name="T40" fmla="*/ 48 w 92"/>
                  <a:gd name="T41" fmla="*/ 106 h 112"/>
                  <a:gd name="T42" fmla="*/ 52 w 92"/>
                  <a:gd name="T43" fmla="*/ 108 h 112"/>
                  <a:gd name="T44" fmla="*/ 54 w 92"/>
                  <a:gd name="T45" fmla="*/ 112 h 112"/>
                  <a:gd name="T46" fmla="*/ 54 w 92"/>
                  <a:gd name="T47" fmla="*/ 106 h 112"/>
                  <a:gd name="T48" fmla="*/ 58 w 92"/>
                  <a:gd name="T49" fmla="*/ 104 h 112"/>
                  <a:gd name="T50" fmla="*/ 64 w 92"/>
                  <a:gd name="T51" fmla="*/ 106 h 112"/>
                  <a:gd name="T52" fmla="*/ 72 w 92"/>
                  <a:gd name="T53" fmla="*/ 104 h 112"/>
                  <a:gd name="T54" fmla="*/ 72 w 92"/>
                  <a:gd name="T55" fmla="*/ 102 h 112"/>
                  <a:gd name="T56" fmla="*/ 66 w 92"/>
                  <a:gd name="T57" fmla="*/ 100 h 112"/>
                  <a:gd name="T58" fmla="*/ 68 w 92"/>
                  <a:gd name="T59" fmla="*/ 96 h 112"/>
                  <a:gd name="T60" fmla="*/ 72 w 92"/>
                  <a:gd name="T61" fmla="*/ 96 h 112"/>
                  <a:gd name="T62" fmla="*/ 70 w 92"/>
                  <a:gd name="T63" fmla="*/ 90 h 112"/>
                  <a:gd name="T64" fmla="*/ 72 w 92"/>
                  <a:gd name="T65" fmla="*/ 86 h 112"/>
                  <a:gd name="T66" fmla="*/ 74 w 92"/>
                  <a:gd name="T67" fmla="*/ 82 h 112"/>
                  <a:gd name="T68" fmla="*/ 76 w 92"/>
                  <a:gd name="T69" fmla="*/ 76 h 112"/>
                  <a:gd name="T70" fmla="*/ 80 w 92"/>
                  <a:gd name="T71" fmla="*/ 72 h 112"/>
                  <a:gd name="T72" fmla="*/ 84 w 92"/>
                  <a:gd name="T73" fmla="*/ 70 h 112"/>
                  <a:gd name="T74" fmla="*/ 88 w 92"/>
                  <a:gd name="T75" fmla="*/ 64 h 112"/>
                  <a:gd name="T76" fmla="*/ 78 w 92"/>
                  <a:gd name="T77" fmla="*/ 66 h 112"/>
                  <a:gd name="T78" fmla="*/ 82 w 92"/>
                  <a:gd name="T79" fmla="*/ 58 h 112"/>
                  <a:gd name="T80" fmla="*/ 88 w 92"/>
                  <a:gd name="T81" fmla="*/ 48 h 112"/>
                  <a:gd name="T82" fmla="*/ 92 w 92"/>
                  <a:gd name="T83" fmla="*/ 34 h 112"/>
                  <a:gd name="T84" fmla="*/ 88 w 92"/>
                  <a:gd name="T85" fmla="*/ 18 h 112"/>
                  <a:gd name="T86" fmla="*/ 82 w 92"/>
                  <a:gd name="T87" fmla="*/ 12 h 112"/>
                  <a:gd name="T88" fmla="*/ 78 w 92"/>
                  <a:gd name="T89" fmla="*/ 8 h 112"/>
                  <a:gd name="T90" fmla="*/ 74 w 92"/>
                  <a:gd name="T91" fmla="*/ 0 h 112"/>
                  <a:gd name="T92" fmla="*/ 68 w 92"/>
                  <a:gd name="T93" fmla="*/ 4 h 112"/>
                  <a:gd name="T94" fmla="*/ 50 w 92"/>
                  <a:gd name="T95" fmla="*/ 8 h 112"/>
                  <a:gd name="T96" fmla="*/ 28 w 92"/>
                  <a:gd name="T97" fmla="*/ 8 h 112"/>
                  <a:gd name="T98" fmla="*/ 20 w 92"/>
                  <a:gd name="T99" fmla="*/ 4 h 112"/>
                  <a:gd name="T100" fmla="*/ 20 w 92"/>
                  <a:gd name="T101" fmla="*/ 6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92" h="112">
                    <a:moveTo>
                      <a:pt x="20" y="6"/>
                    </a:moveTo>
                    <a:lnTo>
                      <a:pt x="20" y="6"/>
                    </a:lnTo>
                    <a:lnTo>
                      <a:pt x="22" y="10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6" y="16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20"/>
                    </a:lnTo>
                    <a:lnTo>
                      <a:pt x="28" y="22"/>
                    </a:lnTo>
                    <a:lnTo>
                      <a:pt x="28" y="24"/>
                    </a:lnTo>
                    <a:lnTo>
                      <a:pt x="28" y="24"/>
                    </a:lnTo>
                    <a:lnTo>
                      <a:pt x="28" y="28"/>
                    </a:lnTo>
                    <a:lnTo>
                      <a:pt x="28" y="30"/>
                    </a:lnTo>
                    <a:lnTo>
                      <a:pt x="28" y="30"/>
                    </a:lnTo>
                    <a:lnTo>
                      <a:pt x="28" y="34"/>
                    </a:lnTo>
                    <a:lnTo>
                      <a:pt x="28" y="36"/>
                    </a:lnTo>
                    <a:lnTo>
                      <a:pt x="28" y="38"/>
                    </a:lnTo>
                    <a:lnTo>
                      <a:pt x="28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4" y="38"/>
                    </a:lnTo>
                    <a:lnTo>
                      <a:pt x="22" y="38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0" y="40"/>
                    </a:lnTo>
                    <a:lnTo>
                      <a:pt x="20" y="42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6" y="46"/>
                    </a:lnTo>
                    <a:lnTo>
                      <a:pt x="14" y="48"/>
                    </a:lnTo>
                    <a:lnTo>
                      <a:pt x="12" y="50"/>
                    </a:lnTo>
                    <a:lnTo>
                      <a:pt x="10" y="54"/>
                    </a:lnTo>
                    <a:lnTo>
                      <a:pt x="10" y="54"/>
                    </a:lnTo>
                    <a:lnTo>
                      <a:pt x="8" y="56"/>
                    </a:lnTo>
                    <a:lnTo>
                      <a:pt x="8" y="58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6" y="62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8"/>
                    </a:lnTo>
                    <a:lnTo>
                      <a:pt x="4" y="72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82"/>
                    </a:lnTo>
                    <a:lnTo>
                      <a:pt x="4" y="84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2" y="88"/>
                    </a:lnTo>
                    <a:lnTo>
                      <a:pt x="2" y="88"/>
                    </a:lnTo>
                    <a:lnTo>
                      <a:pt x="0" y="90"/>
                    </a:lnTo>
                    <a:lnTo>
                      <a:pt x="0" y="90"/>
                    </a:lnTo>
                    <a:lnTo>
                      <a:pt x="0" y="92"/>
                    </a:lnTo>
                    <a:lnTo>
                      <a:pt x="0" y="94"/>
                    </a:lnTo>
                    <a:lnTo>
                      <a:pt x="0" y="94"/>
                    </a:lnTo>
                    <a:lnTo>
                      <a:pt x="2" y="94"/>
                    </a:lnTo>
                    <a:lnTo>
                      <a:pt x="4" y="94"/>
                    </a:lnTo>
                    <a:lnTo>
                      <a:pt x="4" y="94"/>
                    </a:lnTo>
                    <a:lnTo>
                      <a:pt x="6" y="92"/>
                    </a:lnTo>
                    <a:lnTo>
                      <a:pt x="8" y="90"/>
                    </a:lnTo>
                    <a:lnTo>
                      <a:pt x="10" y="88"/>
                    </a:lnTo>
                    <a:lnTo>
                      <a:pt x="10" y="88"/>
                    </a:lnTo>
                    <a:lnTo>
                      <a:pt x="10" y="88"/>
                    </a:lnTo>
                    <a:lnTo>
                      <a:pt x="14" y="88"/>
                    </a:lnTo>
                    <a:lnTo>
                      <a:pt x="16" y="88"/>
                    </a:lnTo>
                    <a:lnTo>
                      <a:pt x="18" y="88"/>
                    </a:lnTo>
                    <a:lnTo>
                      <a:pt x="18" y="88"/>
                    </a:lnTo>
                    <a:lnTo>
                      <a:pt x="20" y="88"/>
                    </a:lnTo>
                    <a:lnTo>
                      <a:pt x="22" y="88"/>
                    </a:lnTo>
                    <a:lnTo>
                      <a:pt x="24" y="88"/>
                    </a:lnTo>
                    <a:lnTo>
                      <a:pt x="24" y="88"/>
                    </a:lnTo>
                    <a:lnTo>
                      <a:pt x="28" y="88"/>
                    </a:lnTo>
                    <a:lnTo>
                      <a:pt x="28" y="88"/>
                    </a:lnTo>
                    <a:lnTo>
                      <a:pt x="30" y="88"/>
                    </a:lnTo>
                    <a:lnTo>
                      <a:pt x="30" y="88"/>
                    </a:lnTo>
                    <a:lnTo>
                      <a:pt x="32" y="88"/>
                    </a:lnTo>
                    <a:lnTo>
                      <a:pt x="32" y="90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36" y="94"/>
                    </a:lnTo>
                    <a:lnTo>
                      <a:pt x="36" y="96"/>
                    </a:lnTo>
                    <a:lnTo>
                      <a:pt x="36" y="98"/>
                    </a:lnTo>
                    <a:lnTo>
                      <a:pt x="38" y="98"/>
                    </a:lnTo>
                    <a:lnTo>
                      <a:pt x="38" y="98"/>
                    </a:lnTo>
                    <a:lnTo>
                      <a:pt x="38" y="100"/>
                    </a:lnTo>
                    <a:lnTo>
                      <a:pt x="40" y="102"/>
                    </a:lnTo>
                    <a:lnTo>
                      <a:pt x="40" y="102"/>
                    </a:lnTo>
                    <a:lnTo>
                      <a:pt x="40" y="102"/>
                    </a:lnTo>
                    <a:lnTo>
                      <a:pt x="40" y="104"/>
                    </a:lnTo>
                    <a:lnTo>
                      <a:pt x="40" y="106"/>
                    </a:lnTo>
                    <a:lnTo>
                      <a:pt x="40" y="106"/>
                    </a:lnTo>
                    <a:lnTo>
                      <a:pt x="40" y="108"/>
                    </a:lnTo>
                    <a:lnTo>
                      <a:pt x="42" y="108"/>
                    </a:lnTo>
                    <a:lnTo>
                      <a:pt x="42" y="108"/>
                    </a:lnTo>
                    <a:lnTo>
                      <a:pt x="42" y="108"/>
                    </a:lnTo>
                    <a:lnTo>
                      <a:pt x="44" y="106"/>
                    </a:lnTo>
                    <a:lnTo>
                      <a:pt x="44" y="104"/>
                    </a:lnTo>
                    <a:lnTo>
                      <a:pt x="44" y="104"/>
                    </a:lnTo>
                    <a:lnTo>
                      <a:pt x="46" y="104"/>
                    </a:lnTo>
                    <a:lnTo>
                      <a:pt x="46" y="104"/>
                    </a:lnTo>
                    <a:lnTo>
                      <a:pt x="48" y="106"/>
                    </a:lnTo>
                    <a:lnTo>
                      <a:pt x="48" y="106"/>
                    </a:lnTo>
                    <a:lnTo>
                      <a:pt x="50" y="106"/>
                    </a:lnTo>
                    <a:lnTo>
                      <a:pt x="52" y="106"/>
                    </a:lnTo>
                    <a:lnTo>
                      <a:pt x="52" y="106"/>
                    </a:lnTo>
                    <a:lnTo>
                      <a:pt x="52" y="106"/>
                    </a:lnTo>
                    <a:lnTo>
                      <a:pt x="52" y="108"/>
                    </a:lnTo>
                    <a:lnTo>
                      <a:pt x="52" y="108"/>
                    </a:lnTo>
                    <a:lnTo>
                      <a:pt x="52" y="112"/>
                    </a:lnTo>
                    <a:lnTo>
                      <a:pt x="52" y="112"/>
                    </a:lnTo>
                    <a:lnTo>
                      <a:pt x="54" y="112"/>
                    </a:lnTo>
                    <a:lnTo>
                      <a:pt x="54" y="112"/>
                    </a:lnTo>
                    <a:lnTo>
                      <a:pt x="56" y="112"/>
                    </a:lnTo>
                    <a:lnTo>
                      <a:pt x="56" y="112"/>
                    </a:lnTo>
                    <a:lnTo>
                      <a:pt x="56" y="112"/>
                    </a:lnTo>
                    <a:lnTo>
                      <a:pt x="56" y="108"/>
                    </a:lnTo>
                    <a:lnTo>
                      <a:pt x="54" y="106"/>
                    </a:lnTo>
                    <a:lnTo>
                      <a:pt x="56" y="106"/>
                    </a:lnTo>
                    <a:lnTo>
                      <a:pt x="56" y="104"/>
                    </a:lnTo>
                    <a:lnTo>
                      <a:pt x="56" y="104"/>
                    </a:lnTo>
                    <a:lnTo>
                      <a:pt x="56" y="104"/>
                    </a:lnTo>
                    <a:lnTo>
                      <a:pt x="58" y="104"/>
                    </a:lnTo>
                    <a:lnTo>
                      <a:pt x="58" y="106"/>
                    </a:lnTo>
                    <a:lnTo>
                      <a:pt x="60" y="106"/>
                    </a:lnTo>
                    <a:lnTo>
                      <a:pt x="62" y="106"/>
                    </a:lnTo>
                    <a:lnTo>
                      <a:pt x="62" y="106"/>
                    </a:lnTo>
                    <a:lnTo>
                      <a:pt x="64" y="106"/>
                    </a:lnTo>
                    <a:lnTo>
                      <a:pt x="66" y="106"/>
                    </a:lnTo>
                    <a:lnTo>
                      <a:pt x="68" y="106"/>
                    </a:lnTo>
                    <a:lnTo>
                      <a:pt x="68" y="106"/>
                    </a:lnTo>
                    <a:lnTo>
                      <a:pt x="70" y="104"/>
                    </a:lnTo>
                    <a:lnTo>
                      <a:pt x="72" y="104"/>
                    </a:lnTo>
                    <a:lnTo>
                      <a:pt x="72" y="104"/>
                    </a:lnTo>
                    <a:lnTo>
                      <a:pt x="72" y="104"/>
                    </a:lnTo>
                    <a:lnTo>
                      <a:pt x="72" y="102"/>
                    </a:lnTo>
                    <a:lnTo>
                      <a:pt x="72" y="102"/>
                    </a:lnTo>
                    <a:lnTo>
                      <a:pt x="72" y="102"/>
                    </a:lnTo>
                    <a:lnTo>
                      <a:pt x="72" y="102"/>
                    </a:lnTo>
                    <a:lnTo>
                      <a:pt x="70" y="100"/>
                    </a:lnTo>
                    <a:lnTo>
                      <a:pt x="70" y="100"/>
                    </a:lnTo>
                    <a:lnTo>
                      <a:pt x="68" y="100"/>
                    </a:lnTo>
                    <a:lnTo>
                      <a:pt x="66" y="100"/>
                    </a:lnTo>
                    <a:lnTo>
                      <a:pt x="66" y="100"/>
                    </a:lnTo>
                    <a:lnTo>
                      <a:pt x="66" y="98"/>
                    </a:lnTo>
                    <a:lnTo>
                      <a:pt x="64" y="98"/>
                    </a:lnTo>
                    <a:lnTo>
                      <a:pt x="66" y="98"/>
                    </a:lnTo>
                    <a:lnTo>
                      <a:pt x="68" y="96"/>
                    </a:lnTo>
                    <a:lnTo>
                      <a:pt x="68" y="96"/>
                    </a:lnTo>
                    <a:lnTo>
                      <a:pt x="68" y="96"/>
                    </a:lnTo>
                    <a:lnTo>
                      <a:pt x="70" y="96"/>
                    </a:lnTo>
                    <a:lnTo>
                      <a:pt x="72" y="96"/>
                    </a:lnTo>
                    <a:lnTo>
                      <a:pt x="72" y="96"/>
                    </a:lnTo>
                    <a:lnTo>
                      <a:pt x="72" y="96"/>
                    </a:lnTo>
                    <a:lnTo>
                      <a:pt x="72" y="96"/>
                    </a:lnTo>
                    <a:lnTo>
                      <a:pt x="72" y="94"/>
                    </a:lnTo>
                    <a:lnTo>
                      <a:pt x="72" y="92"/>
                    </a:lnTo>
                    <a:lnTo>
                      <a:pt x="70" y="90"/>
                    </a:lnTo>
                    <a:lnTo>
                      <a:pt x="70" y="90"/>
                    </a:lnTo>
                    <a:lnTo>
                      <a:pt x="70" y="88"/>
                    </a:lnTo>
                    <a:lnTo>
                      <a:pt x="70" y="88"/>
                    </a:lnTo>
                    <a:lnTo>
                      <a:pt x="70" y="88"/>
                    </a:lnTo>
                    <a:lnTo>
                      <a:pt x="72" y="86"/>
                    </a:lnTo>
                    <a:lnTo>
                      <a:pt x="72" y="84"/>
                    </a:lnTo>
                    <a:lnTo>
                      <a:pt x="74" y="84"/>
                    </a:lnTo>
                    <a:lnTo>
                      <a:pt x="74" y="84"/>
                    </a:lnTo>
                    <a:lnTo>
                      <a:pt x="74" y="82"/>
                    </a:lnTo>
                    <a:lnTo>
                      <a:pt x="74" y="82"/>
                    </a:lnTo>
                    <a:lnTo>
                      <a:pt x="74" y="82"/>
                    </a:lnTo>
                    <a:lnTo>
                      <a:pt x="74" y="80"/>
                    </a:lnTo>
                    <a:lnTo>
                      <a:pt x="76" y="80"/>
                    </a:lnTo>
                    <a:lnTo>
                      <a:pt x="76" y="78"/>
                    </a:lnTo>
                    <a:lnTo>
                      <a:pt x="76" y="76"/>
                    </a:lnTo>
                    <a:lnTo>
                      <a:pt x="76" y="76"/>
                    </a:lnTo>
                    <a:lnTo>
                      <a:pt x="76" y="74"/>
                    </a:lnTo>
                    <a:lnTo>
                      <a:pt x="76" y="74"/>
                    </a:lnTo>
                    <a:lnTo>
                      <a:pt x="78" y="72"/>
                    </a:lnTo>
                    <a:lnTo>
                      <a:pt x="80" y="72"/>
                    </a:lnTo>
                    <a:lnTo>
                      <a:pt x="80" y="72"/>
                    </a:lnTo>
                    <a:lnTo>
                      <a:pt x="82" y="72"/>
                    </a:lnTo>
                    <a:lnTo>
                      <a:pt x="84" y="72"/>
                    </a:lnTo>
                    <a:lnTo>
                      <a:pt x="84" y="70"/>
                    </a:lnTo>
                    <a:lnTo>
                      <a:pt x="84" y="70"/>
                    </a:lnTo>
                    <a:lnTo>
                      <a:pt x="86" y="68"/>
                    </a:lnTo>
                    <a:lnTo>
                      <a:pt x="86" y="66"/>
                    </a:lnTo>
                    <a:lnTo>
                      <a:pt x="88" y="66"/>
                    </a:lnTo>
                    <a:lnTo>
                      <a:pt x="88" y="66"/>
                    </a:lnTo>
                    <a:lnTo>
                      <a:pt x="88" y="64"/>
                    </a:lnTo>
                    <a:lnTo>
                      <a:pt x="86" y="64"/>
                    </a:lnTo>
                    <a:lnTo>
                      <a:pt x="86" y="64"/>
                    </a:lnTo>
                    <a:lnTo>
                      <a:pt x="84" y="64"/>
                    </a:lnTo>
                    <a:lnTo>
                      <a:pt x="80" y="66"/>
                    </a:lnTo>
                    <a:lnTo>
                      <a:pt x="78" y="66"/>
                    </a:lnTo>
                    <a:lnTo>
                      <a:pt x="78" y="66"/>
                    </a:lnTo>
                    <a:lnTo>
                      <a:pt x="78" y="66"/>
                    </a:lnTo>
                    <a:lnTo>
                      <a:pt x="78" y="64"/>
                    </a:lnTo>
                    <a:lnTo>
                      <a:pt x="80" y="62"/>
                    </a:lnTo>
                    <a:lnTo>
                      <a:pt x="82" y="58"/>
                    </a:lnTo>
                    <a:lnTo>
                      <a:pt x="82" y="58"/>
                    </a:lnTo>
                    <a:lnTo>
                      <a:pt x="84" y="52"/>
                    </a:lnTo>
                    <a:lnTo>
                      <a:pt x="86" y="50"/>
                    </a:lnTo>
                    <a:lnTo>
                      <a:pt x="88" y="48"/>
                    </a:lnTo>
                    <a:lnTo>
                      <a:pt x="88" y="48"/>
                    </a:lnTo>
                    <a:lnTo>
                      <a:pt x="90" y="44"/>
                    </a:lnTo>
                    <a:lnTo>
                      <a:pt x="90" y="42"/>
                    </a:lnTo>
                    <a:lnTo>
                      <a:pt x="92" y="38"/>
                    </a:lnTo>
                    <a:lnTo>
                      <a:pt x="92" y="34"/>
                    </a:lnTo>
                    <a:lnTo>
                      <a:pt x="92" y="34"/>
                    </a:lnTo>
                    <a:lnTo>
                      <a:pt x="90" y="30"/>
                    </a:lnTo>
                    <a:lnTo>
                      <a:pt x="90" y="26"/>
                    </a:lnTo>
                    <a:lnTo>
                      <a:pt x="90" y="22"/>
                    </a:lnTo>
                    <a:lnTo>
                      <a:pt x="88" y="18"/>
                    </a:lnTo>
                    <a:lnTo>
                      <a:pt x="88" y="18"/>
                    </a:lnTo>
                    <a:lnTo>
                      <a:pt x="86" y="16"/>
                    </a:lnTo>
                    <a:lnTo>
                      <a:pt x="84" y="14"/>
                    </a:lnTo>
                    <a:lnTo>
                      <a:pt x="84" y="14"/>
                    </a:lnTo>
                    <a:lnTo>
                      <a:pt x="84" y="14"/>
                    </a:lnTo>
                    <a:lnTo>
                      <a:pt x="82" y="12"/>
                    </a:lnTo>
                    <a:lnTo>
                      <a:pt x="80" y="12"/>
                    </a:lnTo>
                    <a:lnTo>
                      <a:pt x="80" y="10"/>
                    </a:lnTo>
                    <a:lnTo>
                      <a:pt x="80" y="10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78" y="6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4" y="2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2" y="0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68" y="4"/>
                    </a:lnTo>
                    <a:lnTo>
                      <a:pt x="66" y="6"/>
                    </a:lnTo>
                    <a:lnTo>
                      <a:pt x="62" y="6"/>
                    </a:lnTo>
                    <a:lnTo>
                      <a:pt x="60" y="8"/>
                    </a:lnTo>
                    <a:lnTo>
                      <a:pt x="54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44" y="8"/>
                    </a:lnTo>
                    <a:lnTo>
                      <a:pt x="36" y="8"/>
                    </a:lnTo>
                    <a:lnTo>
                      <a:pt x="30" y="8"/>
                    </a:lnTo>
                    <a:lnTo>
                      <a:pt x="28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4" y="6"/>
                    </a:lnTo>
                    <a:lnTo>
                      <a:pt x="22" y="6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24" name="Freeform 636"/>
              <p:cNvSpPr>
                <a:spLocks/>
              </p:cNvSpPr>
              <p:nvPr/>
            </p:nvSpPr>
            <p:spPr bwMode="auto">
              <a:xfrm>
                <a:off x="3183" y="2846"/>
                <a:ext cx="30" cy="28"/>
              </a:xfrm>
              <a:custGeom>
                <a:avLst/>
                <a:gdLst>
                  <a:gd name="T0" fmla="*/ 2 w 30"/>
                  <a:gd name="T1" fmla="*/ 12 h 28"/>
                  <a:gd name="T2" fmla="*/ 0 w 30"/>
                  <a:gd name="T3" fmla="*/ 18 h 28"/>
                  <a:gd name="T4" fmla="*/ 2 w 30"/>
                  <a:gd name="T5" fmla="*/ 22 h 28"/>
                  <a:gd name="T6" fmla="*/ 4 w 30"/>
                  <a:gd name="T7" fmla="*/ 22 h 28"/>
                  <a:gd name="T8" fmla="*/ 6 w 30"/>
                  <a:gd name="T9" fmla="*/ 24 h 28"/>
                  <a:gd name="T10" fmla="*/ 10 w 30"/>
                  <a:gd name="T11" fmla="*/ 24 h 28"/>
                  <a:gd name="T12" fmla="*/ 10 w 30"/>
                  <a:gd name="T13" fmla="*/ 28 h 28"/>
                  <a:gd name="T14" fmla="*/ 12 w 30"/>
                  <a:gd name="T15" fmla="*/ 28 h 28"/>
                  <a:gd name="T16" fmla="*/ 14 w 30"/>
                  <a:gd name="T17" fmla="*/ 28 h 28"/>
                  <a:gd name="T18" fmla="*/ 14 w 30"/>
                  <a:gd name="T19" fmla="*/ 26 h 28"/>
                  <a:gd name="T20" fmla="*/ 16 w 30"/>
                  <a:gd name="T21" fmla="*/ 24 h 28"/>
                  <a:gd name="T22" fmla="*/ 18 w 30"/>
                  <a:gd name="T23" fmla="*/ 22 h 28"/>
                  <a:gd name="T24" fmla="*/ 20 w 30"/>
                  <a:gd name="T25" fmla="*/ 22 h 28"/>
                  <a:gd name="T26" fmla="*/ 22 w 30"/>
                  <a:gd name="T27" fmla="*/ 22 h 28"/>
                  <a:gd name="T28" fmla="*/ 24 w 30"/>
                  <a:gd name="T29" fmla="*/ 18 h 28"/>
                  <a:gd name="T30" fmla="*/ 24 w 30"/>
                  <a:gd name="T31" fmla="*/ 16 h 28"/>
                  <a:gd name="T32" fmla="*/ 24 w 30"/>
                  <a:gd name="T33" fmla="*/ 12 h 28"/>
                  <a:gd name="T34" fmla="*/ 28 w 30"/>
                  <a:gd name="T35" fmla="*/ 10 h 28"/>
                  <a:gd name="T36" fmla="*/ 30 w 30"/>
                  <a:gd name="T37" fmla="*/ 6 h 28"/>
                  <a:gd name="T38" fmla="*/ 30 w 30"/>
                  <a:gd name="T39" fmla="*/ 0 h 28"/>
                  <a:gd name="T40" fmla="*/ 30 w 30"/>
                  <a:gd name="T41" fmla="*/ 0 h 28"/>
                  <a:gd name="T42" fmla="*/ 26 w 30"/>
                  <a:gd name="T43" fmla="*/ 0 h 28"/>
                  <a:gd name="T44" fmla="*/ 24 w 30"/>
                  <a:gd name="T45" fmla="*/ 0 h 28"/>
                  <a:gd name="T46" fmla="*/ 20 w 30"/>
                  <a:gd name="T47" fmla="*/ 0 h 28"/>
                  <a:gd name="T48" fmla="*/ 16 w 30"/>
                  <a:gd name="T49" fmla="*/ 0 h 28"/>
                  <a:gd name="T50" fmla="*/ 14 w 30"/>
                  <a:gd name="T51" fmla="*/ 2 h 28"/>
                  <a:gd name="T52" fmla="*/ 10 w 30"/>
                  <a:gd name="T53" fmla="*/ 6 h 28"/>
                  <a:gd name="T54" fmla="*/ 8 w 30"/>
                  <a:gd name="T55" fmla="*/ 6 h 28"/>
                  <a:gd name="T56" fmla="*/ 6 w 30"/>
                  <a:gd name="T57" fmla="*/ 6 h 28"/>
                  <a:gd name="T58" fmla="*/ 6 w 30"/>
                  <a:gd name="T59" fmla="*/ 4 h 28"/>
                  <a:gd name="T60" fmla="*/ 4 w 30"/>
                  <a:gd name="T61" fmla="*/ 8 h 28"/>
                  <a:gd name="T62" fmla="*/ 2 w 30"/>
                  <a:gd name="T63" fmla="*/ 12 h 28"/>
                  <a:gd name="T64" fmla="*/ 2 w 30"/>
                  <a:gd name="T65" fmla="*/ 12 h 28"/>
                  <a:gd name="T66" fmla="*/ 2 w 30"/>
                  <a:gd name="T67" fmla="*/ 1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30" h="28">
                    <a:moveTo>
                      <a:pt x="2" y="12"/>
                    </a:moveTo>
                    <a:lnTo>
                      <a:pt x="2" y="12"/>
                    </a:lnTo>
                    <a:lnTo>
                      <a:pt x="0" y="16"/>
                    </a:lnTo>
                    <a:lnTo>
                      <a:pt x="0" y="18"/>
                    </a:lnTo>
                    <a:lnTo>
                      <a:pt x="0" y="20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6" y="24"/>
                    </a:lnTo>
                    <a:lnTo>
                      <a:pt x="8" y="24"/>
                    </a:lnTo>
                    <a:lnTo>
                      <a:pt x="10" y="24"/>
                    </a:lnTo>
                    <a:lnTo>
                      <a:pt x="10" y="24"/>
                    </a:lnTo>
                    <a:lnTo>
                      <a:pt x="10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26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8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0"/>
                    </a:lnTo>
                    <a:lnTo>
                      <a:pt x="24" y="18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4"/>
                    </a:lnTo>
                    <a:lnTo>
                      <a:pt x="24" y="12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8"/>
                    </a:lnTo>
                    <a:lnTo>
                      <a:pt x="30" y="6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8" y="0"/>
                    </a:lnTo>
                    <a:lnTo>
                      <a:pt x="26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2" y="0"/>
                    </a:lnTo>
                    <a:lnTo>
                      <a:pt x="20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4" y="2"/>
                    </a:lnTo>
                    <a:lnTo>
                      <a:pt x="12" y="4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8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4" y="6"/>
                    </a:lnTo>
                    <a:lnTo>
                      <a:pt x="4" y="8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25" name="Freeform 638"/>
              <p:cNvSpPr>
                <a:spLocks/>
              </p:cNvSpPr>
              <p:nvPr/>
            </p:nvSpPr>
            <p:spPr bwMode="auto">
              <a:xfrm>
                <a:off x="2953" y="2648"/>
                <a:ext cx="206" cy="130"/>
              </a:xfrm>
              <a:custGeom>
                <a:avLst/>
                <a:gdLst>
                  <a:gd name="T0" fmla="*/ 0 w 206"/>
                  <a:gd name="T1" fmla="*/ 98 h 130"/>
                  <a:gd name="T2" fmla="*/ 4 w 206"/>
                  <a:gd name="T3" fmla="*/ 106 h 130"/>
                  <a:gd name="T4" fmla="*/ 4 w 206"/>
                  <a:gd name="T5" fmla="*/ 110 h 130"/>
                  <a:gd name="T6" fmla="*/ 8 w 206"/>
                  <a:gd name="T7" fmla="*/ 114 h 130"/>
                  <a:gd name="T8" fmla="*/ 10 w 206"/>
                  <a:gd name="T9" fmla="*/ 118 h 130"/>
                  <a:gd name="T10" fmla="*/ 12 w 206"/>
                  <a:gd name="T11" fmla="*/ 124 h 130"/>
                  <a:gd name="T12" fmla="*/ 18 w 206"/>
                  <a:gd name="T13" fmla="*/ 128 h 130"/>
                  <a:gd name="T14" fmla="*/ 26 w 206"/>
                  <a:gd name="T15" fmla="*/ 130 h 130"/>
                  <a:gd name="T16" fmla="*/ 32 w 206"/>
                  <a:gd name="T17" fmla="*/ 130 h 130"/>
                  <a:gd name="T18" fmla="*/ 38 w 206"/>
                  <a:gd name="T19" fmla="*/ 126 h 130"/>
                  <a:gd name="T20" fmla="*/ 46 w 206"/>
                  <a:gd name="T21" fmla="*/ 126 h 130"/>
                  <a:gd name="T22" fmla="*/ 50 w 206"/>
                  <a:gd name="T23" fmla="*/ 128 h 130"/>
                  <a:gd name="T24" fmla="*/ 56 w 206"/>
                  <a:gd name="T25" fmla="*/ 126 h 130"/>
                  <a:gd name="T26" fmla="*/ 56 w 206"/>
                  <a:gd name="T27" fmla="*/ 112 h 130"/>
                  <a:gd name="T28" fmla="*/ 58 w 206"/>
                  <a:gd name="T29" fmla="*/ 108 h 130"/>
                  <a:gd name="T30" fmla="*/ 66 w 206"/>
                  <a:gd name="T31" fmla="*/ 106 h 130"/>
                  <a:gd name="T32" fmla="*/ 72 w 206"/>
                  <a:gd name="T33" fmla="*/ 102 h 130"/>
                  <a:gd name="T34" fmla="*/ 76 w 206"/>
                  <a:gd name="T35" fmla="*/ 100 h 130"/>
                  <a:gd name="T36" fmla="*/ 82 w 206"/>
                  <a:gd name="T37" fmla="*/ 104 h 130"/>
                  <a:gd name="T38" fmla="*/ 90 w 206"/>
                  <a:gd name="T39" fmla="*/ 108 h 130"/>
                  <a:gd name="T40" fmla="*/ 102 w 206"/>
                  <a:gd name="T41" fmla="*/ 110 h 130"/>
                  <a:gd name="T42" fmla="*/ 106 w 206"/>
                  <a:gd name="T43" fmla="*/ 112 h 130"/>
                  <a:gd name="T44" fmla="*/ 114 w 206"/>
                  <a:gd name="T45" fmla="*/ 116 h 130"/>
                  <a:gd name="T46" fmla="*/ 120 w 206"/>
                  <a:gd name="T47" fmla="*/ 114 h 130"/>
                  <a:gd name="T48" fmla="*/ 122 w 206"/>
                  <a:gd name="T49" fmla="*/ 108 h 130"/>
                  <a:gd name="T50" fmla="*/ 128 w 206"/>
                  <a:gd name="T51" fmla="*/ 102 h 130"/>
                  <a:gd name="T52" fmla="*/ 144 w 206"/>
                  <a:gd name="T53" fmla="*/ 98 h 130"/>
                  <a:gd name="T54" fmla="*/ 178 w 206"/>
                  <a:gd name="T55" fmla="*/ 94 h 130"/>
                  <a:gd name="T56" fmla="*/ 204 w 206"/>
                  <a:gd name="T57" fmla="*/ 92 h 130"/>
                  <a:gd name="T58" fmla="*/ 200 w 206"/>
                  <a:gd name="T59" fmla="*/ 84 h 130"/>
                  <a:gd name="T60" fmla="*/ 190 w 206"/>
                  <a:gd name="T61" fmla="*/ 74 h 130"/>
                  <a:gd name="T62" fmla="*/ 186 w 206"/>
                  <a:gd name="T63" fmla="*/ 68 h 130"/>
                  <a:gd name="T64" fmla="*/ 182 w 206"/>
                  <a:gd name="T65" fmla="*/ 62 h 130"/>
                  <a:gd name="T66" fmla="*/ 166 w 206"/>
                  <a:gd name="T67" fmla="*/ 48 h 130"/>
                  <a:gd name="T68" fmla="*/ 158 w 206"/>
                  <a:gd name="T69" fmla="*/ 46 h 130"/>
                  <a:gd name="T70" fmla="*/ 154 w 206"/>
                  <a:gd name="T71" fmla="*/ 42 h 130"/>
                  <a:gd name="T72" fmla="*/ 152 w 206"/>
                  <a:gd name="T73" fmla="*/ 36 h 130"/>
                  <a:gd name="T74" fmla="*/ 146 w 206"/>
                  <a:gd name="T75" fmla="*/ 34 h 130"/>
                  <a:gd name="T76" fmla="*/ 146 w 206"/>
                  <a:gd name="T77" fmla="*/ 30 h 130"/>
                  <a:gd name="T78" fmla="*/ 148 w 206"/>
                  <a:gd name="T79" fmla="*/ 20 h 130"/>
                  <a:gd name="T80" fmla="*/ 146 w 206"/>
                  <a:gd name="T81" fmla="*/ 14 h 130"/>
                  <a:gd name="T82" fmla="*/ 130 w 206"/>
                  <a:gd name="T83" fmla="*/ 6 h 130"/>
                  <a:gd name="T84" fmla="*/ 124 w 206"/>
                  <a:gd name="T85" fmla="*/ 2 h 130"/>
                  <a:gd name="T86" fmla="*/ 120 w 206"/>
                  <a:gd name="T87" fmla="*/ 2 h 130"/>
                  <a:gd name="T88" fmla="*/ 114 w 206"/>
                  <a:gd name="T89" fmla="*/ 2 h 130"/>
                  <a:gd name="T90" fmla="*/ 106 w 206"/>
                  <a:gd name="T91" fmla="*/ 10 h 130"/>
                  <a:gd name="T92" fmla="*/ 100 w 206"/>
                  <a:gd name="T93" fmla="*/ 20 h 130"/>
                  <a:gd name="T94" fmla="*/ 92 w 206"/>
                  <a:gd name="T95" fmla="*/ 28 h 130"/>
                  <a:gd name="T96" fmla="*/ 82 w 206"/>
                  <a:gd name="T97" fmla="*/ 32 h 130"/>
                  <a:gd name="T98" fmla="*/ 72 w 206"/>
                  <a:gd name="T99" fmla="*/ 34 h 130"/>
                  <a:gd name="T100" fmla="*/ 66 w 206"/>
                  <a:gd name="T101" fmla="*/ 38 h 130"/>
                  <a:gd name="T102" fmla="*/ 62 w 206"/>
                  <a:gd name="T103" fmla="*/ 46 h 130"/>
                  <a:gd name="T104" fmla="*/ 56 w 206"/>
                  <a:gd name="T105" fmla="*/ 50 h 130"/>
                  <a:gd name="T106" fmla="*/ 34 w 206"/>
                  <a:gd name="T107" fmla="*/ 54 h 130"/>
                  <a:gd name="T108" fmla="*/ 22 w 206"/>
                  <a:gd name="T109" fmla="*/ 56 h 130"/>
                  <a:gd name="T110" fmla="*/ 16 w 206"/>
                  <a:gd name="T111" fmla="*/ 56 h 130"/>
                  <a:gd name="T112" fmla="*/ 8 w 206"/>
                  <a:gd name="T113" fmla="*/ 74 h 130"/>
                  <a:gd name="T114" fmla="*/ 0 w 206"/>
                  <a:gd name="T115" fmla="*/ 86 h 130"/>
                  <a:gd name="T116" fmla="*/ 0 w 206"/>
                  <a:gd name="T117" fmla="*/ 96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06" h="130">
                    <a:moveTo>
                      <a:pt x="0" y="96"/>
                    </a:moveTo>
                    <a:lnTo>
                      <a:pt x="0" y="96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2" y="102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4" y="106"/>
                    </a:lnTo>
                    <a:lnTo>
                      <a:pt x="4" y="106"/>
                    </a:lnTo>
                    <a:lnTo>
                      <a:pt x="4" y="108"/>
                    </a:lnTo>
                    <a:lnTo>
                      <a:pt x="4" y="110"/>
                    </a:lnTo>
                    <a:lnTo>
                      <a:pt x="4" y="110"/>
                    </a:lnTo>
                    <a:lnTo>
                      <a:pt x="4" y="112"/>
                    </a:lnTo>
                    <a:lnTo>
                      <a:pt x="4" y="112"/>
                    </a:lnTo>
                    <a:lnTo>
                      <a:pt x="6" y="114"/>
                    </a:lnTo>
                    <a:lnTo>
                      <a:pt x="8" y="114"/>
                    </a:lnTo>
                    <a:lnTo>
                      <a:pt x="8" y="116"/>
                    </a:lnTo>
                    <a:lnTo>
                      <a:pt x="10" y="116"/>
                    </a:lnTo>
                    <a:lnTo>
                      <a:pt x="10" y="116"/>
                    </a:lnTo>
                    <a:lnTo>
                      <a:pt x="10" y="118"/>
                    </a:lnTo>
                    <a:lnTo>
                      <a:pt x="10" y="118"/>
                    </a:lnTo>
                    <a:lnTo>
                      <a:pt x="12" y="122"/>
                    </a:lnTo>
                    <a:lnTo>
                      <a:pt x="12" y="124"/>
                    </a:lnTo>
                    <a:lnTo>
                      <a:pt x="12" y="124"/>
                    </a:lnTo>
                    <a:lnTo>
                      <a:pt x="14" y="126"/>
                    </a:lnTo>
                    <a:lnTo>
                      <a:pt x="16" y="128"/>
                    </a:lnTo>
                    <a:lnTo>
                      <a:pt x="16" y="128"/>
                    </a:lnTo>
                    <a:lnTo>
                      <a:pt x="18" y="128"/>
                    </a:lnTo>
                    <a:lnTo>
                      <a:pt x="20" y="128"/>
                    </a:lnTo>
                    <a:lnTo>
                      <a:pt x="24" y="130"/>
                    </a:lnTo>
                    <a:lnTo>
                      <a:pt x="26" y="130"/>
                    </a:lnTo>
                    <a:lnTo>
                      <a:pt x="26" y="130"/>
                    </a:lnTo>
                    <a:lnTo>
                      <a:pt x="28" y="130"/>
                    </a:lnTo>
                    <a:lnTo>
                      <a:pt x="28" y="130"/>
                    </a:lnTo>
                    <a:lnTo>
                      <a:pt x="30" y="130"/>
                    </a:lnTo>
                    <a:lnTo>
                      <a:pt x="32" y="130"/>
                    </a:lnTo>
                    <a:lnTo>
                      <a:pt x="34" y="128"/>
                    </a:lnTo>
                    <a:lnTo>
                      <a:pt x="36" y="126"/>
                    </a:lnTo>
                    <a:lnTo>
                      <a:pt x="36" y="126"/>
                    </a:lnTo>
                    <a:lnTo>
                      <a:pt x="38" y="126"/>
                    </a:lnTo>
                    <a:lnTo>
                      <a:pt x="40" y="124"/>
                    </a:lnTo>
                    <a:lnTo>
                      <a:pt x="42" y="124"/>
                    </a:lnTo>
                    <a:lnTo>
                      <a:pt x="42" y="126"/>
                    </a:lnTo>
                    <a:lnTo>
                      <a:pt x="46" y="126"/>
                    </a:lnTo>
                    <a:lnTo>
                      <a:pt x="48" y="128"/>
                    </a:lnTo>
                    <a:lnTo>
                      <a:pt x="48" y="128"/>
                    </a:lnTo>
                    <a:lnTo>
                      <a:pt x="48" y="128"/>
                    </a:lnTo>
                    <a:lnTo>
                      <a:pt x="50" y="128"/>
                    </a:lnTo>
                    <a:lnTo>
                      <a:pt x="52" y="128"/>
                    </a:lnTo>
                    <a:lnTo>
                      <a:pt x="54" y="128"/>
                    </a:lnTo>
                    <a:lnTo>
                      <a:pt x="56" y="128"/>
                    </a:lnTo>
                    <a:lnTo>
                      <a:pt x="56" y="126"/>
                    </a:lnTo>
                    <a:lnTo>
                      <a:pt x="56" y="126"/>
                    </a:lnTo>
                    <a:lnTo>
                      <a:pt x="58" y="122"/>
                    </a:lnTo>
                    <a:lnTo>
                      <a:pt x="56" y="116"/>
                    </a:lnTo>
                    <a:lnTo>
                      <a:pt x="56" y="112"/>
                    </a:lnTo>
                    <a:lnTo>
                      <a:pt x="56" y="110"/>
                    </a:lnTo>
                    <a:lnTo>
                      <a:pt x="58" y="110"/>
                    </a:lnTo>
                    <a:lnTo>
                      <a:pt x="58" y="110"/>
                    </a:lnTo>
                    <a:lnTo>
                      <a:pt x="58" y="108"/>
                    </a:lnTo>
                    <a:lnTo>
                      <a:pt x="60" y="108"/>
                    </a:lnTo>
                    <a:lnTo>
                      <a:pt x="62" y="108"/>
                    </a:lnTo>
                    <a:lnTo>
                      <a:pt x="64" y="106"/>
                    </a:lnTo>
                    <a:lnTo>
                      <a:pt x="66" y="106"/>
                    </a:lnTo>
                    <a:lnTo>
                      <a:pt x="68" y="104"/>
                    </a:lnTo>
                    <a:lnTo>
                      <a:pt x="68" y="104"/>
                    </a:lnTo>
                    <a:lnTo>
                      <a:pt x="70" y="104"/>
                    </a:lnTo>
                    <a:lnTo>
                      <a:pt x="72" y="102"/>
                    </a:lnTo>
                    <a:lnTo>
                      <a:pt x="72" y="100"/>
                    </a:lnTo>
                    <a:lnTo>
                      <a:pt x="72" y="100"/>
                    </a:lnTo>
                    <a:lnTo>
                      <a:pt x="74" y="100"/>
                    </a:lnTo>
                    <a:lnTo>
                      <a:pt x="76" y="100"/>
                    </a:lnTo>
                    <a:lnTo>
                      <a:pt x="76" y="100"/>
                    </a:lnTo>
                    <a:lnTo>
                      <a:pt x="78" y="102"/>
                    </a:lnTo>
                    <a:lnTo>
                      <a:pt x="80" y="102"/>
                    </a:lnTo>
                    <a:lnTo>
                      <a:pt x="82" y="104"/>
                    </a:lnTo>
                    <a:lnTo>
                      <a:pt x="86" y="106"/>
                    </a:lnTo>
                    <a:lnTo>
                      <a:pt x="88" y="108"/>
                    </a:lnTo>
                    <a:lnTo>
                      <a:pt x="88" y="108"/>
                    </a:lnTo>
                    <a:lnTo>
                      <a:pt x="90" y="108"/>
                    </a:lnTo>
                    <a:lnTo>
                      <a:pt x="92" y="110"/>
                    </a:lnTo>
                    <a:lnTo>
                      <a:pt x="96" y="110"/>
                    </a:lnTo>
                    <a:lnTo>
                      <a:pt x="100" y="110"/>
                    </a:lnTo>
                    <a:lnTo>
                      <a:pt x="102" y="110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6" y="112"/>
                    </a:lnTo>
                    <a:lnTo>
                      <a:pt x="106" y="112"/>
                    </a:lnTo>
                    <a:lnTo>
                      <a:pt x="110" y="114"/>
                    </a:lnTo>
                    <a:lnTo>
                      <a:pt x="112" y="116"/>
                    </a:lnTo>
                    <a:lnTo>
                      <a:pt x="112" y="116"/>
                    </a:lnTo>
                    <a:lnTo>
                      <a:pt x="114" y="116"/>
                    </a:lnTo>
                    <a:lnTo>
                      <a:pt x="116" y="114"/>
                    </a:lnTo>
                    <a:lnTo>
                      <a:pt x="116" y="114"/>
                    </a:lnTo>
                    <a:lnTo>
                      <a:pt x="120" y="114"/>
                    </a:lnTo>
                    <a:lnTo>
                      <a:pt x="120" y="114"/>
                    </a:lnTo>
                    <a:lnTo>
                      <a:pt x="120" y="112"/>
                    </a:lnTo>
                    <a:lnTo>
                      <a:pt x="120" y="112"/>
                    </a:lnTo>
                    <a:lnTo>
                      <a:pt x="122" y="110"/>
                    </a:lnTo>
                    <a:lnTo>
                      <a:pt x="122" y="108"/>
                    </a:lnTo>
                    <a:lnTo>
                      <a:pt x="124" y="106"/>
                    </a:lnTo>
                    <a:lnTo>
                      <a:pt x="124" y="106"/>
                    </a:lnTo>
                    <a:lnTo>
                      <a:pt x="126" y="104"/>
                    </a:lnTo>
                    <a:lnTo>
                      <a:pt x="128" y="102"/>
                    </a:lnTo>
                    <a:lnTo>
                      <a:pt x="134" y="100"/>
                    </a:lnTo>
                    <a:lnTo>
                      <a:pt x="138" y="100"/>
                    </a:lnTo>
                    <a:lnTo>
                      <a:pt x="140" y="98"/>
                    </a:lnTo>
                    <a:lnTo>
                      <a:pt x="144" y="98"/>
                    </a:lnTo>
                    <a:lnTo>
                      <a:pt x="146" y="96"/>
                    </a:lnTo>
                    <a:lnTo>
                      <a:pt x="150" y="96"/>
                    </a:lnTo>
                    <a:lnTo>
                      <a:pt x="150" y="96"/>
                    </a:lnTo>
                    <a:lnTo>
                      <a:pt x="178" y="94"/>
                    </a:lnTo>
                    <a:lnTo>
                      <a:pt x="192" y="94"/>
                    </a:lnTo>
                    <a:lnTo>
                      <a:pt x="206" y="92"/>
                    </a:lnTo>
                    <a:lnTo>
                      <a:pt x="206" y="92"/>
                    </a:lnTo>
                    <a:lnTo>
                      <a:pt x="204" y="92"/>
                    </a:lnTo>
                    <a:lnTo>
                      <a:pt x="204" y="90"/>
                    </a:lnTo>
                    <a:lnTo>
                      <a:pt x="202" y="86"/>
                    </a:lnTo>
                    <a:lnTo>
                      <a:pt x="202" y="86"/>
                    </a:lnTo>
                    <a:lnTo>
                      <a:pt x="200" y="84"/>
                    </a:lnTo>
                    <a:lnTo>
                      <a:pt x="198" y="82"/>
                    </a:lnTo>
                    <a:lnTo>
                      <a:pt x="194" y="78"/>
                    </a:lnTo>
                    <a:lnTo>
                      <a:pt x="194" y="78"/>
                    </a:lnTo>
                    <a:lnTo>
                      <a:pt x="190" y="74"/>
                    </a:lnTo>
                    <a:lnTo>
                      <a:pt x="188" y="72"/>
                    </a:lnTo>
                    <a:lnTo>
                      <a:pt x="188" y="70"/>
                    </a:lnTo>
                    <a:lnTo>
                      <a:pt x="188" y="70"/>
                    </a:lnTo>
                    <a:lnTo>
                      <a:pt x="186" y="68"/>
                    </a:lnTo>
                    <a:lnTo>
                      <a:pt x="184" y="66"/>
                    </a:lnTo>
                    <a:lnTo>
                      <a:pt x="184" y="64"/>
                    </a:lnTo>
                    <a:lnTo>
                      <a:pt x="182" y="62"/>
                    </a:lnTo>
                    <a:lnTo>
                      <a:pt x="182" y="62"/>
                    </a:lnTo>
                    <a:lnTo>
                      <a:pt x="178" y="58"/>
                    </a:lnTo>
                    <a:lnTo>
                      <a:pt x="174" y="54"/>
                    </a:lnTo>
                    <a:lnTo>
                      <a:pt x="170" y="52"/>
                    </a:lnTo>
                    <a:lnTo>
                      <a:pt x="166" y="48"/>
                    </a:lnTo>
                    <a:lnTo>
                      <a:pt x="166" y="48"/>
                    </a:lnTo>
                    <a:lnTo>
                      <a:pt x="164" y="48"/>
                    </a:lnTo>
                    <a:lnTo>
                      <a:pt x="162" y="46"/>
                    </a:lnTo>
                    <a:lnTo>
                      <a:pt x="158" y="46"/>
                    </a:lnTo>
                    <a:lnTo>
                      <a:pt x="156" y="44"/>
                    </a:lnTo>
                    <a:lnTo>
                      <a:pt x="156" y="44"/>
                    </a:lnTo>
                    <a:lnTo>
                      <a:pt x="156" y="44"/>
                    </a:lnTo>
                    <a:lnTo>
                      <a:pt x="154" y="42"/>
                    </a:lnTo>
                    <a:lnTo>
                      <a:pt x="154" y="40"/>
                    </a:lnTo>
                    <a:lnTo>
                      <a:pt x="152" y="38"/>
                    </a:lnTo>
                    <a:lnTo>
                      <a:pt x="152" y="36"/>
                    </a:lnTo>
                    <a:lnTo>
                      <a:pt x="152" y="36"/>
                    </a:lnTo>
                    <a:lnTo>
                      <a:pt x="150" y="36"/>
                    </a:lnTo>
                    <a:lnTo>
                      <a:pt x="150" y="36"/>
                    </a:lnTo>
                    <a:lnTo>
                      <a:pt x="146" y="34"/>
                    </a:lnTo>
                    <a:lnTo>
                      <a:pt x="146" y="34"/>
                    </a:lnTo>
                    <a:lnTo>
                      <a:pt x="146" y="32"/>
                    </a:lnTo>
                    <a:lnTo>
                      <a:pt x="146" y="32"/>
                    </a:lnTo>
                    <a:lnTo>
                      <a:pt x="146" y="32"/>
                    </a:lnTo>
                    <a:lnTo>
                      <a:pt x="146" y="30"/>
                    </a:lnTo>
                    <a:lnTo>
                      <a:pt x="146" y="28"/>
                    </a:lnTo>
                    <a:lnTo>
                      <a:pt x="146" y="24"/>
                    </a:lnTo>
                    <a:lnTo>
                      <a:pt x="146" y="24"/>
                    </a:lnTo>
                    <a:lnTo>
                      <a:pt x="148" y="20"/>
                    </a:lnTo>
                    <a:lnTo>
                      <a:pt x="148" y="18"/>
                    </a:lnTo>
                    <a:lnTo>
                      <a:pt x="146" y="16"/>
                    </a:lnTo>
                    <a:lnTo>
                      <a:pt x="146" y="14"/>
                    </a:lnTo>
                    <a:lnTo>
                      <a:pt x="146" y="14"/>
                    </a:lnTo>
                    <a:lnTo>
                      <a:pt x="144" y="12"/>
                    </a:lnTo>
                    <a:lnTo>
                      <a:pt x="138" y="10"/>
                    </a:lnTo>
                    <a:lnTo>
                      <a:pt x="138" y="10"/>
                    </a:lnTo>
                    <a:lnTo>
                      <a:pt x="130" y="6"/>
                    </a:lnTo>
                    <a:lnTo>
                      <a:pt x="128" y="4"/>
                    </a:lnTo>
                    <a:lnTo>
                      <a:pt x="126" y="0"/>
                    </a:lnTo>
                    <a:lnTo>
                      <a:pt x="126" y="0"/>
                    </a:lnTo>
                    <a:lnTo>
                      <a:pt x="124" y="2"/>
                    </a:lnTo>
                    <a:lnTo>
                      <a:pt x="124" y="2"/>
                    </a:lnTo>
                    <a:lnTo>
                      <a:pt x="122" y="2"/>
                    </a:lnTo>
                    <a:lnTo>
                      <a:pt x="120" y="2"/>
                    </a:lnTo>
                    <a:lnTo>
                      <a:pt x="120" y="2"/>
                    </a:lnTo>
                    <a:lnTo>
                      <a:pt x="116" y="2"/>
                    </a:lnTo>
                    <a:lnTo>
                      <a:pt x="116" y="2"/>
                    </a:lnTo>
                    <a:lnTo>
                      <a:pt x="114" y="2"/>
                    </a:lnTo>
                    <a:lnTo>
                      <a:pt x="114" y="2"/>
                    </a:lnTo>
                    <a:lnTo>
                      <a:pt x="112" y="4"/>
                    </a:lnTo>
                    <a:lnTo>
                      <a:pt x="110" y="6"/>
                    </a:lnTo>
                    <a:lnTo>
                      <a:pt x="106" y="10"/>
                    </a:lnTo>
                    <a:lnTo>
                      <a:pt x="106" y="10"/>
                    </a:lnTo>
                    <a:lnTo>
                      <a:pt x="104" y="12"/>
                    </a:lnTo>
                    <a:lnTo>
                      <a:pt x="104" y="16"/>
                    </a:lnTo>
                    <a:lnTo>
                      <a:pt x="102" y="18"/>
                    </a:lnTo>
                    <a:lnTo>
                      <a:pt x="100" y="20"/>
                    </a:lnTo>
                    <a:lnTo>
                      <a:pt x="100" y="20"/>
                    </a:lnTo>
                    <a:lnTo>
                      <a:pt x="98" y="22"/>
                    </a:lnTo>
                    <a:lnTo>
                      <a:pt x="96" y="24"/>
                    </a:lnTo>
                    <a:lnTo>
                      <a:pt x="92" y="28"/>
                    </a:lnTo>
                    <a:lnTo>
                      <a:pt x="92" y="28"/>
                    </a:lnTo>
                    <a:lnTo>
                      <a:pt x="88" y="32"/>
                    </a:lnTo>
                    <a:lnTo>
                      <a:pt x="84" y="32"/>
                    </a:lnTo>
                    <a:lnTo>
                      <a:pt x="82" y="32"/>
                    </a:lnTo>
                    <a:lnTo>
                      <a:pt x="78" y="34"/>
                    </a:lnTo>
                    <a:lnTo>
                      <a:pt x="72" y="34"/>
                    </a:lnTo>
                    <a:lnTo>
                      <a:pt x="72" y="34"/>
                    </a:lnTo>
                    <a:lnTo>
                      <a:pt x="72" y="34"/>
                    </a:lnTo>
                    <a:lnTo>
                      <a:pt x="68" y="34"/>
                    </a:lnTo>
                    <a:lnTo>
                      <a:pt x="66" y="36"/>
                    </a:lnTo>
                    <a:lnTo>
                      <a:pt x="66" y="38"/>
                    </a:lnTo>
                    <a:lnTo>
                      <a:pt x="66" y="38"/>
                    </a:lnTo>
                    <a:lnTo>
                      <a:pt x="64" y="40"/>
                    </a:lnTo>
                    <a:lnTo>
                      <a:pt x="64" y="42"/>
                    </a:lnTo>
                    <a:lnTo>
                      <a:pt x="62" y="44"/>
                    </a:lnTo>
                    <a:lnTo>
                      <a:pt x="62" y="46"/>
                    </a:lnTo>
                    <a:lnTo>
                      <a:pt x="62" y="46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56" y="50"/>
                    </a:lnTo>
                    <a:lnTo>
                      <a:pt x="52" y="52"/>
                    </a:lnTo>
                    <a:lnTo>
                      <a:pt x="48" y="52"/>
                    </a:lnTo>
                    <a:lnTo>
                      <a:pt x="42" y="54"/>
                    </a:lnTo>
                    <a:lnTo>
                      <a:pt x="34" y="54"/>
                    </a:lnTo>
                    <a:lnTo>
                      <a:pt x="34" y="54"/>
                    </a:lnTo>
                    <a:lnTo>
                      <a:pt x="30" y="56"/>
                    </a:lnTo>
                    <a:lnTo>
                      <a:pt x="24" y="56"/>
                    </a:lnTo>
                    <a:lnTo>
                      <a:pt x="22" y="56"/>
                    </a:lnTo>
                    <a:lnTo>
                      <a:pt x="20" y="56"/>
                    </a:lnTo>
                    <a:lnTo>
                      <a:pt x="18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2" y="64"/>
                    </a:lnTo>
                    <a:lnTo>
                      <a:pt x="10" y="68"/>
                    </a:lnTo>
                    <a:lnTo>
                      <a:pt x="8" y="74"/>
                    </a:lnTo>
                    <a:lnTo>
                      <a:pt x="8" y="74"/>
                    </a:lnTo>
                    <a:lnTo>
                      <a:pt x="6" y="76"/>
                    </a:lnTo>
                    <a:lnTo>
                      <a:pt x="4" y="80"/>
                    </a:lnTo>
                    <a:lnTo>
                      <a:pt x="2" y="84"/>
                    </a:lnTo>
                    <a:lnTo>
                      <a:pt x="0" y="86"/>
                    </a:lnTo>
                    <a:lnTo>
                      <a:pt x="0" y="90"/>
                    </a:lnTo>
                    <a:lnTo>
                      <a:pt x="0" y="92"/>
                    </a:lnTo>
                    <a:lnTo>
                      <a:pt x="0" y="96"/>
                    </a:lnTo>
                    <a:lnTo>
                      <a:pt x="0" y="96"/>
                    </a:lnTo>
                    <a:lnTo>
                      <a:pt x="0" y="96"/>
                    </a:lnTo>
                    <a:lnTo>
                      <a:pt x="0" y="96"/>
                    </a:lnTo>
                    <a:lnTo>
                      <a:pt x="0" y="9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26" name="Freeform 640"/>
              <p:cNvSpPr>
                <a:spLocks/>
              </p:cNvSpPr>
              <p:nvPr/>
            </p:nvSpPr>
            <p:spPr bwMode="auto">
              <a:xfrm>
                <a:off x="2457" y="2626"/>
                <a:ext cx="44" cy="22"/>
              </a:xfrm>
              <a:custGeom>
                <a:avLst/>
                <a:gdLst>
                  <a:gd name="T0" fmla="*/ 24 w 44"/>
                  <a:gd name="T1" fmla="*/ 18 h 22"/>
                  <a:gd name="T2" fmla="*/ 26 w 44"/>
                  <a:gd name="T3" fmla="*/ 16 h 22"/>
                  <a:gd name="T4" fmla="*/ 28 w 44"/>
                  <a:gd name="T5" fmla="*/ 16 h 22"/>
                  <a:gd name="T6" fmla="*/ 32 w 44"/>
                  <a:gd name="T7" fmla="*/ 16 h 22"/>
                  <a:gd name="T8" fmla="*/ 34 w 44"/>
                  <a:gd name="T9" fmla="*/ 16 h 22"/>
                  <a:gd name="T10" fmla="*/ 36 w 44"/>
                  <a:gd name="T11" fmla="*/ 14 h 22"/>
                  <a:gd name="T12" fmla="*/ 38 w 44"/>
                  <a:gd name="T13" fmla="*/ 6 h 22"/>
                  <a:gd name="T14" fmla="*/ 38 w 44"/>
                  <a:gd name="T15" fmla="*/ 4 h 22"/>
                  <a:gd name="T16" fmla="*/ 42 w 44"/>
                  <a:gd name="T17" fmla="*/ 2 h 22"/>
                  <a:gd name="T18" fmla="*/ 44 w 44"/>
                  <a:gd name="T19" fmla="*/ 0 h 22"/>
                  <a:gd name="T20" fmla="*/ 30 w 44"/>
                  <a:gd name="T21" fmla="*/ 0 h 22"/>
                  <a:gd name="T22" fmla="*/ 20 w 44"/>
                  <a:gd name="T23" fmla="*/ 0 h 22"/>
                  <a:gd name="T24" fmla="*/ 16 w 44"/>
                  <a:gd name="T25" fmla="*/ 0 h 22"/>
                  <a:gd name="T26" fmla="*/ 10 w 44"/>
                  <a:gd name="T27" fmla="*/ 2 h 22"/>
                  <a:gd name="T28" fmla="*/ 6 w 44"/>
                  <a:gd name="T29" fmla="*/ 4 h 22"/>
                  <a:gd name="T30" fmla="*/ 0 w 44"/>
                  <a:gd name="T31" fmla="*/ 6 h 22"/>
                  <a:gd name="T32" fmla="*/ 4 w 44"/>
                  <a:gd name="T33" fmla="*/ 6 h 22"/>
                  <a:gd name="T34" fmla="*/ 6 w 44"/>
                  <a:gd name="T35" fmla="*/ 8 h 22"/>
                  <a:gd name="T36" fmla="*/ 10 w 44"/>
                  <a:gd name="T37" fmla="*/ 6 h 22"/>
                  <a:gd name="T38" fmla="*/ 12 w 44"/>
                  <a:gd name="T39" fmla="*/ 8 h 22"/>
                  <a:gd name="T40" fmla="*/ 14 w 44"/>
                  <a:gd name="T41" fmla="*/ 8 h 22"/>
                  <a:gd name="T42" fmla="*/ 14 w 44"/>
                  <a:gd name="T43" fmla="*/ 8 h 22"/>
                  <a:gd name="T44" fmla="*/ 10 w 44"/>
                  <a:gd name="T45" fmla="*/ 10 h 22"/>
                  <a:gd name="T46" fmla="*/ 10 w 44"/>
                  <a:gd name="T47" fmla="*/ 10 h 22"/>
                  <a:gd name="T48" fmla="*/ 10 w 44"/>
                  <a:gd name="T49" fmla="*/ 12 h 22"/>
                  <a:gd name="T50" fmla="*/ 12 w 44"/>
                  <a:gd name="T51" fmla="*/ 12 h 22"/>
                  <a:gd name="T52" fmla="*/ 14 w 44"/>
                  <a:gd name="T53" fmla="*/ 12 h 22"/>
                  <a:gd name="T54" fmla="*/ 16 w 44"/>
                  <a:gd name="T55" fmla="*/ 14 h 22"/>
                  <a:gd name="T56" fmla="*/ 16 w 44"/>
                  <a:gd name="T57" fmla="*/ 16 h 22"/>
                  <a:gd name="T58" fmla="*/ 18 w 44"/>
                  <a:gd name="T59" fmla="*/ 22 h 22"/>
                  <a:gd name="T60" fmla="*/ 18 w 44"/>
                  <a:gd name="T61" fmla="*/ 22 h 22"/>
                  <a:gd name="T62" fmla="*/ 20 w 44"/>
                  <a:gd name="T63" fmla="*/ 22 h 22"/>
                  <a:gd name="T64" fmla="*/ 20 w 44"/>
                  <a:gd name="T65" fmla="*/ 20 h 22"/>
                  <a:gd name="T66" fmla="*/ 24 w 44"/>
                  <a:gd name="T67" fmla="*/ 18 h 22"/>
                  <a:gd name="T68" fmla="*/ 24 w 44"/>
                  <a:gd name="T69" fmla="*/ 18 h 22"/>
                  <a:gd name="T70" fmla="*/ 24 w 44"/>
                  <a:gd name="T71" fmla="*/ 18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4" h="22">
                    <a:moveTo>
                      <a:pt x="24" y="18"/>
                    </a:moveTo>
                    <a:lnTo>
                      <a:pt x="24" y="18"/>
                    </a:lnTo>
                    <a:lnTo>
                      <a:pt x="24" y="16"/>
                    </a:lnTo>
                    <a:lnTo>
                      <a:pt x="26" y="16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30" y="16"/>
                    </a:lnTo>
                    <a:lnTo>
                      <a:pt x="32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6" y="14"/>
                    </a:lnTo>
                    <a:lnTo>
                      <a:pt x="38" y="12"/>
                    </a:lnTo>
                    <a:lnTo>
                      <a:pt x="38" y="6"/>
                    </a:lnTo>
                    <a:lnTo>
                      <a:pt x="38" y="6"/>
                    </a:lnTo>
                    <a:lnTo>
                      <a:pt x="38" y="4"/>
                    </a:lnTo>
                    <a:lnTo>
                      <a:pt x="40" y="4"/>
                    </a:lnTo>
                    <a:lnTo>
                      <a:pt x="42" y="2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38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2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2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2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4"/>
                    </a:lnTo>
                    <a:lnTo>
                      <a:pt x="16" y="14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20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0"/>
                    </a:lnTo>
                    <a:lnTo>
                      <a:pt x="22" y="20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27" name="Freeform 642"/>
              <p:cNvSpPr>
                <a:spLocks/>
              </p:cNvSpPr>
              <p:nvPr/>
            </p:nvSpPr>
            <p:spPr bwMode="auto">
              <a:xfrm>
                <a:off x="2475" y="2626"/>
                <a:ext cx="116" cy="82"/>
              </a:xfrm>
              <a:custGeom>
                <a:avLst/>
                <a:gdLst>
                  <a:gd name="T0" fmla="*/ 112 w 116"/>
                  <a:gd name="T1" fmla="*/ 48 h 82"/>
                  <a:gd name="T2" fmla="*/ 112 w 116"/>
                  <a:gd name="T3" fmla="*/ 36 h 82"/>
                  <a:gd name="T4" fmla="*/ 110 w 116"/>
                  <a:gd name="T5" fmla="*/ 30 h 82"/>
                  <a:gd name="T6" fmla="*/ 108 w 116"/>
                  <a:gd name="T7" fmla="*/ 26 h 82"/>
                  <a:gd name="T8" fmla="*/ 104 w 116"/>
                  <a:gd name="T9" fmla="*/ 18 h 82"/>
                  <a:gd name="T10" fmla="*/ 102 w 116"/>
                  <a:gd name="T11" fmla="*/ 14 h 82"/>
                  <a:gd name="T12" fmla="*/ 100 w 116"/>
                  <a:gd name="T13" fmla="*/ 10 h 82"/>
                  <a:gd name="T14" fmla="*/ 96 w 116"/>
                  <a:gd name="T15" fmla="*/ 6 h 82"/>
                  <a:gd name="T16" fmla="*/ 94 w 116"/>
                  <a:gd name="T17" fmla="*/ 6 h 82"/>
                  <a:gd name="T18" fmla="*/ 90 w 116"/>
                  <a:gd name="T19" fmla="*/ 6 h 82"/>
                  <a:gd name="T20" fmla="*/ 82 w 116"/>
                  <a:gd name="T21" fmla="*/ 12 h 82"/>
                  <a:gd name="T22" fmla="*/ 72 w 116"/>
                  <a:gd name="T23" fmla="*/ 12 h 82"/>
                  <a:gd name="T24" fmla="*/ 66 w 116"/>
                  <a:gd name="T25" fmla="*/ 10 h 82"/>
                  <a:gd name="T26" fmla="*/ 60 w 116"/>
                  <a:gd name="T27" fmla="*/ 8 h 82"/>
                  <a:gd name="T28" fmla="*/ 52 w 116"/>
                  <a:gd name="T29" fmla="*/ 8 h 82"/>
                  <a:gd name="T30" fmla="*/ 48 w 116"/>
                  <a:gd name="T31" fmla="*/ 8 h 82"/>
                  <a:gd name="T32" fmla="*/ 38 w 116"/>
                  <a:gd name="T33" fmla="*/ 2 h 82"/>
                  <a:gd name="T34" fmla="*/ 34 w 116"/>
                  <a:gd name="T35" fmla="*/ 0 h 82"/>
                  <a:gd name="T36" fmla="*/ 26 w 116"/>
                  <a:gd name="T37" fmla="*/ 0 h 82"/>
                  <a:gd name="T38" fmla="*/ 20 w 116"/>
                  <a:gd name="T39" fmla="*/ 4 h 82"/>
                  <a:gd name="T40" fmla="*/ 20 w 116"/>
                  <a:gd name="T41" fmla="*/ 12 h 82"/>
                  <a:gd name="T42" fmla="*/ 16 w 116"/>
                  <a:gd name="T43" fmla="*/ 16 h 82"/>
                  <a:gd name="T44" fmla="*/ 12 w 116"/>
                  <a:gd name="T45" fmla="*/ 16 h 82"/>
                  <a:gd name="T46" fmla="*/ 8 w 116"/>
                  <a:gd name="T47" fmla="*/ 16 h 82"/>
                  <a:gd name="T48" fmla="*/ 6 w 116"/>
                  <a:gd name="T49" fmla="*/ 18 h 82"/>
                  <a:gd name="T50" fmla="*/ 2 w 116"/>
                  <a:gd name="T51" fmla="*/ 22 h 82"/>
                  <a:gd name="T52" fmla="*/ 0 w 116"/>
                  <a:gd name="T53" fmla="*/ 22 h 82"/>
                  <a:gd name="T54" fmla="*/ 0 w 116"/>
                  <a:gd name="T55" fmla="*/ 28 h 82"/>
                  <a:gd name="T56" fmla="*/ 2 w 116"/>
                  <a:gd name="T57" fmla="*/ 28 h 82"/>
                  <a:gd name="T58" fmla="*/ 8 w 116"/>
                  <a:gd name="T59" fmla="*/ 30 h 82"/>
                  <a:gd name="T60" fmla="*/ 14 w 116"/>
                  <a:gd name="T61" fmla="*/ 36 h 82"/>
                  <a:gd name="T62" fmla="*/ 20 w 116"/>
                  <a:gd name="T63" fmla="*/ 46 h 82"/>
                  <a:gd name="T64" fmla="*/ 24 w 116"/>
                  <a:gd name="T65" fmla="*/ 56 h 82"/>
                  <a:gd name="T66" fmla="*/ 28 w 116"/>
                  <a:gd name="T67" fmla="*/ 58 h 82"/>
                  <a:gd name="T68" fmla="*/ 32 w 116"/>
                  <a:gd name="T69" fmla="*/ 56 h 82"/>
                  <a:gd name="T70" fmla="*/ 36 w 116"/>
                  <a:gd name="T71" fmla="*/ 54 h 82"/>
                  <a:gd name="T72" fmla="*/ 42 w 116"/>
                  <a:gd name="T73" fmla="*/ 46 h 82"/>
                  <a:gd name="T74" fmla="*/ 46 w 116"/>
                  <a:gd name="T75" fmla="*/ 44 h 82"/>
                  <a:gd name="T76" fmla="*/ 54 w 116"/>
                  <a:gd name="T77" fmla="*/ 42 h 82"/>
                  <a:gd name="T78" fmla="*/ 62 w 116"/>
                  <a:gd name="T79" fmla="*/ 44 h 82"/>
                  <a:gd name="T80" fmla="*/ 64 w 116"/>
                  <a:gd name="T81" fmla="*/ 48 h 82"/>
                  <a:gd name="T82" fmla="*/ 66 w 116"/>
                  <a:gd name="T83" fmla="*/ 52 h 82"/>
                  <a:gd name="T84" fmla="*/ 70 w 116"/>
                  <a:gd name="T85" fmla="*/ 54 h 82"/>
                  <a:gd name="T86" fmla="*/ 72 w 116"/>
                  <a:gd name="T87" fmla="*/ 58 h 82"/>
                  <a:gd name="T88" fmla="*/ 72 w 116"/>
                  <a:gd name="T89" fmla="*/ 68 h 82"/>
                  <a:gd name="T90" fmla="*/ 74 w 116"/>
                  <a:gd name="T91" fmla="*/ 70 h 82"/>
                  <a:gd name="T92" fmla="*/ 80 w 116"/>
                  <a:gd name="T93" fmla="*/ 70 h 82"/>
                  <a:gd name="T94" fmla="*/ 84 w 116"/>
                  <a:gd name="T95" fmla="*/ 70 h 82"/>
                  <a:gd name="T96" fmla="*/ 92 w 116"/>
                  <a:gd name="T97" fmla="*/ 74 h 82"/>
                  <a:gd name="T98" fmla="*/ 94 w 116"/>
                  <a:gd name="T99" fmla="*/ 78 h 82"/>
                  <a:gd name="T100" fmla="*/ 96 w 116"/>
                  <a:gd name="T101" fmla="*/ 82 h 82"/>
                  <a:gd name="T102" fmla="*/ 100 w 116"/>
                  <a:gd name="T103" fmla="*/ 82 h 82"/>
                  <a:gd name="T104" fmla="*/ 108 w 116"/>
                  <a:gd name="T105" fmla="*/ 78 h 82"/>
                  <a:gd name="T106" fmla="*/ 110 w 116"/>
                  <a:gd name="T107" fmla="*/ 74 h 82"/>
                  <a:gd name="T108" fmla="*/ 114 w 116"/>
                  <a:gd name="T109" fmla="*/ 66 h 82"/>
                  <a:gd name="T110" fmla="*/ 116 w 116"/>
                  <a:gd name="T111" fmla="*/ 58 h 82"/>
                  <a:gd name="T112" fmla="*/ 114 w 116"/>
                  <a:gd name="T113" fmla="*/ 52 h 82"/>
                  <a:gd name="T114" fmla="*/ 114 w 116"/>
                  <a:gd name="T115" fmla="*/ 52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16" h="82">
                    <a:moveTo>
                      <a:pt x="114" y="52"/>
                    </a:moveTo>
                    <a:lnTo>
                      <a:pt x="114" y="52"/>
                    </a:lnTo>
                    <a:lnTo>
                      <a:pt x="112" y="48"/>
                    </a:lnTo>
                    <a:lnTo>
                      <a:pt x="112" y="44"/>
                    </a:lnTo>
                    <a:lnTo>
                      <a:pt x="112" y="40"/>
                    </a:lnTo>
                    <a:lnTo>
                      <a:pt x="112" y="36"/>
                    </a:lnTo>
                    <a:lnTo>
                      <a:pt x="112" y="36"/>
                    </a:lnTo>
                    <a:lnTo>
                      <a:pt x="112" y="34"/>
                    </a:lnTo>
                    <a:lnTo>
                      <a:pt x="110" y="30"/>
                    </a:lnTo>
                    <a:lnTo>
                      <a:pt x="110" y="28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6" y="22"/>
                    </a:lnTo>
                    <a:lnTo>
                      <a:pt x="104" y="20"/>
                    </a:lnTo>
                    <a:lnTo>
                      <a:pt x="104" y="18"/>
                    </a:lnTo>
                    <a:lnTo>
                      <a:pt x="104" y="18"/>
                    </a:lnTo>
                    <a:lnTo>
                      <a:pt x="102" y="16"/>
                    </a:lnTo>
                    <a:lnTo>
                      <a:pt x="102" y="14"/>
                    </a:lnTo>
                    <a:lnTo>
                      <a:pt x="102" y="12"/>
                    </a:lnTo>
                    <a:lnTo>
                      <a:pt x="100" y="10"/>
                    </a:lnTo>
                    <a:lnTo>
                      <a:pt x="100" y="10"/>
                    </a:lnTo>
                    <a:lnTo>
                      <a:pt x="100" y="8"/>
                    </a:lnTo>
                    <a:lnTo>
                      <a:pt x="98" y="6"/>
                    </a:lnTo>
                    <a:lnTo>
                      <a:pt x="96" y="6"/>
                    </a:lnTo>
                    <a:lnTo>
                      <a:pt x="96" y="6"/>
                    </a:lnTo>
                    <a:lnTo>
                      <a:pt x="94" y="6"/>
                    </a:lnTo>
                    <a:lnTo>
                      <a:pt x="94" y="6"/>
                    </a:lnTo>
                    <a:lnTo>
                      <a:pt x="92" y="6"/>
                    </a:lnTo>
                    <a:lnTo>
                      <a:pt x="90" y="6"/>
                    </a:lnTo>
                    <a:lnTo>
                      <a:pt x="90" y="6"/>
                    </a:lnTo>
                    <a:lnTo>
                      <a:pt x="88" y="8"/>
                    </a:lnTo>
                    <a:lnTo>
                      <a:pt x="84" y="10"/>
                    </a:lnTo>
                    <a:lnTo>
                      <a:pt x="82" y="12"/>
                    </a:lnTo>
                    <a:lnTo>
                      <a:pt x="78" y="12"/>
                    </a:lnTo>
                    <a:lnTo>
                      <a:pt x="78" y="12"/>
                    </a:lnTo>
                    <a:lnTo>
                      <a:pt x="72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6" y="10"/>
                    </a:lnTo>
                    <a:lnTo>
                      <a:pt x="66" y="10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58" y="8"/>
                    </a:lnTo>
                    <a:lnTo>
                      <a:pt x="54" y="8"/>
                    </a:lnTo>
                    <a:lnTo>
                      <a:pt x="52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48" y="8"/>
                    </a:lnTo>
                    <a:lnTo>
                      <a:pt x="46" y="6"/>
                    </a:lnTo>
                    <a:lnTo>
                      <a:pt x="42" y="6"/>
                    </a:lnTo>
                    <a:lnTo>
                      <a:pt x="38" y="2"/>
                    </a:lnTo>
                    <a:lnTo>
                      <a:pt x="36" y="2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0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4" y="2"/>
                    </a:lnTo>
                    <a:lnTo>
                      <a:pt x="22" y="4"/>
                    </a:lnTo>
                    <a:lnTo>
                      <a:pt x="20" y="4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12"/>
                    </a:lnTo>
                    <a:lnTo>
                      <a:pt x="18" y="14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4" y="16"/>
                    </a:lnTo>
                    <a:lnTo>
                      <a:pt x="12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8" y="16"/>
                    </a:lnTo>
                    <a:lnTo>
                      <a:pt x="6" y="16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4" y="20"/>
                    </a:lnTo>
                    <a:lnTo>
                      <a:pt x="2" y="20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4"/>
                    </a:lnTo>
                    <a:lnTo>
                      <a:pt x="0" y="26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2" y="28"/>
                    </a:lnTo>
                    <a:lnTo>
                      <a:pt x="2" y="28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8" y="30"/>
                    </a:lnTo>
                    <a:lnTo>
                      <a:pt x="10" y="32"/>
                    </a:lnTo>
                    <a:lnTo>
                      <a:pt x="12" y="34"/>
                    </a:lnTo>
                    <a:lnTo>
                      <a:pt x="14" y="36"/>
                    </a:lnTo>
                    <a:lnTo>
                      <a:pt x="18" y="42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2" y="52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26" y="58"/>
                    </a:lnTo>
                    <a:lnTo>
                      <a:pt x="26" y="58"/>
                    </a:lnTo>
                    <a:lnTo>
                      <a:pt x="28" y="58"/>
                    </a:lnTo>
                    <a:lnTo>
                      <a:pt x="28" y="58"/>
                    </a:lnTo>
                    <a:lnTo>
                      <a:pt x="30" y="58"/>
                    </a:lnTo>
                    <a:lnTo>
                      <a:pt x="32" y="56"/>
                    </a:lnTo>
                    <a:lnTo>
                      <a:pt x="34" y="56"/>
                    </a:lnTo>
                    <a:lnTo>
                      <a:pt x="36" y="54"/>
                    </a:lnTo>
                    <a:lnTo>
                      <a:pt x="36" y="54"/>
                    </a:lnTo>
                    <a:lnTo>
                      <a:pt x="38" y="50"/>
                    </a:lnTo>
                    <a:lnTo>
                      <a:pt x="40" y="48"/>
                    </a:lnTo>
                    <a:lnTo>
                      <a:pt x="42" y="46"/>
                    </a:lnTo>
                    <a:lnTo>
                      <a:pt x="42" y="46"/>
                    </a:lnTo>
                    <a:lnTo>
                      <a:pt x="44" y="46"/>
                    </a:lnTo>
                    <a:lnTo>
                      <a:pt x="46" y="44"/>
                    </a:lnTo>
                    <a:lnTo>
                      <a:pt x="48" y="44"/>
                    </a:lnTo>
                    <a:lnTo>
                      <a:pt x="50" y="42"/>
                    </a:lnTo>
                    <a:lnTo>
                      <a:pt x="54" y="42"/>
                    </a:lnTo>
                    <a:lnTo>
                      <a:pt x="56" y="42"/>
                    </a:lnTo>
                    <a:lnTo>
                      <a:pt x="58" y="44"/>
                    </a:lnTo>
                    <a:lnTo>
                      <a:pt x="62" y="44"/>
                    </a:lnTo>
                    <a:lnTo>
                      <a:pt x="62" y="44"/>
                    </a:lnTo>
                    <a:lnTo>
                      <a:pt x="62" y="46"/>
                    </a:lnTo>
                    <a:lnTo>
                      <a:pt x="64" y="48"/>
                    </a:lnTo>
                    <a:lnTo>
                      <a:pt x="64" y="50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8" y="54"/>
                    </a:lnTo>
                    <a:lnTo>
                      <a:pt x="70" y="54"/>
                    </a:lnTo>
                    <a:lnTo>
                      <a:pt x="70" y="54"/>
                    </a:lnTo>
                    <a:lnTo>
                      <a:pt x="72" y="56"/>
                    </a:lnTo>
                    <a:lnTo>
                      <a:pt x="72" y="58"/>
                    </a:lnTo>
                    <a:lnTo>
                      <a:pt x="72" y="58"/>
                    </a:lnTo>
                    <a:lnTo>
                      <a:pt x="72" y="64"/>
                    </a:lnTo>
                    <a:lnTo>
                      <a:pt x="72" y="66"/>
                    </a:lnTo>
                    <a:lnTo>
                      <a:pt x="72" y="68"/>
                    </a:lnTo>
                    <a:lnTo>
                      <a:pt x="72" y="68"/>
                    </a:lnTo>
                    <a:lnTo>
                      <a:pt x="74" y="70"/>
                    </a:lnTo>
                    <a:lnTo>
                      <a:pt x="74" y="70"/>
                    </a:lnTo>
                    <a:lnTo>
                      <a:pt x="74" y="70"/>
                    </a:lnTo>
                    <a:lnTo>
                      <a:pt x="76" y="70"/>
                    </a:lnTo>
                    <a:lnTo>
                      <a:pt x="80" y="70"/>
                    </a:lnTo>
                    <a:lnTo>
                      <a:pt x="82" y="70"/>
                    </a:lnTo>
                    <a:lnTo>
                      <a:pt x="84" y="70"/>
                    </a:lnTo>
                    <a:lnTo>
                      <a:pt x="84" y="70"/>
                    </a:lnTo>
                    <a:lnTo>
                      <a:pt x="88" y="72"/>
                    </a:lnTo>
                    <a:lnTo>
                      <a:pt x="90" y="72"/>
                    </a:lnTo>
                    <a:lnTo>
                      <a:pt x="92" y="74"/>
                    </a:lnTo>
                    <a:lnTo>
                      <a:pt x="92" y="76"/>
                    </a:lnTo>
                    <a:lnTo>
                      <a:pt x="92" y="76"/>
                    </a:lnTo>
                    <a:lnTo>
                      <a:pt x="94" y="78"/>
                    </a:lnTo>
                    <a:lnTo>
                      <a:pt x="96" y="80"/>
                    </a:lnTo>
                    <a:lnTo>
                      <a:pt x="96" y="82"/>
                    </a:lnTo>
                    <a:lnTo>
                      <a:pt x="96" y="82"/>
                    </a:lnTo>
                    <a:lnTo>
                      <a:pt x="96" y="82"/>
                    </a:lnTo>
                    <a:lnTo>
                      <a:pt x="98" y="82"/>
                    </a:lnTo>
                    <a:lnTo>
                      <a:pt x="100" y="82"/>
                    </a:lnTo>
                    <a:lnTo>
                      <a:pt x="102" y="80"/>
                    </a:lnTo>
                    <a:lnTo>
                      <a:pt x="106" y="78"/>
                    </a:lnTo>
                    <a:lnTo>
                      <a:pt x="108" y="78"/>
                    </a:lnTo>
                    <a:lnTo>
                      <a:pt x="108" y="78"/>
                    </a:lnTo>
                    <a:lnTo>
                      <a:pt x="108" y="76"/>
                    </a:lnTo>
                    <a:lnTo>
                      <a:pt x="110" y="74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14" y="66"/>
                    </a:lnTo>
                    <a:lnTo>
                      <a:pt x="116" y="62"/>
                    </a:lnTo>
                    <a:lnTo>
                      <a:pt x="116" y="60"/>
                    </a:lnTo>
                    <a:lnTo>
                      <a:pt x="116" y="58"/>
                    </a:lnTo>
                    <a:lnTo>
                      <a:pt x="116" y="56"/>
                    </a:lnTo>
                    <a:lnTo>
                      <a:pt x="116" y="54"/>
                    </a:lnTo>
                    <a:lnTo>
                      <a:pt x="114" y="52"/>
                    </a:lnTo>
                    <a:lnTo>
                      <a:pt x="114" y="52"/>
                    </a:lnTo>
                    <a:lnTo>
                      <a:pt x="114" y="52"/>
                    </a:lnTo>
                    <a:lnTo>
                      <a:pt x="114" y="52"/>
                    </a:lnTo>
                    <a:lnTo>
                      <a:pt x="114" y="5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28" name="Freeform 644"/>
              <p:cNvSpPr>
                <a:spLocks/>
              </p:cNvSpPr>
              <p:nvPr/>
            </p:nvSpPr>
            <p:spPr bwMode="auto">
              <a:xfrm>
                <a:off x="2501" y="2668"/>
                <a:ext cx="52" cy="52"/>
              </a:xfrm>
              <a:custGeom>
                <a:avLst/>
                <a:gdLst>
                  <a:gd name="T0" fmla="*/ 44 w 52"/>
                  <a:gd name="T1" fmla="*/ 42 h 52"/>
                  <a:gd name="T2" fmla="*/ 48 w 52"/>
                  <a:gd name="T3" fmla="*/ 36 h 52"/>
                  <a:gd name="T4" fmla="*/ 50 w 52"/>
                  <a:gd name="T5" fmla="*/ 36 h 52"/>
                  <a:gd name="T6" fmla="*/ 52 w 52"/>
                  <a:gd name="T7" fmla="*/ 28 h 52"/>
                  <a:gd name="T8" fmla="*/ 48 w 52"/>
                  <a:gd name="T9" fmla="*/ 28 h 52"/>
                  <a:gd name="T10" fmla="*/ 48 w 52"/>
                  <a:gd name="T11" fmla="*/ 28 h 52"/>
                  <a:gd name="T12" fmla="*/ 46 w 52"/>
                  <a:gd name="T13" fmla="*/ 26 h 52"/>
                  <a:gd name="T14" fmla="*/ 46 w 52"/>
                  <a:gd name="T15" fmla="*/ 22 h 52"/>
                  <a:gd name="T16" fmla="*/ 46 w 52"/>
                  <a:gd name="T17" fmla="*/ 16 h 52"/>
                  <a:gd name="T18" fmla="*/ 44 w 52"/>
                  <a:gd name="T19" fmla="*/ 12 h 52"/>
                  <a:gd name="T20" fmla="*/ 42 w 52"/>
                  <a:gd name="T21" fmla="*/ 12 h 52"/>
                  <a:gd name="T22" fmla="*/ 40 w 52"/>
                  <a:gd name="T23" fmla="*/ 10 h 52"/>
                  <a:gd name="T24" fmla="*/ 38 w 52"/>
                  <a:gd name="T25" fmla="*/ 6 h 52"/>
                  <a:gd name="T26" fmla="*/ 36 w 52"/>
                  <a:gd name="T27" fmla="*/ 2 h 52"/>
                  <a:gd name="T28" fmla="*/ 32 w 52"/>
                  <a:gd name="T29" fmla="*/ 2 h 52"/>
                  <a:gd name="T30" fmla="*/ 28 w 52"/>
                  <a:gd name="T31" fmla="*/ 0 h 52"/>
                  <a:gd name="T32" fmla="*/ 22 w 52"/>
                  <a:gd name="T33" fmla="*/ 2 h 52"/>
                  <a:gd name="T34" fmla="*/ 18 w 52"/>
                  <a:gd name="T35" fmla="*/ 4 h 52"/>
                  <a:gd name="T36" fmla="*/ 16 w 52"/>
                  <a:gd name="T37" fmla="*/ 4 h 52"/>
                  <a:gd name="T38" fmla="*/ 12 w 52"/>
                  <a:gd name="T39" fmla="*/ 8 h 52"/>
                  <a:gd name="T40" fmla="*/ 10 w 52"/>
                  <a:gd name="T41" fmla="*/ 12 h 52"/>
                  <a:gd name="T42" fmla="*/ 6 w 52"/>
                  <a:gd name="T43" fmla="*/ 14 h 52"/>
                  <a:gd name="T44" fmla="*/ 2 w 52"/>
                  <a:gd name="T45" fmla="*/ 16 h 52"/>
                  <a:gd name="T46" fmla="*/ 0 w 52"/>
                  <a:gd name="T47" fmla="*/ 16 h 52"/>
                  <a:gd name="T48" fmla="*/ 2 w 52"/>
                  <a:gd name="T49" fmla="*/ 20 h 52"/>
                  <a:gd name="T50" fmla="*/ 4 w 52"/>
                  <a:gd name="T51" fmla="*/ 24 h 52"/>
                  <a:gd name="T52" fmla="*/ 10 w 52"/>
                  <a:gd name="T53" fmla="*/ 32 h 52"/>
                  <a:gd name="T54" fmla="*/ 14 w 52"/>
                  <a:gd name="T55" fmla="*/ 40 h 52"/>
                  <a:gd name="T56" fmla="*/ 16 w 52"/>
                  <a:gd name="T57" fmla="*/ 44 h 52"/>
                  <a:gd name="T58" fmla="*/ 18 w 52"/>
                  <a:gd name="T59" fmla="*/ 46 h 52"/>
                  <a:gd name="T60" fmla="*/ 18 w 52"/>
                  <a:gd name="T61" fmla="*/ 46 h 52"/>
                  <a:gd name="T62" fmla="*/ 22 w 52"/>
                  <a:gd name="T63" fmla="*/ 46 h 52"/>
                  <a:gd name="T64" fmla="*/ 30 w 52"/>
                  <a:gd name="T65" fmla="*/ 46 h 52"/>
                  <a:gd name="T66" fmla="*/ 34 w 52"/>
                  <a:gd name="T67" fmla="*/ 46 h 52"/>
                  <a:gd name="T68" fmla="*/ 32 w 52"/>
                  <a:gd name="T69" fmla="*/ 48 h 52"/>
                  <a:gd name="T70" fmla="*/ 32 w 52"/>
                  <a:gd name="T71" fmla="*/ 50 h 52"/>
                  <a:gd name="T72" fmla="*/ 34 w 52"/>
                  <a:gd name="T73" fmla="*/ 52 h 52"/>
                  <a:gd name="T74" fmla="*/ 36 w 52"/>
                  <a:gd name="T75" fmla="*/ 50 h 52"/>
                  <a:gd name="T76" fmla="*/ 42 w 52"/>
                  <a:gd name="T77" fmla="*/ 44 h 52"/>
                  <a:gd name="T78" fmla="*/ 44 w 52"/>
                  <a:gd name="T79" fmla="*/ 42 h 52"/>
                  <a:gd name="T80" fmla="*/ 44 w 52"/>
                  <a:gd name="T81" fmla="*/ 4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52" h="52">
                    <a:moveTo>
                      <a:pt x="44" y="42"/>
                    </a:moveTo>
                    <a:lnTo>
                      <a:pt x="44" y="42"/>
                    </a:lnTo>
                    <a:lnTo>
                      <a:pt x="48" y="38"/>
                    </a:lnTo>
                    <a:lnTo>
                      <a:pt x="48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2" y="28"/>
                    </a:lnTo>
                    <a:lnTo>
                      <a:pt x="52" y="28"/>
                    </a:lnTo>
                    <a:lnTo>
                      <a:pt x="50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24"/>
                    </a:lnTo>
                    <a:lnTo>
                      <a:pt x="46" y="22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14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2" y="12"/>
                    </a:lnTo>
                    <a:lnTo>
                      <a:pt x="40" y="10"/>
                    </a:lnTo>
                    <a:lnTo>
                      <a:pt x="40" y="10"/>
                    </a:lnTo>
                    <a:lnTo>
                      <a:pt x="38" y="8"/>
                    </a:lnTo>
                    <a:lnTo>
                      <a:pt x="38" y="6"/>
                    </a:lnTo>
                    <a:lnTo>
                      <a:pt x="36" y="4"/>
                    </a:lnTo>
                    <a:lnTo>
                      <a:pt x="36" y="2"/>
                    </a:lnTo>
                    <a:lnTo>
                      <a:pt x="36" y="2"/>
                    </a:lnTo>
                    <a:lnTo>
                      <a:pt x="32" y="2"/>
                    </a:lnTo>
                    <a:lnTo>
                      <a:pt x="30" y="0"/>
                    </a:lnTo>
                    <a:lnTo>
                      <a:pt x="28" y="0"/>
                    </a:lnTo>
                    <a:lnTo>
                      <a:pt x="24" y="0"/>
                    </a:lnTo>
                    <a:lnTo>
                      <a:pt x="22" y="2"/>
                    </a:lnTo>
                    <a:lnTo>
                      <a:pt x="20" y="2"/>
                    </a:lnTo>
                    <a:lnTo>
                      <a:pt x="18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4" y="6"/>
                    </a:lnTo>
                    <a:lnTo>
                      <a:pt x="12" y="8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8" y="14"/>
                    </a:lnTo>
                    <a:lnTo>
                      <a:pt x="6" y="14"/>
                    </a:lnTo>
                    <a:lnTo>
                      <a:pt x="4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8"/>
                    </a:lnTo>
                    <a:lnTo>
                      <a:pt x="10" y="32"/>
                    </a:lnTo>
                    <a:lnTo>
                      <a:pt x="10" y="32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6" y="44"/>
                    </a:lnTo>
                    <a:lnTo>
                      <a:pt x="18" y="44"/>
                    </a:lnTo>
                    <a:lnTo>
                      <a:pt x="18" y="46"/>
                    </a:lnTo>
                    <a:lnTo>
                      <a:pt x="18" y="46"/>
                    </a:lnTo>
                    <a:lnTo>
                      <a:pt x="18" y="46"/>
                    </a:lnTo>
                    <a:lnTo>
                      <a:pt x="20" y="46"/>
                    </a:lnTo>
                    <a:lnTo>
                      <a:pt x="22" y="46"/>
                    </a:lnTo>
                    <a:lnTo>
                      <a:pt x="26" y="46"/>
                    </a:lnTo>
                    <a:lnTo>
                      <a:pt x="30" y="46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32" y="50"/>
                    </a:lnTo>
                    <a:lnTo>
                      <a:pt x="32" y="50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6" y="50"/>
                    </a:lnTo>
                    <a:lnTo>
                      <a:pt x="40" y="46"/>
                    </a:lnTo>
                    <a:lnTo>
                      <a:pt x="42" y="44"/>
                    </a:lnTo>
                    <a:lnTo>
                      <a:pt x="44" y="42"/>
                    </a:lnTo>
                    <a:lnTo>
                      <a:pt x="44" y="42"/>
                    </a:lnTo>
                    <a:lnTo>
                      <a:pt x="44" y="42"/>
                    </a:lnTo>
                    <a:lnTo>
                      <a:pt x="44" y="42"/>
                    </a:lnTo>
                    <a:lnTo>
                      <a:pt x="44" y="4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29" name="Freeform 646"/>
              <p:cNvSpPr>
                <a:spLocks/>
              </p:cNvSpPr>
              <p:nvPr/>
            </p:nvSpPr>
            <p:spPr bwMode="auto">
              <a:xfrm>
                <a:off x="2535" y="2696"/>
                <a:ext cx="62" cy="68"/>
              </a:xfrm>
              <a:custGeom>
                <a:avLst/>
                <a:gdLst>
                  <a:gd name="T0" fmla="*/ 60 w 62"/>
                  <a:gd name="T1" fmla="*/ 56 h 68"/>
                  <a:gd name="T2" fmla="*/ 62 w 62"/>
                  <a:gd name="T3" fmla="*/ 50 h 68"/>
                  <a:gd name="T4" fmla="*/ 62 w 62"/>
                  <a:gd name="T5" fmla="*/ 46 h 68"/>
                  <a:gd name="T6" fmla="*/ 60 w 62"/>
                  <a:gd name="T7" fmla="*/ 42 h 68"/>
                  <a:gd name="T8" fmla="*/ 58 w 62"/>
                  <a:gd name="T9" fmla="*/ 40 h 68"/>
                  <a:gd name="T10" fmla="*/ 54 w 62"/>
                  <a:gd name="T11" fmla="*/ 32 h 68"/>
                  <a:gd name="T12" fmla="*/ 50 w 62"/>
                  <a:gd name="T13" fmla="*/ 32 h 68"/>
                  <a:gd name="T14" fmla="*/ 46 w 62"/>
                  <a:gd name="T15" fmla="*/ 26 h 68"/>
                  <a:gd name="T16" fmla="*/ 44 w 62"/>
                  <a:gd name="T17" fmla="*/ 22 h 68"/>
                  <a:gd name="T18" fmla="*/ 44 w 62"/>
                  <a:gd name="T19" fmla="*/ 20 h 68"/>
                  <a:gd name="T20" fmla="*/ 44 w 62"/>
                  <a:gd name="T21" fmla="*/ 14 h 68"/>
                  <a:gd name="T22" fmla="*/ 44 w 62"/>
                  <a:gd name="T23" fmla="*/ 10 h 68"/>
                  <a:gd name="T24" fmla="*/ 40 w 62"/>
                  <a:gd name="T25" fmla="*/ 12 h 68"/>
                  <a:gd name="T26" fmla="*/ 36 w 62"/>
                  <a:gd name="T27" fmla="*/ 12 h 68"/>
                  <a:gd name="T28" fmla="*/ 36 w 62"/>
                  <a:gd name="T29" fmla="*/ 12 h 68"/>
                  <a:gd name="T30" fmla="*/ 34 w 62"/>
                  <a:gd name="T31" fmla="*/ 8 h 68"/>
                  <a:gd name="T32" fmla="*/ 32 w 62"/>
                  <a:gd name="T33" fmla="*/ 6 h 68"/>
                  <a:gd name="T34" fmla="*/ 30 w 62"/>
                  <a:gd name="T35" fmla="*/ 2 h 68"/>
                  <a:gd name="T36" fmla="*/ 24 w 62"/>
                  <a:gd name="T37" fmla="*/ 0 h 68"/>
                  <a:gd name="T38" fmla="*/ 22 w 62"/>
                  <a:gd name="T39" fmla="*/ 0 h 68"/>
                  <a:gd name="T40" fmla="*/ 18 w 62"/>
                  <a:gd name="T41" fmla="*/ 0 h 68"/>
                  <a:gd name="T42" fmla="*/ 16 w 62"/>
                  <a:gd name="T43" fmla="*/ 8 h 68"/>
                  <a:gd name="T44" fmla="*/ 14 w 62"/>
                  <a:gd name="T45" fmla="*/ 10 h 68"/>
                  <a:gd name="T46" fmla="*/ 10 w 62"/>
                  <a:gd name="T47" fmla="*/ 14 h 68"/>
                  <a:gd name="T48" fmla="*/ 6 w 62"/>
                  <a:gd name="T49" fmla="*/ 18 h 68"/>
                  <a:gd name="T50" fmla="*/ 0 w 62"/>
                  <a:gd name="T51" fmla="*/ 24 h 68"/>
                  <a:gd name="T52" fmla="*/ 0 w 62"/>
                  <a:gd name="T53" fmla="*/ 24 h 68"/>
                  <a:gd name="T54" fmla="*/ 2 w 62"/>
                  <a:gd name="T55" fmla="*/ 26 h 68"/>
                  <a:gd name="T56" fmla="*/ 4 w 62"/>
                  <a:gd name="T57" fmla="*/ 26 h 68"/>
                  <a:gd name="T58" fmla="*/ 8 w 62"/>
                  <a:gd name="T59" fmla="*/ 26 h 68"/>
                  <a:gd name="T60" fmla="*/ 10 w 62"/>
                  <a:gd name="T61" fmla="*/ 26 h 68"/>
                  <a:gd name="T62" fmla="*/ 10 w 62"/>
                  <a:gd name="T63" fmla="*/ 28 h 68"/>
                  <a:gd name="T64" fmla="*/ 12 w 62"/>
                  <a:gd name="T65" fmla="*/ 32 h 68"/>
                  <a:gd name="T66" fmla="*/ 14 w 62"/>
                  <a:gd name="T67" fmla="*/ 34 h 68"/>
                  <a:gd name="T68" fmla="*/ 16 w 62"/>
                  <a:gd name="T69" fmla="*/ 34 h 68"/>
                  <a:gd name="T70" fmla="*/ 22 w 62"/>
                  <a:gd name="T71" fmla="*/ 40 h 68"/>
                  <a:gd name="T72" fmla="*/ 26 w 62"/>
                  <a:gd name="T73" fmla="*/ 44 h 68"/>
                  <a:gd name="T74" fmla="*/ 30 w 62"/>
                  <a:gd name="T75" fmla="*/ 48 h 68"/>
                  <a:gd name="T76" fmla="*/ 32 w 62"/>
                  <a:gd name="T77" fmla="*/ 52 h 68"/>
                  <a:gd name="T78" fmla="*/ 36 w 62"/>
                  <a:gd name="T79" fmla="*/ 54 h 68"/>
                  <a:gd name="T80" fmla="*/ 40 w 62"/>
                  <a:gd name="T81" fmla="*/ 58 h 68"/>
                  <a:gd name="T82" fmla="*/ 44 w 62"/>
                  <a:gd name="T83" fmla="*/ 60 h 68"/>
                  <a:gd name="T84" fmla="*/ 46 w 62"/>
                  <a:gd name="T85" fmla="*/ 62 h 68"/>
                  <a:gd name="T86" fmla="*/ 52 w 62"/>
                  <a:gd name="T87" fmla="*/ 66 h 68"/>
                  <a:gd name="T88" fmla="*/ 54 w 62"/>
                  <a:gd name="T89" fmla="*/ 66 h 68"/>
                  <a:gd name="T90" fmla="*/ 58 w 62"/>
                  <a:gd name="T91" fmla="*/ 68 h 68"/>
                  <a:gd name="T92" fmla="*/ 62 w 62"/>
                  <a:gd name="T93" fmla="*/ 68 h 68"/>
                  <a:gd name="T94" fmla="*/ 60 w 62"/>
                  <a:gd name="T95" fmla="*/ 64 h 68"/>
                  <a:gd name="T96" fmla="*/ 60 w 62"/>
                  <a:gd name="T97" fmla="*/ 62 h 68"/>
                  <a:gd name="T98" fmla="*/ 60 w 62"/>
                  <a:gd name="T99" fmla="*/ 58 h 68"/>
                  <a:gd name="T100" fmla="*/ 60 w 62"/>
                  <a:gd name="T101" fmla="*/ 56 h 68"/>
                  <a:gd name="T102" fmla="*/ 60 w 62"/>
                  <a:gd name="T103" fmla="*/ 56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62" h="68">
                    <a:moveTo>
                      <a:pt x="60" y="56"/>
                    </a:moveTo>
                    <a:lnTo>
                      <a:pt x="60" y="56"/>
                    </a:lnTo>
                    <a:lnTo>
                      <a:pt x="62" y="52"/>
                    </a:lnTo>
                    <a:lnTo>
                      <a:pt x="62" y="50"/>
                    </a:lnTo>
                    <a:lnTo>
                      <a:pt x="62" y="48"/>
                    </a:lnTo>
                    <a:lnTo>
                      <a:pt x="62" y="46"/>
                    </a:lnTo>
                    <a:lnTo>
                      <a:pt x="62" y="44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58" y="40"/>
                    </a:lnTo>
                    <a:lnTo>
                      <a:pt x="56" y="36"/>
                    </a:lnTo>
                    <a:lnTo>
                      <a:pt x="54" y="32"/>
                    </a:lnTo>
                    <a:lnTo>
                      <a:pt x="54" y="32"/>
                    </a:lnTo>
                    <a:lnTo>
                      <a:pt x="50" y="32"/>
                    </a:lnTo>
                    <a:lnTo>
                      <a:pt x="48" y="28"/>
                    </a:lnTo>
                    <a:lnTo>
                      <a:pt x="46" y="26"/>
                    </a:lnTo>
                    <a:lnTo>
                      <a:pt x="44" y="24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4" y="20"/>
                    </a:lnTo>
                    <a:lnTo>
                      <a:pt x="44" y="16"/>
                    </a:lnTo>
                    <a:lnTo>
                      <a:pt x="44" y="14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2" y="12"/>
                    </a:lnTo>
                    <a:lnTo>
                      <a:pt x="40" y="12"/>
                    </a:lnTo>
                    <a:lnTo>
                      <a:pt x="38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0"/>
                    </a:lnTo>
                    <a:lnTo>
                      <a:pt x="34" y="8"/>
                    </a:lnTo>
                    <a:lnTo>
                      <a:pt x="32" y="6"/>
                    </a:lnTo>
                    <a:lnTo>
                      <a:pt x="32" y="6"/>
                    </a:lnTo>
                    <a:lnTo>
                      <a:pt x="32" y="4"/>
                    </a:lnTo>
                    <a:lnTo>
                      <a:pt x="30" y="2"/>
                    </a:lnTo>
                    <a:lnTo>
                      <a:pt x="28" y="2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2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4" y="8"/>
                    </a:lnTo>
                    <a:lnTo>
                      <a:pt x="14" y="10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8" y="16"/>
                    </a:lnTo>
                    <a:lnTo>
                      <a:pt x="6" y="18"/>
                    </a:lnTo>
                    <a:lnTo>
                      <a:pt x="2" y="22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6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10" y="26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12" y="30"/>
                    </a:lnTo>
                    <a:lnTo>
                      <a:pt x="12" y="32"/>
                    </a:lnTo>
                    <a:lnTo>
                      <a:pt x="14" y="32"/>
                    </a:lnTo>
                    <a:lnTo>
                      <a:pt x="14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8" y="38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6" y="44"/>
                    </a:lnTo>
                    <a:lnTo>
                      <a:pt x="28" y="46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2" y="52"/>
                    </a:lnTo>
                    <a:lnTo>
                      <a:pt x="34" y="54"/>
                    </a:lnTo>
                    <a:lnTo>
                      <a:pt x="36" y="54"/>
                    </a:lnTo>
                    <a:lnTo>
                      <a:pt x="36" y="54"/>
                    </a:lnTo>
                    <a:lnTo>
                      <a:pt x="40" y="58"/>
                    </a:lnTo>
                    <a:lnTo>
                      <a:pt x="42" y="58"/>
                    </a:lnTo>
                    <a:lnTo>
                      <a:pt x="44" y="60"/>
                    </a:lnTo>
                    <a:lnTo>
                      <a:pt x="44" y="60"/>
                    </a:lnTo>
                    <a:lnTo>
                      <a:pt x="46" y="62"/>
                    </a:lnTo>
                    <a:lnTo>
                      <a:pt x="48" y="64"/>
                    </a:lnTo>
                    <a:lnTo>
                      <a:pt x="52" y="66"/>
                    </a:lnTo>
                    <a:lnTo>
                      <a:pt x="54" y="66"/>
                    </a:lnTo>
                    <a:lnTo>
                      <a:pt x="54" y="66"/>
                    </a:lnTo>
                    <a:lnTo>
                      <a:pt x="56" y="68"/>
                    </a:lnTo>
                    <a:lnTo>
                      <a:pt x="58" y="68"/>
                    </a:lnTo>
                    <a:lnTo>
                      <a:pt x="60" y="68"/>
                    </a:lnTo>
                    <a:lnTo>
                      <a:pt x="62" y="68"/>
                    </a:lnTo>
                    <a:lnTo>
                      <a:pt x="62" y="68"/>
                    </a:lnTo>
                    <a:lnTo>
                      <a:pt x="60" y="64"/>
                    </a:lnTo>
                    <a:lnTo>
                      <a:pt x="60" y="64"/>
                    </a:lnTo>
                    <a:lnTo>
                      <a:pt x="60" y="62"/>
                    </a:lnTo>
                    <a:lnTo>
                      <a:pt x="60" y="60"/>
                    </a:lnTo>
                    <a:lnTo>
                      <a:pt x="60" y="58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60" y="5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30" name="Freeform 648"/>
              <p:cNvSpPr>
                <a:spLocks/>
              </p:cNvSpPr>
              <p:nvPr/>
            </p:nvSpPr>
            <p:spPr bwMode="auto">
              <a:xfrm>
                <a:off x="2579" y="2662"/>
                <a:ext cx="98" cy="102"/>
              </a:xfrm>
              <a:custGeom>
                <a:avLst/>
                <a:gdLst>
                  <a:gd name="T0" fmla="*/ 94 w 98"/>
                  <a:gd name="T1" fmla="*/ 76 h 102"/>
                  <a:gd name="T2" fmla="*/ 92 w 98"/>
                  <a:gd name="T3" fmla="*/ 70 h 102"/>
                  <a:gd name="T4" fmla="*/ 90 w 98"/>
                  <a:gd name="T5" fmla="*/ 64 h 102"/>
                  <a:gd name="T6" fmla="*/ 88 w 98"/>
                  <a:gd name="T7" fmla="*/ 56 h 102"/>
                  <a:gd name="T8" fmla="*/ 90 w 98"/>
                  <a:gd name="T9" fmla="*/ 48 h 102"/>
                  <a:gd name="T10" fmla="*/ 92 w 98"/>
                  <a:gd name="T11" fmla="*/ 42 h 102"/>
                  <a:gd name="T12" fmla="*/ 96 w 98"/>
                  <a:gd name="T13" fmla="*/ 36 h 102"/>
                  <a:gd name="T14" fmla="*/ 98 w 98"/>
                  <a:gd name="T15" fmla="*/ 30 h 102"/>
                  <a:gd name="T16" fmla="*/ 98 w 98"/>
                  <a:gd name="T17" fmla="*/ 26 h 102"/>
                  <a:gd name="T18" fmla="*/ 96 w 98"/>
                  <a:gd name="T19" fmla="*/ 22 h 102"/>
                  <a:gd name="T20" fmla="*/ 92 w 98"/>
                  <a:gd name="T21" fmla="*/ 16 h 102"/>
                  <a:gd name="T22" fmla="*/ 92 w 98"/>
                  <a:gd name="T23" fmla="*/ 10 h 102"/>
                  <a:gd name="T24" fmla="*/ 90 w 98"/>
                  <a:gd name="T25" fmla="*/ 8 h 102"/>
                  <a:gd name="T26" fmla="*/ 88 w 98"/>
                  <a:gd name="T27" fmla="*/ 8 h 102"/>
                  <a:gd name="T28" fmla="*/ 82 w 98"/>
                  <a:gd name="T29" fmla="*/ 10 h 102"/>
                  <a:gd name="T30" fmla="*/ 74 w 98"/>
                  <a:gd name="T31" fmla="*/ 10 h 102"/>
                  <a:gd name="T32" fmla="*/ 66 w 98"/>
                  <a:gd name="T33" fmla="*/ 8 h 102"/>
                  <a:gd name="T34" fmla="*/ 62 w 98"/>
                  <a:gd name="T35" fmla="*/ 6 h 102"/>
                  <a:gd name="T36" fmla="*/ 60 w 98"/>
                  <a:gd name="T37" fmla="*/ 2 h 102"/>
                  <a:gd name="T38" fmla="*/ 58 w 98"/>
                  <a:gd name="T39" fmla="*/ 0 h 102"/>
                  <a:gd name="T40" fmla="*/ 54 w 98"/>
                  <a:gd name="T41" fmla="*/ 2 h 102"/>
                  <a:gd name="T42" fmla="*/ 48 w 98"/>
                  <a:gd name="T43" fmla="*/ 0 h 102"/>
                  <a:gd name="T44" fmla="*/ 44 w 98"/>
                  <a:gd name="T45" fmla="*/ 2 h 102"/>
                  <a:gd name="T46" fmla="*/ 38 w 98"/>
                  <a:gd name="T47" fmla="*/ 2 h 102"/>
                  <a:gd name="T48" fmla="*/ 20 w 98"/>
                  <a:gd name="T49" fmla="*/ 0 h 102"/>
                  <a:gd name="T50" fmla="*/ 16 w 98"/>
                  <a:gd name="T51" fmla="*/ 2 h 102"/>
                  <a:gd name="T52" fmla="*/ 12 w 98"/>
                  <a:gd name="T53" fmla="*/ 2 h 102"/>
                  <a:gd name="T54" fmla="*/ 8 w 98"/>
                  <a:gd name="T55" fmla="*/ 0 h 102"/>
                  <a:gd name="T56" fmla="*/ 8 w 98"/>
                  <a:gd name="T57" fmla="*/ 8 h 102"/>
                  <a:gd name="T58" fmla="*/ 10 w 98"/>
                  <a:gd name="T59" fmla="*/ 16 h 102"/>
                  <a:gd name="T60" fmla="*/ 12 w 98"/>
                  <a:gd name="T61" fmla="*/ 22 h 102"/>
                  <a:gd name="T62" fmla="*/ 10 w 98"/>
                  <a:gd name="T63" fmla="*/ 30 h 102"/>
                  <a:gd name="T64" fmla="*/ 6 w 98"/>
                  <a:gd name="T65" fmla="*/ 38 h 102"/>
                  <a:gd name="T66" fmla="*/ 4 w 98"/>
                  <a:gd name="T67" fmla="*/ 42 h 102"/>
                  <a:gd name="T68" fmla="*/ 0 w 98"/>
                  <a:gd name="T69" fmla="*/ 44 h 102"/>
                  <a:gd name="T70" fmla="*/ 0 w 98"/>
                  <a:gd name="T71" fmla="*/ 54 h 102"/>
                  <a:gd name="T72" fmla="*/ 0 w 98"/>
                  <a:gd name="T73" fmla="*/ 58 h 102"/>
                  <a:gd name="T74" fmla="*/ 6 w 98"/>
                  <a:gd name="T75" fmla="*/ 66 h 102"/>
                  <a:gd name="T76" fmla="*/ 12 w 98"/>
                  <a:gd name="T77" fmla="*/ 70 h 102"/>
                  <a:gd name="T78" fmla="*/ 16 w 98"/>
                  <a:gd name="T79" fmla="*/ 76 h 102"/>
                  <a:gd name="T80" fmla="*/ 18 w 98"/>
                  <a:gd name="T81" fmla="*/ 82 h 102"/>
                  <a:gd name="T82" fmla="*/ 16 w 98"/>
                  <a:gd name="T83" fmla="*/ 90 h 102"/>
                  <a:gd name="T84" fmla="*/ 16 w 98"/>
                  <a:gd name="T85" fmla="*/ 94 h 102"/>
                  <a:gd name="T86" fmla="*/ 16 w 98"/>
                  <a:gd name="T87" fmla="*/ 98 h 102"/>
                  <a:gd name="T88" fmla="*/ 20 w 98"/>
                  <a:gd name="T89" fmla="*/ 102 h 102"/>
                  <a:gd name="T90" fmla="*/ 32 w 98"/>
                  <a:gd name="T91" fmla="*/ 98 h 102"/>
                  <a:gd name="T92" fmla="*/ 44 w 98"/>
                  <a:gd name="T93" fmla="*/ 90 h 102"/>
                  <a:gd name="T94" fmla="*/ 56 w 98"/>
                  <a:gd name="T95" fmla="*/ 88 h 102"/>
                  <a:gd name="T96" fmla="*/ 66 w 98"/>
                  <a:gd name="T97" fmla="*/ 86 h 102"/>
                  <a:gd name="T98" fmla="*/ 70 w 98"/>
                  <a:gd name="T99" fmla="*/ 84 h 102"/>
                  <a:gd name="T100" fmla="*/ 86 w 98"/>
                  <a:gd name="T101" fmla="*/ 84 h 102"/>
                  <a:gd name="T102" fmla="*/ 92 w 98"/>
                  <a:gd name="T103" fmla="*/ 86 h 102"/>
                  <a:gd name="T104" fmla="*/ 98 w 98"/>
                  <a:gd name="T105" fmla="*/ 84 h 102"/>
                  <a:gd name="T106" fmla="*/ 94 w 98"/>
                  <a:gd name="T107" fmla="*/ 76 h 102"/>
                  <a:gd name="T108" fmla="*/ 94 w 98"/>
                  <a:gd name="T109" fmla="*/ 76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98" h="102">
                    <a:moveTo>
                      <a:pt x="94" y="76"/>
                    </a:moveTo>
                    <a:lnTo>
                      <a:pt x="94" y="76"/>
                    </a:lnTo>
                    <a:lnTo>
                      <a:pt x="94" y="76"/>
                    </a:lnTo>
                    <a:lnTo>
                      <a:pt x="92" y="74"/>
                    </a:lnTo>
                    <a:lnTo>
                      <a:pt x="92" y="70"/>
                    </a:lnTo>
                    <a:lnTo>
                      <a:pt x="92" y="70"/>
                    </a:lnTo>
                    <a:lnTo>
                      <a:pt x="92" y="68"/>
                    </a:lnTo>
                    <a:lnTo>
                      <a:pt x="90" y="66"/>
                    </a:lnTo>
                    <a:lnTo>
                      <a:pt x="90" y="64"/>
                    </a:lnTo>
                    <a:lnTo>
                      <a:pt x="90" y="64"/>
                    </a:lnTo>
                    <a:lnTo>
                      <a:pt x="88" y="60"/>
                    </a:lnTo>
                    <a:lnTo>
                      <a:pt x="88" y="56"/>
                    </a:lnTo>
                    <a:lnTo>
                      <a:pt x="88" y="52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46"/>
                    </a:lnTo>
                    <a:lnTo>
                      <a:pt x="92" y="44"/>
                    </a:lnTo>
                    <a:lnTo>
                      <a:pt x="92" y="42"/>
                    </a:lnTo>
                    <a:lnTo>
                      <a:pt x="94" y="42"/>
                    </a:lnTo>
                    <a:lnTo>
                      <a:pt x="94" y="42"/>
                    </a:lnTo>
                    <a:lnTo>
                      <a:pt x="96" y="36"/>
                    </a:lnTo>
                    <a:lnTo>
                      <a:pt x="96" y="36"/>
                    </a:lnTo>
                    <a:lnTo>
                      <a:pt x="98" y="32"/>
                    </a:lnTo>
                    <a:lnTo>
                      <a:pt x="98" y="30"/>
                    </a:lnTo>
                    <a:lnTo>
                      <a:pt x="98" y="28"/>
                    </a:lnTo>
                    <a:lnTo>
                      <a:pt x="98" y="28"/>
                    </a:lnTo>
                    <a:lnTo>
                      <a:pt x="98" y="26"/>
                    </a:lnTo>
                    <a:lnTo>
                      <a:pt x="98" y="24"/>
                    </a:lnTo>
                    <a:lnTo>
                      <a:pt x="96" y="22"/>
                    </a:lnTo>
                    <a:lnTo>
                      <a:pt x="96" y="22"/>
                    </a:lnTo>
                    <a:lnTo>
                      <a:pt x="94" y="18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92" y="14"/>
                    </a:lnTo>
                    <a:lnTo>
                      <a:pt x="92" y="12"/>
                    </a:lnTo>
                    <a:lnTo>
                      <a:pt x="92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8"/>
                    </a:lnTo>
                    <a:lnTo>
                      <a:pt x="90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2" y="10"/>
                    </a:lnTo>
                    <a:lnTo>
                      <a:pt x="80" y="10"/>
                    </a:lnTo>
                    <a:lnTo>
                      <a:pt x="74" y="10"/>
                    </a:lnTo>
                    <a:lnTo>
                      <a:pt x="74" y="10"/>
                    </a:lnTo>
                    <a:lnTo>
                      <a:pt x="72" y="10"/>
                    </a:lnTo>
                    <a:lnTo>
                      <a:pt x="68" y="10"/>
                    </a:lnTo>
                    <a:lnTo>
                      <a:pt x="66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2" y="6"/>
                    </a:lnTo>
                    <a:lnTo>
                      <a:pt x="62" y="6"/>
                    </a:lnTo>
                    <a:lnTo>
                      <a:pt x="60" y="2"/>
                    </a:lnTo>
                    <a:lnTo>
                      <a:pt x="60" y="2"/>
                    </a:lnTo>
                    <a:lnTo>
                      <a:pt x="58" y="0"/>
                    </a:lnTo>
                    <a:lnTo>
                      <a:pt x="58" y="0"/>
                    </a:lnTo>
                    <a:lnTo>
                      <a:pt x="58" y="0"/>
                    </a:lnTo>
                    <a:lnTo>
                      <a:pt x="56" y="0"/>
                    </a:lnTo>
                    <a:lnTo>
                      <a:pt x="54" y="2"/>
                    </a:lnTo>
                    <a:lnTo>
                      <a:pt x="54" y="2"/>
                    </a:lnTo>
                    <a:lnTo>
                      <a:pt x="54" y="2"/>
                    </a:lnTo>
                    <a:lnTo>
                      <a:pt x="52" y="2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6" y="2"/>
                    </a:lnTo>
                    <a:lnTo>
                      <a:pt x="44" y="2"/>
                    </a:lnTo>
                    <a:lnTo>
                      <a:pt x="40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4" y="0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8" y="12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2" y="18"/>
                    </a:lnTo>
                    <a:lnTo>
                      <a:pt x="12" y="20"/>
                    </a:lnTo>
                    <a:lnTo>
                      <a:pt x="12" y="22"/>
                    </a:lnTo>
                    <a:lnTo>
                      <a:pt x="12" y="24"/>
                    </a:lnTo>
                    <a:lnTo>
                      <a:pt x="12" y="26"/>
                    </a:lnTo>
                    <a:lnTo>
                      <a:pt x="10" y="30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6" y="38"/>
                    </a:lnTo>
                    <a:lnTo>
                      <a:pt x="4" y="40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2" y="42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8"/>
                    </a:lnTo>
                    <a:lnTo>
                      <a:pt x="0" y="50"/>
                    </a:lnTo>
                    <a:lnTo>
                      <a:pt x="0" y="54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8"/>
                    </a:lnTo>
                    <a:lnTo>
                      <a:pt x="2" y="60"/>
                    </a:lnTo>
                    <a:lnTo>
                      <a:pt x="4" y="62"/>
                    </a:lnTo>
                    <a:lnTo>
                      <a:pt x="6" y="66"/>
                    </a:lnTo>
                    <a:lnTo>
                      <a:pt x="10" y="66"/>
                    </a:lnTo>
                    <a:lnTo>
                      <a:pt x="10" y="66"/>
                    </a:lnTo>
                    <a:lnTo>
                      <a:pt x="12" y="70"/>
                    </a:lnTo>
                    <a:lnTo>
                      <a:pt x="14" y="74"/>
                    </a:lnTo>
                    <a:lnTo>
                      <a:pt x="16" y="76"/>
                    </a:lnTo>
                    <a:lnTo>
                      <a:pt x="16" y="76"/>
                    </a:lnTo>
                    <a:lnTo>
                      <a:pt x="18" y="78"/>
                    </a:lnTo>
                    <a:lnTo>
                      <a:pt x="18" y="80"/>
                    </a:lnTo>
                    <a:lnTo>
                      <a:pt x="18" y="82"/>
                    </a:lnTo>
                    <a:lnTo>
                      <a:pt x="18" y="84"/>
                    </a:lnTo>
                    <a:lnTo>
                      <a:pt x="18" y="86"/>
                    </a:lnTo>
                    <a:lnTo>
                      <a:pt x="16" y="90"/>
                    </a:lnTo>
                    <a:lnTo>
                      <a:pt x="16" y="90"/>
                    </a:lnTo>
                    <a:lnTo>
                      <a:pt x="16" y="92"/>
                    </a:lnTo>
                    <a:lnTo>
                      <a:pt x="16" y="94"/>
                    </a:lnTo>
                    <a:lnTo>
                      <a:pt x="16" y="96"/>
                    </a:lnTo>
                    <a:lnTo>
                      <a:pt x="16" y="98"/>
                    </a:lnTo>
                    <a:lnTo>
                      <a:pt x="16" y="98"/>
                    </a:lnTo>
                    <a:lnTo>
                      <a:pt x="18" y="102"/>
                    </a:lnTo>
                    <a:lnTo>
                      <a:pt x="18" y="102"/>
                    </a:lnTo>
                    <a:lnTo>
                      <a:pt x="20" y="102"/>
                    </a:lnTo>
                    <a:lnTo>
                      <a:pt x="20" y="102"/>
                    </a:lnTo>
                    <a:lnTo>
                      <a:pt x="32" y="98"/>
                    </a:lnTo>
                    <a:lnTo>
                      <a:pt x="32" y="98"/>
                    </a:lnTo>
                    <a:lnTo>
                      <a:pt x="36" y="96"/>
                    </a:lnTo>
                    <a:lnTo>
                      <a:pt x="40" y="94"/>
                    </a:lnTo>
                    <a:lnTo>
                      <a:pt x="44" y="90"/>
                    </a:lnTo>
                    <a:lnTo>
                      <a:pt x="50" y="90"/>
                    </a:lnTo>
                    <a:lnTo>
                      <a:pt x="50" y="90"/>
                    </a:lnTo>
                    <a:lnTo>
                      <a:pt x="56" y="88"/>
                    </a:lnTo>
                    <a:lnTo>
                      <a:pt x="62" y="88"/>
                    </a:lnTo>
                    <a:lnTo>
                      <a:pt x="62" y="88"/>
                    </a:lnTo>
                    <a:lnTo>
                      <a:pt x="66" y="86"/>
                    </a:lnTo>
                    <a:lnTo>
                      <a:pt x="68" y="86"/>
                    </a:lnTo>
                    <a:lnTo>
                      <a:pt x="70" y="84"/>
                    </a:lnTo>
                    <a:lnTo>
                      <a:pt x="70" y="84"/>
                    </a:lnTo>
                    <a:lnTo>
                      <a:pt x="76" y="84"/>
                    </a:lnTo>
                    <a:lnTo>
                      <a:pt x="82" y="84"/>
                    </a:lnTo>
                    <a:lnTo>
                      <a:pt x="86" y="84"/>
                    </a:lnTo>
                    <a:lnTo>
                      <a:pt x="88" y="86"/>
                    </a:lnTo>
                    <a:lnTo>
                      <a:pt x="92" y="86"/>
                    </a:lnTo>
                    <a:lnTo>
                      <a:pt x="92" y="86"/>
                    </a:lnTo>
                    <a:lnTo>
                      <a:pt x="98" y="88"/>
                    </a:lnTo>
                    <a:lnTo>
                      <a:pt x="98" y="88"/>
                    </a:lnTo>
                    <a:lnTo>
                      <a:pt x="98" y="84"/>
                    </a:lnTo>
                    <a:lnTo>
                      <a:pt x="98" y="84"/>
                    </a:lnTo>
                    <a:lnTo>
                      <a:pt x="96" y="80"/>
                    </a:lnTo>
                    <a:lnTo>
                      <a:pt x="94" y="76"/>
                    </a:lnTo>
                    <a:lnTo>
                      <a:pt x="94" y="76"/>
                    </a:lnTo>
                    <a:lnTo>
                      <a:pt x="94" y="76"/>
                    </a:lnTo>
                    <a:lnTo>
                      <a:pt x="94" y="76"/>
                    </a:lnTo>
                    <a:lnTo>
                      <a:pt x="94" y="7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31" name="Freeform 650"/>
              <p:cNvSpPr>
                <a:spLocks/>
              </p:cNvSpPr>
              <p:nvPr/>
            </p:nvSpPr>
            <p:spPr bwMode="auto">
              <a:xfrm>
                <a:off x="2627" y="2586"/>
                <a:ext cx="132" cy="86"/>
              </a:xfrm>
              <a:custGeom>
                <a:avLst/>
                <a:gdLst>
                  <a:gd name="T0" fmla="*/ 44 w 132"/>
                  <a:gd name="T1" fmla="*/ 66 h 86"/>
                  <a:gd name="T2" fmla="*/ 50 w 132"/>
                  <a:gd name="T3" fmla="*/ 64 h 86"/>
                  <a:gd name="T4" fmla="*/ 58 w 132"/>
                  <a:gd name="T5" fmla="*/ 66 h 86"/>
                  <a:gd name="T6" fmla="*/ 66 w 132"/>
                  <a:gd name="T7" fmla="*/ 64 h 86"/>
                  <a:gd name="T8" fmla="*/ 74 w 132"/>
                  <a:gd name="T9" fmla="*/ 64 h 86"/>
                  <a:gd name="T10" fmla="*/ 78 w 132"/>
                  <a:gd name="T11" fmla="*/ 64 h 86"/>
                  <a:gd name="T12" fmla="*/ 84 w 132"/>
                  <a:gd name="T13" fmla="*/ 66 h 86"/>
                  <a:gd name="T14" fmla="*/ 88 w 132"/>
                  <a:gd name="T15" fmla="*/ 66 h 86"/>
                  <a:gd name="T16" fmla="*/ 96 w 132"/>
                  <a:gd name="T17" fmla="*/ 68 h 86"/>
                  <a:gd name="T18" fmla="*/ 102 w 132"/>
                  <a:gd name="T19" fmla="*/ 66 h 86"/>
                  <a:gd name="T20" fmla="*/ 108 w 132"/>
                  <a:gd name="T21" fmla="*/ 60 h 86"/>
                  <a:gd name="T22" fmla="*/ 110 w 132"/>
                  <a:gd name="T23" fmla="*/ 58 h 86"/>
                  <a:gd name="T24" fmla="*/ 118 w 132"/>
                  <a:gd name="T25" fmla="*/ 58 h 86"/>
                  <a:gd name="T26" fmla="*/ 126 w 132"/>
                  <a:gd name="T27" fmla="*/ 58 h 86"/>
                  <a:gd name="T28" fmla="*/ 128 w 132"/>
                  <a:gd name="T29" fmla="*/ 56 h 86"/>
                  <a:gd name="T30" fmla="*/ 132 w 132"/>
                  <a:gd name="T31" fmla="*/ 50 h 86"/>
                  <a:gd name="T32" fmla="*/ 130 w 132"/>
                  <a:gd name="T33" fmla="*/ 46 h 86"/>
                  <a:gd name="T34" fmla="*/ 126 w 132"/>
                  <a:gd name="T35" fmla="*/ 46 h 86"/>
                  <a:gd name="T36" fmla="*/ 122 w 132"/>
                  <a:gd name="T37" fmla="*/ 40 h 86"/>
                  <a:gd name="T38" fmla="*/ 120 w 132"/>
                  <a:gd name="T39" fmla="*/ 36 h 86"/>
                  <a:gd name="T40" fmla="*/ 114 w 132"/>
                  <a:gd name="T41" fmla="*/ 36 h 86"/>
                  <a:gd name="T42" fmla="*/ 110 w 132"/>
                  <a:gd name="T43" fmla="*/ 34 h 86"/>
                  <a:gd name="T44" fmla="*/ 108 w 132"/>
                  <a:gd name="T45" fmla="*/ 28 h 86"/>
                  <a:gd name="T46" fmla="*/ 106 w 132"/>
                  <a:gd name="T47" fmla="*/ 24 h 86"/>
                  <a:gd name="T48" fmla="*/ 100 w 132"/>
                  <a:gd name="T49" fmla="*/ 20 h 86"/>
                  <a:gd name="T50" fmla="*/ 98 w 132"/>
                  <a:gd name="T51" fmla="*/ 16 h 86"/>
                  <a:gd name="T52" fmla="*/ 94 w 132"/>
                  <a:gd name="T53" fmla="*/ 2 h 86"/>
                  <a:gd name="T54" fmla="*/ 92 w 132"/>
                  <a:gd name="T55" fmla="*/ 2 h 86"/>
                  <a:gd name="T56" fmla="*/ 84 w 132"/>
                  <a:gd name="T57" fmla="*/ 0 h 86"/>
                  <a:gd name="T58" fmla="*/ 76 w 132"/>
                  <a:gd name="T59" fmla="*/ 0 h 86"/>
                  <a:gd name="T60" fmla="*/ 70 w 132"/>
                  <a:gd name="T61" fmla="*/ 2 h 86"/>
                  <a:gd name="T62" fmla="*/ 60 w 132"/>
                  <a:gd name="T63" fmla="*/ 10 h 86"/>
                  <a:gd name="T64" fmla="*/ 52 w 132"/>
                  <a:gd name="T65" fmla="*/ 16 h 86"/>
                  <a:gd name="T66" fmla="*/ 44 w 132"/>
                  <a:gd name="T67" fmla="*/ 22 h 86"/>
                  <a:gd name="T68" fmla="*/ 38 w 132"/>
                  <a:gd name="T69" fmla="*/ 26 h 86"/>
                  <a:gd name="T70" fmla="*/ 36 w 132"/>
                  <a:gd name="T71" fmla="*/ 30 h 86"/>
                  <a:gd name="T72" fmla="*/ 32 w 132"/>
                  <a:gd name="T73" fmla="*/ 32 h 86"/>
                  <a:gd name="T74" fmla="*/ 24 w 132"/>
                  <a:gd name="T75" fmla="*/ 34 h 86"/>
                  <a:gd name="T76" fmla="*/ 20 w 132"/>
                  <a:gd name="T77" fmla="*/ 38 h 86"/>
                  <a:gd name="T78" fmla="*/ 16 w 132"/>
                  <a:gd name="T79" fmla="*/ 44 h 86"/>
                  <a:gd name="T80" fmla="*/ 14 w 132"/>
                  <a:gd name="T81" fmla="*/ 48 h 86"/>
                  <a:gd name="T82" fmla="*/ 8 w 132"/>
                  <a:gd name="T83" fmla="*/ 56 h 86"/>
                  <a:gd name="T84" fmla="*/ 6 w 132"/>
                  <a:gd name="T85" fmla="*/ 60 h 86"/>
                  <a:gd name="T86" fmla="*/ 4 w 132"/>
                  <a:gd name="T87" fmla="*/ 68 h 86"/>
                  <a:gd name="T88" fmla="*/ 4 w 132"/>
                  <a:gd name="T89" fmla="*/ 72 h 86"/>
                  <a:gd name="T90" fmla="*/ 0 w 132"/>
                  <a:gd name="T91" fmla="*/ 76 h 86"/>
                  <a:gd name="T92" fmla="*/ 6 w 132"/>
                  <a:gd name="T93" fmla="*/ 78 h 86"/>
                  <a:gd name="T94" fmla="*/ 8 w 132"/>
                  <a:gd name="T95" fmla="*/ 76 h 86"/>
                  <a:gd name="T96" fmla="*/ 10 w 132"/>
                  <a:gd name="T97" fmla="*/ 76 h 86"/>
                  <a:gd name="T98" fmla="*/ 14 w 132"/>
                  <a:gd name="T99" fmla="*/ 82 h 86"/>
                  <a:gd name="T100" fmla="*/ 16 w 132"/>
                  <a:gd name="T101" fmla="*/ 84 h 86"/>
                  <a:gd name="T102" fmla="*/ 24 w 132"/>
                  <a:gd name="T103" fmla="*/ 86 h 86"/>
                  <a:gd name="T104" fmla="*/ 32 w 132"/>
                  <a:gd name="T105" fmla="*/ 86 h 86"/>
                  <a:gd name="T106" fmla="*/ 38 w 132"/>
                  <a:gd name="T107" fmla="*/ 84 h 86"/>
                  <a:gd name="T108" fmla="*/ 42 w 132"/>
                  <a:gd name="T109" fmla="*/ 84 h 86"/>
                  <a:gd name="T110" fmla="*/ 42 w 132"/>
                  <a:gd name="T111" fmla="*/ 80 h 86"/>
                  <a:gd name="T112" fmla="*/ 42 w 132"/>
                  <a:gd name="T113" fmla="*/ 78 h 86"/>
                  <a:gd name="T114" fmla="*/ 42 w 132"/>
                  <a:gd name="T115" fmla="*/ 70 h 86"/>
                  <a:gd name="T116" fmla="*/ 42 w 132"/>
                  <a:gd name="T117" fmla="*/ 68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32" h="86">
                    <a:moveTo>
                      <a:pt x="42" y="68"/>
                    </a:moveTo>
                    <a:lnTo>
                      <a:pt x="42" y="68"/>
                    </a:lnTo>
                    <a:lnTo>
                      <a:pt x="44" y="66"/>
                    </a:lnTo>
                    <a:lnTo>
                      <a:pt x="46" y="66"/>
                    </a:lnTo>
                    <a:lnTo>
                      <a:pt x="48" y="64"/>
                    </a:lnTo>
                    <a:lnTo>
                      <a:pt x="50" y="64"/>
                    </a:lnTo>
                    <a:lnTo>
                      <a:pt x="54" y="64"/>
                    </a:lnTo>
                    <a:lnTo>
                      <a:pt x="58" y="66"/>
                    </a:lnTo>
                    <a:lnTo>
                      <a:pt x="58" y="66"/>
                    </a:lnTo>
                    <a:lnTo>
                      <a:pt x="62" y="66"/>
                    </a:lnTo>
                    <a:lnTo>
                      <a:pt x="66" y="64"/>
                    </a:lnTo>
                    <a:lnTo>
                      <a:pt x="66" y="64"/>
                    </a:lnTo>
                    <a:lnTo>
                      <a:pt x="70" y="64"/>
                    </a:lnTo>
                    <a:lnTo>
                      <a:pt x="72" y="64"/>
                    </a:lnTo>
                    <a:lnTo>
                      <a:pt x="74" y="64"/>
                    </a:lnTo>
                    <a:lnTo>
                      <a:pt x="74" y="64"/>
                    </a:lnTo>
                    <a:lnTo>
                      <a:pt x="78" y="64"/>
                    </a:lnTo>
                    <a:lnTo>
                      <a:pt x="78" y="64"/>
                    </a:lnTo>
                    <a:lnTo>
                      <a:pt x="80" y="66"/>
                    </a:lnTo>
                    <a:lnTo>
                      <a:pt x="80" y="66"/>
                    </a:lnTo>
                    <a:lnTo>
                      <a:pt x="84" y="66"/>
                    </a:lnTo>
                    <a:lnTo>
                      <a:pt x="86" y="66"/>
                    </a:lnTo>
                    <a:lnTo>
                      <a:pt x="88" y="66"/>
                    </a:lnTo>
                    <a:lnTo>
                      <a:pt x="88" y="66"/>
                    </a:lnTo>
                    <a:lnTo>
                      <a:pt x="90" y="68"/>
                    </a:lnTo>
                    <a:lnTo>
                      <a:pt x="94" y="68"/>
                    </a:lnTo>
                    <a:lnTo>
                      <a:pt x="96" y="68"/>
                    </a:lnTo>
                    <a:lnTo>
                      <a:pt x="100" y="66"/>
                    </a:lnTo>
                    <a:lnTo>
                      <a:pt x="100" y="66"/>
                    </a:lnTo>
                    <a:lnTo>
                      <a:pt x="102" y="66"/>
                    </a:lnTo>
                    <a:lnTo>
                      <a:pt x="104" y="64"/>
                    </a:lnTo>
                    <a:lnTo>
                      <a:pt x="106" y="62"/>
                    </a:lnTo>
                    <a:lnTo>
                      <a:pt x="108" y="60"/>
                    </a:lnTo>
                    <a:lnTo>
                      <a:pt x="108" y="60"/>
                    </a:lnTo>
                    <a:lnTo>
                      <a:pt x="110" y="58"/>
                    </a:lnTo>
                    <a:lnTo>
                      <a:pt x="110" y="58"/>
                    </a:lnTo>
                    <a:lnTo>
                      <a:pt x="112" y="58"/>
                    </a:lnTo>
                    <a:lnTo>
                      <a:pt x="114" y="58"/>
                    </a:lnTo>
                    <a:lnTo>
                      <a:pt x="118" y="58"/>
                    </a:lnTo>
                    <a:lnTo>
                      <a:pt x="122" y="58"/>
                    </a:lnTo>
                    <a:lnTo>
                      <a:pt x="124" y="58"/>
                    </a:lnTo>
                    <a:lnTo>
                      <a:pt x="126" y="58"/>
                    </a:lnTo>
                    <a:lnTo>
                      <a:pt x="126" y="58"/>
                    </a:lnTo>
                    <a:lnTo>
                      <a:pt x="126" y="56"/>
                    </a:lnTo>
                    <a:lnTo>
                      <a:pt x="128" y="56"/>
                    </a:lnTo>
                    <a:lnTo>
                      <a:pt x="130" y="54"/>
                    </a:lnTo>
                    <a:lnTo>
                      <a:pt x="130" y="52"/>
                    </a:lnTo>
                    <a:lnTo>
                      <a:pt x="132" y="50"/>
                    </a:lnTo>
                    <a:lnTo>
                      <a:pt x="132" y="46"/>
                    </a:lnTo>
                    <a:lnTo>
                      <a:pt x="132" y="46"/>
                    </a:lnTo>
                    <a:lnTo>
                      <a:pt x="130" y="46"/>
                    </a:lnTo>
                    <a:lnTo>
                      <a:pt x="128" y="46"/>
                    </a:lnTo>
                    <a:lnTo>
                      <a:pt x="128" y="46"/>
                    </a:lnTo>
                    <a:lnTo>
                      <a:pt x="126" y="46"/>
                    </a:lnTo>
                    <a:lnTo>
                      <a:pt x="126" y="44"/>
                    </a:lnTo>
                    <a:lnTo>
                      <a:pt x="124" y="42"/>
                    </a:lnTo>
                    <a:lnTo>
                      <a:pt x="122" y="40"/>
                    </a:lnTo>
                    <a:lnTo>
                      <a:pt x="122" y="40"/>
                    </a:lnTo>
                    <a:lnTo>
                      <a:pt x="122" y="38"/>
                    </a:lnTo>
                    <a:lnTo>
                      <a:pt x="120" y="36"/>
                    </a:lnTo>
                    <a:lnTo>
                      <a:pt x="118" y="36"/>
                    </a:lnTo>
                    <a:lnTo>
                      <a:pt x="114" y="36"/>
                    </a:lnTo>
                    <a:lnTo>
                      <a:pt x="114" y="36"/>
                    </a:lnTo>
                    <a:lnTo>
                      <a:pt x="110" y="36"/>
                    </a:lnTo>
                    <a:lnTo>
                      <a:pt x="110" y="34"/>
                    </a:lnTo>
                    <a:lnTo>
                      <a:pt x="110" y="34"/>
                    </a:lnTo>
                    <a:lnTo>
                      <a:pt x="108" y="34"/>
                    </a:lnTo>
                    <a:lnTo>
                      <a:pt x="108" y="32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26"/>
                    </a:lnTo>
                    <a:lnTo>
                      <a:pt x="106" y="24"/>
                    </a:lnTo>
                    <a:lnTo>
                      <a:pt x="106" y="22"/>
                    </a:lnTo>
                    <a:lnTo>
                      <a:pt x="104" y="22"/>
                    </a:lnTo>
                    <a:lnTo>
                      <a:pt x="100" y="20"/>
                    </a:lnTo>
                    <a:lnTo>
                      <a:pt x="98" y="18"/>
                    </a:lnTo>
                    <a:lnTo>
                      <a:pt x="98" y="16"/>
                    </a:lnTo>
                    <a:lnTo>
                      <a:pt x="98" y="16"/>
                    </a:lnTo>
                    <a:lnTo>
                      <a:pt x="96" y="12"/>
                    </a:lnTo>
                    <a:lnTo>
                      <a:pt x="96" y="10"/>
                    </a:lnTo>
                    <a:lnTo>
                      <a:pt x="94" y="2"/>
                    </a:lnTo>
                    <a:lnTo>
                      <a:pt x="94" y="2"/>
                    </a:lnTo>
                    <a:lnTo>
                      <a:pt x="94" y="2"/>
                    </a:lnTo>
                    <a:lnTo>
                      <a:pt x="92" y="2"/>
                    </a:lnTo>
                    <a:lnTo>
                      <a:pt x="90" y="2"/>
                    </a:lnTo>
                    <a:lnTo>
                      <a:pt x="86" y="0"/>
                    </a:lnTo>
                    <a:lnTo>
                      <a:pt x="84" y="0"/>
                    </a:lnTo>
                    <a:lnTo>
                      <a:pt x="84" y="0"/>
                    </a:lnTo>
                    <a:lnTo>
                      <a:pt x="78" y="0"/>
                    </a:lnTo>
                    <a:lnTo>
                      <a:pt x="76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0" y="2"/>
                    </a:lnTo>
                    <a:lnTo>
                      <a:pt x="68" y="2"/>
                    </a:lnTo>
                    <a:lnTo>
                      <a:pt x="62" y="6"/>
                    </a:lnTo>
                    <a:lnTo>
                      <a:pt x="60" y="10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2" y="16"/>
                    </a:lnTo>
                    <a:lnTo>
                      <a:pt x="50" y="18"/>
                    </a:lnTo>
                    <a:lnTo>
                      <a:pt x="46" y="20"/>
                    </a:lnTo>
                    <a:lnTo>
                      <a:pt x="44" y="22"/>
                    </a:lnTo>
                    <a:lnTo>
                      <a:pt x="42" y="22"/>
                    </a:lnTo>
                    <a:lnTo>
                      <a:pt x="40" y="24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8"/>
                    </a:lnTo>
                    <a:lnTo>
                      <a:pt x="36" y="30"/>
                    </a:lnTo>
                    <a:lnTo>
                      <a:pt x="34" y="32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0" y="34"/>
                    </a:lnTo>
                    <a:lnTo>
                      <a:pt x="28" y="34"/>
                    </a:lnTo>
                    <a:lnTo>
                      <a:pt x="24" y="34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0" y="38"/>
                    </a:lnTo>
                    <a:lnTo>
                      <a:pt x="18" y="40"/>
                    </a:lnTo>
                    <a:lnTo>
                      <a:pt x="16" y="42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4" y="46"/>
                    </a:lnTo>
                    <a:lnTo>
                      <a:pt x="14" y="48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8" y="56"/>
                    </a:lnTo>
                    <a:lnTo>
                      <a:pt x="8" y="58"/>
                    </a:lnTo>
                    <a:lnTo>
                      <a:pt x="6" y="60"/>
                    </a:lnTo>
                    <a:lnTo>
                      <a:pt x="6" y="60"/>
                    </a:lnTo>
                    <a:lnTo>
                      <a:pt x="6" y="62"/>
                    </a:lnTo>
                    <a:lnTo>
                      <a:pt x="4" y="66"/>
                    </a:lnTo>
                    <a:lnTo>
                      <a:pt x="4" y="68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2"/>
                    </a:lnTo>
                    <a:lnTo>
                      <a:pt x="2" y="74"/>
                    </a:lnTo>
                    <a:lnTo>
                      <a:pt x="2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4" y="78"/>
                    </a:lnTo>
                    <a:lnTo>
                      <a:pt x="6" y="78"/>
                    </a:lnTo>
                    <a:lnTo>
                      <a:pt x="6" y="78"/>
                    </a:lnTo>
                    <a:lnTo>
                      <a:pt x="6" y="78"/>
                    </a:lnTo>
                    <a:lnTo>
                      <a:pt x="8" y="76"/>
                    </a:lnTo>
                    <a:lnTo>
                      <a:pt x="10" y="76"/>
                    </a:lnTo>
                    <a:lnTo>
                      <a:pt x="10" y="76"/>
                    </a:lnTo>
                    <a:lnTo>
                      <a:pt x="10" y="76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4" y="82"/>
                    </a:lnTo>
                    <a:lnTo>
                      <a:pt x="14" y="82"/>
                    </a:lnTo>
                    <a:lnTo>
                      <a:pt x="16" y="84"/>
                    </a:lnTo>
                    <a:lnTo>
                      <a:pt x="16" y="84"/>
                    </a:lnTo>
                    <a:lnTo>
                      <a:pt x="18" y="84"/>
                    </a:lnTo>
                    <a:lnTo>
                      <a:pt x="20" y="86"/>
                    </a:lnTo>
                    <a:lnTo>
                      <a:pt x="24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32" y="86"/>
                    </a:lnTo>
                    <a:lnTo>
                      <a:pt x="34" y="86"/>
                    </a:lnTo>
                    <a:lnTo>
                      <a:pt x="38" y="84"/>
                    </a:lnTo>
                    <a:lnTo>
                      <a:pt x="38" y="84"/>
                    </a:lnTo>
                    <a:lnTo>
                      <a:pt x="38" y="84"/>
                    </a:lnTo>
                    <a:lnTo>
                      <a:pt x="40" y="84"/>
                    </a:lnTo>
                    <a:lnTo>
                      <a:pt x="42" y="84"/>
                    </a:lnTo>
                    <a:lnTo>
                      <a:pt x="42" y="84"/>
                    </a:lnTo>
                    <a:lnTo>
                      <a:pt x="42" y="82"/>
                    </a:lnTo>
                    <a:lnTo>
                      <a:pt x="42" y="80"/>
                    </a:lnTo>
                    <a:lnTo>
                      <a:pt x="42" y="80"/>
                    </a:lnTo>
                    <a:lnTo>
                      <a:pt x="42" y="80"/>
                    </a:lnTo>
                    <a:lnTo>
                      <a:pt x="42" y="78"/>
                    </a:lnTo>
                    <a:lnTo>
                      <a:pt x="42" y="74"/>
                    </a:lnTo>
                    <a:lnTo>
                      <a:pt x="42" y="70"/>
                    </a:lnTo>
                    <a:lnTo>
                      <a:pt x="42" y="70"/>
                    </a:lnTo>
                    <a:lnTo>
                      <a:pt x="42" y="68"/>
                    </a:lnTo>
                    <a:lnTo>
                      <a:pt x="42" y="68"/>
                    </a:lnTo>
                    <a:lnTo>
                      <a:pt x="42" y="68"/>
                    </a:lnTo>
                    <a:lnTo>
                      <a:pt x="42" y="68"/>
                    </a:lnTo>
                    <a:lnTo>
                      <a:pt x="42" y="68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32" name="Freeform 652"/>
              <p:cNvSpPr>
                <a:spLocks/>
              </p:cNvSpPr>
              <p:nvPr/>
            </p:nvSpPr>
            <p:spPr bwMode="auto">
              <a:xfrm>
                <a:off x="2667" y="2650"/>
                <a:ext cx="62" cy="102"/>
              </a:xfrm>
              <a:custGeom>
                <a:avLst/>
                <a:gdLst>
                  <a:gd name="T0" fmla="*/ 60 w 62"/>
                  <a:gd name="T1" fmla="*/ 64 h 102"/>
                  <a:gd name="T2" fmla="*/ 60 w 62"/>
                  <a:gd name="T3" fmla="*/ 54 h 102"/>
                  <a:gd name="T4" fmla="*/ 60 w 62"/>
                  <a:gd name="T5" fmla="*/ 52 h 102"/>
                  <a:gd name="T6" fmla="*/ 58 w 62"/>
                  <a:gd name="T7" fmla="*/ 44 h 102"/>
                  <a:gd name="T8" fmla="*/ 58 w 62"/>
                  <a:gd name="T9" fmla="*/ 40 h 102"/>
                  <a:gd name="T10" fmla="*/ 60 w 62"/>
                  <a:gd name="T11" fmla="*/ 36 h 102"/>
                  <a:gd name="T12" fmla="*/ 60 w 62"/>
                  <a:gd name="T13" fmla="*/ 32 h 102"/>
                  <a:gd name="T14" fmla="*/ 58 w 62"/>
                  <a:gd name="T15" fmla="*/ 30 h 102"/>
                  <a:gd name="T16" fmla="*/ 58 w 62"/>
                  <a:gd name="T17" fmla="*/ 16 h 102"/>
                  <a:gd name="T18" fmla="*/ 56 w 62"/>
                  <a:gd name="T19" fmla="*/ 4 h 102"/>
                  <a:gd name="T20" fmla="*/ 52 w 62"/>
                  <a:gd name="T21" fmla="*/ 4 h 102"/>
                  <a:gd name="T22" fmla="*/ 48 w 62"/>
                  <a:gd name="T23" fmla="*/ 2 h 102"/>
                  <a:gd name="T24" fmla="*/ 40 w 62"/>
                  <a:gd name="T25" fmla="*/ 2 h 102"/>
                  <a:gd name="T26" fmla="*/ 38 w 62"/>
                  <a:gd name="T27" fmla="*/ 0 h 102"/>
                  <a:gd name="T28" fmla="*/ 32 w 62"/>
                  <a:gd name="T29" fmla="*/ 0 h 102"/>
                  <a:gd name="T30" fmla="*/ 26 w 62"/>
                  <a:gd name="T31" fmla="*/ 0 h 102"/>
                  <a:gd name="T32" fmla="*/ 18 w 62"/>
                  <a:gd name="T33" fmla="*/ 2 h 102"/>
                  <a:gd name="T34" fmla="*/ 8 w 62"/>
                  <a:gd name="T35" fmla="*/ 0 h 102"/>
                  <a:gd name="T36" fmla="*/ 2 w 62"/>
                  <a:gd name="T37" fmla="*/ 4 h 102"/>
                  <a:gd name="T38" fmla="*/ 2 w 62"/>
                  <a:gd name="T39" fmla="*/ 6 h 102"/>
                  <a:gd name="T40" fmla="*/ 2 w 62"/>
                  <a:gd name="T41" fmla="*/ 16 h 102"/>
                  <a:gd name="T42" fmla="*/ 2 w 62"/>
                  <a:gd name="T43" fmla="*/ 18 h 102"/>
                  <a:gd name="T44" fmla="*/ 2 w 62"/>
                  <a:gd name="T45" fmla="*/ 20 h 102"/>
                  <a:gd name="T46" fmla="*/ 4 w 62"/>
                  <a:gd name="T47" fmla="*/ 22 h 102"/>
                  <a:gd name="T48" fmla="*/ 4 w 62"/>
                  <a:gd name="T49" fmla="*/ 28 h 102"/>
                  <a:gd name="T50" fmla="*/ 8 w 62"/>
                  <a:gd name="T51" fmla="*/ 34 h 102"/>
                  <a:gd name="T52" fmla="*/ 10 w 62"/>
                  <a:gd name="T53" fmla="*/ 38 h 102"/>
                  <a:gd name="T54" fmla="*/ 10 w 62"/>
                  <a:gd name="T55" fmla="*/ 42 h 102"/>
                  <a:gd name="T56" fmla="*/ 8 w 62"/>
                  <a:gd name="T57" fmla="*/ 48 h 102"/>
                  <a:gd name="T58" fmla="*/ 4 w 62"/>
                  <a:gd name="T59" fmla="*/ 54 h 102"/>
                  <a:gd name="T60" fmla="*/ 2 w 62"/>
                  <a:gd name="T61" fmla="*/ 60 h 102"/>
                  <a:gd name="T62" fmla="*/ 0 w 62"/>
                  <a:gd name="T63" fmla="*/ 68 h 102"/>
                  <a:gd name="T64" fmla="*/ 2 w 62"/>
                  <a:gd name="T65" fmla="*/ 76 h 102"/>
                  <a:gd name="T66" fmla="*/ 4 w 62"/>
                  <a:gd name="T67" fmla="*/ 82 h 102"/>
                  <a:gd name="T68" fmla="*/ 6 w 62"/>
                  <a:gd name="T69" fmla="*/ 88 h 102"/>
                  <a:gd name="T70" fmla="*/ 8 w 62"/>
                  <a:gd name="T71" fmla="*/ 92 h 102"/>
                  <a:gd name="T72" fmla="*/ 10 w 62"/>
                  <a:gd name="T73" fmla="*/ 100 h 102"/>
                  <a:gd name="T74" fmla="*/ 20 w 62"/>
                  <a:gd name="T75" fmla="*/ 102 h 102"/>
                  <a:gd name="T76" fmla="*/ 30 w 62"/>
                  <a:gd name="T77" fmla="*/ 102 h 102"/>
                  <a:gd name="T78" fmla="*/ 32 w 62"/>
                  <a:gd name="T79" fmla="*/ 100 h 102"/>
                  <a:gd name="T80" fmla="*/ 40 w 62"/>
                  <a:gd name="T81" fmla="*/ 94 h 102"/>
                  <a:gd name="T82" fmla="*/ 54 w 62"/>
                  <a:gd name="T83" fmla="*/ 90 h 102"/>
                  <a:gd name="T84" fmla="*/ 62 w 62"/>
                  <a:gd name="T85" fmla="*/ 86 h 102"/>
                  <a:gd name="T86" fmla="*/ 62 w 62"/>
                  <a:gd name="T87" fmla="*/ 82 h 102"/>
                  <a:gd name="T88" fmla="*/ 60 w 62"/>
                  <a:gd name="T89" fmla="*/ 74 h 102"/>
                  <a:gd name="T90" fmla="*/ 60 w 62"/>
                  <a:gd name="T91" fmla="*/ 74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62" h="102">
                    <a:moveTo>
                      <a:pt x="60" y="74"/>
                    </a:moveTo>
                    <a:lnTo>
                      <a:pt x="60" y="74"/>
                    </a:lnTo>
                    <a:lnTo>
                      <a:pt x="60" y="64"/>
                    </a:lnTo>
                    <a:lnTo>
                      <a:pt x="60" y="64"/>
                    </a:lnTo>
                    <a:lnTo>
                      <a:pt x="60" y="58"/>
                    </a:lnTo>
                    <a:lnTo>
                      <a:pt x="60" y="54"/>
                    </a:lnTo>
                    <a:lnTo>
                      <a:pt x="60" y="54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48"/>
                    </a:lnTo>
                    <a:lnTo>
                      <a:pt x="58" y="46"/>
                    </a:lnTo>
                    <a:lnTo>
                      <a:pt x="58" y="44"/>
                    </a:lnTo>
                    <a:lnTo>
                      <a:pt x="58" y="42"/>
                    </a:lnTo>
                    <a:lnTo>
                      <a:pt x="58" y="42"/>
                    </a:lnTo>
                    <a:lnTo>
                      <a:pt x="58" y="40"/>
                    </a:lnTo>
                    <a:lnTo>
                      <a:pt x="58" y="38"/>
                    </a:lnTo>
                    <a:lnTo>
                      <a:pt x="60" y="36"/>
                    </a:lnTo>
                    <a:lnTo>
                      <a:pt x="60" y="36"/>
                    </a:lnTo>
                    <a:lnTo>
                      <a:pt x="60" y="36"/>
                    </a:lnTo>
                    <a:lnTo>
                      <a:pt x="60" y="34"/>
                    </a:lnTo>
                    <a:lnTo>
                      <a:pt x="60" y="32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8" y="28"/>
                    </a:lnTo>
                    <a:lnTo>
                      <a:pt x="58" y="24"/>
                    </a:lnTo>
                    <a:lnTo>
                      <a:pt x="58" y="16"/>
                    </a:lnTo>
                    <a:lnTo>
                      <a:pt x="58" y="16"/>
                    </a:lnTo>
                    <a:lnTo>
                      <a:pt x="58" y="10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4" y="4"/>
                    </a:lnTo>
                    <a:lnTo>
                      <a:pt x="52" y="4"/>
                    </a:lnTo>
                    <a:lnTo>
                      <a:pt x="50" y="4"/>
                    </a:lnTo>
                    <a:lnTo>
                      <a:pt x="48" y="2"/>
                    </a:lnTo>
                    <a:lnTo>
                      <a:pt x="48" y="2"/>
                    </a:lnTo>
                    <a:lnTo>
                      <a:pt x="46" y="2"/>
                    </a:lnTo>
                    <a:lnTo>
                      <a:pt x="44" y="2"/>
                    </a:lnTo>
                    <a:lnTo>
                      <a:pt x="40" y="2"/>
                    </a:lnTo>
                    <a:lnTo>
                      <a:pt x="40" y="2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2" y="0"/>
                    </a:lnTo>
                    <a:lnTo>
                      <a:pt x="30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2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10"/>
                    </a:lnTo>
                    <a:lnTo>
                      <a:pt x="2" y="14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8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4" y="22"/>
                    </a:lnTo>
                    <a:lnTo>
                      <a:pt x="4" y="24"/>
                    </a:lnTo>
                    <a:lnTo>
                      <a:pt x="4" y="26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6" y="30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10" y="36"/>
                    </a:lnTo>
                    <a:lnTo>
                      <a:pt x="10" y="38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2"/>
                    </a:lnTo>
                    <a:lnTo>
                      <a:pt x="10" y="44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6" y="54"/>
                    </a:lnTo>
                    <a:lnTo>
                      <a:pt x="6" y="54"/>
                    </a:lnTo>
                    <a:lnTo>
                      <a:pt x="4" y="54"/>
                    </a:lnTo>
                    <a:lnTo>
                      <a:pt x="4" y="56"/>
                    </a:lnTo>
                    <a:lnTo>
                      <a:pt x="2" y="58"/>
                    </a:lnTo>
                    <a:lnTo>
                      <a:pt x="2" y="60"/>
                    </a:lnTo>
                    <a:lnTo>
                      <a:pt x="2" y="60"/>
                    </a:lnTo>
                    <a:lnTo>
                      <a:pt x="0" y="64"/>
                    </a:lnTo>
                    <a:lnTo>
                      <a:pt x="0" y="68"/>
                    </a:lnTo>
                    <a:lnTo>
                      <a:pt x="0" y="72"/>
                    </a:lnTo>
                    <a:lnTo>
                      <a:pt x="2" y="76"/>
                    </a:lnTo>
                    <a:lnTo>
                      <a:pt x="2" y="76"/>
                    </a:lnTo>
                    <a:lnTo>
                      <a:pt x="2" y="78"/>
                    </a:lnTo>
                    <a:lnTo>
                      <a:pt x="4" y="80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6"/>
                    </a:lnTo>
                    <a:lnTo>
                      <a:pt x="6" y="88"/>
                    </a:lnTo>
                    <a:lnTo>
                      <a:pt x="6" y="88"/>
                    </a:lnTo>
                    <a:lnTo>
                      <a:pt x="6" y="88"/>
                    </a:lnTo>
                    <a:lnTo>
                      <a:pt x="8" y="92"/>
                    </a:lnTo>
                    <a:lnTo>
                      <a:pt x="10" y="96"/>
                    </a:lnTo>
                    <a:lnTo>
                      <a:pt x="10" y="96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20" y="102"/>
                    </a:lnTo>
                    <a:lnTo>
                      <a:pt x="20" y="102"/>
                    </a:lnTo>
                    <a:lnTo>
                      <a:pt x="22" y="102"/>
                    </a:lnTo>
                    <a:lnTo>
                      <a:pt x="26" y="102"/>
                    </a:lnTo>
                    <a:lnTo>
                      <a:pt x="30" y="102"/>
                    </a:lnTo>
                    <a:lnTo>
                      <a:pt x="32" y="102"/>
                    </a:lnTo>
                    <a:lnTo>
                      <a:pt x="32" y="100"/>
                    </a:lnTo>
                    <a:lnTo>
                      <a:pt x="32" y="100"/>
                    </a:lnTo>
                    <a:lnTo>
                      <a:pt x="36" y="98"/>
                    </a:lnTo>
                    <a:lnTo>
                      <a:pt x="40" y="94"/>
                    </a:lnTo>
                    <a:lnTo>
                      <a:pt x="40" y="94"/>
                    </a:lnTo>
                    <a:lnTo>
                      <a:pt x="44" y="92"/>
                    </a:lnTo>
                    <a:lnTo>
                      <a:pt x="50" y="92"/>
                    </a:lnTo>
                    <a:lnTo>
                      <a:pt x="54" y="90"/>
                    </a:lnTo>
                    <a:lnTo>
                      <a:pt x="60" y="88"/>
                    </a:lnTo>
                    <a:lnTo>
                      <a:pt x="60" y="88"/>
                    </a:lnTo>
                    <a:lnTo>
                      <a:pt x="62" y="86"/>
                    </a:lnTo>
                    <a:lnTo>
                      <a:pt x="62" y="86"/>
                    </a:lnTo>
                    <a:lnTo>
                      <a:pt x="62" y="82"/>
                    </a:lnTo>
                    <a:lnTo>
                      <a:pt x="62" y="82"/>
                    </a:lnTo>
                    <a:lnTo>
                      <a:pt x="60" y="80"/>
                    </a:lnTo>
                    <a:lnTo>
                      <a:pt x="60" y="78"/>
                    </a:lnTo>
                    <a:lnTo>
                      <a:pt x="60" y="74"/>
                    </a:lnTo>
                    <a:lnTo>
                      <a:pt x="60" y="74"/>
                    </a:lnTo>
                    <a:lnTo>
                      <a:pt x="60" y="74"/>
                    </a:lnTo>
                    <a:lnTo>
                      <a:pt x="60" y="74"/>
                    </a:lnTo>
                    <a:lnTo>
                      <a:pt x="60" y="7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33" name="Freeform 654"/>
              <p:cNvSpPr>
                <a:spLocks/>
              </p:cNvSpPr>
              <p:nvPr/>
            </p:nvSpPr>
            <p:spPr bwMode="auto">
              <a:xfrm>
                <a:off x="2723" y="2650"/>
                <a:ext cx="20" cy="86"/>
              </a:xfrm>
              <a:custGeom>
                <a:avLst/>
                <a:gdLst>
                  <a:gd name="T0" fmla="*/ 20 w 20"/>
                  <a:gd name="T1" fmla="*/ 68 h 86"/>
                  <a:gd name="T2" fmla="*/ 20 w 20"/>
                  <a:gd name="T3" fmla="*/ 60 h 86"/>
                  <a:gd name="T4" fmla="*/ 20 w 20"/>
                  <a:gd name="T5" fmla="*/ 56 h 86"/>
                  <a:gd name="T6" fmla="*/ 18 w 20"/>
                  <a:gd name="T7" fmla="*/ 54 h 86"/>
                  <a:gd name="T8" fmla="*/ 18 w 20"/>
                  <a:gd name="T9" fmla="*/ 52 h 86"/>
                  <a:gd name="T10" fmla="*/ 16 w 20"/>
                  <a:gd name="T11" fmla="*/ 50 h 86"/>
                  <a:gd name="T12" fmla="*/ 18 w 20"/>
                  <a:gd name="T13" fmla="*/ 46 h 86"/>
                  <a:gd name="T14" fmla="*/ 18 w 20"/>
                  <a:gd name="T15" fmla="*/ 42 h 86"/>
                  <a:gd name="T16" fmla="*/ 20 w 20"/>
                  <a:gd name="T17" fmla="*/ 34 h 86"/>
                  <a:gd name="T18" fmla="*/ 20 w 20"/>
                  <a:gd name="T19" fmla="*/ 32 h 86"/>
                  <a:gd name="T20" fmla="*/ 18 w 20"/>
                  <a:gd name="T21" fmla="*/ 26 h 86"/>
                  <a:gd name="T22" fmla="*/ 18 w 20"/>
                  <a:gd name="T23" fmla="*/ 20 h 86"/>
                  <a:gd name="T24" fmla="*/ 18 w 20"/>
                  <a:gd name="T25" fmla="*/ 18 h 86"/>
                  <a:gd name="T26" fmla="*/ 14 w 20"/>
                  <a:gd name="T27" fmla="*/ 16 h 86"/>
                  <a:gd name="T28" fmla="*/ 14 w 20"/>
                  <a:gd name="T29" fmla="*/ 12 h 86"/>
                  <a:gd name="T30" fmla="*/ 12 w 20"/>
                  <a:gd name="T31" fmla="*/ 10 h 86"/>
                  <a:gd name="T32" fmla="*/ 12 w 20"/>
                  <a:gd name="T33" fmla="*/ 6 h 86"/>
                  <a:gd name="T34" fmla="*/ 10 w 20"/>
                  <a:gd name="T35" fmla="*/ 2 h 86"/>
                  <a:gd name="T36" fmla="*/ 8 w 20"/>
                  <a:gd name="T37" fmla="*/ 0 h 86"/>
                  <a:gd name="T38" fmla="*/ 4 w 20"/>
                  <a:gd name="T39" fmla="*/ 2 h 86"/>
                  <a:gd name="T40" fmla="*/ 0 w 20"/>
                  <a:gd name="T41" fmla="*/ 4 h 86"/>
                  <a:gd name="T42" fmla="*/ 2 w 20"/>
                  <a:gd name="T43" fmla="*/ 10 h 86"/>
                  <a:gd name="T44" fmla="*/ 2 w 20"/>
                  <a:gd name="T45" fmla="*/ 16 h 86"/>
                  <a:gd name="T46" fmla="*/ 2 w 20"/>
                  <a:gd name="T47" fmla="*/ 28 h 86"/>
                  <a:gd name="T48" fmla="*/ 2 w 20"/>
                  <a:gd name="T49" fmla="*/ 30 h 86"/>
                  <a:gd name="T50" fmla="*/ 4 w 20"/>
                  <a:gd name="T51" fmla="*/ 32 h 86"/>
                  <a:gd name="T52" fmla="*/ 4 w 20"/>
                  <a:gd name="T53" fmla="*/ 36 h 86"/>
                  <a:gd name="T54" fmla="*/ 4 w 20"/>
                  <a:gd name="T55" fmla="*/ 36 h 86"/>
                  <a:gd name="T56" fmla="*/ 2 w 20"/>
                  <a:gd name="T57" fmla="*/ 40 h 86"/>
                  <a:gd name="T58" fmla="*/ 2 w 20"/>
                  <a:gd name="T59" fmla="*/ 42 h 86"/>
                  <a:gd name="T60" fmla="*/ 2 w 20"/>
                  <a:gd name="T61" fmla="*/ 46 h 86"/>
                  <a:gd name="T62" fmla="*/ 4 w 20"/>
                  <a:gd name="T63" fmla="*/ 52 h 86"/>
                  <a:gd name="T64" fmla="*/ 4 w 20"/>
                  <a:gd name="T65" fmla="*/ 54 h 86"/>
                  <a:gd name="T66" fmla="*/ 4 w 20"/>
                  <a:gd name="T67" fmla="*/ 58 h 86"/>
                  <a:gd name="T68" fmla="*/ 4 w 20"/>
                  <a:gd name="T69" fmla="*/ 64 h 86"/>
                  <a:gd name="T70" fmla="*/ 4 w 20"/>
                  <a:gd name="T71" fmla="*/ 74 h 86"/>
                  <a:gd name="T72" fmla="*/ 4 w 20"/>
                  <a:gd name="T73" fmla="*/ 80 h 86"/>
                  <a:gd name="T74" fmla="*/ 6 w 20"/>
                  <a:gd name="T75" fmla="*/ 82 h 86"/>
                  <a:gd name="T76" fmla="*/ 6 w 20"/>
                  <a:gd name="T77" fmla="*/ 86 h 86"/>
                  <a:gd name="T78" fmla="*/ 12 w 20"/>
                  <a:gd name="T79" fmla="*/ 84 h 86"/>
                  <a:gd name="T80" fmla="*/ 20 w 20"/>
                  <a:gd name="T81" fmla="*/ 82 h 86"/>
                  <a:gd name="T82" fmla="*/ 20 w 20"/>
                  <a:gd name="T83" fmla="*/ 76 h 86"/>
                  <a:gd name="T84" fmla="*/ 20 w 20"/>
                  <a:gd name="T85" fmla="*/ 68 h 86"/>
                  <a:gd name="T86" fmla="*/ 20 w 20"/>
                  <a:gd name="T87" fmla="*/ 68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0" h="86">
                    <a:moveTo>
                      <a:pt x="20" y="68"/>
                    </a:moveTo>
                    <a:lnTo>
                      <a:pt x="20" y="68"/>
                    </a:lnTo>
                    <a:lnTo>
                      <a:pt x="20" y="64"/>
                    </a:lnTo>
                    <a:lnTo>
                      <a:pt x="20" y="60"/>
                    </a:lnTo>
                    <a:lnTo>
                      <a:pt x="20" y="60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18" y="54"/>
                    </a:lnTo>
                    <a:lnTo>
                      <a:pt x="18" y="54"/>
                    </a:lnTo>
                    <a:lnTo>
                      <a:pt x="18" y="52"/>
                    </a:lnTo>
                    <a:lnTo>
                      <a:pt x="16" y="52"/>
                    </a:lnTo>
                    <a:lnTo>
                      <a:pt x="16" y="50"/>
                    </a:lnTo>
                    <a:lnTo>
                      <a:pt x="16" y="50"/>
                    </a:lnTo>
                    <a:lnTo>
                      <a:pt x="18" y="46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20" y="38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2"/>
                    </a:lnTo>
                    <a:lnTo>
                      <a:pt x="20" y="28"/>
                    </a:lnTo>
                    <a:lnTo>
                      <a:pt x="18" y="26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4"/>
                    </a:lnTo>
                    <a:lnTo>
                      <a:pt x="14" y="12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8"/>
                    </a:lnTo>
                    <a:lnTo>
                      <a:pt x="12" y="6"/>
                    </a:lnTo>
                    <a:lnTo>
                      <a:pt x="12" y="4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10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24"/>
                    </a:lnTo>
                    <a:lnTo>
                      <a:pt x="2" y="28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4" y="32"/>
                    </a:lnTo>
                    <a:lnTo>
                      <a:pt x="4" y="34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2" y="38"/>
                    </a:lnTo>
                    <a:lnTo>
                      <a:pt x="2" y="40"/>
                    </a:lnTo>
                    <a:lnTo>
                      <a:pt x="2" y="42"/>
                    </a:lnTo>
                    <a:lnTo>
                      <a:pt x="2" y="42"/>
                    </a:lnTo>
                    <a:lnTo>
                      <a:pt x="2" y="44"/>
                    </a:lnTo>
                    <a:lnTo>
                      <a:pt x="2" y="46"/>
                    </a:lnTo>
                    <a:lnTo>
                      <a:pt x="4" y="48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8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8"/>
                    </a:lnTo>
                    <a:lnTo>
                      <a:pt x="4" y="80"/>
                    </a:lnTo>
                    <a:lnTo>
                      <a:pt x="6" y="82"/>
                    </a:lnTo>
                    <a:lnTo>
                      <a:pt x="6" y="82"/>
                    </a:lnTo>
                    <a:lnTo>
                      <a:pt x="6" y="86"/>
                    </a:lnTo>
                    <a:lnTo>
                      <a:pt x="6" y="86"/>
                    </a:lnTo>
                    <a:lnTo>
                      <a:pt x="10" y="86"/>
                    </a:lnTo>
                    <a:lnTo>
                      <a:pt x="12" y="84"/>
                    </a:lnTo>
                    <a:lnTo>
                      <a:pt x="12" y="84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76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0" y="68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34" name="Freeform 656"/>
              <p:cNvSpPr>
                <a:spLocks/>
              </p:cNvSpPr>
              <p:nvPr/>
            </p:nvSpPr>
            <p:spPr bwMode="auto">
              <a:xfrm>
                <a:off x="2731" y="2632"/>
                <a:ext cx="46" cy="100"/>
              </a:xfrm>
              <a:custGeom>
                <a:avLst/>
                <a:gdLst>
                  <a:gd name="T0" fmla="*/ 28 w 46"/>
                  <a:gd name="T1" fmla="*/ 76 h 100"/>
                  <a:gd name="T2" fmla="*/ 28 w 46"/>
                  <a:gd name="T3" fmla="*/ 62 h 100"/>
                  <a:gd name="T4" fmla="*/ 28 w 46"/>
                  <a:gd name="T5" fmla="*/ 60 h 100"/>
                  <a:gd name="T6" fmla="*/ 32 w 46"/>
                  <a:gd name="T7" fmla="*/ 56 h 100"/>
                  <a:gd name="T8" fmla="*/ 34 w 46"/>
                  <a:gd name="T9" fmla="*/ 52 h 100"/>
                  <a:gd name="T10" fmla="*/ 36 w 46"/>
                  <a:gd name="T11" fmla="*/ 50 h 100"/>
                  <a:gd name="T12" fmla="*/ 38 w 46"/>
                  <a:gd name="T13" fmla="*/ 46 h 100"/>
                  <a:gd name="T14" fmla="*/ 38 w 46"/>
                  <a:gd name="T15" fmla="*/ 44 h 100"/>
                  <a:gd name="T16" fmla="*/ 42 w 46"/>
                  <a:gd name="T17" fmla="*/ 38 h 100"/>
                  <a:gd name="T18" fmla="*/ 44 w 46"/>
                  <a:gd name="T19" fmla="*/ 36 h 100"/>
                  <a:gd name="T20" fmla="*/ 44 w 46"/>
                  <a:gd name="T21" fmla="*/ 32 h 100"/>
                  <a:gd name="T22" fmla="*/ 44 w 46"/>
                  <a:gd name="T23" fmla="*/ 28 h 100"/>
                  <a:gd name="T24" fmla="*/ 46 w 46"/>
                  <a:gd name="T25" fmla="*/ 24 h 100"/>
                  <a:gd name="T26" fmla="*/ 46 w 46"/>
                  <a:gd name="T27" fmla="*/ 22 h 100"/>
                  <a:gd name="T28" fmla="*/ 46 w 46"/>
                  <a:gd name="T29" fmla="*/ 18 h 100"/>
                  <a:gd name="T30" fmla="*/ 46 w 46"/>
                  <a:gd name="T31" fmla="*/ 16 h 100"/>
                  <a:gd name="T32" fmla="*/ 46 w 46"/>
                  <a:gd name="T33" fmla="*/ 14 h 100"/>
                  <a:gd name="T34" fmla="*/ 44 w 46"/>
                  <a:gd name="T35" fmla="*/ 12 h 100"/>
                  <a:gd name="T36" fmla="*/ 42 w 46"/>
                  <a:gd name="T37" fmla="*/ 8 h 100"/>
                  <a:gd name="T38" fmla="*/ 42 w 46"/>
                  <a:gd name="T39" fmla="*/ 0 h 100"/>
                  <a:gd name="T40" fmla="*/ 40 w 46"/>
                  <a:gd name="T41" fmla="*/ 0 h 100"/>
                  <a:gd name="T42" fmla="*/ 34 w 46"/>
                  <a:gd name="T43" fmla="*/ 0 h 100"/>
                  <a:gd name="T44" fmla="*/ 32 w 46"/>
                  <a:gd name="T45" fmla="*/ 0 h 100"/>
                  <a:gd name="T46" fmla="*/ 28 w 46"/>
                  <a:gd name="T47" fmla="*/ 0 h 100"/>
                  <a:gd name="T48" fmla="*/ 26 w 46"/>
                  <a:gd name="T49" fmla="*/ 6 h 100"/>
                  <a:gd name="T50" fmla="*/ 24 w 46"/>
                  <a:gd name="T51" fmla="*/ 10 h 100"/>
                  <a:gd name="T52" fmla="*/ 22 w 46"/>
                  <a:gd name="T53" fmla="*/ 12 h 100"/>
                  <a:gd name="T54" fmla="*/ 20 w 46"/>
                  <a:gd name="T55" fmla="*/ 12 h 100"/>
                  <a:gd name="T56" fmla="*/ 14 w 46"/>
                  <a:gd name="T57" fmla="*/ 12 h 100"/>
                  <a:gd name="T58" fmla="*/ 8 w 46"/>
                  <a:gd name="T59" fmla="*/ 12 h 100"/>
                  <a:gd name="T60" fmla="*/ 6 w 46"/>
                  <a:gd name="T61" fmla="*/ 12 h 100"/>
                  <a:gd name="T62" fmla="*/ 4 w 46"/>
                  <a:gd name="T63" fmla="*/ 14 h 100"/>
                  <a:gd name="T64" fmla="*/ 2 w 46"/>
                  <a:gd name="T65" fmla="*/ 18 h 100"/>
                  <a:gd name="T66" fmla="*/ 0 w 46"/>
                  <a:gd name="T67" fmla="*/ 18 h 100"/>
                  <a:gd name="T68" fmla="*/ 4 w 46"/>
                  <a:gd name="T69" fmla="*/ 22 h 100"/>
                  <a:gd name="T70" fmla="*/ 4 w 46"/>
                  <a:gd name="T71" fmla="*/ 26 h 100"/>
                  <a:gd name="T72" fmla="*/ 4 w 46"/>
                  <a:gd name="T73" fmla="*/ 28 h 100"/>
                  <a:gd name="T74" fmla="*/ 6 w 46"/>
                  <a:gd name="T75" fmla="*/ 32 h 100"/>
                  <a:gd name="T76" fmla="*/ 6 w 46"/>
                  <a:gd name="T77" fmla="*/ 34 h 100"/>
                  <a:gd name="T78" fmla="*/ 10 w 46"/>
                  <a:gd name="T79" fmla="*/ 36 h 100"/>
                  <a:gd name="T80" fmla="*/ 10 w 46"/>
                  <a:gd name="T81" fmla="*/ 38 h 100"/>
                  <a:gd name="T82" fmla="*/ 12 w 46"/>
                  <a:gd name="T83" fmla="*/ 46 h 100"/>
                  <a:gd name="T84" fmla="*/ 12 w 46"/>
                  <a:gd name="T85" fmla="*/ 52 h 100"/>
                  <a:gd name="T86" fmla="*/ 12 w 46"/>
                  <a:gd name="T87" fmla="*/ 56 h 100"/>
                  <a:gd name="T88" fmla="*/ 10 w 46"/>
                  <a:gd name="T89" fmla="*/ 60 h 100"/>
                  <a:gd name="T90" fmla="*/ 8 w 46"/>
                  <a:gd name="T91" fmla="*/ 68 h 100"/>
                  <a:gd name="T92" fmla="*/ 8 w 46"/>
                  <a:gd name="T93" fmla="*/ 70 h 100"/>
                  <a:gd name="T94" fmla="*/ 10 w 46"/>
                  <a:gd name="T95" fmla="*/ 72 h 100"/>
                  <a:gd name="T96" fmla="*/ 12 w 46"/>
                  <a:gd name="T97" fmla="*/ 74 h 100"/>
                  <a:gd name="T98" fmla="*/ 12 w 46"/>
                  <a:gd name="T99" fmla="*/ 78 h 100"/>
                  <a:gd name="T100" fmla="*/ 12 w 46"/>
                  <a:gd name="T101" fmla="*/ 82 h 100"/>
                  <a:gd name="T102" fmla="*/ 12 w 46"/>
                  <a:gd name="T103" fmla="*/ 86 h 100"/>
                  <a:gd name="T104" fmla="*/ 12 w 46"/>
                  <a:gd name="T105" fmla="*/ 100 h 100"/>
                  <a:gd name="T106" fmla="*/ 16 w 46"/>
                  <a:gd name="T107" fmla="*/ 100 h 100"/>
                  <a:gd name="T108" fmla="*/ 22 w 46"/>
                  <a:gd name="T109" fmla="*/ 100 h 100"/>
                  <a:gd name="T110" fmla="*/ 28 w 46"/>
                  <a:gd name="T111" fmla="*/ 98 h 100"/>
                  <a:gd name="T112" fmla="*/ 28 w 46"/>
                  <a:gd name="T113" fmla="*/ 88 h 100"/>
                  <a:gd name="T114" fmla="*/ 28 w 46"/>
                  <a:gd name="T115" fmla="*/ 86 h 100"/>
                  <a:gd name="T116" fmla="*/ 28 w 46"/>
                  <a:gd name="T117" fmla="*/ 76 h 100"/>
                  <a:gd name="T118" fmla="*/ 28 w 46"/>
                  <a:gd name="T119" fmla="*/ 76 h 100"/>
                  <a:gd name="T120" fmla="*/ 28 w 46"/>
                  <a:gd name="T121" fmla="*/ 76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6" h="100">
                    <a:moveTo>
                      <a:pt x="28" y="76"/>
                    </a:moveTo>
                    <a:lnTo>
                      <a:pt x="28" y="76"/>
                    </a:lnTo>
                    <a:lnTo>
                      <a:pt x="28" y="70"/>
                    </a:lnTo>
                    <a:lnTo>
                      <a:pt x="28" y="62"/>
                    </a:lnTo>
                    <a:lnTo>
                      <a:pt x="28" y="62"/>
                    </a:lnTo>
                    <a:lnTo>
                      <a:pt x="28" y="60"/>
                    </a:lnTo>
                    <a:lnTo>
                      <a:pt x="30" y="60"/>
                    </a:lnTo>
                    <a:lnTo>
                      <a:pt x="32" y="56"/>
                    </a:lnTo>
                    <a:lnTo>
                      <a:pt x="34" y="54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6" y="50"/>
                    </a:lnTo>
                    <a:lnTo>
                      <a:pt x="36" y="48"/>
                    </a:lnTo>
                    <a:lnTo>
                      <a:pt x="38" y="46"/>
                    </a:lnTo>
                    <a:lnTo>
                      <a:pt x="38" y="46"/>
                    </a:lnTo>
                    <a:lnTo>
                      <a:pt x="38" y="44"/>
                    </a:lnTo>
                    <a:lnTo>
                      <a:pt x="40" y="42"/>
                    </a:lnTo>
                    <a:lnTo>
                      <a:pt x="42" y="38"/>
                    </a:lnTo>
                    <a:lnTo>
                      <a:pt x="42" y="38"/>
                    </a:lnTo>
                    <a:lnTo>
                      <a:pt x="44" y="36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0"/>
                    </a:lnTo>
                    <a:lnTo>
                      <a:pt x="44" y="28"/>
                    </a:lnTo>
                    <a:lnTo>
                      <a:pt x="44" y="26"/>
                    </a:lnTo>
                    <a:lnTo>
                      <a:pt x="46" y="24"/>
                    </a:lnTo>
                    <a:lnTo>
                      <a:pt x="46" y="24"/>
                    </a:lnTo>
                    <a:lnTo>
                      <a:pt x="46" y="22"/>
                    </a:lnTo>
                    <a:lnTo>
                      <a:pt x="46" y="20"/>
                    </a:lnTo>
                    <a:lnTo>
                      <a:pt x="46" y="18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14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2" y="10"/>
                    </a:lnTo>
                    <a:lnTo>
                      <a:pt x="42" y="8"/>
                    </a:lnTo>
                    <a:lnTo>
                      <a:pt x="42" y="6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0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2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8" y="4"/>
                    </a:lnTo>
                    <a:lnTo>
                      <a:pt x="26" y="6"/>
                    </a:lnTo>
                    <a:lnTo>
                      <a:pt x="26" y="8"/>
                    </a:lnTo>
                    <a:lnTo>
                      <a:pt x="24" y="10"/>
                    </a:lnTo>
                    <a:lnTo>
                      <a:pt x="22" y="10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0" y="12"/>
                    </a:lnTo>
                    <a:lnTo>
                      <a:pt x="18" y="12"/>
                    </a:lnTo>
                    <a:lnTo>
                      <a:pt x="14" y="12"/>
                    </a:lnTo>
                    <a:lnTo>
                      <a:pt x="10" y="12"/>
                    </a:lnTo>
                    <a:lnTo>
                      <a:pt x="8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4"/>
                    </a:lnTo>
                    <a:lnTo>
                      <a:pt x="4" y="14"/>
                    </a:lnTo>
                    <a:lnTo>
                      <a:pt x="2" y="16"/>
                    </a:lnTo>
                    <a:lnTo>
                      <a:pt x="2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0"/>
                    </a:lnTo>
                    <a:lnTo>
                      <a:pt x="4" y="22"/>
                    </a:lnTo>
                    <a:lnTo>
                      <a:pt x="4" y="24"/>
                    </a:lnTo>
                    <a:lnTo>
                      <a:pt x="4" y="26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6" y="30"/>
                    </a:lnTo>
                    <a:lnTo>
                      <a:pt x="6" y="32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10" y="44"/>
                    </a:lnTo>
                    <a:lnTo>
                      <a:pt x="12" y="46"/>
                    </a:lnTo>
                    <a:lnTo>
                      <a:pt x="12" y="50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6"/>
                    </a:lnTo>
                    <a:lnTo>
                      <a:pt x="10" y="60"/>
                    </a:lnTo>
                    <a:lnTo>
                      <a:pt x="10" y="60"/>
                    </a:lnTo>
                    <a:lnTo>
                      <a:pt x="10" y="64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70"/>
                    </a:lnTo>
                    <a:lnTo>
                      <a:pt x="10" y="70"/>
                    </a:lnTo>
                    <a:lnTo>
                      <a:pt x="10" y="72"/>
                    </a:lnTo>
                    <a:lnTo>
                      <a:pt x="10" y="72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82"/>
                    </a:lnTo>
                    <a:lnTo>
                      <a:pt x="12" y="86"/>
                    </a:lnTo>
                    <a:lnTo>
                      <a:pt x="12" y="86"/>
                    </a:lnTo>
                    <a:lnTo>
                      <a:pt x="12" y="94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22" y="100"/>
                    </a:lnTo>
                    <a:lnTo>
                      <a:pt x="28" y="98"/>
                    </a:lnTo>
                    <a:lnTo>
                      <a:pt x="28" y="98"/>
                    </a:lnTo>
                    <a:lnTo>
                      <a:pt x="28" y="94"/>
                    </a:lnTo>
                    <a:lnTo>
                      <a:pt x="28" y="88"/>
                    </a:lnTo>
                    <a:lnTo>
                      <a:pt x="28" y="88"/>
                    </a:lnTo>
                    <a:lnTo>
                      <a:pt x="28" y="86"/>
                    </a:lnTo>
                    <a:lnTo>
                      <a:pt x="28" y="82"/>
                    </a:lnTo>
                    <a:lnTo>
                      <a:pt x="28" y="76"/>
                    </a:lnTo>
                    <a:lnTo>
                      <a:pt x="28" y="76"/>
                    </a:lnTo>
                    <a:lnTo>
                      <a:pt x="28" y="76"/>
                    </a:lnTo>
                    <a:lnTo>
                      <a:pt x="28" y="76"/>
                    </a:lnTo>
                    <a:lnTo>
                      <a:pt x="28" y="7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35" name="Freeform 658"/>
              <p:cNvSpPr>
                <a:spLocks/>
              </p:cNvSpPr>
              <p:nvPr/>
            </p:nvSpPr>
            <p:spPr bwMode="auto">
              <a:xfrm>
                <a:off x="2759" y="2608"/>
                <a:ext cx="184" cy="152"/>
              </a:xfrm>
              <a:custGeom>
                <a:avLst/>
                <a:gdLst>
                  <a:gd name="T0" fmla="*/ 100 w 184"/>
                  <a:gd name="T1" fmla="*/ 136 h 152"/>
                  <a:gd name="T2" fmla="*/ 100 w 184"/>
                  <a:gd name="T3" fmla="*/ 126 h 152"/>
                  <a:gd name="T4" fmla="*/ 102 w 184"/>
                  <a:gd name="T5" fmla="*/ 120 h 152"/>
                  <a:gd name="T6" fmla="*/ 108 w 184"/>
                  <a:gd name="T7" fmla="*/ 112 h 152"/>
                  <a:gd name="T8" fmla="*/ 110 w 184"/>
                  <a:gd name="T9" fmla="*/ 114 h 152"/>
                  <a:gd name="T10" fmla="*/ 120 w 184"/>
                  <a:gd name="T11" fmla="*/ 110 h 152"/>
                  <a:gd name="T12" fmla="*/ 130 w 184"/>
                  <a:gd name="T13" fmla="*/ 112 h 152"/>
                  <a:gd name="T14" fmla="*/ 138 w 184"/>
                  <a:gd name="T15" fmla="*/ 114 h 152"/>
                  <a:gd name="T16" fmla="*/ 144 w 184"/>
                  <a:gd name="T17" fmla="*/ 104 h 152"/>
                  <a:gd name="T18" fmla="*/ 152 w 184"/>
                  <a:gd name="T19" fmla="*/ 88 h 152"/>
                  <a:gd name="T20" fmla="*/ 160 w 184"/>
                  <a:gd name="T21" fmla="*/ 76 h 152"/>
                  <a:gd name="T22" fmla="*/ 164 w 184"/>
                  <a:gd name="T23" fmla="*/ 72 h 152"/>
                  <a:gd name="T24" fmla="*/ 166 w 184"/>
                  <a:gd name="T25" fmla="*/ 62 h 152"/>
                  <a:gd name="T26" fmla="*/ 174 w 184"/>
                  <a:gd name="T27" fmla="*/ 54 h 152"/>
                  <a:gd name="T28" fmla="*/ 174 w 184"/>
                  <a:gd name="T29" fmla="*/ 44 h 152"/>
                  <a:gd name="T30" fmla="*/ 178 w 184"/>
                  <a:gd name="T31" fmla="*/ 36 h 152"/>
                  <a:gd name="T32" fmla="*/ 184 w 184"/>
                  <a:gd name="T33" fmla="*/ 32 h 152"/>
                  <a:gd name="T34" fmla="*/ 182 w 184"/>
                  <a:gd name="T35" fmla="*/ 24 h 152"/>
                  <a:gd name="T36" fmla="*/ 178 w 184"/>
                  <a:gd name="T37" fmla="*/ 22 h 152"/>
                  <a:gd name="T38" fmla="*/ 174 w 184"/>
                  <a:gd name="T39" fmla="*/ 14 h 152"/>
                  <a:gd name="T40" fmla="*/ 166 w 184"/>
                  <a:gd name="T41" fmla="*/ 4 h 152"/>
                  <a:gd name="T42" fmla="*/ 160 w 184"/>
                  <a:gd name="T43" fmla="*/ 6 h 152"/>
                  <a:gd name="T44" fmla="*/ 148 w 184"/>
                  <a:gd name="T45" fmla="*/ 10 h 152"/>
                  <a:gd name="T46" fmla="*/ 138 w 184"/>
                  <a:gd name="T47" fmla="*/ 12 h 152"/>
                  <a:gd name="T48" fmla="*/ 126 w 184"/>
                  <a:gd name="T49" fmla="*/ 8 h 152"/>
                  <a:gd name="T50" fmla="*/ 116 w 184"/>
                  <a:gd name="T51" fmla="*/ 10 h 152"/>
                  <a:gd name="T52" fmla="*/ 110 w 184"/>
                  <a:gd name="T53" fmla="*/ 16 h 152"/>
                  <a:gd name="T54" fmla="*/ 94 w 184"/>
                  <a:gd name="T55" fmla="*/ 14 h 152"/>
                  <a:gd name="T56" fmla="*/ 78 w 184"/>
                  <a:gd name="T57" fmla="*/ 8 h 152"/>
                  <a:gd name="T58" fmla="*/ 72 w 184"/>
                  <a:gd name="T59" fmla="*/ 12 h 152"/>
                  <a:gd name="T60" fmla="*/ 68 w 184"/>
                  <a:gd name="T61" fmla="*/ 12 h 152"/>
                  <a:gd name="T62" fmla="*/ 58 w 184"/>
                  <a:gd name="T63" fmla="*/ 2 h 152"/>
                  <a:gd name="T64" fmla="*/ 48 w 184"/>
                  <a:gd name="T65" fmla="*/ 0 h 152"/>
                  <a:gd name="T66" fmla="*/ 34 w 184"/>
                  <a:gd name="T67" fmla="*/ 0 h 152"/>
                  <a:gd name="T68" fmla="*/ 30 w 184"/>
                  <a:gd name="T69" fmla="*/ 2 h 152"/>
                  <a:gd name="T70" fmla="*/ 26 w 184"/>
                  <a:gd name="T71" fmla="*/ 12 h 152"/>
                  <a:gd name="T72" fmla="*/ 20 w 184"/>
                  <a:gd name="T73" fmla="*/ 22 h 152"/>
                  <a:gd name="T74" fmla="*/ 14 w 184"/>
                  <a:gd name="T75" fmla="*/ 32 h 152"/>
                  <a:gd name="T76" fmla="*/ 18 w 184"/>
                  <a:gd name="T77" fmla="*/ 40 h 152"/>
                  <a:gd name="T78" fmla="*/ 18 w 184"/>
                  <a:gd name="T79" fmla="*/ 46 h 152"/>
                  <a:gd name="T80" fmla="*/ 16 w 184"/>
                  <a:gd name="T81" fmla="*/ 54 h 152"/>
                  <a:gd name="T82" fmla="*/ 14 w 184"/>
                  <a:gd name="T83" fmla="*/ 62 h 152"/>
                  <a:gd name="T84" fmla="*/ 8 w 184"/>
                  <a:gd name="T85" fmla="*/ 72 h 152"/>
                  <a:gd name="T86" fmla="*/ 4 w 184"/>
                  <a:gd name="T87" fmla="*/ 80 h 152"/>
                  <a:gd name="T88" fmla="*/ 0 w 184"/>
                  <a:gd name="T89" fmla="*/ 94 h 152"/>
                  <a:gd name="T90" fmla="*/ 0 w 184"/>
                  <a:gd name="T91" fmla="*/ 112 h 152"/>
                  <a:gd name="T92" fmla="*/ 0 w 184"/>
                  <a:gd name="T93" fmla="*/ 122 h 152"/>
                  <a:gd name="T94" fmla="*/ 10 w 184"/>
                  <a:gd name="T95" fmla="*/ 120 h 152"/>
                  <a:gd name="T96" fmla="*/ 22 w 184"/>
                  <a:gd name="T97" fmla="*/ 120 h 152"/>
                  <a:gd name="T98" fmla="*/ 34 w 184"/>
                  <a:gd name="T99" fmla="*/ 126 h 152"/>
                  <a:gd name="T100" fmla="*/ 40 w 184"/>
                  <a:gd name="T101" fmla="*/ 134 h 152"/>
                  <a:gd name="T102" fmla="*/ 44 w 184"/>
                  <a:gd name="T103" fmla="*/ 138 h 152"/>
                  <a:gd name="T104" fmla="*/ 48 w 184"/>
                  <a:gd name="T105" fmla="*/ 140 h 152"/>
                  <a:gd name="T106" fmla="*/ 50 w 184"/>
                  <a:gd name="T107" fmla="*/ 148 h 152"/>
                  <a:gd name="T108" fmla="*/ 62 w 184"/>
                  <a:gd name="T109" fmla="*/ 152 h 152"/>
                  <a:gd name="T110" fmla="*/ 70 w 184"/>
                  <a:gd name="T111" fmla="*/ 150 h 152"/>
                  <a:gd name="T112" fmla="*/ 80 w 184"/>
                  <a:gd name="T113" fmla="*/ 150 h 152"/>
                  <a:gd name="T114" fmla="*/ 92 w 184"/>
                  <a:gd name="T115" fmla="*/ 148 h 152"/>
                  <a:gd name="T116" fmla="*/ 94 w 184"/>
                  <a:gd name="T117" fmla="*/ 146 h 152"/>
                  <a:gd name="T118" fmla="*/ 96 w 184"/>
                  <a:gd name="T119" fmla="*/ 142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84" h="152">
                    <a:moveTo>
                      <a:pt x="96" y="142"/>
                    </a:moveTo>
                    <a:lnTo>
                      <a:pt x="96" y="142"/>
                    </a:lnTo>
                    <a:lnTo>
                      <a:pt x="98" y="140"/>
                    </a:lnTo>
                    <a:lnTo>
                      <a:pt x="98" y="138"/>
                    </a:lnTo>
                    <a:lnTo>
                      <a:pt x="100" y="136"/>
                    </a:lnTo>
                    <a:lnTo>
                      <a:pt x="100" y="132"/>
                    </a:lnTo>
                    <a:lnTo>
                      <a:pt x="100" y="132"/>
                    </a:lnTo>
                    <a:lnTo>
                      <a:pt x="100" y="132"/>
                    </a:lnTo>
                    <a:lnTo>
                      <a:pt x="100" y="130"/>
                    </a:lnTo>
                    <a:lnTo>
                      <a:pt x="100" y="126"/>
                    </a:lnTo>
                    <a:lnTo>
                      <a:pt x="100" y="126"/>
                    </a:lnTo>
                    <a:lnTo>
                      <a:pt x="100" y="124"/>
                    </a:lnTo>
                    <a:lnTo>
                      <a:pt x="100" y="122"/>
                    </a:lnTo>
                    <a:lnTo>
                      <a:pt x="102" y="120"/>
                    </a:lnTo>
                    <a:lnTo>
                      <a:pt x="102" y="120"/>
                    </a:lnTo>
                    <a:lnTo>
                      <a:pt x="102" y="120"/>
                    </a:lnTo>
                    <a:lnTo>
                      <a:pt x="104" y="116"/>
                    </a:lnTo>
                    <a:lnTo>
                      <a:pt x="106" y="114"/>
                    </a:lnTo>
                    <a:lnTo>
                      <a:pt x="106" y="114"/>
                    </a:lnTo>
                    <a:lnTo>
                      <a:pt x="108" y="112"/>
                    </a:lnTo>
                    <a:lnTo>
                      <a:pt x="108" y="112"/>
                    </a:lnTo>
                    <a:lnTo>
                      <a:pt x="108" y="112"/>
                    </a:lnTo>
                    <a:lnTo>
                      <a:pt x="108" y="112"/>
                    </a:lnTo>
                    <a:lnTo>
                      <a:pt x="110" y="114"/>
                    </a:lnTo>
                    <a:lnTo>
                      <a:pt x="110" y="114"/>
                    </a:lnTo>
                    <a:lnTo>
                      <a:pt x="112" y="114"/>
                    </a:lnTo>
                    <a:lnTo>
                      <a:pt x="114" y="112"/>
                    </a:lnTo>
                    <a:lnTo>
                      <a:pt x="114" y="112"/>
                    </a:lnTo>
                    <a:lnTo>
                      <a:pt x="116" y="110"/>
                    </a:lnTo>
                    <a:lnTo>
                      <a:pt x="120" y="110"/>
                    </a:lnTo>
                    <a:lnTo>
                      <a:pt x="122" y="110"/>
                    </a:lnTo>
                    <a:lnTo>
                      <a:pt x="126" y="110"/>
                    </a:lnTo>
                    <a:lnTo>
                      <a:pt x="126" y="110"/>
                    </a:lnTo>
                    <a:lnTo>
                      <a:pt x="128" y="110"/>
                    </a:lnTo>
                    <a:lnTo>
                      <a:pt x="130" y="112"/>
                    </a:lnTo>
                    <a:lnTo>
                      <a:pt x="132" y="114"/>
                    </a:lnTo>
                    <a:lnTo>
                      <a:pt x="134" y="114"/>
                    </a:lnTo>
                    <a:lnTo>
                      <a:pt x="136" y="114"/>
                    </a:lnTo>
                    <a:lnTo>
                      <a:pt x="138" y="114"/>
                    </a:lnTo>
                    <a:lnTo>
                      <a:pt x="138" y="114"/>
                    </a:lnTo>
                    <a:lnTo>
                      <a:pt x="138" y="114"/>
                    </a:lnTo>
                    <a:lnTo>
                      <a:pt x="140" y="112"/>
                    </a:lnTo>
                    <a:lnTo>
                      <a:pt x="140" y="110"/>
                    </a:lnTo>
                    <a:lnTo>
                      <a:pt x="142" y="108"/>
                    </a:lnTo>
                    <a:lnTo>
                      <a:pt x="144" y="104"/>
                    </a:lnTo>
                    <a:lnTo>
                      <a:pt x="146" y="100"/>
                    </a:lnTo>
                    <a:lnTo>
                      <a:pt x="146" y="100"/>
                    </a:lnTo>
                    <a:lnTo>
                      <a:pt x="148" y="98"/>
                    </a:lnTo>
                    <a:lnTo>
                      <a:pt x="148" y="96"/>
                    </a:lnTo>
                    <a:lnTo>
                      <a:pt x="152" y="88"/>
                    </a:lnTo>
                    <a:lnTo>
                      <a:pt x="152" y="88"/>
                    </a:lnTo>
                    <a:lnTo>
                      <a:pt x="154" y="86"/>
                    </a:lnTo>
                    <a:lnTo>
                      <a:pt x="156" y="82"/>
                    </a:lnTo>
                    <a:lnTo>
                      <a:pt x="158" y="80"/>
                    </a:lnTo>
                    <a:lnTo>
                      <a:pt x="160" y="76"/>
                    </a:lnTo>
                    <a:lnTo>
                      <a:pt x="160" y="76"/>
                    </a:lnTo>
                    <a:lnTo>
                      <a:pt x="162" y="74"/>
                    </a:lnTo>
                    <a:lnTo>
                      <a:pt x="164" y="72"/>
                    </a:lnTo>
                    <a:lnTo>
                      <a:pt x="164" y="72"/>
                    </a:lnTo>
                    <a:lnTo>
                      <a:pt x="164" y="72"/>
                    </a:lnTo>
                    <a:lnTo>
                      <a:pt x="164" y="68"/>
                    </a:lnTo>
                    <a:lnTo>
                      <a:pt x="164" y="66"/>
                    </a:lnTo>
                    <a:lnTo>
                      <a:pt x="164" y="64"/>
                    </a:lnTo>
                    <a:lnTo>
                      <a:pt x="164" y="64"/>
                    </a:lnTo>
                    <a:lnTo>
                      <a:pt x="166" y="62"/>
                    </a:lnTo>
                    <a:lnTo>
                      <a:pt x="166" y="62"/>
                    </a:lnTo>
                    <a:lnTo>
                      <a:pt x="170" y="58"/>
                    </a:lnTo>
                    <a:lnTo>
                      <a:pt x="170" y="56"/>
                    </a:lnTo>
                    <a:lnTo>
                      <a:pt x="172" y="56"/>
                    </a:lnTo>
                    <a:lnTo>
                      <a:pt x="174" y="54"/>
                    </a:lnTo>
                    <a:lnTo>
                      <a:pt x="174" y="54"/>
                    </a:lnTo>
                    <a:lnTo>
                      <a:pt x="174" y="52"/>
                    </a:lnTo>
                    <a:lnTo>
                      <a:pt x="174" y="50"/>
                    </a:lnTo>
                    <a:lnTo>
                      <a:pt x="174" y="48"/>
                    </a:lnTo>
                    <a:lnTo>
                      <a:pt x="174" y="44"/>
                    </a:lnTo>
                    <a:lnTo>
                      <a:pt x="174" y="44"/>
                    </a:lnTo>
                    <a:lnTo>
                      <a:pt x="174" y="42"/>
                    </a:lnTo>
                    <a:lnTo>
                      <a:pt x="174" y="42"/>
                    </a:lnTo>
                    <a:lnTo>
                      <a:pt x="176" y="38"/>
                    </a:lnTo>
                    <a:lnTo>
                      <a:pt x="178" y="36"/>
                    </a:lnTo>
                    <a:lnTo>
                      <a:pt x="178" y="36"/>
                    </a:lnTo>
                    <a:lnTo>
                      <a:pt x="180" y="34"/>
                    </a:lnTo>
                    <a:lnTo>
                      <a:pt x="182" y="34"/>
                    </a:lnTo>
                    <a:lnTo>
                      <a:pt x="184" y="32"/>
                    </a:lnTo>
                    <a:lnTo>
                      <a:pt x="184" y="32"/>
                    </a:lnTo>
                    <a:lnTo>
                      <a:pt x="184" y="32"/>
                    </a:lnTo>
                    <a:lnTo>
                      <a:pt x="184" y="30"/>
                    </a:lnTo>
                    <a:lnTo>
                      <a:pt x="184" y="30"/>
                    </a:lnTo>
                    <a:lnTo>
                      <a:pt x="184" y="26"/>
                    </a:lnTo>
                    <a:lnTo>
                      <a:pt x="182" y="24"/>
                    </a:lnTo>
                    <a:lnTo>
                      <a:pt x="182" y="22"/>
                    </a:lnTo>
                    <a:lnTo>
                      <a:pt x="182" y="22"/>
                    </a:lnTo>
                    <a:lnTo>
                      <a:pt x="180" y="22"/>
                    </a:lnTo>
                    <a:lnTo>
                      <a:pt x="180" y="22"/>
                    </a:lnTo>
                    <a:lnTo>
                      <a:pt x="178" y="22"/>
                    </a:lnTo>
                    <a:lnTo>
                      <a:pt x="178" y="20"/>
                    </a:lnTo>
                    <a:lnTo>
                      <a:pt x="176" y="18"/>
                    </a:lnTo>
                    <a:lnTo>
                      <a:pt x="176" y="16"/>
                    </a:lnTo>
                    <a:lnTo>
                      <a:pt x="176" y="16"/>
                    </a:lnTo>
                    <a:lnTo>
                      <a:pt x="174" y="14"/>
                    </a:lnTo>
                    <a:lnTo>
                      <a:pt x="174" y="12"/>
                    </a:lnTo>
                    <a:lnTo>
                      <a:pt x="172" y="8"/>
                    </a:lnTo>
                    <a:lnTo>
                      <a:pt x="170" y="6"/>
                    </a:lnTo>
                    <a:lnTo>
                      <a:pt x="170" y="6"/>
                    </a:lnTo>
                    <a:lnTo>
                      <a:pt x="166" y="4"/>
                    </a:lnTo>
                    <a:lnTo>
                      <a:pt x="164" y="2"/>
                    </a:lnTo>
                    <a:lnTo>
                      <a:pt x="164" y="2"/>
                    </a:lnTo>
                    <a:lnTo>
                      <a:pt x="162" y="4"/>
                    </a:lnTo>
                    <a:lnTo>
                      <a:pt x="162" y="4"/>
                    </a:lnTo>
                    <a:lnTo>
                      <a:pt x="160" y="6"/>
                    </a:lnTo>
                    <a:lnTo>
                      <a:pt x="158" y="6"/>
                    </a:lnTo>
                    <a:lnTo>
                      <a:pt x="156" y="8"/>
                    </a:lnTo>
                    <a:lnTo>
                      <a:pt x="152" y="8"/>
                    </a:lnTo>
                    <a:lnTo>
                      <a:pt x="152" y="8"/>
                    </a:lnTo>
                    <a:lnTo>
                      <a:pt x="148" y="10"/>
                    </a:lnTo>
                    <a:lnTo>
                      <a:pt x="146" y="10"/>
                    </a:lnTo>
                    <a:lnTo>
                      <a:pt x="142" y="12"/>
                    </a:lnTo>
                    <a:lnTo>
                      <a:pt x="140" y="12"/>
                    </a:lnTo>
                    <a:lnTo>
                      <a:pt x="138" y="12"/>
                    </a:lnTo>
                    <a:lnTo>
                      <a:pt x="138" y="12"/>
                    </a:lnTo>
                    <a:lnTo>
                      <a:pt x="136" y="10"/>
                    </a:lnTo>
                    <a:lnTo>
                      <a:pt x="132" y="10"/>
                    </a:lnTo>
                    <a:lnTo>
                      <a:pt x="130" y="8"/>
                    </a:lnTo>
                    <a:lnTo>
                      <a:pt x="126" y="8"/>
                    </a:lnTo>
                    <a:lnTo>
                      <a:pt x="126" y="8"/>
                    </a:lnTo>
                    <a:lnTo>
                      <a:pt x="124" y="8"/>
                    </a:lnTo>
                    <a:lnTo>
                      <a:pt x="122" y="8"/>
                    </a:lnTo>
                    <a:lnTo>
                      <a:pt x="120" y="10"/>
                    </a:lnTo>
                    <a:lnTo>
                      <a:pt x="116" y="10"/>
                    </a:lnTo>
                    <a:lnTo>
                      <a:pt x="116" y="10"/>
                    </a:lnTo>
                    <a:lnTo>
                      <a:pt x="114" y="12"/>
                    </a:lnTo>
                    <a:lnTo>
                      <a:pt x="112" y="14"/>
                    </a:lnTo>
                    <a:lnTo>
                      <a:pt x="112" y="16"/>
                    </a:lnTo>
                    <a:lnTo>
                      <a:pt x="110" y="16"/>
                    </a:lnTo>
                    <a:lnTo>
                      <a:pt x="110" y="16"/>
                    </a:lnTo>
                    <a:lnTo>
                      <a:pt x="106" y="16"/>
                    </a:lnTo>
                    <a:lnTo>
                      <a:pt x="104" y="16"/>
                    </a:lnTo>
                    <a:lnTo>
                      <a:pt x="100" y="16"/>
                    </a:lnTo>
                    <a:lnTo>
                      <a:pt x="98" y="16"/>
                    </a:lnTo>
                    <a:lnTo>
                      <a:pt x="94" y="14"/>
                    </a:lnTo>
                    <a:lnTo>
                      <a:pt x="90" y="12"/>
                    </a:lnTo>
                    <a:lnTo>
                      <a:pt x="90" y="12"/>
                    </a:lnTo>
                    <a:lnTo>
                      <a:pt x="84" y="10"/>
                    </a:lnTo>
                    <a:lnTo>
                      <a:pt x="80" y="8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76" y="8"/>
                    </a:lnTo>
                    <a:lnTo>
                      <a:pt x="74" y="8"/>
                    </a:lnTo>
                    <a:lnTo>
                      <a:pt x="74" y="10"/>
                    </a:lnTo>
                    <a:lnTo>
                      <a:pt x="72" y="12"/>
                    </a:lnTo>
                    <a:lnTo>
                      <a:pt x="72" y="12"/>
                    </a:lnTo>
                    <a:lnTo>
                      <a:pt x="70" y="12"/>
                    </a:lnTo>
                    <a:lnTo>
                      <a:pt x="70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6" y="10"/>
                    </a:lnTo>
                    <a:lnTo>
                      <a:pt x="62" y="6"/>
                    </a:lnTo>
                    <a:lnTo>
                      <a:pt x="62" y="6"/>
                    </a:lnTo>
                    <a:lnTo>
                      <a:pt x="60" y="4"/>
                    </a:lnTo>
                    <a:lnTo>
                      <a:pt x="58" y="2"/>
                    </a:lnTo>
                    <a:lnTo>
                      <a:pt x="56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2" y="0"/>
                    </a:lnTo>
                    <a:lnTo>
                      <a:pt x="48" y="0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8" y="0"/>
                    </a:lnTo>
                    <a:lnTo>
                      <a:pt x="34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28" y="4"/>
                    </a:lnTo>
                    <a:lnTo>
                      <a:pt x="28" y="8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6" y="12"/>
                    </a:lnTo>
                    <a:lnTo>
                      <a:pt x="26" y="14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2" y="20"/>
                    </a:lnTo>
                    <a:lnTo>
                      <a:pt x="20" y="22"/>
                    </a:lnTo>
                    <a:lnTo>
                      <a:pt x="18" y="24"/>
                    </a:lnTo>
                    <a:lnTo>
                      <a:pt x="14" y="24"/>
                    </a:lnTo>
                    <a:lnTo>
                      <a:pt x="14" y="24"/>
                    </a:lnTo>
                    <a:lnTo>
                      <a:pt x="14" y="30"/>
                    </a:lnTo>
                    <a:lnTo>
                      <a:pt x="14" y="32"/>
                    </a:lnTo>
                    <a:lnTo>
                      <a:pt x="14" y="34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8" y="38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42"/>
                    </a:lnTo>
                    <a:lnTo>
                      <a:pt x="18" y="44"/>
                    </a:lnTo>
                    <a:lnTo>
                      <a:pt x="18" y="46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6" y="50"/>
                    </a:lnTo>
                    <a:lnTo>
                      <a:pt x="16" y="52"/>
                    </a:lnTo>
                    <a:lnTo>
                      <a:pt x="16" y="54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6" y="60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2" y="66"/>
                    </a:lnTo>
                    <a:lnTo>
                      <a:pt x="10" y="68"/>
                    </a:lnTo>
                    <a:lnTo>
                      <a:pt x="10" y="70"/>
                    </a:lnTo>
                    <a:lnTo>
                      <a:pt x="10" y="70"/>
                    </a:lnTo>
                    <a:lnTo>
                      <a:pt x="8" y="72"/>
                    </a:lnTo>
                    <a:lnTo>
                      <a:pt x="8" y="74"/>
                    </a:lnTo>
                    <a:lnTo>
                      <a:pt x="6" y="76"/>
                    </a:lnTo>
                    <a:lnTo>
                      <a:pt x="6" y="76"/>
                    </a:lnTo>
                    <a:lnTo>
                      <a:pt x="6" y="78"/>
                    </a:lnTo>
                    <a:lnTo>
                      <a:pt x="4" y="80"/>
                    </a:lnTo>
                    <a:lnTo>
                      <a:pt x="2" y="84"/>
                    </a:lnTo>
                    <a:lnTo>
                      <a:pt x="0" y="84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94"/>
                    </a:lnTo>
                    <a:lnTo>
                      <a:pt x="0" y="100"/>
                    </a:lnTo>
                    <a:lnTo>
                      <a:pt x="0" y="100"/>
                    </a:lnTo>
                    <a:lnTo>
                      <a:pt x="0" y="106"/>
                    </a:lnTo>
                    <a:lnTo>
                      <a:pt x="0" y="110"/>
                    </a:lnTo>
                    <a:lnTo>
                      <a:pt x="0" y="112"/>
                    </a:lnTo>
                    <a:lnTo>
                      <a:pt x="0" y="112"/>
                    </a:lnTo>
                    <a:lnTo>
                      <a:pt x="0" y="118"/>
                    </a:lnTo>
                    <a:lnTo>
                      <a:pt x="0" y="122"/>
                    </a:lnTo>
                    <a:lnTo>
                      <a:pt x="0" y="122"/>
                    </a:lnTo>
                    <a:lnTo>
                      <a:pt x="0" y="122"/>
                    </a:lnTo>
                    <a:lnTo>
                      <a:pt x="0" y="122"/>
                    </a:lnTo>
                    <a:lnTo>
                      <a:pt x="4" y="122"/>
                    </a:lnTo>
                    <a:lnTo>
                      <a:pt x="6" y="120"/>
                    </a:lnTo>
                    <a:lnTo>
                      <a:pt x="10" y="120"/>
                    </a:lnTo>
                    <a:lnTo>
                      <a:pt x="10" y="120"/>
                    </a:lnTo>
                    <a:lnTo>
                      <a:pt x="12" y="120"/>
                    </a:lnTo>
                    <a:lnTo>
                      <a:pt x="16" y="120"/>
                    </a:lnTo>
                    <a:lnTo>
                      <a:pt x="18" y="120"/>
                    </a:lnTo>
                    <a:lnTo>
                      <a:pt x="22" y="120"/>
                    </a:lnTo>
                    <a:lnTo>
                      <a:pt x="22" y="120"/>
                    </a:lnTo>
                    <a:lnTo>
                      <a:pt x="24" y="120"/>
                    </a:lnTo>
                    <a:lnTo>
                      <a:pt x="24" y="122"/>
                    </a:lnTo>
                    <a:lnTo>
                      <a:pt x="28" y="124"/>
                    </a:lnTo>
                    <a:lnTo>
                      <a:pt x="28" y="124"/>
                    </a:lnTo>
                    <a:lnTo>
                      <a:pt x="34" y="126"/>
                    </a:lnTo>
                    <a:lnTo>
                      <a:pt x="36" y="128"/>
                    </a:lnTo>
                    <a:lnTo>
                      <a:pt x="38" y="130"/>
                    </a:lnTo>
                    <a:lnTo>
                      <a:pt x="38" y="130"/>
                    </a:lnTo>
                    <a:lnTo>
                      <a:pt x="38" y="132"/>
                    </a:lnTo>
                    <a:lnTo>
                      <a:pt x="40" y="134"/>
                    </a:lnTo>
                    <a:lnTo>
                      <a:pt x="40" y="136"/>
                    </a:lnTo>
                    <a:lnTo>
                      <a:pt x="40" y="136"/>
                    </a:lnTo>
                    <a:lnTo>
                      <a:pt x="42" y="138"/>
                    </a:lnTo>
                    <a:lnTo>
                      <a:pt x="44" y="138"/>
                    </a:lnTo>
                    <a:lnTo>
                      <a:pt x="44" y="138"/>
                    </a:lnTo>
                    <a:lnTo>
                      <a:pt x="46" y="138"/>
                    </a:lnTo>
                    <a:lnTo>
                      <a:pt x="48" y="138"/>
                    </a:lnTo>
                    <a:lnTo>
                      <a:pt x="48" y="138"/>
                    </a:lnTo>
                    <a:lnTo>
                      <a:pt x="48" y="138"/>
                    </a:lnTo>
                    <a:lnTo>
                      <a:pt x="48" y="140"/>
                    </a:lnTo>
                    <a:lnTo>
                      <a:pt x="48" y="140"/>
                    </a:lnTo>
                    <a:lnTo>
                      <a:pt x="48" y="144"/>
                    </a:lnTo>
                    <a:lnTo>
                      <a:pt x="48" y="144"/>
                    </a:lnTo>
                    <a:lnTo>
                      <a:pt x="50" y="146"/>
                    </a:lnTo>
                    <a:lnTo>
                      <a:pt x="50" y="148"/>
                    </a:lnTo>
                    <a:lnTo>
                      <a:pt x="52" y="148"/>
                    </a:lnTo>
                    <a:lnTo>
                      <a:pt x="56" y="150"/>
                    </a:lnTo>
                    <a:lnTo>
                      <a:pt x="56" y="150"/>
                    </a:lnTo>
                    <a:lnTo>
                      <a:pt x="60" y="152"/>
                    </a:lnTo>
                    <a:lnTo>
                      <a:pt x="62" y="152"/>
                    </a:lnTo>
                    <a:lnTo>
                      <a:pt x="66" y="152"/>
                    </a:lnTo>
                    <a:lnTo>
                      <a:pt x="66" y="152"/>
                    </a:lnTo>
                    <a:lnTo>
                      <a:pt x="66" y="152"/>
                    </a:lnTo>
                    <a:lnTo>
                      <a:pt x="68" y="152"/>
                    </a:lnTo>
                    <a:lnTo>
                      <a:pt x="70" y="150"/>
                    </a:lnTo>
                    <a:lnTo>
                      <a:pt x="70" y="150"/>
                    </a:lnTo>
                    <a:lnTo>
                      <a:pt x="72" y="150"/>
                    </a:lnTo>
                    <a:lnTo>
                      <a:pt x="74" y="150"/>
                    </a:lnTo>
                    <a:lnTo>
                      <a:pt x="74" y="150"/>
                    </a:lnTo>
                    <a:lnTo>
                      <a:pt x="80" y="150"/>
                    </a:lnTo>
                    <a:lnTo>
                      <a:pt x="88" y="150"/>
                    </a:lnTo>
                    <a:lnTo>
                      <a:pt x="88" y="150"/>
                    </a:lnTo>
                    <a:lnTo>
                      <a:pt x="90" y="150"/>
                    </a:lnTo>
                    <a:lnTo>
                      <a:pt x="90" y="150"/>
                    </a:lnTo>
                    <a:lnTo>
                      <a:pt x="92" y="148"/>
                    </a:lnTo>
                    <a:lnTo>
                      <a:pt x="92" y="148"/>
                    </a:lnTo>
                    <a:lnTo>
                      <a:pt x="94" y="148"/>
                    </a:lnTo>
                    <a:lnTo>
                      <a:pt x="94" y="146"/>
                    </a:lnTo>
                    <a:lnTo>
                      <a:pt x="94" y="146"/>
                    </a:lnTo>
                    <a:lnTo>
                      <a:pt x="94" y="146"/>
                    </a:lnTo>
                    <a:lnTo>
                      <a:pt x="96" y="144"/>
                    </a:lnTo>
                    <a:lnTo>
                      <a:pt x="96" y="142"/>
                    </a:lnTo>
                    <a:lnTo>
                      <a:pt x="96" y="142"/>
                    </a:lnTo>
                    <a:lnTo>
                      <a:pt x="96" y="142"/>
                    </a:lnTo>
                    <a:lnTo>
                      <a:pt x="96" y="142"/>
                    </a:lnTo>
                    <a:lnTo>
                      <a:pt x="96" y="142"/>
                    </a:lnTo>
                    <a:lnTo>
                      <a:pt x="96" y="14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36" name="Freeform 660"/>
              <p:cNvSpPr>
                <a:spLocks/>
              </p:cNvSpPr>
              <p:nvPr/>
            </p:nvSpPr>
            <p:spPr bwMode="auto">
              <a:xfrm>
                <a:off x="2853" y="2618"/>
                <a:ext cx="130" cy="182"/>
              </a:xfrm>
              <a:custGeom>
                <a:avLst/>
                <a:gdLst>
                  <a:gd name="T0" fmla="*/ 98 w 130"/>
                  <a:gd name="T1" fmla="*/ 180 h 182"/>
                  <a:gd name="T2" fmla="*/ 108 w 130"/>
                  <a:gd name="T3" fmla="*/ 180 h 182"/>
                  <a:gd name="T4" fmla="*/ 114 w 130"/>
                  <a:gd name="T5" fmla="*/ 182 h 182"/>
                  <a:gd name="T6" fmla="*/ 122 w 130"/>
                  <a:gd name="T7" fmla="*/ 176 h 182"/>
                  <a:gd name="T8" fmla="*/ 128 w 130"/>
                  <a:gd name="T9" fmla="*/ 168 h 182"/>
                  <a:gd name="T10" fmla="*/ 130 w 130"/>
                  <a:gd name="T11" fmla="*/ 160 h 182"/>
                  <a:gd name="T12" fmla="*/ 120 w 130"/>
                  <a:gd name="T13" fmla="*/ 158 h 182"/>
                  <a:gd name="T14" fmla="*/ 112 w 130"/>
                  <a:gd name="T15" fmla="*/ 154 h 182"/>
                  <a:gd name="T16" fmla="*/ 110 w 130"/>
                  <a:gd name="T17" fmla="*/ 146 h 182"/>
                  <a:gd name="T18" fmla="*/ 104 w 130"/>
                  <a:gd name="T19" fmla="*/ 142 h 182"/>
                  <a:gd name="T20" fmla="*/ 104 w 130"/>
                  <a:gd name="T21" fmla="*/ 136 h 182"/>
                  <a:gd name="T22" fmla="*/ 100 w 130"/>
                  <a:gd name="T23" fmla="*/ 128 h 182"/>
                  <a:gd name="T24" fmla="*/ 100 w 130"/>
                  <a:gd name="T25" fmla="*/ 120 h 182"/>
                  <a:gd name="T26" fmla="*/ 108 w 130"/>
                  <a:gd name="T27" fmla="*/ 104 h 182"/>
                  <a:gd name="T28" fmla="*/ 116 w 130"/>
                  <a:gd name="T29" fmla="*/ 86 h 182"/>
                  <a:gd name="T30" fmla="*/ 110 w 130"/>
                  <a:gd name="T31" fmla="*/ 76 h 182"/>
                  <a:gd name="T32" fmla="*/ 102 w 130"/>
                  <a:gd name="T33" fmla="*/ 66 h 182"/>
                  <a:gd name="T34" fmla="*/ 90 w 130"/>
                  <a:gd name="T35" fmla="*/ 60 h 182"/>
                  <a:gd name="T36" fmla="*/ 86 w 130"/>
                  <a:gd name="T37" fmla="*/ 52 h 182"/>
                  <a:gd name="T38" fmla="*/ 92 w 130"/>
                  <a:gd name="T39" fmla="*/ 48 h 182"/>
                  <a:gd name="T40" fmla="*/ 104 w 130"/>
                  <a:gd name="T41" fmla="*/ 46 h 182"/>
                  <a:gd name="T42" fmla="*/ 108 w 130"/>
                  <a:gd name="T43" fmla="*/ 38 h 182"/>
                  <a:gd name="T44" fmla="*/ 106 w 130"/>
                  <a:gd name="T45" fmla="*/ 26 h 182"/>
                  <a:gd name="T46" fmla="*/ 104 w 130"/>
                  <a:gd name="T47" fmla="*/ 20 h 182"/>
                  <a:gd name="T48" fmla="*/ 106 w 130"/>
                  <a:gd name="T49" fmla="*/ 14 h 182"/>
                  <a:gd name="T50" fmla="*/ 100 w 130"/>
                  <a:gd name="T51" fmla="*/ 8 h 182"/>
                  <a:gd name="T52" fmla="*/ 94 w 130"/>
                  <a:gd name="T53" fmla="*/ 2 h 182"/>
                  <a:gd name="T54" fmla="*/ 90 w 130"/>
                  <a:gd name="T55" fmla="*/ 6 h 182"/>
                  <a:gd name="T56" fmla="*/ 88 w 130"/>
                  <a:gd name="T57" fmla="*/ 12 h 182"/>
                  <a:gd name="T58" fmla="*/ 90 w 130"/>
                  <a:gd name="T59" fmla="*/ 20 h 182"/>
                  <a:gd name="T60" fmla="*/ 88 w 130"/>
                  <a:gd name="T61" fmla="*/ 24 h 182"/>
                  <a:gd name="T62" fmla="*/ 80 w 130"/>
                  <a:gd name="T63" fmla="*/ 32 h 182"/>
                  <a:gd name="T64" fmla="*/ 80 w 130"/>
                  <a:gd name="T65" fmla="*/ 40 h 182"/>
                  <a:gd name="T66" fmla="*/ 76 w 130"/>
                  <a:gd name="T67" fmla="*/ 46 h 182"/>
                  <a:gd name="T68" fmla="*/ 70 w 130"/>
                  <a:gd name="T69" fmla="*/ 54 h 182"/>
                  <a:gd name="T70" fmla="*/ 70 w 130"/>
                  <a:gd name="T71" fmla="*/ 62 h 182"/>
                  <a:gd name="T72" fmla="*/ 62 w 130"/>
                  <a:gd name="T73" fmla="*/ 72 h 182"/>
                  <a:gd name="T74" fmla="*/ 54 w 130"/>
                  <a:gd name="T75" fmla="*/ 88 h 182"/>
                  <a:gd name="T76" fmla="*/ 46 w 130"/>
                  <a:gd name="T77" fmla="*/ 100 h 182"/>
                  <a:gd name="T78" fmla="*/ 42 w 130"/>
                  <a:gd name="T79" fmla="*/ 104 h 182"/>
                  <a:gd name="T80" fmla="*/ 32 w 130"/>
                  <a:gd name="T81" fmla="*/ 100 h 182"/>
                  <a:gd name="T82" fmla="*/ 20 w 130"/>
                  <a:gd name="T83" fmla="*/ 102 h 182"/>
                  <a:gd name="T84" fmla="*/ 14 w 130"/>
                  <a:gd name="T85" fmla="*/ 102 h 182"/>
                  <a:gd name="T86" fmla="*/ 12 w 130"/>
                  <a:gd name="T87" fmla="*/ 104 h 182"/>
                  <a:gd name="T88" fmla="*/ 6 w 130"/>
                  <a:gd name="T89" fmla="*/ 112 h 182"/>
                  <a:gd name="T90" fmla="*/ 6 w 130"/>
                  <a:gd name="T91" fmla="*/ 122 h 182"/>
                  <a:gd name="T92" fmla="*/ 4 w 130"/>
                  <a:gd name="T93" fmla="*/ 130 h 182"/>
                  <a:gd name="T94" fmla="*/ 0 w 130"/>
                  <a:gd name="T95" fmla="*/ 136 h 182"/>
                  <a:gd name="T96" fmla="*/ 4 w 130"/>
                  <a:gd name="T97" fmla="*/ 136 h 182"/>
                  <a:gd name="T98" fmla="*/ 6 w 130"/>
                  <a:gd name="T99" fmla="*/ 144 h 182"/>
                  <a:gd name="T100" fmla="*/ 12 w 130"/>
                  <a:gd name="T101" fmla="*/ 148 h 182"/>
                  <a:gd name="T102" fmla="*/ 18 w 130"/>
                  <a:gd name="T103" fmla="*/ 148 h 182"/>
                  <a:gd name="T104" fmla="*/ 18 w 130"/>
                  <a:gd name="T105" fmla="*/ 152 h 182"/>
                  <a:gd name="T106" fmla="*/ 22 w 130"/>
                  <a:gd name="T107" fmla="*/ 154 h 182"/>
                  <a:gd name="T108" fmla="*/ 20 w 130"/>
                  <a:gd name="T109" fmla="*/ 158 h 182"/>
                  <a:gd name="T110" fmla="*/ 20 w 130"/>
                  <a:gd name="T111" fmla="*/ 158 h 182"/>
                  <a:gd name="T112" fmla="*/ 24 w 130"/>
                  <a:gd name="T113" fmla="*/ 166 h 182"/>
                  <a:gd name="T114" fmla="*/ 24 w 130"/>
                  <a:gd name="T115" fmla="*/ 178 h 182"/>
                  <a:gd name="T116" fmla="*/ 76 w 130"/>
                  <a:gd name="T117" fmla="*/ 178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30" h="182">
                    <a:moveTo>
                      <a:pt x="76" y="178"/>
                    </a:moveTo>
                    <a:lnTo>
                      <a:pt x="76" y="178"/>
                    </a:lnTo>
                    <a:lnTo>
                      <a:pt x="80" y="180"/>
                    </a:lnTo>
                    <a:lnTo>
                      <a:pt x="86" y="180"/>
                    </a:lnTo>
                    <a:lnTo>
                      <a:pt x="98" y="180"/>
                    </a:lnTo>
                    <a:lnTo>
                      <a:pt x="98" y="180"/>
                    </a:lnTo>
                    <a:lnTo>
                      <a:pt x="102" y="178"/>
                    </a:lnTo>
                    <a:lnTo>
                      <a:pt x="104" y="178"/>
                    </a:lnTo>
                    <a:lnTo>
                      <a:pt x="108" y="180"/>
                    </a:lnTo>
                    <a:lnTo>
                      <a:pt x="108" y="180"/>
                    </a:lnTo>
                    <a:lnTo>
                      <a:pt x="108" y="180"/>
                    </a:lnTo>
                    <a:lnTo>
                      <a:pt x="110" y="180"/>
                    </a:lnTo>
                    <a:lnTo>
                      <a:pt x="112" y="182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6" y="182"/>
                    </a:lnTo>
                    <a:lnTo>
                      <a:pt x="118" y="182"/>
                    </a:lnTo>
                    <a:lnTo>
                      <a:pt x="118" y="182"/>
                    </a:lnTo>
                    <a:lnTo>
                      <a:pt x="120" y="180"/>
                    </a:lnTo>
                    <a:lnTo>
                      <a:pt x="122" y="176"/>
                    </a:lnTo>
                    <a:lnTo>
                      <a:pt x="122" y="174"/>
                    </a:lnTo>
                    <a:lnTo>
                      <a:pt x="124" y="172"/>
                    </a:lnTo>
                    <a:lnTo>
                      <a:pt x="124" y="172"/>
                    </a:lnTo>
                    <a:lnTo>
                      <a:pt x="126" y="170"/>
                    </a:lnTo>
                    <a:lnTo>
                      <a:pt x="128" y="168"/>
                    </a:lnTo>
                    <a:lnTo>
                      <a:pt x="128" y="166"/>
                    </a:lnTo>
                    <a:lnTo>
                      <a:pt x="128" y="166"/>
                    </a:lnTo>
                    <a:lnTo>
                      <a:pt x="130" y="164"/>
                    </a:lnTo>
                    <a:lnTo>
                      <a:pt x="130" y="160"/>
                    </a:lnTo>
                    <a:lnTo>
                      <a:pt x="130" y="160"/>
                    </a:lnTo>
                    <a:lnTo>
                      <a:pt x="128" y="160"/>
                    </a:lnTo>
                    <a:lnTo>
                      <a:pt x="126" y="160"/>
                    </a:lnTo>
                    <a:lnTo>
                      <a:pt x="126" y="160"/>
                    </a:lnTo>
                    <a:lnTo>
                      <a:pt x="124" y="160"/>
                    </a:lnTo>
                    <a:lnTo>
                      <a:pt x="120" y="158"/>
                    </a:lnTo>
                    <a:lnTo>
                      <a:pt x="118" y="158"/>
                    </a:lnTo>
                    <a:lnTo>
                      <a:pt x="116" y="158"/>
                    </a:lnTo>
                    <a:lnTo>
                      <a:pt x="116" y="158"/>
                    </a:lnTo>
                    <a:lnTo>
                      <a:pt x="114" y="156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2"/>
                    </a:lnTo>
                    <a:lnTo>
                      <a:pt x="110" y="148"/>
                    </a:lnTo>
                    <a:lnTo>
                      <a:pt x="110" y="148"/>
                    </a:lnTo>
                    <a:lnTo>
                      <a:pt x="110" y="146"/>
                    </a:lnTo>
                    <a:lnTo>
                      <a:pt x="110" y="146"/>
                    </a:lnTo>
                    <a:lnTo>
                      <a:pt x="108" y="146"/>
                    </a:lnTo>
                    <a:lnTo>
                      <a:pt x="108" y="144"/>
                    </a:lnTo>
                    <a:lnTo>
                      <a:pt x="106" y="144"/>
                    </a:lnTo>
                    <a:lnTo>
                      <a:pt x="104" y="142"/>
                    </a:lnTo>
                    <a:lnTo>
                      <a:pt x="104" y="142"/>
                    </a:lnTo>
                    <a:lnTo>
                      <a:pt x="104" y="140"/>
                    </a:lnTo>
                    <a:lnTo>
                      <a:pt x="104" y="140"/>
                    </a:lnTo>
                    <a:lnTo>
                      <a:pt x="104" y="138"/>
                    </a:lnTo>
                    <a:lnTo>
                      <a:pt x="104" y="136"/>
                    </a:lnTo>
                    <a:lnTo>
                      <a:pt x="104" y="136"/>
                    </a:lnTo>
                    <a:lnTo>
                      <a:pt x="104" y="134"/>
                    </a:lnTo>
                    <a:lnTo>
                      <a:pt x="104" y="134"/>
                    </a:lnTo>
                    <a:lnTo>
                      <a:pt x="102" y="132"/>
                    </a:lnTo>
                    <a:lnTo>
                      <a:pt x="100" y="128"/>
                    </a:lnTo>
                    <a:lnTo>
                      <a:pt x="100" y="128"/>
                    </a:lnTo>
                    <a:lnTo>
                      <a:pt x="100" y="126"/>
                    </a:lnTo>
                    <a:lnTo>
                      <a:pt x="100" y="126"/>
                    </a:lnTo>
                    <a:lnTo>
                      <a:pt x="100" y="122"/>
                    </a:lnTo>
                    <a:lnTo>
                      <a:pt x="100" y="120"/>
                    </a:lnTo>
                    <a:lnTo>
                      <a:pt x="100" y="116"/>
                    </a:lnTo>
                    <a:lnTo>
                      <a:pt x="102" y="114"/>
                    </a:lnTo>
                    <a:lnTo>
                      <a:pt x="104" y="110"/>
                    </a:lnTo>
                    <a:lnTo>
                      <a:pt x="106" y="106"/>
                    </a:lnTo>
                    <a:lnTo>
                      <a:pt x="108" y="104"/>
                    </a:lnTo>
                    <a:lnTo>
                      <a:pt x="108" y="104"/>
                    </a:lnTo>
                    <a:lnTo>
                      <a:pt x="110" y="98"/>
                    </a:lnTo>
                    <a:lnTo>
                      <a:pt x="112" y="94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4" y="84"/>
                    </a:lnTo>
                    <a:lnTo>
                      <a:pt x="112" y="82"/>
                    </a:lnTo>
                    <a:lnTo>
                      <a:pt x="110" y="78"/>
                    </a:lnTo>
                    <a:lnTo>
                      <a:pt x="110" y="76"/>
                    </a:lnTo>
                    <a:lnTo>
                      <a:pt x="108" y="72"/>
                    </a:lnTo>
                    <a:lnTo>
                      <a:pt x="106" y="68"/>
                    </a:lnTo>
                    <a:lnTo>
                      <a:pt x="104" y="66"/>
                    </a:lnTo>
                    <a:lnTo>
                      <a:pt x="104" y="66"/>
                    </a:lnTo>
                    <a:lnTo>
                      <a:pt x="102" y="66"/>
                    </a:lnTo>
                    <a:lnTo>
                      <a:pt x="100" y="64"/>
                    </a:lnTo>
                    <a:lnTo>
                      <a:pt x="96" y="62"/>
                    </a:lnTo>
                    <a:lnTo>
                      <a:pt x="94" y="62"/>
                    </a:lnTo>
                    <a:lnTo>
                      <a:pt x="92" y="60"/>
                    </a:lnTo>
                    <a:lnTo>
                      <a:pt x="90" y="60"/>
                    </a:lnTo>
                    <a:lnTo>
                      <a:pt x="88" y="58"/>
                    </a:lnTo>
                    <a:lnTo>
                      <a:pt x="88" y="58"/>
                    </a:lnTo>
                    <a:lnTo>
                      <a:pt x="86" y="56"/>
                    </a:lnTo>
                    <a:lnTo>
                      <a:pt x="86" y="54"/>
                    </a:lnTo>
                    <a:lnTo>
                      <a:pt x="86" y="52"/>
                    </a:lnTo>
                    <a:lnTo>
                      <a:pt x="86" y="52"/>
                    </a:lnTo>
                    <a:lnTo>
                      <a:pt x="88" y="50"/>
                    </a:lnTo>
                    <a:lnTo>
                      <a:pt x="88" y="50"/>
                    </a:lnTo>
                    <a:lnTo>
                      <a:pt x="90" y="48"/>
                    </a:lnTo>
                    <a:lnTo>
                      <a:pt x="92" y="48"/>
                    </a:lnTo>
                    <a:lnTo>
                      <a:pt x="96" y="48"/>
                    </a:lnTo>
                    <a:lnTo>
                      <a:pt x="100" y="46"/>
                    </a:lnTo>
                    <a:lnTo>
                      <a:pt x="100" y="46"/>
                    </a:lnTo>
                    <a:lnTo>
                      <a:pt x="102" y="48"/>
                    </a:lnTo>
                    <a:lnTo>
                      <a:pt x="104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4"/>
                    </a:lnTo>
                    <a:lnTo>
                      <a:pt x="106" y="44"/>
                    </a:lnTo>
                    <a:lnTo>
                      <a:pt x="108" y="38"/>
                    </a:lnTo>
                    <a:lnTo>
                      <a:pt x="108" y="34"/>
                    </a:lnTo>
                    <a:lnTo>
                      <a:pt x="108" y="34"/>
                    </a:lnTo>
                    <a:lnTo>
                      <a:pt x="108" y="30"/>
                    </a:lnTo>
                    <a:lnTo>
                      <a:pt x="108" y="28"/>
                    </a:lnTo>
                    <a:lnTo>
                      <a:pt x="106" y="26"/>
                    </a:lnTo>
                    <a:lnTo>
                      <a:pt x="104" y="24"/>
                    </a:lnTo>
                    <a:lnTo>
                      <a:pt x="104" y="24"/>
                    </a:lnTo>
                    <a:lnTo>
                      <a:pt x="104" y="22"/>
                    </a:lnTo>
                    <a:lnTo>
                      <a:pt x="104" y="22"/>
                    </a:lnTo>
                    <a:lnTo>
                      <a:pt x="104" y="20"/>
                    </a:lnTo>
                    <a:lnTo>
                      <a:pt x="104" y="20"/>
                    </a:lnTo>
                    <a:lnTo>
                      <a:pt x="106" y="16"/>
                    </a:lnTo>
                    <a:lnTo>
                      <a:pt x="106" y="16"/>
                    </a:lnTo>
                    <a:lnTo>
                      <a:pt x="106" y="16"/>
                    </a:lnTo>
                    <a:lnTo>
                      <a:pt x="106" y="14"/>
                    </a:lnTo>
                    <a:lnTo>
                      <a:pt x="106" y="14"/>
                    </a:lnTo>
                    <a:lnTo>
                      <a:pt x="106" y="14"/>
                    </a:lnTo>
                    <a:lnTo>
                      <a:pt x="106" y="12"/>
                    </a:lnTo>
                    <a:lnTo>
                      <a:pt x="104" y="10"/>
                    </a:lnTo>
                    <a:lnTo>
                      <a:pt x="100" y="8"/>
                    </a:lnTo>
                    <a:lnTo>
                      <a:pt x="100" y="6"/>
                    </a:lnTo>
                    <a:lnTo>
                      <a:pt x="98" y="4"/>
                    </a:lnTo>
                    <a:lnTo>
                      <a:pt x="98" y="4"/>
                    </a:lnTo>
                    <a:lnTo>
                      <a:pt x="96" y="2"/>
                    </a:lnTo>
                    <a:lnTo>
                      <a:pt x="94" y="2"/>
                    </a:lnTo>
                    <a:lnTo>
                      <a:pt x="92" y="0"/>
                    </a:lnTo>
                    <a:lnTo>
                      <a:pt x="92" y="2"/>
                    </a:lnTo>
                    <a:lnTo>
                      <a:pt x="90" y="2"/>
                    </a:lnTo>
                    <a:lnTo>
                      <a:pt x="90" y="4"/>
                    </a:lnTo>
                    <a:lnTo>
                      <a:pt x="90" y="6"/>
                    </a:lnTo>
                    <a:lnTo>
                      <a:pt x="90" y="6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88" y="12"/>
                    </a:lnTo>
                    <a:lnTo>
                      <a:pt x="88" y="12"/>
                    </a:lnTo>
                    <a:lnTo>
                      <a:pt x="88" y="12"/>
                    </a:lnTo>
                    <a:lnTo>
                      <a:pt x="88" y="12"/>
                    </a:lnTo>
                    <a:lnTo>
                      <a:pt x="88" y="14"/>
                    </a:lnTo>
                    <a:lnTo>
                      <a:pt x="90" y="16"/>
                    </a:lnTo>
                    <a:lnTo>
                      <a:pt x="90" y="20"/>
                    </a:lnTo>
                    <a:lnTo>
                      <a:pt x="90" y="20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88" y="24"/>
                    </a:lnTo>
                    <a:lnTo>
                      <a:pt x="86" y="24"/>
                    </a:lnTo>
                    <a:lnTo>
                      <a:pt x="84" y="26"/>
                    </a:lnTo>
                    <a:lnTo>
                      <a:pt x="84" y="26"/>
                    </a:lnTo>
                    <a:lnTo>
                      <a:pt x="82" y="28"/>
                    </a:lnTo>
                    <a:lnTo>
                      <a:pt x="80" y="32"/>
                    </a:lnTo>
                    <a:lnTo>
                      <a:pt x="80" y="32"/>
                    </a:lnTo>
                    <a:lnTo>
                      <a:pt x="80" y="34"/>
                    </a:lnTo>
                    <a:lnTo>
                      <a:pt x="80" y="34"/>
                    </a:lnTo>
                    <a:lnTo>
                      <a:pt x="80" y="38"/>
                    </a:lnTo>
                    <a:lnTo>
                      <a:pt x="80" y="40"/>
                    </a:lnTo>
                    <a:lnTo>
                      <a:pt x="80" y="42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78" y="46"/>
                    </a:lnTo>
                    <a:lnTo>
                      <a:pt x="76" y="46"/>
                    </a:lnTo>
                    <a:lnTo>
                      <a:pt x="76" y="48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0" y="54"/>
                    </a:lnTo>
                    <a:lnTo>
                      <a:pt x="70" y="54"/>
                    </a:lnTo>
                    <a:lnTo>
                      <a:pt x="70" y="56"/>
                    </a:lnTo>
                    <a:lnTo>
                      <a:pt x="70" y="58"/>
                    </a:lnTo>
                    <a:lnTo>
                      <a:pt x="70" y="62"/>
                    </a:lnTo>
                    <a:lnTo>
                      <a:pt x="70" y="62"/>
                    </a:lnTo>
                    <a:lnTo>
                      <a:pt x="70" y="62"/>
                    </a:lnTo>
                    <a:lnTo>
                      <a:pt x="68" y="64"/>
                    </a:lnTo>
                    <a:lnTo>
                      <a:pt x="66" y="66"/>
                    </a:lnTo>
                    <a:lnTo>
                      <a:pt x="66" y="66"/>
                    </a:lnTo>
                    <a:lnTo>
                      <a:pt x="64" y="70"/>
                    </a:lnTo>
                    <a:lnTo>
                      <a:pt x="62" y="72"/>
                    </a:lnTo>
                    <a:lnTo>
                      <a:pt x="60" y="76"/>
                    </a:lnTo>
                    <a:lnTo>
                      <a:pt x="58" y="78"/>
                    </a:lnTo>
                    <a:lnTo>
                      <a:pt x="58" y="78"/>
                    </a:lnTo>
                    <a:lnTo>
                      <a:pt x="54" y="86"/>
                    </a:lnTo>
                    <a:lnTo>
                      <a:pt x="54" y="88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0" y="94"/>
                    </a:lnTo>
                    <a:lnTo>
                      <a:pt x="48" y="98"/>
                    </a:lnTo>
                    <a:lnTo>
                      <a:pt x="46" y="100"/>
                    </a:lnTo>
                    <a:lnTo>
                      <a:pt x="46" y="102"/>
                    </a:lnTo>
                    <a:lnTo>
                      <a:pt x="44" y="104"/>
                    </a:lnTo>
                    <a:lnTo>
                      <a:pt x="44" y="104"/>
                    </a:lnTo>
                    <a:lnTo>
                      <a:pt x="44" y="104"/>
                    </a:lnTo>
                    <a:lnTo>
                      <a:pt x="42" y="104"/>
                    </a:lnTo>
                    <a:lnTo>
                      <a:pt x="40" y="104"/>
                    </a:lnTo>
                    <a:lnTo>
                      <a:pt x="38" y="104"/>
                    </a:lnTo>
                    <a:lnTo>
                      <a:pt x="36" y="102"/>
                    </a:lnTo>
                    <a:lnTo>
                      <a:pt x="34" y="100"/>
                    </a:lnTo>
                    <a:lnTo>
                      <a:pt x="32" y="100"/>
                    </a:lnTo>
                    <a:lnTo>
                      <a:pt x="32" y="100"/>
                    </a:lnTo>
                    <a:lnTo>
                      <a:pt x="28" y="100"/>
                    </a:lnTo>
                    <a:lnTo>
                      <a:pt x="26" y="100"/>
                    </a:lnTo>
                    <a:lnTo>
                      <a:pt x="22" y="100"/>
                    </a:lnTo>
                    <a:lnTo>
                      <a:pt x="20" y="102"/>
                    </a:lnTo>
                    <a:lnTo>
                      <a:pt x="20" y="102"/>
                    </a:lnTo>
                    <a:lnTo>
                      <a:pt x="18" y="104"/>
                    </a:lnTo>
                    <a:lnTo>
                      <a:pt x="16" y="104"/>
                    </a:lnTo>
                    <a:lnTo>
                      <a:pt x="16" y="104"/>
                    </a:lnTo>
                    <a:lnTo>
                      <a:pt x="14" y="102"/>
                    </a:lnTo>
                    <a:lnTo>
                      <a:pt x="14" y="102"/>
                    </a:lnTo>
                    <a:lnTo>
                      <a:pt x="14" y="102"/>
                    </a:lnTo>
                    <a:lnTo>
                      <a:pt x="14" y="102"/>
                    </a:lnTo>
                    <a:lnTo>
                      <a:pt x="12" y="104"/>
                    </a:lnTo>
                    <a:lnTo>
                      <a:pt x="12" y="104"/>
                    </a:lnTo>
                    <a:lnTo>
                      <a:pt x="10" y="106"/>
                    </a:lnTo>
                    <a:lnTo>
                      <a:pt x="8" y="110"/>
                    </a:lnTo>
                    <a:lnTo>
                      <a:pt x="8" y="110"/>
                    </a:lnTo>
                    <a:lnTo>
                      <a:pt x="8" y="110"/>
                    </a:lnTo>
                    <a:lnTo>
                      <a:pt x="6" y="112"/>
                    </a:lnTo>
                    <a:lnTo>
                      <a:pt x="6" y="114"/>
                    </a:lnTo>
                    <a:lnTo>
                      <a:pt x="6" y="116"/>
                    </a:lnTo>
                    <a:lnTo>
                      <a:pt x="6" y="116"/>
                    </a:lnTo>
                    <a:lnTo>
                      <a:pt x="6" y="120"/>
                    </a:lnTo>
                    <a:lnTo>
                      <a:pt x="6" y="122"/>
                    </a:lnTo>
                    <a:lnTo>
                      <a:pt x="6" y="122"/>
                    </a:lnTo>
                    <a:lnTo>
                      <a:pt x="6" y="122"/>
                    </a:lnTo>
                    <a:lnTo>
                      <a:pt x="6" y="126"/>
                    </a:lnTo>
                    <a:lnTo>
                      <a:pt x="4" y="128"/>
                    </a:lnTo>
                    <a:lnTo>
                      <a:pt x="4" y="130"/>
                    </a:lnTo>
                    <a:lnTo>
                      <a:pt x="2" y="132"/>
                    </a:lnTo>
                    <a:lnTo>
                      <a:pt x="2" y="132"/>
                    </a:lnTo>
                    <a:lnTo>
                      <a:pt x="2" y="132"/>
                    </a:lnTo>
                    <a:lnTo>
                      <a:pt x="2" y="134"/>
                    </a:lnTo>
                    <a:lnTo>
                      <a:pt x="0" y="136"/>
                    </a:lnTo>
                    <a:lnTo>
                      <a:pt x="2" y="136"/>
                    </a:lnTo>
                    <a:lnTo>
                      <a:pt x="2" y="136"/>
                    </a:lnTo>
                    <a:lnTo>
                      <a:pt x="2" y="136"/>
                    </a:lnTo>
                    <a:lnTo>
                      <a:pt x="4" y="136"/>
                    </a:lnTo>
                    <a:lnTo>
                      <a:pt x="4" y="136"/>
                    </a:lnTo>
                    <a:lnTo>
                      <a:pt x="4" y="138"/>
                    </a:lnTo>
                    <a:lnTo>
                      <a:pt x="4" y="140"/>
                    </a:lnTo>
                    <a:lnTo>
                      <a:pt x="6" y="142"/>
                    </a:lnTo>
                    <a:lnTo>
                      <a:pt x="6" y="142"/>
                    </a:lnTo>
                    <a:lnTo>
                      <a:pt x="6" y="144"/>
                    </a:lnTo>
                    <a:lnTo>
                      <a:pt x="8" y="146"/>
                    </a:lnTo>
                    <a:lnTo>
                      <a:pt x="10" y="148"/>
                    </a:lnTo>
                    <a:lnTo>
                      <a:pt x="12" y="148"/>
                    </a:lnTo>
                    <a:lnTo>
                      <a:pt x="12" y="148"/>
                    </a:lnTo>
                    <a:lnTo>
                      <a:pt x="12" y="148"/>
                    </a:lnTo>
                    <a:lnTo>
                      <a:pt x="14" y="148"/>
                    </a:lnTo>
                    <a:lnTo>
                      <a:pt x="16" y="148"/>
                    </a:lnTo>
                    <a:lnTo>
                      <a:pt x="16" y="148"/>
                    </a:lnTo>
                    <a:lnTo>
                      <a:pt x="16" y="148"/>
                    </a:lnTo>
                    <a:lnTo>
                      <a:pt x="18" y="148"/>
                    </a:lnTo>
                    <a:lnTo>
                      <a:pt x="18" y="148"/>
                    </a:lnTo>
                    <a:lnTo>
                      <a:pt x="18" y="150"/>
                    </a:lnTo>
                    <a:lnTo>
                      <a:pt x="18" y="150"/>
                    </a:lnTo>
                    <a:lnTo>
                      <a:pt x="18" y="152"/>
                    </a:lnTo>
                    <a:lnTo>
                      <a:pt x="18" y="152"/>
                    </a:lnTo>
                    <a:lnTo>
                      <a:pt x="20" y="152"/>
                    </a:lnTo>
                    <a:lnTo>
                      <a:pt x="20" y="152"/>
                    </a:lnTo>
                    <a:lnTo>
                      <a:pt x="22" y="154"/>
                    </a:lnTo>
                    <a:lnTo>
                      <a:pt x="22" y="154"/>
                    </a:lnTo>
                    <a:lnTo>
                      <a:pt x="22" y="154"/>
                    </a:lnTo>
                    <a:lnTo>
                      <a:pt x="22" y="154"/>
                    </a:lnTo>
                    <a:lnTo>
                      <a:pt x="22" y="154"/>
                    </a:lnTo>
                    <a:lnTo>
                      <a:pt x="22" y="156"/>
                    </a:lnTo>
                    <a:lnTo>
                      <a:pt x="22" y="156"/>
                    </a:lnTo>
                    <a:lnTo>
                      <a:pt x="20" y="158"/>
                    </a:lnTo>
                    <a:lnTo>
                      <a:pt x="20" y="158"/>
                    </a:lnTo>
                    <a:lnTo>
                      <a:pt x="20" y="158"/>
                    </a:lnTo>
                    <a:lnTo>
                      <a:pt x="20" y="158"/>
                    </a:lnTo>
                    <a:lnTo>
                      <a:pt x="20" y="158"/>
                    </a:lnTo>
                    <a:lnTo>
                      <a:pt x="20" y="158"/>
                    </a:lnTo>
                    <a:lnTo>
                      <a:pt x="22" y="160"/>
                    </a:lnTo>
                    <a:lnTo>
                      <a:pt x="22" y="160"/>
                    </a:lnTo>
                    <a:lnTo>
                      <a:pt x="22" y="160"/>
                    </a:lnTo>
                    <a:lnTo>
                      <a:pt x="24" y="164"/>
                    </a:lnTo>
                    <a:lnTo>
                      <a:pt x="24" y="166"/>
                    </a:lnTo>
                    <a:lnTo>
                      <a:pt x="24" y="166"/>
                    </a:lnTo>
                    <a:lnTo>
                      <a:pt x="24" y="172"/>
                    </a:lnTo>
                    <a:lnTo>
                      <a:pt x="24" y="174"/>
                    </a:lnTo>
                    <a:lnTo>
                      <a:pt x="24" y="178"/>
                    </a:lnTo>
                    <a:lnTo>
                      <a:pt x="24" y="178"/>
                    </a:lnTo>
                    <a:lnTo>
                      <a:pt x="24" y="178"/>
                    </a:lnTo>
                    <a:lnTo>
                      <a:pt x="50" y="178"/>
                    </a:lnTo>
                    <a:lnTo>
                      <a:pt x="62" y="178"/>
                    </a:lnTo>
                    <a:lnTo>
                      <a:pt x="76" y="178"/>
                    </a:lnTo>
                    <a:lnTo>
                      <a:pt x="76" y="178"/>
                    </a:lnTo>
                    <a:lnTo>
                      <a:pt x="76" y="178"/>
                    </a:lnTo>
                    <a:lnTo>
                      <a:pt x="76" y="178"/>
                    </a:lnTo>
                    <a:lnTo>
                      <a:pt x="76" y="178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37" name="Freeform 662"/>
              <p:cNvSpPr>
                <a:spLocks/>
              </p:cNvSpPr>
              <p:nvPr/>
            </p:nvSpPr>
            <p:spPr bwMode="auto">
              <a:xfrm>
                <a:off x="2869" y="2796"/>
                <a:ext cx="34" cy="18"/>
              </a:xfrm>
              <a:custGeom>
                <a:avLst/>
                <a:gdLst>
                  <a:gd name="T0" fmla="*/ 34 w 34"/>
                  <a:gd name="T1" fmla="*/ 0 h 18"/>
                  <a:gd name="T2" fmla="*/ 34 w 34"/>
                  <a:gd name="T3" fmla="*/ 0 h 18"/>
                  <a:gd name="T4" fmla="*/ 8 w 34"/>
                  <a:gd name="T5" fmla="*/ 0 h 18"/>
                  <a:gd name="T6" fmla="*/ 8 w 34"/>
                  <a:gd name="T7" fmla="*/ 0 h 18"/>
                  <a:gd name="T8" fmla="*/ 6 w 34"/>
                  <a:gd name="T9" fmla="*/ 4 h 18"/>
                  <a:gd name="T10" fmla="*/ 6 w 34"/>
                  <a:gd name="T11" fmla="*/ 6 h 18"/>
                  <a:gd name="T12" fmla="*/ 6 w 34"/>
                  <a:gd name="T13" fmla="*/ 6 h 18"/>
                  <a:gd name="T14" fmla="*/ 4 w 34"/>
                  <a:gd name="T15" fmla="*/ 10 h 18"/>
                  <a:gd name="T16" fmla="*/ 2 w 34"/>
                  <a:gd name="T17" fmla="*/ 14 h 18"/>
                  <a:gd name="T18" fmla="*/ 2 w 34"/>
                  <a:gd name="T19" fmla="*/ 14 h 18"/>
                  <a:gd name="T20" fmla="*/ 0 w 34"/>
                  <a:gd name="T21" fmla="*/ 16 h 18"/>
                  <a:gd name="T22" fmla="*/ 0 w 34"/>
                  <a:gd name="T23" fmla="*/ 18 h 18"/>
                  <a:gd name="T24" fmla="*/ 32 w 34"/>
                  <a:gd name="T25" fmla="*/ 18 h 18"/>
                  <a:gd name="T26" fmla="*/ 34 w 34"/>
                  <a:gd name="T27" fmla="*/ 0 h 18"/>
                  <a:gd name="T28" fmla="*/ 34 w 34"/>
                  <a:gd name="T29" fmla="*/ 0 h 18"/>
                  <a:gd name="T30" fmla="*/ 34 w 34"/>
                  <a:gd name="T31" fmla="*/ 0 h 18"/>
                  <a:gd name="T32" fmla="*/ 34 w 34"/>
                  <a:gd name="T3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" h="18">
                    <a:moveTo>
                      <a:pt x="34" y="0"/>
                    </a:moveTo>
                    <a:lnTo>
                      <a:pt x="3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4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4" y="10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18"/>
                    </a:lnTo>
                    <a:lnTo>
                      <a:pt x="32" y="18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38" name="Freeform 664"/>
              <p:cNvSpPr>
                <a:spLocks/>
              </p:cNvSpPr>
              <p:nvPr/>
            </p:nvSpPr>
            <p:spPr bwMode="auto">
              <a:xfrm>
                <a:off x="2855" y="2796"/>
                <a:ext cx="98" cy="96"/>
              </a:xfrm>
              <a:custGeom>
                <a:avLst/>
                <a:gdLst>
                  <a:gd name="T0" fmla="*/ 46 w 98"/>
                  <a:gd name="T1" fmla="*/ 90 h 96"/>
                  <a:gd name="T2" fmla="*/ 52 w 98"/>
                  <a:gd name="T3" fmla="*/ 94 h 96"/>
                  <a:gd name="T4" fmla="*/ 56 w 98"/>
                  <a:gd name="T5" fmla="*/ 94 h 96"/>
                  <a:gd name="T6" fmla="*/ 56 w 98"/>
                  <a:gd name="T7" fmla="*/ 88 h 96"/>
                  <a:gd name="T8" fmla="*/ 52 w 98"/>
                  <a:gd name="T9" fmla="*/ 82 h 96"/>
                  <a:gd name="T10" fmla="*/ 50 w 98"/>
                  <a:gd name="T11" fmla="*/ 78 h 96"/>
                  <a:gd name="T12" fmla="*/ 52 w 98"/>
                  <a:gd name="T13" fmla="*/ 74 h 96"/>
                  <a:gd name="T14" fmla="*/ 60 w 98"/>
                  <a:gd name="T15" fmla="*/ 74 h 96"/>
                  <a:gd name="T16" fmla="*/ 60 w 98"/>
                  <a:gd name="T17" fmla="*/ 72 h 96"/>
                  <a:gd name="T18" fmla="*/ 60 w 98"/>
                  <a:gd name="T19" fmla="*/ 68 h 96"/>
                  <a:gd name="T20" fmla="*/ 68 w 98"/>
                  <a:gd name="T21" fmla="*/ 64 h 96"/>
                  <a:gd name="T22" fmla="*/ 70 w 98"/>
                  <a:gd name="T23" fmla="*/ 66 h 96"/>
                  <a:gd name="T24" fmla="*/ 74 w 98"/>
                  <a:gd name="T25" fmla="*/ 72 h 96"/>
                  <a:gd name="T26" fmla="*/ 78 w 98"/>
                  <a:gd name="T27" fmla="*/ 74 h 96"/>
                  <a:gd name="T28" fmla="*/ 84 w 98"/>
                  <a:gd name="T29" fmla="*/ 74 h 96"/>
                  <a:gd name="T30" fmla="*/ 92 w 98"/>
                  <a:gd name="T31" fmla="*/ 74 h 96"/>
                  <a:gd name="T32" fmla="*/ 94 w 98"/>
                  <a:gd name="T33" fmla="*/ 70 h 96"/>
                  <a:gd name="T34" fmla="*/ 96 w 98"/>
                  <a:gd name="T35" fmla="*/ 60 h 96"/>
                  <a:gd name="T36" fmla="*/ 98 w 98"/>
                  <a:gd name="T37" fmla="*/ 56 h 96"/>
                  <a:gd name="T38" fmla="*/ 98 w 98"/>
                  <a:gd name="T39" fmla="*/ 50 h 96"/>
                  <a:gd name="T40" fmla="*/ 98 w 98"/>
                  <a:gd name="T41" fmla="*/ 44 h 96"/>
                  <a:gd name="T42" fmla="*/ 94 w 98"/>
                  <a:gd name="T43" fmla="*/ 40 h 96"/>
                  <a:gd name="T44" fmla="*/ 88 w 98"/>
                  <a:gd name="T45" fmla="*/ 36 h 96"/>
                  <a:gd name="T46" fmla="*/ 86 w 98"/>
                  <a:gd name="T47" fmla="*/ 30 h 96"/>
                  <a:gd name="T48" fmla="*/ 90 w 98"/>
                  <a:gd name="T49" fmla="*/ 24 h 96"/>
                  <a:gd name="T50" fmla="*/ 96 w 98"/>
                  <a:gd name="T51" fmla="*/ 18 h 96"/>
                  <a:gd name="T52" fmla="*/ 96 w 98"/>
                  <a:gd name="T53" fmla="*/ 14 h 96"/>
                  <a:gd name="T54" fmla="*/ 88 w 98"/>
                  <a:gd name="T55" fmla="*/ 12 h 96"/>
                  <a:gd name="T56" fmla="*/ 82 w 98"/>
                  <a:gd name="T57" fmla="*/ 16 h 96"/>
                  <a:gd name="T58" fmla="*/ 78 w 98"/>
                  <a:gd name="T59" fmla="*/ 16 h 96"/>
                  <a:gd name="T60" fmla="*/ 72 w 98"/>
                  <a:gd name="T61" fmla="*/ 12 h 96"/>
                  <a:gd name="T62" fmla="*/ 70 w 98"/>
                  <a:gd name="T63" fmla="*/ 6 h 96"/>
                  <a:gd name="T64" fmla="*/ 58 w 98"/>
                  <a:gd name="T65" fmla="*/ 0 h 96"/>
                  <a:gd name="T66" fmla="*/ 14 w 98"/>
                  <a:gd name="T67" fmla="*/ 18 h 96"/>
                  <a:gd name="T68" fmla="*/ 12 w 98"/>
                  <a:gd name="T69" fmla="*/ 32 h 96"/>
                  <a:gd name="T70" fmla="*/ 10 w 98"/>
                  <a:gd name="T71" fmla="*/ 42 h 96"/>
                  <a:gd name="T72" fmla="*/ 6 w 98"/>
                  <a:gd name="T73" fmla="*/ 48 h 96"/>
                  <a:gd name="T74" fmla="*/ 2 w 98"/>
                  <a:gd name="T75" fmla="*/ 48 h 96"/>
                  <a:gd name="T76" fmla="*/ 0 w 98"/>
                  <a:gd name="T77" fmla="*/ 48 h 96"/>
                  <a:gd name="T78" fmla="*/ 2 w 98"/>
                  <a:gd name="T79" fmla="*/ 50 h 96"/>
                  <a:gd name="T80" fmla="*/ 4 w 98"/>
                  <a:gd name="T81" fmla="*/ 58 h 96"/>
                  <a:gd name="T82" fmla="*/ 4 w 98"/>
                  <a:gd name="T83" fmla="*/ 58 h 96"/>
                  <a:gd name="T84" fmla="*/ 6 w 98"/>
                  <a:gd name="T85" fmla="*/ 66 h 96"/>
                  <a:gd name="T86" fmla="*/ 16 w 98"/>
                  <a:gd name="T87" fmla="*/ 76 h 96"/>
                  <a:gd name="T88" fmla="*/ 20 w 98"/>
                  <a:gd name="T89" fmla="*/ 82 h 96"/>
                  <a:gd name="T90" fmla="*/ 26 w 98"/>
                  <a:gd name="T91" fmla="*/ 88 h 96"/>
                  <a:gd name="T92" fmla="*/ 36 w 98"/>
                  <a:gd name="T93" fmla="*/ 96 h 96"/>
                  <a:gd name="T94" fmla="*/ 44 w 98"/>
                  <a:gd name="T95" fmla="*/ 9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98" h="96">
                    <a:moveTo>
                      <a:pt x="44" y="90"/>
                    </a:moveTo>
                    <a:lnTo>
                      <a:pt x="44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8" y="92"/>
                    </a:lnTo>
                    <a:lnTo>
                      <a:pt x="48" y="92"/>
                    </a:lnTo>
                    <a:lnTo>
                      <a:pt x="50" y="94"/>
                    </a:lnTo>
                    <a:lnTo>
                      <a:pt x="52" y="94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4" y="96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2"/>
                    </a:lnTo>
                    <a:lnTo>
                      <a:pt x="56" y="90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6" y="86"/>
                    </a:lnTo>
                    <a:lnTo>
                      <a:pt x="54" y="84"/>
                    </a:lnTo>
                    <a:lnTo>
                      <a:pt x="52" y="82"/>
                    </a:lnTo>
                    <a:lnTo>
                      <a:pt x="50" y="80"/>
                    </a:lnTo>
                    <a:lnTo>
                      <a:pt x="50" y="80"/>
                    </a:lnTo>
                    <a:lnTo>
                      <a:pt x="50" y="78"/>
                    </a:lnTo>
                    <a:lnTo>
                      <a:pt x="50" y="78"/>
                    </a:lnTo>
                    <a:lnTo>
                      <a:pt x="50" y="76"/>
                    </a:lnTo>
                    <a:lnTo>
                      <a:pt x="50" y="76"/>
                    </a:lnTo>
                    <a:lnTo>
                      <a:pt x="50" y="74"/>
                    </a:lnTo>
                    <a:lnTo>
                      <a:pt x="52" y="74"/>
                    </a:lnTo>
                    <a:lnTo>
                      <a:pt x="54" y="74"/>
                    </a:lnTo>
                    <a:lnTo>
                      <a:pt x="58" y="74"/>
                    </a:lnTo>
                    <a:lnTo>
                      <a:pt x="58" y="74"/>
                    </a:lnTo>
                    <a:lnTo>
                      <a:pt x="60" y="74"/>
                    </a:lnTo>
                    <a:lnTo>
                      <a:pt x="60" y="74"/>
                    </a:lnTo>
                    <a:lnTo>
                      <a:pt x="60" y="74"/>
                    </a:lnTo>
                    <a:lnTo>
                      <a:pt x="60" y="74"/>
                    </a:lnTo>
                    <a:lnTo>
                      <a:pt x="60" y="72"/>
                    </a:lnTo>
                    <a:lnTo>
                      <a:pt x="60" y="70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2" y="66"/>
                    </a:lnTo>
                    <a:lnTo>
                      <a:pt x="64" y="66"/>
                    </a:lnTo>
                    <a:lnTo>
                      <a:pt x="66" y="64"/>
                    </a:lnTo>
                    <a:lnTo>
                      <a:pt x="68" y="64"/>
                    </a:lnTo>
                    <a:lnTo>
                      <a:pt x="68" y="64"/>
                    </a:lnTo>
                    <a:lnTo>
                      <a:pt x="68" y="64"/>
                    </a:lnTo>
                    <a:lnTo>
                      <a:pt x="68" y="66"/>
                    </a:lnTo>
                    <a:lnTo>
                      <a:pt x="70" y="66"/>
                    </a:lnTo>
                    <a:lnTo>
                      <a:pt x="70" y="68"/>
                    </a:lnTo>
                    <a:lnTo>
                      <a:pt x="72" y="70"/>
                    </a:lnTo>
                    <a:lnTo>
                      <a:pt x="72" y="70"/>
                    </a:lnTo>
                    <a:lnTo>
                      <a:pt x="74" y="72"/>
                    </a:lnTo>
                    <a:lnTo>
                      <a:pt x="74" y="74"/>
                    </a:lnTo>
                    <a:lnTo>
                      <a:pt x="76" y="74"/>
                    </a:lnTo>
                    <a:lnTo>
                      <a:pt x="76" y="74"/>
                    </a:lnTo>
                    <a:lnTo>
                      <a:pt x="78" y="74"/>
                    </a:lnTo>
                    <a:lnTo>
                      <a:pt x="80" y="74"/>
                    </a:lnTo>
                    <a:lnTo>
                      <a:pt x="82" y="74"/>
                    </a:lnTo>
                    <a:lnTo>
                      <a:pt x="84" y="74"/>
                    </a:lnTo>
                    <a:lnTo>
                      <a:pt x="84" y="74"/>
                    </a:lnTo>
                    <a:lnTo>
                      <a:pt x="88" y="76"/>
                    </a:lnTo>
                    <a:lnTo>
                      <a:pt x="90" y="74"/>
                    </a:lnTo>
                    <a:lnTo>
                      <a:pt x="92" y="74"/>
                    </a:lnTo>
                    <a:lnTo>
                      <a:pt x="92" y="74"/>
                    </a:lnTo>
                    <a:lnTo>
                      <a:pt x="92" y="74"/>
                    </a:lnTo>
                    <a:lnTo>
                      <a:pt x="94" y="72"/>
                    </a:lnTo>
                    <a:lnTo>
                      <a:pt x="94" y="72"/>
                    </a:lnTo>
                    <a:lnTo>
                      <a:pt x="94" y="70"/>
                    </a:lnTo>
                    <a:lnTo>
                      <a:pt x="96" y="66"/>
                    </a:lnTo>
                    <a:lnTo>
                      <a:pt x="96" y="62"/>
                    </a:lnTo>
                    <a:lnTo>
                      <a:pt x="96" y="62"/>
                    </a:lnTo>
                    <a:lnTo>
                      <a:pt x="96" y="60"/>
                    </a:lnTo>
                    <a:lnTo>
                      <a:pt x="98" y="60"/>
                    </a:lnTo>
                    <a:lnTo>
                      <a:pt x="98" y="58"/>
                    </a:lnTo>
                    <a:lnTo>
                      <a:pt x="98" y="56"/>
                    </a:lnTo>
                    <a:lnTo>
                      <a:pt x="98" y="56"/>
                    </a:lnTo>
                    <a:lnTo>
                      <a:pt x="98" y="54"/>
                    </a:lnTo>
                    <a:lnTo>
                      <a:pt x="98" y="52"/>
                    </a:lnTo>
                    <a:lnTo>
                      <a:pt x="98" y="50"/>
                    </a:lnTo>
                    <a:lnTo>
                      <a:pt x="98" y="50"/>
                    </a:lnTo>
                    <a:lnTo>
                      <a:pt x="98" y="50"/>
                    </a:lnTo>
                    <a:lnTo>
                      <a:pt x="98" y="48"/>
                    </a:lnTo>
                    <a:lnTo>
                      <a:pt x="98" y="46"/>
                    </a:lnTo>
                    <a:lnTo>
                      <a:pt x="98" y="44"/>
                    </a:lnTo>
                    <a:lnTo>
                      <a:pt x="96" y="42"/>
                    </a:lnTo>
                    <a:lnTo>
                      <a:pt x="96" y="42"/>
                    </a:lnTo>
                    <a:lnTo>
                      <a:pt x="96" y="42"/>
                    </a:lnTo>
                    <a:lnTo>
                      <a:pt x="94" y="40"/>
                    </a:lnTo>
                    <a:lnTo>
                      <a:pt x="90" y="38"/>
                    </a:lnTo>
                    <a:lnTo>
                      <a:pt x="90" y="38"/>
                    </a:lnTo>
                    <a:lnTo>
                      <a:pt x="90" y="38"/>
                    </a:lnTo>
                    <a:lnTo>
                      <a:pt x="88" y="36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6" y="32"/>
                    </a:lnTo>
                    <a:lnTo>
                      <a:pt x="86" y="30"/>
                    </a:lnTo>
                    <a:lnTo>
                      <a:pt x="88" y="26"/>
                    </a:lnTo>
                    <a:lnTo>
                      <a:pt x="88" y="26"/>
                    </a:lnTo>
                    <a:lnTo>
                      <a:pt x="88" y="26"/>
                    </a:lnTo>
                    <a:lnTo>
                      <a:pt x="90" y="24"/>
                    </a:lnTo>
                    <a:lnTo>
                      <a:pt x="94" y="22"/>
                    </a:lnTo>
                    <a:lnTo>
                      <a:pt x="94" y="20"/>
                    </a:lnTo>
                    <a:lnTo>
                      <a:pt x="96" y="20"/>
                    </a:lnTo>
                    <a:lnTo>
                      <a:pt x="96" y="18"/>
                    </a:lnTo>
                    <a:lnTo>
                      <a:pt x="96" y="16"/>
                    </a:lnTo>
                    <a:lnTo>
                      <a:pt x="96" y="16"/>
                    </a:lnTo>
                    <a:lnTo>
                      <a:pt x="96" y="14"/>
                    </a:lnTo>
                    <a:lnTo>
                      <a:pt x="96" y="14"/>
                    </a:lnTo>
                    <a:lnTo>
                      <a:pt x="94" y="12"/>
                    </a:lnTo>
                    <a:lnTo>
                      <a:pt x="92" y="12"/>
                    </a:lnTo>
                    <a:lnTo>
                      <a:pt x="90" y="12"/>
                    </a:lnTo>
                    <a:lnTo>
                      <a:pt x="88" y="12"/>
                    </a:lnTo>
                    <a:lnTo>
                      <a:pt x="86" y="12"/>
                    </a:lnTo>
                    <a:lnTo>
                      <a:pt x="84" y="14"/>
                    </a:lnTo>
                    <a:lnTo>
                      <a:pt x="84" y="14"/>
                    </a:lnTo>
                    <a:lnTo>
                      <a:pt x="82" y="16"/>
                    </a:lnTo>
                    <a:lnTo>
                      <a:pt x="80" y="16"/>
                    </a:lnTo>
                    <a:lnTo>
                      <a:pt x="78" y="16"/>
                    </a:lnTo>
                    <a:lnTo>
                      <a:pt x="78" y="16"/>
                    </a:lnTo>
                    <a:lnTo>
                      <a:pt x="78" y="16"/>
                    </a:lnTo>
                    <a:lnTo>
                      <a:pt x="76" y="16"/>
                    </a:lnTo>
                    <a:lnTo>
                      <a:pt x="74" y="14"/>
                    </a:lnTo>
                    <a:lnTo>
                      <a:pt x="72" y="12"/>
                    </a:lnTo>
                    <a:lnTo>
                      <a:pt x="72" y="12"/>
                    </a:lnTo>
                    <a:lnTo>
                      <a:pt x="72" y="10"/>
                    </a:lnTo>
                    <a:lnTo>
                      <a:pt x="70" y="10"/>
                    </a:lnTo>
                    <a:lnTo>
                      <a:pt x="70" y="8"/>
                    </a:lnTo>
                    <a:lnTo>
                      <a:pt x="70" y="6"/>
                    </a:lnTo>
                    <a:lnTo>
                      <a:pt x="70" y="4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58" y="0"/>
                    </a:lnTo>
                    <a:lnTo>
                      <a:pt x="48" y="0"/>
                    </a:lnTo>
                    <a:lnTo>
                      <a:pt x="46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0" y="38"/>
                    </a:lnTo>
                    <a:lnTo>
                      <a:pt x="10" y="40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8" y="44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6" y="48"/>
                    </a:lnTo>
                    <a:lnTo>
                      <a:pt x="6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2" y="48"/>
                    </a:lnTo>
                    <a:lnTo>
                      <a:pt x="2" y="48"/>
                    </a:lnTo>
                    <a:lnTo>
                      <a:pt x="2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2" y="50"/>
                    </a:lnTo>
                    <a:lnTo>
                      <a:pt x="2" y="50"/>
                    </a:lnTo>
                    <a:lnTo>
                      <a:pt x="4" y="54"/>
                    </a:lnTo>
                    <a:lnTo>
                      <a:pt x="4" y="56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4" y="60"/>
                    </a:lnTo>
                    <a:lnTo>
                      <a:pt x="6" y="62"/>
                    </a:lnTo>
                    <a:lnTo>
                      <a:pt x="6" y="62"/>
                    </a:lnTo>
                    <a:lnTo>
                      <a:pt x="6" y="66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12" y="72"/>
                    </a:lnTo>
                    <a:lnTo>
                      <a:pt x="16" y="76"/>
                    </a:lnTo>
                    <a:lnTo>
                      <a:pt x="16" y="76"/>
                    </a:lnTo>
                    <a:lnTo>
                      <a:pt x="18" y="78"/>
                    </a:lnTo>
                    <a:lnTo>
                      <a:pt x="18" y="80"/>
                    </a:lnTo>
                    <a:lnTo>
                      <a:pt x="20" y="82"/>
                    </a:lnTo>
                    <a:lnTo>
                      <a:pt x="22" y="84"/>
                    </a:lnTo>
                    <a:lnTo>
                      <a:pt x="22" y="84"/>
                    </a:lnTo>
                    <a:lnTo>
                      <a:pt x="24" y="86"/>
                    </a:lnTo>
                    <a:lnTo>
                      <a:pt x="26" y="88"/>
                    </a:lnTo>
                    <a:lnTo>
                      <a:pt x="30" y="92"/>
                    </a:lnTo>
                    <a:lnTo>
                      <a:pt x="30" y="92"/>
                    </a:lnTo>
                    <a:lnTo>
                      <a:pt x="36" y="96"/>
                    </a:lnTo>
                    <a:lnTo>
                      <a:pt x="36" y="96"/>
                    </a:lnTo>
                    <a:lnTo>
                      <a:pt x="40" y="92"/>
                    </a:lnTo>
                    <a:lnTo>
                      <a:pt x="42" y="92"/>
                    </a:lnTo>
                    <a:lnTo>
                      <a:pt x="44" y="90"/>
                    </a:lnTo>
                    <a:lnTo>
                      <a:pt x="44" y="90"/>
                    </a:lnTo>
                    <a:lnTo>
                      <a:pt x="44" y="90"/>
                    </a:lnTo>
                    <a:lnTo>
                      <a:pt x="44" y="90"/>
                    </a:lnTo>
                    <a:lnTo>
                      <a:pt x="44" y="9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39" name="Freeform 666"/>
              <p:cNvSpPr>
                <a:spLocks/>
              </p:cNvSpPr>
              <p:nvPr/>
            </p:nvSpPr>
            <p:spPr bwMode="auto">
              <a:xfrm>
                <a:off x="2891" y="2772"/>
                <a:ext cx="120" cy="138"/>
              </a:xfrm>
              <a:custGeom>
                <a:avLst/>
                <a:gdLst>
                  <a:gd name="T0" fmla="*/ 30 w 120"/>
                  <a:gd name="T1" fmla="*/ 132 h 138"/>
                  <a:gd name="T2" fmla="*/ 36 w 120"/>
                  <a:gd name="T3" fmla="*/ 134 h 138"/>
                  <a:gd name="T4" fmla="*/ 40 w 120"/>
                  <a:gd name="T5" fmla="*/ 138 h 138"/>
                  <a:gd name="T6" fmla="*/ 50 w 120"/>
                  <a:gd name="T7" fmla="*/ 134 h 138"/>
                  <a:gd name="T8" fmla="*/ 56 w 120"/>
                  <a:gd name="T9" fmla="*/ 132 h 138"/>
                  <a:gd name="T10" fmla="*/ 66 w 120"/>
                  <a:gd name="T11" fmla="*/ 126 h 138"/>
                  <a:gd name="T12" fmla="*/ 76 w 120"/>
                  <a:gd name="T13" fmla="*/ 118 h 138"/>
                  <a:gd name="T14" fmla="*/ 82 w 120"/>
                  <a:gd name="T15" fmla="*/ 104 h 138"/>
                  <a:gd name="T16" fmla="*/ 86 w 120"/>
                  <a:gd name="T17" fmla="*/ 98 h 138"/>
                  <a:gd name="T18" fmla="*/ 88 w 120"/>
                  <a:gd name="T19" fmla="*/ 88 h 138"/>
                  <a:gd name="T20" fmla="*/ 92 w 120"/>
                  <a:gd name="T21" fmla="*/ 78 h 138"/>
                  <a:gd name="T22" fmla="*/ 102 w 120"/>
                  <a:gd name="T23" fmla="*/ 70 h 138"/>
                  <a:gd name="T24" fmla="*/ 112 w 120"/>
                  <a:gd name="T25" fmla="*/ 52 h 138"/>
                  <a:gd name="T26" fmla="*/ 112 w 120"/>
                  <a:gd name="T27" fmla="*/ 36 h 138"/>
                  <a:gd name="T28" fmla="*/ 116 w 120"/>
                  <a:gd name="T29" fmla="*/ 20 h 138"/>
                  <a:gd name="T30" fmla="*/ 120 w 120"/>
                  <a:gd name="T31" fmla="*/ 8 h 138"/>
                  <a:gd name="T32" fmla="*/ 118 w 120"/>
                  <a:gd name="T33" fmla="*/ 4 h 138"/>
                  <a:gd name="T34" fmla="*/ 110 w 120"/>
                  <a:gd name="T35" fmla="*/ 4 h 138"/>
                  <a:gd name="T36" fmla="*/ 102 w 120"/>
                  <a:gd name="T37" fmla="*/ 0 h 138"/>
                  <a:gd name="T38" fmla="*/ 94 w 120"/>
                  <a:gd name="T39" fmla="*/ 4 h 138"/>
                  <a:gd name="T40" fmla="*/ 90 w 120"/>
                  <a:gd name="T41" fmla="*/ 12 h 138"/>
                  <a:gd name="T42" fmla="*/ 86 w 120"/>
                  <a:gd name="T43" fmla="*/ 18 h 138"/>
                  <a:gd name="T44" fmla="*/ 80 w 120"/>
                  <a:gd name="T45" fmla="*/ 28 h 138"/>
                  <a:gd name="T46" fmla="*/ 72 w 120"/>
                  <a:gd name="T47" fmla="*/ 26 h 138"/>
                  <a:gd name="T48" fmla="*/ 64 w 120"/>
                  <a:gd name="T49" fmla="*/ 24 h 138"/>
                  <a:gd name="T50" fmla="*/ 38 w 120"/>
                  <a:gd name="T51" fmla="*/ 24 h 138"/>
                  <a:gd name="T52" fmla="*/ 34 w 120"/>
                  <a:gd name="T53" fmla="*/ 30 h 138"/>
                  <a:gd name="T54" fmla="*/ 36 w 120"/>
                  <a:gd name="T55" fmla="*/ 36 h 138"/>
                  <a:gd name="T56" fmla="*/ 42 w 120"/>
                  <a:gd name="T57" fmla="*/ 40 h 138"/>
                  <a:gd name="T58" fmla="*/ 50 w 120"/>
                  <a:gd name="T59" fmla="*/ 36 h 138"/>
                  <a:gd name="T60" fmla="*/ 60 w 120"/>
                  <a:gd name="T61" fmla="*/ 38 h 138"/>
                  <a:gd name="T62" fmla="*/ 60 w 120"/>
                  <a:gd name="T63" fmla="*/ 44 h 138"/>
                  <a:gd name="T64" fmla="*/ 52 w 120"/>
                  <a:gd name="T65" fmla="*/ 50 h 138"/>
                  <a:gd name="T66" fmla="*/ 50 w 120"/>
                  <a:gd name="T67" fmla="*/ 58 h 138"/>
                  <a:gd name="T68" fmla="*/ 58 w 120"/>
                  <a:gd name="T69" fmla="*/ 64 h 138"/>
                  <a:gd name="T70" fmla="*/ 62 w 120"/>
                  <a:gd name="T71" fmla="*/ 70 h 138"/>
                  <a:gd name="T72" fmla="*/ 62 w 120"/>
                  <a:gd name="T73" fmla="*/ 76 h 138"/>
                  <a:gd name="T74" fmla="*/ 62 w 120"/>
                  <a:gd name="T75" fmla="*/ 84 h 138"/>
                  <a:gd name="T76" fmla="*/ 58 w 120"/>
                  <a:gd name="T77" fmla="*/ 94 h 138"/>
                  <a:gd name="T78" fmla="*/ 56 w 120"/>
                  <a:gd name="T79" fmla="*/ 98 h 138"/>
                  <a:gd name="T80" fmla="*/ 46 w 120"/>
                  <a:gd name="T81" fmla="*/ 98 h 138"/>
                  <a:gd name="T82" fmla="*/ 38 w 120"/>
                  <a:gd name="T83" fmla="*/ 98 h 138"/>
                  <a:gd name="T84" fmla="*/ 34 w 120"/>
                  <a:gd name="T85" fmla="*/ 90 h 138"/>
                  <a:gd name="T86" fmla="*/ 30 w 120"/>
                  <a:gd name="T87" fmla="*/ 88 h 138"/>
                  <a:gd name="T88" fmla="*/ 24 w 120"/>
                  <a:gd name="T89" fmla="*/ 92 h 138"/>
                  <a:gd name="T90" fmla="*/ 24 w 120"/>
                  <a:gd name="T91" fmla="*/ 98 h 138"/>
                  <a:gd name="T92" fmla="*/ 16 w 120"/>
                  <a:gd name="T93" fmla="*/ 98 h 138"/>
                  <a:gd name="T94" fmla="*/ 14 w 120"/>
                  <a:gd name="T95" fmla="*/ 102 h 138"/>
                  <a:gd name="T96" fmla="*/ 20 w 120"/>
                  <a:gd name="T97" fmla="*/ 110 h 138"/>
                  <a:gd name="T98" fmla="*/ 20 w 120"/>
                  <a:gd name="T99" fmla="*/ 118 h 138"/>
                  <a:gd name="T100" fmla="*/ 16 w 120"/>
                  <a:gd name="T101" fmla="*/ 118 h 138"/>
                  <a:gd name="T102" fmla="*/ 10 w 120"/>
                  <a:gd name="T103" fmla="*/ 114 h 138"/>
                  <a:gd name="T104" fmla="*/ 0 w 120"/>
                  <a:gd name="T105" fmla="*/ 120 h 138"/>
                  <a:gd name="T106" fmla="*/ 8 w 120"/>
                  <a:gd name="T107" fmla="*/ 128 h 138"/>
                  <a:gd name="T108" fmla="*/ 14 w 120"/>
                  <a:gd name="T109" fmla="*/ 136 h 138"/>
                  <a:gd name="T110" fmla="*/ 22 w 120"/>
                  <a:gd name="T111" fmla="*/ 134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20" h="138">
                    <a:moveTo>
                      <a:pt x="22" y="134"/>
                    </a:moveTo>
                    <a:lnTo>
                      <a:pt x="22" y="134"/>
                    </a:lnTo>
                    <a:lnTo>
                      <a:pt x="26" y="132"/>
                    </a:lnTo>
                    <a:lnTo>
                      <a:pt x="28" y="132"/>
                    </a:lnTo>
                    <a:lnTo>
                      <a:pt x="30" y="132"/>
                    </a:lnTo>
                    <a:lnTo>
                      <a:pt x="30" y="132"/>
                    </a:lnTo>
                    <a:lnTo>
                      <a:pt x="32" y="132"/>
                    </a:lnTo>
                    <a:lnTo>
                      <a:pt x="34" y="132"/>
                    </a:lnTo>
                    <a:lnTo>
                      <a:pt x="36" y="134"/>
                    </a:lnTo>
                    <a:lnTo>
                      <a:pt x="36" y="134"/>
                    </a:lnTo>
                    <a:lnTo>
                      <a:pt x="38" y="136"/>
                    </a:lnTo>
                    <a:lnTo>
                      <a:pt x="38" y="136"/>
                    </a:lnTo>
                    <a:lnTo>
                      <a:pt x="38" y="138"/>
                    </a:lnTo>
                    <a:lnTo>
                      <a:pt x="40" y="138"/>
                    </a:lnTo>
                    <a:lnTo>
                      <a:pt x="40" y="138"/>
                    </a:lnTo>
                    <a:lnTo>
                      <a:pt x="42" y="136"/>
                    </a:lnTo>
                    <a:lnTo>
                      <a:pt x="44" y="136"/>
                    </a:lnTo>
                    <a:lnTo>
                      <a:pt x="48" y="134"/>
                    </a:lnTo>
                    <a:lnTo>
                      <a:pt x="48" y="134"/>
                    </a:lnTo>
                    <a:lnTo>
                      <a:pt x="50" y="134"/>
                    </a:lnTo>
                    <a:lnTo>
                      <a:pt x="52" y="132"/>
                    </a:lnTo>
                    <a:lnTo>
                      <a:pt x="54" y="132"/>
                    </a:lnTo>
                    <a:lnTo>
                      <a:pt x="56" y="132"/>
                    </a:lnTo>
                    <a:lnTo>
                      <a:pt x="56" y="132"/>
                    </a:lnTo>
                    <a:lnTo>
                      <a:pt x="56" y="132"/>
                    </a:lnTo>
                    <a:lnTo>
                      <a:pt x="58" y="132"/>
                    </a:lnTo>
                    <a:lnTo>
                      <a:pt x="60" y="132"/>
                    </a:lnTo>
                    <a:lnTo>
                      <a:pt x="62" y="132"/>
                    </a:lnTo>
                    <a:lnTo>
                      <a:pt x="62" y="132"/>
                    </a:lnTo>
                    <a:lnTo>
                      <a:pt x="66" y="126"/>
                    </a:lnTo>
                    <a:lnTo>
                      <a:pt x="70" y="122"/>
                    </a:lnTo>
                    <a:lnTo>
                      <a:pt x="70" y="122"/>
                    </a:lnTo>
                    <a:lnTo>
                      <a:pt x="72" y="120"/>
                    </a:lnTo>
                    <a:lnTo>
                      <a:pt x="74" y="118"/>
                    </a:lnTo>
                    <a:lnTo>
                      <a:pt x="76" y="118"/>
                    </a:lnTo>
                    <a:lnTo>
                      <a:pt x="78" y="116"/>
                    </a:lnTo>
                    <a:lnTo>
                      <a:pt x="78" y="116"/>
                    </a:lnTo>
                    <a:lnTo>
                      <a:pt x="80" y="112"/>
                    </a:lnTo>
                    <a:lnTo>
                      <a:pt x="80" y="110"/>
                    </a:lnTo>
                    <a:lnTo>
                      <a:pt x="82" y="104"/>
                    </a:lnTo>
                    <a:lnTo>
                      <a:pt x="82" y="104"/>
                    </a:lnTo>
                    <a:lnTo>
                      <a:pt x="82" y="102"/>
                    </a:lnTo>
                    <a:lnTo>
                      <a:pt x="84" y="100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6"/>
                    </a:lnTo>
                    <a:lnTo>
                      <a:pt x="88" y="94"/>
                    </a:lnTo>
                    <a:lnTo>
                      <a:pt x="88" y="90"/>
                    </a:lnTo>
                    <a:lnTo>
                      <a:pt x="88" y="88"/>
                    </a:lnTo>
                    <a:lnTo>
                      <a:pt x="88" y="86"/>
                    </a:lnTo>
                    <a:lnTo>
                      <a:pt x="88" y="84"/>
                    </a:lnTo>
                    <a:lnTo>
                      <a:pt x="88" y="84"/>
                    </a:lnTo>
                    <a:lnTo>
                      <a:pt x="90" y="80"/>
                    </a:lnTo>
                    <a:lnTo>
                      <a:pt x="92" y="78"/>
                    </a:lnTo>
                    <a:lnTo>
                      <a:pt x="96" y="76"/>
                    </a:lnTo>
                    <a:lnTo>
                      <a:pt x="98" y="74"/>
                    </a:lnTo>
                    <a:lnTo>
                      <a:pt x="98" y="74"/>
                    </a:lnTo>
                    <a:lnTo>
                      <a:pt x="100" y="72"/>
                    </a:lnTo>
                    <a:lnTo>
                      <a:pt x="102" y="70"/>
                    </a:lnTo>
                    <a:lnTo>
                      <a:pt x="106" y="68"/>
                    </a:lnTo>
                    <a:lnTo>
                      <a:pt x="106" y="64"/>
                    </a:lnTo>
                    <a:lnTo>
                      <a:pt x="108" y="62"/>
                    </a:lnTo>
                    <a:lnTo>
                      <a:pt x="110" y="60"/>
                    </a:lnTo>
                    <a:lnTo>
                      <a:pt x="112" y="52"/>
                    </a:lnTo>
                    <a:lnTo>
                      <a:pt x="112" y="52"/>
                    </a:lnTo>
                    <a:lnTo>
                      <a:pt x="112" y="50"/>
                    </a:lnTo>
                    <a:lnTo>
                      <a:pt x="112" y="46"/>
                    </a:lnTo>
                    <a:lnTo>
                      <a:pt x="112" y="40"/>
                    </a:lnTo>
                    <a:lnTo>
                      <a:pt x="112" y="36"/>
                    </a:lnTo>
                    <a:lnTo>
                      <a:pt x="112" y="32"/>
                    </a:lnTo>
                    <a:lnTo>
                      <a:pt x="112" y="30"/>
                    </a:lnTo>
                    <a:lnTo>
                      <a:pt x="114" y="26"/>
                    </a:lnTo>
                    <a:lnTo>
                      <a:pt x="114" y="26"/>
                    </a:lnTo>
                    <a:lnTo>
                      <a:pt x="116" y="20"/>
                    </a:lnTo>
                    <a:lnTo>
                      <a:pt x="118" y="16"/>
                    </a:lnTo>
                    <a:lnTo>
                      <a:pt x="120" y="14"/>
                    </a:lnTo>
                    <a:lnTo>
                      <a:pt x="120" y="14"/>
                    </a:lnTo>
                    <a:lnTo>
                      <a:pt x="120" y="10"/>
                    </a:lnTo>
                    <a:lnTo>
                      <a:pt x="120" y="8"/>
                    </a:lnTo>
                    <a:lnTo>
                      <a:pt x="120" y="6"/>
                    </a:lnTo>
                    <a:lnTo>
                      <a:pt x="120" y="6"/>
                    </a:lnTo>
                    <a:lnTo>
                      <a:pt x="120" y="4"/>
                    </a:lnTo>
                    <a:lnTo>
                      <a:pt x="118" y="4"/>
                    </a:lnTo>
                    <a:lnTo>
                      <a:pt x="118" y="4"/>
                    </a:lnTo>
                    <a:lnTo>
                      <a:pt x="116" y="4"/>
                    </a:lnTo>
                    <a:lnTo>
                      <a:pt x="116" y="4"/>
                    </a:lnTo>
                    <a:lnTo>
                      <a:pt x="112" y="4"/>
                    </a:lnTo>
                    <a:lnTo>
                      <a:pt x="110" y="4"/>
                    </a:lnTo>
                    <a:lnTo>
                      <a:pt x="110" y="4"/>
                    </a:lnTo>
                    <a:lnTo>
                      <a:pt x="110" y="4"/>
                    </a:lnTo>
                    <a:lnTo>
                      <a:pt x="108" y="2"/>
                    </a:lnTo>
                    <a:lnTo>
                      <a:pt x="104" y="2"/>
                    </a:lnTo>
                    <a:lnTo>
                      <a:pt x="104" y="0"/>
                    </a:lnTo>
                    <a:lnTo>
                      <a:pt x="102" y="0"/>
                    </a:lnTo>
                    <a:lnTo>
                      <a:pt x="100" y="2"/>
                    </a:lnTo>
                    <a:lnTo>
                      <a:pt x="98" y="2"/>
                    </a:lnTo>
                    <a:lnTo>
                      <a:pt x="98" y="2"/>
                    </a:lnTo>
                    <a:lnTo>
                      <a:pt x="96" y="4"/>
                    </a:lnTo>
                    <a:lnTo>
                      <a:pt x="94" y="4"/>
                    </a:lnTo>
                    <a:lnTo>
                      <a:pt x="94" y="6"/>
                    </a:lnTo>
                    <a:lnTo>
                      <a:pt x="92" y="6"/>
                    </a:lnTo>
                    <a:lnTo>
                      <a:pt x="92" y="6"/>
                    </a:lnTo>
                    <a:lnTo>
                      <a:pt x="92" y="10"/>
                    </a:lnTo>
                    <a:lnTo>
                      <a:pt x="90" y="12"/>
                    </a:lnTo>
                    <a:lnTo>
                      <a:pt x="90" y="12"/>
                    </a:lnTo>
                    <a:lnTo>
                      <a:pt x="90" y="14"/>
                    </a:lnTo>
                    <a:lnTo>
                      <a:pt x="88" y="16"/>
                    </a:lnTo>
                    <a:lnTo>
                      <a:pt x="86" y="18"/>
                    </a:lnTo>
                    <a:lnTo>
                      <a:pt x="86" y="18"/>
                    </a:lnTo>
                    <a:lnTo>
                      <a:pt x="84" y="20"/>
                    </a:lnTo>
                    <a:lnTo>
                      <a:pt x="84" y="22"/>
                    </a:lnTo>
                    <a:lnTo>
                      <a:pt x="82" y="26"/>
                    </a:lnTo>
                    <a:lnTo>
                      <a:pt x="80" y="28"/>
                    </a:lnTo>
                    <a:lnTo>
                      <a:pt x="80" y="28"/>
                    </a:lnTo>
                    <a:lnTo>
                      <a:pt x="78" y="28"/>
                    </a:lnTo>
                    <a:lnTo>
                      <a:pt x="76" y="28"/>
                    </a:lnTo>
                    <a:lnTo>
                      <a:pt x="76" y="28"/>
                    </a:lnTo>
                    <a:lnTo>
                      <a:pt x="74" y="28"/>
                    </a:lnTo>
                    <a:lnTo>
                      <a:pt x="72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66" y="24"/>
                    </a:lnTo>
                    <a:lnTo>
                      <a:pt x="64" y="24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48" y="26"/>
                    </a:lnTo>
                    <a:lnTo>
                      <a:pt x="42" y="26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4" y="28"/>
                    </a:lnTo>
                    <a:lnTo>
                      <a:pt x="34" y="30"/>
                    </a:lnTo>
                    <a:lnTo>
                      <a:pt x="34" y="32"/>
                    </a:lnTo>
                    <a:lnTo>
                      <a:pt x="34" y="34"/>
                    </a:lnTo>
                    <a:lnTo>
                      <a:pt x="36" y="34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8" y="38"/>
                    </a:lnTo>
                    <a:lnTo>
                      <a:pt x="40" y="40"/>
                    </a:lnTo>
                    <a:lnTo>
                      <a:pt x="42" y="40"/>
                    </a:lnTo>
                    <a:lnTo>
                      <a:pt x="42" y="40"/>
                    </a:lnTo>
                    <a:lnTo>
                      <a:pt x="42" y="40"/>
                    </a:lnTo>
                    <a:lnTo>
                      <a:pt x="44" y="40"/>
                    </a:lnTo>
                    <a:lnTo>
                      <a:pt x="46" y="40"/>
                    </a:lnTo>
                    <a:lnTo>
                      <a:pt x="48" y="38"/>
                    </a:lnTo>
                    <a:lnTo>
                      <a:pt x="48" y="38"/>
                    </a:lnTo>
                    <a:lnTo>
                      <a:pt x="50" y="36"/>
                    </a:lnTo>
                    <a:lnTo>
                      <a:pt x="52" y="36"/>
                    </a:lnTo>
                    <a:lnTo>
                      <a:pt x="54" y="36"/>
                    </a:lnTo>
                    <a:lnTo>
                      <a:pt x="56" y="36"/>
                    </a:lnTo>
                    <a:lnTo>
                      <a:pt x="58" y="36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0" y="42"/>
                    </a:lnTo>
                    <a:lnTo>
                      <a:pt x="60" y="44"/>
                    </a:lnTo>
                    <a:lnTo>
                      <a:pt x="58" y="44"/>
                    </a:lnTo>
                    <a:lnTo>
                      <a:pt x="58" y="46"/>
                    </a:lnTo>
                    <a:lnTo>
                      <a:pt x="54" y="48"/>
                    </a:lnTo>
                    <a:lnTo>
                      <a:pt x="52" y="50"/>
                    </a:lnTo>
                    <a:lnTo>
                      <a:pt x="52" y="50"/>
                    </a:lnTo>
                    <a:lnTo>
                      <a:pt x="52" y="50"/>
                    </a:lnTo>
                    <a:lnTo>
                      <a:pt x="50" y="54"/>
                    </a:lnTo>
                    <a:lnTo>
                      <a:pt x="50" y="56"/>
                    </a:lnTo>
                    <a:lnTo>
                      <a:pt x="50" y="58"/>
                    </a:lnTo>
                    <a:lnTo>
                      <a:pt x="50" y="58"/>
                    </a:lnTo>
                    <a:lnTo>
                      <a:pt x="52" y="60"/>
                    </a:lnTo>
                    <a:lnTo>
                      <a:pt x="54" y="62"/>
                    </a:lnTo>
                    <a:lnTo>
                      <a:pt x="54" y="62"/>
                    </a:lnTo>
                    <a:lnTo>
                      <a:pt x="54" y="62"/>
                    </a:lnTo>
                    <a:lnTo>
                      <a:pt x="58" y="64"/>
                    </a:lnTo>
                    <a:lnTo>
                      <a:pt x="60" y="66"/>
                    </a:lnTo>
                    <a:lnTo>
                      <a:pt x="60" y="66"/>
                    </a:lnTo>
                    <a:lnTo>
                      <a:pt x="60" y="66"/>
                    </a:lnTo>
                    <a:lnTo>
                      <a:pt x="62" y="68"/>
                    </a:lnTo>
                    <a:lnTo>
                      <a:pt x="62" y="70"/>
                    </a:lnTo>
                    <a:lnTo>
                      <a:pt x="62" y="72"/>
                    </a:lnTo>
                    <a:lnTo>
                      <a:pt x="62" y="74"/>
                    </a:lnTo>
                    <a:lnTo>
                      <a:pt x="62" y="74"/>
                    </a:lnTo>
                    <a:lnTo>
                      <a:pt x="62" y="74"/>
                    </a:lnTo>
                    <a:lnTo>
                      <a:pt x="62" y="76"/>
                    </a:lnTo>
                    <a:lnTo>
                      <a:pt x="62" y="78"/>
                    </a:lnTo>
                    <a:lnTo>
                      <a:pt x="62" y="80"/>
                    </a:lnTo>
                    <a:lnTo>
                      <a:pt x="62" y="80"/>
                    </a:lnTo>
                    <a:lnTo>
                      <a:pt x="62" y="82"/>
                    </a:lnTo>
                    <a:lnTo>
                      <a:pt x="62" y="84"/>
                    </a:lnTo>
                    <a:lnTo>
                      <a:pt x="60" y="84"/>
                    </a:lnTo>
                    <a:lnTo>
                      <a:pt x="60" y="86"/>
                    </a:lnTo>
                    <a:lnTo>
                      <a:pt x="60" y="86"/>
                    </a:lnTo>
                    <a:lnTo>
                      <a:pt x="60" y="90"/>
                    </a:lnTo>
                    <a:lnTo>
                      <a:pt x="58" y="94"/>
                    </a:lnTo>
                    <a:lnTo>
                      <a:pt x="58" y="96"/>
                    </a:lnTo>
                    <a:lnTo>
                      <a:pt x="58" y="96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4" y="98"/>
                    </a:lnTo>
                    <a:lnTo>
                      <a:pt x="52" y="100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6" y="98"/>
                    </a:lnTo>
                    <a:lnTo>
                      <a:pt x="44" y="98"/>
                    </a:lnTo>
                    <a:lnTo>
                      <a:pt x="42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38" y="98"/>
                    </a:lnTo>
                    <a:lnTo>
                      <a:pt x="38" y="96"/>
                    </a:lnTo>
                    <a:lnTo>
                      <a:pt x="36" y="94"/>
                    </a:lnTo>
                    <a:lnTo>
                      <a:pt x="36" y="94"/>
                    </a:lnTo>
                    <a:lnTo>
                      <a:pt x="34" y="92"/>
                    </a:lnTo>
                    <a:lnTo>
                      <a:pt x="34" y="90"/>
                    </a:lnTo>
                    <a:lnTo>
                      <a:pt x="32" y="90"/>
                    </a:lnTo>
                    <a:lnTo>
                      <a:pt x="32" y="88"/>
                    </a:lnTo>
                    <a:lnTo>
                      <a:pt x="32" y="88"/>
                    </a:lnTo>
                    <a:lnTo>
                      <a:pt x="32" y="88"/>
                    </a:lnTo>
                    <a:lnTo>
                      <a:pt x="30" y="88"/>
                    </a:lnTo>
                    <a:lnTo>
                      <a:pt x="28" y="90"/>
                    </a:lnTo>
                    <a:lnTo>
                      <a:pt x="26" y="90"/>
                    </a:lnTo>
                    <a:lnTo>
                      <a:pt x="24" y="92"/>
                    </a:lnTo>
                    <a:lnTo>
                      <a:pt x="24" y="92"/>
                    </a:lnTo>
                    <a:lnTo>
                      <a:pt x="24" y="92"/>
                    </a:lnTo>
                    <a:lnTo>
                      <a:pt x="24" y="94"/>
                    </a:lnTo>
                    <a:lnTo>
                      <a:pt x="24" y="96"/>
                    </a:lnTo>
                    <a:lnTo>
                      <a:pt x="24" y="98"/>
                    </a:lnTo>
                    <a:lnTo>
                      <a:pt x="24" y="98"/>
                    </a:lnTo>
                    <a:lnTo>
                      <a:pt x="24" y="98"/>
                    </a:lnTo>
                    <a:lnTo>
                      <a:pt x="24" y="98"/>
                    </a:lnTo>
                    <a:lnTo>
                      <a:pt x="22" y="98"/>
                    </a:lnTo>
                    <a:lnTo>
                      <a:pt x="22" y="98"/>
                    </a:lnTo>
                    <a:lnTo>
                      <a:pt x="18" y="98"/>
                    </a:lnTo>
                    <a:lnTo>
                      <a:pt x="16" y="98"/>
                    </a:lnTo>
                    <a:lnTo>
                      <a:pt x="14" y="98"/>
                    </a:lnTo>
                    <a:lnTo>
                      <a:pt x="14" y="100"/>
                    </a:lnTo>
                    <a:lnTo>
                      <a:pt x="14" y="100"/>
                    </a:lnTo>
                    <a:lnTo>
                      <a:pt x="14" y="102"/>
                    </a:lnTo>
                    <a:lnTo>
                      <a:pt x="14" y="102"/>
                    </a:lnTo>
                    <a:lnTo>
                      <a:pt x="14" y="104"/>
                    </a:lnTo>
                    <a:lnTo>
                      <a:pt x="14" y="104"/>
                    </a:lnTo>
                    <a:lnTo>
                      <a:pt x="16" y="106"/>
                    </a:lnTo>
                    <a:lnTo>
                      <a:pt x="18" y="108"/>
                    </a:lnTo>
                    <a:lnTo>
                      <a:pt x="20" y="110"/>
                    </a:lnTo>
                    <a:lnTo>
                      <a:pt x="20" y="112"/>
                    </a:lnTo>
                    <a:lnTo>
                      <a:pt x="20" y="112"/>
                    </a:lnTo>
                    <a:lnTo>
                      <a:pt x="20" y="114"/>
                    </a:lnTo>
                    <a:lnTo>
                      <a:pt x="20" y="116"/>
                    </a:lnTo>
                    <a:lnTo>
                      <a:pt x="20" y="118"/>
                    </a:lnTo>
                    <a:lnTo>
                      <a:pt x="20" y="118"/>
                    </a:lnTo>
                    <a:lnTo>
                      <a:pt x="18" y="120"/>
                    </a:lnTo>
                    <a:lnTo>
                      <a:pt x="16" y="120"/>
                    </a:lnTo>
                    <a:lnTo>
                      <a:pt x="16" y="120"/>
                    </a:lnTo>
                    <a:lnTo>
                      <a:pt x="16" y="118"/>
                    </a:lnTo>
                    <a:lnTo>
                      <a:pt x="14" y="118"/>
                    </a:lnTo>
                    <a:lnTo>
                      <a:pt x="12" y="116"/>
                    </a:lnTo>
                    <a:lnTo>
                      <a:pt x="12" y="116"/>
                    </a:lnTo>
                    <a:lnTo>
                      <a:pt x="10" y="114"/>
                    </a:lnTo>
                    <a:lnTo>
                      <a:pt x="10" y="114"/>
                    </a:lnTo>
                    <a:lnTo>
                      <a:pt x="8" y="114"/>
                    </a:lnTo>
                    <a:lnTo>
                      <a:pt x="8" y="114"/>
                    </a:lnTo>
                    <a:lnTo>
                      <a:pt x="6" y="116"/>
                    </a:lnTo>
                    <a:lnTo>
                      <a:pt x="4" y="116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4" y="124"/>
                    </a:lnTo>
                    <a:lnTo>
                      <a:pt x="4" y="124"/>
                    </a:lnTo>
                    <a:lnTo>
                      <a:pt x="6" y="126"/>
                    </a:lnTo>
                    <a:lnTo>
                      <a:pt x="8" y="128"/>
                    </a:lnTo>
                    <a:lnTo>
                      <a:pt x="12" y="132"/>
                    </a:lnTo>
                    <a:lnTo>
                      <a:pt x="12" y="132"/>
                    </a:lnTo>
                    <a:lnTo>
                      <a:pt x="14" y="136"/>
                    </a:lnTo>
                    <a:lnTo>
                      <a:pt x="14" y="136"/>
                    </a:lnTo>
                    <a:lnTo>
                      <a:pt x="14" y="136"/>
                    </a:lnTo>
                    <a:lnTo>
                      <a:pt x="14" y="136"/>
                    </a:lnTo>
                    <a:lnTo>
                      <a:pt x="18" y="134"/>
                    </a:lnTo>
                    <a:lnTo>
                      <a:pt x="20" y="134"/>
                    </a:lnTo>
                    <a:lnTo>
                      <a:pt x="22" y="134"/>
                    </a:lnTo>
                    <a:lnTo>
                      <a:pt x="22" y="134"/>
                    </a:lnTo>
                    <a:lnTo>
                      <a:pt x="22" y="134"/>
                    </a:lnTo>
                    <a:lnTo>
                      <a:pt x="22" y="134"/>
                    </a:lnTo>
                    <a:lnTo>
                      <a:pt x="22" y="13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40" name="Freeform 668"/>
              <p:cNvSpPr>
                <a:spLocks/>
              </p:cNvSpPr>
              <p:nvPr/>
            </p:nvSpPr>
            <p:spPr bwMode="auto">
              <a:xfrm>
                <a:off x="2909" y="2740"/>
                <a:ext cx="308" cy="306"/>
              </a:xfrm>
              <a:custGeom>
                <a:avLst/>
                <a:gdLst>
                  <a:gd name="T0" fmla="*/ 70 w 308"/>
                  <a:gd name="T1" fmla="*/ 186 h 306"/>
                  <a:gd name="T2" fmla="*/ 80 w 308"/>
                  <a:gd name="T3" fmla="*/ 206 h 306"/>
                  <a:gd name="T4" fmla="*/ 92 w 308"/>
                  <a:gd name="T5" fmla="*/ 218 h 306"/>
                  <a:gd name="T6" fmla="*/ 114 w 308"/>
                  <a:gd name="T7" fmla="*/ 218 h 306"/>
                  <a:gd name="T8" fmla="*/ 118 w 308"/>
                  <a:gd name="T9" fmla="*/ 210 h 306"/>
                  <a:gd name="T10" fmla="*/ 138 w 308"/>
                  <a:gd name="T11" fmla="*/ 206 h 306"/>
                  <a:gd name="T12" fmla="*/ 148 w 308"/>
                  <a:gd name="T13" fmla="*/ 210 h 306"/>
                  <a:gd name="T14" fmla="*/ 156 w 308"/>
                  <a:gd name="T15" fmla="*/ 220 h 306"/>
                  <a:gd name="T16" fmla="*/ 156 w 308"/>
                  <a:gd name="T17" fmla="*/ 236 h 306"/>
                  <a:gd name="T18" fmla="*/ 162 w 308"/>
                  <a:gd name="T19" fmla="*/ 252 h 306"/>
                  <a:gd name="T20" fmla="*/ 160 w 308"/>
                  <a:gd name="T21" fmla="*/ 264 h 306"/>
                  <a:gd name="T22" fmla="*/ 172 w 308"/>
                  <a:gd name="T23" fmla="*/ 264 h 306"/>
                  <a:gd name="T24" fmla="*/ 188 w 308"/>
                  <a:gd name="T25" fmla="*/ 264 h 306"/>
                  <a:gd name="T26" fmla="*/ 192 w 308"/>
                  <a:gd name="T27" fmla="*/ 270 h 306"/>
                  <a:gd name="T28" fmla="*/ 212 w 308"/>
                  <a:gd name="T29" fmla="*/ 274 h 306"/>
                  <a:gd name="T30" fmla="*/ 236 w 308"/>
                  <a:gd name="T31" fmla="*/ 284 h 306"/>
                  <a:gd name="T32" fmla="*/ 256 w 308"/>
                  <a:gd name="T33" fmla="*/ 294 h 306"/>
                  <a:gd name="T34" fmla="*/ 278 w 308"/>
                  <a:gd name="T35" fmla="*/ 306 h 306"/>
                  <a:gd name="T36" fmla="*/ 284 w 308"/>
                  <a:gd name="T37" fmla="*/ 292 h 306"/>
                  <a:gd name="T38" fmla="*/ 274 w 308"/>
                  <a:gd name="T39" fmla="*/ 288 h 306"/>
                  <a:gd name="T40" fmla="*/ 260 w 308"/>
                  <a:gd name="T41" fmla="*/ 280 h 306"/>
                  <a:gd name="T42" fmla="*/ 260 w 308"/>
                  <a:gd name="T43" fmla="*/ 262 h 306"/>
                  <a:gd name="T44" fmla="*/ 260 w 308"/>
                  <a:gd name="T45" fmla="*/ 244 h 306"/>
                  <a:gd name="T46" fmla="*/ 268 w 308"/>
                  <a:gd name="T47" fmla="*/ 230 h 306"/>
                  <a:gd name="T48" fmla="*/ 298 w 308"/>
                  <a:gd name="T49" fmla="*/ 226 h 306"/>
                  <a:gd name="T50" fmla="*/ 288 w 308"/>
                  <a:gd name="T51" fmla="*/ 218 h 306"/>
                  <a:gd name="T52" fmla="*/ 284 w 308"/>
                  <a:gd name="T53" fmla="*/ 198 h 306"/>
                  <a:gd name="T54" fmla="*/ 274 w 308"/>
                  <a:gd name="T55" fmla="*/ 174 h 306"/>
                  <a:gd name="T56" fmla="*/ 276 w 308"/>
                  <a:gd name="T57" fmla="*/ 148 h 306"/>
                  <a:gd name="T58" fmla="*/ 278 w 308"/>
                  <a:gd name="T59" fmla="*/ 136 h 306"/>
                  <a:gd name="T60" fmla="*/ 276 w 308"/>
                  <a:gd name="T61" fmla="*/ 128 h 306"/>
                  <a:gd name="T62" fmla="*/ 278 w 308"/>
                  <a:gd name="T63" fmla="*/ 114 h 306"/>
                  <a:gd name="T64" fmla="*/ 284 w 308"/>
                  <a:gd name="T65" fmla="*/ 104 h 306"/>
                  <a:gd name="T66" fmla="*/ 284 w 308"/>
                  <a:gd name="T67" fmla="*/ 82 h 306"/>
                  <a:gd name="T68" fmla="*/ 290 w 308"/>
                  <a:gd name="T69" fmla="*/ 72 h 306"/>
                  <a:gd name="T70" fmla="*/ 302 w 308"/>
                  <a:gd name="T71" fmla="*/ 58 h 306"/>
                  <a:gd name="T72" fmla="*/ 308 w 308"/>
                  <a:gd name="T73" fmla="*/ 48 h 306"/>
                  <a:gd name="T74" fmla="*/ 306 w 308"/>
                  <a:gd name="T75" fmla="*/ 34 h 306"/>
                  <a:gd name="T76" fmla="*/ 298 w 308"/>
                  <a:gd name="T77" fmla="*/ 18 h 306"/>
                  <a:gd name="T78" fmla="*/ 264 w 308"/>
                  <a:gd name="T79" fmla="*/ 14 h 306"/>
                  <a:gd name="T80" fmla="*/ 256 w 308"/>
                  <a:gd name="T81" fmla="*/ 6 h 306"/>
                  <a:gd name="T82" fmla="*/ 194 w 308"/>
                  <a:gd name="T83" fmla="*/ 4 h 306"/>
                  <a:gd name="T84" fmla="*/ 168 w 308"/>
                  <a:gd name="T85" fmla="*/ 14 h 306"/>
                  <a:gd name="T86" fmla="*/ 160 w 308"/>
                  <a:gd name="T87" fmla="*/ 24 h 306"/>
                  <a:gd name="T88" fmla="*/ 146 w 308"/>
                  <a:gd name="T89" fmla="*/ 18 h 306"/>
                  <a:gd name="T90" fmla="*/ 124 w 308"/>
                  <a:gd name="T91" fmla="*/ 10 h 306"/>
                  <a:gd name="T92" fmla="*/ 112 w 308"/>
                  <a:gd name="T93" fmla="*/ 12 h 306"/>
                  <a:gd name="T94" fmla="*/ 100 w 308"/>
                  <a:gd name="T95" fmla="*/ 20 h 306"/>
                  <a:gd name="T96" fmla="*/ 102 w 308"/>
                  <a:gd name="T97" fmla="*/ 38 h 306"/>
                  <a:gd name="T98" fmla="*/ 96 w 308"/>
                  <a:gd name="T99" fmla="*/ 58 h 306"/>
                  <a:gd name="T100" fmla="*/ 92 w 308"/>
                  <a:gd name="T101" fmla="*/ 92 h 306"/>
                  <a:gd name="T102" fmla="*/ 74 w 308"/>
                  <a:gd name="T103" fmla="*/ 110 h 306"/>
                  <a:gd name="T104" fmla="*/ 68 w 308"/>
                  <a:gd name="T105" fmla="*/ 130 h 306"/>
                  <a:gd name="T106" fmla="*/ 60 w 308"/>
                  <a:gd name="T107" fmla="*/ 148 h 306"/>
                  <a:gd name="T108" fmla="*/ 44 w 308"/>
                  <a:gd name="T109" fmla="*/ 164 h 306"/>
                  <a:gd name="T110" fmla="*/ 30 w 308"/>
                  <a:gd name="T111" fmla="*/ 166 h 306"/>
                  <a:gd name="T112" fmla="*/ 18 w 308"/>
                  <a:gd name="T113" fmla="*/ 166 h 306"/>
                  <a:gd name="T114" fmla="*/ 10 w 308"/>
                  <a:gd name="T115" fmla="*/ 170 h 306"/>
                  <a:gd name="T116" fmla="*/ 0 w 308"/>
                  <a:gd name="T117" fmla="*/ 178 h 306"/>
                  <a:gd name="T118" fmla="*/ 10 w 308"/>
                  <a:gd name="T119" fmla="*/ 184 h 306"/>
                  <a:gd name="T120" fmla="*/ 34 w 308"/>
                  <a:gd name="T121" fmla="*/ 184 h 3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08" h="306">
                    <a:moveTo>
                      <a:pt x="34" y="184"/>
                    </a:moveTo>
                    <a:lnTo>
                      <a:pt x="34" y="184"/>
                    </a:lnTo>
                    <a:lnTo>
                      <a:pt x="56" y="184"/>
                    </a:lnTo>
                    <a:lnTo>
                      <a:pt x="56" y="184"/>
                    </a:lnTo>
                    <a:lnTo>
                      <a:pt x="60" y="184"/>
                    </a:lnTo>
                    <a:lnTo>
                      <a:pt x="64" y="184"/>
                    </a:lnTo>
                    <a:lnTo>
                      <a:pt x="68" y="186"/>
                    </a:lnTo>
                    <a:lnTo>
                      <a:pt x="68" y="186"/>
                    </a:lnTo>
                    <a:lnTo>
                      <a:pt x="70" y="186"/>
                    </a:lnTo>
                    <a:lnTo>
                      <a:pt x="70" y="186"/>
                    </a:lnTo>
                    <a:lnTo>
                      <a:pt x="74" y="190"/>
                    </a:lnTo>
                    <a:lnTo>
                      <a:pt x="76" y="192"/>
                    </a:lnTo>
                    <a:lnTo>
                      <a:pt x="78" y="194"/>
                    </a:lnTo>
                    <a:lnTo>
                      <a:pt x="78" y="198"/>
                    </a:lnTo>
                    <a:lnTo>
                      <a:pt x="78" y="198"/>
                    </a:lnTo>
                    <a:lnTo>
                      <a:pt x="80" y="200"/>
                    </a:lnTo>
                    <a:lnTo>
                      <a:pt x="80" y="202"/>
                    </a:lnTo>
                    <a:lnTo>
                      <a:pt x="80" y="206"/>
                    </a:lnTo>
                    <a:lnTo>
                      <a:pt x="80" y="206"/>
                    </a:lnTo>
                    <a:lnTo>
                      <a:pt x="80" y="208"/>
                    </a:lnTo>
                    <a:lnTo>
                      <a:pt x="82" y="210"/>
                    </a:lnTo>
                    <a:lnTo>
                      <a:pt x="82" y="212"/>
                    </a:lnTo>
                    <a:lnTo>
                      <a:pt x="82" y="212"/>
                    </a:lnTo>
                    <a:lnTo>
                      <a:pt x="86" y="214"/>
                    </a:lnTo>
                    <a:lnTo>
                      <a:pt x="88" y="216"/>
                    </a:lnTo>
                    <a:lnTo>
                      <a:pt x="92" y="218"/>
                    </a:lnTo>
                    <a:lnTo>
                      <a:pt x="92" y="218"/>
                    </a:lnTo>
                    <a:lnTo>
                      <a:pt x="94" y="218"/>
                    </a:lnTo>
                    <a:lnTo>
                      <a:pt x="94" y="218"/>
                    </a:lnTo>
                    <a:lnTo>
                      <a:pt x="98" y="220"/>
                    </a:lnTo>
                    <a:lnTo>
                      <a:pt x="100" y="220"/>
                    </a:lnTo>
                    <a:lnTo>
                      <a:pt x="108" y="220"/>
                    </a:lnTo>
                    <a:lnTo>
                      <a:pt x="108" y="220"/>
                    </a:lnTo>
                    <a:lnTo>
                      <a:pt x="110" y="220"/>
                    </a:lnTo>
                    <a:lnTo>
                      <a:pt x="112" y="220"/>
                    </a:lnTo>
                    <a:lnTo>
                      <a:pt x="114" y="218"/>
                    </a:lnTo>
                    <a:lnTo>
                      <a:pt x="114" y="218"/>
                    </a:lnTo>
                    <a:lnTo>
                      <a:pt x="116" y="218"/>
                    </a:lnTo>
                    <a:lnTo>
                      <a:pt x="116" y="216"/>
                    </a:lnTo>
                    <a:lnTo>
                      <a:pt x="116" y="216"/>
                    </a:lnTo>
                    <a:lnTo>
                      <a:pt x="116" y="214"/>
                    </a:lnTo>
                    <a:lnTo>
                      <a:pt x="116" y="212"/>
                    </a:lnTo>
                    <a:lnTo>
                      <a:pt x="116" y="212"/>
                    </a:lnTo>
                    <a:lnTo>
                      <a:pt x="118" y="210"/>
                    </a:lnTo>
                    <a:lnTo>
                      <a:pt x="118" y="210"/>
                    </a:lnTo>
                    <a:lnTo>
                      <a:pt x="124" y="206"/>
                    </a:lnTo>
                    <a:lnTo>
                      <a:pt x="124" y="206"/>
                    </a:lnTo>
                    <a:lnTo>
                      <a:pt x="126" y="204"/>
                    </a:lnTo>
                    <a:lnTo>
                      <a:pt x="126" y="204"/>
                    </a:lnTo>
                    <a:lnTo>
                      <a:pt x="130" y="204"/>
                    </a:lnTo>
                    <a:lnTo>
                      <a:pt x="132" y="204"/>
                    </a:lnTo>
                    <a:lnTo>
                      <a:pt x="134" y="204"/>
                    </a:lnTo>
                    <a:lnTo>
                      <a:pt x="136" y="206"/>
                    </a:lnTo>
                    <a:lnTo>
                      <a:pt x="138" y="206"/>
                    </a:lnTo>
                    <a:lnTo>
                      <a:pt x="138" y="206"/>
                    </a:lnTo>
                    <a:lnTo>
                      <a:pt x="138" y="208"/>
                    </a:lnTo>
                    <a:lnTo>
                      <a:pt x="140" y="210"/>
                    </a:lnTo>
                    <a:lnTo>
                      <a:pt x="140" y="210"/>
                    </a:lnTo>
                    <a:lnTo>
                      <a:pt x="142" y="212"/>
                    </a:lnTo>
                    <a:lnTo>
                      <a:pt x="142" y="212"/>
                    </a:lnTo>
                    <a:lnTo>
                      <a:pt x="144" y="212"/>
                    </a:lnTo>
                    <a:lnTo>
                      <a:pt x="146" y="212"/>
                    </a:lnTo>
                    <a:lnTo>
                      <a:pt x="148" y="210"/>
                    </a:lnTo>
                    <a:lnTo>
                      <a:pt x="150" y="210"/>
                    </a:lnTo>
                    <a:lnTo>
                      <a:pt x="150" y="210"/>
                    </a:lnTo>
                    <a:lnTo>
                      <a:pt x="152" y="210"/>
                    </a:lnTo>
                    <a:lnTo>
                      <a:pt x="154" y="212"/>
                    </a:lnTo>
                    <a:lnTo>
                      <a:pt x="154" y="214"/>
                    </a:lnTo>
                    <a:lnTo>
                      <a:pt x="154" y="216"/>
                    </a:lnTo>
                    <a:lnTo>
                      <a:pt x="154" y="216"/>
                    </a:lnTo>
                    <a:lnTo>
                      <a:pt x="156" y="218"/>
                    </a:lnTo>
                    <a:lnTo>
                      <a:pt x="156" y="220"/>
                    </a:lnTo>
                    <a:lnTo>
                      <a:pt x="158" y="222"/>
                    </a:lnTo>
                    <a:lnTo>
                      <a:pt x="158" y="222"/>
                    </a:lnTo>
                    <a:lnTo>
                      <a:pt x="160" y="224"/>
                    </a:lnTo>
                    <a:lnTo>
                      <a:pt x="160" y="226"/>
                    </a:lnTo>
                    <a:lnTo>
                      <a:pt x="160" y="226"/>
                    </a:lnTo>
                    <a:lnTo>
                      <a:pt x="160" y="228"/>
                    </a:lnTo>
                    <a:lnTo>
                      <a:pt x="158" y="232"/>
                    </a:lnTo>
                    <a:lnTo>
                      <a:pt x="156" y="236"/>
                    </a:lnTo>
                    <a:lnTo>
                      <a:pt x="156" y="236"/>
                    </a:lnTo>
                    <a:lnTo>
                      <a:pt x="156" y="238"/>
                    </a:lnTo>
                    <a:lnTo>
                      <a:pt x="154" y="240"/>
                    </a:lnTo>
                    <a:lnTo>
                      <a:pt x="154" y="242"/>
                    </a:lnTo>
                    <a:lnTo>
                      <a:pt x="156" y="244"/>
                    </a:lnTo>
                    <a:lnTo>
                      <a:pt x="156" y="244"/>
                    </a:lnTo>
                    <a:lnTo>
                      <a:pt x="158" y="248"/>
                    </a:lnTo>
                    <a:lnTo>
                      <a:pt x="160" y="250"/>
                    </a:lnTo>
                    <a:lnTo>
                      <a:pt x="160" y="250"/>
                    </a:lnTo>
                    <a:lnTo>
                      <a:pt x="162" y="252"/>
                    </a:lnTo>
                    <a:lnTo>
                      <a:pt x="162" y="254"/>
                    </a:lnTo>
                    <a:lnTo>
                      <a:pt x="162" y="256"/>
                    </a:lnTo>
                    <a:lnTo>
                      <a:pt x="162" y="256"/>
                    </a:lnTo>
                    <a:lnTo>
                      <a:pt x="162" y="256"/>
                    </a:lnTo>
                    <a:lnTo>
                      <a:pt x="160" y="258"/>
                    </a:lnTo>
                    <a:lnTo>
                      <a:pt x="160" y="260"/>
                    </a:lnTo>
                    <a:lnTo>
                      <a:pt x="158" y="262"/>
                    </a:lnTo>
                    <a:lnTo>
                      <a:pt x="160" y="262"/>
                    </a:lnTo>
                    <a:lnTo>
                      <a:pt x="160" y="264"/>
                    </a:lnTo>
                    <a:lnTo>
                      <a:pt x="160" y="264"/>
                    </a:lnTo>
                    <a:lnTo>
                      <a:pt x="162" y="264"/>
                    </a:lnTo>
                    <a:lnTo>
                      <a:pt x="164" y="266"/>
                    </a:lnTo>
                    <a:lnTo>
                      <a:pt x="164" y="266"/>
                    </a:lnTo>
                    <a:lnTo>
                      <a:pt x="166" y="266"/>
                    </a:lnTo>
                    <a:lnTo>
                      <a:pt x="170" y="264"/>
                    </a:lnTo>
                    <a:lnTo>
                      <a:pt x="172" y="264"/>
                    </a:lnTo>
                    <a:lnTo>
                      <a:pt x="172" y="264"/>
                    </a:lnTo>
                    <a:lnTo>
                      <a:pt x="172" y="264"/>
                    </a:lnTo>
                    <a:lnTo>
                      <a:pt x="178" y="266"/>
                    </a:lnTo>
                    <a:lnTo>
                      <a:pt x="180" y="266"/>
                    </a:lnTo>
                    <a:lnTo>
                      <a:pt x="182" y="266"/>
                    </a:lnTo>
                    <a:lnTo>
                      <a:pt x="182" y="266"/>
                    </a:lnTo>
                    <a:lnTo>
                      <a:pt x="184" y="266"/>
                    </a:lnTo>
                    <a:lnTo>
                      <a:pt x="184" y="266"/>
                    </a:lnTo>
                    <a:lnTo>
                      <a:pt x="186" y="264"/>
                    </a:lnTo>
                    <a:lnTo>
                      <a:pt x="188" y="264"/>
                    </a:lnTo>
                    <a:lnTo>
                      <a:pt x="188" y="264"/>
                    </a:lnTo>
                    <a:lnTo>
                      <a:pt x="190" y="266"/>
                    </a:lnTo>
                    <a:lnTo>
                      <a:pt x="190" y="266"/>
                    </a:lnTo>
                    <a:lnTo>
                      <a:pt x="190" y="266"/>
                    </a:lnTo>
                    <a:lnTo>
                      <a:pt x="190" y="266"/>
                    </a:lnTo>
                    <a:lnTo>
                      <a:pt x="192" y="268"/>
                    </a:lnTo>
                    <a:lnTo>
                      <a:pt x="192" y="268"/>
                    </a:lnTo>
                    <a:lnTo>
                      <a:pt x="192" y="268"/>
                    </a:lnTo>
                    <a:lnTo>
                      <a:pt x="192" y="270"/>
                    </a:lnTo>
                    <a:lnTo>
                      <a:pt x="192" y="270"/>
                    </a:lnTo>
                    <a:lnTo>
                      <a:pt x="194" y="272"/>
                    </a:lnTo>
                    <a:lnTo>
                      <a:pt x="196" y="272"/>
                    </a:lnTo>
                    <a:lnTo>
                      <a:pt x="200" y="272"/>
                    </a:lnTo>
                    <a:lnTo>
                      <a:pt x="200" y="272"/>
                    </a:lnTo>
                    <a:lnTo>
                      <a:pt x="204" y="272"/>
                    </a:lnTo>
                    <a:lnTo>
                      <a:pt x="208" y="272"/>
                    </a:lnTo>
                    <a:lnTo>
                      <a:pt x="210" y="272"/>
                    </a:lnTo>
                    <a:lnTo>
                      <a:pt x="212" y="274"/>
                    </a:lnTo>
                    <a:lnTo>
                      <a:pt x="212" y="274"/>
                    </a:lnTo>
                    <a:lnTo>
                      <a:pt x="214" y="274"/>
                    </a:lnTo>
                    <a:lnTo>
                      <a:pt x="214" y="274"/>
                    </a:lnTo>
                    <a:lnTo>
                      <a:pt x="218" y="278"/>
                    </a:lnTo>
                    <a:lnTo>
                      <a:pt x="222" y="280"/>
                    </a:lnTo>
                    <a:lnTo>
                      <a:pt x="226" y="282"/>
                    </a:lnTo>
                    <a:lnTo>
                      <a:pt x="228" y="284"/>
                    </a:lnTo>
                    <a:lnTo>
                      <a:pt x="230" y="284"/>
                    </a:lnTo>
                    <a:lnTo>
                      <a:pt x="230" y="284"/>
                    </a:lnTo>
                    <a:lnTo>
                      <a:pt x="236" y="284"/>
                    </a:lnTo>
                    <a:lnTo>
                      <a:pt x="240" y="284"/>
                    </a:lnTo>
                    <a:lnTo>
                      <a:pt x="240" y="284"/>
                    </a:lnTo>
                    <a:lnTo>
                      <a:pt x="244" y="284"/>
                    </a:lnTo>
                    <a:lnTo>
                      <a:pt x="244" y="284"/>
                    </a:lnTo>
                    <a:lnTo>
                      <a:pt x="246" y="284"/>
                    </a:lnTo>
                    <a:lnTo>
                      <a:pt x="248" y="286"/>
                    </a:lnTo>
                    <a:lnTo>
                      <a:pt x="248" y="286"/>
                    </a:lnTo>
                    <a:lnTo>
                      <a:pt x="252" y="290"/>
                    </a:lnTo>
                    <a:lnTo>
                      <a:pt x="256" y="294"/>
                    </a:lnTo>
                    <a:lnTo>
                      <a:pt x="260" y="296"/>
                    </a:lnTo>
                    <a:lnTo>
                      <a:pt x="262" y="298"/>
                    </a:lnTo>
                    <a:lnTo>
                      <a:pt x="262" y="298"/>
                    </a:lnTo>
                    <a:lnTo>
                      <a:pt x="266" y="302"/>
                    </a:lnTo>
                    <a:lnTo>
                      <a:pt x="270" y="304"/>
                    </a:lnTo>
                    <a:lnTo>
                      <a:pt x="274" y="306"/>
                    </a:lnTo>
                    <a:lnTo>
                      <a:pt x="276" y="306"/>
                    </a:lnTo>
                    <a:lnTo>
                      <a:pt x="278" y="306"/>
                    </a:lnTo>
                    <a:lnTo>
                      <a:pt x="278" y="306"/>
                    </a:lnTo>
                    <a:lnTo>
                      <a:pt x="280" y="306"/>
                    </a:lnTo>
                    <a:lnTo>
                      <a:pt x="282" y="306"/>
                    </a:lnTo>
                    <a:lnTo>
                      <a:pt x="282" y="304"/>
                    </a:lnTo>
                    <a:lnTo>
                      <a:pt x="284" y="302"/>
                    </a:lnTo>
                    <a:lnTo>
                      <a:pt x="284" y="300"/>
                    </a:lnTo>
                    <a:lnTo>
                      <a:pt x="284" y="298"/>
                    </a:lnTo>
                    <a:lnTo>
                      <a:pt x="284" y="296"/>
                    </a:lnTo>
                    <a:lnTo>
                      <a:pt x="284" y="296"/>
                    </a:lnTo>
                    <a:lnTo>
                      <a:pt x="284" y="292"/>
                    </a:lnTo>
                    <a:lnTo>
                      <a:pt x="284" y="290"/>
                    </a:lnTo>
                    <a:lnTo>
                      <a:pt x="284" y="288"/>
                    </a:lnTo>
                    <a:lnTo>
                      <a:pt x="284" y="288"/>
                    </a:lnTo>
                    <a:lnTo>
                      <a:pt x="282" y="286"/>
                    </a:lnTo>
                    <a:lnTo>
                      <a:pt x="282" y="286"/>
                    </a:lnTo>
                    <a:lnTo>
                      <a:pt x="280" y="286"/>
                    </a:lnTo>
                    <a:lnTo>
                      <a:pt x="276" y="286"/>
                    </a:lnTo>
                    <a:lnTo>
                      <a:pt x="276" y="286"/>
                    </a:lnTo>
                    <a:lnTo>
                      <a:pt x="274" y="288"/>
                    </a:lnTo>
                    <a:lnTo>
                      <a:pt x="270" y="288"/>
                    </a:lnTo>
                    <a:lnTo>
                      <a:pt x="268" y="288"/>
                    </a:lnTo>
                    <a:lnTo>
                      <a:pt x="266" y="288"/>
                    </a:lnTo>
                    <a:lnTo>
                      <a:pt x="264" y="286"/>
                    </a:lnTo>
                    <a:lnTo>
                      <a:pt x="264" y="286"/>
                    </a:lnTo>
                    <a:lnTo>
                      <a:pt x="264" y="286"/>
                    </a:lnTo>
                    <a:lnTo>
                      <a:pt x="262" y="284"/>
                    </a:lnTo>
                    <a:lnTo>
                      <a:pt x="260" y="282"/>
                    </a:lnTo>
                    <a:lnTo>
                      <a:pt x="260" y="280"/>
                    </a:lnTo>
                    <a:lnTo>
                      <a:pt x="258" y="276"/>
                    </a:lnTo>
                    <a:lnTo>
                      <a:pt x="256" y="274"/>
                    </a:lnTo>
                    <a:lnTo>
                      <a:pt x="256" y="274"/>
                    </a:lnTo>
                    <a:lnTo>
                      <a:pt x="256" y="272"/>
                    </a:lnTo>
                    <a:lnTo>
                      <a:pt x="256" y="270"/>
                    </a:lnTo>
                    <a:lnTo>
                      <a:pt x="256" y="268"/>
                    </a:lnTo>
                    <a:lnTo>
                      <a:pt x="258" y="264"/>
                    </a:lnTo>
                    <a:lnTo>
                      <a:pt x="260" y="262"/>
                    </a:lnTo>
                    <a:lnTo>
                      <a:pt x="260" y="262"/>
                    </a:lnTo>
                    <a:lnTo>
                      <a:pt x="260" y="258"/>
                    </a:lnTo>
                    <a:lnTo>
                      <a:pt x="260" y="256"/>
                    </a:lnTo>
                    <a:lnTo>
                      <a:pt x="260" y="254"/>
                    </a:lnTo>
                    <a:lnTo>
                      <a:pt x="260" y="250"/>
                    </a:lnTo>
                    <a:lnTo>
                      <a:pt x="260" y="250"/>
                    </a:lnTo>
                    <a:lnTo>
                      <a:pt x="260" y="248"/>
                    </a:lnTo>
                    <a:lnTo>
                      <a:pt x="260" y="248"/>
                    </a:lnTo>
                    <a:lnTo>
                      <a:pt x="260" y="244"/>
                    </a:lnTo>
                    <a:lnTo>
                      <a:pt x="260" y="244"/>
                    </a:lnTo>
                    <a:lnTo>
                      <a:pt x="260" y="242"/>
                    </a:lnTo>
                    <a:lnTo>
                      <a:pt x="260" y="240"/>
                    </a:lnTo>
                    <a:lnTo>
                      <a:pt x="260" y="238"/>
                    </a:lnTo>
                    <a:lnTo>
                      <a:pt x="260" y="238"/>
                    </a:lnTo>
                    <a:lnTo>
                      <a:pt x="264" y="236"/>
                    </a:lnTo>
                    <a:lnTo>
                      <a:pt x="264" y="236"/>
                    </a:lnTo>
                    <a:lnTo>
                      <a:pt x="266" y="234"/>
                    </a:lnTo>
                    <a:lnTo>
                      <a:pt x="266" y="234"/>
                    </a:lnTo>
                    <a:lnTo>
                      <a:pt x="268" y="230"/>
                    </a:lnTo>
                    <a:lnTo>
                      <a:pt x="268" y="228"/>
                    </a:lnTo>
                    <a:lnTo>
                      <a:pt x="270" y="228"/>
                    </a:lnTo>
                    <a:lnTo>
                      <a:pt x="272" y="226"/>
                    </a:lnTo>
                    <a:lnTo>
                      <a:pt x="274" y="226"/>
                    </a:lnTo>
                    <a:lnTo>
                      <a:pt x="276" y="226"/>
                    </a:lnTo>
                    <a:lnTo>
                      <a:pt x="278" y="226"/>
                    </a:lnTo>
                    <a:lnTo>
                      <a:pt x="278" y="226"/>
                    </a:lnTo>
                    <a:lnTo>
                      <a:pt x="288" y="226"/>
                    </a:lnTo>
                    <a:lnTo>
                      <a:pt x="298" y="226"/>
                    </a:lnTo>
                    <a:lnTo>
                      <a:pt x="298" y="226"/>
                    </a:lnTo>
                    <a:lnTo>
                      <a:pt x="298" y="224"/>
                    </a:lnTo>
                    <a:lnTo>
                      <a:pt x="296" y="222"/>
                    </a:lnTo>
                    <a:lnTo>
                      <a:pt x="296" y="222"/>
                    </a:lnTo>
                    <a:lnTo>
                      <a:pt x="294" y="222"/>
                    </a:lnTo>
                    <a:lnTo>
                      <a:pt x="294" y="222"/>
                    </a:lnTo>
                    <a:lnTo>
                      <a:pt x="290" y="220"/>
                    </a:lnTo>
                    <a:lnTo>
                      <a:pt x="290" y="220"/>
                    </a:lnTo>
                    <a:lnTo>
                      <a:pt x="288" y="218"/>
                    </a:lnTo>
                    <a:lnTo>
                      <a:pt x="286" y="216"/>
                    </a:lnTo>
                    <a:lnTo>
                      <a:pt x="286" y="214"/>
                    </a:lnTo>
                    <a:lnTo>
                      <a:pt x="286" y="214"/>
                    </a:lnTo>
                    <a:lnTo>
                      <a:pt x="286" y="210"/>
                    </a:lnTo>
                    <a:lnTo>
                      <a:pt x="284" y="206"/>
                    </a:lnTo>
                    <a:lnTo>
                      <a:pt x="284" y="202"/>
                    </a:lnTo>
                    <a:lnTo>
                      <a:pt x="284" y="198"/>
                    </a:lnTo>
                    <a:lnTo>
                      <a:pt x="284" y="198"/>
                    </a:lnTo>
                    <a:lnTo>
                      <a:pt x="284" y="198"/>
                    </a:lnTo>
                    <a:lnTo>
                      <a:pt x="282" y="196"/>
                    </a:lnTo>
                    <a:lnTo>
                      <a:pt x="280" y="194"/>
                    </a:lnTo>
                    <a:lnTo>
                      <a:pt x="280" y="194"/>
                    </a:lnTo>
                    <a:lnTo>
                      <a:pt x="278" y="190"/>
                    </a:lnTo>
                    <a:lnTo>
                      <a:pt x="276" y="186"/>
                    </a:lnTo>
                    <a:lnTo>
                      <a:pt x="276" y="186"/>
                    </a:lnTo>
                    <a:lnTo>
                      <a:pt x="276" y="184"/>
                    </a:lnTo>
                    <a:lnTo>
                      <a:pt x="276" y="180"/>
                    </a:lnTo>
                    <a:lnTo>
                      <a:pt x="274" y="174"/>
                    </a:lnTo>
                    <a:lnTo>
                      <a:pt x="274" y="174"/>
                    </a:lnTo>
                    <a:lnTo>
                      <a:pt x="272" y="168"/>
                    </a:lnTo>
                    <a:lnTo>
                      <a:pt x="272" y="164"/>
                    </a:lnTo>
                    <a:lnTo>
                      <a:pt x="272" y="160"/>
                    </a:lnTo>
                    <a:lnTo>
                      <a:pt x="272" y="158"/>
                    </a:lnTo>
                    <a:lnTo>
                      <a:pt x="272" y="154"/>
                    </a:lnTo>
                    <a:lnTo>
                      <a:pt x="274" y="152"/>
                    </a:lnTo>
                    <a:lnTo>
                      <a:pt x="276" y="148"/>
                    </a:lnTo>
                    <a:lnTo>
                      <a:pt x="276" y="148"/>
                    </a:lnTo>
                    <a:lnTo>
                      <a:pt x="278" y="146"/>
                    </a:lnTo>
                    <a:lnTo>
                      <a:pt x="280" y="144"/>
                    </a:lnTo>
                    <a:lnTo>
                      <a:pt x="282" y="142"/>
                    </a:lnTo>
                    <a:lnTo>
                      <a:pt x="282" y="142"/>
                    </a:lnTo>
                    <a:lnTo>
                      <a:pt x="282" y="140"/>
                    </a:lnTo>
                    <a:lnTo>
                      <a:pt x="280" y="138"/>
                    </a:lnTo>
                    <a:lnTo>
                      <a:pt x="280" y="138"/>
                    </a:lnTo>
                    <a:lnTo>
                      <a:pt x="280" y="136"/>
                    </a:lnTo>
                    <a:lnTo>
                      <a:pt x="278" y="136"/>
                    </a:lnTo>
                    <a:lnTo>
                      <a:pt x="276" y="134"/>
                    </a:lnTo>
                    <a:lnTo>
                      <a:pt x="276" y="134"/>
                    </a:lnTo>
                    <a:lnTo>
                      <a:pt x="276" y="132"/>
                    </a:lnTo>
                    <a:lnTo>
                      <a:pt x="276" y="132"/>
                    </a:lnTo>
                    <a:lnTo>
                      <a:pt x="274" y="130"/>
                    </a:lnTo>
                    <a:lnTo>
                      <a:pt x="274" y="130"/>
                    </a:lnTo>
                    <a:lnTo>
                      <a:pt x="276" y="130"/>
                    </a:lnTo>
                    <a:lnTo>
                      <a:pt x="276" y="128"/>
                    </a:lnTo>
                    <a:lnTo>
                      <a:pt x="276" y="128"/>
                    </a:lnTo>
                    <a:lnTo>
                      <a:pt x="276" y="128"/>
                    </a:lnTo>
                    <a:lnTo>
                      <a:pt x="274" y="126"/>
                    </a:lnTo>
                    <a:lnTo>
                      <a:pt x="274" y="126"/>
                    </a:lnTo>
                    <a:lnTo>
                      <a:pt x="274" y="124"/>
                    </a:lnTo>
                    <a:lnTo>
                      <a:pt x="274" y="122"/>
                    </a:lnTo>
                    <a:lnTo>
                      <a:pt x="276" y="118"/>
                    </a:lnTo>
                    <a:lnTo>
                      <a:pt x="276" y="118"/>
                    </a:lnTo>
                    <a:lnTo>
                      <a:pt x="276" y="116"/>
                    </a:lnTo>
                    <a:lnTo>
                      <a:pt x="278" y="114"/>
                    </a:lnTo>
                    <a:lnTo>
                      <a:pt x="278" y="112"/>
                    </a:lnTo>
                    <a:lnTo>
                      <a:pt x="280" y="110"/>
                    </a:lnTo>
                    <a:lnTo>
                      <a:pt x="280" y="110"/>
                    </a:lnTo>
                    <a:lnTo>
                      <a:pt x="280" y="108"/>
                    </a:lnTo>
                    <a:lnTo>
                      <a:pt x="280" y="108"/>
                    </a:lnTo>
                    <a:lnTo>
                      <a:pt x="280" y="108"/>
                    </a:lnTo>
                    <a:lnTo>
                      <a:pt x="282" y="106"/>
                    </a:lnTo>
                    <a:lnTo>
                      <a:pt x="282" y="106"/>
                    </a:lnTo>
                    <a:lnTo>
                      <a:pt x="284" y="104"/>
                    </a:lnTo>
                    <a:lnTo>
                      <a:pt x="284" y="104"/>
                    </a:lnTo>
                    <a:lnTo>
                      <a:pt x="284" y="104"/>
                    </a:lnTo>
                    <a:lnTo>
                      <a:pt x="284" y="102"/>
                    </a:lnTo>
                    <a:lnTo>
                      <a:pt x="284" y="100"/>
                    </a:lnTo>
                    <a:lnTo>
                      <a:pt x="284" y="96"/>
                    </a:lnTo>
                    <a:lnTo>
                      <a:pt x="284" y="96"/>
                    </a:lnTo>
                    <a:lnTo>
                      <a:pt x="284" y="90"/>
                    </a:lnTo>
                    <a:lnTo>
                      <a:pt x="284" y="86"/>
                    </a:lnTo>
                    <a:lnTo>
                      <a:pt x="284" y="82"/>
                    </a:lnTo>
                    <a:lnTo>
                      <a:pt x="284" y="82"/>
                    </a:lnTo>
                    <a:lnTo>
                      <a:pt x="284" y="82"/>
                    </a:lnTo>
                    <a:lnTo>
                      <a:pt x="286" y="80"/>
                    </a:lnTo>
                    <a:lnTo>
                      <a:pt x="288" y="78"/>
                    </a:lnTo>
                    <a:lnTo>
                      <a:pt x="288" y="78"/>
                    </a:lnTo>
                    <a:lnTo>
                      <a:pt x="288" y="76"/>
                    </a:lnTo>
                    <a:lnTo>
                      <a:pt x="288" y="74"/>
                    </a:lnTo>
                    <a:lnTo>
                      <a:pt x="290" y="72"/>
                    </a:lnTo>
                    <a:lnTo>
                      <a:pt x="290" y="72"/>
                    </a:lnTo>
                    <a:lnTo>
                      <a:pt x="292" y="68"/>
                    </a:lnTo>
                    <a:lnTo>
                      <a:pt x="294" y="66"/>
                    </a:lnTo>
                    <a:lnTo>
                      <a:pt x="296" y="64"/>
                    </a:lnTo>
                    <a:lnTo>
                      <a:pt x="298" y="62"/>
                    </a:lnTo>
                    <a:lnTo>
                      <a:pt x="298" y="62"/>
                    </a:lnTo>
                    <a:lnTo>
                      <a:pt x="300" y="60"/>
                    </a:lnTo>
                    <a:lnTo>
                      <a:pt x="300" y="58"/>
                    </a:lnTo>
                    <a:lnTo>
                      <a:pt x="302" y="58"/>
                    </a:lnTo>
                    <a:lnTo>
                      <a:pt x="302" y="58"/>
                    </a:lnTo>
                    <a:lnTo>
                      <a:pt x="302" y="56"/>
                    </a:lnTo>
                    <a:lnTo>
                      <a:pt x="304" y="56"/>
                    </a:lnTo>
                    <a:lnTo>
                      <a:pt x="306" y="56"/>
                    </a:lnTo>
                    <a:lnTo>
                      <a:pt x="306" y="56"/>
                    </a:lnTo>
                    <a:lnTo>
                      <a:pt x="308" y="56"/>
                    </a:lnTo>
                    <a:lnTo>
                      <a:pt x="308" y="56"/>
                    </a:lnTo>
                    <a:lnTo>
                      <a:pt x="308" y="54"/>
                    </a:lnTo>
                    <a:lnTo>
                      <a:pt x="308" y="52"/>
                    </a:lnTo>
                    <a:lnTo>
                      <a:pt x="308" y="48"/>
                    </a:lnTo>
                    <a:lnTo>
                      <a:pt x="308" y="48"/>
                    </a:lnTo>
                    <a:lnTo>
                      <a:pt x="308" y="46"/>
                    </a:lnTo>
                    <a:lnTo>
                      <a:pt x="308" y="42"/>
                    </a:lnTo>
                    <a:lnTo>
                      <a:pt x="308" y="42"/>
                    </a:lnTo>
                    <a:lnTo>
                      <a:pt x="308" y="40"/>
                    </a:lnTo>
                    <a:lnTo>
                      <a:pt x="308" y="38"/>
                    </a:lnTo>
                    <a:lnTo>
                      <a:pt x="308" y="36"/>
                    </a:lnTo>
                    <a:lnTo>
                      <a:pt x="308" y="36"/>
                    </a:lnTo>
                    <a:lnTo>
                      <a:pt x="306" y="34"/>
                    </a:lnTo>
                    <a:lnTo>
                      <a:pt x="304" y="30"/>
                    </a:lnTo>
                    <a:lnTo>
                      <a:pt x="304" y="30"/>
                    </a:lnTo>
                    <a:lnTo>
                      <a:pt x="302" y="28"/>
                    </a:lnTo>
                    <a:lnTo>
                      <a:pt x="300" y="24"/>
                    </a:lnTo>
                    <a:lnTo>
                      <a:pt x="300" y="24"/>
                    </a:lnTo>
                    <a:lnTo>
                      <a:pt x="300" y="24"/>
                    </a:lnTo>
                    <a:lnTo>
                      <a:pt x="300" y="22"/>
                    </a:lnTo>
                    <a:lnTo>
                      <a:pt x="300" y="22"/>
                    </a:lnTo>
                    <a:lnTo>
                      <a:pt x="298" y="18"/>
                    </a:lnTo>
                    <a:lnTo>
                      <a:pt x="296" y="16"/>
                    </a:lnTo>
                    <a:lnTo>
                      <a:pt x="292" y="16"/>
                    </a:lnTo>
                    <a:lnTo>
                      <a:pt x="290" y="14"/>
                    </a:lnTo>
                    <a:lnTo>
                      <a:pt x="290" y="14"/>
                    </a:lnTo>
                    <a:lnTo>
                      <a:pt x="284" y="14"/>
                    </a:lnTo>
                    <a:lnTo>
                      <a:pt x="278" y="14"/>
                    </a:lnTo>
                    <a:lnTo>
                      <a:pt x="272" y="14"/>
                    </a:lnTo>
                    <a:lnTo>
                      <a:pt x="264" y="14"/>
                    </a:lnTo>
                    <a:lnTo>
                      <a:pt x="264" y="14"/>
                    </a:lnTo>
                    <a:lnTo>
                      <a:pt x="262" y="14"/>
                    </a:lnTo>
                    <a:lnTo>
                      <a:pt x="260" y="12"/>
                    </a:lnTo>
                    <a:lnTo>
                      <a:pt x="260" y="12"/>
                    </a:lnTo>
                    <a:lnTo>
                      <a:pt x="258" y="10"/>
                    </a:lnTo>
                    <a:lnTo>
                      <a:pt x="258" y="10"/>
                    </a:lnTo>
                    <a:lnTo>
                      <a:pt x="256" y="8"/>
                    </a:lnTo>
                    <a:lnTo>
                      <a:pt x="256" y="6"/>
                    </a:lnTo>
                    <a:lnTo>
                      <a:pt x="256" y="6"/>
                    </a:lnTo>
                    <a:lnTo>
                      <a:pt x="256" y="6"/>
                    </a:lnTo>
                    <a:lnTo>
                      <a:pt x="254" y="4"/>
                    </a:lnTo>
                    <a:lnTo>
                      <a:pt x="254" y="4"/>
                    </a:lnTo>
                    <a:lnTo>
                      <a:pt x="250" y="2"/>
                    </a:lnTo>
                    <a:lnTo>
                      <a:pt x="250" y="2"/>
                    </a:lnTo>
                    <a:lnTo>
                      <a:pt x="250" y="0"/>
                    </a:lnTo>
                    <a:lnTo>
                      <a:pt x="250" y="0"/>
                    </a:lnTo>
                    <a:lnTo>
                      <a:pt x="236" y="2"/>
                    </a:lnTo>
                    <a:lnTo>
                      <a:pt x="222" y="2"/>
                    </a:lnTo>
                    <a:lnTo>
                      <a:pt x="194" y="4"/>
                    </a:lnTo>
                    <a:lnTo>
                      <a:pt x="194" y="4"/>
                    </a:lnTo>
                    <a:lnTo>
                      <a:pt x="190" y="4"/>
                    </a:lnTo>
                    <a:lnTo>
                      <a:pt x="188" y="6"/>
                    </a:lnTo>
                    <a:lnTo>
                      <a:pt x="184" y="6"/>
                    </a:lnTo>
                    <a:lnTo>
                      <a:pt x="182" y="8"/>
                    </a:lnTo>
                    <a:lnTo>
                      <a:pt x="178" y="8"/>
                    </a:lnTo>
                    <a:lnTo>
                      <a:pt x="172" y="10"/>
                    </a:lnTo>
                    <a:lnTo>
                      <a:pt x="170" y="12"/>
                    </a:lnTo>
                    <a:lnTo>
                      <a:pt x="168" y="14"/>
                    </a:lnTo>
                    <a:lnTo>
                      <a:pt x="168" y="14"/>
                    </a:lnTo>
                    <a:lnTo>
                      <a:pt x="166" y="16"/>
                    </a:lnTo>
                    <a:lnTo>
                      <a:pt x="166" y="18"/>
                    </a:lnTo>
                    <a:lnTo>
                      <a:pt x="164" y="20"/>
                    </a:lnTo>
                    <a:lnTo>
                      <a:pt x="164" y="20"/>
                    </a:lnTo>
                    <a:lnTo>
                      <a:pt x="164" y="22"/>
                    </a:lnTo>
                    <a:lnTo>
                      <a:pt x="164" y="22"/>
                    </a:lnTo>
                    <a:lnTo>
                      <a:pt x="160" y="24"/>
                    </a:lnTo>
                    <a:lnTo>
                      <a:pt x="160" y="24"/>
                    </a:lnTo>
                    <a:lnTo>
                      <a:pt x="158" y="24"/>
                    </a:lnTo>
                    <a:lnTo>
                      <a:pt x="156" y="24"/>
                    </a:lnTo>
                    <a:lnTo>
                      <a:pt x="156" y="24"/>
                    </a:lnTo>
                    <a:lnTo>
                      <a:pt x="154" y="22"/>
                    </a:lnTo>
                    <a:lnTo>
                      <a:pt x="150" y="20"/>
                    </a:lnTo>
                    <a:lnTo>
                      <a:pt x="150" y="20"/>
                    </a:lnTo>
                    <a:lnTo>
                      <a:pt x="148" y="20"/>
                    </a:lnTo>
                    <a:lnTo>
                      <a:pt x="148" y="20"/>
                    </a:lnTo>
                    <a:lnTo>
                      <a:pt x="146" y="18"/>
                    </a:lnTo>
                    <a:lnTo>
                      <a:pt x="144" y="18"/>
                    </a:lnTo>
                    <a:lnTo>
                      <a:pt x="140" y="18"/>
                    </a:lnTo>
                    <a:lnTo>
                      <a:pt x="136" y="18"/>
                    </a:lnTo>
                    <a:lnTo>
                      <a:pt x="134" y="16"/>
                    </a:lnTo>
                    <a:lnTo>
                      <a:pt x="132" y="16"/>
                    </a:lnTo>
                    <a:lnTo>
                      <a:pt x="132" y="16"/>
                    </a:lnTo>
                    <a:lnTo>
                      <a:pt x="130" y="14"/>
                    </a:lnTo>
                    <a:lnTo>
                      <a:pt x="126" y="12"/>
                    </a:lnTo>
                    <a:lnTo>
                      <a:pt x="124" y="10"/>
                    </a:lnTo>
                    <a:lnTo>
                      <a:pt x="122" y="10"/>
                    </a:lnTo>
                    <a:lnTo>
                      <a:pt x="120" y="8"/>
                    </a:lnTo>
                    <a:lnTo>
                      <a:pt x="120" y="8"/>
                    </a:lnTo>
                    <a:lnTo>
                      <a:pt x="118" y="8"/>
                    </a:lnTo>
                    <a:lnTo>
                      <a:pt x="116" y="8"/>
                    </a:lnTo>
                    <a:lnTo>
                      <a:pt x="116" y="8"/>
                    </a:lnTo>
                    <a:lnTo>
                      <a:pt x="116" y="10"/>
                    </a:lnTo>
                    <a:lnTo>
                      <a:pt x="114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0" y="14"/>
                    </a:lnTo>
                    <a:lnTo>
                      <a:pt x="108" y="14"/>
                    </a:lnTo>
                    <a:lnTo>
                      <a:pt x="106" y="16"/>
                    </a:lnTo>
                    <a:lnTo>
                      <a:pt x="104" y="16"/>
                    </a:lnTo>
                    <a:lnTo>
                      <a:pt x="102" y="16"/>
                    </a:lnTo>
                    <a:lnTo>
                      <a:pt x="102" y="18"/>
                    </a:lnTo>
                    <a:lnTo>
                      <a:pt x="102" y="18"/>
                    </a:lnTo>
                    <a:lnTo>
                      <a:pt x="100" y="20"/>
                    </a:lnTo>
                    <a:lnTo>
                      <a:pt x="100" y="22"/>
                    </a:lnTo>
                    <a:lnTo>
                      <a:pt x="100" y="24"/>
                    </a:lnTo>
                    <a:lnTo>
                      <a:pt x="100" y="26"/>
                    </a:lnTo>
                    <a:lnTo>
                      <a:pt x="102" y="32"/>
                    </a:lnTo>
                    <a:lnTo>
                      <a:pt x="100" y="34"/>
                    </a:lnTo>
                    <a:lnTo>
                      <a:pt x="100" y="36"/>
                    </a:lnTo>
                    <a:lnTo>
                      <a:pt x="100" y="36"/>
                    </a:lnTo>
                    <a:lnTo>
                      <a:pt x="102" y="36"/>
                    </a:lnTo>
                    <a:lnTo>
                      <a:pt x="102" y="38"/>
                    </a:lnTo>
                    <a:lnTo>
                      <a:pt x="102" y="38"/>
                    </a:lnTo>
                    <a:lnTo>
                      <a:pt x="102" y="40"/>
                    </a:lnTo>
                    <a:lnTo>
                      <a:pt x="102" y="42"/>
                    </a:lnTo>
                    <a:lnTo>
                      <a:pt x="102" y="46"/>
                    </a:lnTo>
                    <a:lnTo>
                      <a:pt x="102" y="46"/>
                    </a:lnTo>
                    <a:lnTo>
                      <a:pt x="100" y="48"/>
                    </a:lnTo>
                    <a:lnTo>
                      <a:pt x="98" y="52"/>
                    </a:lnTo>
                    <a:lnTo>
                      <a:pt x="96" y="58"/>
                    </a:lnTo>
                    <a:lnTo>
                      <a:pt x="96" y="58"/>
                    </a:lnTo>
                    <a:lnTo>
                      <a:pt x="94" y="62"/>
                    </a:lnTo>
                    <a:lnTo>
                      <a:pt x="94" y="64"/>
                    </a:lnTo>
                    <a:lnTo>
                      <a:pt x="94" y="68"/>
                    </a:lnTo>
                    <a:lnTo>
                      <a:pt x="94" y="72"/>
                    </a:lnTo>
                    <a:lnTo>
                      <a:pt x="94" y="78"/>
                    </a:lnTo>
                    <a:lnTo>
                      <a:pt x="94" y="82"/>
                    </a:lnTo>
                    <a:lnTo>
                      <a:pt x="94" y="84"/>
                    </a:lnTo>
                    <a:lnTo>
                      <a:pt x="94" y="84"/>
                    </a:lnTo>
                    <a:lnTo>
                      <a:pt x="92" y="92"/>
                    </a:lnTo>
                    <a:lnTo>
                      <a:pt x="90" y="94"/>
                    </a:lnTo>
                    <a:lnTo>
                      <a:pt x="88" y="96"/>
                    </a:lnTo>
                    <a:lnTo>
                      <a:pt x="88" y="100"/>
                    </a:lnTo>
                    <a:lnTo>
                      <a:pt x="86" y="102"/>
                    </a:lnTo>
                    <a:lnTo>
                      <a:pt x="82" y="104"/>
                    </a:lnTo>
                    <a:lnTo>
                      <a:pt x="80" y="106"/>
                    </a:lnTo>
                    <a:lnTo>
                      <a:pt x="80" y="106"/>
                    </a:lnTo>
                    <a:lnTo>
                      <a:pt x="78" y="108"/>
                    </a:lnTo>
                    <a:lnTo>
                      <a:pt x="74" y="110"/>
                    </a:lnTo>
                    <a:lnTo>
                      <a:pt x="72" y="112"/>
                    </a:lnTo>
                    <a:lnTo>
                      <a:pt x="70" y="116"/>
                    </a:lnTo>
                    <a:lnTo>
                      <a:pt x="70" y="116"/>
                    </a:lnTo>
                    <a:lnTo>
                      <a:pt x="70" y="118"/>
                    </a:lnTo>
                    <a:lnTo>
                      <a:pt x="70" y="120"/>
                    </a:lnTo>
                    <a:lnTo>
                      <a:pt x="70" y="122"/>
                    </a:lnTo>
                    <a:lnTo>
                      <a:pt x="70" y="126"/>
                    </a:lnTo>
                    <a:lnTo>
                      <a:pt x="68" y="128"/>
                    </a:lnTo>
                    <a:lnTo>
                      <a:pt x="68" y="130"/>
                    </a:lnTo>
                    <a:lnTo>
                      <a:pt x="68" y="130"/>
                    </a:lnTo>
                    <a:lnTo>
                      <a:pt x="68" y="130"/>
                    </a:lnTo>
                    <a:lnTo>
                      <a:pt x="66" y="132"/>
                    </a:lnTo>
                    <a:lnTo>
                      <a:pt x="64" y="134"/>
                    </a:lnTo>
                    <a:lnTo>
                      <a:pt x="64" y="136"/>
                    </a:lnTo>
                    <a:lnTo>
                      <a:pt x="64" y="136"/>
                    </a:lnTo>
                    <a:lnTo>
                      <a:pt x="62" y="142"/>
                    </a:lnTo>
                    <a:lnTo>
                      <a:pt x="62" y="144"/>
                    </a:lnTo>
                    <a:lnTo>
                      <a:pt x="60" y="148"/>
                    </a:lnTo>
                    <a:lnTo>
                      <a:pt x="60" y="148"/>
                    </a:lnTo>
                    <a:lnTo>
                      <a:pt x="58" y="150"/>
                    </a:lnTo>
                    <a:lnTo>
                      <a:pt x="56" y="150"/>
                    </a:lnTo>
                    <a:lnTo>
                      <a:pt x="54" y="152"/>
                    </a:lnTo>
                    <a:lnTo>
                      <a:pt x="52" y="154"/>
                    </a:lnTo>
                    <a:lnTo>
                      <a:pt x="52" y="154"/>
                    </a:lnTo>
                    <a:lnTo>
                      <a:pt x="48" y="158"/>
                    </a:lnTo>
                    <a:lnTo>
                      <a:pt x="44" y="164"/>
                    </a:lnTo>
                    <a:lnTo>
                      <a:pt x="44" y="164"/>
                    </a:lnTo>
                    <a:lnTo>
                      <a:pt x="42" y="164"/>
                    </a:lnTo>
                    <a:lnTo>
                      <a:pt x="40" y="164"/>
                    </a:lnTo>
                    <a:lnTo>
                      <a:pt x="38" y="164"/>
                    </a:lnTo>
                    <a:lnTo>
                      <a:pt x="38" y="164"/>
                    </a:lnTo>
                    <a:lnTo>
                      <a:pt x="38" y="164"/>
                    </a:lnTo>
                    <a:lnTo>
                      <a:pt x="36" y="164"/>
                    </a:lnTo>
                    <a:lnTo>
                      <a:pt x="34" y="164"/>
                    </a:lnTo>
                    <a:lnTo>
                      <a:pt x="32" y="166"/>
                    </a:lnTo>
                    <a:lnTo>
                      <a:pt x="30" y="166"/>
                    </a:lnTo>
                    <a:lnTo>
                      <a:pt x="30" y="166"/>
                    </a:lnTo>
                    <a:lnTo>
                      <a:pt x="26" y="168"/>
                    </a:lnTo>
                    <a:lnTo>
                      <a:pt x="24" y="168"/>
                    </a:lnTo>
                    <a:lnTo>
                      <a:pt x="22" y="170"/>
                    </a:lnTo>
                    <a:lnTo>
                      <a:pt x="22" y="170"/>
                    </a:lnTo>
                    <a:lnTo>
                      <a:pt x="20" y="170"/>
                    </a:lnTo>
                    <a:lnTo>
                      <a:pt x="20" y="168"/>
                    </a:lnTo>
                    <a:lnTo>
                      <a:pt x="20" y="168"/>
                    </a:lnTo>
                    <a:lnTo>
                      <a:pt x="18" y="166"/>
                    </a:lnTo>
                    <a:lnTo>
                      <a:pt x="18" y="166"/>
                    </a:lnTo>
                    <a:lnTo>
                      <a:pt x="16" y="164"/>
                    </a:lnTo>
                    <a:lnTo>
                      <a:pt x="14" y="164"/>
                    </a:lnTo>
                    <a:lnTo>
                      <a:pt x="12" y="164"/>
                    </a:lnTo>
                    <a:lnTo>
                      <a:pt x="12" y="164"/>
                    </a:lnTo>
                    <a:lnTo>
                      <a:pt x="10" y="162"/>
                    </a:lnTo>
                    <a:lnTo>
                      <a:pt x="10" y="164"/>
                    </a:lnTo>
                    <a:lnTo>
                      <a:pt x="10" y="164"/>
                    </a:lnTo>
                    <a:lnTo>
                      <a:pt x="10" y="170"/>
                    </a:lnTo>
                    <a:lnTo>
                      <a:pt x="10" y="172"/>
                    </a:lnTo>
                    <a:lnTo>
                      <a:pt x="8" y="176"/>
                    </a:lnTo>
                    <a:lnTo>
                      <a:pt x="8" y="176"/>
                    </a:lnTo>
                    <a:lnTo>
                      <a:pt x="6" y="176"/>
                    </a:lnTo>
                    <a:lnTo>
                      <a:pt x="6" y="178"/>
                    </a:lnTo>
                    <a:lnTo>
                      <a:pt x="4" y="178"/>
                    </a:lnTo>
                    <a:lnTo>
                      <a:pt x="2" y="178"/>
                    </a:lnTo>
                    <a:lnTo>
                      <a:pt x="2" y="178"/>
                    </a:lnTo>
                    <a:lnTo>
                      <a:pt x="0" y="178"/>
                    </a:lnTo>
                    <a:lnTo>
                      <a:pt x="0" y="178"/>
                    </a:lnTo>
                    <a:lnTo>
                      <a:pt x="0" y="180"/>
                    </a:lnTo>
                    <a:lnTo>
                      <a:pt x="2" y="182"/>
                    </a:lnTo>
                    <a:lnTo>
                      <a:pt x="2" y="182"/>
                    </a:lnTo>
                    <a:lnTo>
                      <a:pt x="4" y="184"/>
                    </a:lnTo>
                    <a:lnTo>
                      <a:pt x="4" y="184"/>
                    </a:lnTo>
                    <a:lnTo>
                      <a:pt x="6" y="184"/>
                    </a:lnTo>
                    <a:lnTo>
                      <a:pt x="8" y="184"/>
                    </a:lnTo>
                    <a:lnTo>
                      <a:pt x="10" y="184"/>
                    </a:lnTo>
                    <a:lnTo>
                      <a:pt x="10" y="184"/>
                    </a:lnTo>
                    <a:lnTo>
                      <a:pt x="10" y="184"/>
                    </a:lnTo>
                    <a:lnTo>
                      <a:pt x="16" y="184"/>
                    </a:lnTo>
                    <a:lnTo>
                      <a:pt x="22" y="184"/>
                    </a:lnTo>
                    <a:lnTo>
                      <a:pt x="34" y="184"/>
                    </a:lnTo>
                    <a:lnTo>
                      <a:pt x="34" y="184"/>
                    </a:lnTo>
                    <a:lnTo>
                      <a:pt x="34" y="184"/>
                    </a:lnTo>
                    <a:lnTo>
                      <a:pt x="34" y="184"/>
                    </a:lnTo>
                    <a:lnTo>
                      <a:pt x="34" y="18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41" name="Freeform 670"/>
              <p:cNvSpPr>
                <a:spLocks/>
              </p:cNvSpPr>
              <p:nvPr/>
            </p:nvSpPr>
            <p:spPr bwMode="auto">
              <a:xfrm>
                <a:off x="2905" y="2904"/>
                <a:ext cx="14" cy="14"/>
              </a:xfrm>
              <a:custGeom>
                <a:avLst/>
                <a:gdLst>
                  <a:gd name="T0" fmla="*/ 12 w 14"/>
                  <a:gd name="T1" fmla="*/ 12 h 14"/>
                  <a:gd name="T2" fmla="*/ 12 w 14"/>
                  <a:gd name="T3" fmla="*/ 12 h 14"/>
                  <a:gd name="T4" fmla="*/ 12 w 14"/>
                  <a:gd name="T5" fmla="*/ 8 h 14"/>
                  <a:gd name="T6" fmla="*/ 14 w 14"/>
                  <a:gd name="T7" fmla="*/ 6 h 14"/>
                  <a:gd name="T8" fmla="*/ 14 w 14"/>
                  <a:gd name="T9" fmla="*/ 0 h 14"/>
                  <a:gd name="T10" fmla="*/ 14 w 14"/>
                  <a:gd name="T11" fmla="*/ 0 h 14"/>
                  <a:gd name="T12" fmla="*/ 12 w 14"/>
                  <a:gd name="T13" fmla="*/ 0 h 14"/>
                  <a:gd name="T14" fmla="*/ 10 w 14"/>
                  <a:gd name="T15" fmla="*/ 0 h 14"/>
                  <a:gd name="T16" fmla="*/ 8 w 14"/>
                  <a:gd name="T17" fmla="*/ 2 h 14"/>
                  <a:gd name="T18" fmla="*/ 8 w 14"/>
                  <a:gd name="T19" fmla="*/ 2 h 14"/>
                  <a:gd name="T20" fmla="*/ 6 w 14"/>
                  <a:gd name="T21" fmla="*/ 2 h 14"/>
                  <a:gd name="T22" fmla="*/ 4 w 14"/>
                  <a:gd name="T23" fmla="*/ 2 h 14"/>
                  <a:gd name="T24" fmla="*/ 0 w 14"/>
                  <a:gd name="T25" fmla="*/ 4 h 14"/>
                  <a:gd name="T26" fmla="*/ 0 w 14"/>
                  <a:gd name="T27" fmla="*/ 4 h 14"/>
                  <a:gd name="T28" fmla="*/ 0 w 14"/>
                  <a:gd name="T29" fmla="*/ 4 h 14"/>
                  <a:gd name="T30" fmla="*/ 0 w 14"/>
                  <a:gd name="T31" fmla="*/ 4 h 14"/>
                  <a:gd name="T32" fmla="*/ 0 w 14"/>
                  <a:gd name="T33" fmla="*/ 8 h 14"/>
                  <a:gd name="T34" fmla="*/ 2 w 14"/>
                  <a:gd name="T35" fmla="*/ 12 h 14"/>
                  <a:gd name="T36" fmla="*/ 2 w 14"/>
                  <a:gd name="T37" fmla="*/ 12 h 14"/>
                  <a:gd name="T38" fmla="*/ 4 w 14"/>
                  <a:gd name="T39" fmla="*/ 14 h 14"/>
                  <a:gd name="T40" fmla="*/ 4 w 14"/>
                  <a:gd name="T41" fmla="*/ 14 h 14"/>
                  <a:gd name="T42" fmla="*/ 6 w 14"/>
                  <a:gd name="T43" fmla="*/ 14 h 14"/>
                  <a:gd name="T44" fmla="*/ 6 w 14"/>
                  <a:gd name="T45" fmla="*/ 14 h 14"/>
                  <a:gd name="T46" fmla="*/ 8 w 14"/>
                  <a:gd name="T47" fmla="*/ 14 h 14"/>
                  <a:gd name="T48" fmla="*/ 10 w 14"/>
                  <a:gd name="T49" fmla="*/ 14 h 14"/>
                  <a:gd name="T50" fmla="*/ 10 w 14"/>
                  <a:gd name="T51" fmla="*/ 12 h 14"/>
                  <a:gd name="T52" fmla="*/ 12 w 14"/>
                  <a:gd name="T53" fmla="*/ 12 h 14"/>
                  <a:gd name="T54" fmla="*/ 12 w 14"/>
                  <a:gd name="T55" fmla="*/ 12 h 14"/>
                  <a:gd name="T56" fmla="*/ 12 w 14"/>
                  <a:gd name="T57" fmla="*/ 12 h 14"/>
                  <a:gd name="T58" fmla="*/ 12 w 14"/>
                  <a:gd name="T59" fmla="*/ 12 h 14"/>
                  <a:gd name="T60" fmla="*/ 12 w 14"/>
                  <a:gd name="T61" fmla="*/ 1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4" h="14">
                    <a:moveTo>
                      <a:pt x="12" y="12"/>
                    </a:moveTo>
                    <a:lnTo>
                      <a:pt x="12" y="12"/>
                    </a:lnTo>
                    <a:lnTo>
                      <a:pt x="12" y="8"/>
                    </a:lnTo>
                    <a:lnTo>
                      <a:pt x="14" y="6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10" y="14"/>
                    </a:lnTo>
                    <a:lnTo>
                      <a:pt x="10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42" name="Freeform 671"/>
              <p:cNvSpPr>
                <a:spLocks/>
              </p:cNvSpPr>
              <p:nvPr/>
            </p:nvSpPr>
            <p:spPr bwMode="auto">
              <a:xfrm>
                <a:off x="2905" y="2904"/>
                <a:ext cx="14" cy="14"/>
              </a:xfrm>
              <a:custGeom>
                <a:avLst/>
                <a:gdLst>
                  <a:gd name="T0" fmla="*/ 12 w 14"/>
                  <a:gd name="T1" fmla="*/ 12 h 14"/>
                  <a:gd name="T2" fmla="*/ 12 w 14"/>
                  <a:gd name="T3" fmla="*/ 12 h 14"/>
                  <a:gd name="T4" fmla="*/ 12 w 14"/>
                  <a:gd name="T5" fmla="*/ 8 h 14"/>
                  <a:gd name="T6" fmla="*/ 14 w 14"/>
                  <a:gd name="T7" fmla="*/ 6 h 14"/>
                  <a:gd name="T8" fmla="*/ 14 w 14"/>
                  <a:gd name="T9" fmla="*/ 0 h 14"/>
                  <a:gd name="T10" fmla="*/ 14 w 14"/>
                  <a:gd name="T11" fmla="*/ 0 h 14"/>
                  <a:gd name="T12" fmla="*/ 12 w 14"/>
                  <a:gd name="T13" fmla="*/ 0 h 14"/>
                  <a:gd name="T14" fmla="*/ 10 w 14"/>
                  <a:gd name="T15" fmla="*/ 0 h 14"/>
                  <a:gd name="T16" fmla="*/ 8 w 14"/>
                  <a:gd name="T17" fmla="*/ 2 h 14"/>
                  <a:gd name="T18" fmla="*/ 8 w 14"/>
                  <a:gd name="T19" fmla="*/ 2 h 14"/>
                  <a:gd name="T20" fmla="*/ 6 w 14"/>
                  <a:gd name="T21" fmla="*/ 2 h 14"/>
                  <a:gd name="T22" fmla="*/ 4 w 14"/>
                  <a:gd name="T23" fmla="*/ 2 h 14"/>
                  <a:gd name="T24" fmla="*/ 0 w 14"/>
                  <a:gd name="T25" fmla="*/ 4 h 14"/>
                  <a:gd name="T26" fmla="*/ 0 w 14"/>
                  <a:gd name="T27" fmla="*/ 4 h 14"/>
                  <a:gd name="T28" fmla="*/ 0 w 14"/>
                  <a:gd name="T29" fmla="*/ 4 h 14"/>
                  <a:gd name="T30" fmla="*/ 0 w 14"/>
                  <a:gd name="T31" fmla="*/ 4 h 14"/>
                  <a:gd name="T32" fmla="*/ 0 w 14"/>
                  <a:gd name="T33" fmla="*/ 8 h 14"/>
                  <a:gd name="T34" fmla="*/ 2 w 14"/>
                  <a:gd name="T35" fmla="*/ 12 h 14"/>
                  <a:gd name="T36" fmla="*/ 2 w 14"/>
                  <a:gd name="T37" fmla="*/ 12 h 14"/>
                  <a:gd name="T38" fmla="*/ 4 w 14"/>
                  <a:gd name="T39" fmla="*/ 14 h 14"/>
                  <a:gd name="T40" fmla="*/ 4 w 14"/>
                  <a:gd name="T41" fmla="*/ 14 h 14"/>
                  <a:gd name="T42" fmla="*/ 6 w 14"/>
                  <a:gd name="T43" fmla="*/ 14 h 14"/>
                  <a:gd name="T44" fmla="*/ 6 w 14"/>
                  <a:gd name="T45" fmla="*/ 14 h 14"/>
                  <a:gd name="T46" fmla="*/ 8 w 14"/>
                  <a:gd name="T47" fmla="*/ 14 h 14"/>
                  <a:gd name="T48" fmla="*/ 10 w 14"/>
                  <a:gd name="T49" fmla="*/ 14 h 14"/>
                  <a:gd name="T50" fmla="*/ 10 w 14"/>
                  <a:gd name="T51" fmla="*/ 12 h 14"/>
                  <a:gd name="T52" fmla="*/ 12 w 14"/>
                  <a:gd name="T53" fmla="*/ 12 h 14"/>
                  <a:gd name="T54" fmla="*/ 12 w 14"/>
                  <a:gd name="T55" fmla="*/ 12 h 14"/>
                  <a:gd name="T56" fmla="*/ 12 w 14"/>
                  <a:gd name="T57" fmla="*/ 12 h 14"/>
                  <a:gd name="T58" fmla="*/ 12 w 14"/>
                  <a:gd name="T59" fmla="*/ 12 h 14"/>
                  <a:gd name="T60" fmla="*/ 12 w 14"/>
                  <a:gd name="T61" fmla="*/ 1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4" h="14">
                    <a:moveTo>
                      <a:pt x="12" y="12"/>
                    </a:moveTo>
                    <a:lnTo>
                      <a:pt x="12" y="12"/>
                    </a:lnTo>
                    <a:lnTo>
                      <a:pt x="12" y="8"/>
                    </a:lnTo>
                    <a:lnTo>
                      <a:pt x="14" y="6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10" y="14"/>
                    </a:lnTo>
                    <a:lnTo>
                      <a:pt x="10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43" name="Freeform 672"/>
              <p:cNvSpPr>
                <a:spLocks/>
              </p:cNvSpPr>
              <p:nvPr/>
            </p:nvSpPr>
            <p:spPr bwMode="auto">
              <a:xfrm>
                <a:off x="2903" y="2924"/>
                <a:ext cx="198" cy="198"/>
              </a:xfrm>
              <a:custGeom>
                <a:avLst/>
                <a:gdLst>
                  <a:gd name="T0" fmla="*/ 64 w 198"/>
                  <a:gd name="T1" fmla="*/ 188 h 198"/>
                  <a:gd name="T2" fmla="*/ 102 w 198"/>
                  <a:gd name="T3" fmla="*/ 186 h 198"/>
                  <a:gd name="T4" fmla="*/ 130 w 198"/>
                  <a:gd name="T5" fmla="*/ 196 h 198"/>
                  <a:gd name="T6" fmla="*/ 152 w 198"/>
                  <a:gd name="T7" fmla="*/ 196 h 198"/>
                  <a:gd name="T8" fmla="*/ 174 w 198"/>
                  <a:gd name="T9" fmla="*/ 194 h 198"/>
                  <a:gd name="T10" fmla="*/ 176 w 198"/>
                  <a:gd name="T11" fmla="*/ 188 h 198"/>
                  <a:gd name="T12" fmla="*/ 170 w 198"/>
                  <a:gd name="T13" fmla="*/ 180 h 198"/>
                  <a:gd name="T14" fmla="*/ 164 w 198"/>
                  <a:gd name="T15" fmla="*/ 172 h 198"/>
                  <a:gd name="T16" fmla="*/ 160 w 198"/>
                  <a:gd name="T17" fmla="*/ 164 h 198"/>
                  <a:gd name="T18" fmla="*/ 162 w 198"/>
                  <a:gd name="T19" fmla="*/ 138 h 198"/>
                  <a:gd name="T20" fmla="*/ 162 w 198"/>
                  <a:gd name="T21" fmla="*/ 118 h 198"/>
                  <a:gd name="T22" fmla="*/ 170 w 198"/>
                  <a:gd name="T23" fmla="*/ 114 h 198"/>
                  <a:gd name="T24" fmla="*/ 196 w 198"/>
                  <a:gd name="T25" fmla="*/ 114 h 198"/>
                  <a:gd name="T26" fmla="*/ 196 w 198"/>
                  <a:gd name="T27" fmla="*/ 108 h 198"/>
                  <a:gd name="T28" fmla="*/ 196 w 198"/>
                  <a:gd name="T29" fmla="*/ 90 h 198"/>
                  <a:gd name="T30" fmla="*/ 196 w 198"/>
                  <a:gd name="T31" fmla="*/ 82 h 198"/>
                  <a:gd name="T32" fmla="*/ 190 w 198"/>
                  <a:gd name="T33" fmla="*/ 82 h 198"/>
                  <a:gd name="T34" fmla="*/ 178 w 198"/>
                  <a:gd name="T35" fmla="*/ 80 h 198"/>
                  <a:gd name="T36" fmla="*/ 170 w 198"/>
                  <a:gd name="T37" fmla="*/ 82 h 198"/>
                  <a:gd name="T38" fmla="*/ 166 w 198"/>
                  <a:gd name="T39" fmla="*/ 76 h 198"/>
                  <a:gd name="T40" fmla="*/ 168 w 198"/>
                  <a:gd name="T41" fmla="*/ 68 h 198"/>
                  <a:gd name="T42" fmla="*/ 160 w 198"/>
                  <a:gd name="T43" fmla="*/ 58 h 198"/>
                  <a:gd name="T44" fmla="*/ 166 w 198"/>
                  <a:gd name="T45" fmla="*/ 44 h 198"/>
                  <a:gd name="T46" fmla="*/ 162 w 198"/>
                  <a:gd name="T47" fmla="*/ 36 h 198"/>
                  <a:gd name="T48" fmla="*/ 158 w 198"/>
                  <a:gd name="T49" fmla="*/ 26 h 198"/>
                  <a:gd name="T50" fmla="*/ 148 w 198"/>
                  <a:gd name="T51" fmla="*/ 28 h 198"/>
                  <a:gd name="T52" fmla="*/ 144 w 198"/>
                  <a:gd name="T53" fmla="*/ 22 h 198"/>
                  <a:gd name="T54" fmla="*/ 132 w 198"/>
                  <a:gd name="T55" fmla="*/ 20 h 198"/>
                  <a:gd name="T56" fmla="*/ 122 w 198"/>
                  <a:gd name="T57" fmla="*/ 28 h 198"/>
                  <a:gd name="T58" fmla="*/ 120 w 198"/>
                  <a:gd name="T59" fmla="*/ 34 h 198"/>
                  <a:gd name="T60" fmla="*/ 104 w 198"/>
                  <a:gd name="T61" fmla="*/ 36 h 198"/>
                  <a:gd name="T62" fmla="*/ 92 w 198"/>
                  <a:gd name="T63" fmla="*/ 30 h 198"/>
                  <a:gd name="T64" fmla="*/ 86 w 198"/>
                  <a:gd name="T65" fmla="*/ 22 h 198"/>
                  <a:gd name="T66" fmla="*/ 82 w 198"/>
                  <a:gd name="T67" fmla="*/ 8 h 198"/>
                  <a:gd name="T68" fmla="*/ 70 w 198"/>
                  <a:gd name="T69" fmla="*/ 0 h 198"/>
                  <a:gd name="T70" fmla="*/ 28 w 198"/>
                  <a:gd name="T71" fmla="*/ 0 h 198"/>
                  <a:gd name="T72" fmla="*/ 18 w 198"/>
                  <a:gd name="T73" fmla="*/ 2 h 198"/>
                  <a:gd name="T74" fmla="*/ 12 w 198"/>
                  <a:gd name="T75" fmla="*/ 6 h 198"/>
                  <a:gd name="T76" fmla="*/ 16 w 198"/>
                  <a:gd name="T77" fmla="*/ 12 h 198"/>
                  <a:gd name="T78" fmla="*/ 20 w 198"/>
                  <a:gd name="T79" fmla="*/ 18 h 198"/>
                  <a:gd name="T80" fmla="*/ 26 w 198"/>
                  <a:gd name="T81" fmla="*/ 34 h 198"/>
                  <a:gd name="T82" fmla="*/ 22 w 198"/>
                  <a:gd name="T83" fmla="*/ 48 h 198"/>
                  <a:gd name="T84" fmla="*/ 26 w 198"/>
                  <a:gd name="T85" fmla="*/ 66 h 198"/>
                  <a:gd name="T86" fmla="*/ 34 w 198"/>
                  <a:gd name="T87" fmla="*/ 82 h 198"/>
                  <a:gd name="T88" fmla="*/ 32 w 198"/>
                  <a:gd name="T89" fmla="*/ 88 h 198"/>
                  <a:gd name="T90" fmla="*/ 30 w 198"/>
                  <a:gd name="T91" fmla="*/ 100 h 198"/>
                  <a:gd name="T92" fmla="*/ 26 w 198"/>
                  <a:gd name="T93" fmla="*/ 110 h 198"/>
                  <a:gd name="T94" fmla="*/ 12 w 198"/>
                  <a:gd name="T95" fmla="*/ 126 h 198"/>
                  <a:gd name="T96" fmla="*/ 4 w 198"/>
                  <a:gd name="T97" fmla="*/ 144 h 198"/>
                  <a:gd name="T98" fmla="*/ 0 w 198"/>
                  <a:gd name="T99" fmla="*/ 176 h 198"/>
                  <a:gd name="T100" fmla="*/ 0 w 198"/>
                  <a:gd name="T101" fmla="*/ 186 h 198"/>
                  <a:gd name="T102" fmla="*/ 14 w 198"/>
                  <a:gd name="T103" fmla="*/ 182 h 198"/>
                  <a:gd name="T104" fmla="*/ 26 w 198"/>
                  <a:gd name="T105" fmla="*/ 184 h 198"/>
                  <a:gd name="T106" fmla="*/ 36 w 198"/>
                  <a:gd name="T107" fmla="*/ 186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98" h="198">
                    <a:moveTo>
                      <a:pt x="36" y="186"/>
                    </a:moveTo>
                    <a:lnTo>
                      <a:pt x="36" y="186"/>
                    </a:lnTo>
                    <a:lnTo>
                      <a:pt x="44" y="188"/>
                    </a:lnTo>
                    <a:lnTo>
                      <a:pt x="50" y="188"/>
                    </a:lnTo>
                    <a:lnTo>
                      <a:pt x="56" y="188"/>
                    </a:lnTo>
                    <a:lnTo>
                      <a:pt x="64" y="188"/>
                    </a:lnTo>
                    <a:lnTo>
                      <a:pt x="78" y="188"/>
                    </a:lnTo>
                    <a:lnTo>
                      <a:pt x="92" y="186"/>
                    </a:lnTo>
                    <a:lnTo>
                      <a:pt x="92" y="186"/>
                    </a:lnTo>
                    <a:lnTo>
                      <a:pt x="98" y="186"/>
                    </a:lnTo>
                    <a:lnTo>
                      <a:pt x="98" y="186"/>
                    </a:lnTo>
                    <a:lnTo>
                      <a:pt x="102" y="186"/>
                    </a:lnTo>
                    <a:lnTo>
                      <a:pt x="102" y="186"/>
                    </a:lnTo>
                    <a:lnTo>
                      <a:pt x="106" y="188"/>
                    </a:lnTo>
                    <a:lnTo>
                      <a:pt x="110" y="190"/>
                    </a:lnTo>
                    <a:lnTo>
                      <a:pt x="110" y="190"/>
                    </a:lnTo>
                    <a:lnTo>
                      <a:pt x="124" y="194"/>
                    </a:lnTo>
                    <a:lnTo>
                      <a:pt x="130" y="196"/>
                    </a:lnTo>
                    <a:lnTo>
                      <a:pt x="136" y="196"/>
                    </a:lnTo>
                    <a:lnTo>
                      <a:pt x="136" y="196"/>
                    </a:lnTo>
                    <a:lnTo>
                      <a:pt x="140" y="196"/>
                    </a:lnTo>
                    <a:lnTo>
                      <a:pt x="142" y="198"/>
                    </a:lnTo>
                    <a:lnTo>
                      <a:pt x="146" y="196"/>
                    </a:lnTo>
                    <a:lnTo>
                      <a:pt x="152" y="196"/>
                    </a:lnTo>
                    <a:lnTo>
                      <a:pt x="156" y="194"/>
                    </a:lnTo>
                    <a:lnTo>
                      <a:pt x="156" y="194"/>
                    </a:lnTo>
                    <a:lnTo>
                      <a:pt x="160" y="194"/>
                    </a:lnTo>
                    <a:lnTo>
                      <a:pt x="162" y="194"/>
                    </a:lnTo>
                    <a:lnTo>
                      <a:pt x="168" y="194"/>
                    </a:lnTo>
                    <a:lnTo>
                      <a:pt x="174" y="194"/>
                    </a:lnTo>
                    <a:lnTo>
                      <a:pt x="176" y="194"/>
                    </a:lnTo>
                    <a:lnTo>
                      <a:pt x="178" y="192"/>
                    </a:lnTo>
                    <a:lnTo>
                      <a:pt x="178" y="192"/>
                    </a:lnTo>
                    <a:lnTo>
                      <a:pt x="178" y="190"/>
                    </a:lnTo>
                    <a:lnTo>
                      <a:pt x="178" y="188"/>
                    </a:lnTo>
                    <a:lnTo>
                      <a:pt x="176" y="188"/>
                    </a:lnTo>
                    <a:lnTo>
                      <a:pt x="176" y="186"/>
                    </a:lnTo>
                    <a:lnTo>
                      <a:pt x="172" y="184"/>
                    </a:lnTo>
                    <a:lnTo>
                      <a:pt x="170" y="184"/>
                    </a:lnTo>
                    <a:lnTo>
                      <a:pt x="170" y="182"/>
                    </a:lnTo>
                    <a:lnTo>
                      <a:pt x="170" y="182"/>
                    </a:lnTo>
                    <a:lnTo>
                      <a:pt x="170" y="180"/>
                    </a:lnTo>
                    <a:lnTo>
                      <a:pt x="170" y="178"/>
                    </a:lnTo>
                    <a:lnTo>
                      <a:pt x="168" y="176"/>
                    </a:lnTo>
                    <a:lnTo>
                      <a:pt x="166" y="174"/>
                    </a:lnTo>
                    <a:lnTo>
                      <a:pt x="166" y="174"/>
                    </a:lnTo>
                    <a:lnTo>
                      <a:pt x="166" y="172"/>
                    </a:lnTo>
                    <a:lnTo>
                      <a:pt x="164" y="172"/>
                    </a:lnTo>
                    <a:lnTo>
                      <a:pt x="162" y="170"/>
                    </a:lnTo>
                    <a:lnTo>
                      <a:pt x="162" y="170"/>
                    </a:lnTo>
                    <a:lnTo>
                      <a:pt x="162" y="170"/>
                    </a:lnTo>
                    <a:lnTo>
                      <a:pt x="160" y="168"/>
                    </a:lnTo>
                    <a:lnTo>
                      <a:pt x="160" y="166"/>
                    </a:lnTo>
                    <a:lnTo>
                      <a:pt x="160" y="164"/>
                    </a:lnTo>
                    <a:lnTo>
                      <a:pt x="160" y="162"/>
                    </a:lnTo>
                    <a:lnTo>
                      <a:pt x="160" y="158"/>
                    </a:lnTo>
                    <a:lnTo>
                      <a:pt x="160" y="156"/>
                    </a:lnTo>
                    <a:lnTo>
                      <a:pt x="160" y="156"/>
                    </a:lnTo>
                    <a:lnTo>
                      <a:pt x="160" y="146"/>
                    </a:lnTo>
                    <a:lnTo>
                      <a:pt x="162" y="138"/>
                    </a:lnTo>
                    <a:lnTo>
                      <a:pt x="162" y="138"/>
                    </a:lnTo>
                    <a:lnTo>
                      <a:pt x="160" y="134"/>
                    </a:lnTo>
                    <a:lnTo>
                      <a:pt x="160" y="128"/>
                    </a:lnTo>
                    <a:lnTo>
                      <a:pt x="160" y="124"/>
                    </a:lnTo>
                    <a:lnTo>
                      <a:pt x="160" y="120"/>
                    </a:lnTo>
                    <a:lnTo>
                      <a:pt x="162" y="118"/>
                    </a:lnTo>
                    <a:lnTo>
                      <a:pt x="162" y="116"/>
                    </a:lnTo>
                    <a:lnTo>
                      <a:pt x="162" y="116"/>
                    </a:lnTo>
                    <a:lnTo>
                      <a:pt x="162" y="116"/>
                    </a:lnTo>
                    <a:lnTo>
                      <a:pt x="164" y="114"/>
                    </a:lnTo>
                    <a:lnTo>
                      <a:pt x="166" y="114"/>
                    </a:lnTo>
                    <a:lnTo>
                      <a:pt x="170" y="114"/>
                    </a:lnTo>
                    <a:lnTo>
                      <a:pt x="172" y="114"/>
                    </a:lnTo>
                    <a:lnTo>
                      <a:pt x="178" y="114"/>
                    </a:lnTo>
                    <a:lnTo>
                      <a:pt x="186" y="114"/>
                    </a:lnTo>
                    <a:lnTo>
                      <a:pt x="186" y="114"/>
                    </a:lnTo>
                    <a:lnTo>
                      <a:pt x="192" y="114"/>
                    </a:lnTo>
                    <a:lnTo>
                      <a:pt x="196" y="114"/>
                    </a:lnTo>
                    <a:lnTo>
                      <a:pt x="196" y="114"/>
                    </a:lnTo>
                    <a:lnTo>
                      <a:pt x="196" y="114"/>
                    </a:lnTo>
                    <a:lnTo>
                      <a:pt x="196" y="114"/>
                    </a:lnTo>
                    <a:lnTo>
                      <a:pt x="196" y="114"/>
                    </a:lnTo>
                    <a:lnTo>
                      <a:pt x="196" y="112"/>
                    </a:lnTo>
                    <a:lnTo>
                      <a:pt x="196" y="108"/>
                    </a:lnTo>
                    <a:lnTo>
                      <a:pt x="196" y="102"/>
                    </a:lnTo>
                    <a:lnTo>
                      <a:pt x="196" y="102"/>
                    </a:lnTo>
                    <a:lnTo>
                      <a:pt x="196" y="98"/>
                    </a:lnTo>
                    <a:lnTo>
                      <a:pt x="196" y="94"/>
                    </a:lnTo>
                    <a:lnTo>
                      <a:pt x="196" y="92"/>
                    </a:lnTo>
                    <a:lnTo>
                      <a:pt x="196" y="90"/>
                    </a:lnTo>
                    <a:lnTo>
                      <a:pt x="196" y="86"/>
                    </a:lnTo>
                    <a:lnTo>
                      <a:pt x="198" y="86"/>
                    </a:lnTo>
                    <a:lnTo>
                      <a:pt x="198" y="86"/>
                    </a:lnTo>
                    <a:lnTo>
                      <a:pt x="198" y="84"/>
                    </a:lnTo>
                    <a:lnTo>
                      <a:pt x="196" y="82"/>
                    </a:lnTo>
                    <a:lnTo>
                      <a:pt x="196" y="82"/>
                    </a:lnTo>
                    <a:lnTo>
                      <a:pt x="196" y="82"/>
                    </a:lnTo>
                    <a:lnTo>
                      <a:pt x="196" y="82"/>
                    </a:lnTo>
                    <a:lnTo>
                      <a:pt x="194" y="80"/>
                    </a:lnTo>
                    <a:lnTo>
                      <a:pt x="194" y="80"/>
                    </a:lnTo>
                    <a:lnTo>
                      <a:pt x="192" y="80"/>
                    </a:lnTo>
                    <a:lnTo>
                      <a:pt x="190" y="82"/>
                    </a:lnTo>
                    <a:lnTo>
                      <a:pt x="190" y="82"/>
                    </a:lnTo>
                    <a:lnTo>
                      <a:pt x="188" y="82"/>
                    </a:lnTo>
                    <a:lnTo>
                      <a:pt x="188" y="82"/>
                    </a:lnTo>
                    <a:lnTo>
                      <a:pt x="186" y="82"/>
                    </a:lnTo>
                    <a:lnTo>
                      <a:pt x="184" y="82"/>
                    </a:lnTo>
                    <a:lnTo>
                      <a:pt x="178" y="80"/>
                    </a:lnTo>
                    <a:lnTo>
                      <a:pt x="178" y="80"/>
                    </a:lnTo>
                    <a:lnTo>
                      <a:pt x="178" y="80"/>
                    </a:lnTo>
                    <a:lnTo>
                      <a:pt x="176" y="80"/>
                    </a:lnTo>
                    <a:lnTo>
                      <a:pt x="172" y="82"/>
                    </a:lnTo>
                    <a:lnTo>
                      <a:pt x="170" y="82"/>
                    </a:lnTo>
                    <a:lnTo>
                      <a:pt x="170" y="82"/>
                    </a:lnTo>
                    <a:lnTo>
                      <a:pt x="168" y="80"/>
                    </a:lnTo>
                    <a:lnTo>
                      <a:pt x="166" y="80"/>
                    </a:lnTo>
                    <a:lnTo>
                      <a:pt x="166" y="80"/>
                    </a:lnTo>
                    <a:lnTo>
                      <a:pt x="166" y="78"/>
                    </a:lnTo>
                    <a:lnTo>
                      <a:pt x="164" y="78"/>
                    </a:lnTo>
                    <a:lnTo>
                      <a:pt x="166" y="76"/>
                    </a:lnTo>
                    <a:lnTo>
                      <a:pt x="166" y="74"/>
                    </a:lnTo>
                    <a:lnTo>
                      <a:pt x="168" y="72"/>
                    </a:lnTo>
                    <a:lnTo>
                      <a:pt x="168" y="72"/>
                    </a:lnTo>
                    <a:lnTo>
                      <a:pt x="168" y="72"/>
                    </a:lnTo>
                    <a:lnTo>
                      <a:pt x="168" y="70"/>
                    </a:lnTo>
                    <a:lnTo>
                      <a:pt x="168" y="68"/>
                    </a:lnTo>
                    <a:lnTo>
                      <a:pt x="166" y="66"/>
                    </a:lnTo>
                    <a:lnTo>
                      <a:pt x="166" y="66"/>
                    </a:lnTo>
                    <a:lnTo>
                      <a:pt x="164" y="64"/>
                    </a:lnTo>
                    <a:lnTo>
                      <a:pt x="162" y="60"/>
                    </a:lnTo>
                    <a:lnTo>
                      <a:pt x="162" y="60"/>
                    </a:lnTo>
                    <a:lnTo>
                      <a:pt x="160" y="58"/>
                    </a:lnTo>
                    <a:lnTo>
                      <a:pt x="160" y="56"/>
                    </a:lnTo>
                    <a:lnTo>
                      <a:pt x="162" y="54"/>
                    </a:lnTo>
                    <a:lnTo>
                      <a:pt x="162" y="52"/>
                    </a:lnTo>
                    <a:lnTo>
                      <a:pt x="162" y="52"/>
                    </a:lnTo>
                    <a:lnTo>
                      <a:pt x="164" y="48"/>
                    </a:lnTo>
                    <a:lnTo>
                      <a:pt x="166" y="44"/>
                    </a:lnTo>
                    <a:lnTo>
                      <a:pt x="166" y="42"/>
                    </a:lnTo>
                    <a:lnTo>
                      <a:pt x="166" y="42"/>
                    </a:lnTo>
                    <a:lnTo>
                      <a:pt x="166" y="40"/>
                    </a:lnTo>
                    <a:lnTo>
                      <a:pt x="164" y="38"/>
                    </a:lnTo>
                    <a:lnTo>
                      <a:pt x="164" y="38"/>
                    </a:lnTo>
                    <a:lnTo>
                      <a:pt x="162" y="36"/>
                    </a:lnTo>
                    <a:lnTo>
                      <a:pt x="162" y="34"/>
                    </a:lnTo>
                    <a:lnTo>
                      <a:pt x="160" y="32"/>
                    </a:lnTo>
                    <a:lnTo>
                      <a:pt x="160" y="32"/>
                    </a:lnTo>
                    <a:lnTo>
                      <a:pt x="160" y="30"/>
                    </a:lnTo>
                    <a:lnTo>
                      <a:pt x="160" y="28"/>
                    </a:lnTo>
                    <a:lnTo>
                      <a:pt x="158" y="26"/>
                    </a:lnTo>
                    <a:lnTo>
                      <a:pt x="156" y="26"/>
                    </a:lnTo>
                    <a:lnTo>
                      <a:pt x="156" y="26"/>
                    </a:lnTo>
                    <a:lnTo>
                      <a:pt x="154" y="26"/>
                    </a:lnTo>
                    <a:lnTo>
                      <a:pt x="152" y="28"/>
                    </a:lnTo>
                    <a:lnTo>
                      <a:pt x="150" y="28"/>
                    </a:lnTo>
                    <a:lnTo>
                      <a:pt x="148" y="28"/>
                    </a:lnTo>
                    <a:lnTo>
                      <a:pt x="148" y="28"/>
                    </a:lnTo>
                    <a:lnTo>
                      <a:pt x="146" y="26"/>
                    </a:lnTo>
                    <a:lnTo>
                      <a:pt x="146" y="26"/>
                    </a:lnTo>
                    <a:lnTo>
                      <a:pt x="144" y="24"/>
                    </a:lnTo>
                    <a:lnTo>
                      <a:pt x="144" y="22"/>
                    </a:lnTo>
                    <a:lnTo>
                      <a:pt x="144" y="22"/>
                    </a:lnTo>
                    <a:lnTo>
                      <a:pt x="142" y="22"/>
                    </a:lnTo>
                    <a:lnTo>
                      <a:pt x="140" y="20"/>
                    </a:lnTo>
                    <a:lnTo>
                      <a:pt x="138" y="20"/>
                    </a:lnTo>
                    <a:lnTo>
                      <a:pt x="136" y="20"/>
                    </a:lnTo>
                    <a:lnTo>
                      <a:pt x="132" y="20"/>
                    </a:lnTo>
                    <a:lnTo>
                      <a:pt x="132" y="20"/>
                    </a:lnTo>
                    <a:lnTo>
                      <a:pt x="130" y="22"/>
                    </a:lnTo>
                    <a:lnTo>
                      <a:pt x="130" y="22"/>
                    </a:lnTo>
                    <a:lnTo>
                      <a:pt x="124" y="26"/>
                    </a:lnTo>
                    <a:lnTo>
                      <a:pt x="124" y="26"/>
                    </a:lnTo>
                    <a:lnTo>
                      <a:pt x="122" y="28"/>
                    </a:lnTo>
                    <a:lnTo>
                      <a:pt x="122" y="28"/>
                    </a:lnTo>
                    <a:lnTo>
                      <a:pt x="122" y="30"/>
                    </a:lnTo>
                    <a:lnTo>
                      <a:pt x="122" y="32"/>
                    </a:lnTo>
                    <a:lnTo>
                      <a:pt x="122" y="32"/>
                    </a:lnTo>
                    <a:lnTo>
                      <a:pt x="122" y="34"/>
                    </a:lnTo>
                    <a:lnTo>
                      <a:pt x="120" y="34"/>
                    </a:lnTo>
                    <a:lnTo>
                      <a:pt x="120" y="34"/>
                    </a:lnTo>
                    <a:lnTo>
                      <a:pt x="118" y="36"/>
                    </a:lnTo>
                    <a:lnTo>
                      <a:pt x="116" y="36"/>
                    </a:lnTo>
                    <a:lnTo>
                      <a:pt x="114" y="36"/>
                    </a:lnTo>
                    <a:lnTo>
                      <a:pt x="114" y="36"/>
                    </a:lnTo>
                    <a:lnTo>
                      <a:pt x="106" y="36"/>
                    </a:lnTo>
                    <a:lnTo>
                      <a:pt x="104" y="36"/>
                    </a:lnTo>
                    <a:lnTo>
                      <a:pt x="100" y="34"/>
                    </a:lnTo>
                    <a:lnTo>
                      <a:pt x="100" y="34"/>
                    </a:lnTo>
                    <a:lnTo>
                      <a:pt x="98" y="34"/>
                    </a:lnTo>
                    <a:lnTo>
                      <a:pt x="98" y="34"/>
                    </a:lnTo>
                    <a:lnTo>
                      <a:pt x="94" y="32"/>
                    </a:lnTo>
                    <a:lnTo>
                      <a:pt x="92" y="30"/>
                    </a:lnTo>
                    <a:lnTo>
                      <a:pt x="88" y="28"/>
                    </a:lnTo>
                    <a:lnTo>
                      <a:pt x="88" y="28"/>
                    </a:lnTo>
                    <a:lnTo>
                      <a:pt x="88" y="26"/>
                    </a:lnTo>
                    <a:lnTo>
                      <a:pt x="86" y="24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18"/>
                    </a:lnTo>
                    <a:lnTo>
                      <a:pt x="86" y="16"/>
                    </a:lnTo>
                    <a:lnTo>
                      <a:pt x="84" y="14"/>
                    </a:lnTo>
                    <a:lnTo>
                      <a:pt x="84" y="14"/>
                    </a:lnTo>
                    <a:lnTo>
                      <a:pt x="84" y="10"/>
                    </a:lnTo>
                    <a:lnTo>
                      <a:pt x="82" y="8"/>
                    </a:lnTo>
                    <a:lnTo>
                      <a:pt x="80" y="6"/>
                    </a:lnTo>
                    <a:lnTo>
                      <a:pt x="76" y="2"/>
                    </a:lnTo>
                    <a:lnTo>
                      <a:pt x="76" y="2"/>
                    </a:lnTo>
                    <a:lnTo>
                      <a:pt x="74" y="2"/>
                    </a:lnTo>
                    <a:lnTo>
                      <a:pt x="74" y="2"/>
                    </a:lnTo>
                    <a:lnTo>
                      <a:pt x="70" y="0"/>
                    </a:lnTo>
                    <a:lnTo>
                      <a:pt x="66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28" y="0"/>
                    </a:lnTo>
                    <a:lnTo>
                      <a:pt x="22" y="0"/>
                    </a:lnTo>
                    <a:lnTo>
                      <a:pt x="16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4" y="4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8" y="12"/>
                    </a:lnTo>
                    <a:lnTo>
                      <a:pt x="18" y="14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2" y="20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4" y="30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6"/>
                    </a:lnTo>
                    <a:lnTo>
                      <a:pt x="24" y="40"/>
                    </a:lnTo>
                    <a:lnTo>
                      <a:pt x="24" y="44"/>
                    </a:lnTo>
                    <a:lnTo>
                      <a:pt x="24" y="44"/>
                    </a:lnTo>
                    <a:lnTo>
                      <a:pt x="24" y="46"/>
                    </a:lnTo>
                    <a:lnTo>
                      <a:pt x="22" y="48"/>
                    </a:lnTo>
                    <a:lnTo>
                      <a:pt x="24" y="54"/>
                    </a:lnTo>
                    <a:lnTo>
                      <a:pt x="24" y="54"/>
                    </a:lnTo>
                    <a:lnTo>
                      <a:pt x="24" y="58"/>
                    </a:lnTo>
                    <a:lnTo>
                      <a:pt x="26" y="62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6"/>
                    </a:lnTo>
                    <a:lnTo>
                      <a:pt x="32" y="78"/>
                    </a:lnTo>
                    <a:lnTo>
                      <a:pt x="32" y="78"/>
                    </a:lnTo>
                    <a:lnTo>
                      <a:pt x="34" y="82"/>
                    </a:lnTo>
                    <a:lnTo>
                      <a:pt x="34" y="84"/>
                    </a:lnTo>
                    <a:lnTo>
                      <a:pt x="34" y="84"/>
                    </a:lnTo>
                    <a:lnTo>
                      <a:pt x="34" y="84"/>
                    </a:lnTo>
                    <a:lnTo>
                      <a:pt x="34" y="86"/>
                    </a:lnTo>
                    <a:lnTo>
                      <a:pt x="32" y="88"/>
                    </a:lnTo>
                    <a:lnTo>
                      <a:pt x="32" y="88"/>
                    </a:lnTo>
                    <a:lnTo>
                      <a:pt x="32" y="90"/>
                    </a:lnTo>
                    <a:lnTo>
                      <a:pt x="30" y="90"/>
                    </a:lnTo>
                    <a:lnTo>
                      <a:pt x="30" y="92"/>
                    </a:lnTo>
                    <a:lnTo>
                      <a:pt x="30" y="98"/>
                    </a:lnTo>
                    <a:lnTo>
                      <a:pt x="30" y="98"/>
                    </a:lnTo>
                    <a:lnTo>
                      <a:pt x="30" y="100"/>
                    </a:lnTo>
                    <a:lnTo>
                      <a:pt x="30" y="102"/>
                    </a:lnTo>
                    <a:lnTo>
                      <a:pt x="30" y="106"/>
                    </a:lnTo>
                    <a:lnTo>
                      <a:pt x="30" y="106"/>
                    </a:lnTo>
                    <a:lnTo>
                      <a:pt x="28" y="108"/>
                    </a:lnTo>
                    <a:lnTo>
                      <a:pt x="28" y="108"/>
                    </a:lnTo>
                    <a:lnTo>
                      <a:pt x="26" y="110"/>
                    </a:lnTo>
                    <a:lnTo>
                      <a:pt x="22" y="114"/>
                    </a:lnTo>
                    <a:lnTo>
                      <a:pt x="22" y="114"/>
                    </a:lnTo>
                    <a:lnTo>
                      <a:pt x="20" y="114"/>
                    </a:lnTo>
                    <a:lnTo>
                      <a:pt x="16" y="118"/>
                    </a:lnTo>
                    <a:lnTo>
                      <a:pt x="14" y="122"/>
                    </a:lnTo>
                    <a:lnTo>
                      <a:pt x="12" y="126"/>
                    </a:lnTo>
                    <a:lnTo>
                      <a:pt x="12" y="126"/>
                    </a:lnTo>
                    <a:lnTo>
                      <a:pt x="10" y="130"/>
                    </a:lnTo>
                    <a:lnTo>
                      <a:pt x="8" y="134"/>
                    </a:lnTo>
                    <a:lnTo>
                      <a:pt x="6" y="140"/>
                    </a:lnTo>
                    <a:lnTo>
                      <a:pt x="6" y="140"/>
                    </a:lnTo>
                    <a:lnTo>
                      <a:pt x="4" y="144"/>
                    </a:lnTo>
                    <a:lnTo>
                      <a:pt x="4" y="146"/>
                    </a:lnTo>
                    <a:lnTo>
                      <a:pt x="2" y="152"/>
                    </a:lnTo>
                    <a:lnTo>
                      <a:pt x="2" y="152"/>
                    </a:lnTo>
                    <a:lnTo>
                      <a:pt x="2" y="158"/>
                    </a:lnTo>
                    <a:lnTo>
                      <a:pt x="2" y="164"/>
                    </a:lnTo>
                    <a:lnTo>
                      <a:pt x="0" y="176"/>
                    </a:lnTo>
                    <a:lnTo>
                      <a:pt x="0" y="176"/>
                    </a:lnTo>
                    <a:lnTo>
                      <a:pt x="0" y="178"/>
                    </a:lnTo>
                    <a:lnTo>
                      <a:pt x="0" y="182"/>
                    </a:lnTo>
                    <a:lnTo>
                      <a:pt x="0" y="184"/>
                    </a:lnTo>
                    <a:lnTo>
                      <a:pt x="0" y="186"/>
                    </a:lnTo>
                    <a:lnTo>
                      <a:pt x="0" y="186"/>
                    </a:lnTo>
                    <a:lnTo>
                      <a:pt x="2" y="186"/>
                    </a:lnTo>
                    <a:lnTo>
                      <a:pt x="2" y="186"/>
                    </a:lnTo>
                    <a:lnTo>
                      <a:pt x="2" y="186"/>
                    </a:lnTo>
                    <a:lnTo>
                      <a:pt x="10" y="184"/>
                    </a:lnTo>
                    <a:lnTo>
                      <a:pt x="14" y="182"/>
                    </a:lnTo>
                    <a:lnTo>
                      <a:pt x="14" y="182"/>
                    </a:lnTo>
                    <a:lnTo>
                      <a:pt x="16" y="182"/>
                    </a:lnTo>
                    <a:lnTo>
                      <a:pt x="16" y="182"/>
                    </a:lnTo>
                    <a:lnTo>
                      <a:pt x="20" y="182"/>
                    </a:lnTo>
                    <a:lnTo>
                      <a:pt x="22" y="182"/>
                    </a:lnTo>
                    <a:lnTo>
                      <a:pt x="26" y="182"/>
                    </a:lnTo>
                    <a:lnTo>
                      <a:pt x="26" y="184"/>
                    </a:lnTo>
                    <a:lnTo>
                      <a:pt x="32" y="184"/>
                    </a:lnTo>
                    <a:lnTo>
                      <a:pt x="34" y="186"/>
                    </a:lnTo>
                    <a:lnTo>
                      <a:pt x="36" y="186"/>
                    </a:lnTo>
                    <a:lnTo>
                      <a:pt x="36" y="186"/>
                    </a:lnTo>
                    <a:lnTo>
                      <a:pt x="36" y="186"/>
                    </a:lnTo>
                    <a:lnTo>
                      <a:pt x="36" y="186"/>
                    </a:lnTo>
                    <a:lnTo>
                      <a:pt x="36" y="18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44" name="Freeform 674"/>
              <p:cNvSpPr>
                <a:spLocks/>
              </p:cNvSpPr>
              <p:nvPr/>
            </p:nvSpPr>
            <p:spPr bwMode="auto">
              <a:xfrm>
                <a:off x="3181" y="2842"/>
                <a:ext cx="182" cy="176"/>
              </a:xfrm>
              <a:custGeom>
                <a:avLst/>
                <a:gdLst>
                  <a:gd name="T0" fmla="*/ 38 w 182"/>
                  <a:gd name="T1" fmla="*/ 130 h 176"/>
                  <a:gd name="T2" fmla="*/ 48 w 182"/>
                  <a:gd name="T3" fmla="*/ 140 h 176"/>
                  <a:gd name="T4" fmla="*/ 72 w 182"/>
                  <a:gd name="T5" fmla="*/ 142 h 176"/>
                  <a:gd name="T6" fmla="*/ 80 w 182"/>
                  <a:gd name="T7" fmla="*/ 142 h 176"/>
                  <a:gd name="T8" fmla="*/ 84 w 182"/>
                  <a:gd name="T9" fmla="*/ 144 h 176"/>
                  <a:gd name="T10" fmla="*/ 92 w 182"/>
                  <a:gd name="T11" fmla="*/ 168 h 176"/>
                  <a:gd name="T12" fmla="*/ 96 w 182"/>
                  <a:gd name="T13" fmla="*/ 174 h 176"/>
                  <a:gd name="T14" fmla="*/ 106 w 182"/>
                  <a:gd name="T15" fmla="*/ 172 h 176"/>
                  <a:gd name="T16" fmla="*/ 124 w 182"/>
                  <a:gd name="T17" fmla="*/ 176 h 176"/>
                  <a:gd name="T18" fmla="*/ 150 w 182"/>
                  <a:gd name="T19" fmla="*/ 172 h 176"/>
                  <a:gd name="T20" fmla="*/ 172 w 182"/>
                  <a:gd name="T21" fmla="*/ 166 h 176"/>
                  <a:gd name="T22" fmla="*/ 182 w 182"/>
                  <a:gd name="T23" fmla="*/ 160 h 176"/>
                  <a:gd name="T24" fmla="*/ 178 w 182"/>
                  <a:gd name="T25" fmla="*/ 152 h 176"/>
                  <a:gd name="T26" fmla="*/ 174 w 182"/>
                  <a:gd name="T27" fmla="*/ 148 h 176"/>
                  <a:gd name="T28" fmla="*/ 170 w 182"/>
                  <a:gd name="T29" fmla="*/ 134 h 176"/>
                  <a:gd name="T30" fmla="*/ 168 w 182"/>
                  <a:gd name="T31" fmla="*/ 104 h 176"/>
                  <a:gd name="T32" fmla="*/ 168 w 182"/>
                  <a:gd name="T33" fmla="*/ 90 h 176"/>
                  <a:gd name="T34" fmla="*/ 164 w 182"/>
                  <a:gd name="T35" fmla="*/ 74 h 176"/>
                  <a:gd name="T36" fmla="*/ 168 w 182"/>
                  <a:gd name="T37" fmla="*/ 62 h 176"/>
                  <a:gd name="T38" fmla="*/ 160 w 182"/>
                  <a:gd name="T39" fmla="*/ 52 h 176"/>
                  <a:gd name="T40" fmla="*/ 148 w 182"/>
                  <a:gd name="T41" fmla="*/ 44 h 176"/>
                  <a:gd name="T42" fmla="*/ 146 w 182"/>
                  <a:gd name="T43" fmla="*/ 36 h 176"/>
                  <a:gd name="T44" fmla="*/ 130 w 182"/>
                  <a:gd name="T45" fmla="*/ 26 h 176"/>
                  <a:gd name="T46" fmla="*/ 110 w 182"/>
                  <a:gd name="T47" fmla="*/ 16 h 176"/>
                  <a:gd name="T48" fmla="*/ 94 w 182"/>
                  <a:gd name="T49" fmla="*/ 6 h 176"/>
                  <a:gd name="T50" fmla="*/ 80 w 182"/>
                  <a:gd name="T51" fmla="*/ 0 h 176"/>
                  <a:gd name="T52" fmla="*/ 78 w 182"/>
                  <a:gd name="T53" fmla="*/ 6 h 176"/>
                  <a:gd name="T54" fmla="*/ 80 w 182"/>
                  <a:gd name="T55" fmla="*/ 12 h 176"/>
                  <a:gd name="T56" fmla="*/ 72 w 182"/>
                  <a:gd name="T57" fmla="*/ 14 h 176"/>
                  <a:gd name="T58" fmla="*/ 78 w 182"/>
                  <a:gd name="T59" fmla="*/ 16 h 176"/>
                  <a:gd name="T60" fmla="*/ 80 w 182"/>
                  <a:gd name="T61" fmla="*/ 20 h 176"/>
                  <a:gd name="T62" fmla="*/ 72 w 182"/>
                  <a:gd name="T63" fmla="*/ 22 h 176"/>
                  <a:gd name="T64" fmla="*/ 64 w 182"/>
                  <a:gd name="T65" fmla="*/ 20 h 176"/>
                  <a:gd name="T66" fmla="*/ 64 w 182"/>
                  <a:gd name="T67" fmla="*/ 28 h 176"/>
                  <a:gd name="T68" fmla="*/ 60 w 182"/>
                  <a:gd name="T69" fmla="*/ 28 h 176"/>
                  <a:gd name="T70" fmla="*/ 58 w 182"/>
                  <a:gd name="T71" fmla="*/ 22 h 176"/>
                  <a:gd name="T72" fmla="*/ 52 w 182"/>
                  <a:gd name="T73" fmla="*/ 20 h 176"/>
                  <a:gd name="T74" fmla="*/ 48 w 182"/>
                  <a:gd name="T75" fmla="*/ 22 h 176"/>
                  <a:gd name="T76" fmla="*/ 46 w 182"/>
                  <a:gd name="T77" fmla="*/ 16 h 176"/>
                  <a:gd name="T78" fmla="*/ 42 w 182"/>
                  <a:gd name="T79" fmla="*/ 8 h 176"/>
                  <a:gd name="T80" fmla="*/ 36 w 182"/>
                  <a:gd name="T81" fmla="*/ 4 h 176"/>
                  <a:gd name="T82" fmla="*/ 30 w 182"/>
                  <a:gd name="T83" fmla="*/ 14 h 176"/>
                  <a:gd name="T84" fmla="*/ 26 w 182"/>
                  <a:gd name="T85" fmla="*/ 22 h 176"/>
                  <a:gd name="T86" fmla="*/ 20 w 182"/>
                  <a:gd name="T87" fmla="*/ 26 h 176"/>
                  <a:gd name="T88" fmla="*/ 16 w 182"/>
                  <a:gd name="T89" fmla="*/ 32 h 176"/>
                  <a:gd name="T90" fmla="*/ 12 w 182"/>
                  <a:gd name="T91" fmla="*/ 28 h 176"/>
                  <a:gd name="T92" fmla="*/ 4 w 182"/>
                  <a:gd name="T93" fmla="*/ 26 h 176"/>
                  <a:gd name="T94" fmla="*/ 4 w 182"/>
                  <a:gd name="T95" fmla="*/ 32 h 176"/>
                  <a:gd name="T96" fmla="*/ 10 w 182"/>
                  <a:gd name="T97" fmla="*/ 38 h 176"/>
                  <a:gd name="T98" fmla="*/ 4 w 182"/>
                  <a:gd name="T99" fmla="*/ 46 h 176"/>
                  <a:gd name="T100" fmla="*/ 0 w 182"/>
                  <a:gd name="T101" fmla="*/ 66 h 176"/>
                  <a:gd name="T102" fmla="*/ 4 w 182"/>
                  <a:gd name="T103" fmla="*/ 84 h 176"/>
                  <a:gd name="T104" fmla="*/ 12 w 182"/>
                  <a:gd name="T105" fmla="*/ 96 h 176"/>
                  <a:gd name="T106" fmla="*/ 14 w 182"/>
                  <a:gd name="T107" fmla="*/ 112 h 176"/>
                  <a:gd name="T108" fmla="*/ 22 w 182"/>
                  <a:gd name="T109" fmla="*/ 120 h 176"/>
                  <a:gd name="T110" fmla="*/ 26 w 182"/>
                  <a:gd name="T111" fmla="*/ 124 h 176"/>
                  <a:gd name="T112" fmla="*/ 30 w 182"/>
                  <a:gd name="T113" fmla="*/ 128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82" h="176">
                    <a:moveTo>
                      <a:pt x="30" y="128"/>
                    </a:moveTo>
                    <a:lnTo>
                      <a:pt x="30" y="128"/>
                    </a:lnTo>
                    <a:lnTo>
                      <a:pt x="32" y="130"/>
                    </a:lnTo>
                    <a:lnTo>
                      <a:pt x="34" y="130"/>
                    </a:lnTo>
                    <a:lnTo>
                      <a:pt x="38" y="130"/>
                    </a:lnTo>
                    <a:lnTo>
                      <a:pt x="38" y="130"/>
                    </a:lnTo>
                    <a:lnTo>
                      <a:pt x="40" y="132"/>
                    </a:lnTo>
                    <a:lnTo>
                      <a:pt x="40" y="134"/>
                    </a:lnTo>
                    <a:lnTo>
                      <a:pt x="42" y="136"/>
                    </a:lnTo>
                    <a:lnTo>
                      <a:pt x="44" y="138"/>
                    </a:lnTo>
                    <a:lnTo>
                      <a:pt x="46" y="138"/>
                    </a:lnTo>
                    <a:lnTo>
                      <a:pt x="48" y="140"/>
                    </a:lnTo>
                    <a:lnTo>
                      <a:pt x="52" y="140"/>
                    </a:lnTo>
                    <a:lnTo>
                      <a:pt x="58" y="140"/>
                    </a:lnTo>
                    <a:lnTo>
                      <a:pt x="62" y="142"/>
                    </a:lnTo>
                    <a:lnTo>
                      <a:pt x="66" y="142"/>
                    </a:lnTo>
                    <a:lnTo>
                      <a:pt x="72" y="142"/>
                    </a:lnTo>
                    <a:lnTo>
                      <a:pt x="72" y="142"/>
                    </a:lnTo>
                    <a:lnTo>
                      <a:pt x="74" y="142"/>
                    </a:lnTo>
                    <a:lnTo>
                      <a:pt x="76" y="142"/>
                    </a:lnTo>
                    <a:lnTo>
                      <a:pt x="76" y="142"/>
                    </a:lnTo>
                    <a:lnTo>
                      <a:pt x="78" y="142"/>
                    </a:lnTo>
                    <a:lnTo>
                      <a:pt x="78" y="142"/>
                    </a:lnTo>
                    <a:lnTo>
                      <a:pt x="80" y="142"/>
                    </a:lnTo>
                    <a:lnTo>
                      <a:pt x="82" y="142"/>
                    </a:lnTo>
                    <a:lnTo>
                      <a:pt x="82" y="142"/>
                    </a:lnTo>
                    <a:lnTo>
                      <a:pt x="82" y="142"/>
                    </a:lnTo>
                    <a:lnTo>
                      <a:pt x="84" y="142"/>
                    </a:lnTo>
                    <a:lnTo>
                      <a:pt x="84" y="144"/>
                    </a:lnTo>
                    <a:lnTo>
                      <a:pt x="84" y="144"/>
                    </a:lnTo>
                    <a:lnTo>
                      <a:pt x="86" y="146"/>
                    </a:lnTo>
                    <a:lnTo>
                      <a:pt x="86" y="148"/>
                    </a:lnTo>
                    <a:lnTo>
                      <a:pt x="86" y="148"/>
                    </a:lnTo>
                    <a:lnTo>
                      <a:pt x="88" y="158"/>
                    </a:lnTo>
                    <a:lnTo>
                      <a:pt x="90" y="164"/>
                    </a:lnTo>
                    <a:lnTo>
                      <a:pt x="92" y="168"/>
                    </a:lnTo>
                    <a:lnTo>
                      <a:pt x="92" y="168"/>
                    </a:lnTo>
                    <a:lnTo>
                      <a:pt x="92" y="170"/>
                    </a:lnTo>
                    <a:lnTo>
                      <a:pt x="94" y="172"/>
                    </a:lnTo>
                    <a:lnTo>
                      <a:pt x="94" y="172"/>
                    </a:lnTo>
                    <a:lnTo>
                      <a:pt x="94" y="172"/>
                    </a:lnTo>
                    <a:lnTo>
                      <a:pt x="96" y="174"/>
                    </a:lnTo>
                    <a:lnTo>
                      <a:pt x="98" y="174"/>
                    </a:lnTo>
                    <a:lnTo>
                      <a:pt x="98" y="174"/>
                    </a:lnTo>
                    <a:lnTo>
                      <a:pt x="100" y="174"/>
                    </a:lnTo>
                    <a:lnTo>
                      <a:pt x="102" y="174"/>
                    </a:lnTo>
                    <a:lnTo>
                      <a:pt x="104" y="172"/>
                    </a:lnTo>
                    <a:lnTo>
                      <a:pt x="106" y="172"/>
                    </a:lnTo>
                    <a:lnTo>
                      <a:pt x="108" y="172"/>
                    </a:lnTo>
                    <a:lnTo>
                      <a:pt x="108" y="172"/>
                    </a:lnTo>
                    <a:lnTo>
                      <a:pt x="112" y="174"/>
                    </a:lnTo>
                    <a:lnTo>
                      <a:pt x="118" y="176"/>
                    </a:lnTo>
                    <a:lnTo>
                      <a:pt x="120" y="176"/>
                    </a:lnTo>
                    <a:lnTo>
                      <a:pt x="124" y="176"/>
                    </a:lnTo>
                    <a:lnTo>
                      <a:pt x="126" y="176"/>
                    </a:lnTo>
                    <a:lnTo>
                      <a:pt x="130" y="176"/>
                    </a:lnTo>
                    <a:lnTo>
                      <a:pt x="130" y="176"/>
                    </a:lnTo>
                    <a:lnTo>
                      <a:pt x="136" y="176"/>
                    </a:lnTo>
                    <a:lnTo>
                      <a:pt x="142" y="174"/>
                    </a:lnTo>
                    <a:lnTo>
                      <a:pt x="150" y="172"/>
                    </a:lnTo>
                    <a:lnTo>
                      <a:pt x="156" y="172"/>
                    </a:lnTo>
                    <a:lnTo>
                      <a:pt x="156" y="172"/>
                    </a:lnTo>
                    <a:lnTo>
                      <a:pt x="158" y="170"/>
                    </a:lnTo>
                    <a:lnTo>
                      <a:pt x="164" y="168"/>
                    </a:lnTo>
                    <a:lnTo>
                      <a:pt x="168" y="168"/>
                    </a:lnTo>
                    <a:lnTo>
                      <a:pt x="172" y="166"/>
                    </a:lnTo>
                    <a:lnTo>
                      <a:pt x="172" y="166"/>
                    </a:lnTo>
                    <a:lnTo>
                      <a:pt x="176" y="164"/>
                    </a:lnTo>
                    <a:lnTo>
                      <a:pt x="178" y="162"/>
                    </a:lnTo>
                    <a:lnTo>
                      <a:pt x="182" y="160"/>
                    </a:lnTo>
                    <a:lnTo>
                      <a:pt x="182" y="160"/>
                    </a:lnTo>
                    <a:lnTo>
                      <a:pt x="182" y="160"/>
                    </a:lnTo>
                    <a:lnTo>
                      <a:pt x="180" y="158"/>
                    </a:lnTo>
                    <a:lnTo>
                      <a:pt x="180" y="156"/>
                    </a:lnTo>
                    <a:lnTo>
                      <a:pt x="180" y="156"/>
                    </a:lnTo>
                    <a:lnTo>
                      <a:pt x="180" y="154"/>
                    </a:lnTo>
                    <a:lnTo>
                      <a:pt x="180" y="154"/>
                    </a:lnTo>
                    <a:lnTo>
                      <a:pt x="178" y="152"/>
                    </a:lnTo>
                    <a:lnTo>
                      <a:pt x="176" y="152"/>
                    </a:lnTo>
                    <a:lnTo>
                      <a:pt x="176" y="152"/>
                    </a:lnTo>
                    <a:lnTo>
                      <a:pt x="174" y="150"/>
                    </a:lnTo>
                    <a:lnTo>
                      <a:pt x="174" y="150"/>
                    </a:lnTo>
                    <a:lnTo>
                      <a:pt x="174" y="150"/>
                    </a:lnTo>
                    <a:lnTo>
                      <a:pt x="174" y="148"/>
                    </a:lnTo>
                    <a:lnTo>
                      <a:pt x="174" y="146"/>
                    </a:lnTo>
                    <a:lnTo>
                      <a:pt x="174" y="146"/>
                    </a:lnTo>
                    <a:lnTo>
                      <a:pt x="172" y="144"/>
                    </a:lnTo>
                    <a:lnTo>
                      <a:pt x="172" y="140"/>
                    </a:lnTo>
                    <a:lnTo>
                      <a:pt x="172" y="140"/>
                    </a:lnTo>
                    <a:lnTo>
                      <a:pt x="170" y="134"/>
                    </a:lnTo>
                    <a:lnTo>
                      <a:pt x="168" y="130"/>
                    </a:lnTo>
                    <a:lnTo>
                      <a:pt x="168" y="126"/>
                    </a:lnTo>
                    <a:lnTo>
                      <a:pt x="168" y="126"/>
                    </a:lnTo>
                    <a:lnTo>
                      <a:pt x="166" y="122"/>
                    </a:lnTo>
                    <a:lnTo>
                      <a:pt x="168" y="116"/>
                    </a:lnTo>
                    <a:lnTo>
                      <a:pt x="168" y="104"/>
                    </a:lnTo>
                    <a:lnTo>
                      <a:pt x="168" y="104"/>
                    </a:lnTo>
                    <a:lnTo>
                      <a:pt x="168" y="100"/>
                    </a:lnTo>
                    <a:lnTo>
                      <a:pt x="170" y="94"/>
                    </a:lnTo>
                    <a:lnTo>
                      <a:pt x="170" y="94"/>
                    </a:lnTo>
                    <a:lnTo>
                      <a:pt x="170" y="92"/>
                    </a:lnTo>
                    <a:lnTo>
                      <a:pt x="168" y="90"/>
                    </a:lnTo>
                    <a:lnTo>
                      <a:pt x="166" y="86"/>
                    </a:lnTo>
                    <a:lnTo>
                      <a:pt x="166" y="86"/>
                    </a:lnTo>
                    <a:lnTo>
                      <a:pt x="164" y="82"/>
                    </a:lnTo>
                    <a:lnTo>
                      <a:pt x="164" y="80"/>
                    </a:lnTo>
                    <a:lnTo>
                      <a:pt x="164" y="76"/>
                    </a:lnTo>
                    <a:lnTo>
                      <a:pt x="164" y="74"/>
                    </a:lnTo>
                    <a:lnTo>
                      <a:pt x="164" y="72"/>
                    </a:lnTo>
                    <a:lnTo>
                      <a:pt x="166" y="68"/>
                    </a:lnTo>
                    <a:lnTo>
                      <a:pt x="166" y="66"/>
                    </a:lnTo>
                    <a:lnTo>
                      <a:pt x="166" y="64"/>
                    </a:lnTo>
                    <a:lnTo>
                      <a:pt x="166" y="64"/>
                    </a:lnTo>
                    <a:lnTo>
                      <a:pt x="168" y="62"/>
                    </a:lnTo>
                    <a:lnTo>
                      <a:pt x="170" y="60"/>
                    </a:lnTo>
                    <a:lnTo>
                      <a:pt x="172" y="58"/>
                    </a:lnTo>
                    <a:lnTo>
                      <a:pt x="172" y="58"/>
                    </a:lnTo>
                    <a:lnTo>
                      <a:pt x="166" y="56"/>
                    </a:lnTo>
                    <a:lnTo>
                      <a:pt x="160" y="52"/>
                    </a:lnTo>
                    <a:lnTo>
                      <a:pt x="160" y="52"/>
                    </a:lnTo>
                    <a:lnTo>
                      <a:pt x="158" y="52"/>
                    </a:lnTo>
                    <a:lnTo>
                      <a:pt x="154" y="50"/>
                    </a:lnTo>
                    <a:lnTo>
                      <a:pt x="152" y="48"/>
                    </a:lnTo>
                    <a:lnTo>
                      <a:pt x="150" y="48"/>
                    </a:lnTo>
                    <a:lnTo>
                      <a:pt x="148" y="46"/>
                    </a:lnTo>
                    <a:lnTo>
                      <a:pt x="148" y="44"/>
                    </a:lnTo>
                    <a:lnTo>
                      <a:pt x="148" y="44"/>
                    </a:lnTo>
                    <a:lnTo>
                      <a:pt x="148" y="42"/>
                    </a:lnTo>
                    <a:lnTo>
                      <a:pt x="148" y="40"/>
                    </a:lnTo>
                    <a:lnTo>
                      <a:pt x="148" y="38"/>
                    </a:lnTo>
                    <a:lnTo>
                      <a:pt x="146" y="36"/>
                    </a:lnTo>
                    <a:lnTo>
                      <a:pt x="146" y="36"/>
                    </a:lnTo>
                    <a:lnTo>
                      <a:pt x="146" y="36"/>
                    </a:lnTo>
                    <a:lnTo>
                      <a:pt x="142" y="34"/>
                    </a:lnTo>
                    <a:lnTo>
                      <a:pt x="138" y="32"/>
                    </a:lnTo>
                    <a:lnTo>
                      <a:pt x="138" y="32"/>
                    </a:lnTo>
                    <a:lnTo>
                      <a:pt x="132" y="28"/>
                    </a:lnTo>
                    <a:lnTo>
                      <a:pt x="130" y="26"/>
                    </a:lnTo>
                    <a:lnTo>
                      <a:pt x="126" y="26"/>
                    </a:lnTo>
                    <a:lnTo>
                      <a:pt x="126" y="26"/>
                    </a:lnTo>
                    <a:lnTo>
                      <a:pt x="122" y="24"/>
                    </a:lnTo>
                    <a:lnTo>
                      <a:pt x="118" y="20"/>
                    </a:lnTo>
                    <a:lnTo>
                      <a:pt x="114" y="18"/>
                    </a:lnTo>
                    <a:lnTo>
                      <a:pt x="110" y="16"/>
                    </a:lnTo>
                    <a:lnTo>
                      <a:pt x="110" y="16"/>
                    </a:lnTo>
                    <a:lnTo>
                      <a:pt x="106" y="14"/>
                    </a:lnTo>
                    <a:lnTo>
                      <a:pt x="102" y="12"/>
                    </a:lnTo>
                    <a:lnTo>
                      <a:pt x="98" y="8"/>
                    </a:lnTo>
                    <a:lnTo>
                      <a:pt x="94" y="6"/>
                    </a:lnTo>
                    <a:lnTo>
                      <a:pt x="94" y="6"/>
                    </a:lnTo>
                    <a:lnTo>
                      <a:pt x="86" y="4"/>
                    </a:lnTo>
                    <a:lnTo>
                      <a:pt x="84" y="2"/>
                    </a:lnTo>
                    <a:lnTo>
                      <a:pt x="82" y="2"/>
                    </a:lnTo>
                    <a:lnTo>
                      <a:pt x="82" y="0"/>
                    </a:lnTo>
                    <a:lnTo>
                      <a:pt x="82" y="0"/>
                    </a:lnTo>
                    <a:lnTo>
                      <a:pt x="80" y="0"/>
                    </a:lnTo>
                    <a:lnTo>
                      <a:pt x="80" y="2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6"/>
                    </a:lnTo>
                    <a:lnTo>
                      <a:pt x="78" y="6"/>
                    </a:lnTo>
                    <a:lnTo>
                      <a:pt x="80" y="8"/>
                    </a:lnTo>
                    <a:lnTo>
                      <a:pt x="80" y="10"/>
                    </a:lnTo>
                    <a:lnTo>
                      <a:pt x="80" y="12"/>
                    </a:lnTo>
                    <a:lnTo>
                      <a:pt x="80" y="12"/>
                    </a:lnTo>
                    <a:lnTo>
                      <a:pt x="80" y="12"/>
                    </a:lnTo>
                    <a:lnTo>
                      <a:pt x="80" y="12"/>
                    </a:lnTo>
                    <a:lnTo>
                      <a:pt x="78" y="12"/>
                    </a:lnTo>
                    <a:lnTo>
                      <a:pt x="76" y="12"/>
                    </a:lnTo>
                    <a:lnTo>
                      <a:pt x="76" y="12"/>
                    </a:lnTo>
                    <a:lnTo>
                      <a:pt x="76" y="12"/>
                    </a:lnTo>
                    <a:lnTo>
                      <a:pt x="74" y="14"/>
                    </a:lnTo>
                    <a:lnTo>
                      <a:pt x="72" y="14"/>
                    </a:lnTo>
                    <a:lnTo>
                      <a:pt x="74" y="14"/>
                    </a:lnTo>
                    <a:lnTo>
                      <a:pt x="74" y="16"/>
                    </a:lnTo>
                    <a:lnTo>
                      <a:pt x="74" y="16"/>
                    </a:lnTo>
                    <a:lnTo>
                      <a:pt x="76" y="16"/>
                    </a:lnTo>
                    <a:lnTo>
                      <a:pt x="78" y="16"/>
                    </a:lnTo>
                    <a:lnTo>
                      <a:pt x="78" y="16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20"/>
                    </a:lnTo>
                    <a:lnTo>
                      <a:pt x="80" y="20"/>
                    </a:lnTo>
                    <a:lnTo>
                      <a:pt x="80" y="20"/>
                    </a:lnTo>
                    <a:lnTo>
                      <a:pt x="78" y="20"/>
                    </a:lnTo>
                    <a:lnTo>
                      <a:pt x="76" y="22"/>
                    </a:lnTo>
                    <a:lnTo>
                      <a:pt x="76" y="22"/>
                    </a:lnTo>
                    <a:lnTo>
                      <a:pt x="74" y="22"/>
                    </a:lnTo>
                    <a:lnTo>
                      <a:pt x="72" y="22"/>
                    </a:lnTo>
                    <a:lnTo>
                      <a:pt x="70" y="22"/>
                    </a:lnTo>
                    <a:lnTo>
                      <a:pt x="70" y="22"/>
                    </a:lnTo>
                    <a:lnTo>
                      <a:pt x="68" y="22"/>
                    </a:lnTo>
                    <a:lnTo>
                      <a:pt x="66" y="22"/>
                    </a:lnTo>
                    <a:lnTo>
                      <a:pt x="66" y="20"/>
                    </a:lnTo>
                    <a:lnTo>
                      <a:pt x="64" y="20"/>
                    </a:lnTo>
                    <a:lnTo>
                      <a:pt x="64" y="20"/>
                    </a:lnTo>
                    <a:lnTo>
                      <a:pt x="64" y="20"/>
                    </a:lnTo>
                    <a:lnTo>
                      <a:pt x="64" y="22"/>
                    </a:lnTo>
                    <a:lnTo>
                      <a:pt x="62" y="22"/>
                    </a:lnTo>
                    <a:lnTo>
                      <a:pt x="64" y="24"/>
                    </a:lnTo>
                    <a:lnTo>
                      <a:pt x="64" y="28"/>
                    </a:lnTo>
                    <a:lnTo>
                      <a:pt x="64" y="28"/>
                    </a:lnTo>
                    <a:lnTo>
                      <a:pt x="64" y="28"/>
                    </a:lnTo>
                    <a:lnTo>
                      <a:pt x="62" y="28"/>
                    </a:lnTo>
                    <a:lnTo>
                      <a:pt x="62" y="28"/>
                    </a:lnTo>
                    <a:lnTo>
                      <a:pt x="60" y="28"/>
                    </a:lnTo>
                    <a:lnTo>
                      <a:pt x="60" y="28"/>
                    </a:lnTo>
                    <a:lnTo>
                      <a:pt x="60" y="24"/>
                    </a:lnTo>
                    <a:lnTo>
                      <a:pt x="60" y="24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58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4" y="20"/>
                    </a:lnTo>
                    <a:lnTo>
                      <a:pt x="54" y="20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52" y="22"/>
                    </a:lnTo>
                    <a:lnTo>
                      <a:pt x="50" y="24"/>
                    </a:lnTo>
                    <a:lnTo>
                      <a:pt x="50" y="24"/>
                    </a:lnTo>
                    <a:lnTo>
                      <a:pt x="50" y="24"/>
                    </a:lnTo>
                    <a:lnTo>
                      <a:pt x="48" y="24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0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6" y="16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4" y="14"/>
                    </a:lnTo>
                    <a:lnTo>
                      <a:pt x="44" y="12"/>
                    </a:lnTo>
                    <a:lnTo>
                      <a:pt x="44" y="10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0" y="6"/>
                    </a:lnTo>
                    <a:lnTo>
                      <a:pt x="40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10"/>
                    </a:lnTo>
                    <a:lnTo>
                      <a:pt x="30" y="12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26" y="16"/>
                    </a:lnTo>
                    <a:lnTo>
                      <a:pt x="26" y="18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2"/>
                    </a:lnTo>
                    <a:lnTo>
                      <a:pt x="24" y="24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0" y="26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16" y="30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2" y="32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0" y="28"/>
                    </a:lnTo>
                    <a:lnTo>
                      <a:pt x="8" y="28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8"/>
                    </a:lnTo>
                    <a:lnTo>
                      <a:pt x="2" y="28"/>
                    </a:lnTo>
                    <a:lnTo>
                      <a:pt x="2" y="28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6" y="34"/>
                    </a:lnTo>
                    <a:lnTo>
                      <a:pt x="8" y="34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10" y="38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8" y="42"/>
                    </a:lnTo>
                    <a:lnTo>
                      <a:pt x="6" y="44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2" y="50"/>
                    </a:lnTo>
                    <a:lnTo>
                      <a:pt x="0" y="52"/>
                    </a:lnTo>
                    <a:lnTo>
                      <a:pt x="0" y="56"/>
                    </a:lnTo>
                    <a:lnTo>
                      <a:pt x="0" y="58"/>
                    </a:lnTo>
                    <a:lnTo>
                      <a:pt x="0" y="62"/>
                    </a:lnTo>
                    <a:lnTo>
                      <a:pt x="0" y="66"/>
                    </a:lnTo>
                    <a:lnTo>
                      <a:pt x="2" y="72"/>
                    </a:lnTo>
                    <a:lnTo>
                      <a:pt x="2" y="72"/>
                    </a:lnTo>
                    <a:lnTo>
                      <a:pt x="4" y="78"/>
                    </a:lnTo>
                    <a:lnTo>
                      <a:pt x="4" y="82"/>
                    </a:lnTo>
                    <a:lnTo>
                      <a:pt x="4" y="84"/>
                    </a:lnTo>
                    <a:lnTo>
                      <a:pt x="4" y="84"/>
                    </a:lnTo>
                    <a:lnTo>
                      <a:pt x="6" y="88"/>
                    </a:lnTo>
                    <a:lnTo>
                      <a:pt x="8" y="92"/>
                    </a:lnTo>
                    <a:lnTo>
                      <a:pt x="8" y="92"/>
                    </a:lnTo>
                    <a:lnTo>
                      <a:pt x="10" y="94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100"/>
                    </a:lnTo>
                    <a:lnTo>
                      <a:pt x="12" y="104"/>
                    </a:lnTo>
                    <a:lnTo>
                      <a:pt x="14" y="108"/>
                    </a:lnTo>
                    <a:lnTo>
                      <a:pt x="14" y="112"/>
                    </a:lnTo>
                    <a:lnTo>
                      <a:pt x="14" y="112"/>
                    </a:lnTo>
                    <a:lnTo>
                      <a:pt x="14" y="114"/>
                    </a:lnTo>
                    <a:lnTo>
                      <a:pt x="16" y="116"/>
                    </a:lnTo>
                    <a:lnTo>
                      <a:pt x="18" y="118"/>
                    </a:lnTo>
                    <a:lnTo>
                      <a:pt x="18" y="118"/>
                    </a:lnTo>
                    <a:lnTo>
                      <a:pt x="22" y="120"/>
                    </a:lnTo>
                    <a:lnTo>
                      <a:pt x="22" y="120"/>
                    </a:lnTo>
                    <a:lnTo>
                      <a:pt x="24" y="120"/>
                    </a:lnTo>
                    <a:lnTo>
                      <a:pt x="24" y="120"/>
                    </a:lnTo>
                    <a:lnTo>
                      <a:pt x="26" y="122"/>
                    </a:lnTo>
                    <a:lnTo>
                      <a:pt x="26" y="124"/>
                    </a:lnTo>
                    <a:lnTo>
                      <a:pt x="26" y="124"/>
                    </a:lnTo>
                    <a:lnTo>
                      <a:pt x="26" y="124"/>
                    </a:lnTo>
                    <a:lnTo>
                      <a:pt x="28" y="126"/>
                    </a:lnTo>
                    <a:lnTo>
                      <a:pt x="28" y="128"/>
                    </a:lnTo>
                    <a:lnTo>
                      <a:pt x="30" y="128"/>
                    </a:lnTo>
                    <a:lnTo>
                      <a:pt x="30" y="128"/>
                    </a:lnTo>
                    <a:lnTo>
                      <a:pt x="30" y="128"/>
                    </a:lnTo>
                    <a:lnTo>
                      <a:pt x="30" y="128"/>
                    </a:lnTo>
                    <a:lnTo>
                      <a:pt x="30" y="128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45" name="Freeform 675"/>
              <p:cNvSpPr>
                <a:spLocks/>
              </p:cNvSpPr>
              <p:nvPr/>
            </p:nvSpPr>
            <p:spPr bwMode="auto">
              <a:xfrm>
                <a:off x="3181" y="2842"/>
                <a:ext cx="182" cy="176"/>
              </a:xfrm>
              <a:custGeom>
                <a:avLst/>
                <a:gdLst>
                  <a:gd name="T0" fmla="*/ 38 w 182"/>
                  <a:gd name="T1" fmla="*/ 130 h 176"/>
                  <a:gd name="T2" fmla="*/ 48 w 182"/>
                  <a:gd name="T3" fmla="*/ 140 h 176"/>
                  <a:gd name="T4" fmla="*/ 72 w 182"/>
                  <a:gd name="T5" fmla="*/ 142 h 176"/>
                  <a:gd name="T6" fmla="*/ 80 w 182"/>
                  <a:gd name="T7" fmla="*/ 142 h 176"/>
                  <a:gd name="T8" fmla="*/ 84 w 182"/>
                  <a:gd name="T9" fmla="*/ 144 h 176"/>
                  <a:gd name="T10" fmla="*/ 92 w 182"/>
                  <a:gd name="T11" fmla="*/ 168 h 176"/>
                  <a:gd name="T12" fmla="*/ 96 w 182"/>
                  <a:gd name="T13" fmla="*/ 174 h 176"/>
                  <a:gd name="T14" fmla="*/ 106 w 182"/>
                  <a:gd name="T15" fmla="*/ 172 h 176"/>
                  <a:gd name="T16" fmla="*/ 124 w 182"/>
                  <a:gd name="T17" fmla="*/ 176 h 176"/>
                  <a:gd name="T18" fmla="*/ 150 w 182"/>
                  <a:gd name="T19" fmla="*/ 172 h 176"/>
                  <a:gd name="T20" fmla="*/ 172 w 182"/>
                  <a:gd name="T21" fmla="*/ 166 h 176"/>
                  <a:gd name="T22" fmla="*/ 182 w 182"/>
                  <a:gd name="T23" fmla="*/ 160 h 176"/>
                  <a:gd name="T24" fmla="*/ 178 w 182"/>
                  <a:gd name="T25" fmla="*/ 152 h 176"/>
                  <a:gd name="T26" fmla="*/ 174 w 182"/>
                  <a:gd name="T27" fmla="*/ 148 h 176"/>
                  <a:gd name="T28" fmla="*/ 170 w 182"/>
                  <a:gd name="T29" fmla="*/ 134 h 176"/>
                  <a:gd name="T30" fmla="*/ 168 w 182"/>
                  <a:gd name="T31" fmla="*/ 104 h 176"/>
                  <a:gd name="T32" fmla="*/ 168 w 182"/>
                  <a:gd name="T33" fmla="*/ 90 h 176"/>
                  <a:gd name="T34" fmla="*/ 164 w 182"/>
                  <a:gd name="T35" fmla="*/ 74 h 176"/>
                  <a:gd name="T36" fmla="*/ 168 w 182"/>
                  <a:gd name="T37" fmla="*/ 62 h 176"/>
                  <a:gd name="T38" fmla="*/ 160 w 182"/>
                  <a:gd name="T39" fmla="*/ 52 h 176"/>
                  <a:gd name="T40" fmla="*/ 148 w 182"/>
                  <a:gd name="T41" fmla="*/ 44 h 176"/>
                  <a:gd name="T42" fmla="*/ 146 w 182"/>
                  <a:gd name="T43" fmla="*/ 36 h 176"/>
                  <a:gd name="T44" fmla="*/ 130 w 182"/>
                  <a:gd name="T45" fmla="*/ 26 h 176"/>
                  <a:gd name="T46" fmla="*/ 110 w 182"/>
                  <a:gd name="T47" fmla="*/ 16 h 176"/>
                  <a:gd name="T48" fmla="*/ 94 w 182"/>
                  <a:gd name="T49" fmla="*/ 6 h 176"/>
                  <a:gd name="T50" fmla="*/ 80 w 182"/>
                  <a:gd name="T51" fmla="*/ 0 h 176"/>
                  <a:gd name="T52" fmla="*/ 78 w 182"/>
                  <a:gd name="T53" fmla="*/ 6 h 176"/>
                  <a:gd name="T54" fmla="*/ 80 w 182"/>
                  <a:gd name="T55" fmla="*/ 12 h 176"/>
                  <a:gd name="T56" fmla="*/ 72 w 182"/>
                  <a:gd name="T57" fmla="*/ 14 h 176"/>
                  <a:gd name="T58" fmla="*/ 78 w 182"/>
                  <a:gd name="T59" fmla="*/ 16 h 176"/>
                  <a:gd name="T60" fmla="*/ 80 w 182"/>
                  <a:gd name="T61" fmla="*/ 20 h 176"/>
                  <a:gd name="T62" fmla="*/ 72 w 182"/>
                  <a:gd name="T63" fmla="*/ 22 h 176"/>
                  <a:gd name="T64" fmla="*/ 64 w 182"/>
                  <a:gd name="T65" fmla="*/ 20 h 176"/>
                  <a:gd name="T66" fmla="*/ 64 w 182"/>
                  <a:gd name="T67" fmla="*/ 28 h 176"/>
                  <a:gd name="T68" fmla="*/ 60 w 182"/>
                  <a:gd name="T69" fmla="*/ 28 h 176"/>
                  <a:gd name="T70" fmla="*/ 58 w 182"/>
                  <a:gd name="T71" fmla="*/ 22 h 176"/>
                  <a:gd name="T72" fmla="*/ 52 w 182"/>
                  <a:gd name="T73" fmla="*/ 20 h 176"/>
                  <a:gd name="T74" fmla="*/ 48 w 182"/>
                  <a:gd name="T75" fmla="*/ 22 h 176"/>
                  <a:gd name="T76" fmla="*/ 46 w 182"/>
                  <a:gd name="T77" fmla="*/ 16 h 176"/>
                  <a:gd name="T78" fmla="*/ 42 w 182"/>
                  <a:gd name="T79" fmla="*/ 8 h 176"/>
                  <a:gd name="T80" fmla="*/ 36 w 182"/>
                  <a:gd name="T81" fmla="*/ 4 h 176"/>
                  <a:gd name="T82" fmla="*/ 30 w 182"/>
                  <a:gd name="T83" fmla="*/ 14 h 176"/>
                  <a:gd name="T84" fmla="*/ 26 w 182"/>
                  <a:gd name="T85" fmla="*/ 22 h 176"/>
                  <a:gd name="T86" fmla="*/ 20 w 182"/>
                  <a:gd name="T87" fmla="*/ 26 h 176"/>
                  <a:gd name="T88" fmla="*/ 16 w 182"/>
                  <a:gd name="T89" fmla="*/ 32 h 176"/>
                  <a:gd name="T90" fmla="*/ 12 w 182"/>
                  <a:gd name="T91" fmla="*/ 28 h 176"/>
                  <a:gd name="T92" fmla="*/ 4 w 182"/>
                  <a:gd name="T93" fmla="*/ 26 h 176"/>
                  <a:gd name="T94" fmla="*/ 4 w 182"/>
                  <a:gd name="T95" fmla="*/ 32 h 176"/>
                  <a:gd name="T96" fmla="*/ 10 w 182"/>
                  <a:gd name="T97" fmla="*/ 38 h 176"/>
                  <a:gd name="T98" fmla="*/ 4 w 182"/>
                  <a:gd name="T99" fmla="*/ 46 h 176"/>
                  <a:gd name="T100" fmla="*/ 0 w 182"/>
                  <a:gd name="T101" fmla="*/ 66 h 176"/>
                  <a:gd name="T102" fmla="*/ 4 w 182"/>
                  <a:gd name="T103" fmla="*/ 84 h 176"/>
                  <a:gd name="T104" fmla="*/ 12 w 182"/>
                  <a:gd name="T105" fmla="*/ 96 h 176"/>
                  <a:gd name="T106" fmla="*/ 14 w 182"/>
                  <a:gd name="T107" fmla="*/ 112 h 176"/>
                  <a:gd name="T108" fmla="*/ 22 w 182"/>
                  <a:gd name="T109" fmla="*/ 120 h 176"/>
                  <a:gd name="T110" fmla="*/ 26 w 182"/>
                  <a:gd name="T111" fmla="*/ 124 h 176"/>
                  <a:gd name="T112" fmla="*/ 30 w 182"/>
                  <a:gd name="T113" fmla="*/ 128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82" h="176">
                    <a:moveTo>
                      <a:pt x="30" y="128"/>
                    </a:moveTo>
                    <a:lnTo>
                      <a:pt x="30" y="128"/>
                    </a:lnTo>
                    <a:lnTo>
                      <a:pt x="32" y="130"/>
                    </a:lnTo>
                    <a:lnTo>
                      <a:pt x="34" y="130"/>
                    </a:lnTo>
                    <a:lnTo>
                      <a:pt x="38" y="130"/>
                    </a:lnTo>
                    <a:lnTo>
                      <a:pt x="38" y="130"/>
                    </a:lnTo>
                    <a:lnTo>
                      <a:pt x="40" y="132"/>
                    </a:lnTo>
                    <a:lnTo>
                      <a:pt x="40" y="134"/>
                    </a:lnTo>
                    <a:lnTo>
                      <a:pt x="42" y="136"/>
                    </a:lnTo>
                    <a:lnTo>
                      <a:pt x="44" y="138"/>
                    </a:lnTo>
                    <a:lnTo>
                      <a:pt x="46" y="138"/>
                    </a:lnTo>
                    <a:lnTo>
                      <a:pt x="48" y="140"/>
                    </a:lnTo>
                    <a:lnTo>
                      <a:pt x="52" y="140"/>
                    </a:lnTo>
                    <a:lnTo>
                      <a:pt x="58" y="140"/>
                    </a:lnTo>
                    <a:lnTo>
                      <a:pt x="62" y="142"/>
                    </a:lnTo>
                    <a:lnTo>
                      <a:pt x="66" y="142"/>
                    </a:lnTo>
                    <a:lnTo>
                      <a:pt x="72" y="142"/>
                    </a:lnTo>
                    <a:lnTo>
                      <a:pt x="72" y="142"/>
                    </a:lnTo>
                    <a:lnTo>
                      <a:pt x="74" y="142"/>
                    </a:lnTo>
                    <a:lnTo>
                      <a:pt x="76" y="142"/>
                    </a:lnTo>
                    <a:lnTo>
                      <a:pt x="76" y="142"/>
                    </a:lnTo>
                    <a:lnTo>
                      <a:pt x="78" y="142"/>
                    </a:lnTo>
                    <a:lnTo>
                      <a:pt x="78" y="142"/>
                    </a:lnTo>
                    <a:lnTo>
                      <a:pt x="80" y="142"/>
                    </a:lnTo>
                    <a:lnTo>
                      <a:pt x="82" y="142"/>
                    </a:lnTo>
                    <a:lnTo>
                      <a:pt x="82" y="142"/>
                    </a:lnTo>
                    <a:lnTo>
                      <a:pt x="82" y="142"/>
                    </a:lnTo>
                    <a:lnTo>
                      <a:pt x="84" y="142"/>
                    </a:lnTo>
                    <a:lnTo>
                      <a:pt x="84" y="144"/>
                    </a:lnTo>
                    <a:lnTo>
                      <a:pt x="84" y="144"/>
                    </a:lnTo>
                    <a:lnTo>
                      <a:pt x="86" y="146"/>
                    </a:lnTo>
                    <a:lnTo>
                      <a:pt x="86" y="148"/>
                    </a:lnTo>
                    <a:lnTo>
                      <a:pt x="86" y="148"/>
                    </a:lnTo>
                    <a:lnTo>
                      <a:pt x="88" y="158"/>
                    </a:lnTo>
                    <a:lnTo>
                      <a:pt x="90" y="164"/>
                    </a:lnTo>
                    <a:lnTo>
                      <a:pt x="92" y="168"/>
                    </a:lnTo>
                    <a:lnTo>
                      <a:pt x="92" y="168"/>
                    </a:lnTo>
                    <a:lnTo>
                      <a:pt x="92" y="170"/>
                    </a:lnTo>
                    <a:lnTo>
                      <a:pt x="94" y="172"/>
                    </a:lnTo>
                    <a:lnTo>
                      <a:pt x="94" y="172"/>
                    </a:lnTo>
                    <a:lnTo>
                      <a:pt x="94" y="172"/>
                    </a:lnTo>
                    <a:lnTo>
                      <a:pt x="96" y="174"/>
                    </a:lnTo>
                    <a:lnTo>
                      <a:pt x="98" y="174"/>
                    </a:lnTo>
                    <a:lnTo>
                      <a:pt x="98" y="174"/>
                    </a:lnTo>
                    <a:lnTo>
                      <a:pt x="100" y="174"/>
                    </a:lnTo>
                    <a:lnTo>
                      <a:pt x="102" y="174"/>
                    </a:lnTo>
                    <a:lnTo>
                      <a:pt x="104" y="172"/>
                    </a:lnTo>
                    <a:lnTo>
                      <a:pt x="106" y="172"/>
                    </a:lnTo>
                    <a:lnTo>
                      <a:pt x="108" y="172"/>
                    </a:lnTo>
                    <a:lnTo>
                      <a:pt x="108" y="172"/>
                    </a:lnTo>
                    <a:lnTo>
                      <a:pt x="112" y="174"/>
                    </a:lnTo>
                    <a:lnTo>
                      <a:pt x="118" y="176"/>
                    </a:lnTo>
                    <a:lnTo>
                      <a:pt x="120" y="176"/>
                    </a:lnTo>
                    <a:lnTo>
                      <a:pt x="124" y="176"/>
                    </a:lnTo>
                    <a:lnTo>
                      <a:pt x="126" y="176"/>
                    </a:lnTo>
                    <a:lnTo>
                      <a:pt x="130" y="176"/>
                    </a:lnTo>
                    <a:lnTo>
                      <a:pt x="130" y="176"/>
                    </a:lnTo>
                    <a:lnTo>
                      <a:pt x="136" y="176"/>
                    </a:lnTo>
                    <a:lnTo>
                      <a:pt x="142" y="174"/>
                    </a:lnTo>
                    <a:lnTo>
                      <a:pt x="150" y="172"/>
                    </a:lnTo>
                    <a:lnTo>
                      <a:pt x="156" y="172"/>
                    </a:lnTo>
                    <a:lnTo>
                      <a:pt x="156" y="172"/>
                    </a:lnTo>
                    <a:lnTo>
                      <a:pt x="158" y="170"/>
                    </a:lnTo>
                    <a:lnTo>
                      <a:pt x="164" y="168"/>
                    </a:lnTo>
                    <a:lnTo>
                      <a:pt x="168" y="168"/>
                    </a:lnTo>
                    <a:lnTo>
                      <a:pt x="172" y="166"/>
                    </a:lnTo>
                    <a:lnTo>
                      <a:pt x="172" y="166"/>
                    </a:lnTo>
                    <a:lnTo>
                      <a:pt x="176" y="164"/>
                    </a:lnTo>
                    <a:lnTo>
                      <a:pt x="178" y="162"/>
                    </a:lnTo>
                    <a:lnTo>
                      <a:pt x="182" y="160"/>
                    </a:lnTo>
                    <a:lnTo>
                      <a:pt x="182" y="160"/>
                    </a:lnTo>
                    <a:lnTo>
                      <a:pt x="182" y="160"/>
                    </a:lnTo>
                    <a:lnTo>
                      <a:pt x="180" y="158"/>
                    </a:lnTo>
                    <a:lnTo>
                      <a:pt x="180" y="156"/>
                    </a:lnTo>
                    <a:lnTo>
                      <a:pt x="180" y="156"/>
                    </a:lnTo>
                    <a:lnTo>
                      <a:pt x="180" y="154"/>
                    </a:lnTo>
                    <a:lnTo>
                      <a:pt x="180" y="154"/>
                    </a:lnTo>
                    <a:lnTo>
                      <a:pt x="178" y="152"/>
                    </a:lnTo>
                    <a:lnTo>
                      <a:pt x="176" y="152"/>
                    </a:lnTo>
                    <a:lnTo>
                      <a:pt x="176" y="152"/>
                    </a:lnTo>
                    <a:lnTo>
                      <a:pt x="174" y="150"/>
                    </a:lnTo>
                    <a:lnTo>
                      <a:pt x="174" y="150"/>
                    </a:lnTo>
                    <a:lnTo>
                      <a:pt x="174" y="150"/>
                    </a:lnTo>
                    <a:lnTo>
                      <a:pt x="174" y="148"/>
                    </a:lnTo>
                    <a:lnTo>
                      <a:pt x="174" y="146"/>
                    </a:lnTo>
                    <a:lnTo>
                      <a:pt x="174" y="146"/>
                    </a:lnTo>
                    <a:lnTo>
                      <a:pt x="172" y="144"/>
                    </a:lnTo>
                    <a:lnTo>
                      <a:pt x="172" y="140"/>
                    </a:lnTo>
                    <a:lnTo>
                      <a:pt x="172" y="140"/>
                    </a:lnTo>
                    <a:lnTo>
                      <a:pt x="170" y="134"/>
                    </a:lnTo>
                    <a:lnTo>
                      <a:pt x="168" y="130"/>
                    </a:lnTo>
                    <a:lnTo>
                      <a:pt x="168" y="126"/>
                    </a:lnTo>
                    <a:lnTo>
                      <a:pt x="168" y="126"/>
                    </a:lnTo>
                    <a:lnTo>
                      <a:pt x="166" y="122"/>
                    </a:lnTo>
                    <a:lnTo>
                      <a:pt x="168" y="116"/>
                    </a:lnTo>
                    <a:lnTo>
                      <a:pt x="168" y="104"/>
                    </a:lnTo>
                    <a:lnTo>
                      <a:pt x="168" y="104"/>
                    </a:lnTo>
                    <a:lnTo>
                      <a:pt x="168" y="100"/>
                    </a:lnTo>
                    <a:lnTo>
                      <a:pt x="170" y="94"/>
                    </a:lnTo>
                    <a:lnTo>
                      <a:pt x="170" y="94"/>
                    </a:lnTo>
                    <a:lnTo>
                      <a:pt x="170" y="92"/>
                    </a:lnTo>
                    <a:lnTo>
                      <a:pt x="168" y="90"/>
                    </a:lnTo>
                    <a:lnTo>
                      <a:pt x="166" y="86"/>
                    </a:lnTo>
                    <a:lnTo>
                      <a:pt x="166" y="86"/>
                    </a:lnTo>
                    <a:lnTo>
                      <a:pt x="164" y="82"/>
                    </a:lnTo>
                    <a:lnTo>
                      <a:pt x="164" y="80"/>
                    </a:lnTo>
                    <a:lnTo>
                      <a:pt x="164" y="76"/>
                    </a:lnTo>
                    <a:lnTo>
                      <a:pt x="164" y="74"/>
                    </a:lnTo>
                    <a:lnTo>
                      <a:pt x="164" y="72"/>
                    </a:lnTo>
                    <a:lnTo>
                      <a:pt x="166" y="68"/>
                    </a:lnTo>
                    <a:lnTo>
                      <a:pt x="166" y="66"/>
                    </a:lnTo>
                    <a:lnTo>
                      <a:pt x="166" y="64"/>
                    </a:lnTo>
                    <a:lnTo>
                      <a:pt x="166" y="64"/>
                    </a:lnTo>
                    <a:lnTo>
                      <a:pt x="168" y="62"/>
                    </a:lnTo>
                    <a:lnTo>
                      <a:pt x="170" y="60"/>
                    </a:lnTo>
                    <a:lnTo>
                      <a:pt x="172" y="58"/>
                    </a:lnTo>
                    <a:lnTo>
                      <a:pt x="172" y="58"/>
                    </a:lnTo>
                    <a:lnTo>
                      <a:pt x="166" y="56"/>
                    </a:lnTo>
                    <a:lnTo>
                      <a:pt x="160" y="52"/>
                    </a:lnTo>
                    <a:lnTo>
                      <a:pt x="160" y="52"/>
                    </a:lnTo>
                    <a:lnTo>
                      <a:pt x="158" y="52"/>
                    </a:lnTo>
                    <a:lnTo>
                      <a:pt x="154" y="50"/>
                    </a:lnTo>
                    <a:lnTo>
                      <a:pt x="152" y="48"/>
                    </a:lnTo>
                    <a:lnTo>
                      <a:pt x="150" y="48"/>
                    </a:lnTo>
                    <a:lnTo>
                      <a:pt x="148" y="46"/>
                    </a:lnTo>
                    <a:lnTo>
                      <a:pt x="148" y="44"/>
                    </a:lnTo>
                    <a:lnTo>
                      <a:pt x="148" y="44"/>
                    </a:lnTo>
                    <a:lnTo>
                      <a:pt x="148" y="42"/>
                    </a:lnTo>
                    <a:lnTo>
                      <a:pt x="148" y="40"/>
                    </a:lnTo>
                    <a:lnTo>
                      <a:pt x="148" y="38"/>
                    </a:lnTo>
                    <a:lnTo>
                      <a:pt x="146" y="36"/>
                    </a:lnTo>
                    <a:lnTo>
                      <a:pt x="146" y="36"/>
                    </a:lnTo>
                    <a:lnTo>
                      <a:pt x="146" y="36"/>
                    </a:lnTo>
                    <a:lnTo>
                      <a:pt x="142" y="34"/>
                    </a:lnTo>
                    <a:lnTo>
                      <a:pt x="138" y="32"/>
                    </a:lnTo>
                    <a:lnTo>
                      <a:pt x="138" y="32"/>
                    </a:lnTo>
                    <a:lnTo>
                      <a:pt x="132" y="28"/>
                    </a:lnTo>
                    <a:lnTo>
                      <a:pt x="130" y="26"/>
                    </a:lnTo>
                    <a:lnTo>
                      <a:pt x="126" y="26"/>
                    </a:lnTo>
                    <a:lnTo>
                      <a:pt x="126" y="26"/>
                    </a:lnTo>
                    <a:lnTo>
                      <a:pt x="122" y="24"/>
                    </a:lnTo>
                    <a:lnTo>
                      <a:pt x="118" y="20"/>
                    </a:lnTo>
                    <a:lnTo>
                      <a:pt x="114" y="18"/>
                    </a:lnTo>
                    <a:lnTo>
                      <a:pt x="110" y="16"/>
                    </a:lnTo>
                    <a:lnTo>
                      <a:pt x="110" y="16"/>
                    </a:lnTo>
                    <a:lnTo>
                      <a:pt x="106" y="14"/>
                    </a:lnTo>
                    <a:lnTo>
                      <a:pt x="102" y="12"/>
                    </a:lnTo>
                    <a:lnTo>
                      <a:pt x="98" y="8"/>
                    </a:lnTo>
                    <a:lnTo>
                      <a:pt x="94" y="6"/>
                    </a:lnTo>
                    <a:lnTo>
                      <a:pt x="94" y="6"/>
                    </a:lnTo>
                    <a:lnTo>
                      <a:pt x="86" y="4"/>
                    </a:lnTo>
                    <a:lnTo>
                      <a:pt x="84" y="2"/>
                    </a:lnTo>
                    <a:lnTo>
                      <a:pt x="82" y="2"/>
                    </a:lnTo>
                    <a:lnTo>
                      <a:pt x="82" y="0"/>
                    </a:lnTo>
                    <a:lnTo>
                      <a:pt x="82" y="0"/>
                    </a:lnTo>
                    <a:lnTo>
                      <a:pt x="80" y="0"/>
                    </a:lnTo>
                    <a:lnTo>
                      <a:pt x="80" y="2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6"/>
                    </a:lnTo>
                    <a:lnTo>
                      <a:pt x="78" y="6"/>
                    </a:lnTo>
                    <a:lnTo>
                      <a:pt x="80" y="8"/>
                    </a:lnTo>
                    <a:lnTo>
                      <a:pt x="80" y="10"/>
                    </a:lnTo>
                    <a:lnTo>
                      <a:pt x="80" y="12"/>
                    </a:lnTo>
                    <a:lnTo>
                      <a:pt x="80" y="12"/>
                    </a:lnTo>
                    <a:lnTo>
                      <a:pt x="80" y="12"/>
                    </a:lnTo>
                    <a:lnTo>
                      <a:pt x="80" y="12"/>
                    </a:lnTo>
                    <a:lnTo>
                      <a:pt x="78" y="12"/>
                    </a:lnTo>
                    <a:lnTo>
                      <a:pt x="76" y="12"/>
                    </a:lnTo>
                    <a:lnTo>
                      <a:pt x="76" y="12"/>
                    </a:lnTo>
                    <a:lnTo>
                      <a:pt x="76" y="12"/>
                    </a:lnTo>
                    <a:lnTo>
                      <a:pt x="74" y="14"/>
                    </a:lnTo>
                    <a:lnTo>
                      <a:pt x="72" y="14"/>
                    </a:lnTo>
                    <a:lnTo>
                      <a:pt x="74" y="14"/>
                    </a:lnTo>
                    <a:lnTo>
                      <a:pt x="74" y="16"/>
                    </a:lnTo>
                    <a:lnTo>
                      <a:pt x="74" y="16"/>
                    </a:lnTo>
                    <a:lnTo>
                      <a:pt x="76" y="16"/>
                    </a:lnTo>
                    <a:lnTo>
                      <a:pt x="78" y="16"/>
                    </a:lnTo>
                    <a:lnTo>
                      <a:pt x="78" y="16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20"/>
                    </a:lnTo>
                    <a:lnTo>
                      <a:pt x="80" y="20"/>
                    </a:lnTo>
                    <a:lnTo>
                      <a:pt x="80" y="20"/>
                    </a:lnTo>
                    <a:lnTo>
                      <a:pt x="78" y="20"/>
                    </a:lnTo>
                    <a:lnTo>
                      <a:pt x="76" y="22"/>
                    </a:lnTo>
                    <a:lnTo>
                      <a:pt x="76" y="22"/>
                    </a:lnTo>
                    <a:lnTo>
                      <a:pt x="74" y="22"/>
                    </a:lnTo>
                    <a:lnTo>
                      <a:pt x="72" y="22"/>
                    </a:lnTo>
                    <a:lnTo>
                      <a:pt x="70" y="22"/>
                    </a:lnTo>
                    <a:lnTo>
                      <a:pt x="70" y="22"/>
                    </a:lnTo>
                    <a:lnTo>
                      <a:pt x="68" y="22"/>
                    </a:lnTo>
                    <a:lnTo>
                      <a:pt x="66" y="22"/>
                    </a:lnTo>
                    <a:lnTo>
                      <a:pt x="66" y="20"/>
                    </a:lnTo>
                    <a:lnTo>
                      <a:pt x="64" y="20"/>
                    </a:lnTo>
                    <a:lnTo>
                      <a:pt x="64" y="20"/>
                    </a:lnTo>
                    <a:lnTo>
                      <a:pt x="64" y="20"/>
                    </a:lnTo>
                    <a:lnTo>
                      <a:pt x="64" y="22"/>
                    </a:lnTo>
                    <a:lnTo>
                      <a:pt x="62" y="22"/>
                    </a:lnTo>
                    <a:lnTo>
                      <a:pt x="64" y="24"/>
                    </a:lnTo>
                    <a:lnTo>
                      <a:pt x="64" y="28"/>
                    </a:lnTo>
                    <a:lnTo>
                      <a:pt x="64" y="28"/>
                    </a:lnTo>
                    <a:lnTo>
                      <a:pt x="64" y="28"/>
                    </a:lnTo>
                    <a:lnTo>
                      <a:pt x="62" y="28"/>
                    </a:lnTo>
                    <a:lnTo>
                      <a:pt x="62" y="28"/>
                    </a:lnTo>
                    <a:lnTo>
                      <a:pt x="60" y="28"/>
                    </a:lnTo>
                    <a:lnTo>
                      <a:pt x="60" y="28"/>
                    </a:lnTo>
                    <a:lnTo>
                      <a:pt x="60" y="24"/>
                    </a:lnTo>
                    <a:lnTo>
                      <a:pt x="60" y="24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58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4" y="20"/>
                    </a:lnTo>
                    <a:lnTo>
                      <a:pt x="54" y="20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52" y="22"/>
                    </a:lnTo>
                    <a:lnTo>
                      <a:pt x="50" y="24"/>
                    </a:lnTo>
                    <a:lnTo>
                      <a:pt x="50" y="24"/>
                    </a:lnTo>
                    <a:lnTo>
                      <a:pt x="50" y="24"/>
                    </a:lnTo>
                    <a:lnTo>
                      <a:pt x="48" y="24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0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6" y="16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4" y="14"/>
                    </a:lnTo>
                    <a:lnTo>
                      <a:pt x="44" y="12"/>
                    </a:lnTo>
                    <a:lnTo>
                      <a:pt x="44" y="10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0" y="6"/>
                    </a:lnTo>
                    <a:lnTo>
                      <a:pt x="40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10"/>
                    </a:lnTo>
                    <a:lnTo>
                      <a:pt x="30" y="12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26" y="16"/>
                    </a:lnTo>
                    <a:lnTo>
                      <a:pt x="26" y="18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2"/>
                    </a:lnTo>
                    <a:lnTo>
                      <a:pt x="24" y="24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0" y="26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16" y="30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2" y="32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0" y="28"/>
                    </a:lnTo>
                    <a:lnTo>
                      <a:pt x="8" y="28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8"/>
                    </a:lnTo>
                    <a:lnTo>
                      <a:pt x="2" y="28"/>
                    </a:lnTo>
                    <a:lnTo>
                      <a:pt x="2" y="28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6" y="34"/>
                    </a:lnTo>
                    <a:lnTo>
                      <a:pt x="8" y="34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10" y="38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8" y="42"/>
                    </a:lnTo>
                    <a:lnTo>
                      <a:pt x="6" y="44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2" y="50"/>
                    </a:lnTo>
                    <a:lnTo>
                      <a:pt x="0" y="52"/>
                    </a:lnTo>
                    <a:lnTo>
                      <a:pt x="0" y="56"/>
                    </a:lnTo>
                    <a:lnTo>
                      <a:pt x="0" y="58"/>
                    </a:lnTo>
                    <a:lnTo>
                      <a:pt x="0" y="62"/>
                    </a:lnTo>
                    <a:lnTo>
                      <a:pt x="0" y="66"/>
                    </a:lnTo>
                    <a:lnTo>
                      <a:pt x="2" y="72"/>
                    </a:lnTo>
                    <a:lnTo>
                      <a:pt x="2" y="72"/>
                    </a:lnTo>
                    <a:lnTo>
                      <a:pt x="4" y="78"/>
                    </a:lnTo>
                    <a:lnTo>
                      <a:pt x="4" y="82"/>
                    </a:lnTo>
                    <a:lnTo>
                      <a:pt x="4" y="84"/>
                    </a:lnTo>
                    <a:lnTo>
                      <a:pt x="4" y="84"/>
                    </a:lnTo>
                    <a:lnTo>
                      <a:pt x="6" y="88"/>
                    </a:lnTo>
                    <a:lnTo>
                      <a:pt x="8" y="92"/>
                    </a:lnTo>
                    <a:lnTo>
                      <a:pt x="8" y="92"/>
                    </a:lnTo>
                    <a:lnTo>
                      <a:pt x="10" y="94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100"/>
                    </a:lnTo>
                    <a:lnTo>
                      <a:pt x="12" y="104"/>
                    </a:lnTo>
                    <a:lnTo>
                      <a:pt x="14" y="108"/>
                    </a:lnTo>
                    <a:lnTo>
                      <a:pt x="14" y="112"/>
                    </a:lnTo>
                    <a:lnTo>
                      <a:pt x="14" y="112"/>
                    </a:lnTo>
                    <a:lnTo>
                      <a:pt x="14" y="114"/>
                    </a:lnTo>
                    <a:lnTo>
                      <a:pt x="16" y="116"/>
                    </a:lnTo>
                    <a:lnTo>
                      <a:pt x="18" y="118"/>
                    </a:lnTo>
                    <a:lnTo>
                      <a:pt x="18" y="118"/>
                    </a:lnTo>
                    <a:lnTo>
                      <a:pt x="22" y="120"/>
                    </a:lnTo>
                    <a:lnTo>
                      <a:pt x="22" y="120"/>
                    </a:lnTo>
                    <a:lnTo>
                      <a:pt x="24" y="120"/>
                    </a:lnTo>
                    <a:lnTo>
                      <a:pt x="24" y="120"/>
                    </a:lnTo>
                    <a:lnTo>
                      <a:pt x="26" y="122"/>
                    </a:lnTo>
                    <a:lnTo>
                      <a:pt x="26" y="124"/>
                    </a:lnTo>
                    <a:lnTo>
                      <a:pt x="26" y="124"/>
                    </a:lnTo>
                    <a:lnTo>
                      <a:pt x="26" y="124"/>
                    </a:lnTo>
                    <a:lnTo>
                      <a:pt x="28" y="126"/>
                    </a:lnTo>
                    <a:lnTo>
                      <a:pt x="28" y="128"/>
                    </a:lnTo>
                    <a:lnTo>
                      <a:pt x="30" y="128"/>
                    </a:lnTo>
                    <a:lnTo>
                      <a:pt x="30" y="128"/>
                    </a:lnTo>
                    <a:lnTo>
                      <a:pt x="30" y="128"/>
                    </a:lnTo>
                    <a:lnTo>
                      <a:pt x="30" y="128"/>
                    </a:lnTo>
                    <a:lnTo>
                      <a:pt x="30" y="128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46" name="Freeform 676"/>
              <p:cNvSpPr>
                <a:spLocks/>
              </p:cNvSpPr>
              <p:nvPr/>
            </p:nvSpPr>
            <p:spPr bwMode="auto">
              <a:xfrm>
                <a:off x="3241" y="2984"/>
                <a:ext cx="48" cy="124"/>
              </a:xfrm>
              <a:custGeom>
                <a:avLst/>
                <a:gdLst>
                  <a:gd name="T0" fmla="*/ 10 w 48"/>
                  <a:gd name="T1" fmla="*/ 26 h 124"/>
                  <a:gd name="T2" fmla="*/ 8 w 48"/>
                  <a:gd name="T3" fmla="*/ 32 h 124"/>
                  <a:gd name="T4" fmla="*/ 10 w 48"/>
                  <a:gd name="T5" fmla="*/ 36 h 124"/>
                  <a:gd name="T6" fmla="*/ 10 w 48"/>
                  <a:gd name="T7" fmla="*/ 42 h 124"/>
                  <a:gd name="T8" fmla="*/ 10 w 48"/>
                  <a:gd name="T9" fmla="*/ 46 h 124"/>
                  <a:gd name="T10" fmla="*/ 4 w 48"/>
                  <a:gd name="T11" fmla="*/ 52 h 124"/>
                  <a:gd name="T12" fmla="*/ 2 w 48"/>
                  <a:gd name="T13" fmla="*/ 60 h 124"/>
                  <a:gd name="T14" fmla="*/ 0 w 48"/>
                  <a:gd name="T15" fmla="*/ 70 h 124"/>
                  <a:gd name="T16" fmla="*/ 2 w 48"/>
                  <a:gd name="T17" fmla="*/ 74 h 124"/>
                  <a:gd name="T18" fmla="*/ 8 w 48"/>
                  <a:gd name="T19" fmla="*/ 76 h 124"/>
                  <a:gd name="T20" fmla="*/ 20 w 48"/>
                  <a:gd name="T21" fmla="*/ 80 h 124"/>
                  <a:gd name="T22" fmla="*/ 22 w 48"/>
                  <a:gd name="T23" fmla="*/ 84 h 124"/>
                  <a:gd name="T24" fmla="*/ 24 w 48"/>
                  <a:gd name="T25" fmla="*/ 96 h 124"/>
                  <a:gd name="T26" fmla="*/ 24 w 48"/>
                  <a:gd name="T27" fmla="*/ 100 h 124"/>
                  <a:gd name="T28" fmla="*/ 22 w 48"/>
                  <a:gd name="T29" fmla="*/ 106 h 124"/>
                  <a:gd name="T30" fmla="*/ 22 w 48"/>
                  <a:gd name="T31" fmla="*/ 108 h 124"/>
                  <a:gd name="T32" fmla="*/ 24 w 48"/>
                  <a:gd name="T33" fmla="*/ 116 h 124"/>
                  <a:gd name="T34" fmla="*/ 28 w 48"/>
                  <a:gd name="T35" fmla="*/ 122 h 124"/>
                  <a:gd name="T36" fmla="*/ 30 w 48"/>
                  <a:gd name="T37" fmla="*/ 124 h 124"/>
                  <a:gd name="T38" fmla="*/ 34 w 48"/>
                  <a:gd name="T39" fmla="*/ 122 h 124"/>
                  <a:gd name="T40" fmla="*/ 38 w 48"/>
                  <a:gd name="T41" fmla="*/ 116 h 124"/>
                  <a:gd name="T42" fmla="*/ 42 w 48"/>
                  <a:gd name="T43" fmla="*/ 108 h 124"/>
                  <a:gd name="T44" fmla="*/ 46 w 48"/>
                  <a:gd name="T45" fmla="*/ 104 h 124"/>
                  <a:gd name="T46" fmla="*/ 48 w 48"/>
                  <a:gd name="T47" fmla="*/ 100 h 124"/>
                  <a:gd name="T48" fmla="*/ 48 w 48"/>
                  <a:gd name="T49" fmla="*/ 94 h 124"/>
                  <a:gd name="T50" fmla="*/ 42 w 48"/>
                  <a:gd name="T51" fmla="*/ 86 h 124"/>
                  <a:gd name="T52" fmla="*/ 40 w 48"/>
                  <a:gd name="T53" fmla="*/ 78 h 124"/>
                  <a:gd name="T54" fmla="*/ 38 w 48"/>
                  <a:gd name="T55" fmla="*/ 72 h 124"/>
                  <a:gd name="T56" fmla="*/ 34 w 48"/>
                  <a:gd name="T57" fmla="*/ 66 h 124"/>
                  <a:gd name="T58" fmla="*/ 32 w 48"/>
                  <a:gd name="T59" fmla="*/ 62 h 124"/>
                  <a:gd name="T60" fmla="*/ 30 w 48"/>
                  <a:gd name="T61" fmla="*/ 54 h 124"/>
                  <a:gd name="T62" fmla="*/ 30 w 48"/>
                  <a:gd name="T63" fmla="*/ 42 h 124"/>
                  <a:gd name="T64" fmla="*/ 32 w 48"/>
                  <a:gd name="T65" fmla="*/ 36 h 124"/>
                  <a:gd name="T66" fmla="*/ 36 w 48"/>
                  <a:gd name="T67" fmla="*/ 32 h 124"/>
                  <a:gd name="T68" fmla="*/ 32 w 48"/>
                  <a:gd name="T69" fmla="*/ 28 h 124"/>
                  <a:gd name="T70" fmla="*/ 30 w 48"/>
                  <a:gd name="T71" fmla="*/ 22 h 124"/>
                  <a:gd name="T72" fmla="*/ 26 w 48"/>
                  <a:gd name="T73" fmla="*/ 6 h 124"/>
                  <a:gd name="T74" fmla="*/ 24 w 48"/>
                  <a:gd name="T75" fmla="*/ 2 h 124"/>
                  <a:gd name="T76" fmla="*/ 22 w 48"/>
                  <a:gd name="T77" fmla="*/ 0 h 124"/>
                  <a:gd name="T78" fmla="*/ 18 w 48"/>
                  <a:gd name="T79" fmla="*/ 0 h 124"/>
                  <a:gd name="T80" fmla="*/ 16 w 48"/>
                  <a:gd name="T81" fmla="*/ 0 h 124"/>
                  <a:gd name="T82" fmla="*/ 12 w 48"/>
                  <a:gd name="T83" fmla="*/ 0 h 124"/>
                  <a:gd name="T84" fmla="*/ 0 w 48"/>
                  <a:gd name="T85" fmla="*/ 0 h 124"/>
                  <a:gd name="T86" fmla="*/ 6 w 48"/>
                  <a:gd name="T87" fmla="*/ 18 h 124"/>
                  <a:gd name="T88" fmla="*/ 10 w 48"/>
                  <a:gd name="T89" fmla="*/ 22 h 124"/>
                  <a:gd name="T90" fmla="*/ 10 w 48"/>
                  <a:gd name="T91" fmla="*/ 22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8" h="124">
                    <a:moveTo>
                      <a:pt x="10" y="22"/>
                    </a:moveTo>
                    <a:lnTo>
                      <a:pt x="10" y="22"/>
                    </a:lnTo>
                    <a:lnTo>
                      <a:pt x="10" y="26"/>
                    </a:lnTo>
                    <a:lnTo>
                      <a:pt x="8" y="28"/>
                    </a:lnTo>
                    <a:lnTo>
                      <a:pt x="8" y="30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4"/>
                    </a:lnTo>
                    <a:lnTo>
                      <a:pt x="10" y="36"/>
                    </a:lnTo>
                    <a:lnTo>
                      <a:pt x="10" y="40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4"/>
                    </a:lnTo>
                    <a:lnTo>
                      <a:pt x="10" y="46"/>
                    </a:lnTo>
                    <a:lnTo>
                      <a:pt x="6" y="50"/>
                    </a:lnTo>
                    <a:lnTo>
                      <a:pt x="6" y="50"/>
                    </a:lnTo>
                    <a:lnTo>
                      <a:pt x="4" y="52"/>
                    </a:lnTo>
                    <a:lnTo>
                      <a:pt x="2" y="54"/>
                    </a:lnTo>
                    <a:lnTo>
                      <a:pt x="2" y="56"/>
                    </a:lnTo>
                    <a:lnTo>
                      <a:pt x="2" y="60"/>
                    </a:lnTo>
                    <a:lnTo>
                      <a:pt x="0" y="64"/>
                    </a:lnTo>
                    <a:lnTo>
                      <a:pt x="0" y="70"/>
                    </a:lnTo>
                    <a:lnTo>
                      <a:pt x="0" y="70"/>
                    </a:lnTo>
                    <a:lnTo>
                      <a:pt x="0" y="72"/>
                    </a:lnTo>
                    <a:lnTo>
                      <a:pt x="2" y="72"/>
                    </a:lnTo>
                    <a:lnTo>
                      <a:pt x="2" y="74"/>
                    </a:lnTo>
                    <a:lnTo>
                      <a:pt x="2" y="74"/>
                    </a:lnTo>
                    <a:lnTo>
                      <a:pt x="6" y="76"/>
                    </a:lnTo>
                    <a:lnTo>
                      <a:pt x="8" y="76"/>
                    </a:lnTo>
                    <a:lnTo>
                      <a:pt x="14" y="78"/>
                    </a:lnTo>
                    <a:lnTo>
                      <a:pt x="18" y="78"/>
                    </a:lnTo>
                    <a:lnTo>
                      <a:pt x="20" y="80"/>
                    </a:lnTo>
                    <a:lnTo>
                      <a:pt x="20" y="80"/>
                    </a:lnTo>
                    <a:lnTo>
                      <a:pt x="22" y="82"/>
                    </a:lnTo>
                    <a:lnTo>
                      <a:pt x="22" y="84"/>
                    </a:lnTo>
                    <a:lnTo>
                      <a:pt x="24" y="88"/>
                    </a:lnTo>
                    <a:lnTo>
                      <a:pt x="24" y="94"/>
                    </a:lnTo>
                    <a:lnTo>
                      <a:pt x="24" y="96"/>
                    </a:lnTo>
                    <a:lnTo>
                      <a:pt x="24" y="98"/>
                    </a:lnTo>
                    <a:lnTo>
                      <a:pt x="24" y="98"/>
                    </a:lnTo>
                    <a:lnTo>
                      <a:pt x="24" y="100"/>
                    </a:lnTo>
                    <a:lnTo>
                      <a:pt x="22" y="102"/>
                    </a:lnTo>
                    <a:lnTo>
                      <a:pt x="22" y="104"/>
                    </a:lnTo>
                    <a:lnTo>
                      <a:pt x="22" y="106"/>
                    </a:lnTo>
                    <a:lnTo>
                      <a:pt x="22" y="106"/>
                    </a:lnTo>
                    <a:lnTo>
                      <a:pt x="22" y="106"/>
                    </a:lnTo>
                    <a:lnTo>
                      <a:pt x="22" y="108"/>
                    </a:lnTo>
                    <a:lnTo>
                      <a:pt x="22" y="112"/>
                    </a:lnTo>
                    <a:lnTo>
                      <a:pt x="24" y="116"/>
                    </a:lnTo>
                    <a:lnTo>
                      <a:pt x="24" y="116"/>
                    </a:lnTo>
                    <a:lnTo>
                      <a:pt x="24" y="118"/>
                    </a:lnTo>
                    <a:lnTo>
                      <a:pt x="26" y="120"/>
                    </a:lnTo>
                    <a:lnTo>
                      <a:pt x="28" y="122"/>
                    </a:lnTo>
                    <a:lnTo>
                      <a:pt x="30" y="122"/>
                    </a:lnTo>
                    <a:lnTo>
                      <a:pt x="30" y="124"/>
                    </a:lnTo>
                    <a:lnTo>
                      <a:pt x="30" y="124"/>
                    </a:lnTo>
                    <a:lnTo>
                      <a:pt x="32" y="124"/>
                    </a:lnTo>
                    <a:lnTo>
                      <a:pt x="34" y="122"/>
                    </a:lnTo>
                    <a:lnTo>
                      <a:pt x="34" y="122"/>
                    </a:lnTo>
                    <a:lnTo>
                      <a:pt x="34" y="120"/>
                    </a:lnTo>
                    <a:lnTo>
                      <a:pt x="36" y="118"/>
                    </a:lnTo>
                    <a:lnTo>
                      <a:pt x="38" y="116"/>
                    </a:lnTo>
                    <a:lnTo>
                      <a:pt x="38" y="116"/>
                    </a:lnTo>
                    <a:lnTo>
                      <a:pt x="40" y="110"/>
                    </a:lnTo>
                    <a:lnTo>
                      <a:pt x="42" y="108"/>
                    </a:lnTo>
                    <a:lnTo>
                      <a:pt x="42" y="106"/>
                    </a:lnTo>
                    <a:lnTo>
                      <a:pt x="42" y="106"/>
                    </a:lnTo>
                    <a:lnTo>
                      <a:pt x="46" y="104"/>
                    </a:lnTo>
                    <a:lnTo>
                      <a:pt x="48" y="102"/>
                    </a:lnTo>
                    <a:lnTo>
                      <a:pt x="48" y="100"/>
                    </a:lnTo>
                    <a:lnTo>
                      <a:pt x="48" y="100"/>
                    </a:lnTo>
                    <a:lnTo>
                      <a:pt x="48" y="100"/>
                    </a:lnTo>
                    <a:lnTo>
                      <a:pt x="48" y="98"/>
                    </a:lnTo>
                    <a:lnTo>
                      <a:pt x="48" y="94"/>
                    </a:lnTo>
                    <a:lnTo>
                      <a:pt x="46" y="92"/>
                    </a:lnTo>
                    <a:lnTo>
                      <a:pt x="46" y="90"/>
                    </a:lnTo>
                    <a:lnTo>
                      <a:pt x="42" y="86"/>
                    </a:lnTo>
                    <a:lnTo>
                      <a:pt x="40" y="82"/>
                    </a:lnTo>
                    <a:lnTo>
                      <a:pt x="40" y="82"/>
                    </a:lnTo>
                    <a:lnTo>
                      <a:pt x="40" y="78"/>
                    </a:lnTo>
                    <a:lnTo>
                      <a:pt x="38" y="78"/>
                    </a:lnTo>
                    <a:lnTo>
                      <a:pt x="38" y="74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6" y="70"/>
                    </a:lnTo>
                    <a:lnTo>
                      <a:pt x="34" y="66"/>
                    </a:lnTo>
                    <a:lnTo>
                      <a:pt x="34" y="64"/>
                    </a:lnTo>
                    <a:lnTo>
                      <a:pt x="32" y="62"/>
                    </a:lnTo>
                    <a:lnTo>
                      <a:pt x="32" y="62"/>
                    </a:lnTo>
                    <a:lnTo>
                      <a:pt x="32" y="60"/>
                    </a:lnTo>
                    <a:lnTo>
                      <a:pt x="30" y="58"/>
                    </a:lnTo>
                    <a:lnTo>
                      <a:pt x="30" y="54"/>
                    </a:lnTo>
                    <a:lnTo>
                      <a:pt x="30" y="48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32" y="36"/>
                    </a:lnTo>
                    <a:lnTo>
                      <a:pt x="36" y="32"/>
                    </a:lnTo>
                    <a:lnTo>
                      <a:pt x="36" y="32"/>
                    </a:lnTo>
                    <a:lnTo>
                      <a:pt x="36" y="32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2" y="28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0" y="22"/>
                    </a:lnTo>
                    <a:lnTo>
                      <a:pt x="28" y="1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4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8"/>
                    </a:lnTo>
                    <a:lnTo>
                      <a:pt x="8" y="18"/>
                    </a:lnTo>
                    <a:lnTo>
                      <a:pt x="8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47" name="Freeform 678"/>
              <p:cNvSpPr>
                <a:spLocks/>
              </p:cNvSpPr>
              <p:nvPr/>
            </p:nvSpPr>
            <p:spPr bwMode="auto">
              <a:xfrm>
                <a:off x="3063" y="2966"/>
                <a:ext cx="188" cy="154"/>
              </a:xfrm>
              <a:custGeom>
                <a:avLst/>
                <a:gdLst>
                  <a:gd name="T0" fmla="*/ 56 w 188"/>
                  <a:gd name="T1" fmla="*/ 154 h 154"/>
                  <a:gd name="T2" fmla="*/ 64 w 188"/>
                  <a:gd name="T3" fmla="*/ 154 h 154"/>
                  <a:gd name="T4" fmla="*/ 76 w 188"/>
                  <a:gd name="T5" fmla="*/ 150 h 154"/>
                  <a:gd name="T6" fmla="*/ 90 w 188"/>
                  <a:gd name="T7" fmla="*/ 148 h 154"/>
                  <a:gd name="T8" fmla="*/ 106 w 188"/>
                  <a:gd name="T9" fmla="*/ 138 h 154"/>
                  <a:gd name="T10" fmla="*/ 106 w 188"/>
                  <a:gd name="T11" fmla="*/ 124 h 154"/>
                  <a:gd name="T12" fmla="*/ 110 w 188"/>
                  <a:gd name="T13" fmla="*/ 118 h 154"/>
                  <a:gd name="T14" fmla="*/ 124 w 188"/>
                  <a:gd name="T15" fmla="*/ 114 h 154"/>
                  <a:gd name="T16" fmla="*/ 132 w 188"/>
                  <a:gd name="T17" fmla="*/ 114 h 154"/>
                  <a:gd name="T18" fmla="*/ 136 w 188"/>
                  <a:gd name="T19" fmla="*/ 106 h 154"/>
                  <a:gd name="T20" fmla="*/ 148 w 188"/>
                  <a:gd name="T21" fmla="*/ 102 h 154"/>
                  <a:gd name="T22" fmla="*/ 170 w 188"/>
                  <a:gd name="T23" fmla="*/ 96 h 154"/>
                  <a:gd name="T24" fmla="*/ 180 w 188"/>
                  <a:gd name="T25" fmla="*/ 90 h 154"/>
                  <a:gd name="T26" fmla="*/ 180 w 188"/>
                  <a:gd name="T27" fmla="*/ 78 h 154"/>
                  <a:gd name="T28" fmla="*/ 184 w 188"/>
                  <a:gd name="T29" fmla="*/ 68 h 154"/>
                  <a:gd name="T30" fmla="*/ 188 w 188"/>
                  <a:gd name="T31" fmla="*/ 60 h 154"/>
                  <a:gd name="T32" fmla="*/ 186 w 188"/>
                  <a:gd name="T33" fmla="*/ 50 h 154"/>
                  <a:gd name="T34" fmla="*/ 188 w 188"/>
                  <a:gd name="T35" fmla="*/ 40 h 154"/>
                  <a:gd name="T36" fmla="*/ 184 w 188"/>
                  <a:gd name="T37" fmla="*/ 32 h 154"/>
                  <a:gd name="T38" fmla="*/ 166 w 188"/>
                  <a:gd name="T39" fmla="*/ 16 h 154"/>
                  <a:gd name="T40" fmla="*/ 156 w 188"/>
                  <a:gd name="T41" fmla="*/ 6 h 154"/>
                  <a:gd name="T42" fmla="*/ 146 w 188"/>
                  <a:gd name="T43" fmla="*/ 4 h 154"/>
                  <a:gd name="T44" fmla="*/ 144 w 188"/>
                  <a:gd name="T45" fmla="*/ 0 h 154"/>
                  <a:gd name="T46" fmla="*/ 120 w 188"/>
                  <a:gd name="T47" fmla="*/ 0 h 154"/>
                  <a:gd name="T48" fmla="*/ 112 w 188"/>
                  <a:gd name="T49" fmla="*/ 8 h 154"/>
                  <a:gd name="T50" fmla="*/ 106 w 188"/>
                  <a:gd name="T51" fmla="*/ 12 h 154"/>
                  <a:gd name="T52" fmla="*/ 106 w 188"/>
                  <a:gd name="T53" fmla="*/ 22 h 154"/>
                  <a:gd name="T54" fmla="*/ 106 w 188"/>
                  <a:gd name="T55" fmla="*/ 30 h 154"/>
                  <a:gd name="T56" fmla="*/ 102 w 188"/>
                  <a:gd name="T57" fmla="*/ 42 h 154"/>
                  <a:gd name="T58" fmla="*/ 104 w 188"/>
                  <a:gd name="T59" fmla="*/ 50 h 154"/>
                  <a:gd name="T60" fmla="*/ 110 w 188"/>
                  <a:gd name="T61" fmla="*/ 60 h 154"/>
                  <a:gd name="T62" fmla="*/ 120 w 188"/>
                  <a:gd name="T63" fmla="*/ 62 h 154"/>
                  <a:gd name="T64" fmla="*/ 128 w 188"/>
                  <a:gd name="T65" fmla="*/ 60 h 154"/>
                  <a:gd name="T66" fmla="*/ 130 w 188"/>
                  <a:gd name="T67" fmla="*/ 70 h 154"/>
                  <a:gd name="T68" fmla="*/ 128 w 188"/>
                  <a:gd name="T69" fmla="*/ 78 h 154"/>
                  <a:gd name="T70" fmla="*/ 122 w 188"/>
                  <a:gd name="T71" fmla="*/ 80 h 154"/>
                  <a:gd name="T72" fmla="*/ 108 w 188"/>
                  <a:gd name="T73" fmla="*/ 72 h 154"/>
                  <a:gd name="T74" fmla="*/ 94 w 188"/>
                  <a:gd name="T75" fmla="*/ 60 h 154"/>
                  <a:gd name="T76" fmla="*/ 86 w 188"/>
                  <a:gd name="T77" fmla="*/ 58 h 154"/>
                  <a:gd name="T78" fmla="*/ 72 w 188"/>
                  <a:gd name="T79" fmla="*/ 56 h 154"/>
                  <a:gd name="T80" fmla="*/ 58 w 188"/>
                  <a:gd name="T81" fmla="*/ 48 h 154"/>
                  <a:gd name="T82" fmla="*/ 46 w 188"/>
                  <a:gd name="T83" fmla="*/ 46 h 154"/>
                  <a:gd name="T84" fmla="*/ 38 w 188"/>
                  <a:gd name="T85" fmla="*/ 44 h 154"/>
                  <a:gd name="T86" fmla="*/ 36 w 188"/>
                  <a:gd name="T87" fmla="*/ 50 h 154"/>
                  <a:gd name="T88" fmla="*/ 36 w 188"/>
                  <a:gd name="T89" fmla="*/ 66 h 154"/>
                  <a:gd name="T90" fmla="*/ 36 w 188"/>
                  <a:gd name="T91" fmla="*/ 72 h 154"/>
                  <a:gd name="T92" fmla="*/ 18 w 188"/>
                  <a:gd name="T93" fmla="*/ 72 h 154"/>
                  <a:gd name="T94" fmla="*/ 2 w 188"/>
                  <a:gd name="T95" fmla="*/ 74 h 154"/>
                  <a:gd name="T96" fmla="*/ 0 w 188"/>
                  <a:gd name="T97" fmla="*/ 82 h 154"/>
                  <a:gd name="T98" fmla="*/ 0 w 188"/>
                  <a:gd name="T99" fmla="*/ 104 h 154"/>
                  <a:gd name="T100" fmla="*/ 0 w 188"/>
                  <a:gd name="T101" fmla="*/ 122 h 154"/>
                  <a:gd name="T102" fmla="*/ 2 w 188"/>
                  <a:gd name="T103" fmla="*/ 128 h 154"/>
                  <a:gd name="T104" fmla="*/ 8 w 188"/>
                  <a:gd name="T105" fmla="*/ 134 h 154"/>
                  <a:gd name="T106" fmla="*/ 12 w 188"/>
                  <a:gd name="T107" fmla="*/ 142 h 154"/>
                  <a:gd name="T108" fmla="*/ 18 w 188"/>
                  <a:gd name="T109" fmla="*/ 150 h 154"/>
                  <a:gd name="T110" fmla="*/ 46 w 188"/>
                  <a:gd name="T111" fmla="*/ 150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88" h="154">
                    <a:moveTo>
                      <a:pt x="46" y="150"/>
                    </a:moveTo>
                    <a:lnTo>
                      <a:pt x="46" y="150"/>
                    </a:lnTo>
                    <a:lnTo>
                      <a:pt x="48" y="150"/>
                    </a:lnTo>
                    <a:lnTo>
                      <a:pt x="52" y="150"/>
                    </a:lnTo>
                    <a:lnTo>
                      <a:pt x="56" y="154"/>
                    </a:lnTo>
                    <a:lnTo>
                      <a:pt x="56" y="154"/>
                    </a:lnTo>
                    <a:lnTo>
                      <a:pt x="58" y="154"/>
                    </a:lnTo>
                    <a:lnTo>
                      <a:pt x="60" y="154"/>
                    </a:lnTo>
                    <a:lnTo>
                      <a:pt x="62" y="154"/>
                    </a:lnTo>
                    <a:lnTo>
                      <a:pt x="64" y="154"/>
                    </a:lnTo>
                    <a:lnTo>
                      <a:pt x="64" y="154"/>
                    </a:lnTo>
                    <a:lnTo>
                      <a:pt x="70" y="152"/>
                    </a:lnTo>
                    <a:lnTo>
                      <a:pt x="72" y="152"/>
                    </a:lnTo>
                    <a:lnTo>
                      <a:pt x="76" y="150"/>
                    </a:lnTo>
                    <a:lnTo>
                      <a:pt x="76" y="150"/>
                    </a:lnTo>
                    <a:lnTo>
                      <a:pt x="82" y="150"/>
                    </a:lnTo>
                    <a:lnTo>
                      <a:pt x="82" y="150"/>
                    </a:lnTo>
                    <a:lnTo>
                      <a:pt x="86" y="150"/>
                    </a:lnTo>
                    <a:lnTo>
                      <a:pt x="86" y="150"/>
                    </a:lnTo>
                    <a:lnTo>
                      <a:pt x="90" y="148"/>
                    </a:lnTo>
                    <a:lnTo>
                      <a:pt x="94" y="144"/>
                    </a:lnTo>
                    <a:lnTo>
                      <a:pt x="104" y="140"/>
                    </a:lnTo>
                    <a:lnTo>
                      <a:pt x="104" y="140"/>
                    </a:lnTo>
                    <a:lnTo>
                      <a:pt x="106" y="138"/>
                    </a:lnTo>
                    <a:lnTo>
                      <a:pt x="106" y="138"/>
                    </a:lnTo>
                    <a:lnTo>
                      <a:pt x="106" y="136"/>
                    </a:lnTo>
                    <a:lnTo>
                      <a:pt x="106" y="132"/>
                    </a:lnTo>
                    <a:lnTo>
                      <a:pt x="106" y="132"/>
                    </a:lnTo>
                    <a:lnTo>
                      <a:pt x="106" y="128"/>
                    </a:lnTo>
                    <a:lnTo>
                      <a:pt x="106" y="124"/>
                    </a:lnTo>
                    <a:lnTo>
                      <a:pt x="106" y="122"/>
                    </a:lnTo>
                    <a:lnTo>
                      <a:pt x="106" y="122"/>
                    </a:lnTo>
                    <a:lnTo>
                      <a:pt x="108" y="120"/>
                    </a:lnTo>
                    <a:lnTo>
                      <a:pt x="108" y="118"/>
                    </a:lnTo>
                    <a:lnTo>
                      <a:pt x="110" y="118"/>
                    </a:lnTo>
                    <a:lnTo>
                      <a:pt x="114" y="116"/>
                    </a:lnTo>
                    <a:lnTo>
                      <a:pt x="116" y="116"/>
                    </a:lnTo>
                    <a:lnTo>
                      <a:pt x="118" y="114"/>
                    </a:lnTo>
                    <a:lnTo>
                      <a:pt x="120" y="114"/>
                    </a:lnTo>
                    <a:lnTo>
                      <a:pt x="124" y="114"/>
                    </a:lnTo>
                    <a:lnTo>
                      <a:pt x="124" y="114"/>
                    </a:lnTo>
                    <a:lnTo>
                      <a:pt x="128" y="114"/>
                    </a:lnTo>
                    <a:lnTo>
                      <a:pt x="130" y="114"/>
                    </a:lnTo>
                    <a:lnTo>
                      <a:pt x="130" y="114"/>
                    </a:lnTo>
                    <a:lnTo>
                      <a:pt x="132" y="114"/>
                    </a:lnTo>
                    <a:lnTo>
                      <a:pt x="132" y="114"/>
                    </a:lnTo>
                    <a:lnTo>
                      <a:pt x="132" y="112"/>
                    </a:lnTo>
                    <a:lnTo>
                      <a:pt x="134" y="110"/>
                    </a:lnTo>
                    <a:lnTo>
                      <a:pt x="134" y="108"/>
                    </a:lnTo>
                    <a:lnTo>
                      <a:pt x="136" y="106"/>
                    </a:lnTo>
                    <a:lnTo>
                      <a:pt x="136" y="106"/>
                    </a:lnTo>
                    <a:lnTo>
                      <a:pt x="140" y="104"/>
                    </a:lnTo>
                    <a:lnTo>
                      <a:pt x="142" y="104"/>
                    </a:lnTo>
                    <a:lnTo>
                      <a:pt x="148" y="102"/>
                    </a:lnTo>
                    <a:lnTo>
                      <a:pt x="148" y="102"/>
                    </a:lnTo>
                    <a:lnTo>
                      <a:pt x="154" y="100"/>
                    </a:lnTo>
                    <a:lnTo>
                      <a:pt x="158" y="98"/>
                    </a:lnTo>
                    <a:lnTo>
                      <a:pt x="158" y="98"/>
                    </a:lnTo>
                    <a:lnTo>
                      <a:pt x="166" y="96"/>
                    </a:lnTo>
                    <a:lnTo>
                      <a:pt x="170" y="96"/>
                    </a:lnTo>
                    <a:lnTo>
                      <a:pt x="174" y="96"/>
                    </a:lnTo>
                    <a:lnTo>
                      <a:pt x="174" y="96"/>
                    </a:lnTo>
                    <a:lnTo>
                      <a:pt x="176" y="92"/>
                    </a:lnTo>
                    <a:lnTo>
                      <a:pt x="180" y="90"/>
                    </a:lnTo>
                    <a:lnTo>
                      <a:pt x="180" y="90"/>
                    </a:lnTo>
                    <a:lnTo>
                      <a:pt x="178" y="90"/>
                    </a:lnTo>
                    <a:lnTo>
                      <a:pt x="178" y="88"/>
                    </a:lnTo>
                    <a:lnTo>
                      <a:pt x="178" y="88"/>
                    </a:lnTo>
                    <a:lnTo>
                      <a:pt x="178" y="82"/>
                    </a:lnTo>
                    <a:lnTo>
                      <a:pt x="180" y="78"/>
                    </a:lnTo>
                    <a:lnTo>
                      <a:pt x="180" y="74"/>
                    </a:lnTo>
                    <a:lnTo>
                      <a:pt x="180" y="72"/>
                    </a:lnTo>
                    <a:lnTo>
                      <a:pt x="182" y="70"/>
                    </a:lnTo>
                    <a:lnTo>
                      <a:pt x="184" y="68"/>
                    </a:lnTo>
                    <a:lnTo>
                      <a:pt x="184" y="68"/>
                    </a:lnTo>
                    <a:lnTo>
                      <a:pt x="188" y="64"/>
                    </a:lnTo>
                    <a:lnTo>
                      <a:pt x="188" y="62"/>
                    </a:lnTo>
                    <a:lnTo>
                      <a:pt x="188" y="60"/>
                    </a:lnTo>
                    <a:lnTo>
                      <a:pt x="188" y="60"/>
                    </a:lnTo>
                    <a:lnTo>
                      <a:pt x="188" y="60"/>
                    </a:lnTo>
                    <a:lnTo>
                      <a:pt x="188" y="58"/>
                    </a:lnTo>
                    <a:lnTo>
                      <a:pt x="188" y="54"/>
                    </a:lnTo>
                    <a:lnTo>
                      <a:pt x="186" y="52"/>
                    </a:lnTo>
                    <a:lnTo>
                      <a:pt x="186" y="50"/>
                    </a:lnTo>
                    <a:lnTo>
                      <a:pt x="186" y="50"/>
                    </a:lnTo>
                    <a:lnTo>
                      <a:pt x="186" y="48"/>
                    </a:lnTo>
                    <a:lnTo>
                      <a:pt x="186" y="46"/>
                    </a:lnTo>
                    <a:lnTo>
                      <a:pt x="188" y="44"/>
                    </a:lnTo>
                    <a:lnTo>
                      <a:pt x="188" y="40"/>
                    </a:lnTo>
                    <a:lnTo>
                      <a:pt x="188" y="40"/>
                    </a:lnTo>
                    <a:lnTo>
                      <a:pt x="186" y="38"/>
                    </a:lnTo>
                    <a:lnTo>
                      <a:pt x="186" y="36"/>
                    </a:lnTo>
                    <a:lnTo>
                      <a:pt x="184" y="36"/>
                    </a:lnTo>
                    <a:lnTo>
                      <a:pt x="184" y="32"/>
                    </a:lnTo>
                    <a:lnTo>
                      <a:pt x="184" y="32"/>
                    </a:lnTo>
                    <a:lnTo>
                      <a:pt x="178" y="18"/>
                    </a:lnTo>
                    <a:lnTo>
                      <a:pt x="178" y="18"/>
                    </a:lnTo>
                    <a:lnTo>
                      <a:pt x="172" y="16"/>
                    </a:lnTo>
                    <a:lnTo>
                      <a:pt x="168" y="16"/>
                    </a:lnTo>
                    <a:lnTo>
                      <a:pt x="166" y="16"/>
                    </a:lnTo>
                    <a:lnTo>
                      <a:pt x="162" y="14"/>
                    </a:lnTo>
                    <a:lnTo>
                      <a:pt x="160" y="12"/>
                    </a:lnTo>
                    <a:lnTo>
                      <a:pt x="158" y="10"/>
                    </a:lnTo>
                    <a:lnTo>
                      <a:pt x="156" y="6"/>
                    </a:lnTo>
                    <a:lnTo>
                      <a:pt x="156" y="6"/>
                    </a:lnTo>
                    <a:lnTo>
                      <a:pt x="152" y="6"/>
                    </a:lnTo>
                    <a:lnTo>
                      <a:pt x="150" y="6"/>
                    </a:lnTo>
                    <a:lnTo>
                      <a:pt x="148" y="4"/>
                    </a:lnTo>
                    <a:lnTo>
                      <a:pt x="148" y="4"/>
                    </a:lnTo>
                    <a:lnTo>
                      <a:pt x="146" y="4"/>
                    </a:lnTo>
                    <a:lnTo>
                      <a:pt x="146" y="2"/>
                    </a:lnTo>
                    <a:lnTo>
                      <a:pt x="144" y="0"/>
                    </a:lnTo>
                    <a:lnTo>
                      <a:pt x="144" y="0"/>
                    </a:lnTo>
                    <a:lnTo>
                      <a:pt x="144" y="0"/>
                    </a:lnTo>
                    <a:lnTo>
                      <a:pt x="144" y="0"/>
                    </a:lnTo>
                    <a:lnTo>
                      <a:pt x="134" y="0"/>
                    </a:lnTo>
                    <a:lnTo>
                      <a:pt x="124" y="0"/>
                    </a:lnTo>
                    <a:lnTo>
                      <a:pt x="124" y="0"/>
                    </a:lnTo>
                    <a:lnTo>
                      <a:pt x="122" y="0"/>
                    </a:lnTo>
                    <a:lnTo>
                      <a:pt x="120" y="0"/>
                    </a:lnTo>
                    <a:lnTo>
                      <a:pt x="118" y="0"/>
                    </a:lnTo>
                    <a:lnTo>
                      <a:pt x="116" y="2"/>
                    </a:lnTo>
                    <a:lnTo>
                      <a:pt x="114" y="2"/>
                    </a:lnTo>
                    <a:lnTo>
                      <a:pt x="114" y="4"/>
                    </a:lnTo>
                    <a:lnTo>
                      <a:pt x="112" y="8"/>
                    </a:lnTo>
                    <a:lnTo>
                      <a:pt x="112" y="8"/>
                    </a:lnTo>
                    <a:lnTo>
                      <a:pt x="110" y="10"/>
                    </a:lnTo>
                    <a:lnTo>
                      <a:pt x="110" y="10"/>
                    </a:lnTo>
                    <a:lnTo>
                      <a:pt x="106" y="12"/>
                    </a:lnTo>
                    <a:lnTo>
                      <a:pt x="106" y="12"/>
                    </a:lnTo>
                    <a:lnTo>
                      <a:pt x="106" y="14"/>
                    </a:lnTo>
                    <a:lnTo>
                      <a:pt x="106" y="16"/>
                    </a:lnTo>
                    <a:lnTo>
                      <a:pt x="106" y="18"/>
                    </a:lnTo>
                    <a:lnTo>
                      <a:pt x="106" y="18"/>
                    </a:lnTo>
                    <a:lnTo>
                      <a:pt x="106" y="22"/>
                    </a:lnTo>
                    <a:lnTo>
                      <a:pt x="106" y="22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06" y="28"/>
                    </a:lnTo>
                    <a:lnTo>
                      <a:pt x="106" y="30"/>
                    </a:lnTo>
                    <a:lnTo>
                      <a:pt x="106" y="32"/>
                    </a:lnTo>
                    <a:lnTo>
                      <a:pt x="106" y="36"/>
                    </a:lnTo>
                    <a:lnTo>
                      <a:pt x="106" y="36"/>
                    </a:lnTo>
                    <a:lnTo>
                      <a:pt x="104" y="38"/>
                    </a:lnTo>
                    <a:lnTo>
                      <a:pt x="102" y="42"/>
                    </a:lnTo>
                    <a:lnTo>
                      <a:pt x="102" y="44"/>
                    </a:lnTo>
                    <a:lnTo>
                      <a:pt x="102" y="46"/>
                    </a:lnTo>
                    <a:lnTo>
                      <a:pt x="102" y="48"/>
                    </a:lnTo>
                    <a:lnTo>
                      <a:pt x="102" y="48"/>
                    </a:lnTo>
                    <a:lnTo>
                      <a:pt x="104" y="50"/>
                    </a:lnTo>
                    <a:lnTo>
                      <a:pt x="106" y="54"/>
                    </a:lnTo>
                    <a:lnTo>
                      <a:pt x="106" y="56"/>
                    </a:lnTo>
                    <a:lnTo>
                      <a:pt x="108" y="58"/>
                    </a:lnTo>
                    <a:lnTo>
                      <a:pt x="110" y="60"/>
                    </a:lnTo>
                    <a:lnTo>
                      <a:pt x="110" y="60"/>
                    </a:lnTo>
                    <a:lnTo>
                      <a:pt x="110" y="60"/>
                    </a:lnTo>
                    <a:lnTo>
                      <a:pt x="112" y="62"/>
                    </a:lnTo>
                    <a:lnTo>
                      <a:pt x="114" y="62"/>
                    </a:lnTo>
                    <a:lnTo>
                      <a:pt x="116" y="62"/>
                    </a:lnTo>
                    <a:lnTo>
                      <a:pt x="120" y="62"/>
                    </a:lnTo>
                    <a:lnTo>
                      <a:pt x="122" y="60"/>
                    </a:lnTo>
                    <a:lnTo>
                      <a:pt x="122" y="60"/>
                    </a:lnTo>
                    <a:lnTo>
                      <a:pt x="126" y="60"/>
                    </a:lnTo>
                    <a:lnTo>
                      <a:pt x="128" y="60"/>
                    </a:lnTo>
                    <a:lnTo>
                      <a:pt x="128" y="60"/>
                    </a:lnTo>
                    <a:lnTo>
                      <a:pt x="130" y="62"/>
                    </a:lnTo>
                    <a:lnTo>
                      <a:pt x="130" y="62"/>
                    </a:lnTo>
                    <a:lnTo>
                      <a:pt x="130" y="64"/>
                    </a:lnTo>
                    <a:lnTo>
                      <a:pt x="130" y="66"/>
                    </a:lnTo>
                    <a:lnTo>
                      <a:pt x="130" y="70"/>
                    </a:lnTo>
                    <a:lnTo>
                      <a:pt x="130" y="70"/>
                    </a:lnTo>
                    <a:lnTo>
                      <a:pt x="130" y="72"/>
                    </a:lnTo>
                    <a:lnTo>
                      <a:pt x="130" y="74"/>
                    </a:lnTo>
                    <a:lnTo>
                      <a:pt x="130" y="76"/>
                    </a:lnTo>
                    <a:lnTo>
                      <a:pt x="128" y="78"/>
                    </a:lnTo>
                    <a:lnTo>
                      <a:pt x="128" y="80"/>
                    </a:lnTo>
                    <a:lnTo>
                      <a:pt x="126" y="80"/>
                    </a:lnTo>
                    <a:lnTo>
                      <a:pt x="124" y="80"/>
                    </a:lnTo>
                    <a:lnTo>
                      <a:pt x="124" y="80"/>
                    </a:lnTo>
                    <a:lnTo>
                      <a:pt x="122" y="80"/>
                    </a:lnTo>
                    <a:lnTo>
                      <a:pt x="120" y="80"/>
                    </a:lnTo>
                    <a:lnTo>
                      <a:pt x="116" y="78"/>
                    </a:lnTo>
                    <a:lnTo>
                      <a:pt x="112" y="76"/>
                    </a:lnTo>
                    <a:lnTo>
                      <a:pt x="108" y="72"/>
                    </a:lnTo>
                    <a:lnTo>
                      <a:pt x="108" y="72"/>
                    </a:lnTo>
                    <a:lnTo>
                      <a:pt x="106" y="70"/>
                    </a:lnTo>
                    <a:lnTo>
                      <a:pt x="102" y="68"/>
                    </a:lnTo>
                    <a:lnTo>
                      <a:pt x="98" y="64"/>
                    </a:lnTo>
                    <a:lnTo>
                      <a:pt x="94" y="60"/>
                    </a:lnTo>
                    <a:lnTo>
                      <a:pt x="94" y="60"/>
                    </a:lnTo>
                    <a:lnTo>
                      <a:pt x="92" y="58"/>
                    </a:lnTo>
                    <a:lnTo>
                      <a:pt x="90" y="58"/>
                    </a:lnTo>
                    <a:lnTo>
                      <a:pt x="90" y="58"/>
                    </a:lnTo>
                    <a:lnTo>
                      <a:pt x="86" y="58"/>
                    </a:lnTo>
                    <a:lnTo>
                      <a:pt x="86" y="58"/>
                    </a:lnTo>
                    <a:lnTo>
                      <a:pt x="82" y="58"/>
                    </a:lnTo>
                    <a:lnTo>
                      <a:pt x="76" y="58"/>
                    </a:lnTo>
                    <a:lnTo>
                      <a:pt x="76" y="58"/>
                    </a:lnTo>
                    <a:lnTo>
                      <a:pt x="74" y="58"/>
                    </a:lnTo>
                    <a:lnTo>
                      <a:pt x="72" y="56"/>
                    </a:lnTo>
                    <a:lnTo>
                      <a:pt x="68" y="54"/>
                    </a:lnTo>
                    <a:lnTo>
                      <a:pt x="64" y="52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58" y="48"/>
                    </a:lnTo>
                    <a:lnTo>
                      <a:pt x="58" y="48"/>
                    </a:lnTo>
                    <a:lnTo>
                      <a:pt x="56" y="46"/>
                    </a:lnTo>
                    <a:lnTo>
                      <a:pt x="54" y="46"/>
                    </a:lnTo>
                    <a:lnTo>
                      <a:pt x="50" y="46"/>
                    </a:lnTo>
                    <a:lnTo>
                      <a:pt x="46" y="46"/>
                    </a:lnTo>
                    <a:lnTo>
                      <a:pt x="46" y="46"/>
                    </a:lnTo>
                    <a:lnTo>
                      <a:pt x="42" y="46"/>
                    </a:lnTo>
                    <a:lnTo>
                      <a:pt x="40" y="46"/>
                    </a:lnTo>
                    <a:lnTo>
                      <a:pt x="38" y="44"/>
                    </a:lnTo>
                    <a:lnTo>
                      <a:pt x="38" y="44"/>
                    </a:lnTo>
                    <a:lnTo>
                      <a:pt x="38" y="44"/>
                    </a:lnTo>
                    <a:lnTo>
                      <a:pt x="38" y="44"/>
                    </a:lnTo>
                    <a:lnTo>
                      <a:pt x="36" y="46"/>
                    </a:lnTo>
                    <a:lnTo>
                      <a:pt x="36" y="48"/>
                    </a:lnTo>
                    <a:lnTo>
                      <a:pt x="36" y="50"/>
                    </a:lnTo>
                    <a:lnTo>
                      <a:pt x="36" y="52"/>
                    </a:lnTo>
                    <a:lnTo>
                      <a:pt x="36" y="58"/>
                    </a:lnTo>
                    <a:lnTo>
                      <a:pt x="36" y="60"/>
                    </a:lnTo>
                    <a:lnTo>
                      <a:pt x="36" y="60"/>
                    </a:lnTo>
                    <a:lnTo>
                      <a:pt x="36" y="66"/>
                    </a:lnTo>
                    <a:lnTo>
                      <a:pt x="36" y="70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36" y="72"/>
                    </a:lnTo>
                    <a:lnTo>
                      <a:pt x="32" y="72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18" y="72"/>
                    </a:lnTo>
                    <a:lnTo>
                      <a:pt x="12" y="72"/>
                    </a:lnTo>
                    <a:lnTo>
                      <a:pt x="10" y="72"/>
                    </a:lnTo>
                    <a:lnTo>
                      <a:pt x="6" y="72"/>
                    </a:lnTo>
                    <a:lnTo>
                      <a:pt x="4" y="72"/>
                    </a:lnTo>
                    <a:lnTo>
                      <a:pt x="2" y="74"/>
                    </a:lnTo>
                    <a:lnTo>
                      <a:pt x="2" y="74"/>
                    </a:lnTo>
                    <a:lnTo>
                      <a:pt x="2" y="74"/>
                    </a:lnTo>
                    <a:lnTo>
                      <a:pt x="2" y="76"/>
                    </a:lnTo>
                    <a:lnTo>
                      <a:pt x="0" y="78"/>
                    </a:lnTo>
                    <a:lnTo>
                      <a:pt x="0" y="82"/>
                    </a:lnTo>
                    <a:lnTo>
                      <a:pt x="0" y="86"/>
                    </a:lnTo>
                    <a:lnTo>
                      <a:pt x="0" y="92"/>
                    </a:lnTo>
                    <a:lnTo>
                      <a:pt x="2" y="96"/>
                    </a:lnTo>
                    <a:lnTo>
                      <a:pt x="2" y="96"/>
                    </a:lnTo>
                    <a:lnTo>
                      <a:pt x="0" y="104"/>
                    </a:lnTo>
                    <a:lnTo>
                      <a:pt x="0" y="114"/>
                    </a:lnTo>
                    <a:lnTo>
                      <a:pt x="0" y="114"/>
                    </a:lnTo>
                    <a:lnTo>
                      <a:pt x="0" y="116"/>
                    </a:lnTo>
                    <a:lnTo>
                      <a:pt x="0" y="120"/>
                    </a:lnTo>
                    <a:lnTo>
                      <a:pt x="0" y="122"/>
                    </a:lnTo>
                    <a:lnTo>
                      <a:pt x="0" y="124"/>
                    </a:lnTo>
                    <a:lnTo>
                      <a:pt x="0" y="126"/>
                    </a:lnTo>
                    <a:lnTo>
                      <a:pt x="2" y="128"/>
                    </a:lnTo>
                    <a:lnTo>
                      <a:pt x="2" y="128"/>
                    </a:lnTo>
                    <a:lnTo>
                      <a:pt x="2" y="128"/>
                    </a:lnTo>
                    <a:lnTo>
                      <a:pt x="4" y="130"/>
                    </a:lnTo>
                    <a:lnTo>
                      <a:pt x="6" y="130"/>
                    </a:lnTo>
                    <a:lnTo>
                      <a:pt x="6" y="132"/>
                    </a:lnTo>
                    <a:lnTo>
                      <a:pt x="6" y="132"/>
                    </a:lnTo>
                    <a:lnTo>
                      <a:pt x="8" y="134"/>
                    </a:lnTo>
                    <a:lnTo>
                      <a:pt x="10" y="136"/>
                    </a:lnTo>
                    <a:lnTo>
                      <a:pt x="10" y="138"/>
                    </a:lnTo>
                    <a:lnTo>
                      <a:pt x="10" y="140"/>
                    </a:lnTo>
                    <a:lnTo>
                      <a:pt x="10" y="140"/>
                    </a:lnTo>
                    <a:lnTo>
                      <a:pt x="12" y="142"/>
                    </a:lnTo>
                    <a:lnTo>
                      <a:pt x="14" y="144"/>
                    </a:lnTo>
                    <a:lnTo>
                      <a:pt x="16" y="146"/>
                    </a:lnTo>
                    <a:lnTo>
                      <a:pt x="18" y="148"/>
                    </a:lnTo>
                    <a:lnTo>
                      <a:pt x="18" y="150"/>
                    </a:lnTo>
                    <a:lnTo>
                      <a:pt x="18" y="150"/>
                    </a:lnTo>
                    <a:lnTo>
                      <a:pt x="34" y="148"/>
                    </a:lnTo>
                    <a:lnTo>
                      <a:pt x="40" y="148"/>
                    </a:lnTo>
                    <a:lnTo>
                      <a:pt x="46" y="150"/>
                    </a:lnTo>
                    <a:lnTo>
                      <a:pt x="46" y="150"/>
                    </a:lnTo>
                    <a:lnTo>
                      <a:pt x="46" y="150"/>
                    </a:lnTo>
                    <a:lnTo>
                      <a:pt x="46" y="150"/>
                    </a:lnTo>
                    <a:lnTo>
                      <a:pt x="46" y="15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48" name="Freeform 680"/>
              <p:cNvSpPr>
                <a:spLocks/>
              </p:cNvSpPr>
              <p:nvPr/>
            </p:nvSpPr>
            <p:spPr bwMode="auto">
              <a:xfrm>
                <a:off x="3193" y="3002"/>
                <a:ext cx="174" cy="258"/>
              </a:xfrm>
              <a:custGeom>
                <a:avLst/>
                <a:gdLst>
                  <a:gd name="T0" fmla="*/ 170 w 174"/>
                  <a:gd name="T1" fmla="*/ 60 h 258"/>
                  <a:gd name="T2" fmla="*/ 172 w 174"/>
                  <a:gd name="T3" fmla="*/ 46 h 258"/>
                  <a:gd name="T4" fmla="*/ 174 w 174"/>
                  <a:gd name="T5" fmla="*/ 36 h 258"/>
                  <a:gd name="T6" fmla="*/ 174 w 174"/>
                  <a:gd name="T7" fmla="*/ 16 h 258"/>
                  <a:gd name="T8" fmla="*/ 172 w 174"/>
                  <a:gd name="T9" fmla="*/ 0 h 258"/>
                  <a:gd name="T10" fmla="*/ 170 w 174"/>
                  <a:gd name="T11" fmla="*/ 0 h 258"/>
                  <a:gd name="T12" fmla="*/ 156 w 174"/>
                  <a:gd name="T13" fmla="*/ 8 h 258"/>
                  <a:gd name="T14" fmla="*/ 130 w 174"/>
                  <a:gd name="T15" fmla="*/ 14 h 258"/>
                  <a:gd name="T16" fmla="*/ 108 w 174"/>
                  <a:gd name="T17" fmla="*/ 16 h 258"/>
                  <a:gd name="T18" fmla="*/ 92 w 174"/>
                  <a:gd name="T19" fmla="*/ 12 h 258"/>
                  <a:gd name="T20" fmla="*/ 84 w 174"/>
                  <a:gd name="T21" fmla="*/ 14 h 258"/>
                  <a:gd name="T22" fmla="*/ 78 w 174"/>
                  <a:gd name="T23" fmla="*/ 30 h 258"/>
                  <a:gd name="T24" fmla="*/ 82 w 174"/>
                  <a:gd name="T25" fmla="*/ 46 h 258"/>
                  <a:gd name="T26" fmla="*/ 86 w 174"/>
                  <a:gd name="T27" fmla="*/ 60 h 258"/>
                  <a:gd name="T28" fmla="*/ 94 w 174"/>
                  <a:gd name="T29" fmla="*/ 74 h 258"/>
                  <a:gd name="T30" fmla="*/ 96 w 174"/>
                  <a:gd name="T31" fmla="*/ 84 h 258"/>
                  <a:gd name="T32" fmla="*/ 86 w 174"/>
                  <a:gd name="T33" fmla="*/ 98 h 258"/>
                  <a:gd name="T34" fmla="*/ 80 w 174"/>
                  <a:gd name="T35" fmla="*/ 106 h 258"/>
                  <a:gd name="T36" fmla="*/ 72 w 174"/>
                  <a:gd name="T37" fmla="*/ 100 h 258"/>
                  <a:gd name="T38" fmla="*/ 70 w 174"/>
                  <a:gd name="T39" fmla="*/ 88 h 258"/>
                  <a:gd name="T40" fmla="*/ 72 w 174"/>
                  <a:gd name="T41" fmla="*/ 80 h 258"/>
                  <a:gd name="T42" fmla="*/ 68 w 174"/>
                  <a:gd name="T43" fmla="*/ 62 h 258"/>
                  <a:gd name="T44" fmla="*/ 52 w 174"/>
                  <a:gd name="T45" fmla="*/ 58 h 258"/>
                  <a:gd name="T46" fmla="*/ 44 w 174"/>
                  <a:gd name="T47" fmla="*/ 60 h 258"/>
                  <a:gd name="T48" fmla="*/ 18 w 174"/>
                  <a:gd name="T49" fmla="*/ 66 h 258"/>
                  <a:gd name="T50" fmla="*/ 4 w 174"/>
                  <a:gd name="T51" fmla="*/ 72 h 258"/>
                  <a:gd name="T52" fmla="*/ 0 w 174"/>
                  <a:gd name="T53" fmla="*/ 78 h 258"/>
                  <a:gd name="T54" fmla="*/ 8 w 174"/>
                  <a:gd name="T55" fmla="*/ 90 h 258"/>
                  <a:gd name="T56" fmla="*/ 20 w 174"/>
                  <a:gd name="T57" fmla="*/ 90 h 258"/>
                  <a:gd name="T58" fmla="*/ 28 w 174"/>
                  <a:gd name="T59" fmla="*/ 96 h 258"/>
                  <a:gd name="T60" fmla="*/ 44 w 174"/>
                  <a:gd name="T61" fmla="*/ 102 h 258"/>
                  <a:gd name="T62" fmla="*/ 48 w 174"/>
                  <a:gd name="T63" fmla="*/ 118 h 258"/>
                  <a:gd name="T64" fmla="*/ 44 w 174"/>
                  <a:gd name="T65" fmla="*/ 130 h 258"/>
                  <a:gd name="T66" fmla="*/ 46 w 174"/>
                  <a:gd name="T67" fmla="*/ 144 h 258"/>
                  <a:gd name="T68" fmla="*/ 44 w 174"/>
                  <a:gd name="T69" fmla="*/ 158 h 258"/>
                  <a:gd name="T70" fmla="*/ 32 w 174"/>
                  <a:gd name="T71" fmla="*/ 178 h 258"/>
                  <a:gd name="T72" fmla="*/ 24 w 174"/>
                  <a:gd name="T73" fmla="*/ 188 h 258"/>
                  <a:gd name="T74" fmla="*/ 20 w 174"/>
                  <a:gd name="T75" fmla="*/ 206 h 258"/>
                  <a:gd name="T76" fmla="*/ 24 w 174"/>
                  <a:gd name="T77" fmla="*/ 232 h 258"/>
                  <a:gd name="T78" fmla="*/ 22 w 174"/>
                  <a:gd name="T79" fmla="*/ 248 h 258"/>
                  <a:gd name="T80" fmla="*/ 28 w 174"/>
                  <a:gd name="T81" fmla="*/ 258 h 258"/>
                  <a:gd name="T82" fmla="*/ 34 w 174"/>
                  <a:gd name="T83" fmla="*/ 254 h 258"/>
                  <a:gd name="T84" fmla="*/ 48 w 174"/>
                  <a:gd name="T85" fmla="*/ 250 h 258"/>
                  <a:gd name="T86" fmla="*/ 68 w 174"/>
                  <a:gd name="T87" fmla="*/ 238 h 258"/>
                  <a:gd name="T88" fmla="*/ 76 w 174"/>
                  <a:gd name="T89" fmla="*/ 228 h 258"/>
                  <a:gd name="T90" fmla="*/ 78 w 174"/>
                  <a:gd name="T91" fmla="*/ 214 h 258"/>
                  <a:gd name="T92" fmla="*/ 78 w 174"/>
                  <a:gd name="T93" fmla="*/ 198 h 258"/>
                  <a:gd name="T94" fmla="*/ 78 w 174"/>
                  <a:gd name="T95" fmla="*/ 178 h 258"/>
                  <a:gd name="T96" fmla="*/ 76 w 174"/>
                  <a:gd name="T97" fmla="*/ 168 h 258"/>
                  <a:gd name="T98" fmla="*/ 72 w 174"/>
                  <a:gd name="T99" fmla="*/ 160 h 258"/>
                  <a:gd name="T100" fmla="*/ 80 w 174"/>
                  <a:gd name="T101" fmla="*/ 154 h 258"/>
                  <a:gd name="T102" fmla="*/ 86 w 174"/>
                  <a:gd name="T103" fmla="*/ 148 h 258"/>
                  <a:gd name="T104" fmla="*/ 92 w 174"/>
                  <a:gd name="T105" fmla="*/ 140 h 258"/>
                  <a:gd name="T106" fmla="*/ 92 w 174"/>
                  <a:gd name="T107" fmla="*/ 136 h 258"/>
                  <a:gd name="T108" fmla="*/ 100 w 174"/>
                  <a:gd name="T109" fmla="*/ 134 h 258"/>
                  <a:gd name="T110" fmla="*/ 106 w 174"/>
                  <a:gd name="T111" fmla="*/ 126 h 258"/>
                  <a:gd name="T112" fmla="*/ 118 w 174"/>
                  <a:gd name="T113" fmla="*/ 114 h 258"/>
                  <a:gd name="T114" fmla="*/ 126 w 174"/>
                  <a:gd name="T115" fmla="*/ 108 h 258"/>
                  <a:gd name="T116" fmla="*/ 146 w 174"/>
                  <a:gd name="T117" fmla="*/ 102 h 258"/>
                  <a:gd name="T118" fmla="*/ 156 w 174"/>
                  <a:gd name="T119" fmla="*/ 98 h 258"/>
                  <a:gd name="T120" fmla="*/ 172 w 174"/>
                  <a:gd name="T121" fmla="*/ 82 h 258"/>
                  <a:gd name="T122" fmla="*/ 174 w 174"/>
                  <a:gd name="T123" fmla="*/ 76 h 258"/>
                  <a:gd name="T124" fmla="*/ 170 w 174"/>
                  <a:gd name="T125" fmla="*/ 64 h 2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74" h="258">
                    <a:moveTo>
                      <a:pt x="170" y="64"/>
                    </a:moveTo>
                    <a:lnTo>
                      <a:pt x="170" y="64"/>
                    </a:lnTo>
                    <a:lnTo>
                      <a:pt x="170" y="62"/>
                    </a:lnTo>
                    <a:lnTo>
                      <a:pt x="170" y="60"/>
                    </a:lnTo>
                    <a:lnTo>
                      <a:pt x="170" y="60"/>
                    </a:lnTo>
                    <a:lnTo>
                      <a:pt x="170" y="60"/>
                    </a:lnTo>
                    <a:lnTo>
                      <a:pt x="172" y="56"/>
                    </a:lnTo>
                    <a:lnTo>
                      <a:pt x="172" y="56"/>
                    </a:lnTo>
                    <a:lnTo>
                      <a:pt x="172" y="52"/>
                    </a:lnTo>
                    <a:lnTo>
                      <a:pt x="172" y="50"/>
                    </a:lnTo>
                    <a:lnTo>
                      <a:pt x="172" y="48"/>
                    </a:lnTo>
                    <a:lnTo>
                      <a:pt x="172" y="46"/>
                    </a:lnTo>
                    <a:lnTo>
                      <a:pt x="172" y="46"/>
                    </a:lnTo>
                    <a:lnTo>
                      <a:pt x="172" y="42"/>
                    </a:lnTo>
                    <a:lnTo>
                      <a:pt x="172" y="40"/>
                    </a:lnTo>
                    <a:lnTo>
                      <a:pt x="174" y="38"/>
                    </a:lnTo>
                    <a:lnTo>
                      <a:pt x="174" y="36"/>
                    </a:lnTo>
                    <a:lnTo>
                      <a:pt x="174" y="36"/>
                    </a:lnTo>
                    <a:lnTo>
                      <a:pt x="172" y="32"/>
                    </a:lnTo>
                    <a:lnTo>
                      <a:pt x="172" y="26"/>
                    </a:lnTo>
                    <a:lnTo>
                      <a:pt x="172" y="26"/>
                    </a:lnTo>
                    <a:lnTo>
                      <a:pt x="172" y="24"/>
                    </a:lnTo>
                    <a:lnTo>
                      <a:pt x="172" y="22"/>
                    </a:lnTo>
                    <a:lnTo>
                      <a:pt x="174" y="16"/>
                    </a:lnTo>
                    <a:lnTo>
                      <a:pt x="174" y="16"/>
                    </a:lnTo>
                    <a:lnTo>
                      <a:pt x="174" y="12"/>
                    </a:lnTo>
                    <a:lnTo>
                      <a:pt x="174" y="8"/>
                    </a:lnTo>
                    <a:lnTo>
                      <a:pt x="174" y="4"/>
                    </a:lnTo>
                    <a:lnTo>
                      <a:pt x="172" y="0"/>
                    </a:lnTo>
                    <a:lnTo>
                      <a:pt x="172" y="0"/>
                    </a:lnTo>
                    <a:lnTo>
                      <a:pt x="172" y="0"/>
                    </a:lnTo>
                    <a:lnTo>
                      <a:pt x="170" y="0"/>
                    </a:lnTo>
                    <a:lnTo>
                      <a:pt x="170" y="0"/>
                    </a:lnTo>
                    <a:lnTo>
                      <a:pt x="170" y="0"/>
                    </a:lnTo>
                    <a:lnTo>
                      <a:pt x="170" y="0"/>
                    </a:lnTo>
                    <a:lnTo>
                      <a:pt x="170" y="0"/>
                    </a:lnTo>
                    <a:lnTo>
                      <a:pt x="170" y="0"/>
                    </a:lnTo>
                    <a:lnTo>
                      <a:pt x="166" y="2"/>
                    </a:lnTo>
                    <a:lnTo>
                      <a:pt x="164" y="4"/>
                    </a:lnTo>
                    <a:lnTo>
                      <a:pt x="160" y="6"/>
                    </a:lnTo>
                    <a:lnTo>
                      <a:pt x="160" y="6"/>
                    </a:lnTo>
                    <a:lnTo>
                      <a:pt x="156" y="8"/>
                    </a:lnTo>
                    <a:lnTo>
                      <a:pt x="152" y="8"/>
                    </a:lnTo>
                    <a:lnTo>
                      <a:pt x="146" y="10"/>
                    </a:lnTo>
                    <a:lnTo>
                      <a:pt x="144" y="12"/>
                    </a:lnTo>
                    <a:lnTo>
                      <a:pt x="144" y="12"/>
                    </a:lnTo>
                    <a:lnTo>
                      <a:pt x="138" y="12"/>
                    </a:lnTo>
                    <a:lnTo>
                      <a:pt x="130" y="14"/>
                    </a:lnTo>
                    <a:lnTo>
                      <a:pt x="124" y="16"/>
                    </a:lnTo>
                    <a:lnTo>
                      <a:pt x="118" y="16"/>
                    </a:lnTo>
                    <a:lnTo>
                      <a:pt x="118" y="16"/>
                    </a:lnTo>
                    <a:lnTo>
                      <a:pt x="114" y="16"/>
                    </a:lnTo>
                    <a:lnTo>
                      <a:pt x="112" y="16"/>
                    </a:lnTo>
                    <a:lnTo>
                      <a:pt x="108" y="16"/>
                    </a:lnTo>
                    <a:lnTo>
                      <a:pt x="106" y="16"/>
                    </a:lnTo>
                    <a:lnTo>
                      <a:pt x="100" y="14"/>
                    </a:lnTo>
                    <a:lnTo>
                      <a:pt x="96" y="12"/>
                    </a:lnTo>
                    <a:lnTo>
                      <a:pt x="96" y="12"/>
                    </a:lnTo>
                    <a:lnTo>
                      <a:pt x="94" y="12"/>
                    </a:lnTo>
                    <a:lnTo>
                      <a:pt x="92" y="12"/>
                    </a:lnTo>
                    <a:lnTo>
                      <a:pt x="90" y="14"/>
                    </a:lnTo>
                    <a:lnTo>
                      <a:pt x="88" y="14"/>
                    </a:lnTo>
                    <a:lnTo>
                      <a:pt x="86" y="14"/>
                    </a:lnTo>
                    <a:lnTo>
                      <a:pt x="86" y="14"/>
                    </a:lnTo>
                    <a:lnTo>
                      <a:pt x="84" y="14"/>
                    </a:lnTo>
                    <a:lnTo>
                      <a:pt x="84" y="14"/>
                    </a:lnTo>
                    <a:lnTo>
                      <a:pt x="80" y="18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4"/>
                    </a:lnTo>
                    <a:lnTo>
                      <a:pt x="78" y="24"/>
                    </a:lnTo>
                    <a:lnTo>
                      <a:pt x="78" y="30"/>
                    </a:lnTo>
                    <a:lnTo>
                      <a:pt x="78" y="36"/>
                    </a:lnTo>
                    <a:lnTo>
                      <a:pt x="78" y="40"/>
                    </a:lnTo>
                    <a:lnTo>
                      <a:pt x="80" y="42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2" y="46"/>
                    </a:lnTo>
                    <a:lnTo>
                      <a:pt x="82" y="48"/>
                    </a:lnTo>
                    <a:lnTo>
                      <a:pt x="84" y="52"/>
                    </a:lnTo>
                    <a:lnTo>
                      <a:pt x="86" y="54"/>
                    </a:lnTo>
                    <a:lnTo>
                      <a:pt x="86" y="54"/>
                    </a:lnTo>
                    <a:lnTo>
                      <a:pt x="86" y="56"/>
                    </a:lnTo>
                    <a:lnTo>
                      <a:pt x="86" y="60"/>
                    </a:lnTo>
                    <a:lnTo>
                      <a:pt x="88" y="60"/>
                    </a:lnTo>
                    <a:lnTo>
                      <a:pt x="88" y="64"/>
                    </a:lnTo>
                    <a:lnTo>
                      <a:pt x="88" y="64"/>
                    </a:lnTo>
                    <a:lnTo>
                      <a:pt x="90" y="68"/>
                    </a:lnTo>
                    <a:lnTo>
                      <a:pt x="94" y="72"/>
                    </a:lnTo>
                    <a:lnTo>
                      <a:pt x="94" y="74"/>
                    </a:lnTo>
                    <a:lnTo>
                      <a:pt x="96" y="76"/>
                    </a:lnTo>
                    <a:lnTo>
                      <a:pt x="96" y="80"/>
                    </a:lnTo>
                    <a:lnTo>
                      <a:pt x="96" y="82"/>
                    </a:lnTo>
                    <a:lnTo>
                      <a:pt x="96" y="82"/>
                    </a:lnTo>
                    <a:lnTo>
                      <a:pt x="96" y="82"/>
                    </a:lnTo>
                    <a:lnTo>
                      <a:pt x="96" y="84"/>
                    </a:lnTo>
                    <a:lnTo>
                      <a:pt x="94" y="86"/>
                    </a:lnTo>
                    <a:lnTo>
                      <a:pt x="90" y="88"/>
                    </a:lnTo>
                    <a:lnTo>
                      <a:pt x="90" y="88"/>
                    </a:lnTo>
                    <a:lnTo>
                      <a:pt x="90" y="90"/>
                    </a:lnTo>
                    <a:lnTo>
                      <a:pt x="88" y="92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4" y="100"/>
                    </a:lnTo>
                    <a:lnTo>
                      <a:pt x="82" y="102"/>
                    </a:lnTo>
                    <a:lnTo>
                      <a:pt x="82" y="104"/>
                    </a:lnTo>
                    <a:lnTo>
                      <a:pt x="82" y="104"/>
                    </a:lnTo>
                    <a:lnTo>
                      <a:pt x="80" y="106"/>
                    </a:lnTo>
                    <a:lnTo>
                      <a:pt x="78" y="106"/>
                    </a:lnTo>
                    <a:lnTo>
                      <a:pt x="78" y="106"/>
                    </a:lnTo>
                    <a:lnTo>
                      <a:pt x="78" y="104"/>
                    </a:lnTo>
                    <a:lnTo>
                      <a:pt x="76" y="104"/>
                    </a:lnTo>
                    <a:lnTo>
                      <a:pt x="74" y="102"/>
                    </a:lnTo>
                    <a:lnTo>
                      <a:pt x="72" y="100"/>
                    </a:lnTo>
                    <a:lnTo>
                      <a:pt x="72" y="98"/>
                    </a:lnTo>
                    <a:lnTo>
                      <a:pt x="72" y="98"/>
                    </a:lnTo>
                    <a:lnTo>
                      <a:pt x="70" y="94"/>
                    </a:lnTo>
                    <a:lnTo>
                      <a:pt x="70" y="90"/>
                    </a:lnTo>
                    <a:lnTo>
                      <a:pt x="70" y="88"/>
                    </a:lnTo>
                    <a:lnTo>
                      <a:pt x="70" y="88"/>
                    </a:lnTo>
                    <a:lnTo>
                      <a:pt x="70" y="88"/>
                    </a:lnTo>
                    <a:lnTo>
                      <a:pt x="70" y="86"/>
                    </a:lnTo>
                    <a:lnTo>
                      <a:pt x="70" y="84"/>
                    </a:lnTo>
                    <a:lnTo>
                      <a:pt x="72" y="82"/>
                    </a:lnTo>
                    <a:lnTo>
                      <a:pt x="72" y="80"/>
                    </a:lnTo>
                    <a:lnTo>
                      <a:pt x="72" y="80"/>
                    </a:lnTo>
                    <a:lnTo>
                      <a:pt x="72" y="78"/>
                    </a:lnTo>
                    <a:lnTo>
                      <a:pt x="72" y="76"/>
                    </a:lnTo>
                    <a:lnTo>
                      <a:pt x="72" y="70"/>
                    </a:lnTo>
                    <a:lnTo>
                      <a:pt x="70" y="66"/>
                    </a:lnTo>
                    <a:lnTo>
                      <a:pt x="70" y="64"/>
                    </a:lnTo>
                    <a:lnTo>
                      <a:pt x="68" y="62"/>
                    </a:lnTo>
                    <a:lnTo>
                      <a:pt x="68" y="62"/>
                    </a:lnTo>
                    <a:lnTo>
                      <a:pt x="66" y="60"/>
                    </a:lnTo>
                    <a:lnTo>
                      <a:pt x="64" y="60"/>
                    </a:lnTo>
                    <a:lnTo>
                      <a:pt x="58" y="58"/>
                    </a:lnTo>
                    <a:lnTo>
                      <a:pt x="54" y="58"/>
                    </a:lnTo>
                    <a:lnTo>
                      <a:pt x="52" y="58"/>
                    </a:lnTo>
                    <a:lnTo>
                      <a:pt x="50" y="56"/>
                    </a:lnTo>
                    <a:lnTo>
                      <a:pt x="50" y="54"/>
                    </a:lnTo>
                    <a:lnTo>
                      <a:pt x="50" y="54"/>
                    </a:lnTo>
                    <a:lnTo>
                      <a:pt x="46" y="56"/>
                    </a:lnTo>
                    <a:lnTo>
                      <a:pt x="44" y="60"/>
                    </a:lnTo>
                    <a:lnTo>
                      <a:pt x="44" y="60"/>
                    </a:lnTo>
                    <a:lnTo>
                      <a:pt x="40" y="60"/>
                    </a:lnTo>
                    <a:lnTo>
                      <a:pt x="36" y="60"/>
                    </a:lnTo>
                    <a:lnTo>
                      <a:pt x="28" y="62"/>
                    </a:lnTo>
                    <a:lnTo>
                      <a:pt x="28" y="62"/>
                    </a:lnTo>
                    <a:lnTo>
                      <a:pt x="24" y="64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2" y="68"/>
                    </a:lnTo>
                    <a:lnTo>
                      <a:pt x="10" y="68"/>
                    </a:lnTo>
                    <a:lnTo>
                      <a:pt x="6" y="70"/>
                    </a:lnTo>
                    <a:lnTo>
                      <a:pt x="6" y="70"/>
                    </a:lnTo>
                    <a:lnTo>
                      <a:pt x="4" y="72"/>
                    </a:lnTo>
                    <a:lnTo>
                      <a:pt x="4" y="74"/>
                    </a:lnTo>
                    <a:lnTo>
                      <a:pt x="2" y="76"/>
                    </a:lnTo>
                    <a:lnTo>
                      <a:pt x="2" y="78"/>
                    </a:lnTo>
                    <a:lnTo>
                      <a:pt x="2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2" y="82"/>
                    </a:lnTo>
                    <a:lnTo>
                      <a:pt x="2" y="84"/>
                    </a:lnTo>
                    <a:lnTo>
                      <a:pt x="2" y="86"/>
                    </a:lnTo>
                    <a:lnTo>
                      <a:pt x="4" y="88"/>
                    </a:lnTo>
                    <a:lnTo>
                      <a:pt x="6" y="88"/>
                    </a:lnTo>
                    <a:lnTo>
                      <a:pt x="8" y="90"/>
                    </a:lnTo>
                    <a:lnTo>
                      <a:pt x="10" y="90"/>
                    </a:lnTo>
                    <a:lnTo>
                      <a:pt x="10" y="90"/>
                    </a:lnTo>
                    <a:lnTo>
                      <a:pt x="16" y="90"/>
                    </a:lnTo>
                    <a:lnTo>
                      <a:pt x="18" y="90"/>
                    </a:lnTo>
                    <a:lnTo>
                      <a:pt x="20" y="90"/>
                    </a:lnTo>
                    <a:lnTo>
                      <a:pt x="20" y="90"/>
                    </a:lnTo>
                    <a:lnTo>
                      <a:pt x="22" y="90"/>
                    </a:lnTo>
                    <a:lnTo>
                      <a:pt x="24" y="90"/>
                    </a:lnTo>
                    <a:lnTo>
                      <a:pt x="24" y="92"/>
                    </a:lnTo>
                    <a:lnTo>
                      <a:pt x="26" y="94"/>
                    </a:lnTo>
                    <a:lnTo>
                      <a:pt x="28" y="96"/>
                    </a:lnTo>
                    <a:lnTo>
                      <a:pt x="28" y="96"/>
                    </a:lnTo>
                    <a:lnTo>
                      <a:pt x="30" y="98"/>
                    </a:lnTo>
                    <a:lnTo>
                      <a:pt x="32" y="98"/>
                    </a:lnTo>
                    <a:lnTo>
                      <a:pt x="38" y="100"/>
                    </a:lnTo>
                    <a:lnTo>
                      <a:pt x="40" y="100"/>
                    </a:lnTo>
                    <a:lnTo>
                      <a:pt x="42" y="100"/>
                    </a:lnTo>
                    <a:lnTo>
                      <a:pt x="44" y="102"/>
                    </a:lnTo>
                    <a:lnTo>
                      <a:pt x="46" y="104"/>
                    </a:lnTo>
                    <a:lnTo>
                      <a:pt x="46" y="104"/>
                    </a:lnTo>
                    <a:lnTo>
                      <a:pt x="46" y="106"/>
                    </a:lnTo>
                    <a:lnTo>
                      <a:pt x="48" y="108"/>
                    </a:lnTo>
                    <a:lnTo>
                      <a:pt x="48" y="112"/>
                    </a:lnTo>
                    <a:lnTo>
                      <a:pt x="48" y="118"/>
                    </a:lnTo>
                    <a:lnTo>
                      <a:pt x="48" y="120"/>
                    </a:lnTo>
                    <a:lnTo>
                      <a:pt x="48" y="122"/>
                    </a:lnTo>
                    <a:lnTo>
                      <a:pt x="48" y="122"/>
                    </a:lnTo>
                    <a:lnTo>
                      <a:pt x="48" y="126"/>
                    </a:lnTo>
                    <a:lnTo>
                      <a:pt x="46" y="128"/>
                    </a:lnTo>
                    <a:lnTo>
                      <a:pt x="44" y="130"/>
                    </a:lnTo>
                    <a:lnTo>
                      <a:pt x="44" y="132"/>
                    </a:lnTo>
                    <a:lnTo>
                      <a:pt x="44" y="132"/>
                    </a:lnTo>
                    <a:lnTo>
                      <a:pt x="44" y="132"/>
                    </a:lnTo>
                    <a:lnTo>
                      <a:pt x="44" y="136"/>
                    </a:lnTo>
                    <a:lnTo>
                      <a:pt x="44" y="138"/>
                    </a:lnTo>
                    <a:lnTo>
                      <a:pt x="46" y="144"/>
                    </a:lnTo>
                    <a:lnTo>
                      <a:pt x="46" y="144"/>
                    </a:lnTo>
                    <a:lnTo>
                      <a:pt x="46" y="148"/>
                    </a:lnTo>
                    <a:lnTo>
                      <a:pt x="48" y="152"/>
                    </a:lnTo>
                    <a:lnTo>
                      <a:pt x="46" y="154"/>
                    </a:lnTo>
                    <a:lnTo>
                      <a:pt x="46" y="156"/>
                    </a:lnTo>
                    <a:lnTo>
                      <a:pt x="44" y="158"/>
                    </a:lnTo>
                    <a:lnTo>
                      <a:pt x="44" y="160"/>
                    </a:lnTo>
                    <a:lnTo>
                      <a:pt x="44" y="160"/>
                    </a:lnTo>
                    <a:lnTo>
                      <a:pt x="36" y="168"/>
                    </a:lnTo>
                    <a:lnTo>
                      <a:pt x="34" y="172"/>
                    </a:lnTo>
                    <a:lnTo>
                      <a:pt x="32" y="174"/>
                    </a:lnTo>
                    <a:lnTo>
                      <a:pt x="32" y="178"/>
                    </a:lnTo>
                    <a:lnTo>
                      <a:pt x="32" y="178"/>
                    </a:lnTo>
                    <a:lnTo>
                      <a:pt x="30" y="180"/>
                    </a:lnTo>
                    <a:lnTo>
                      <a:pt x="28" y="182"/>
                    </a:lnTo>
                    <a:lnTo>
                      <a:pt x="26" y="186"/>
                    </a:lnTo>
                    <a:lnTo>
                      <a:pt x="26" y="186"/>
                    </a:lnTo>
                    <a:lnTo>
                      <a:pt x="24" y="188"/>
                    </a:lnTo>
                    <a:lnTo>
                      <a:pt x="22" y="190"/>
                    </a:lnTo>
                    <a:lnTo>
                      <a:pt x="20" y="192"/>
                    </a:lnTo>
                    <a:lnTo>
                      <a:pt x="20" y="192"/>
                    </a:lnTo>
                    <a:lnTo>
                      <a:pt x="20" y="198"/>
                    </a:lnTo>
                    <a:lnTo>
                      <a:pt x="20" y="202"/>
                    </a:lnTo>
                    <a:lnTo>
                      <a:pt x="20" y="206"/>
                    </a:lnTo>
                    <a:lnTo>
                      <a:pt x="22" y="212"/>
                    </a:lnTo>
                    <a:lnTo>
                      <a:pt x="24" y="222"/>
                    </a:lnTo>
                    <a:lnTo>
                      <a:pt x="24" y="226"/>
                    </a:lnTo>
                    <a:lnTo>
                      <a:pt x="24" y="230"/>
                    </a:lnTo>
                    <a:lnTo>
                      <a:pt x="24" y="230"/>
                    </a:lnTo>
                    <a:lnTo>
                      <a:pt x="24" y="232"/>
                    </a:lnTo>
                    <a:lnTo>
                      <a:pt x="24" y="236"/>
                    </a:lnTo>
                    <a:lnTo>
                      <a:pt x="24" y="240"/>
                    </a:lnTo>
                    <a:lnTo>
                      <a:pt x="22" y="244"/>
                    </a:lnTo>
                    <a:lnTo>
                      <a:pt x="22" y="246"/>
                    </a:lnTo>
                    <a:lnTo>
                      <a:pt x="22" y="248"/>
                    </a:lnTo>
                    <a:lnTo>
                      <a:pt x="22" y="248"/>
                    </a:lnTo>
                    <a:lnTo>
                      <a:pt x="22" y="250"/>
                    </a:lnTo>
                    <a:lnTo>
                      <a:pt x="24" y="252"/>
                    </a:lnTo>
                    <a:lnTo>
                      <a:pt x="24" y="254"/>
                    </a:lnTo>
                    <a:lnTo>
                      <a:pt x="24" y="256"/>
                    </a:lnTo>
                    <a:lnTo>
                      <a:pt x="26" y="256"/>
                    </a:lnTo>
                    <a:lnTo>
                      <a:pt x="28" y="258"/>
                    </a:lnTo>
                    <a:lnTo>
                      <a:pt x="30" y="258"/>
                    </a:lnTo>
                    <a:lnTo>
                      <a:pt x="32" y="258"/>
                    </a:lnTo>
                    <a:lnTo>
                      <a:pt x="32" y="258"/>
                    </a:lnTo>
                    <a:lnTo>
                      <a:pt x="32" y="256"/>
                    </a:lnTo>
                    <a:lnTo>
                      <a:pt x="34" y="254"/>
                    </a:lnTo>
                    <a:lnTo>
                      <a:pt x="34" y="254"/>
                    </a:lnTo>
                    <a:lnTo>
                      <a:pt x="36" y="254"/>
                    </a:lnTo>
                    <a:lnTo>
                      <a:pt x="38" y="252"/>
                    </a:lnTo>
                    <a:lnTo>
                      <a:pt x="44" y="250"/>
                    </a:lnTo>
                    <a:lnTo>
                      <a:pt x="44" y="250"/>
                    </a:lnTo>
                    <a:lnTo>
                      <a:pt x="46" y="250"/>
                    </a:lnTo>
                    <a:lnTo>
                      <a:pt x="48" y="250"/>
                    </a:lnTo>
                    <a:lnTo>
                      <a:pt x="50" y="250"/>
                    </a:lnTo>
                    <a:lnTo>
                      <a:pt x="52" y="248"/>
                    </a:lnTo>
                    <a:lnTo>
                      <a:pt x="52" y="248"/>
                    </a:lnTo>
                    <a:lnTo>
                      <a:pt x="58" y="244"/>
                    </a:lnTo>
                    <a:lnTo>
                      <a:pt x="64" y="242"/>
                    </a:lnTo>
                    <a:lnTo>
                      <a:pt x="68" y="238"/>
                    </a:lnTo>
                    <a:lnTo>
                      <a:pt x="72" y="236"/>
                    </a:lnTo>
                    <a:lnTo>
                      <a:pt x="72" y="234"/>
                    </a:lnTo>
                    <a:lnTo>
                      <a:pt x="72" y="234"/>
                    </a:lnTo>
                    <a:lnTo>
                      <a:pt x="74" y="234"/>
                    </a:lnTo>
                    <a:lnTo>
                      <a:pt x="74" y="232"/>
                    </a:lnTo>
                    <a:lnTo>
                      <a:pt x="76" y="228"/>
                    </a:lnTo>
                    <a:lnTo>
                      <a:pt x="78" y="224"/>
                    </a:lnTo>
                    <a:lnTo>
                      <a:pt x="78" y="222"/>
                    </a:lnTo>
                    <a:lnTo>
                      <a:pt x="78" y="222"/>
                    </a:lnTo>
                    <a:lnTo>
                      <a:pt x="78" y="218"/>
                    </a:lnTo>
                    <a:lnTo>
                      <a:pt x="78" y="214"/>
                    </a:lnTo>
                    <a:lnTo>
                      <a:pt x="78" y="214"/>
                    </a:lnTo>
                    <a:lnTo>
                      <a:pt x="78" y="210"/>
                    </a:lnTo>
                    <a:lnTo>
                      <a:pt x="80" y="204"/>
                    </a:lnTo>
                    <a:lnTo>
                      <a:pt x="80" y="204"/>
                    </a:lnTo>
                    <a:lnTo>
                      <a:pt x="78" y="202"/>
                    </a:lnTo>
                    <a:lnTo>
                      <a:pt x="78" y="198"/>
                    </a:lnTo>
                    <a:lnTo>
                      <a:pt x="78" y="198"/>
                    </a:lnTo>
                    <a:lnTo>
                      <a:pt x="78" y="192"/>
                    </a:lnTo>
                    <a:lnTo>
                      <a:pt x="78" y="186"/>
                    </a:lnTo>
                    <a:lnTo>
                      <a:pt x="78" y="186"/>
                    </a:lnTo>
                    <a:lnTo>
                      <a:pt x="78" y="184"/>
                    </a:lnTo>
                    <a:lnTo>
                      <a:pt x="78" y="180"/>
                    </a:lnTo>
                    <a:lnTo>
                      <a:pt x="78" y="178"/>
                    </a:lnTo>
                    <a:lnTo>
                      <a:pt x="78" y="176"/>
                    </a:lnTo>
                    <a:lnTo>
                      <a:pt x="78" y="176"/>
                    </a:lnTo>
                    <a:lnTo>
                      <a:pt x="78" y="174"/>
                    </a:lnTo>
                    <a:lnTo>
                      <a:pt x="76" y="172"/>
                    </a:lnTo>
                    <a:lnTo>
                      <a:pt x="76" y="172"/>
                    </a:lnTo>
                    <a:lnTo>
                      <a:pt x="76" y="168"/>
                    </a:lnTo>
                    <a:lnTo>
                      <a:pt x="74" y="168"/>
                    </a:lnTo>
                    <a:lnTo>
                      <a:pt x="74" y="166"/>
                    </a:lnTo>
                    <a:lnTo>
                      <a:pt x="74" y="166"/>
                    </a:lnTo>
                    <a:lnTo>
                      <a:pt x="74" y="164"/>
                    </a:lnTo>
                    <a:lnTo>
                      <a:pt x="72" y="162"/>
                    </a:lnTo>
                    <a:lnTo>
                      <a:pt x="72" y="160"/>
                    </a:lnTo>
                    <a:lnTo>
                      <a:pt x="72" y="160"/>
                    </a:lnTo>
                    <a:lnTo>
                      <a:pt x="74" y="158"/>
                    </a:lnTo>
                    <a:lnTo>
                      <a:pt x="74" y="158"/>
                    </a:lnTo>
                    <a:lnTo>
                      <a:pt x="74" y="158"/>
                    </a:lnTo>
                    <a:lnTo>
                      <a:pt x="76" y="156"/>
                    </a:lnTo>
                    <a:lnTo>
                      <a:pt x="80" y="154"/>
                    </a:lnTo>
                    <a:lnTo>
                      <a:pt x="80" y="154"/>
                    </a:lnTo>
                    <a:lnTo>
                      <a:pt x="80" y="154"/>
                    </a:lnTo>
                    <a:lnTo>
                      <a:pt x="82" y="152"/>
                    </a:lnTo>
                    <a:lnTo>
                      <a:pt x="82" y="150"/>
                    </a:lnTo>
                    <a:lnTo>
                      <a:pt x="82" y="150"/>
                    </a:lnTo>
                    <a:lnTo>
                      <a:pt x="86" y="148"/>
                    </a:lnTo>
                    <a:lnTo>
                      <a:pt x="88" y="144"/>
                    </a:lnTo>
                    <a:lnTo>
                      <a:pt x="88" y="144"/>
                    </a:lnTo>
                    <a:lnTo>
                      <a:pt x="90" y="142"/>
                    </a:lnTo>
                    <a:lnTo>
                      <a:pt x="92" y="142"/>
                    </a:lnTo>
                    <a:lnTo>
                      <a:pt x="92" y="140"/>
                    </a:lnTo>
                    <a:lnTo>
                      <a:pt x="92" y="140"/>
                    </a:lnTo>
                    <a:lnTo>
                      <a:pt x="92" y="140"/>
                    </a:lnTo>
                    <a:lnTo>
                      <a:pt x="92" y="138"/>
                    </a:lnTo>
                    <a:lnTo>
                      <a:pt x="92" y="138"/>
                    </a:lnTo>
                    <a:lnTo>
                      <a:pt x="92" y="138"/>
                    </a:lnTo>
                    <a:lnTo>
                      <a:pt x="92" y="136"/>
                    </a:lnTo>
                    <a:lnTo>
                      <a:pt x="92" y="136"/>
                    </a:lnTo>
                    <a:lnTo>
                      <a:pt x="92" y="134"/>
                    </a:lnTo>
                    <a:lnTo>
                      <a:pt x="94" y="134"/>
                    </a:lnTo>
                    <a:lnTo>
                      <a:pt x="96" y="134"/>
                    </a:lnTo>
                    <a:lnTo>
                      <a:pt x="96" y="134"/>
                    </a:lnTo>
                    <a:lnTo>
                      <a:pt x="98" y="134"/>
                    </a:lnTo>
                    <a:lnTo>
                      <a:pt x="100" y="134"/>
                    </a:lnTo>
                    <a:lnTo>
                      <a:pt x="102" y="132"/>
                    </a:lnTo>
                    <a:lnTo>
                      <a:pt x="104" y="130"/>
                    </a:lnTo>
                    <a:lnTo>
                      <a:pt x="104" y="130"/>
                    </a:lnTo>
                    <a:lnTo>
                      <a:pt x="106" y="128"/>
                    </a:lnTo>
                    <a:lnTo>
                      <a:pt x="106" y="126"/>
                    </a:lnTo>
                    <a:lnTo>
                      <a:pt x="106" y="126"/>
                    </a:lnTo>
                    <a:lnTo>
                      <a:pt x="108" y="124"/>
                    </a:lnTo>
                    <a:lnTo>
                      <a:pt x="110" y="124"/>
                    </a:lnTo>
                    <a:lnTo>
                      <a:pt x="110" y="124"/>
                    </a:lnTo>
                    <a:lnTo>
                      <a:pt x="114" y="120"/>
                    </a:lnTo>
                    <a:lnTo>
                      <a:pt x="116" y="118"/>
                    </a:lnTo>
                    <a:lnTo>
                      <a:pt x="118" y="114"/>
                    </a:lnTo>
                    <a:lnTo>
                      <a:pt x="118" y="114"/>
                    </a:lnTo>
                    <a:lnTo>
                      <a:pt x="120" y="110"/>
                    </a:lnTo>
                    <a:lnTo>
                      <a:pt x="122" y="110"/>
                    </a:lnTo>
                    <a:lnTo>
                      <a:pt x="124" y="108"/>
                    </a:lnTo>
                    <a:lnTo>
                      <a:pt x="124" y="108"/>
                    </a:lnTo>
                    <a:lnTo>
                      <a:pt x="126" y="108"/>
                    </a:lnTo>
                    <a:lnTo>
                      <a:pt x="130" y="108"/>
                    </a:lnTo>
                    <a:lnTo>
                      <a:pt x="130" y="108"/>
                    </a:lnTo>
                    <a:lnTo>
                      <a:pt x="134" y="106"/>
                    </a:lnTo>
                    <a:lnTo>
                      <a:pt x="138" y="106"/>
                    </a:lnTo>
                    <a:lnTo>
                      <a:pt x="138" y="106"/>
                    </a:lnTo>
                    <a:lnTo>
                      <a:pt x="146" y="102"/>
                    </a:lnTo>
                    <a:lnTo>
                      <a:pt x="146" y="102"/>
                    </a:lnTo>
                    <a:lnTo>
                      <a:pt x="148" y="102"/>
                    </a:lnTo>
                    <a:lnTo>
                      <a:pt x="150" y="100"/>
                    </a:lnTo>
                    <a:lnTo>
                      <a:pt x="154" y="100"/>
                    </a:lnTo>
                    <a:lnTo>
                      <a:pt x="156" y="98"/>
                    </a:lnTo>
                    <a:lnTo>
                      <a:pt x="156" y="98"/>
                    </a:lnTo>
                    <a:lnTo>
                      <a:pt x="158" y="96"/>
                    </a:lnTo>
                    <a:lnTo>
                      <a:pt x="160" y="94"/>
                    </a:lnTo>
                    <a:lnTo>
                      <a:pt x="164" y="90"/>
                    </a:lnTo>
                    <a:lnTo>
                      <a:pt x="164" y="90"/>
                    </a:lnTo>
                    <a:lnTo>
                      <a:pt x="168" y="86"/>
                    </a:lnTo>
                    <a:lnTo>
                      <a:pt x="172" y="82"/>
                    </a:lnTo>
                    <a:lnTo>
                      <a:pt x="172" y="82"/>
                    </a:lnTo>
                    <a:lnTo>
                      <a:pt x="172" y="80"/>
                    </a:lnTo>
                    <a:lnTo>
                      <a:pt x="174" y="78"/>
                    </a:lnTo>
                    <a:lnTo>
                      <a:pt x="174" y="78"/>
                    </a:lnTo>
                    <a:lnTo>
                      <a:pt x="174" y="76"/>
                    </a:lnTo>
                    <a:lnTo>
                      <a:pt x="174" y="76"/>
                    </a:lnTo>
                    <a:lnTo>
                      <a:pt x="172" y="74"/>
                    </a:lnTo>
                    <a:lnTo>
                      <a:pt x="172" y="74"/>
                    </a:lnTo>
                    <a:lnTo>
                      <a:pt x="170" y="72"/>
                    </a:lnTo>
                    <a:lnTo>
                      <a:pt x="170" y="70"/>
                    </a:lnTo>
                    <a:lnTo>
                      <a:pt x="170" y="68"/>
                    </a:lnTo>
                    <a:lnTo>
                      <a:pt x="170" y="64"/>
                    </a:lnTo>
                    <a:lnTo>
                      <a:pt x="170" y="64"/>
                    </a:lnTo>
                    <a:lnTo>
                      <a:pt x="170" y="64"/>
                    </a:lnTo>
                    <a:lnTo>
                      <a:pt x="170" y="64"/>
                    </a:lnTo>
                    <a:lnTo>
                      <a:pt x="170" y="6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49" name="Freeform 682"/>
              <p:cNvSpPr>
                <a:spLocks/>
              </p:cNvSpPr>
              <p:nvPr/>
            </p:nvSpPr>
            <p:spPr bwMode="auto">
              <a:xfrm>
                <a:off x="3121" y="3080"/>
                <a:ext cx="120" cy="120"/>
              </a:xfrm>
              <a:custGeom>
                <a:avLst/>
                <a:gdLst>
                  <a:gd name="T0" fmla="*/ 116 w 120"/>
                  <a:gd name="T1" fmla="*/ 24 h 120"/>
                  <a:gd name="T2" fmla="*/ 110 w 120"/>
                  <a:gd name="T3" fmla="*/ 22 h 120"/>
                  <a:gd name="T4" fmla="*/ 100 w 120"/>
                  <a:gd name="T5" fmla="*/ 18 h 120"/>
                  <a:gd name="T6" fmla="*/ 96 w 120"/>
                  <a:gd name="T7" fmla="*/ 14 h 120"/>
                  <a:gd name="T8" fmla="*/ 92 w 120"/>
                  <a:gd name="T9" fmla="*/ 12 h 120"/>
                  <a:gd name="T10" fmla="*/ 88 w 120"/>
                  <a:gd name="T11" fmla="*/ 12 h 120"/>
                  <a:gd name="T12" fmla="*/ 80 w 120"/>
                  <a:gd name="T13" fmla="*/ 12 h 120"/>
                  <a:gd name="T14" fmla="*/ 74 w 120"/>
                  <a:gd name="T15" fmla="*/ 8 h 120"/>
                  <a:gd name="T16" fmla="*/ 72 w 120"/>
                  <a:gd name="T17" fmla="*/ 0 h 120"/>
                  <a:gd name="T18" fmla="*/ 70 w 120"/>
                  <a:gd name="T19" fmla="*/ 0 h 120"/>
                  <a:gd name="T20" fmla="*/ 62 w 120"/>
                  <a:gd name="T21" fmla="*/ 0 h 120"/>
                  <a:gd name="T22" fmla="*/ 56 w 120"/>
                  <a:gd name="T23" fmla="*/ 2 h 120"/>
                  <a:gd name="T24" fmla="*/ 50 w 120"/>
                  <a:gd name="T25" fmla="*/ 6 h 120"/>
                  <a:gd name="T26" fmla="*/ 48 w 120"/>
                  <a:gd name="T27" fmla="*/ 10 h 120"/>
                  <a:gd name="T28" fmla="*/ 48 w 120"/>
                  <a:gd name="T29" fmla="*/ 18 h 120"/>
                  <a:gd name="T30" fmla="*/ 48 w 120"/>
                  <a:gd name="T31" fmla="*/ 24 h 120"/>
                  <a:gd name="T32" fmla="*/ 36 w 120"/>
                  <a:gd name="T33" fmla="*/ 30 h 120"/>
                  <a:gd name="T34" fmla="*/ 28 w 120"/>
                  <a:gd name="T35" fmla="*/ 36 h 120"/>
                  <a:gd name="T36" fmla="*/ 18 w 120"/>
                  <a:gd name="T37" fmla="*/ 36 h 120"/>
                  <a:gd name="T38" fmla="*/ 12 w 120"/>
                  <a:gd name="T39" fmla="*/ 38 h 120"/>
                  <a:gd name="T40" fmla="*/ 2 w 120"/>
                  <a:gd name="T41" fmla="*/ 40 h 120"/>
                  <a:gd name="T42" fmla="*/ 0 w 120"/>
                  <a:gd name="T43" fmla="*/ 40 h 120"/>
                  <a:gd name="T44" fmla="*/ 4 w 120"/>
                  <a:gd name="T45" fmla="*/ 56 h 120"/>
                  <a:gd name="T46" fmla="*/ 14 w 120"/>
                  <a:gd name="T47" fmla="*/ 68 h 120"/>
                  <a:gd name="T48" fmla="*/ 20 w 120"/>
                  <a:gd name="T49" fmla="*/ 74 h 120"/>
                  <a:gd name="T50" fmla="*/ 26 w 120"/>
                  <a:gd name="T51" fmla="*/ 76 h 120"/>
                  <a:gd name="T52" fmla="*/ 24 w 120"/>
                  <a:gd name="T53" fmla="*/ 80 h 120"/>
                  <a:gd name="T54" fmla="*/ 24 w 120"/>
                  <a:gd name="T55" fmla="*/ 86 h 120"/>
                  <a:gd name="T56" fmla="*/ 26 w 120"/>
                  <a:gd name="T57" fmla="*/ 88 h 120"/>
                  <a:gd name="T58" fmla="*/ 34 w 120"/>
                  <a:gd name="T59" fmla="*/ 92 h 120"/>
                  <a:gd name="T60" fmla="*/ 38 w 120"/>
                  <a:gd name="T61" fmla="*/ 96 h 120"/>
                  <a:gd name="T62" fmla="*/ 42 w 120"/>
                  <a:gd name="T63" fmla="*/ 100 h 120"/>
                  <a:gd name="T64" fmla="*/ 50 w 120"/>
                  <a:gd name="T65" fmla="*/ 106 h 120"/>
                  <a:gd name="T66" fmla="*/ 54 w 120"/>
                  <a:gd name="T67" fmla="*/ 110 h 120"/>
                  <a:gd name="T68" fmla="*/ 64 w 120"/>
                  <a:gd name="T69" fmla="*/ 114 h 120"/>
                  <a:gd name="T70" fmla="*/ 74 w 120"/>
                  <a:gd name="T71" fmla="*/ 114 h 120"/>
                  <a:gd name="T72" fmla="*/ 84 w 120"/>
                  <a:gd name="T73" fmla="*/ 118 h 120"/>
                  <a:gd name="T74" fmla="*/ 92 w 120"/>
                  <a:gd name="T75" fmla="*/ 120 h 120"/>
                  <a:gd name="T76" fmla="*/ 92 w 120"/>
                  <a:gd name="T77" fmla="*/ 114 h 120"/>
                  <a:gd name="T78" fmla="*/ 98 w 120"/>
                  <a:gd name="T79" fmla="*/ 108 h 120"/>
                  <a:gd name="T80" fmla="*/ 102 w 120"/>
                  <a:gd name="T81" fmla="*/ 102 h 120"/>
                  <a:gd name="T82" fmla="*/ 104 w 120"/>
                  <a:gd name="T83" fmla="*/ 96 h 120"/>
                  <a:gd name="T84" fmla="*/ 116 w 120"/>
                  <a:gd name="T85" fmla="*/ 82 h 120"/>
                  <a:gd name="T86" fmla="*/ 118 w 120"/>
                  <a:gd name="T87" fmla="*/ 78 h 120"/>
                  <a:gd name="T88" fmla="*/ 118 w 120"/>
                  <a:gd name="T89" fmla="*/ 70 h 120"/>
                  <a:gd name="T90" fmla="*/ 116 w 120"/>
                  <a:gd name="T91" fmla="*/ 60 h 120"/>
                  <a:gd name="T92" fmla="*/ 116 w 120"/>
                  <a:gd name="T93" fmla="*/ 54 h 120"/>
                  <a:gd name="T94" fmla="*/ 118 w 120"/>
                  <a:gd name="T95" fmla="*/ 50 h 120"/>
                  <a:gd name="T96" fmla="*/ 120 w 120"/>
                  <a:gd name="T97" fmla="*/ 44 h 120"/>
                  <a:gd name="T98" fmla="*/ 120 w 120"/>
                  <a:gd name="T99" fmla="*/ 34 h 120"/>
                  <a:gd name="T100" fmla="*/ 118 w 120"/>
                  <a:gd name="T101" fmla="*/ 26 h 120"/>
                  <a:gd name="T102" fmla="*/ 118 w 120"/>
                  <a:gd name="T103" fmla="*/ 26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20" h="120">
                    <a:moveTo>
                      <a:pt x="118" y="26"/>
                    </a:moveTo>
                    <a:lnTo>
                      <a:pt x="118" y="26"/>
                    </a:lnTo>
                    <a:lnTo>
                      <a:pt x="116" y="24"/>
                    </a:lnTo>
                    <a:lnTo>
                      <a:pt x="114" y="22"/>
                    </a:lnTo>
                    <a:lnTo>
                      <a:pt x="112" y="22"/>
                    </a:lnTo>
                    <a:lnTo>
                      <a:pt x="110" y="22"/>
                    </a:lnTo>
                    <a:lnTo>
                      <a:pt x="104" y="20"/>
                    </a:lnTo>
                    <a:lnTo>
                      <a:pt x="102" y="20"/>
                    </a:lnTo>
                    <a:lnTo>
                      <a:pt x="100" y="18"/>
                    </a:lnTo>
                    <a:lnTo>
                      <a:pt x="100" y="18"/>
                    </a:lnTo>
                    <a:lnTo>
                      <a:pt x="98" y="16"/>
                    </a:lnTo>
                    <a:lnTo>
                      <a:pt x="96" y="14"/>
                    </a:lnTo>
                    <a:lnTo>
                      <a:pt x="96" y="12"/>
                    </a:lnTo>
                    <a:lnTo>
                      <a:pt x="94" y="12"/>
                    </a:lnTo>
                    <a:lnTo>
                      <a:pt x="92" y="12"/>
                    </a:lnTo>
                    <a:lnTo>
                      <a:pt x="92" y="12"/>
                    </a:lnTo>
                    <a:lnTo>
                      <a:pt x="90" y="12"/>
                    </a:lnTo>
                    <a:lnTo>
                      <a:pt x="88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0" y="12"/>
                    </a:lnTo>
                    <a:lnTo>
                      <a:pt x="78" y="10"/>
                    </a:lnTo>
                    <a:lnTo>
                      <a:pt x="76" y="10"/>
                    </a:lnTo>
                    <a:lnTo>
                      <a:pt x="74" y="8"/>
                    </a:lnTo>
                    <a:lnTo>
                      <a:pt x="74" y="6"/>
                    </a:lnTo>
                    <a:lnTo>
                      <a:pt x="74" y="4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0" y="0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62" y="0"/>
                    </a:lnTo>
                    <a:lnTo>
                      <a:pt x="60" y="0"/>
                    </a:lnTo>
                    <a:lnTo>
                      <a:pt x="58" y="2"/>
                    </a:lnTo>
                    <a:lnTo>
                      <a:pt x="56" y="2"/>
                    </a:lnTo>
                    <a:lnTo>
                      <a:pt x="52" y="4"/>
                    </a:lnTo>
                    <a:lnTo>
                      <a:pt x="50" y="4"/>
                    </a:lnTo>
                    <a:lnTo>
                      <a:pt x="50" y="6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10"/>
                    </a:lnTo>
                    <a:lnTo>
                      <a:pt x="48" y="14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22"/>
                    </a:lnTo>
                    <a:lnTo>
                      <a:pt x="48" y="24"/>
                    </a:lnTo>
                    <a:lnTo>
                      <a:pt x="48" y="24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36" y="30"/>
                    </a:lnTo>
                    <a:lnTo>
                      <a:pt x="32" y="34"/>
                    </a:lnTo>
                    <a:lnTo>
                      <a:pt x="28" y="36"/>
                    </a:lnTo>
                    <a:lnTo>
                      <a:pt x="28" y="36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4" y="38"/>
                    </a:lnTo>
                    <a:lnTo>
                      <a:pt x="12" y="38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2" y="40"/>
                    </a:lnTo>
                    <a:lnTo>
                      <a:pt x="2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6"/>
                    </a:lnTo>
                    <a:lnTo>
                      <a:pt x="2" y="52"/>
                    </a:lnTo>
                    <a:lnTo>
                      <a:pt x="4" y="56"/>
                    </a:lnTo>
                    <a:lnTo>
                      <a:pt x="8" y="62"/>
                    </a:lnTo>
                    <a:lnTo>
                      <a:pt x="12" y="66"/>
                    </a:lnTo>
                    <a:lnTo>
                      <a:pt x="14" y="68"/>
                    </a:lnTo>
                    <a:lnTo>
                      <a:pt x="16" y="70"/>
                    </a:lnTo>
                    <a:lnTo>
                      <a:pt x="18" y="72"/>
                    </a:lnTo>
                    <a:lnTo>
                      <a:pt x="20" y="74"/>
                    </a:lnTo>
                    <a:lnTo>
                      <a:pt x="24" y="74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6" y="78"/>
                    </a:lnTo>
                    <a:lnTo>
                      <a:pt x="24" y="80"/>
                    </a:lnTo>
                    <a:lnTo>
                      <a:pt x="24" y="84"/>
                    </a:lnTo>
                    <a:lnTo>
                      <a:pt x="24" y="86"/>
                    </a:lnTo>
                    <a:lnTo>
                      <a:pt x="24" y="86"/>
                    </a:lnTo>
                    <a:lnTo>
                      <a:pt x="24" y="86"/>
                    </a:lnTo>
                    <a:lnTo>
                      <a:pt x="26" y="88"/>
                    </a:lnTo>
                    <a:lnTo>
                      <a:pt x="26" y="88"/>
                    </a:lnTo>
                    <a:lnTo>
                      <a:pt x="28" y="90"/>
                    </a:lnTo>
                    <a:lnTo>
                      <a:pt x="32" y="92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36" y="94"/>
                    </a:lnTo>
                    <a:lnTo>
                      <a:pt x="38" y="96"/>
                    </a:lnTo>
                    <a:lnTo>
                      <a:pt x="40" y="100"/>
                    </a:lnTo>
                    <a:lnTo>
                      <a:pt x="42" y="100"/>
                    </a:lnTo>
                    <a:lnTo>
                      <a:pt x="42" y="100"/>
                    </a:lnTo>
                    <a:lnTo>
                      <a:pt x="46" y="102"/>
                    </a:lnTo>
                    <a:lnTo>
                      <a:pt x="48" y="104"/>
                    </a:lnTo>
                    <a:lnTo>
                      <a:pt x="50" y="106"/>
                    </a:lnTo>
                    <a:lnTo>
                      <a:pt x="52" y="108"/>
                    </a:lnTo>
                    <a:lnTo>
                      <a:pt x="52" y="108"/>
                    </a:lnTo>
                    <a:lnTo>
                      <a:pt x="54" y="110"/>
                    </a:lnTo>
                    <a:lnTo>
                      <a:pt x="56" y="112"/>
                    </a:lnTo>
                    <a:lnTo>
                      <a:pt x="60" y="112"/>
                    </a:lnTo>
                    <a:lnTo>
                      <a:pt x="64" y="114"/>
                    </a:lnTo>
                    <a:lnTo>
                      <a:pt x="64" y="114"/>
                    </a:lnTo>
                    <a:lnTo>
                      <a:pt x="70" y="114"/>
                    </a:lnTo>
                    <a:lnTo>
                      <a:pt x="74" y="114"/>
                    </a:lnTo>
                    <a:lnTo>
                      <a:pt x="74" y="114"/>
                    </a:lnTo>
                    <a:lnTo>
                      <a:pt x="78" y="116"/>
                    </a:lnTo>
                    <a:lnTo>
                      <a:pt x="84" y="118"/>
                    </a:lnTo>
                    <a:lnTo>
                      <a:pt x="88" y="118"/>
                    </a:lnTo>
                    <a:lnTo>
                      <a:pt x="92" y="120"/>
                    </a:lnTo>
                    <a:lnTo>
                      <a:pt x="92" y="120"/>
                    </a:lnTo>
                    <a:lnTo>
                      <a:pt x="92" y="118"/>
                    </a:lnTo>
                    <a:lnTo>
                      <a:pt x="92" y="114"/>
                    </a:lnTo>
                    <a:lnTo>
                      <a:pt x="92" y="114"/>
                    </a:lnTo>
                    <a:lnTo>
                      <a:pt x="94" y="112"/>
                    </a:lnTo>
                    <a:lnTo>
                      <a:pt x="96" y="110"/>
                    </a:lnTo>
                    <a:lnTo>
                      <a:pt x="98" y="108"/>
                    </a:lnTo>
                    <a:lnTo>
                      <a:pt x="98" y="108"/>
                    </a:lnTo>
                    <a:lnTo>
                      <a:pt x="100" y="104"/>
                    </a:lnTo>
                    <a:lnTo>
                      <a:pt x="102" y="102"/>
                    </a:lnTo>
                    <a:lnTo>
                      <a:pt x="104" y="100"/>
                    </a:lnTo>
                    <a:lnTo>
                      <a:pt x="104" y="100"/>
                    </a:lnTo>
                    <a:lnTo>
                      <a:pt x="104" y="96"/>
                    </a:lnTo>
                    <a:lnTo>
                      <a:pt x="106" y="94"/>
                    </a:lnTo>
                    <a:lnTo>
                      <a:pt x="108" y="90"/>
                    </a:lnTo>
                    <a:lnTo>
                      <a:pt x="116" y="82"/>
                    </a:lnTo>
                    <a:lnTo>
                      <a:pt x="116" y="82"/>
                    </a:lnTo>
                    <a:lnTo>
                      <a:pt x="116" y="80"/>
                    </a:lnTo>
                    <a:lnTo>
                      <a:pt x="118" y="78"/>
                    </a:lnTo>
                    <a:lnTo>
                      <a:pt x="118" y="76"/>
                    </a:lnTo>
                    <a:lnTo>
                      <a:pt x="120" y="74"/>
                    </a:lnTo>
                    <a:lnTo>
                      <a:pt x="118" y="70"/>
                    </a:lnTo>
                    <a:lnTo>
                      <a:pt x="118" y="66"/>
                    </a:lnTo>
                    <a:lnTo>
                      <a:pt x="118" y="66"/>
                    </a:lnTo>
                    <a:lnTo>
                      <a:pt x="116" y="60"/>
                    </a:lnTo>
                    <a:lnTo>
                      <a:pt x="116" y="58"/>
                    </a:lnTo>
                    <a:lnTo>
                      <a:pt x="116" y="54"/>
                    </a:lnTo>
                    <a:lnTo>
                      <a:pt x="116" y="54"/>
                    </a:lnTo>
                    <a:lnTo>
                      <a:pt x="116" y="54"/>
                    </a:lnTo>
                    <a:lnTo>
                      <a:pt x="116" y="52"/>
                    </a:lnTo>
                    <a:lnTo>
                      <a:pt x="118" y="50"/>
                    </a:lnTo>
                    <a:lnTo>
                      <a:pt x="120" y="48"/>
                    </a:lnTo>
                    <a:lnTo>
                      <a:pt x="120" y="44"/>
                    </a:lnTo>
                    <a:lnTo>
                      <a:pt x="120" y="44"/>
                    </a:lnTo>
                    <a:lnTo>
                      <a:pt x="120" y="42"/>
                    </a:lnTo>
                    <a:lnTo>
                      <a:pt x="120" y="40"/>
                    </a:lnTo>
                    <a:lnTo>
                      <a:pt x="120" y="34"/>
                    </a:lnTo>
                    <a:lnTo>
                      <a:pt x="120" y="30"/>
                    </a:lnTo>
                    <a:lnTo>
                      <a:pt x="118" y="28"/>
                    </a:lnTo>
                    <a:lnTo>
                      <a:pt x="118" y="26"/>
                    </a:lnTo>
                    <a:lnTo>
                      <a:pt x="118" y="26"/>
                    </a:lnTo>
                    <a:lnTo>
                      <a:pt x="118" y="26"/>
                    </a:lnTo>
                    <a:lnTo>
                      <a:pt x="118" y="26"/>
                    </a:lnTo>
                    <a:lnTo>
                      <a:pt x="118" y="2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50" name="Freeform 684"/>
              <p:cNvSpPr>
                <a:spLocks/>
              </p:cNvSpPr>
              <p:nvPr/>
            </p:nvSpPr>
            <p:spPr bwMode="auto">
              <a:xfrm>
                <a:off x="2903" y="3106"/>
                <a:ext cx="208" cy="200"/>
              </a:xfrm>
              <a:custGeom>
                <a:avLst/>
                <a:gdLst>
                  <a:gd name="T0" fmla="*/ 84 w 208"/>
                  <a:gd name="T1" fmla="*/ 196 h 200"/>
                  <a:gd name="T2" fmla="*/ 96 w 208"/>
                  <a:gd name="T3" fmla="*/ 200 h 200"/>
                  <a:gd name="T4" fmla="*/ 102 w 208"/>
                  <a:gd name="T5" fmla="*/ 200 h 200"/>
                  <a:gd name="T6" fmla="*/ 108 w 208"/>
                  <a:gd name="T7" fmla="*/ 200 h 200"/>
                  <a:gd name="T8" fmla="*/ 112 w 208"/>
                  <a:gd name="T9" fmla="*/ 198 h 200"/>
                  <a:gd name="T10" fmla="*/ 116 w 208"/>
                  <a:gd name="T11" fmla="*/ 188 h 200"/>
                  <a:gd name="T12" fmla="*/ 118 w 208"/>
                  <a:gd name="T13" fmla="*/ 158 h 200"/>
                  <a:gd name="T14" fmla="*/ 120 w 208"/>
                  <a:gd name="T15" fmla="*/ 120 h 200"/>
                  <a:gd name="T16" fmla="*/ 122 w 208"/>
                  <a:gd name="T17" fmla="*/ 104 h 200"/>
                  <a:gd name="T18" fmla="*/ 122 w 208"/>
                  <a:gd name="T19" fmla="*/ 82 h 200"/>
                  <a:gd name="T20" fmla="*/ 132 w 208"/>
                  <a:gd name="T21" fmla="*/ 82 h 200"/>
                  <a:gd name="T22" fmla="*/ 138 w 208"/>
                  <a:gd name="T23" fmla="*/ 80 h 200"/>
                  <a:gd name="T24" fmla="*/ 140 w 208"/>
                  <a:gd name="T25" fmla="*/ 66 h 200"/>
                  <a:gd name="T26" fmla="*/ 142 w 208"/>
                  <a:gd name="T27" fmla="*/ 36 h 200"/>
                  <a:gd name="T28" fmla="*/ 142 w 208"/>
                  <a:gd name="T29" fmla="*/ 26 h 200"/>
                  <a:gd name="T30" fmla="*/ 144 w 208"/>
                  <a:gd name="T31" fmla="*/ 24 h 200"/>
                  <a:gd name="T32" fmla="*/ 154 w 208"/>
                  <a:gd name="T33" fmla="*/ 20 h 200"/>
                  <a:gd name="T34" fmla="*/ 170 w 208"/>
                  <a:gd name="T35" fmla="*/ 20 h 200"/>
                  <a:gd name="T36" fmla="*/ 176 w 208"/>
                  <a:gd name="T37" fmla="*/ 20 h 200"/>
                  <a:gd name="T38" fmla="*/ 188 w 208"/>
                  <a:gd name="T39" fmla="*/ 24 h 200"/>
                  <a:gd name="T40" fmla="*/ 190 w 208"/>
                  <a:gd name="T41" fmla="*/ 22 h 200"/>
                  <a:gd name="T42" fmla="*/ 194 w 208"/>
                  <a:gd name="T43" fmla="*/ 18 h 200"/>
                  <a:gd name="T44" fmla="*/ 198 w 208"/>
                  <a:gd name="T45" fmla="*/ 18 h 200"/>
                  <a:gd name="T46" fmla="*/ 208 w 208"/>
                  <a:gd name="T47" fmla="*/ 10 h 200"/>
                  <a:gd name="T48" fmla="*/ 200 w 208"/>
                  <a:gd name="T49" fmla="*/ 8 h 200"/>
                  <a:gd name="T50" fmla="*/ 178 w 208"/>
                  <a:gd name="T51" fmla="*/ 10 h 200"/>
                  <a:gd name="T52" fmla="*/ 168 w 208"/>
                  <a:gd name="T53" fmla="*/ 12 h 200"/>
                  <a:gd name="T54" fmla="*/ 156 w 208"/>
                  <a:gd name="T55" fmla="*/ 12 h 200"/>
                  <a:gd name="T56" fmla="*/ 140 w 208"/>
                  <a:gd name="T57" fmla="*/ 14 h 200"/>
                  <a:gd name="T58" fmla="*/ 124 w 208"/>
                  <a:gd name="T59" fmla="*/ 12 h 200"/>
                  <a:gd name="T60" fmla="*/ 102 w 208"/>
                  <a:gd name="T61" fmla="*/ 4 h 200"/>
                  <a:gd name="T62" fmla="*/ 92 w 208"/>
                  <a:gd name="T63" fmla="*/ 4 h 200"/>
                  <a:gd name="T64" fmla="*/ 56 w 208"/>
                  <a:gd name="T65" fmla="*/ 6 h 200"/>
                  <a:gd name="T66" fmla="*/ 36 w 208"/>
                  <a:gd name="T67" fmla="*/ 4 h 200"/>
                  <a:gd name="T68" fmla="*/ 26 w 208"/>
                  <a:gd name="T69" fmla="*/ 0 h 200"/>
                  <a:gd name="T70" fmla="*/ 16 w 208"/>
                  <a:gd name="T71" fmla="*/ 0 h 200"/>
                  <a:gd name="T72" fmla="*/ 2 w 208"/>
                  <a:gd name="T73" fmla="*/ 4 h 200"/>
                  <a:gd name="T74" fmla="*/ 4 w 208"/>
                  <a:gd name="T75" fmla="*/ 6 h 200"/>
                  <a:gd name="T76" fmla="*/ 2 w 208"/>
                  <a:gd name="T77" fmla="*/ 10 h 200"/>
                  <a:gd name="T78" fmla="*/ 0 w 208"/>
                  <a:gd name="T79" fmla="*/ 12 h 200"/>
                  <a:gd name="T80" fmla="*/ 0 w 208"/>
                  <a:gd name="T81" fmla="*/ 18 h 200"/>
                  <a:gd name="T82" fmla="*/ 4 w 208"/>
                  <a:gd name="T83" fmla="*/ 28 h 200"/>
                  <a:gd name="T84" fmla="*/ 10 w 208"/>
                  <a:gd name="T85" fmla="*/ 38 h 200"/>
                  <a:gd name="T86" fmla="*/ 18 w 208"/>
                  <a:gd name="T87" fmla="*/ 46 h 200"/>
                  <a:gd name="T88" fmla="*/ 22 w 208"/>
                  <a:gd name="T89" fmla="*/ 58 h 200"/>
                  <a:gd name="T90" fmla="*/ 26 w 208"/>
                  <a:gd name="T91" fmla="*/ 66 h 200"/>
                  <a:gd name="T92" fmla="*/ 34 w 208"/>
                  <a:gd name="T93" fmla="*/ 80 h 200"/>
                  <a:gd name="T94" fmla="*/ 36 w 208"/>
                  <a:gd name="T95" fmla="*/ 86 h 200"/>
                  <a:gd name="T96" fmla="*/ 38 w 208"/>
                  <a:gd name="T97" fmla="*/ 96 h 200"/>
                  <a:gd name="T98" fmla="*/ 38 w 208"/>
                  <a:gd name="T99" fmla="*/ 118 h 200"/>
                  <a:gd name="T100" fmla="*/ 44 w 208"/>
                  <a:gd name="T101" fmla="*/ 136 h 200"/>
                  <a:gd name="T102" fmla="*/ 46 w 208"/>
                  <a:gd name="T103" fmla="*/ 144 h 200"/>
                  <a:gd name="T104" fmla="*/ 48 w 208"/>
                  <a:gd name="T105" fmla="*/ 152 h 200"/>
                  <a:gd name="T106" fmla="*/ 48 w 208"/>
                  <a:gd name="T107" fmla="*/ 164 h 200"/>
                  <a:gd name="T108" fmla="*/ 50 w 208"/>
                  <a:gd name="T109" fmla="*/ 184 h 200"/>
                  <a:gd name="T110" fmla="*/ 56 w 208"/>
                  <a:gd name="T111" fmla="*/ 192 h 200"/>
                  <a:gd name="T112" fmla="*/ 62 w 208"/>
                  <a:gd name="T113" fmla="*/ 194 h 200"/>
                  <a:gd name="T114" fmla="*/ 66 w 208"/>
                  <a:gd name="T115" fmla="*/ 190 h 200"/>
                  <a:gd name="T116" fmla="*/ 72 w 208"/>
                  <a:gd name="T117" fmla="*/ 188 h 200"/>
                  <a:gd name="T118" fmla="*/ 80 w 208"/>
                  <a:gd name="T119" fmla="*/ 194 h 200"/>
                  <a:gd name="T120" fmla="*/ 80 w 208"/>
                  <a:gd name="T121" fmla="*/ 194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08" h="200">
                    <a:moveTo>
                      <a:pt x="80" y="194"/>
                    </a:moveTo>
                    <a:lnTo>
                      <a:pt x="80" y="194"/>
                    </a:lnTo>
                    <a:lnTo>
                      <a:pt x="82" y="196"/>
                    </a:lnTo>
                    <a:lnTo>
                      <a:pt x="84" y="196"/>
                    </a:lnTo>
                    <a:lnTo>
                      <a:pt x="86" y="198"/>
                    </a:lnTo>
                    <a:lnTo>
                      <a:pt x="88" y="200"/>
                    </a:lnTo>
                    <a:lnTo>
                      <a:pt x="92" y="200"/>
                    </a:lnTo>
                    <a:lnTo>
                      <a:pt x="96" y="200"/>
                    </a:lnTo>
                    <a:lnTo>
                      <a:pt x="96" y="200"/>
                    </a:lnTo>
                    <a:lnTo>
                      <a:pt x="98" y="200"/>
                    </a:lnTo>
                    <a:lnTo>
                      <a:pt x="100" y="200"/>
                    </a:lnTo>
                    <a:lnTo>
                      <a:pt x="102" y="200"/>
                    </a:lnTo>
                    <a:lnTo>
                      <a:pt x="104" y="200"/>
                    </a:lnTo>
                    <a:lnTo>
                      <a:pt x="104" y="200"/>
                    </a:lnTo>
                    <a:lnTo>
                      <a:pt x="106" y="200"/>
                    </a:lnTo>
                    <a:lnTo>
                      <a:pt x="108" y="200"/>
                    </a:lnTo>
                    <a:lnTo>
                      <a:pt x="110" y="200"/>
                    </a:lnTo>
                    <a:lnTo>
                      <a:pt x="112" y="198"/>
                    </a:lnTo>
                    <a:lnTo>
                      <a:pt x="112" y="198"/>
                    </a:lnTo>
                    <a:lnTo>
                      <a:pt x="112" y="198"/>
                    </a:lnTo>
                    <a:lnTo>
                      <a:pt x="114" y="196"/>
                    </a:lnTo>
                    <a:lnTo>
                      <a:pt x="114" y="194"/>
                    </a:lnTo>
                    <a:lnTo>
                      <a:pt x="116" y="190"/>
                    </a:lnTo>
                    <a:lnTo>
                      <a:pt x="116" y="188"/>
                    </a:lnTo>
                    <a:lnTo>
                      <a:pt x="116" y="180"/>
                    </a:lnTo>
                    <a:lnTo>
                      <a:pt x="118" y="174"/>
                    </a:lnTo>
                    <a:lnTo>
                      <a:pt x="118" y="174"/>
                    </a:lnTo>
                    <a:lnTo>
                      <a:pt x="118" y="158"/>
                    </a:lnTo>
                    <a:lnTo>
                      <a:pt x="120" y="144"/>
                    </a:lnTo>
                    <a:lnTo>
                      <a:pt x="120" y="144"/>
                    </a:lnTo>
                    <a:lnTo>
                      <a:pt x="120" y="128"/>
                    </a:lnTo>
                    <a:lnTo>
                      <a:pt x="120" y="120"/>
                    </a:lnTo>
                    <a:lnTo>
                      <a:pt x="120" y="112"/>
                    </a:lnTo>
                    <a:lnTo>
                      <a:pt x="120" y="112"/>
                    </a:lnTo>
                    <a:lnTo>
                      <a:pt x="122" y="110"/>
                    </a:lnTo>
                    <a:lnTo>
                      <a:pt x="122" y="104"/>
                    </a:lnTo>
                    <a:lnTo>
                      <a:pt x="122" y="98"/>
                    </a:lnTo>
                    <a:lnTo>
                      <a:pt x="122" y="88"/>
                    </a:lnTo>
                    <a:lnTo>
                      <a:pt x="122" y="84"/>
                    </a:lnTo>
                    <a:lnTo>
                      <a:pt x="122" y="82"/>
                    </a:lnTo>
                    <a:lnTo>
                      <a:pt x="122" y="82"/>
                    </a:lnTo>
                    <a:lnTo>
                      <a:pt x="126" y="82"/>
                    </a:lnTo>
                    <a:lnTo>
                      <a:pt x="130" y="82"/>
                    </a:lnTo>
                    <a:lnTo>
                      <a:pt x="132" y="82"/>
                    </a:lnTo>
                    <a:lnTo>
                      <a:pt x="134" y="80"/>
                    </a:lnTo>
                    <a:lnTo>
                      <a:pt x="136" y="80"/>
                    </a:lnTo>
                    <a:lnTo>
                      <a:pt x="138" y="80"/>
                    </a:lnTo>
                    <a:lnTo>
                      <a:pt x="138" y="80"/>
                    </a:lnTo>
                    <a:lnTo>
                      <a:pt x="138" y="78"/>
                    </a:lnTo>
                    <a:lnTo>
                      <a:pt x="138" y="76"/>
                    </a:lnTo>
                    <a:lnTo>
                      <a:pt x="140" y="74"/>
                    </a:lnTo>
                    <a:lnTo>
                      <a:pt x="140" y="66"/>
                    </a:lnTo>
                    <a:lnTo>
                      <a:pt x="140" y="66"/>
                    </a:lnTo>
                    <a:lnTo>
                      <a:pt x="140" y="58"/>
                    </a:lnTo>
                    <a:lnTo>
                      <a:pt x="142" y="50"/>
                    </a:lnTo>
                    <a:lnTo>
                      <a:pt x="142" y="36"/>
                    </a:lnTo>
                    <a:lnTo>
                      <a:pt x="142" y="36"/>
                    </a:lnTo>
                    <a:lnTo>
                      <a:pt x="142" y="32"/>
                    </a:lnTo>
                    <a:lnTo>
                      <a:pt x="142" y="30"/>
                    </a:lnTo>
                    <a:lnTo>
                      <a:pt x="142" y="26"/>
                    </a:lnTo>
                    <a:lnTo>
                      <a:pt x="142" y="26"/>
                    </a:lnTo>
                    <a:lnTo>
                      <a:pt x="142" y="24"/>
                    </a:lnTo>
                    <a:lnTo>
                      <a:pt x="144" y="24"/>
                    </a:lnTo>
                    <a:lnTo>
                      <a:pt x="144" y="24"/>
                    </a:lnTo>
                    <a:lnTo>
                      <a:pt x="144" y="22"/>
                    </a:lnTo>
                    <a:lnTo>
                      <a:pt x="146" y="22"/>
                    </a:lnTo>
                    <a:lnTo>
                      <a:pt x="150" y="22"/>
                    </a:lnTo>
                    <a:lnTo>
                      <a:pt x="154" y="20"/>
                    </a:lnTo>
                    <a:lnTo>
                      <a:pt x="158" y="20"/>
                    </a:lnTo>
                    <a:lnTo>
                      <a:pt x="158" y="20"/>
                    </a:lnTo>
                    <a:lnTo>
                      <a:pt x="166" y="20"/>
                    </a:lnTo>
                    <a:lnTo>
                      <a:pt x="170" y="20"/>
                    </a:lnTo>
                    <a:lnTo>
                      <a:pt x="174" y="20"/>
                    </a:lnTo>
                    <a:lnTo>
                      <a:pt x="174" y="20"/>
                    </a:lnTo>
                    <a:lnTo>
                      <a:pt x="176" y="20"/>
                    </a:lnTo>
                    <a:lnTo>
                      <a:pt x="176" y="20"/>
                    </a:lnTo>
                    <a:lnTo>
                      <a:pt x="180" y="22"/>
                    </a:lnTo>
                    <a:lnTo>
                      <a:pt x="186" y="24"/>
                    </a:lnTo>
                    <a:lnTo>
                      <a:pt x="186" y="24"/>
                    </a:lnTo>
                    <a:lnTo>
                      <a:pt x="188" y="24"/>
                    </a:lnTo>
                    <a:lnTo>
                      <a:pt x="188" y="24"/>
                    </a:lnTo>
                    <a:lnTo>
                      <a:pt x="188" y="24"/>
                    </a:lnTo>
                    <a:lnTo>
                      <a:pt x="190" y="24"/>
                    </a:lnTo>
                    <a:lnTo>
                      <a:pt x="190" y="22"/>
                    </a:lnTo>
                    <a:lnTo>
                      <a:pt x="192" y="20"/>
                    </a:lnTo>
                    <a:lnTo>
                      <a:pt x="192" y="20"/>
                    </a:lnTo>
                    <a:lnTo>
                      <a:pt x="192" y="20"/>
                    </a:lnTo>
                    <a:lnTo>
                      <a:pt x="194" y="18"/>
                    </a:lnTo>
                    <a:lnTo>
                      <a:pt x="196" y="18"/>
                    </a:lnTo>
                    <a:lnTo>
                      <a:pt x="196" y="18"/>
                    </a:lnTo>
                    <a:lnTo>
                      <a:pt x="198" y="18"/>
                    </a:lnTo>
                    <a:lnTo>
                      <a:pt x="198" y="18"/>
                    </a:lnTo>
                    <a:lnTo>
                      <a:pt x="200" y="16"/>
                    </a:lnTo>
                    <a:lnTo>
                      <a:pt x="204" y="14"/>
                    </a:lnTo>
                    <a:lnTo>
                      <a:pt x="206" y="12"/>
                    </a:lnTo>
                    <a:lnTo>
                      <a:pt x="208" y="10"/>
                    </a:lnTo>
                    <a:lnTo>
                      <a:pt x="208" y="10"/>
                    </a:lnTo>
                    <a:lnTo>
                      <a:pt x="206" y="10"/>
                    </a:lnTo>
                    <a:lnTo>
                      <a:pt x="206" y="10"/>
                    </a:lnTo>
                    <a:lnTo>
                      <a:pt x="200" y="8"/>
                    </a:lnTo>
                    <a:lnTo>
                      <a:pt x="194" y="8"/>
                    </a:lnTo>
                    <a:lnTo>
                      <a:pt x="178" y="8"/>
                    </a:lnTo>
                    <a:lnTo>
                      <a:pt x="178" y="8"/>
                    </a:lnTo>
                    <a:lnTo>
                      <a:pt x="178" y="10"/>
                    </a:lnTo>
                    <a:lnTo>
                      <a:pt x="178" y="10"/>
                    </a:lnTo>
                    <a:lnTo>
                      <a:pt x="176" y="12"/>
                    </a:lnTo>
                    <a:lnTo>
                      <a:pt x="174" y="12"/>
                    </a:lnTo>
                    <a:lnTo>
                      <a:pt x="168" y="12"/>
                    </a:lnTo>
                    <a:lnTo>
                      <a:pt x="162" y="12"/>
                    </a:lnTo>
                    <a:lnTo>
                      <a:pt x="160" y="12"/>
                    </a:lnTo>
                    <a:lnTo>
                      <a:pt x="156" y="12"/>
                    </a:lnTo>
                    <a:lnTo>
                      <a:pt x="156" y="12"/>
                    </a:lnTo>
                    <a:lnTo>
                      <a:pt x="152" y="14"/>
                    </a:lnTo>
                    <a:lnTo>
                      <a:pt x="146" y="14"/>
                    </a:lnTo>
                    <a:lnTo>
                      <a:pt x="142" y="16"/>
                    </a:lnTo>
                    <a:lnTo>
                      <a:pt x="140" y="14"/>
                    </a:lnTo>
                    <a:lnTo>
                      <a:pt x="136" y="14"/>
                    </a:lnTo>
                    <a:lnTo>
                      <a:pt x="136" y="14"/>
                    </a:lnTo>
                    <a:lnTo>
                      <a:pt x="130" y="14"/>
                    </a:lnTo>
                    <a:lnTo>
                      <a:pt x="124" y="12"/>
                    </a:lnTo>
                    <a:lnTo>
                      <a:pt x="110" y="8"/>
                    </a:lnTo>
                    <a:lnTo>
                      <a:pt x="110" y="8"/>
                    </a:lnTo>
                    <a:lnTo>
                      <a:pt x="106" y="6"/>
                    </a:lnTo>
                    <a:lnTo>
                      <a:pt x="102" y="4"/>
                    </a:lnTo>
                    <a:lnTo>
                      <a:pt x="102" y="4"/>
                    </a:lnTo>
                    <a:lnTo>
                      <a:pt x="98" y="4"/>
                    </a:lnTo>
                    <a:lnTo>
                      <a:pt x="98" y="4"/>
                    </a:lnTo>
                    <a:lnTo>
                      <a:pt x="92" y="4"/>
                    </a:lnTo>
                    <a:lnTo>
                      <a:pt x="92" y="4"/>
                    </a:lnTo>
                    <a:lnTo>
                      <a:pt x="78" y="6"/>
                    </a:lnTo>
                    <a:lnTo>
                      <a:pt x="64" y="6"/>
                    </a:lnTo>
                    <a:lnTo>
                      <a:pt x="56" y="6"/>
                    </a:lnTo>
                    <a:lnTo>
                      <a:pt x="50" y="6"/>
                    </a:lnTo>
                    <a:lnTo>
                      <a:pt x="44" y="6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4" y="4"/>
                    </a:lnTo>
                    <a:lnTo>
                      <a:pt x="32" y="2"/>
                    </a:lnTo>
                    <a:lnTo>
                      <a:pt x="26" y="2"/>
                    </a:lnTo>
                    <a:lnTo>
                      <a:pt x="26" y="0"/>
                    </a:lnTo>
                    <a:lnTo>
                      <a:pt x="22" y="0"/>
                    </a:lnTo>
                    <a:lnTo>
                      <a:pt x="20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0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8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2" y="24"/>
                    </a:lnTo>
                    <a:lnTo>
                      <a:pt x="2" y="26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30"/>
                    </a:lnTo>
                    <a:lnTo>
                      <a:pt x="6" y="34"/>
                    </a:lnTo>
                    <a:lnTo>
                      <a:pt x="10" y="38"/>
                    </a:lnTo>
                    <a:lnTo>
                      <a:pt x="14" y="42"/>
                    </a:lnTo>
                    <a:lnTo>
                      <a:pt x="16" y="44"/>
                    </a:lnTo>
                    <a:lnTo>
                      <a:pt x="18" y="46"/>
                    </a:lnTo>
                    <a:lnTo>
                      <a:pt x="18" y="46"/>
                    </a:lnTo>
                    <a:lnTo>
                      <a:pt x="20" y="48"/>
                    </a:lnTo>
                    <a:lnTo>
                      <a:pt x="20" y="50"/>
                    </a:lnTo>
                    <a:lnTo>
                      <a:pt x="22" y="56"/>
                    </a:lnTo>
                    <a:lnTo>
                      <a:pt x="22" y="58"/>
                    </a:lnTo>
                    <a:lnTo>
                      <a:pt x="22" y="62"/>
                    </a:lnTo>
                    <a:lnTo>
                      <a:pt x="24" y="64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30" y="74"/>
                    </a:lnTo>
                    <a:lnTo>
                      <a:pt x="34" y="76"/>
                    </a:lnTo>
                    <a:lnTo>
                      <a:pt x="34" y="78"/>
                    </a:lnTo>
                    <a:lnTo>
                      <a:pt x="34" y="80"/>
                    </a:lnTo>
                    <a:lnTo>
                      <a:pt x="34" y="80"/>
                    </a:lnTo>
                    <a:lnTo>
                      <a:pt x="36" y="82"/>
                    </a:lnTo>
                    <a:lnTo>
                      <a:pt x="36" y="86"/>
                    </a:lnTo>
                    <a:lnTo>
                      <a:pt x="36" y="86"/>
                    </a:lnTo>
                    <a:lnTo>
                      <a:pt x="36" y="88"/>
                    </a:lnTo>
                    <a:lnTo>
                      <a:pt x="38" y="90"/>
                    </a:lnTo>
                    <a:lnTo>
                      <a:pt x="38" y="96"/>
                    </a:lnTo>
                    <a:lnTo>
                      <a:pt x="38" y="96"/>
                    </a:lnTo>
                    <a:lnTo>
                      <a:pt x="36" y="106"/>
                    </a:lnTo>
                    <a:lnTo>
                      <a:pt x="38" y="112"/>
                    </a:lnTo>
                    <a:lnTo>
                      <a:pt x="38" y="118"/>
                    </a:lnTo>
                    <a:lnTo>
                      <a:pt x="38" y="118"/>
                    </a:lnTo>
                    <a:lnTo>
                      <a:pt x="40" y="124"/>
                    </a:lnTo>
                    <a:lnTo>
                      <a:pt x="42" y="130"/>
                    </a:lnTo>
                    <a:lnTo>
                      <a:pt x="42" y="130"/>
                    </a:lnTo>
                    <a:lnTo>
                      <a:pt x="44" y="136"/>
                    </a:lnTo>
                    <a:lnTo>
                      <a:pt x="44" y="138"/>
                    </a:lnTo>
                    <a:lnTo>
                      <a:pt x="46" y="140"/>
                    </a:lnTo>
                    <a:lnTo>
                      <a:pt x="46" y="140"/>
                    </a:lnTo>
                    <a:lnTo>
                      <a:pt x="46" y="144"/>
                    </a:lnTo>
                    <a:lnTo>
                      <a:pt x="48" y="146"/>
                    </a:lnTo>
                    <a:lnTo>
                      <a:pt x="48" y="148"/>
                    </a:lnTo>
                    <a:lnTo>
                      <a:pt x="48" y="152"/>
                    </a:lnTo>
                    <a:lnTo>
                      <a:pt x="48" y="152"/>
                    </a:lnTo>
                    <a:lnTo>
                      <a:pt x="48" y="158"/>
                    </a:lnTo>
                    <a:lnTo>
                      <a:pt x="48" y="162"/>
                    </a:lnTo>
                    <a:lnTo>
                      <a:pt x="48" y="164"/>
                    </a:lnTo>
                    <a:lnTo>
                      <a:pt x="48" y="164"/>
                    </a:lnTo>
                    <a:lnTo>
                      <a:pt x="48" y="170"/>
                    </a:lnTo>
                    <a:lnTo>
                      <a:pt x="50" y="176"/>
                    </a:lnTo>
                    <a:lnTo>
                      <a:pt x="50" y="180"/>
                    </a:lnTo>
                    <a:lnTo>
                      <a:pt x="50" y="184"/>
                    </a:lnTo>
                    <a:lnTo>
                      <a:pt x="52" y="186"/>
                    </a:lnTo>
                    <a:lnTo>
                      <a:pt x="52" y="186"/>
                    </a:lnTo>
                    <a:lnTo>
                      <a:pt x="54" y="190"/>
                    </a:lnTo>
                    <a:lnTo>
                      <a:pt x="56" y="192"/>
                    </a:lnTo>
                    <a:lnTo>
                      <a:pt x="58" y="192"/>
                    </a:lnTo>
                    <a:lnTo>
                      <a:pt x="60" y="194"/>
                    </a:lnTo>
                    <a:lnTo>
                      <a:pt x="60" y="194"/>
                    </a:lnTo>
                    <a:lnTo>
                      <a:pt x="62" y="194"/>
                    </a:lnTo>
                    <a:lnTo>
                      <a:pt x="62" y="196"/>
                    </a:lnTo>
                    <a:lnTo>
                      <a:pt x="62" y="196"/>
                    </a:lnTo>
                    <a:lnTo>
                      <a:pt x="64" y="192"/>
                    </a:lnTo>
                    <a:lnTo>
                      <a:pt x="66" y="190"/>
                    </a:lnTo>
                    <a:lnTo>
                      <a:pt x="66" y="190"/>
                    </a:lnTo>
                    <a:lnTo>
                      <a:pt x="68" y="188"/>
                    </a:lnTo>
                    <a:lnTo>
                      <a:pt x="70" y="188"/>
                    </a:lnTo>
                    <a:lnTo>
                      <a:pt x="72" y="188"/>
                    </a:lnTo>
                    <a:lnTo>
                      <a:pt x="74" y="190"/>
                    </a:lnTo>
                    <a:lnTo>
                      <a:pt x="76" y="190"/>
                    </a:lnTo>
                    <a:lnTo>
                      <a:pt x="76" y="192"/>
                    </a:lnTo>
                    <a:lnTo>
                      <a:pt x="80" y="194"/>
                    </a:lnTo>
                    <a:lnTo>
                      <a:pt x="80" y="194"/>
                    </a:lnTo>
                    <a:lnTo>
                      <a:pt x="80" y="194"/>
                    </a:lnTo>
                    <a:lnTo>
                      <a:pt x="80" y="194"/>
                    </a:lnTo>
                    <a:lnTo>
                      <a:pt x="80" y="19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51" name="Freeform 686"/>
              <p:cNvSpPr>
                <a:spLocks/>
              </p:cNvSpPr>
              <p:nvPr/>
            </p:nvSpPr>
            <p:spPr bwMode="auto">
              <a:xfrm>
                <a:off x="3023" y="3116"/>
                <a:ext cx="152" cy="160"/>
              </a:xfrm>
              <a:custGeom>
                <a:avLst/>
                <a:gdLst>
                  <a:gd name="T0" fmla="*/ 16 w 152"/>
                  <a:gd name="T1" fmla="*/ 130 h 160"/>
                  <a:gd name="T2" fmla="*/ 16 w 152"/>
                  <a:gd name="T3" fmla="*/ 144 h 160"/>
                  <a:gd name="T4" fmla="*/ 16 w 152"/>
                  <a:gd name="T5" fmla="*/ 158 h 160"/>
                  <a:gd name="T6" fmla="*/ 22 w 152"/>
                  <a:gd name="T7" fmla="*/ 160 h 160"/>
                  <a:gd name="T8" fmla="*/ 30 w 152"/>
                  <a:gd name="T9" fmla="*/ 160 h 160"/>
                  <a:gd name="T10" fmla="*/ 38 w 152"/>
                  <a:gd name="T11" fmla="*/ 152 h 160"/>
                  <a:gd name="T12" fmla="*/ 44 w 152"/>
                  <a:gd name="T13" fmla="*/ 142 h 160"/>
                  <a:gd name="T14" fmla="*/ 52 w 152"/>
                  <a:gd name="T15" fmla="*/ 132 h 160"/>
                  <a:gd name="T16" fmla="*/ 58 w 152"/>
                  <a:gd name="T17" fmla="*/ 132 h 160"/>
                  <a:gd name="T18" fmla="*/ 68 w 152"/>
                  <a:gd name="T19" fmla="*/ 138 h 160"/>
                  <a:gd name="T20" fmla="*/ 78 w 152"/>
                  <a:gd name="T21" fmla="*/ 140 h 160"/>
                  <a:gd name="T22" fmla="*/ 88 w 152"/>
                  <a:gd name="T23" fmla="*/ 138 h 160"/>
                  <a:gd name="T24" fmla="*/ 96 w 152"/>
                  <a:gd name="T25" fmla="*/ 130 h 160"/>
                  <a:gd name="T26" fmla="*/ 100 w 152"/>
                  <a:gd name="T27" fmla="*/ 118 h 160"/>
                  <a:gd name="T28" fmla="*/ 108 w 152"/>
                  <a:gd name="T29" fmla="*/ 112 h 160"/>
                  <a:gd name="T30" fmla="*/ 122 w 152"/>
                  <a:gd name="T31" fmla="*/ 100 h 160"/>
                  <a:gd name="T32" fmla="*/ 136 w 152"/>
                  <a:gd name="T33" fmla="*/ 86 h 160"/>
                  <a:gd name="T34" fmla="*/ 142 w 152"/>
                  <a:gd name="T35" fmla="*/ 82 h 160"/>
                  <a:gd name="T36" fmla="*/ 146 w 152"/>
                  <a:gd name="T37" fmla="*/ 82 h 160"/>
                  <a:gd name="T38" fmla="*/ 152 w 152"/>
                  <a:gd name="T39" fmla="*/ 74 h 160"/>
                  <a:gd name="T40" fmla="*/ 148 w 152"/>
                  <a:gd name="T41" fmla="*/ 70 h 160"/>
                  <a:gd name="T42" fmla="*/ 140 w 152"/>
                  <a:gd name="T43" fmla="*/ 64 h 160"/>
                  <a:gd name="T44" fmla="*/ 132 w 152"/>
                  <a:gd name="T45" fmla="*/ 56 h 160"/>
                  <a:gd name="T46" fmla="*/ 124 w 152"/>
                  <a:gd name="T47" fmla="*/ 52 h 160"/>
                  <a:gd name="T48" fmla="*/ 122 w 152"/>
                  <a:gd name="T49" fmla="*/ 50 h 160"/>
                  <a:gd name="T50" fmla="*/ 124 w 152"/>
                  <a:gd name="T51" fmla="*/ 40 h 160"/>
                  <a:gd name="T52" fmla="*/ 118 w 152"/>
                  <a:gd name="T53" fmla="*/ 38 h 160"/>
                  <a:gd name="T54" fmla="*/ 110 w 152"/>
                  <a:gd name="T55" fmla="*/ 30 h 160"/>
                  <a:gd name="T56" fmla="*/ 98 w 152"/>
                  <a:gd name="T57" fmla="*/ 10 h 160"/>
                  <a:gd name="T58" fmla="*/ 96 w 152"/>
                  <a:gd name="T59" fmla="*/ 4 h 160"/>
                  <a:gd name="T60" fmla="*/ 86 w 152"/>
                  <a:gd name="T61" fmla="*/ 2 h 160"/>
                  <a:gd name="T62" fmla="*/ 78 w 152"/>
                  <a:gd name="T63" fmla="*/ 8 h 160"/>
                  <a:gd name="T64" fmla="*/ 72 w 152"/>
                  <a:gd name="T65" fmla="*/ 10 h 160"/>
                  <a:gd name="T66" fmla="*/ 70 w 152"/>
                  <a:gd name="T67" fmla="*/ 14 h 160"/>
                  <a:gd name="T68" fmla="*/ 66 w 152"/>
                  <a:gd name="T69" fmla="*/ 14 h 160"/>
                  <a:gd name="T70" fmla="*/ 56 w 152"/>
                  <a:gd name="T71" fmla="*/ 10 h 160"/>
                  <a:gd name="T72" fmla="*/ 46 w 152"/>
                  <a:gd name="T73" fmla="*/ 10 h 160"/>
                  <a:gd name="T74" fmla="*/ 30 w 152"/>
                  <a:gd name="T75" fmla="*/ 12 h 160"/>
                  <a:gd name="T76" fmla="*/ 24 w 152"/>
                  <a:gd name="T77" fmla="*/ 14 h 160"/>
                  <a:gd name="T78" fmla="*/ 22 w 152"/>
                  <a:gd name="T79" fmla="*/ 20 h 160"/>
                  <a:gd name="T80" fmla="*/ 22 w 152"/>
                  <a:gd name="T81" fmla="*/ 40 h 160"/>
                  <a:gd name="T82" fmla="*/ 20 w 152"/>
                  <a:gd name="T83" fmla="*/ 64 h 160"/>
                  <a:gd name="T84" fmla="*/ 18 w 152"/>
                  <a:gd name="T85" fmla="*/ 70 h 160"/>
                  <a:gd name="T86" fmla="*/ 10 w 152"/>
                  <a:gd name="T87" fmla="*/ 72 h 160"/>
                  <a:gd name="T88" fmla="*/ 2 w 152"/>
                  <a:gd name="T89" fmla="*/ 74 h 160"/>
                  <a:gd name="T90" fmla="*/ 2 w 152"/>
                  <a:gd name="T91" fmla="*/ 100 h 160"/>
                  <a:gd name="T92" fmla="*/ 0 w 152"/>
                  <a:gd name="T93" fmla="*/ 116 h 160"/>
                  <a:gd name="T94" fmla="*/ 10 w 152"/>
                  <a:gd name="T95" fmla="*/ 122 h 160"/>
                  <a:gd name="T96" fmla="*/ 14 w 152"/>
                  <a:gd name="T97" fmla="*/ 12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52" h="160">
                    <a:moveTo>
                      <a:pt x="14" y="124"/>
                    </a:moveTo>
                    <a:lnTo>
                      <a:pt x="14" y="124"/>
                    </a:lnTo>
                    <a:lnTo>
                      <a:pt x="14" y="128"/>
                    </a:lnTo>
                    <a:lnTo>
                      <a:pt x="16" y="130"/>
                    </a:lnTo>
                    <a:lnTo>
                      <a:pt x="16" y="132"/>
                    </a:lnTo>
                    <a:lnTo>
                      <a:pt x="16" y="134"/>
                    </a:lnTo>
                    <a:lnTo>
                      <a:pt x="16" y="140"/>
                    </a:lnTo>
                    <a:lnTo>
                      <a:pt x="16" y="144"/>
                    </a:lnTo>
                    <a:lnTo>
                      <a:pt x="16" y="144"/>
                    </a:lnTo>
                    <a:lnTo>
                      <a:pt x="16" y="152"/>
                    </a:lnTo>
                    <a:lnTo>
                      <a:pt x="16" y="154"/>
                    </a:lnTo>
                    <a:lnTo>
                      <a:pt x="16" y="158"/>
                    </a:lnTo>
                    <a:lnTo>
                      <a:pt x="18" y="160"/>
                    </a:lnTo>
                    <a:lnTo>
                      <a:pt x="20" y="160"/>
                    </a:lnTo>
                    <a:lnTo>
                      <a:pt x="20" y="160"/>
                    </a:lnTo>
                    <a:lnTo>
                      <a:pt x="22" y="160"/>
                    </a:lnTo>
                    <a:lnTo>
                      <a:pt x="24" y="160"/>
                    </a:lnTo>
                    <a:lnTo>
                      <a:pt x="26" y="160"/>
                    </a:lnTo>
                    <a:lnTo>
                      <a:pt x="26" y="160"/>
                    </a:lnTo>
                    <a:lnTo>
                      <a:pt x="30" y="160"/>
                    </a:lnTo>
                    <a:lnTo>
                      <a:pt x="32" y="160"/>
                    </a:lnTo>
                    <a:lnTo>
                      <a:pt x="34" y="158"/>
                    </a:lnTo>
                    <a:lnTo>
                      <a:pt x="36" y="154"/>
                    </a:lnTo>
                    <a:lnTo>
                      <a:pt x="38" y="152"/>
                    </a:lnTo>
                    <a:lnTo>
                      <a:pt x="40" y="150"/>
                    </a:lnTo>
                    <a:lnTo>
                      <a:pt x="44" y="144"/>
                    </a:lnTo>
                    <a:lnTo>
                      <a:pt x="44" y="144"/>
                    </a:lnTo>
                    <a:lnTo>
                      <a:pt x="44" y="142"/>
                    </a:lnTo>
                    <a:lnTo>
                      <a:pt x="46" y="138"/>
                    </a:lnTo>
                    <a:lnTo>
                      <a:pt x="48" y="136"/>
                    </a:lnTo>
                    <a:lnTo>
                      <a:pt x="50" y="134"/>
                    </a:lnTo>
                    <a:lnTo>
                      <a:pt x="52" y="132"/>
                    </a:lnTo>
                    <a:lnTo>
                      <a:pt x="54" y="132"/>
                    </a:lnTo>
                    <a:lnTo>
                      <a:pt x="54" y="132"/>
                    </a:lnTo>
                    <a:lnTo>
                      <a:pt x="56" y="132"/>
                    </a:lnTo>
                    <a:lnTo>
                      <a:pt x="58" y="132"/>
                    </a:lnTo>
                    <a:lnTo>
                      <a:pt x="60" y="134"/>
                    </a:lnTo>
                    <a:lnTo>
                      <a:pt x="64" y="134"/>
                    </a:lnTo>
                    <a:lnTo>
                      <a:pt x="64" y="134"/>
                    </a:lnTo>
                    <a:lnTo>
                      <a:pt x="68" y="138"/>
                    </a:lnTo>
                    <a:lnTo>
                      <a:pt x="70" y="138"/>
                    </a:lnTo>
                    <a:lnTo>
                      <a:pt x="74" y="140"/>
                    </a:lnTo>
                    <a:lnTo>
                      <a:pt x="74" y="140"/>
                    </a:lnTo>
                    <a:lnTo>
                      <a:pt x="78" y="140"/>
                    </a:lnTo>
                    <a:lnTo>
                      <a:pt x="80" y="140"/>
                    </a:lnTo>
                    <a:lnTo>
                      <a:pt x="86" y="138"/>
                    </a:lnTo>
                    <a:lnTo>
                      <a:pt x="88" y="138"/>
                    </a:lnTo>
                    <a:lnTo>
                      <a:pt x="88" y="138"/>
                    </a:lnTo>
                    <a:lnTo>
                      <a:pt x="92" y="136"/>
                    </a:lnTo>
                    <a:lnTo>
                      <a:pt x="94" y="136"/>
                    </a:lnTo>
                    <a:lnTo>
                      <a:pt x="96" y="134"/>
                    </a:lnTo>
                    <a:lnTo>
                      <a:pt x="96" y="130"/>
                    </a:lnTo>
                    <a:lnTo>
                      <a:pt x="98" y="124"/>
                    </a:lnTo>
                    <a:lnTo>
                      <a:pt x="100" y="122"/>
                    </a:lnTo>
                    <a:lnTo>
                      <a:pt x="100" y="118"/>
                    </a:lnTo>
                    <a:lnTo>
                      <a:pt x="100" y="118"/>
                    </a:lnTo>
                    <a:lnTo>
                      <a:pt x="102" y="116"/>
                    </a:lnTo>
                    <a:lnTo>
                      <a:pt x="104" y="114"/>
                    </a:lnTo>
                    <a:lnTo>
                      <a:pt x="106" y="112"/>
                    </a:lnTo>
                    <a:lnTo>
                      <a:pt x="108" y="112"/>
                    </a:lnTo>
                    <a:lnTo>
                      <a:pt x="114" y="108"/>
                    </a:lnTo>
                    <a:lnTo>
                      <a:pt x="118" y="104"/>
                    </a:lnTo>
                    <a:lnTo>
                      <a:pt x="118" y="104"/>
                    </a:lnTo>
                    <a:lnTo>
                      <a:pt x="122" y="100"/>
                    </a:lnTo>
                    <a:lnTo>
                      <a:pt x="126" y="94"/>
                    </a:lnTo>
                    <a:lnTo>
                      <a:pt x="130" y="88"/>
                    </a:lnTo>
                    <a:lnTo>
                      <a:pt x="136" y="86"/>
                    </a:lnTo>
                    <a:lnTo>
                      <a:pt x="136" y="86"/>
                    </a:lnTo>
                    <a:lnTo>
                      <a:pt x="136" y="84"/>
                    </a:lnTo>
                    <a:lnTo>
                      <a:pt x="138" y="84"/>
                    </a:lnTo>
                    <a:lnTo>
                      <a:pt x="140" y="84"/>
                    </a:lnTo>
                    <a:lnTo>
                      <a:pt x="142" y="82"/>
                    </a:lnTo>
                    <a:lnTo>
                      <a:pt x="144" y="82"/>
                    </a:lnTo>
                    <a:lnTo>
                      <a:pt x="146" y="82"/>
                    </a:lnTo>
                    <a:lnTo>
                      <a:pt x="146" y="82"/>
                    </a:lnTo>
                    <a:lnTo>
                      <a:pt x="146" y="82"/>
                    </a:lnTo>
                    <a:lnTo>
                      <a:pt x="148" y="82"/>
                    </a:lnTo>
                    <a:lnTo>
                      <a:pt x="150" y="80"/>
                    </a:lnTo>
                    <a:lnTo>
                      <a:pt x="150" y="78"/>
                    </a:lnTo>
                    <a:lnTo>
                      <a:pt x="152" y="74"/>
                    </a:lnTo>
                    <a:lnTo>
                      <a:pt x="152" y="74"/>
                    </a:lnTo>
                    <a:lnTo>
                      <a:pt x="150" y="72"/>
                    </a:lnTo>
                    <a:lnTo>
                      <a:pt x="150" y="72"/>
                    </a:lnTo>
                    <a:lnTo>
                      <a:pt x="148" y="70"/>
                    </a:lnTo>
                    <a:lnTo>
                      <a:pt x="146" y="68"/>
                    </a:lnTo>
                    <a:lnTo>
                      <a:pt x="144" y="66"/>
                    </a:lnTo>
                    <a:lnTo>
                      <a:pt x="140" y="64"/>
                    </a:lnTo>
                    <a:lnTo>
                      <a:pt x="140" y="64"/>
                    </a:lnTo>
                    <a:lnTo>
                      <a:pt x="138" y="64"/>
                    </a:lnTo>
                    <a:lnTo>
                      <a:pt x="136" y="60"/>
                    </a:lnTo>
                    <a:lnTo>
                      <a:pt x="134" y="58"/>
                    </a:lnTo>
                    <a:lnTo>
                      <a:pt x="132" y="56"/>
                    </a:lnTo>
                    <a:lnTo>
                      <a:pt x="132" y="56"/>
                    </a:lnTo>
                    <a:lnTo>
                      <a:pt x="130" y="56"/>
                    </a:lnTo>
                    <a:lnTo>
                      <a:pt x="126" y="54"/>
                    </a:lnTo>
                    <a:lnTo>
                      <a:pt x="124" y="52"/>
                    </a:lnTo>
                    <a:lnTo>
                      <a:pt x="124" y="52"/>
                    </a:lnTo>
                    <a:lnTo>
                      <a:pt x="122" y="50"/>
                    </a:lnTo>
                    <a:lnTo>
                      <a:pt x="122" y="50"/>
                    </a:lnTo>
                    <a:lnTo>
                      <a:pt x="122" y="50"/>
                    </a:lnTo>
                    <a:lnTo>
                      <a:pt x="122" y="48"/>
                    </a:lnTo>
                    <a:lnTo>
                      <a:pt x="122" y="44"/>
                    </a:lnTo>
                    <a:lnTo>
                      <a:pt x="124" y="42"/>
                    </a:lnTo>
                    <a:lnTo>
                      <a:pt x="124" y="40"/>
                    </a:lnTo>
                    <a:lnTo>
                      <a:pt x="124" y="40"/>
                    </a:lnTo>
                    <a:lnTo>
                      <a:pt x="124" y="40"/>
                    </a:lnTo>
                    <a:lnTo>
                      <a:pt x="122" y="38"/>
                    </a:lnTo>
                    <a:lnTo>
                      <a:pt x="118" y="38"/>
                    </a:lnTo>
                    <a:lnTo>
                      <a:pt x="116" y="36"/>
                    </a:lnTo>
                    <a:lnTo>
                      <a:pt x="114" y="34"/>
                    </a:lnTo>
                    <a:lnTo>
                      <a:pt x="112" y="32"/>
                    </a:lnTo>
                    <a:lnTo>
                      <a:pt x="110" y="30"/>
                    </a:lnTo>
                    <a:lnTo>
                      <a:pt x="106" y="26"/>
                    </a:lnTo>
                    <a:lnTo>
                      <a:pt x="102" y="20"/>
                    </a:lnTo>
                    <a:lnTo>
                      <a:pt x="100" y="16"/>
                    </a:lnTo>
                    <a:lnTo>
                      <a:pt x="98" y="10"/>
                    </a:lnTo>
                    <a:lnTo>
                      <a:pt x="98" y="4"/>
                    </a:lnTo>
                    <a:lnTo>
                      <a:pt x="98" y="4"/>
                    </a:lnTo>
                    <a:lnTo>
                      <a:pt x="96" y="4"/>
                    </a:lnTo>
                    <a:lnTo>
                      <a:pt x="96" y="4"/>
                    </a:lnTo>
                    <a:lnTo>
                      <a:pt x="92" y="2"/>
                    </a:lnTo>
                    <a:lnTo>
                      <a:pt x="88" y="0"/>
                    </a:lnTo>
                    <a:lnTo>
                      <a:pt x="88" y="0"/>
                    </a:lnTo>
                    <a:lnTo>
                      <a:pt x="86" y="2"/>
                    </a:lnTo>
                    <a:lnTo>
                      <a:pt x="84" y="4"/>
                    </a:lnTo>
                    <a:lnTo>
                      <a:pt x="80" y="6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74" y="8"/>
                    </a:lnTo>
                    <a:lnTo>
                      <a:pt x="72" y="10"/>
                    </a:lnTo>
                    <a:lnTo>
                      <a:pt x="72" y="10"/>
                    </a:lnTo>
                    <a:lnTo>
                      <a:pt x="72" y="10"/>
                    </a:lnTo>
                    <a:lnTo>
                      <a:pt x="70" y="12"/>
                    </a:lnTo>
                    <a:lnTo>
                      <a:pt x="70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6" y="14"/>
                    </a:lnTo>
                    <a:lnTo>
                      <a:pt x="66" y="14"/>
                    </a:lnTo>
                    <a:lnTo>
                      <a:pt x="60" y="12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0" y="10"/>
                    </a:lnTo>
                    <a:lnTo>
                      <a:pt x="46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4" y="10"/>
                    </a:lnTo>
                    <a:lnTo>
                      <a:pt x="30" y="12"/>
                    </a:lnTo>
                    <a:lnTo>
                      <a:pt x="26" y="12"/>
                    </a:lnTo>
                    <a:lnTo>
                      <a:pt x="24" y="12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2" y="14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20"/>
                    </a:lnTo>
                    <a:lnTo>
                      <a:pt x="22" y="22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40"/>
                    </a:lnTo>
                    <a:lnTo>
                      <a:pt x="20" y="48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20" y="64"/>
                    </a:lnTo>
                    <a:lnTo>
                      <a:pt x="18" y="66"/>
                    </a:lnTo>
                    <a:lnTo>
                      <a:pt x="18" y="68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6" y="70"/>
                    </a:lnTo>
                    <a:lnTo>
                      <a:pt x="14" y="70"/>
                    </a:lnTo>
                    <a:lnTo>
                      <a:pt x="12" y="72"/>
                    </a:lnTo>
                    <a:lnTo>
                      <a:pt x="10" y="72"/>
                    </a:lnTo>
                    <a:lnTo>
                      <a:pt x="6" y="72"/>
                    </a:lnTo>
                    <a:lnTo>
                      <a:pt x="2" y="72"/>
                    </a:lnTo>
                    <a:lnTo>
                      <a:pt x="2" y="72"/>
                    </a:lnTo>
                    <a:lnTo>
                      <a:pt x="2" y="74"/>
                    </a:lnTo>
                    <a:lnTo>
                      <a:pt x="2" y="78"/>
                    </a:lnTo>
                    <a:lnTo>
                      <a:pt x="2" y="88"/>
                    </a:lnTo>
                    <a:lnTo>
                      <a:pt x="2" y="94"/>
                    </a:lnTo>
                    <a:lnTo>
                      <a:pt x="2" y="100"/>
                    </a:lnTo>
                    <a:lnTo>
                      <a:pt x="0" y="102"/>
                    </a:lnTo>
                    <a:lnTo>
                      <a:pt x="0" y="102"/>
                    </a:lnTo>
                    <a:lnTo>
                      <a:pt x="0" y="110"/>
                    </a:lnTo>
                    <a:lnTo>
                      <a:pt x="0" y="116"/>
                    </a:lnTo>
                    <a:lnTo>
                      <a:pt x="0" y="116"/>
                    </a:lnTo>
                    <a:lnTo>
                      <a:pt x="4" y="118"/>
                    </a:lnTo>
                    <a:lnTo>
                      <a:pt x="8" y="120"/>
                    </a:lnTo>
                    <a:lnTo>
                      <a:pt x="10" y="122"/>
                    </a:lnTo>
                    <a:lnTo>
                      <a:pt x="12" y="124"/>
                    </a:lnTo>
                    <a:lnTo>
                      <a:pt x="14" y="124"/>
                    </a:lnTo>
                    <a:lnTo>
                      <a:pt x="14" y="124"/>
                    </a:lnTo>
                    <a:lnTo>
                      <a:pt x="14" y="124"/>
                    </a:lnTo>
                    <a:lnTo>
                      <a:pt x="14" y="124"/>
                    </a:lnTo>
                    <a:lnTo>
                      <a:pt x="14" y="12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52" name="Freeform 688"/>
              <p:cNvSpPr>
                <a:spLocks/>
              </p:cNvSpPr>
              <p:nvPr/>
            </p:nvSpPr>
            <p:spPr bwMode="auto">
              <a:xfrm>
                <a:off x="3195" y="3252"/>
                <a:ext cx="34" cy="32"/>
              </a:xfrm>
              <a:custGeom>
                <a:avLst/>
                <a:gdLst>
                  <a:gd name="T0" fmla="*/ 4 w 34"/>
                  <a:gd name="T1" fmla="*/ 24 h 32"/>
                  <a:gd name="T2" fmla="*/ 4 w 34"/>
                  <a:gd name="T3" fmla="*/ 24 h 32"/>
                  <a:gd name="T4" fmla="*/ 6 w 34"/>
                  <a:gd name="T5" fmla="*/ 26 h 32"/>
                  <a:gd name="T6" fmla="*/ 6 w 34"/>
                  <a:gd name="T7" fmla="*/ 28 h 32"/>
                  <a:gd name="T8" fmla="*/ 6 w 34"/>
                  <a:gd name="T9" fmla="*/ 28 h 32"/>
                  <a:gd name="T10" fmla="*/ 8 w 34"/>
                  <a:gd name="T11" fmla="*/ 30 h 32"/>
                  <a:gd name="T12" fmla="*/ 8 w 34"/>
                  <a:gd name="T13" fmla="*/ 30 h 32"/>
                  <a:gd name="T14" fmla="*/ 10 w 34"/>
                  <a:gd name="T15" fmla="*/ 32 h 32"/>
                  <a:gd name="T16" fmla="*/ 10 w 34"/>
                  <a:gd name="T17" fmla="*/ 32 h 32"/>
                  <a:gd name="T18" fmla="*/ 10 w 34"/>
                  <a:gd name="T19" fmla="*/ 32 h 32"/>
                  <a:gd name="T20" fmla="*/ 12 w 34"/>
                  <a:gd name="T21" fmla="*/ 32 h 32"/>
                  <a:gd name="T22" fmla="*/ 16 w 34"/>
                  <a:gd name="T23" fmla="*/ 30 h 32"/>
                  <a:gd name="T24" fmla="*/ 18 w 34"/>
                  <a:gd name="T25" fmla="*/ 30 h 32"/>
                  <a:gd name="T26" fmla="*/ 20 w 34"/>
                  <a:gd name="T27" fmla="*/ 28 h 32"/>
                  <a:gd name="T28" fmla="*/ 20 w 34"/>
                  <a:gd name="T29" fmla="*/ 28 h 32"/>
                  <a:gd name="T30" fmla="*/ 22 w 34"/>
                  <a:gd name="T31" fmla="*/ 24 h 32"/>
                  <a:gd name="T32" fmla="*/ 26 w 34"/>
                  <a:gd name="T33" fmla="*/ 24 h 32"/>
                  <a:gd name="T34" fmla="*/ 30 w 34"/>
                  <a:gd name="T35" fmla="*/ 20 h 32"/>
                  <a:gd name="T36" fmla="*/ 30 w 34"/>
                  <a:gd name="T37" fmla="*/ 20 h 32"/>
                  <a:gd name="T38" fmla="*/ 32 w 34"/>
                  <a:gd name="T39" fmla="*/ 20 h 32"/>
                  <a:gd name="T40" fmla="*/ 32 w 34"/>
                  <a:gd name="T41" fmla="*/ 20 h 32"/>
                  <a:gd name="T42" fmla="*/ 34 w 34"/>
                  <a:gd name="T43" fmla="*/ 16 h 32"/>
                  <a:gd name="T44" fmla="*/ 34 w 34"/>
                  <a:gd name="T45" fmla="*/ 14 h 32"/>
                  <a:gd name="T46" fmla="*/ 34 w 34"/>
                  <a:gd name="T47" fmla="*/ 14 h 32"/>
                  <a:gd name="T48" fmla="*/ 34 w 34"/>
                  <a:gd name="T49" fmla="*/ 14 h 32"/>
                  <a:gd name="T50" fmla="*/ 34 w 34"/>
                  <a:gd name="T51" fmla="*/ 14 h 32"/>
                  <a:gd name="T52" fmla="*/ 32 w 34"/>
                  <a:gd name="T53" fmla="*/ 14 h 32"/>
                  <a:gd name="T54" fmla="*/ 32 w 34"/>
                  <a:gd name="T55" fmla="*/ 14 h 32"/>
                  <a:gd name="T56" fmla="*/ 30 w 34"/>
                  <a:gd name="T57" fmla="*/ 14 h 32"/>
                  <a:gd name="T58" fmla="*/ 30 w 34"/>
                  <a:gd name="T59" fmla="*/ 14 h 32"/>
                  <a:gd name="T60" fmla="*/ 30 w 34"/>
                  <a:gd name="T61" fmla="*/ 12 h 32"/>
                  <a:gd name="T62" fmla="*/ 30 w 34"/>
                  <a:gd name="T63" fmla="*/ 12 h 32"/>
                  <a:gd name="T64" fmla="*/ 30 w 34"/>
                  <a:gd name="T65" fmla="*/ 12 h 32"/>
                  <a:gd name="T66" fmla="*/ 28 w 34"/>
                  <a:gd name="T67" fmla="*/ 10 h 32"/>
                  <a:gd name="T68" fmla="*/ 28 w 34"/>
                  <a:gd name="T69" fmla="*/ 10 h 32"/>
                  <a:gd name="T70" fmla="*/ 30 w 34"/>
                  <a:gd name="T71" fmla="*/ 8 h 32"/>
                  <a:gd name="T72" fmla="*/ 30 w 34"/>
                  <a:gd name="T73" fmla="*/ 8 h 32"/>
                  <a:gd name="T74" fmla="*/ 26 w 34"/>
                  <a:gd name="T75" fmla="*/ 8 h 32"/>
                  <a:gd name="T76" fmla="*/ 24 w 34"/>
                  <a:gd name="T77" fmla="*/ 6 h 32"/>
                  <a:gd name="T78" fmla="*/ 24 w 34"/>
                  <a:gd name="T79" fmla="*/ 6 h 32"/>
                  <a:gd name="T80" fmla="*/ 22 w 34"/>
                  <a:gd name="T81" fmla="*/ 4 h 32"/>
                  <a:gd name="T82" fmla="*/ 22 w 34"/>
                  <a:gd name="T83" fmla="*/ 4 h 32"/>
                  <a:gd name="T84" fmla="*/ 20 w 34"/>
                  <a:gd name="T85" fmla="*/ 0 h 32"/>
                  <a:gd name="T86" fmla="*/ 20 w 34"/>
                  <a:gd name="T87" fmla="*/ 0 h 32"/>
                  <a:gd name="T88" fmla="*/ 18 w 34"/>
                  <a:gd name="T89" fmla="*/ 0 h 32"/>
                  <a:gd name="T90" fmla="*/ 16 w 34"/>
                  <a:gd name="T91" fmla="*/ 2 h 32"/>
                  <a:gd name="T92" fmla="*/ 12 w 34"/>
                  <a:gd name="T93" fmla="*/ 2 h 32"/>
                  <a:gd name="T94" fmla="*/ 8 w 34"/>
                  <a:gd name="T95" fmla="*/ 2 h 32"/>
                  <a:gd name="T96" fmla="*/ 6 w 34"/>
                  <a:gd name="T97" fmla="*/ 2 h 32"/>
                  <a:gd name="T98" fmla="*/ 4 w 34"/>
                  <a:gd name="T99" fmla="*/ 4 h 32"/>
                  <a:gd name="T100" fmla="*/ 2 w 34"/>
                  <a:gd name="T101" fmla="*/ 4 h 32"/>
                  <a:gd name="T102" fmla="*/ 2 w 34"/>
                  <a:gd name="T103" fmla="*/ 4 h 32"/>
                  <a:gd name="T104" fmla="*/ 0 w 34"/>
                  <a:gd name="T105" fmla="*/ 8 h 32"/>
                  <a:gd name="T106" fmla="*/ 0 w 34"/>
                  <a:gd name="T107" fmla="*/ 10 h 32"/>
                  <a:gd name="T108" fmla="*/ 0 w 34"/>
                  <a:gd name="T109" fmla="*/ 12 h 32"/>
                  <a:gd name="T110" fmla="*/ 0 w 34"/>
                  <a:gd name="T111" fmla="*/ 14 h 32"/>
                  <a:gd name="T112" fmla="*/ 0 w 34"/>
                  <a:gd name="T113" fmla="*/ 16 h 32"/>
                  <a:gd name="T114" fmla="*/ 2 w 34"/>
                  <a:gd name="T115" fmla="*/ 20 h 32"/>
                  <a:gd name="T116" fmla="*/ 4 w 34"/>
                  <a:gd name="T117" fmla="*/ 24 h 32"/>
                  <a:gd name="T118" fmla="*/ 4 w 34"/>
                  <a:gd name="T119" fmla="*/ 24 h 32"/>
                  <a:gd name="T120" fmla="*/ 4 w 34"/>
                  <a:gd name="T121" fmla="*/ 24 h 32"/>
                  <a:gd name="T122" fmla="*/ 4 w 34"/>
                  <a:gd name="T123" fmla="*/ 24 h 32"/>
                  <a:gd name="T124" fmla="*/ 4 w 34"/>
                  <a:gd name="T125" fmla="*/ 24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4" h="32">
                    <a:moveTo>
                      <a:pt x="4" y="24"/>
                    </a:moveTo>
                    <a:lnTo>
                      <a:pt x="4" y="24"/>
                    </a:lnTo>
                    <a:lnTo>
                      <a:pt x="6" y="26"/>
                    </a:lnTo>
                    <a:lnTo>
                      <a:pt x="6" y="28"/>
                    </a:lnTo>
                    <a:lnTo>
                      <a:pt x="6" y="28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10" y="32"/>
                    </a:lnTo>
                    <a:lnTo>
                      <a:pt x="10" y="32"/>
                    </a:lnTo>
                    <a:lnTo>
                      <a:pt x="10" y="32"/>
                    </a:lnTo>
                    <a:lnTo>
                      <a:pt x="12" y="32"/>
                    </a:lnTo>
                    <a:lnTo>
                      <a:pt x="16" y="30"/>
                    </a:lnTo>
                    <a:lnTo>
                      <a:pt x="18" y="30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2" y="24"/>
                    </a:lnTo>
                    <a:lnTo>
                      <a:pt x="26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34" y="16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26" y="8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6" y="2"/>
                    </a:lnTo>
                    <a:lnTo>
                      <a:pt x="12" y="2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53" name="Freeform 690"/>
              <p:cNvSpPr>
                <a:spLocks noEditPoints="1"/>
              </p:cNvSpPr>
              <p:nvPr/>
            </p:nvSpPr>
            <p:spPr bwMode="auto">
              <a:xfrm>
                <a:off x="2965" y="3190"/>
                <a:ext cx="262" cy="230"/>
              </a:xfrm>
              <a:custGeom>
                <a:avLst/>
                <a:gdLst>
                  <a:gd name="T0" fmla="*/ 240 w 262"/>
                  <a:gd name="T1" fmla="*/ 94 h 230"/>
                  <a:gd name="T2" fmla="*/ 232 w 262"/>
                  <a:gd name="T3" fmla="*/ 82 h 230"/>
                  <a:gd name="T4" fmla="*/ 234 w 262"/>
                  <a:gd name="T5" fmla="*/ 66 h 230"/>
                  <a:gd name="T6" fmla="*/ 250 w 262"/>
                  <a:gd name="T7" fmla="*/ 60 h 230"/>
                  <a:gd name="T8" fmla="*/ 252 w 262"/>
                  <a:gd name="T9" fmla="*/ 42 h 230"/>
                  <a:gd name="T10" fmla="*/ 248 w 262"/>
                  <a:gd name="T11" fmla="*/ 10 h 230"/>
                  <a:gd name="T12" fmla="*/ 220 w 262"/>
                  <a:gd name="T13" fmla="*/ 4 h 230"/>
                  <a:gd name="T14" fmla="*/ 206 w 262"/>
                  <a:gd name="T15" fmla="*/ 8 h 230"/>
                  <a:gd name="T16" fmla="*/ 194 w 262"/>
                  <a:gd name="T17" fmla="*/ 10 h 230"/>
                  <a:gd name="T18" fmla="*/ 172 w 262"/>
                  <a:gd name="T19" fmla="*/ 34 h 230"/>
                  <a:gd name="T20" fmla="*/ 156 w 262"/>
                  <a:gd name="T21" fmla="*/ 50 h 230"/>
                  <a:gd name="T22" fmla="*/ 140 w 262"/>
                  <a:gd name="T23" fmla="*/ 66 h 230"/>
                  <a:gd name="T24" fmla="*/ 118 w 262"/>
                  <a:gd name="T25" fmla="*/ 60 h 230"/>
                  <a:gd name="T26" fmla="*/ 104 w 262"/>
                  <a:gd name="T27" fmla="*/ 64 h 230"/>
                  <a:gd name="T28" fmla="*/ 90 w 262"/>
                  <a:gd name="T29" fmla="*/ 86 h 230"/>
                  <a:gd name="T30" fmla="*/ 76 w 262"/>
                  <a:gd name="T31" fmla="*/ 86 h 230"/>
                  <a:gd name="T32" fmla="*/ 74 w 262"/>
                  <a:gd name="T33" fmla="*/ 58 h 230"/>
                  <a:gd name="T34" fmla="*/ 62 w 262"/>
                  <a:gd name="T35" fmla="*/ 44 h 230"/>
                  <a:gd name="T36" fmla="*/ 54 w 262"/>
                  <a:gd name="T37" fmla="*/ 96 h 230"/>
                  <a:gd name="T38" fmla="*/ 48 w 262"/>
                  <a:gd name="T39" fmla="*/ 116 h 230"/>
                  <a:gd name="T40" fmla="*/ 34 w 262"/>
                  <a:gd name="T41" fmla="*/ 116 h 230"/>
                  <a:gd name="T42" fmla="*/ 18 w 262"/>
                  <a:gd name="T43" fmla="*/ 110 h 230"/>
                  <a:gd name="T44" fmla="*/ 4 w 262"/>
                  <a:gd name="T45" fmla="*/ 106 h 230"/>
                  <a:gd name="T46" fmla="*/ 6 w 262"/>
                  <a:gd name="T47" fmla="*/ 114 h 230"/>
                  <a:gd name="T48" fmla="*/ 8 w 262"/>
                  <a:gd name="T49" fmla="*/ 126 h 230"/>
                  <a:gd name="T50" fmla="*/ 12 w 262"/>
                  <a:gd name="T51" fmla="*/ 148 h 230"/>
                  <a:gd name="T52" fmla="*/ 24 w 262"/>
                  <a:gd name="T53" fmla="*/ 160 h 230"/>
                  <a:gd name="T54" fmla="*/ 26 w 262"/>
                  <a:gd name="T55" fmla="*/ 178 h 230"/>
                  <a:gd name="T56" fmla="*/ 22 w 262"/>
                  <a:gd name="T57" fmla="*/ 194 h 230"/>
                  <a:gd name="T58" fmla="*/ 32 w 262"/>
                  <a:gd name="T59" fmla="*/ 204 h 230"/>
                  <a:gd name="T60" fmla="*/ 30 w 262"/>
                  <a:gd name="T61" fmla="*/ 216 h 230"/>
                  <a:gd name="T62" fmla="*/ 38 w 262"/>
                  <a:gd name="T63" fmla="*/ 218 h 230"/>
                  <a:gd name="T64" fmla="*/ 42 w 262"/>
                  <a:gd name="T65" fmla="*/ 224 h 230"/>
                  <a:gd name="T66" fmla="*/ 56 w 262"/>
                  <a:gd name="T67" fmla="*/ 230 h 230"/>
                  <a:gd name="T68" fmla="*/ 60 w 262"/>
                  <a:gd name="T69" fmla="*/ 228 h 230"/>
                  <a:gd name="T70" fmla="*/ 76 w 262"/>
                  <a:gd name="T71" fmla="*/ 222 h 230"/>
                  <a:gd name="T72" fmla="*/ 90 w 262"/>
                  <a:gd name="T73" fmla="*/ 216 h 230"/>
                  <a:gd name="T74" fmla="*/ 110 w 262"/>
                  <a:gd name="T75" fmla="*/ 214 h 230"/>
                  <a:gd name="T76" fmla="*/ 128 w 262"/>
                  <a:gd name="T77" fmla="*/ 212 h 230"/>
                  <a:gd name="T78" fmla="*/ 132 w 262"/>
                  <a:gd name="T79" fmla="*/ 212 h 230"/>
                  <a:gd name="T80" fmla="*/ 140 w 262"/>
                  <a:gd name="T81" fmla="*/ 212 h 230"/>
                  <a:gd name="T82" fmla="*/ 150 w 262"/>
                  <a:gd name="T83" fmla="*/ 208 h 230"/>
                  <a:gd name="T84" fmla="*/ 158 w 262"/>
                  <a:gd name="T85" fmla="*/ 210 h 230"/>
                  <a:gd name="T86" fmla="*/ 170 w 262"/>
                  <a:gd name="T87" fmla="*/ 202 h 230"/>
                  <a:gd name="T88" fmla="*/ 180 w 262"/>
                  <a:gd name="T89" fmla="*/ 192 h 230"/>
                  <a:gd name="T90" fmla="*/ 200 w 262"/>
                  <a:gd name="T91" fmla="*/ 170 h 230"/>
                  <a:gd name="T92" fmla="*/ 226 w 262"/>
                  <a:gd name="T93" fmla="*/ 150 h 230"/>
                  <a:gd name="T94" fmla="*/ 240 w 262"/>
                  <a:gd name="T95" fmla="*/ 126 h 230"/>
                  <a:gd name="T96" fmla="*/ 258 w 262"/>
                  <a:gd name="T97" fmla="*/ 106 h 230"/>
                  <a:gd name="T98" fmla="*/ 262 w 262"/>
                  <a:gd name="T99" fmla="*/ 82 h 230"/>
                  <a:gd name="T100" fmla="*/ 250 w 262"/>
                  <a:gd name="T101" fmla="*/ 90 h 230"/>
                  <a:gd name="T102" fmla="*/ 202 w 262"/>
                  <a:gd name="T103" fmla="*/ 138 h 230"/>
                  <a:gd name="T104" fmla="*/ 182 w 262"/>
                  <a:gd name="T105" fmla="*/ 146 h 230"/>
                  <a:gd name="T106" fmla="*/ 170 w 262"/>
                  <a:gd name="T107" fmla="*/ 140 h 230"/>
                  <a:gd name="T108" fmla="*/ 168 w 262"/>
                  <a:gd name="T109" fmla="*/ 128 h 230"/>
                  <a:gd name="T110" fmla="*/ 182 w 262"/>
                  <a:gd name="T111" fmla="*/ 116 h 230"/>
                  <a:gd name="T112" fmla="*/ 200 w 262"/>
                  <a:gd name="T113" fmla="*/ 114 h 230"/>
                  <a:gd name="T114" fmla="*/ 202 w 262"/>
                  <a:gd name="T115" fmla="*/ 124 h 230"/>
                  <a:gd name="T116" fmla="*/ 208 w 262"/>
                  <a:gd name="T117" fmla="*/ 132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62" h="230">
                    <a:moveTo>
                      <a:pt x="250" y="90"/>
                    </a:moveTo>
                    <a:lnTo>
                      <a:pt x="250" y="90"/>
                    </a:lnTo>
                    <a:lnTo>
                      <a:pt x="248" y="92"/>
                    </a:lnTo>
                    <a:lnTo>
                      <a:pt x="246" y="92"/>
                    </a:lnTo>
                    <a:lnTo>
                      <a:pt x="242" y="94"/>
                    </a:lnTo>
                    <a:lnTo>
                      <a:pt x="240" y="94"/>
                    </a:lnTo>
                    <a:lnTo>
                      <a:pt x="240" y="94"/>
                    </a:lnTo>
                    <a:lnTo>
                      <a:pt x="240" y="94"/>
                    </a:lnTo>
                    <a:lnTo>
                      <a:pt x="238" y="92"/>
                    </a:lnTo>
                    <a:lnTo>
                      <a:pt x="238" y="92"/>
                    </a:lnTo>
                    <a:lnTo>
                      <a:pt x="236" y="90"/>
                    </a:lnTo>
                    <a:lnTo>
                      <a:pt x="236" y="90"/>
                    </a:lnTo>
                    <a:lnTo>
                      <a:pt x="236" y="88"/>
                    </a:lnTo>
                    <a:lnTo>
                      <a:pt x="234" y="86"/>
                    </a:lnTo>
                    <a:lnTo>
                      <a:pt x="234" y="86"/>
                    </a:lnTo>
                    <a:lnTo>
                      <a:pt x="232" y="82"/>
                    </a:lnTo>
                    <a:lnTo>
                      <a:pt x="230" y="78"/>
                    </a:lnTo>
                    <a:lnTo>
                      <a:pt x="230" y="76"/>
                    </a:lnTo>
                    <a:lnTo>
                      <a:pt x="230" y="74"/>
                    </a:lnTo>
                    <a:lnTo>
                      <a:pt x="230" y="72"/>
                    </a:lnTo>
                    <a:lnTo>
                      <a:pt x="230" y="70"/>
                    </a:lnTo>
                    <a:lnTo>
                      <a:pt x="232" y="66"/>
                    </a:lnTo>
                    <a:lnTo>
                      <a:pt x="232" y="66"/>
                    </a:lnTo>
                    <a:lnTo>
                      <a:pt x="234" y="66"/>
                    </a:lnTo>
                    <a:lnTo>
                      <a:pt x="236" y="64"/>
                    </a:lnTo>
                    <a:lnTo>
                      <a:pt x="238" y="64"/>
                    </a:lnTo>
                    <a:lnTo>
                      <a:pt x="242" y="64"/>
                    </a:lnTo>
                    <a:lnTo>
                      <a:pt x="246" y="64"/>
                    </a:lnTo>
                    <a:lnTo>
                      <a:pt x="248" y="62"/>
                    </a:lnTo>
                    <a:lnTo>
                      <a:pt x="250" y="62"/>
                    </a:lnTo>
                    <a:lnTo>
                      <a:pt x="250" y="62"/>
                    </a:lnTo>
                    <a:lnTo>
                      <a:pt x="250" y="60"/>
                    </a:lnTo>
                    <a:lnTo>
                      <a:pt x="250" y="60"/>
                    </a:lnTo>
                    <a:lnTo>
                      <a:pt x="250" y="58"/>
                    </a:lnTo>
                    <a:lnTo>
                      <a:pt x="250" y="56"/>
                    </a:lnTo>
                    <a:lnTo>
                      <a:pt x="252" y="52"/>
                    </a:lnTo>
                    <a:lnTo>
                      <a:pt x="252" y="48"/>
                    </a:lnTo>
                    <a:lnTo>
                      <a:pt x="252" y="44"/>
                    </a:lnTo>
                    <a:lnTo>
                      <a:pt x="252" y="42"/>
                    </a:lnTo>
                    <a:lnTo>
                      <a:pt x="252" y="42"/>
                    </a:lnTo>
                    <a:lnTo>
                      <a:pt x="252" y="38"/>
                    </a:lnTo>
                    <a:lnTo>
                      <a:pt x="252" y="34"/>
                    </a:lnTo>
                    <a:lnTo>
                      <a:pt x="250" y="26"/>
                    </a:lnTo>
                    <a:lnTo>
                      <a:pt x="250" y="22"/>
                    </a:lnTo>
                    <a:lnTo>
                      <a:pt x="248" y="18"/>
                    </a:lnTo>
                    <a:lnTo>
                      <a:pt x="248" y="14"/>
                    </a:lnTo>
                    <a:lnTo>
                      <a:pt x="248" y="10"/>
                    </a:lnTo>
                    <a:lnTo>
                      <a:pt x="248" y="10"/>
                    </a:lnTo>
                    <a:lnTo>
                      <a:pt x="244" y="8"/>
                    </a:lnTo>
                    <a:lnTo>
                      <a:pt x="240" y="8"/>
                    </a:lnTo>
                    <a:lnTo>
                      <a:pt x="234" y="6"/>
                    </a:lnTo>
                    <a:lnTo>
                      <a:pt x="230" y="4"/>
                    </a:lnTo>
                    <a:lnTo>
                      <a:pt x="230" y="4"/>
                    </a:lnTo>
                    <a:lnTo>
                      <a:pt x="226" y="4"/>
                    </a:lnTo>
                    <a:lnTo>
                      <a:pt x="220" y="4"/>
                    </a:lnTo>
                    <a:lnTo>
                      <a:pt x="220" y="4"/>
                    </a:lnTo>
                    <a:lnTo>
                      <a:pt x="216" y="4"/>
                    </a:lnTo>
                    <a:lnTo>
                      <a:pt x="214" y="2"/>
                    </a:lnTo>
                    <a:lnTo>
                      <a:pt x="212" y="0"/>
                    </a:lnTo>
                    <a:lnTo>
                      <a:pt x="210" y="0"/>
                    </a:lnTo>
                    <a:lnTo>
                      <a:pt x="210" y="0"/>
                    </a:lnTo>
                    <a:lnTo>
                      <a:pt x="208" y="4"/>
                    </a:lnTo>
                    <a:lnTo>
                      <a:pt x="208" y="6"/>
                    </a:lnTo>
                    <a:lnTo>
                      <a:pt x="206" y="8"/>
                    </a:lnTo>
                    <a:lnTo>
                      <a:pt x="204" y="8"/>
                    </a:lnTo>
                    <a:lnTo>
                      <a:pt x="204" y="8"/>
                    </a:lnTo>
                    <a:lnTo>
                      <a:pt x="204" y="8"/>
                    </a:lnTo>
                    <a:lnTo>
                      <a:pt x="202" y="8"/>
                    </a:lnTo>
                    <a:lnTo>
                      <a:pt x="200" y="8"/>
                    </a:lnTo>
                    <a:lnTo>
                      <a:pt x="198" y="10"/>
                    </a:lnTo>
                    <a:lnTo>
                      <a:pt x="196" y="10"/>
                    </a:lnTo>
                    <a:lnTo>
                      <a:pt x="194" y="10"/>
                    </a:lnTo>
                    <a:lnTo>
                      <a:pt x="194" y="12"/>
                    </a:lnTo>
                    <a:lnTo>
                      <a:pt x="194" y="12"/>
                    </a:lnTo>
                    <a:lnTo>
                      <a:pt x="188" y="14"/>
                    </a:lnTo>
                    <a:lnTo>
                      <a:pt x="184" y="20"/>
                    </a:lnTo>
                    <a:lnTo>
                      <a:pt x="180" y="26"/>
                    </a:lnTo>
                    <a:lnTo>
                      <a:pt x="176" y="30"/>
                    </a:lnTo>
                    <a:lnTo>
                      <a:pt x="176" y="30"/>
                    </a:lnTo>
                    <a:lnTo>
                      <a:pt x="172" y="34"/>
                    </a:lnTo>
                    <a:lnTo>
                      <a:pt x="166" y="38"/>
                    </a:lnTo>
                    <a:lnTo>
                      <a:pt x="164" y="38"/>
                    </a:lnTo>
                    <a:lnTo>
                      <a:pt x="162" y="40"/>
                    </a:lnTo>
                    <a:lnTo>
                      <a:pt x="160" y="42"/>
                    </a:lnTo>
                    <a:lnTo>
                      <a:pt x="158" y="44"/>
                    </a:lnTo>
                    <a:lnTo>
                      <a:pt x="158" y="44"/>
                    </a:lnTo>
                    <a:lnTo>
                      <a:pt x="158" y="48"/>
                    </a:lnTo>
                    <a:lnTo>
                      <a:pt x="156" y="50"/>
                    </a:lnTo>
                    <a:lnTo>
                      <a:pt x="154" y="56"/>
                    </a:lnTo>
                    <a:lnTo>
                      <a:pt x="154" y="60"/>
                    </a:lnTo>
                    <a:lnTo>
                      <a:pt x="152" y="62"/>
                    </a:lnTo>
                    <a:lnTo>
                      <a:pt x="150" y="62"/>
                    </a:lnTo>
                    <a:lnTo>
                      <a:pt x="146" y="64"/>
                    </a:lnTo>
                    <a:lnTo>
                      <a:pt x="146" y="64"/>
                    </a:lnTo>
                    <a:lnTo>
                      <a:pt x="144" y="64"/>
                    </a:lnTo>
                    <a:lnTo>
                      <a:pt x="140" y="66"/>
                    </a:lnTo>
                    <a:lnTo>
                      <a:pt x="136" y="66"/>
                    </a:lnTo>
                    <a:lnTo>
                      <a:pt x="132" y="66"/>
                    </a:lnTo>
                    <a:lnTo>
                      <a:pt x="132" y="66"/>
                    </a:lnTo>
                    <a:lnTo>
                      <a:pt x="128" y="64"/>
                    </a:lnTo>
                    <a:lnTo>
                      <a:pt x="126" y="64"/>
                    </a:lnTo>
                    <a:lnTo>
                      <a:pt x="122" y="60"/>
                    </a:lnTo>
                    <a:lnTo>
                      <a:pt x="122" y="60"/>
                    </a:lnTo>
                    <a:lnTo>
                      <a:pt x="118" y="60"/>
                    </a:lnTo>
                    <a:lnTo>
                      <a:pt x="116" y="58"/>
                    </a:lnTo>
                    <a:lnTo>
                      <a:pt x="114" y="58"/>
                    </a:lnTo>
                    <a:lnTo>
                      <a:pt x="112" y="58"/>
                    </a:lnTo>
                    <a:lnTo>
                      <a:pt x="112" y="58"/>
                    </a:lnTo>
                    <a:lnTo>
                      <a:pt x="110" y="58"/>
                    </a:lnTo>
                    <a:lnTo>
                      <a:pt x="108" y="60"/>
                    </a:lnTo>
                    <a:lnTo>
                      <a:pt x="106" y="62"/>
                    </a:lnTo>
                    <a:lnTo>
                      <a:pt x="104" y="64"/>
                    </a:lnTo>
                    <a:lnTo>
                      <a:pt x="102" y="68"/>
                    </a:lnTo>
                    <a:lnTo>
                      <a:pt x="102" y="70"/>
                    </a:lnTo>
                    <a:lnTo>
                      <a:pt x="102" y="70"/>
                    </a:lnTo>
                    <a:lnTo>
                      <a:pt x="98" y="76"/>
                    </a:lnTo>
                    <a:lnTo>
                      <a:pt x="96" y="78"/>
                    </a:lnTo>
                    <a:lnTo>
                      <a:pt x="94" y="82"/>
                    </a:lnTo>
                    <a:lnTo>
                      <a:pt x="92" y="82"/>
                    </a:lnTo>
                    <a:lnTo>
                      <a:pt x="90" y="86"/>
                    </a:lnTo>
                    <a:lnTo>
                      <a:pt x="88" y="86"/>
                    </a:lnTo>
                    <a:lnTo>
                      <a:pt x="84" y="86"/>
                    </a:lnTo>
                    <a:lnTo>
                      <a:pt x="84" y="86"/>
                    </a:lnTo>
                    <a:lnTo>
                      <a:pt x="82" y="86"/>
                    </a:lnTo>
                    <a:lnTo>
                      <a:pt x="80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6" y="86"/>
                    </a:lnTo>
                    <a:lnTo>
                      <a:pt x="74" y="84"/>
                    </a:lnTo>
                    <a:lnTo>
                      <a:pt x="74" y="80"/>
                    </a:lnTo>
                    <a:lnTo>
                      <a:pt x="74" y="78"/>
                    </a:lnTo>
                    <a:lnTo>
                      <a:pt x="74" y="70"/>
                    </a:lnTo>
                    <a:lnTo>
                      <a:pt x="74" y="70"/>
                    </a:lnTo>
                    <a:lnTo>
                      <a:pt x="74" y="66"/>
                    </a:lnTo>
                    <a:lnTo>
                      <a:pt x="74" y="60"/>
                    </a:lnTo>
                    <a:lnTo>
                      <a:pt x="74" y="58"/>
                    </a:lnTo>
                    <a:lnTo>
                      <a:pt x="74" y="56"/>
                    </a:lnTo>
                    <a:lnTo>
                      <a:pt x="72" y="54"/>
                    </a:lnTo>
                    <a:lnTo>
                      <a:pt x="72" y="50"/>
                    </a:lnTo>
                    <a:lnTo>
                      <a:pt x="72" y="50"/>
                    </a:lnTo>
                    <a:lnTo>
                      <a:pt x="70" y="50"/>
                    </a:lnTo>
                    <a:lnTo>
                      <a:pt x="68" y="48"/>
                    </a:lnTo>
                    <a:lnTo>
                      <a:pt x="66" y="46"/>
                    </a:lnTo>
                    <a:lnTo>
                      <a:pt x="62" y="44"/>
                    </a:lnTo>
                    <a:lnTo>
                      <a:pt x="58" y="42"/>
                    </a:lnTo>
                    <a:lnTo>
                      <a:pt x="58" y="42"/>
                    </a:lnTo>
                    <a:lnTo>
                      <a:pt x="58" y="60"/>
                    </a:lnTo>
                    <a:lnTo>
                      <a:pt x="58" y="60"/>
                    </a:lnTo>
                    <a:lnTo>
                      <a:pt x="56" y="74"/>
                    </a:lnTo>
                    <a:lnTo>
                      <a:pt x="56" y="90"/>
                    </a:lnTo>
                    <a:lnTo>
                      <a:pt x="56" y="90"/>
                    </a:lnTo>
                    <a:lnTo>
                      <a:pt x="54" y="96"/>
                    </a:lnTo>
                    <a:lnTo>
                      <a:pt x="54" y="104"/>
                    </a:lnTo>
                    <a:lnTo>
                      <a:pt x="54" y="106"/>
                    </a:lnTo>
                    <a:lnTo>
                      <a:pt x="52" y="110"/>
                    </a:lnTo>
                    <a:lnTo>
                      <a:pt x="52" y="112"/>
                    </a:lnTo>
                    <a:lnTo>
                      <a:pt x="50" y="114"/>
                    </a:lnTo>
                    <a:lnTo>
                      <a:pt x="50" y="114"/>
                    </a:lnTo>
                    <a:lnTo>
                      <a:pt x="50" y="114"/>
                    </a:lnTo>
                    <a:lnTo>
                      <a:pt x="48" y="116"/>
                    </a:lnTo>
                    <a:lnTo>
                      <a:pt x="46" y="116"/>
                    </a:lnTo>
                    <a:lnTo>
                      <a:pt x="44" y="116"/>
                    </a:lnTo>
                    <a:lnTo>
                      <a:pt x="42" y="116"/>
                    </a:lnTo>
                    <a:lnTo>
                      <a:pt x="42" y="116"/>
                    </a:lnTo>
                    <a:lnTo>
                      <a:pt x="40" y="116"/>
                    </a:lnTo>
                    <a:lnTo>
                      <a:pt x="38" y="116"/>
                    </a:lnTo>
                    <a:lnTo>
                      <a:pt x="36" y="116"/>
                    </a:lnTo>
                    <a:lnTo>
                      <a:pt x="34" y="116"/>
                    </a:lnTo>
                    <a:lnTo>
                      <a:pt x="34" y="116"/>
                    </a:lnTo>
                    <a:lnTo>
                      <a:pt x="30" y="116"/>
                    </a:lnTo>
                    <a:lnTo>
                      <a:pt x="26" y="116"/>
                    </a:lnTo>
                    <a:lnTo>
                      <a:pt x="24" y="114"/>
                    </a:lnTo>
                    <a:lnTo>
                      <a:pt x="22" y="114"/>
                    </a:lnTo>
                    <a:lnTo>
                      <a:pt x="20" y="112"/>
                    </a:lnTo>
                    <a:lnTo>
                      <a:pt x="18" y="110"/>
                    </a:lnTo>
                    <a:lnTo>
                      <a:pt x="18" y="110"/>
                    </a:lnTo>
                    <a:lnTo>
                      <a:pt x="14" y="108"/>
                    </a:lnTo>
                    <a:lnTo>
                      <a:pt x="14" y="106"/>
                    </a:lnTo>
                    <a:lnTo>
                      <a:pt x="12" y="106"/>
                    </a:lnTo>
                    <a:lnTo>
                      <a:pt x="10" y="104"/>
                    </a:lnTo>
                    <a:lnTo>
                      <a:pt x="8" y="104"/>
                    </a:lnTo>
                    <a:lnTo>
                      <a:pt x="6" y="104"/>
                    </a:lnTo>
                    <a:lnTo>
                      <a:pt x="4" y="106"/>
                    </a:lnTo>
                    <a:lnTo>
                      <a:pt x="4" y="106"/>
                    </a:lnTo>
                    <a:lnTo>
                      <a:pt x="2" y="108"/>
                    </a:lnTo>
                    <a:lnTo>
                      <a:pt x="0" y="112"/>
                    </a:lnTo>
                    <a:lnTo>
                      <a:pt x="0" y="112"/>
                    </a:lnTo>
                    <a:lnTo>
                      <a:pt x="2" y="112"/>
                    </a:lnTo>
                    <a:lnTo>
                      <a:pt x="2" y="112"/>
                    </a:lnTo>
                    <a:lnTo>
                      <a:pt x="2" y="114"/>
                    </a:lnTo>
                    <a:lnTo>
                      <a:pt x="4" y="114"/>
                    </a:lnTo>
                    <a:lnTo>
                      <a:pt x="6" y="114"/>
                    </a:lnTo>
                    <a:lnTo>
                      <a:pt x="6" y="114"/>
                    </a:lnTo>
                    <a:lnTo>
                      <a:pt x="6" y="116"/>
                    </a:lnTo>
                    <a:lnTo>
                      <a:pt x="6" y="118"/>
                    </a:lnTo>
                    <a:lnTo>
                      <a:pt x="6" y="118"/>
                    </a:lnTo>
                    <a:lnTo>
                      <a:pt x="6" y="120"/>
                    </a:lnTo>
                    <a:lnTo>
                      <a:pt x="6" y="122"/>
                    </a:lnTo>
                    <a:lnTo>
                      <a:pt x="8" y="126"/>
                    </a:lnTo>
                    <a:lnTo>
                      <a:pt x="8" y="126"/>
                    </a:lnTo>
                    <a:lnTo>
                      <a:pt x="8" y="132"/>
                    </a:lnTo>
                    <a:lnTo>
                      <a:pt x="10" y="136"/>
                    </a:lnTo>
                    <a:lnTo>
                      <a:pt x="10" y="136"/>
                    </a:lnTo>
                    <a:lnTo>
                      <a:pt x="10" y="140"/>
                    </a:lnTo>
                    <a:lnTo>
                      <a:pt x="10" y="142"/>
                    </a:lnTo>
                    <a:lnTo>
                      <a:pt x="12" y="146"/>
                    </a:lnTo>
                    <a:lnTo>
                      <a:pt x="12" y="148"/>
                    </a:lnTo>
                    <a:lnTo>
                      <a:pt x="12" y="148"/>
                    </a:lnTo>
                    <a:lnTo>
                      <a:pt x="14" y="150"/>
                    </a:lnTo>
                    <a:lnTo>
                      <a:pt x="16" y="150"/>
                    </a:lnTo>
                    <a:lnTo>
                      <a:pt x="18" y="154"/>
                    </a:lnTo>
                    <a:lnTo>
                      <a:pt x="18" y="154"/>
                    </a:lnTo>
                    <a:lnTo>
                      <a:pt x="20" y="156"/>
                    </a:lnTo>
                    <a:lnTo>
                      <a:pt x="22" y="156"/>
                    </a:lnTo>
                    <a:lnTo>
                      <a:pt x="22" y="156"/>
                    </a:lnTo>
                    <a:lnTo>
                      <a:pt x="24" y="160"/>
                    </a:lnTo>
                    <a:lnTo>
                      <a:pt x="26" y="162"/>
                    </a:lnTo>
                    <a:lnTo>
                      <a:pt x="26" y="164"/>
                    </a:lnTo>
                    <a:lnTo>
                      <a:pt x="26" y="166"/>
                    </a:lnTo>
                    <a:lnTo>
                      <a:pt x="26" y="166"/>
                    </a:lnTo>
                    <a:lnTo>
                      <a:pt x="28" y="172"/>
                    </a:lnTo>
                    <a:lnTo>
                      <a:pt x="28" y="174"/>
                    </a:lnTo>
                    <a:lnTo>
                      <a:pt x="26" y="178"/>
                    </a:lnTo>
                    <a:lnTo>
                      <a:pt x="26" y="178"/>
                    </a:lnTo>
                    <a:lnTo>
                      <a:pt x="26" y="180"/>
                    </a:lnTo>
                    <a:lnTo>
                      <a:pt x="24" y="182"/>
                    </a:lnTo>
                    <a:lnTo>
                      <a:pt x="24" y="184"/>
                    </a:lnTo>
                    <a:lnTo>
                      <a:pt x="22" y="186"/>
                    </a:lnTo>
                    <a:lnTo>
                      <a:pt x="22" y="186"/>
                    </a:lnTo>
                    <a:lnTo>
                      <a:pt x="22" y="190"/>
                    </a:lnTo>
                    <a:lnTo>
                      <a:pt x="22" y="192"/>
                    </a:lnTo>
                    <a:lnTo>
                      <a:pt x="22" y="194"/>
                    </a:lnTo>
                    <a:lnTo>
                      <a:pt x="24" y="196"/>
                    </a:lnTo>
                    <a:lnTo>
                      <a:pt x="24" y="196"/>
                    </a:lnTo>
                    <a:lnTo>
                      <a:pt x="24" y="198"/>
                    </a:lnTo>
                    <a:lnTo>
                      <a:pt x="28" y="200"/>
                    </a:lnTo>
                    <a:lnTo>
                      <a:pt x="30" y="202"/>
                    </a:lnTo>
                    <a:lnTo>
                      <a:pt x="30" y="204"/>
                    </a:lnTo>
                    <a:lnTo>
                      <a:pt x="32" y="204"/>
                    </a:lnTo>
                    <a:lnTo>
                      <a:pt x="32" y="204"/>
                    </a:lnTo>
                    <a:lnTo>
                      <a:pt x="32" y="206"/>
                    </a:lnTo>
                    <a:lnTo>
                      <a:pt x="32" y="206"/>
                    </a:lnTo>
                    <a:lnTo>
                      <a:pt x="30" y="210"/>
                    </a:lnTo>
                    <a:lnTo>
                      <a:pt x="30" y="212"/>
                    </a:lnTo>
                    <a:lnTo>
                      <a:pt x="30" y="212"/>
                    </a:lnTo>
                    <a:lnTo>
                      <a:pt x="30" y="214"/>
                    </a:lnTo>
                    <a:lnTo>
                      <a:pt x="30" y="214"/>
                    </a:lnTo>
                    <a:lnTo>
                      <a:pt x="30" y="216"/>
                    </a:lnTo>
                    <a:lnTo>
                      <a:pt x="32" y="216"/>
                    </a:lnTo>
                    <a:lnTo>
                      <a:pt x="34" y="218"/>
                    </a:lnTo>
                    <a:lnTo>
                      <a:pt x="34" y="218"/>
                    </a:lnTo>
                    <a:lnTo>
                      <a:pt x="36" y="218"/>
                    </a:lnTo>
                    <a:lnTo>
                      <a:pt x="36" y="218"/>
                    </a:lnTo>
                    <a:lnTo>
                      <a:pt x="36" y="218"/>
                    </a:lnTo>
                    <a:lnTo>
                      <a:pt x="38" y="218"/>
                    </a:lnTo>
                    <a:lnTo>
                      <a:pt x="38" y="218"/>
                    </a:lnTo>
                    <a:lnTo>
                      <a:pt x="40" y="218"/>
                    </a:lnTo>
                    <a:lnTo>
                      <a:pt x="40" y="218"/>
                    </a:lnTo>
                    <a:lnTo>
                      <a:pt x="40" y="220"/>
                    </a:lnTo>
                    <a:lnTo>
                      <a:pt x="40" y="220"/>
                    </a:lnTo>
                    <a:lnTo>
                      <a:pt x="42" y="224"/>
                    </a:lnTo>
                    <a:lnTo>
                      <a:pt x="42" y="224"/>
                    </a:lnTo>
                    <a:lnTo>
                      <a:pt x="42" y="224"/>
                    </a:lnTo>
                    <a:lnTo>
                      <a:pt x="42" y="224"/>
                    </a:lnTo>
                    <a:lnTo>
                      <a:pt x="44" y="226"/>
                    </a:lnTo>
                    <a:lnTo>
                      <a:pt x="46" y="226"/>
                    </a:lnTo>
                    <a:lnTo>
                      <a:pt x="48" y="226"/>
                    </a:lnTo>
                    <a:lnTo>
                      <a:pt x="48" y="226"/>
                    </a:lnTo>
                    <a:lnTo>
                      <a:pt x="50" y="228"/>
                    </a:lnTo>
                    <a:lnTo>
                      <a:pt x="54" y="228"/>
                    </a:lnTo>
                    <a:lnTo>
                      <a:pt x="54" y="228"/>
                    </a:lnTo>
                    <a:lnTo>
                      <a:pt x="56" y="230"/>
                    </a:lnTo>
                    <a:lnTo>
                      <a:pt x="56" y="230"/>
                    </a:lnTo>
                    <a:lnTo>
                      <a:pt x="58" y="230"/>
                    </a:lnTo>
                    <a:lnTo>
                      <a:pt x="58" y="230"/>
                    </a:lnTo>
                    <a:lnTo>
                      <a:pt x="60" y="230"/>
                    </a:lnTo>
                    <a:lnTo>
                      <a:pt x="60" y="230"/>
                    </a:lnTo>
                    <a:lnTo>
                      <a:pt x="60" y="230"/>
                    </a:lnTo>
                    <a:lnTo>
                      <a:pt x="60" y="228"/>
                    </a:lnTo>
                    <a:lnTo>
                      <a:pt x="60" y="228"/>
                    </a:lnTo>
                    <a:lnTo>
                      <a:pt x="62" y="228"/>
                    </a:lnTo>
                    <a:lnTo>
                      <a:pt x="64" y="226"/>
                    </a:lnTo>
                    <a:lnTo>
                      <a:pt x="66" y="226"/>
                    </a:lnTo>
                    <a:lnTo>
                      <a:pt x="68" y="226"/>
                    </a:lnTo>
                    <a:lnTo>
                      <a:pt x="68" y="226"/>
                    </a:lnTo>
                    <a:lnTo>
                      <a:pt x="70" y="224"/>
                    </a:lnTo>
                    <a:lnTo>
                      <a:pt x="74" y="224"/>
                    </a:lnTo>
                    <a:lnTo>
                      <a:pt x="76" y="222"/>
                    </a:lnTo>
                    <a:lnTo>
                      <a:pt x="78" y="220"/>
                    </a:lnTo>
                    <a:lnTo>
                      <a:pt x="80" y="218"/>
                    </a:lnTo>
                    <a:lnTo>
                      <a:pt x="82" y="218"/>
                    </a:lnTo>
                    <a:lnTo>
                      <a:pt x="84" y="216"/>
                    </a:lnTo>
                    <a:lnTo>
                      <a:pt x="86" y="216"/>
                    </a:lnTo>
                    <a:lnTo>
                      <a:pt x="86" y="216"/>
                    </a:lnTo>
                    <a:lnTo>
                      <a:pt x="88" y="216"/>
                    </a:lnTo>
                    <a:lnTo>
                      <a:pt x="90" y="216"/>
                    </a:lnTo>
                    <a:lnTo>
                      <a:pt x="94" y="216"/>
                    </a:lnTo>
                    <a:lnTo>
                      <a:pt x="96" y="216"/>
                    </a:lnTo>
                    <a:lnTo>
                      <a:pt x="96" y="216"/>
                    </a:lnTo>
                    <a:lnTo>
                      <a:pt x="100" y="214"/>
                    </a:lnTo>
                    <a:lnTo>
                      <a:pt x="104" y="214"/>
                    </a:lnTo>
                    <a:lnTo>
                      <a:pt x="106" y="214"/>
                    </a:lnTo>
                    <a:lnTo>
                      <a:pt x="106" y="214"/>
                    </a:lnTo>
                    <a:lnTo>
                      <a:pt x="110" y="214"/>
                    </a:lnTo>
                    <a:lnTo>
                      <a:pt x="114" y="216"/>
                    </a:lnTo>
                    <a:lnTo>
                      <a:pt x="114" y="216"/>
                    </a:lnTo>
                    <a:lnTo>
                      <a:pt x="116" y="216"/>
                    </a:lnTo>
                    <a:lnTo>
                      <a:pt x="118" y="216"/>
                    </a:lnTo>
                    <a:lnTo>
                      <a:pt x="118" y="216"/>
                    </a:lnTo>
                    <a:lnTo>
                      <a:pt x="122" y="216"/>
                    </a:lnTo>
                    <a:lnTo>
                      <a:pt x="124" y="214"/>
                    </a:lnTo>
                    <a:lnTo>
                      <a:pt x="128" y="212"/>
                    </a:lnTo>
                    <a:lnTo>
                      <a:pt x="128" y="212"/>
                    </a:lnTo>
                    <a:lnTo>
                      <a:pt x="128" y="212"/>
                    </a:lnTo>
                    <a:lnTo>
                      <a:pt x="128" y="212"/>
                    </a:lnTo>
                    <a:lnTo>
                      <a:pt x="128" y="212"/>
                    </a:lnTo>
                    <a:lnTo>
                      <a:pt x="130" y="212"/>
                    </a:lnTo>
                    <a:lnTo>
                      <a:pt x="130" y="212"/>
                    </a:lnTo>
                    <a:lnTo>
                      <a:pt x="132" y="212"/>
                    </a:lnTo>
                    <a:lnTo>
                      <a:pt x="132" y="212"/>
                    </a:lnTo>
                    <a:lnTo>
                      <a:pt x="134" y="214"/>
                    </a:lnTo>
                    <a:lnTo>
                      <a:pt x="134" y="214"/>
                    </a:lnTo>
                    <a:lnTo>
                      <a:pt x="134" y="214"/>
                    </a:lnTo>
                    <a:lnTo>
                      <a:pt x="134" y="214"/>
                    </a:lnTo>
                    <a:lnTo>
                      <a:pt x="136" y="214"/>
                    </a:lnTo>
                    <a:lnTo>
                      <a:pt x="138" y="214"/>
                    </a:lnTo>
                    <a:lnTo>
                      <a:pt x="140" y="212"/>
                    </a:lnTo>
                    <a:lnTo>
                      <a:pt x="140" y="212"/>
                    </a:lnTo>
                    <a:lnTo>
                      <a:pt x="140" y="210"/>
                    </a:lnTo>
                    <a:lnTo>
                      <a:pt x="142" y="210"/>
                    </a:lnTo>
                    <a:lnTo>
                      <a:pt x="144" y="210"/>
                    </a:lnTo>
                    <a:lnTo>
                      <a:pt x="144" y="210"/>
                    </a:lnTo>
                    <a:lnTo>
                      <a:pt x="146" y="208"/>
                    </a:lnTo>
                    <a:lnTo>
                      <a:pt x="148" y="208"/>
                    </a:lnTo>
                    <a:lnTo>
                      <a:pt x="148" y="208"/>
                    </a:lnTo>
                    <a:lnTo>
                      <a:pt x="150" y="208"/>
                    </a:lnTo>
                    <a:lnTo>
                      <a:pt x="150" y="208"/>
                    </a:lnTo>
                    <a:lnTo>
                      <a:pt x="150" y="208"/>
                    </a:lnTo>
                    <a:lnTo>
                      <a:pt x="152" y="208"/>
                    </a:lnTo>
                    <a:lnTo>
                      <a:pt x="154" y="210"/>
                    </a:lnTo>
                    <a:lnTo>
                      <a:pt x="154" y="210"/>
                    </a:lnTo>
                    <a:lnTo>
                      <a:pt x="156" y="210"/>
                    </a:lnTo>
                    <a:lnTo>
                      <a:pt x="156" y="210"/>
                    </a:lnTo>
                    <a:lnTo>
                      <a:pt x="158" y="210"/>
                    </a:lnTo>
                    <a:lnTo>
                      <a:pt x="160" y="208"/>
                    </a:lnTo>
                    <a:lnTo>
                      <a:pt x="162" y="206"/>
                    </a:lnTo>
                    <a:lnTo>
                      <a:pt x="162" y="206"/>
                    </a:lnTo>
                    <a:lnTo>
                      <a:pt x="164" y="206"/>
                    </a:lnTo>
                    <a:lnTo>
                      <a:pt x="166" y="204"/>
                    </a:lnTo>
                    <a:lnTo>
                      <a:pt x="166" y="204"/>
                    </a:lnTo>
                    <a:lnTo>
                      <a:pt x="168" y="204"/>
                    </a:lnTo>
                    <a:lnTo>
                      <a:pt x="170" y="202"/>
                    </a:lnTo>
                    <a:lnTo>
                      <a:pt x="172" y="200"/>
                    </a:lnTo>
                    <a:lnTo>
                      <a:pt x="174" y="200"/>
                    </a:lnTo>
                    <a:lnTo>
                      <a:pt x="174" y="200"/>
                    </a:lnTo>
                    <a:lnTo>
                      <a:pt x="176" y="198"/>
                    </a:lnTo>
                    <a:lnTo>
                      <a:pt x="178" y="196"/>
                    </a:lnTo>
                    <a:lnTo>
                      <a:pt x="178" y="196"/>
                    </a:lnTo>
                    <a:lnTo>
                      <a:pt x="178" y="194"/>
                    </a:lnTo>
                    <a:lnTo>
                      <a:pt x="180" y="192"/>
                    </a:lnTo>
                    <a:lnTo>
                      <a:pt x="184" y="188"/>
                    </a:lnTo>
                    <a:lnTo>
                      <a:pt x="184" y="188"/>
                    </a:lnTo>
                    <a:lnTo>
                      <a:pt x="188" y="184"/>
                    </a:lnTo>
                    <a:lnTo>
                      <a:pt x="192" y="180"/>
                    </a:lnTo>
                    <a:lnTo>
                      <a:pt x="196" y="176"/>
                    </a:lnTo>
                    <a:lnTo>
                      <a:pt x="198" y="172"/>
                    </a:lnTo>
                    <a:lnTo>
                      <a:pt x="198" y="172"/>
                    </a:lnTo>
                    <a:lnTo>
                      <a:pt x="200" y="170"/>
                    </a:lnTo>
                    <a:lnTo>
                      <a:pt x="202" y="168"/>
                    </a:lnTo>
                    <a:lnTo>
                      <a:pt x="206" y="164"/>
                    </a:lnTo>
                    <a:lnTo>
                      <a:pt x="210" y="162"/>
                    </a:lnTo>
                    <a:lnTo>
                      <a:pt x="216" y="158"/>
                    </a:lnTo>
                    <a:lnTo>
                      <a:pt x="216" y="158"/>
                    </a:lnTo>
                    <a:lnTo>
                      <a:pt x="224" y="152"/>
                    </a:lnTo>
                    <a:lnTo>
                      <a:pt x="224" y="152"/>
                    </a:lnTo>
                    <a:lnTo>
                      <a:pt x="226" y="150"/>
                    </a:lnTo>
                    <a:lnTo>
                      <a:pt x="226" y="148"/>
                    </a:lnTo>
                    <a:lnTo>
                      <a:pt x="228" y="142"/>
                    </a:lnTo>
                    <a:lnTo>
                      <a:pt x="228" y="142"/>
                    </a:lnTo>
                    <a:lnTo>
                      <a:pt x="230" y="138"/>
                    </a:lnTo>
                    <a:lnTo>
                      <a:pt x="234" y="132"/>
                    </a:lnTo>
                    <a:lnTo>
                      <a:pt x="234" y="132"/>
                    </a:lnTo>
                    <a:lnTo>
                      <a:pt x="238" y="128"/>
                    </a:lnTo>
                    <a:lnTo>
                      <a:pt x="240" y="126"/>
                    </a:lnTo>
                    <a:lnTo>
                      <a:pt x="242" y="124"/>
                    </a:lnTo>
                    <a:lnTo>
                      <a:pt x="242" y="124"/>
                    </a:lnTo>
                    <a:lnTo>
                      <a:pt x="246" y="120"/>
                    </a:lnTo>
                    <a:lnTo>
                      <a:pt x="250" y="116"/>
                    </a:lnTo>
                    <a:lnTo>
                      <a:pt x="252" y="112"/>
                    </a:lnTo>
                    <a:lnTo>
                      <a:pt x="256" y="110"/>
                    </a:lnTo>
                    <a:lnTo>
                      <a:pt x="256" y="110"/>
                    </a:lnTo>
                    <a:lnTo>
                      <a:pt x="258" y="106"/>
                    </a:lnTo>
                    <a:lnTo>
                      <a:pt x="258" y="104"/>
                    </a:lnTo>
                    <a:lnTo>
                      <a:pt x="260" y="102"/>
                    </a:lnTo>
                    <a:lnTo>
                      <a:pt x="260" y="98"/>
                    </a:lnTo>
                    <a:lnTo>
                      <a:pt x="260" y="98"/>
                    </a:lnTo>
                    <a:lnTo>
                      <a:pt x="260" y="92"/>
                    </a:lnTo>
                    <a:lnTo>
                      <a:pt x="260" y="92"/>
                    </a:lnTo>
                    <a:lnTo>
                      <a:pt x="262" y="82"/>
                    </a:lnTo>
                    <a:lnTo>
                      <a:pt x="262" y="82"/>
                    </a:lnTo>
                    <a:lnTo>
                      <a:pt x="262" y="82"/>
                    </a:lnTo>
                    <a:lnTo>
                      <a:pt x="260" y="82"/>
                    </a:lnTo>
                    <a:lnTo>
                      <a:pt x="260" y="82"/>
                    </a:lnTo>
                    <a:lnTo>
                      <a:pt x="256" y="86"/>
                    </a:lnTo>
                    <a:lnTo>
                      <a:pt x="252" y="86"/>
                    </a:lnTo>
                    <a:lnTo>
                      <a:pt x="250" y="90"/>
                    </a:lnTo>
                    <a:lnTo>
                      <a:pt x="250" y="90"/>
                    </a:lnTo>
                    <a:lnTo>
                      <a:pt x="250" y="90"/>
                    </a:lnTo>
                    <a:lnTo>
                      <a:pt x="250" y="90"/>
                    </a:lnTo>
                    <a:lnTo>
                      <a:pt x="250" y="90"/>
                    </a:lnTo>
                    <a:close/>
                    <a:moveTo>
                      <a:pt x="208" y="132"/>
                    </a:moveTo>
                    <a:lnTo>
                      <a:pt x="208" y="132"/>
                    </a:lnTo>
                    <a:lnTo>
                      <a:pt x="206" y="134"/>
                    </a:lnTo>
                    <a:lnTo>
                      <a:pt x="204" y="136"/>
                    </a:lnTo>
                    <a:lnTo>
                      <a:pt x="204" y="136"/>
                    </a:lnTo>
                    <a:lnTo>
                      <a:pt x="202" y="138"/>
                    </a:lnTo>
                    <a:lnTo>
                      <a:pt x="198" y="138"/>
                    </a:lnTo>
                    <a:lnTo>
                      <a:pt x="196" y="138"/>
                    </a:lnTo>
                    <a:lnTo>
                      <a:pt x="194" y="138"/>
                    </a:lnTo>
                    <a:lnTo>
                      <a:pt x="194" y="138"/>
                    </a:lnTo>
                    <a:lnTo>
                      <a:pt x="192" y="140"/>
                    </a:lnTo>
                    <a:lnTo>
                      <a:pt x="190" y="142"/>
                    </a:lnTo>
                    <a:lnTo>
                      <a:pt x="186" y="144"/>
                    </a:lnTo>
                    <a:lnTo>
                      <a:pt x="182" y="146"/>
                    </a:lnTo>
                    <a:lnTo>
                      <a:pt x="180" y="146"/>
                    </a:lnTo>
                    <a:lnTo>
                      <a:pt x="178" y="146"/>
                    </a:lnTo>
                    <a:lnTo>
                      <a:pt x="176" y="146"/>
                    </a:lnTo>
                    <a:lnTo>
                      <a:pt x="176" y="146"/>
                    </a:lnTo>
                    <a:lnTo>
                      <a:pt x="174" y="144"/>
                    </a:lnTo>
                    <a:lnTo>
                      <a:pt x="172" y="144"/>
                    </a:lnTo>
                    <a:lnTo>
                      <a:pt x="170" y="142"/>
                    </a:lnTo>
                    <a:lnTo>
                      <a:pt x="170" y="140"/>
                    </a:lnTo>
                    <a:lnTo>
                      <a:pt x="170" y="140"/>
                    </a:lnTo>
                    <a:lnTo>
                      <a:pt x="170" y="136"/>
                    </a:lnTo>
                    <a:lnTo>
                      <a:pt x="170" y="134"/>
                    </a:lnTo>
                    <a:lnTo>
                      <a:pt x="170" y="134"/>
                    </a:lnTo>
                    <a:lnTo>
                      <a:pt x="168" y="132"/>
                    </a:lnTo>
                    <a:lnTo>
                      <a:pt x="168" y="130"/>
                    </a:lnTo>
                    <a:lnTo>
                      <a:pt x="168" y="130"/>
                    </a:lnTo>
                    <a:lnTo>
                      <a:pt x="168" y="128"/>
                    </a:lnTo>
                    <a:lnTo>
                      <a:pt x="168" y="128"/>
                    </a:lnTo>
                    <a:lnTo>
                      <a:pt x="168" y="126"/>
                    </a:lnTo>
                    <a:lnTo>
                      <a:pt x="168" y="126"/>
                    </a:lnTo>
                    <a:lnTo>
                      <a:pt x="170" y="124"/>
                    </a:lnTo>
                    <a:lnTo>
                      <a:pt x="172" y="122"/>
                    </a:lnTo>
                    <a:lnTo>
                      <a:pt x="178" y="120"/>
                    </a:lnTo>
                    <a:lnTo>
                      <a:pt x="180" y="118"/>
                    </a:lnTo>
                    <a:lnTo>
                      <a:pt x="182" y="116"/>
                    </a:lnTo>
                    <a:lnTo>
                      <a:pt x="182" y="116"/>
                    </a:lnTo>
                    <a:lnTo>
                      <a:pt x="184" y="114"/>
                    </a:lnTo>
                    <a:lnTo>
                      <a:pt x="186" y="114"/>
                    </a:lnTo>
                    <a:lnTo>
                      <a:pt x="188" y="112"/>
                    </a:lnTo>
                    <a:lnTo>
                      <a:pt x="192" y="112"/>
                    </a:lnTo>
                    <a:lnTo>
                      <a:pt x="194" y="112"/>
                    </a:lnTo>
                    <a:lnTo>
                      <a:pt x="196" y="114"/>
                    </a:lnTo>
                    <a:lnTo>
                      <a:pt x="200" y="114"/>
                    </a:lnTo>
                    <a:lnTo>
                      <a:pt x="200" y="116"/>
                    </a:lnTo>
                    <a:lnTo>
                      <a:pt x="200" y="116"/>
                    </a:lnTo>
                    <a:lnTo>
                      <a:pt x="200" y="116"/>
                    </a:lnTo>
                    <a:lnTo>
                      <a:pt x="202" y="120"/>
                    </a:lnTo>
                    <a:lnTo>
                      <a:pt x="202" y="122"/>
                    </a:lnTo>
                    <a:lnTo>
                      <a:pt x="202" y="122"/>
                    </a:lnTo>
                    <a:lnTo>
                      <a:pt x="202" y="124"/>
                    </a:lnTo>
                    <a:lnTo>
                      <a:pt x="202" y="124"/>
                    </a:lnTo>
                    <a:lnTo>
                      <a:pt x="204" y="124"/>
                    </a:lnTo>
                    <a:lnTo>
                      <a:pt x="206" y="124"/>
                    </a:lnTo>
                    <a:lnTo>
                      <a:pt x="208" y="124"/>
                    </a:lnTo>
                    <a:lnTo>
                      <a:pt x="208" y="126"/>
                    </a:lnTo>
                    <a:lnTo>
                      <a:pt x="210" y="126"/>
                    </a:lnTo>
                    <a:lnTo>
                      <a:pt x="210" y="128"/>
                    </a:lnTo>
                    <a:lnTo>
                      <a:pt x="208" y="130"/>
                    </a:lnTo>
                    <a:lnTo>
                      <a:pt x="208" y="132"/>
                    </a:lnTo>
                    <a:lnTo>
                      <a:pt x="208" y="132"/>
                    </a:lnTo>
                    <a:lnTo>
                      <a:pt x="208" y="132"/>
                    </a:lnTo>
                    <a:lnTo>
                      <a:pt x="208" y="132"/>
                    </a:lnTo>
                    <a:lnTo>
                      <a:pt x="208" y="13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54" name="Freeform 692"/>
              <p:cNvSpPr>
                <a:spLocks/>
              </p:cNvSpPr>
              <p:nvPr/>
            </p:nvSpPr>
            <p:spPr bwMode="auto">
              <a:xfrm>
                <a:off x="3133" y="3302"/>
                <a:ext cx="42" cy="34"/>
              </a:xfrm>
              <a:custGeom>
                <a:avLst/>
                <a:gdLst>
                  <a:gd name="T0" fmla="*/ 34 w 42"/>
                  <a:gd name="T1" fmla="*/ 12 h 34"/>
                  <a:gd name="T2" fmla="*/ 34 w 42"/>
                  <a:gd name="T3" fmla="*/ 10 h 34"/>
                  <a:gd name="T4" fmla="*/ 32 w 42"/>
                  <a:gd name="T5" fmla="*/ 4 h 34"/>
                  <a:gd name="T6" fmla="*/ 32 w 42"/>
                  <a:gd name="T7" fmla="*/ 4 h 34"/>
                  <a:gd name="T8" fmla="*/ 28 w 42"/>
                  <a:gd name="T9" fmla="*/ 0 h 34"/>
                  <a:gd name="T10" fmla="*/ 24 w 42"/>
                  <a:gd name="T11" fmla="*/ 0 h 34"/>
                  <a:gd name="T12" fmla="*/ 18 w 42"/>
                  <a:gd name="T13" fmla="*/ 2 h 34"/>
                  <a:gd name="T14" fmla="*/ 14 w 42"/>
                  <a:gd name="T15" fmla="*/ 4 h 34"/>
                  <a:gd name="T16" fmla="*/ 12 w 42"/>
                  <a:gd name="T17" fmla="*/ 6 h 34"/>
                  <a:gd name="T18" fmla="*/ 4 w 42"/>
                  <a:gd name="T19" fmla="*/ 10 h 34"/>
                  <a:gd name="T20" fmla="*/ 0 w 42"/>
                  <a:gd name="T21" fmla="*/ 14 h 34"/>
                  <a:gd name="T22" fmla="*/ 0 w 42"/>
                  <a:gd name="T23" fmla="*/ 16 h 34"/>
                  <a:gd name="T24" fmla="*/ 0 w 42"/>
                  <a:gd name="T25" fmla="*/ 18 h 34"/>
                  <a:gd name="T26" fmla="*/ 0 w 42"/>
                  <a:gd name="T27" fmla="*/ 20 h 34"/>
                  <a:gd name="T28" fmla="*/ 2 w 42"/>
                  <a:gd name="T29" fmla="*/ 22 h 34"/>
                  <a:gd name="T30" fmla="*/ 2 w 42"/>
                  <a:gd name="T31" fmla="*/ 28 h 34"/>
                  <a:gd name="T32" fmla="*/ 2 w 42"/>
                  <a:gd name="T33" fmla="*/ 30 h 34"/>
                  <a:gd name="T34" fmla="*/ 6 w 42"/>
                  <a:gd name="T35" fmla="*/ 32 h 34"/>
                  <a:gd name="T36" fmla="*/ 8 w 42"/>
                  <a:gd name="T37" fmla="*/ 34 h 34"/>
                  <a:gd name="T38" fmla="*/ 12 w 42"/>
                  <a:gd name="T39" fmla="*/ 34 h 34"/>
                  <a:gd name="T40" fmla="*/ 18 w 42"/>
                  <a:gd name="T41" fmla="*/ 32 h 34"/>
                  <a:gd name="T42" fmla="*/ 24 w 42"/>
                  <a:gd name="T43" fmla="*/ 28 h 34"/>
                  <a:gd name="T44" fmla="*/ 26 w 42"/>
                  <a:gd name="T45" fmla="*/ 26 h 34"/>
                  <a:gd name="T46" fmla="*/ 30 w 42"/>
                  <a:gd name="T47" fmla="*/ 26 h 34"/>
                  <a:gd name="T48" fmla="*/ 36 w 42"/>
                  <a:gd name="T49" fmla="*/ 24 h 34"/>
                  <a:gd name="T50" fmla="*/ 38 w 42"/>
                  <a:gd name="T51" fmla="*/ 22 h 34"/>
                  <a:gd name="T52" fmla="*/ 40 w 42"/>
                  <a:gd name="T53" fmla="*/ 20 h 34"/>
                  <a:gd name="T54" fmla="*/ 42 w 42"/>
                  <a:gd name="T55" fmla="*/ 16 h 34"/>
                  <a:gd name="T56" fmla="*/ 40 w 42"/>
                  <a:gd name="T57" fmla="*/ 14 h 34"/>
                  <a:gd name="T58" fmla="*/ 38 w 42"/>
                  <a:gd name="T59" fmla="*/ 12 h 34"/>
                  <a:gd name="T60" fmla="*/ 34 w 42"/>
                  <a:gd name="T61" fmla="*/ 12 h 34"/>
                  <a:gd name="T62" fmla="*/ 34 w 42"/>
                  <a:gd name="T63" fmla="*/ 12 h 34"/>
                  <a:gd name="T64" fmla="*/ 34 w 42"/>
                  <a:gd name="T65" fmla="*/ 1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2" h="34">
                    <a:moveTo>
                      <a:pt x="34" y="12"/>
                    </a:moveTo>
                    <a:lnTo>
                      <a:pt x="34" y="12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8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0" y="2"/>
                    </a:lnTo>
                    <a:lnTo>
                      <a:pt x="28" y="0"/>
                    </a:lnTo>
                    <a:lnTo>
                      <a:pt x="26" y="0"/>
                    </a:lnTo>
                    <a:lnTo>
                      <a:pt x="24" y="0"/>
                    </a:lnTo>
                    <a:lnTo>
                      <a:pt x="20" y="0"/>
                    </a:lnTo>
                    <a:lnTo>
                      <a:pt x="18" y="2"/>
                    </a:lnTo>
                    <a:lnTo>
                      <a:pt x="16" y="2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2" y="6"/>
                    </a:lnTo>
                    <a:lnTo>
                      <a:pt x="10" y="8"/>
                    </a:lnTo>
                    <a:lnTo>
                      <a:pt x="4" y="10"/>
                    </a:lnTo>
                    <a:lnTo>
                      <a:pt x="2" y="12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20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4"/>
                    </a:lnTo>
                    <a:lnTo>
                      <a:pt x="2" y="28"/>
                    </a:lnTo>
                    <a:lnTo>
                      <a:pt x="2" y="28"/>
                    </a:lnTo>
                    <a:lnTo>
                      <a:pt x="2" y="30"/>
                    </a:lnTo>
                    <a:lnTo>
                      <a:pt x="4" y="32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10" y="34"/>
                    </a:lnTo>
                    <a:lnTo>
                      <a:pt x="12" y="34"/>
                    </a:lnTo>
                    <a:lnTo>
                      <a:pt x="14" y="34"/>
                    </a:lnTo>
                    <a:lnTo>
                      <a:pt x="18" y="32"/>
                    </a:lnTo>
                    <a:lnTo>
                      <a:pt x="22" y="30"/>
                    </a:lnTo>
                    <a:lnTo>
                      <a:pt x="24" y="28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8" y="26"/>
                    </a:lnTo>
                    <a:lnTo>
                      <a:pt x="30" y="26"/>
                    </a:lnTo>
                    <a:lnTo>
                      <a:pt x="34" y="26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8" y="22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40" y="18"/>
                    </a:lnTo>
                    <a:lnTo>
                      <a:pt x="42" y="16"/>
                    </a:lnTo>
                    <a:lnTo>
                      <a:pt x="42" y="14"/>
                    </a:lnTo>
                    <a:lnTo>
                      <a:pt x="40" y="14"/>
                    </a:lnTo>
                    <a:lnTo>
                      <a:pt x="40" y="12"/>
                    </a:lnTo>
                    <a:lnTo>
                      <a:pt x="38" y="12"/>
                    </a:lnTo>
                    <a:lnTo>
                      <a:pt x="36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55" name="Freeform 694"/>
              <p:cNvSpPr>
                <a:spLocks/>
              </p:cNvSpPr>
              <p:nvPr/>
            </p:nvSpPr>
            <p:spPr bwMode="auto">
              <a:xfrm>
                <a:off x="3397" y="3028"/>
                <a:ext cx="126" cy="228"/>
              </a:xfrm>
              <a:custGeom>
                <a:avLst/>
                <a:gdLst>
                  <a:gd name="T0" fmla="*/ 98 w 126"/>
                  <a:gd name="T1" fmla="*/ 8 h 228"/>
                  <a:gd name="T2" fmla="*/ 96 w 126"/>
                  <a:gd name="T3" fmla="*/ 18 h 228"/>
                  <a:gd name="T4" fmla="*/ 88 w 126"/>
                  <a:gd name="T5" fmla="*/ 26 h 228"/>
                  <a:gd name="T6" fmla="*/ 86 w 126"/>
                  <a:gd name="T7" fmla="*/ 26 h 228"/>
                  <a:gd name="T8" fmla="*/ 82 w 126"/>
                  <a:gd name="T9" fmla="*/ 38 h 228"/>
                  <a:gd name="T10" fmla="*/ 78 w 126"/>
                  <a:gd name="T11" fmla="*/ 38 h 228"/>
                  <a:gd name="T12" fmla="*/ 74 w 126"/>
                  <a:gd name="T13" fmla="*/ 40 h 228"/>
                  <a:gd name="T14" fmla="*/ 72 w 126"/>
                  <a:gd name="T15" fmla="*/ 48 h 228"/>
                  <a:gd name="T16" fmla="*/ 70 w 126"/>
                  <a:gd name="T17" fmla="*/ 52 h 228"/>
                  <a:gd name="T18" fmla="*/ 68 w 126"/>
                  <a:gd name="T19" fmla="*/ 48 h 228"/>
                  <a:gd name="T20" fmla="*/ 62 w 126"/>
                  <a:gd name="T21" fmla="*/ 56 h 228"/>
                  <a:gd name="T22" fmla="*/ 52 w 126"/>
                  <a:gd name="T23" fmla="*/ 58 h 228"/>
                  <a:gd name="T24" fmla="*/ 32 w 126"/>
                  <a:gd name="T25" fmla="*/ 66 h 228"/>
                  <a:gd name="T26" fmla="*/ 28 w 126"/>
                  <a:gd name="T27" fmla="*/ 72 h 228"/>
                  <a:gd name="T28" fmla="*/ 24 w 126"/>
                  <a:gd name="T29" fmla="*/ 80 h 228"/>
                  <a:gd name="T30" fmla="*/ 18 w 126"/>
                  <a:gd name="T31" fmla="*/ 92 h 228"/>
                  <a:gd name="T32" fmla="*/ 20 w 126"/>
                  <a:gd name="T33" fmla="*/ 114 h 228"/>
                  <a:gd name="T34" fmla="*/ 22 w 126"/>
                  <a:gd name="T35" fmla="*/ 134 h 228"/>
                  <a:gd name="T36" fmla="*/ 18 w 126"/>
                  <a:gd name="T37" fmla="*/ 138 h 228"/>
                  <a:gd name="T38" fmla="*/ 12 w 126"/>
                  <a:gd name="T39" fmla="*/ 146 h 228"/>
                  <a:gd name="T40" fmla="*/ 2 w 126"/>
                  <a:gd name="T41" fmla="*/ 156 h 228"/>
                  <a:gd name="T42" fmla="*/ 0 w 126"/>
                  <a:gd name="T43" fmla="*/ 172 h 228"/>
                  <a:gd name="T44" fmla="*/ 2 w 126"/>
                  <a:gd name="T45" fmla="*/ 192 h 228"/>
                  <a:gd name="T46" fmla="*/ 8 w 126"/>
                  <a:gd name="T47" fmla="*/ 204 h 228"/>
                  <a:gd name="T48" fmla="*/ 10 w 126"/>
                  <a:gd name="T49" fmla="*/ 208 h 228"/>
                  <a:gd name="T50" fmla="*/ 10 w 126"/>
                  <a:gd name="T51" fmla="*/ 212 h 228"/>
                  <a:gd name="T52" fmla="*/ 14 w 126"/>
                  <a:gd name="T53" fmla="*/ 220 h 228"/>
                  <a:gd name="T54" fmla="*/ 22 w 126"/>
                  <a:gd name="T55" fmla="*/ 226 h 228"/>
                  <a:gd name="T56" fmla="*/ 36 w 126"/>
                  <a:gd name="T57" fmla="*/ 226 h 228"/>
                  <a:gd name="T58" fmla="*/ 42 w 126"/>
                  <a:gd name="T59" fmla="*/ 224 h 228"/>
                  <a:gd name="T60" fmla="*/ 48 w 126"/>
                  <a:gd name="T61" fmla="*/ 224 h 228"/>
                  <a:gd name="T62" fmla="*/ 52 w 126"/>
                  <a:gd name="T63" fmla="*/ 218 h 228"/>
                  <a:gd name="T64" fmla="*/ 62 w 126"/>
                  <a:gd name="T65" fmla="*/ 206 h 228"/>
                  <a:gd name="T66" fmla="*/ 64 w 126"/>
                  <a:gd name="T67" fmla="*/ 196 h 228"/>
                  <a:gd name="T68" fmla="*/ 66 w 126"/>
                  <a:gd name="T69" fmla="*/ 186 h 228"/>
                  <a:gd name="T70" fmla="*/ 76 w 126"/>
                  <a:gd name="T71" fmla="*/ 166 h 228"/>
                  <a:gd name="T72" fmla="*/ 82 w 126"/>
                  <a:gd name="T73" fmla="*/ 152 h 228"/>
                  <a:gd name="T74" fmla="*/ 90 w 126"/>
                  <a:gd name="T75" fmla="*/ 132 h 228"/>
                  <a:gd name="T76" fmla="*/ 104 w 126"/>
                  <a:gd name="T77" fmla="*/ 104 h 228"/>
                  <a:gd name="T78" fmla="*/ 106 w 126"/>
                  <a:gd name="T79" fmla="*/ 90 h 228"/>
                  <a:gd name="T80" fmla="*/ 104 w 126"/>
                  <a:gd name="T81" fmla="*/ 82 h 228"/>
                  <a:gd name="T82" fmla="*/ 108 w 126"/>
                  <a:gd name="T83" fmla="*/ 78 h 228"/>
                  <a:gd name="T84" fmla="*/ 110 w 126"/>
                  <a:gd name="T85" fmla="*/ 72 h 228"/>
                  <a:gd name="T86" fmla="*/ 120 w 126"/>
                  <a:gd name="T87" fmla="*/ 62 h 228"/>
                  <a:gd name="T88" fmla="*/ 124 w 126"/>
                  <a:gd name="T89" fmla="*/ 60 h 228"/>
                  <a:gd name="T90" fmla="*/ 124 w 126"/>
                  <a:gd name="T91" fmla="*/ 52 h 228"/>
                  <a:gd name="T92" fmla="*/ 122 w 126"/>
                  <a:gd name="T93" fmla="*/ 38 h 228"/>
                  <a:gd name="T94" fmla="*/ 122 w 126"/>
                  <a:gd name="T95" fmla="*/ 28 h 228"/>
                  <a:gd name="T96" fmla="*/ 116 w 126"/>
                  <a:gd name="T97" fmla="*/ 18 h 228"/>
                  <a:gd name="T98" fmla="*/ 116 w 126"/>
                  <a:gd name="T99" fmla="*/ 12 h 228"/>
                  <a:gd name="T100" fmla="*/ 110 w 126"/>
                  <a:gd name="T101" fmla="*/ 6 h 228"/>
                  <a:gd name="T102" fmla="*/ 106 w 126"/>
                  <a:gd name="T103" fmla="*/ 0 h 228"/>
                  <a:gd name="T104" fmla="*/ 100 w 126"/>
                  <a:gd name="T105" fmla="*/ 2 h 228"/>
                  <a:gd name="T106" fmla="*/ 98 w 126"/>
                  <a:gd name="T107" fmla="*/ 4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26" h="228">
                    <a:moveTo>
                      <a:pt x="98" y="4"/>
                    </a:moveTo>
                    <a:lnTo>
                      <a:pt x="98" y="4"/>
                    </a:lnTo>
                    <a:lnTo>
                      <a:pt x="98" y="6"/>
                    </a:lnTo>
                    <a:lnTo>
                      <a:pt x="98" y="6"/>
                    </a:lnTo>
                    <a:lnTo>
                      <a:pt x="98" y="8"/>
                    </a:lnTo>
                    <a:lnTo>
                      <a:pt x="98" y="10"/>
                    </a:lnTo>
                    <a:lnTo>
                      <a:pt x="98" y="14"/>
                    </a:lnTo>
                    <a:lnTo>
                      <a:pt x="98" y="14"/>
                    </a:lnTo>
                    <a:lnTo>
                      <a:pt x="98" y="16"/>
                    </a:lnTo>
                    <a:lnTo>
                      <a:pt x="96" y="18"/>
                    </a:lnTo>
                    <a:lnTo>
                      <a:pt x="96" y="18"/>
                    </a:lnTo>
                    <a:lnTo>
                      <a:pt x="94" y="20"/>
                    </a:lnTo>
                    <a:lnTo>
                      <a:pt x="92" y="22"/>
                    </a:lnTo>
                    <a:lnTo>
                      <a:pt x="90" y="24"/>
                    </a:lnTo>
                    <a:lnTo>
                      <a:pt x="88" y="26"/>
                    </a:lnTo>
                    <a:lnTo>
                      <a:pt x="88" y="26"/>
                    </a:lnTo>
                    <a:lnTo>
                      <a:pt x="88" y="26"/>
                    </a:lnTo>
                    <a:lnTo>
                      <a:pt x="86" y="26"/>
                    </a:lnTo>
                    <a:lnTo>
                      <a:pt x="86" y="26"/>
                    </a:lnTo>
                    <a:lnTo>
                      <a:pt x="86" y="26"/>
                    </a:lnTo>
                    <a:lnTo>
                      <a:pt x="86" y="28"/>
                    </a:lnTo>
                    <a:lnTo>
                      <a:pt x="84" y="30"/>
                    </a:lnTo>
                    <a:lnTo>
                      <a:pt x="84" y="34"/>
                    </a:lnTo>
                    <a:lnTo>
                      <a:pt x="82" y="36"/>
                    </a:lnTo>
                    <a:lnTo>
                      <a:pt x="82" y="38"/>
                    </a:lnTo>
                    <a:lnTo>
                      <a:pt x="82" y="38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78" y="38"/>
                    </a:lnTo>
                    <a:lnTo>
                      <a:pt x="78" y="38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4" y="40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8"/>
                    </a:lnTo>
                    <a:lnTo>
                      <a:pt x="72" y="50"/>
                    </a:lnTo>
                    <a:lnTo>
                      <a:pt x="72" y="52"/>
                    </a:lnTo>
                    <a:lnTo>
                      <a:pt x="72" y="54"/>
                    </a:lnTo>
                    <a:lnTo>
                      <a:pt x="72" y="54"/>
                    </a:lnTo>
                    <a:lnTo>
                      <a:pt x="70" y="52"/>
                    </a:lnTo>
                    <a:lnTo>
                      <a:pt x="70" y="50"/>
                    </a:lnTo>
                    <a:lnTo>
                      <a:pt x="70" y="50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6" y="50"/>
                    </a:lnTo>
                    <a:lnTo>
                      <a:pt x="66" y="52"/>
                    </a:lnTo>
                    <a:lnTo>
                      <a:pt x="64" y="56"/>
                    </a:lnTo>
                    <a:lnTo>
                      <a:pt x="62" y="56"/>
                    </a:lnTo>
                    <a:lnTo>
                      <a:pt x="62" y="56"/>
                    </a:lnTo>
                    <a:lnTo>
                      <a:pt x="62" y="56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56" y="58"/>
                    </a:lnTo>
                    <a:lnTo>
                      <a:pt x="52" y="58"/>
                    </a:lnTo>
                    <a:lnTo>
                      <a:pt x="50" y="58"/>
                    </a:lnTo>
                    <a:lnTo>
                      <a:pt x="50" y="58"/>
                    </a:lnTo>
                    <a:lnTo>
                      <a:pt x="38" y="62"/>
                    </a:lnTo>
                    <a:lnTo>
                      <a:pt x="34" y="64"/>
                    </a:lnTo>
                    <a:lnTo>
                      <a:pt x="32" y="66"/>
                    </a:lnTo>
                    <a:lnTo>
                      <a:pt x="30" y="68"/>
                    </a:lnTo>
                    <a:lnTo>
                      <a:pt x="30" y="68"/>
                    </a:lnTo>
                    <a:lnTo>
                      <a:pt x="28" y="70"/>
                    </a:lnTo>
                    <a:lnTo>
                      <a:pt x="28" y="70"/>
                    </a:lnTo>
                    <a:lnTo>
                      <a:pt x="28" y="72"/>
                    </a:lnTo>
                    <a:lnTo>
                      <a:pt x="28" y="74"/>
                    </a:lnTo>
                    <a:lnTo>
                      <a:pt x="28" y="74"/>
                    </a:lnTo>
                    <a:lnTo>
                      <a:pt x="26" y="76"/>
                    </a:lnTo>
                    <a:lnTo>
                      <a:pt x="24" y="80"/>
                    </a:lnTo>
                    <a:lnTo>
                      <a:pt x="24" y="80"/>
                    </a:lnTo>
                    <a:lnTo>
                      <a:pt x="20" y="82"/>
                    </a:lnTo>
                    <a:lnTo>
                      <a:pt x="20" y="86"/>
                    </a:lnTo>
                    <a:lnTo>
                      <a:pt x="18" y="88"/>
                    </a:lnTo>
                    <a:lnTo>
                      <a:pt x="18" y="88"/>
                    </a:lnTo>
                    <a:lnTo>
                      <a:pt x="18" y="92"/>
                    </a:lnTo>
                    <a:lnTo>
                      <a:pt x="18" y="94"/>
                    </a:lnTo>
                    <a:lnTo>
                      <a:pt x="18" y="98"/>
                    </a:lnTo>
                    <a:lnTo>
                      <a:pt x="18" y="102"/>
                    </a:lnTo>
                    <a:lnTo>
                      <a:pt x="18" y="106"/>
                    </a:lnTo>
                    <a:lnTo>
                      <a:pt x="20" y="114"/>
                    </a:lnTo>
                    <a:lnTo>
                      <a:pt x="20" y="114"/>
                    </a:lnTo>
                    <a:lnTo>
                      <a:pt x="20" y="122"/>
                    </a:lnTo>
                    <a:lnTo>
                      <a:pt x="22" y="130"/>
                    </a:lnTo>
                    <a:lnTo>
                      <a:pt x="22" y="130"/>
                    </a:lnTo>
                    <a:lnTo>
                      <a:pt x="22" y="134"/>
                    </a:lnTo>
                    <a:lnTo>
                      <a:pt x="22" y="136"/>
                    </a:lnTo>
                    <a:lnTo>
                      <a:pt x="22" y="136"/>
                    </a:lnTo>
                    <a:lnTo>
                      <a:pt x="22" y="136"/>
                    </a:lnTo>
                    <a:lnTo>
                      <a:pt x="20" y="138"/>
                    </a:lnTo>
                    <a:lnTo>
                      <a:pt x="18" y="138"/>
                    </a:lnTo>
                    <a:lnTo>
                      <a:pt x="16" y="140"/>
                    </a:lnTo>
                    <a:lnTo>
                      <a:pt x="16" y="140"/>
                    </a:lnTo>
                    <a:lnTo>
                      <a:pt x="16" y="140"/>
                    </a:lnTo>
                    <a:lnTo>
                      <a:pt x="14" y="142"/>
                    </a:lnTo>
                    <a:lnTo>
                      <a:pt x="12" y="146"/>
                    </a:lnTo>
                    <a:lnTo>
                      <a:pt x="12" y="146"/>
                    </a:lnTo>
                    <a:lnTo>
                      <a:pt x="10" y="148"/>
                    </a:lnTo>
                    <a:lnTo>
                      <a:pt x="6" y="152"/>
                    </a:lnTo>
                    <a:lnTo>
                      <a:pt x="2" y="156"/>
                    </a:lnTo>
                    <a:lnTo>
                      <a:pt x="2" y="156"/>
                    </a:lnTo>
                    <a:lnTo>
                      <a:pt x="2" y="158"/>
                    </a:lnTo>
                    <a:lnTo>
                      <a:pt x="2" y="160"/>
                    </a:lnTo>
                    <a:lnTo>
                      <a:pt x="0" y="164"/>
                    </a:lnTo>
                    <a:lnTo>
                      <a:pt x="0" y="172"/>
                    </a:lnTo>
                    <a:lnTo>
                      <a:pt x="0" y="172"/>
                    </a:lnTo>
                    <a:lnTo>
                      <a:pt x="0" y="176"/>
                    </a:lnTo>
                    <a:lnTo>
                      <a:pt x="0" y="178"/>
                    </a:lnTo>
                    <a:lnTo>
                      <a:pt x="0" y="184"/>
                    </a:lnTo>
                    <a:lnTo>
                      <a:pt x="0" y="188"/>
                    </a:lnTo>
                    <a:lnTo>
                      <a:pt x="2" y="192"/>
                    </a:lnTo>
                    <a:lnTo>
                      <a:pt x="2" y="196"/>
                    </a:lnTo>
                    <a:lnTo>
                      <a:pt x="4" y="200"/>
                    </a:lnTo>
                    <a:lnTo>
                      <a:pt x="6" y="202"/>
                    </a:lnTo>
                    <a:lnTo>
                      <a:pt x="6" y="202"/>
                    </a:lnTo>
                    <a:lnTo>
                      <a:pt x="8" y="204"/>
                    </a:lnTo>
                    <a:lnTo>
                      <a:pt x="10" y="204"/>
                    </a:lnTo>
                    <a:lnTo>
                      <a:pt x="10" y="206"/>
                    </a:lnTo>
                    <a:lnTo>
                      <a:pt x="10" y="208"/>
                    </a:lnTo>
                    <a:lnTo>
                      <a:pt x="10" y="208"/>
                    </a:lnTo>
                    <a:lnTo>
                      <a:pt x="10" y="208"/>
                    </a:lnTo>
                    <a:lnTo>
                      <a:pt x="10" y="208"/>
                    </a:lnTo>
                    <a:lnTo>
                      <a:pt x="10" y="210"/>
                    </a:lnTo>
                    <a:lnTo>
                      <a:pt x="10" y="210"/>
                    </a:lnTo>
                    <a:lnTo>
                      <a:pt x="10" y="210"/>
                    </a:lnTo>
                    <a:lnTo>
                      <a:pt x="10" y="212"/>
                    </a:lnTo>
                    <a:lnTo>
                      <a:pt x="10" y="212"/>
                    </a:lnTo>
                    <a:lnTo>
                      <a:pt x="10" y="214"/>
                    </a:lnTo>
                    <a:lnTo>
                      <a:pt x="10" y="214"/>
                    </a:lnTo>
                    <a:lnTo>
                      <a:pt x="12" y="218"/>
                    </a:lnTo>
                    <a:lnTo>
                      <a:pt x="14" y="220"/>
                    </a:lnTo>
                    <a:lnTo>
                      <a:pt x="16" y="224"/>
                    </a:lnTo>
                    <a:lnTo>
                      <a:pt x="18" y="224"/>
                    </a:lnTo>
                    <a:lnTo>
                      <a:pt x="18" y="226"/>
                    </a:lnTo>
                    <a:lnTo>
                      <a:pt x="18" y="226"/>
                    </a:lnTo>
                    <a:lnTo>
                      <a:pt x="22" y="226"/>
                    </a:lnTo>
                    <a:lnTo>
                      <a:pt x="26" y="228"/>
                    </a:lnTo>
                    <a:lnTo>
                      <a:pt x="30" y="228"/>
                    </a:lnTo>
                    <a:lnTo>
                      <a:pt x="34" y="226"/>
                    </a:lnTo>
                    <a:lnTo>
                      <a:pt x="34" y="226"/>
                    </a:lnTo>
                    <a:lnTo>
                      <a:pt x="36" y="226"/>
                    </a:lnTo>
                    <a:lnTo>
                      <a:pt x="38" y="224"/>
                    </a:lnTo>
                    <a:lnTo>
                      <a:pt x="38" y="224"/>
                    </a:lnTo>
                    <a:lnTo>
                      <a:pt x="40" y="224"/>
                    </a:lnTo>
                    <a:lnTo>
                      <a:pt x="40" y="224"/>
                    </a:lnTo>
                    <a:lnTo>
                      <a:pt x="42" y="224"/>
                    </a:lnTo>
                    <a:lnTo>
                      <a:pt x="42" y="224"/>
                    </a:lnTo>
                    <a:lnTo>
                      <a:pt x="44" y="224"/>
                    </a:lnTo>
                    <a:lnTo>
                      <a:pt x="46" y="224"/>
                    </a:lnTo>
                    <a:lnTo>
                      <a:pt x="46" y="224"/>
                    </a:lnTo>
                    <a:lnTo>
                      <a:pt x="48" y="224"/>
                    </a:lnTo>
                    <a:lnTo>
                      <a:pt x="48" y="224"/>
                    </a:lnTo>
                    <a:lnTo>
                      <a:pt x="48" y="222"/>
                    </a:lnTo>
                    <a:lnTo>
                      <a:pt x="50" y="222"/>
                    </a:lnTo>
                    <a:lnTo>
                      <a:pt x="52" y="218"/>
                    </a:lnTo>
                    <a:lnTo>
                      <a:pt x="52" y="218"/>
                    </a:lnTo>
                    <a:lnTo>
                      <a:pt x="56" y="216"/>
                    </a:lnTo>
                    <a:lnTo>
                      <a:pt x="58" y="212"/>
                    </a:lnTo>
                    <a:lnTo>
                      <a:pt x="58" y="212"/>
                    </a:lnTo>
                    <a:lnTo>
                      <a:pt x="62" y="210"/>
                    </a:lnTo>
                    <a:lnTo>
                      <a:pt x="62" y="206"/>
                    </a:lnTo>
                    <a:lnTo>
                      <a:pt x="64" y="202"/>
                    </a:lnTo>
                    <a:lnTo>
                      <a:pt x="64" y="198"/>
                    </a:lnTo>
                    <a:lnTo>
                      <a:pt x="64" y="198"/>
                    </a:lnTo>
                    <a:lnTo>
                      <a:pt x="64" y="198"/>
                    </a:lnTo>
                    <a:lnTo>
                      <a:pt x="64" y="196"/>
                    </a:lnTo>
                    <a:lnTo>
                      <a:pt x="64" y="192"/>
                    </a:lnTo>
                    <a:lnTo>
                      <a:pt x="64" y="192"/>
                    </a:lnTo>
                    <a:lnTo>
                      <a:pt x="64" y="190"/>
                    </a:lnTo>
                    <a:lnTo>
                      <a:pt x="66" y="188"/>
                    </a:lnTo>
                    <a:lnTo>
                      <a:pt x="66" y="186"/>
                    </a:lnTo>
                    <a:lnTo>
                      <a:pt x="68" y="184"/>
                    </a:lnTo>
                    <a:lnTo>
                      <a:pt x="68" y="184"/>
                    </a:lnTo>
                    <a:lnTo>
                      <a:pt x="70" y="180"/>
                    </a:lnTo>
                    <a:lnTo>
                      <a:pt x="72" y="176"/>
                    </a:lnTo>
                    <a:lnTo>
                      <a:pt x="76" y="166"/>
                    </a:lnTo>
                    <a:lnTo>
                      <a:pt x="76" y="166"/>
                    </a:lnTo>
                    <a:lnTo>
                      <a:pt x="78" y="162"/>
                    </a:lnTo>
                    <a:lnTo>
                      <a:pt x="80" y="160"/>
                    </a:lnTo>
                    <a:lnTo>
                      <a:pt x="80" y="156"/>
                    </a:lnTo>
                    <a:lnTo>
                      <a:pt x="82" y="152"/>
                    </a:lnTo>
                    <a:lnTo>
                      <a:pt x="82" y="152"/>
                    </a:lnTo>
                    <a:lnTo>
                      <a:pt x="86" y="144"/>
                    </a:lnTo>
                    <a:lnTo>
                      <a:pt x="88" y="136"/>
                    </a:lnTo>
                    <a:lnTo>
                      <a:pt x="88" y="136"/>
                    </a:lnTo>
                    <a:lnTo>
                      <a:pt x="90" y="132"/>
                    </a:lnTo>
                    <a:lnTo>
                      <a:pt x="92" y="128"/>
                    </a:lnTo>
                    <a:lnTo>
                      <a:pt x="96" y="118"/>
                    </a:lnTo>
                    <a:lnTo>
                      <a:pt x="96" y="118"/>
                    </a:lnTo>
                    <a:lnTo>
                      <a:pt x="100" y="110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04" y="100"/>
                    </a:lnTo>
                    <a:lnTo>
                      <a:pt x="106" y="98"/>
                    </a:lnTo>
                    <a:lnTo>
                      <a:pt x="106" y="94"/>
                    </a:lnTo>
                    <a:lnTo>
                      <a:pt x="106" y="90"/>
                    </a:lnTo>
                    <a:lnTo>
                      <a:pt x="106" y="90"/>
                    </a:lnTo>
                    <a:lnTo>
                      <a:pt x="106" y="88"/>
                    </a:lnTo>
                    <a:lnTo>
                      <a:pt x="104" y="86"/>
                    </a:lnTo>
                    <a:lnTo>
                      <a:pt x="104" y="84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0"/>
                    </a:lnTo>
                    <a:lnTo>
                      <a:pt x="106" y="80"/>
                    </a:lnTo>
                    <a:lnTo>
                      <a:pt x="108" y="78"/>
                    </a:lnTo>
                    <a:lnTo>
                      <a:pt x="108" y="76"/>
                    </a:lnTo>
                    <a:lnTo>
                      <a:pt x="108" y="76"/>
                    </a:lnTo>
                    <a:lnTo>
                      <a:pt x="110" y="76"/>
                    </a:lnTo>
                    <a:lnTo>
                      <a:pt x="110" y="74"/>
                    </a:lnTo>
                    <a:lnTo>
                      <a:pt x="110" y="72"/>
                    </a:lnTo>
                    <a:lnTo>
                      <a:pt x="110" y="72"/>
                    </a:lnTo>
                    <a:lnTo>
                      <a:pt x="110" y="68"/>
                    </a:lnTo>
                    <a:lnTo>
                      <a:pt x="114" y="66"/>
                    </a:lnTo>
                    <a:lnTo>
                      <a:pt x="116" y="64"/>
                    </a:lnTo>
                    <a:lnTo>
                      <a:pt x="120" y="62"/>
                    </a:lnTo>
                    <a:lnTo>
                      <a:pt x="120" y="62"/>
                    </a:lnTo>
                    <a:lnTo>
                      <a:pt x="122" y="62"/>
                    </a:lnTo>
                    <a:lnTo>
                      <a:pt x="124" y="62"/>
                    </a:lnTo>
                    <a:lnTo>
                      <a:pt x="124" y="60"/>
                    </a:lnTo>
                    <a:lnTo>
                      <a:pt x="124" y="60"/>
                    </a:lnTo>
                    <a:lnTo>
                      <a:pt x="126" y="60"/>
                    </a:lnTo>
                    <a:lnTo>
                      <a:pt x="126" y="58"/>
                    </a:lnTo>
                    <a:lnTo>
                      <a:pt x="126" y="58"/>
                    </a:lnTo>
                    <a:lnTo>
                      <a:pt x="126" y="56"/>
                    </a:lnTo>
                    <a:lnTo>
                      <a:pt x="124" y="52"/>
                    </a:lnTo>
                    <a:lnTo>
                      <a:pt x="124" y="50"/>
                    </a:lnTo>
                    <a:lnTo>
                      <a:pt x="122" y="48"/>
                    </a:lnTo>
                    <a:lnTo>
                      <a:pt x="122" y="48"/>
                    </a:lnTo>
                    <a:lnTo>
                      <a:pt x="122" y="42"/>
                    </a:lnTo>
                    <a:lnTo>
                      <a:pt x="122" y="38"/>
                    </a:lnTo>
                    <a:lnTo>
                      <a:pt x="122" y="34"/>
                    </a:lnTo>
                    <a:lnTo>
                      <a:pt x="122" y="32"/>
                    </a:lnTo>
                    <a:lnTo>
                      <a:pt x="122" y="32"/>
                    </a:lnTo>
                    <a:lnTo>
                      <a:pt x="122" y="30"/>
                    </a:lnTo>
                    <a:lnTo>
                      <a:pt x="122" y="28"/>
                    </a:lnTo>
                    <a:lnTo>
                      <a:pt x="120" y="26"/>
                    </a:lnTo>
                    <a:lnTo>
                      <a:pt x="118" y="22"/>
                    </a:lnTo>
                    <a:lnTo>
                      <a:pt x="116" y="20"/>
                    </a:lnTo>
                    <a:lnTo>
                      <a:pt x="116" y="18"/>
                    </a:lnTo>
                    <a:lnTo>
                      <a:pt x="116" y="18"/>
                    </a:lnTo>
                    <a:lnTo>
                      <a:pt x="116" y="16"/>
                    </a:lnTo>
                    <a:lnTo>
                      <a:pt x="116" y="16"/>
                    </a:lnTo>
                    <a:lnTo>
                      <a:pt x="116" y="14"/>
                    </a:lnTo>
                    <a:lnTo>
                      <a:pt x="116" y="12"/>
                    </a:lnTo>
                    <a:lnTo>
                      <a:pt x="116" y="12"/>
                    </a:lnTo>
                    <a:lnTo>
                      <a:pt x="116" y="10"/>
                    </a:lnTo>
                    <a:lnTo>
                      <a:pt x="114" y="10"/>
                    </a:lnTo>
                    <a:lnTo>
                      <a:pt x="110" y="8"/>
                    </a:lnTo>
                    <a:lnTo>
                      <a:pt x="110" y="8"/>
                    </a:lnTo>
                    <a:lnTo>
                      <a:pt x="110" y="6"/>
                    </a:lnTo>
                    <a:lnTo>
                      <a:pt x="110" y="4"/>
                    </a:lnTo>
                    <a:lnTo>
                      <a:pt x="108" y="4"/>
                    </a:lnTo>
                    <a:lnTo>
                      <a:pt x="108" y="4"/>
                    </a:lnTo>
                    <a:lnTo>
                      <a:pt x="108" y="0"/>
                    </a:lnTo>
                    <a:lnTo>
                      <a:pt x="106" y="0"/>
                    </a:lnTo>
                    <a:lnTo>
                      <a:pt x="106" y="0"/>
                    </a:lnTo>
                    <a:lnTo>
                      <a:pt x="106" y="0"/>
                    </a:lnTo>
                    <a:lnTo>
                      <a:pt x="104" y="0"/>
                    </a:lnTo>
                    <a:lnTo>
                      <a:pt x="102" y="2"/>
                    </a:lnTo>
                    <a:lnTo>
                      <a:pt x="100" y="2"/>
                    </a:lnTo>
                    <a:lnTo>
                      <a:pt x="98" y="4"/>
                    </a:lnTo>
                    <a:lnTo>
                      <a:pt x="98" y="4"/>
                    </a:lnTo>
                    <a:lnTo>
                      <a:pt x="98" y="4"/>
                    </a:lnTo>
                    <a:lnTo>
                      <a:pt x="98" y="4"/>
                    </a:lnTo>
                    <a:lnTo>
                      <a:pt x="98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56" name="Freeform 710"/>
              <p:cNvSpPr>
                <a:spLocks/>
              </p:cNvSpPr>
              <p:nvPr/>
            </p:nvSpPr>
            <p:spPr bwMode="auto">
              <a:xfrm>
                <a:off x="4583" y="2332"/>
                <a:ext cx="26" cy="64"/>
              </a:xfrm>
              <a:custGeom>
                <a:avLst/>
                <a:gdLst>
                  <a:gd name="T0" fmla="*/ 6 w 26"/>
                  <a:gd name="T1" fmla="*/ 8 h 64"/>
                  <a:gd name="T2" fmla="*/ 2 w 26"/>
                  <a:gd name="T3" fmla="*/ 14 h 64"/>
                  <a:gd name="T4" fmla="*/ 2 w 26"/>
                  <a:gd name="T5" fmla="*/ 16 h 64"/>
                  <a:gd name="T6" fmla="*/ 0 w 26"/>
                  <a:gd name="T7" fmla="*/ 24 h 64"/>
                  <a:gd name="T8" fmla="*/ 0 w 26"/>
                  <a:gd name="T9" fmla="*/ 30 h 64"/>
                  <a:gd name="T10" fmla="*/ 0 w 26"/>
                  <a:gd name="T11" fmla="*/ 34 h 64"/>
                  <a:gd name="T12" fmla="*/ 0 w 26"/>
                  <a:gd name="T13" fmla="*/ 36 h 64"/>
                  <a:gd name="T14" fmla="*/ 2 w 26"/>
                  <a:gd name="T15" fmla="*/ 40 h 64"/>
                  <a:gd name="T16" fmla="*/ 2 w 26"/>
                  <a:gd name="T17" fmla="*/ 42 h 64"/>
                  <a:gd name="T18" fmla="*/ 6 w 26"/>
                  <a:gd name="T19" fmla="*/ 50 h 64"/>
                  <a:gd name="T20" fmla="*/ 8 w 26"/>
                  <a:gd name="T21" fmla="*/ 52 h 64"/>
                  <a:gd name="T22" fmla="*/ 10 w 26"/>
                  <a:gd name="T23" fmla="*/ 54 h 64"/>
                  <a:gd name="T24" fmla="*/ 14 w 26"/>
                  <a:gd name="T25" fmla="*/ 58 h 64"/>
                  <a:gd name="T26" fmla="*/ 16 w 26"/>
                  <a:gd name="T27" fmla="*/ 60 h 64"/>
                  <a:gd name="T28" fmla="*/ 18 w 26"/>
                  <a:gd name="T29" fmla="*/ 62 h 64"/>
                  <a:gd name="T30" fmla="*/ 20 w 26"/>
                  <a:gd name="T31" fmla="*/ 64 h 64"/>
                  <a:gd name="T32" fmla="*/ 20 w 26"/>
                  <a:gd name="T33" fmla="*/ 64 h 64"/>
                  <a:gd name="T34" fmla="*/ 22 w 26"/>
                  <a:gd name="T35" fmla="*/ 62 h 64"/>
                  <a:gd name="T36" fmla="*/ 22 w 26"/>
                  <a:gd name="T37" fmla="*/ 58 h 64"/>
                  <a:gd name="T38" fmla="*/ 22 w 26"/>
                  <a:gd name="T39" fmla="*/ 54 h 64"/>
                  <a:gd name="T40" fmla="*/ 22 w 26"/>
                  <a:gd name="T41" fmla="*/ 46 h 64"/>
                  <a:gd name="T42" fmla="*/ 22 w 26"/>
                  <a:gd name="T43" fmla="*/ 42 h 64"/>
                  <a:gd name="T44" fmla="*/ 26 w 26"/>
                  <a:gd name="T45" fmla="*/ 38 h 64"/>
                  <a:gd name="T46" fmla="*/ 26 w 26"/>
                  <a:gd name="T47" fmla="*/ 36 h 64"/>
                  <a:gd name="T48" fmla="*/ 26 w 26"/>
                  <a:gd name="T49" fmla="*/ 34 h 64"/>
                  <a:gd name="T50" fmla="*/ 24 w 26"/>
                  <a:gd name="T51" fmla="*/ 32 h 64"/>
                  <a:gd name="T52" fmla="*/ 22 w 26"/>
                  <a:gd name="T53" fmla="*/ 30 h 64"/>
                  <a:gd name="T54" fmla="*/ 22 w 26"/>
                  <a:gd name="T55" fmla="*/ 26 h 64"/>
                  <a:gd name="T56" fmla="*/ 22 w 26"/>
                  <a:gd name="T57" fmla="*/ 24 h 64"/>
                  <a:gd name="T58" fmla="*/ 24 w 26"/>
                  <a:gd name="T59" fmla="*/ 18 h 64"/>
                  <a:gd name="T60" fmla="*/ 24 w 26"/>
                  <a:gd name="T61" fmla="*/ 14 h 64"/>
                  <a:gd name="T62" fmla="*/ 24 w 26"/>
                  <a:gd name="T63" fmla="*/ 14 h 64"/>
                  <a:gd name="T64" fmla="*/ 20 w 26"/>
                  <a:gd name="T65" fmla="*/ 4 h 64"/>
                  <a:gd name="T66" fmla="*/ 18 w 26"/>
                  <a:gd name="T67" fmla="*/ 2 h 64"/>
                  <a:gd name="T68" fmla="*/ 16 w 26"/>
                  <a:gd name="T69" fmla="*/ 0 h 64"/>
                  <a:gd name="T70" fmla="*/ 12 w 26"/>
                  <a:gd name="T71" fmla="*/ 0 h 64"/>
                  <a:gd name="T72" fmla="*/ 8 w 26"/>
                  <a:gd name="T73" fmla="*/ 4 h 64"/>
                  <a:gd name="T74" fmla="*/ 6 w 26"/>
                  <a:gd name="T75" fmla="*/ 8 h 64"/>
                  <a:gd name="T76" fmla="*/ 6 w 26"/>
                  <a:gd name="T77" fmla="*/ 8 h 64"/>
                  <a:gd name="T78" fmla="*/ 6 w 26"/>
                  <a:gd name="T79" fmla="*/ 8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6" h="64">
                    <a:moveTo>
                      <a:pt x="6" y="8"/>
                    </a:moveTo>
                    <a:lnTo>
                      <a:pt x="6" y="8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0" y="20"/>
                    </a:lnTo>
                    <a:lnTo>
                      <a:pt x="0" y="2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2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6"/>
                    </a:lnTo>
                    <a:lnTo>
                      <a:pt x="0" y="38"/>
                    </a:lnTo>
                    <a:lnTo>
                      <a:pt x="2" y="40"/>
                    </a:lnTo>
                    <a:lnTo>
                      <a:pt x="2" y="40"/>
                    </a:lnTo>
                    <a:lnTo>
                      <a:pt x="2" y="42"/>
                    </a:lnTo>
                    <a:lnTo>
                      <a:pt x="4" y="46"/>
                    </a:lnTo>
                    <a:lnTo>
                      <a:pt x="6" y="50"/>
                    </a:lnTo>
                    <a:lnTo>
                      <a:pt x="6" y="50"/>
                    </a:lnTo>
                    <a:lnTo>
                      <a:pt x="8" y="52"/>
                    </a:lnTo>
                    <a:lnTo>
                      <a:pt x="10" y="54"/>
                    </a:lnTo>
                    <a:lnTo>
                      <a:pt x="10" y="54"/>
                    </a:lnTo>
                    <a:lnTo>
                      <a:pt x="12" y="56"/>
                    </a:lnTo>
                    <a:lnTo>
                      <a:pt x="14" y="58"/>
                    </a:lnTo>
                    <a:lnTo>
                      <a:pt x="14" y="58"/>
                    </a:lnTo>
                    <a:lnTo>
                      <a:pt x="16" y="60"/>
                    </a:lnTo>
                    <a:lnTo>
                      <a:pt x="18" y="62"/>
                    </a:lnTo>
                    <a:lnTo>
                      <a:pt x="18" y="62"/>
                    </a:lnTo>
                    <a:lnTo>
                      <a:pt x="20" y="64"/>
                    </a:lnTo>
                    <a:lnTo>
                      <a:pt x="20" y="64"/>
                    </a:lnTo>
                    <a:lnTo>
                      <a:pt x="20" y="64"/>
                    </a:lnTo>
                    <a:lnTo>
                      <a:pt x="20" y="64"/>
                    </a:lnTo>
                    <a:lnTo>
                      <a:pt x="22" y="62"/>
                    </a:lnTo>
                    <a:lnTo>
                      <a:pt x="22" y="62"/>
                    </a:lnTo>
                    <a:lnTo>
                      <a:pt x="22" y="60"/>
                    </a:lnTo>
                    <a:lnTo>
                      <a:pt x="22" y="58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22" y="48"/>
                    </a:lnTo>
                    <a:lnTo>
                      <a:pt x="22" y="46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4" y="40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4" y="32"/>
                    </a:lnTo>
                    <a:lnTo>
                      <a:pt x="24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4" y="22"/>
                    </a:lnTo>
                    <a:lnTo>
                      <a:pt x="24" y="18"/>
                    </a:lnTo>
                    <a:lnTo>
                      <a:pt x="24" y="16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2" y="8"/>
                    </a:lnTo>
                    <a:lnTo>
                      <a:pt x="20" y="4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0" y="2"/>
                    </a:lnTo>
                    <a:lnTo>
                      <a:pt x="8" y="4"/>
                    </a:lnTo>
                    <a:lnTo>
                      <a:pt x="8" y="6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57" name="Freeform 713"/>
              <p:cNvSpPr>
                <a:spLocks/>
              </p:cNvSpPr>
              <p:nvPr/>
            </p:nvSpPr>
            <p:spPr bwMode="auto">
              <a:xfrm>
                <a:off x="4701" y="2998"/>
                <a:ext cx="34" cy="20"/>
              </a:xfrm>
              <a:custGeom>
                <a:avLst/>
                <a:gdLst>
                  <a:gd name="T0" fmla="*/ 22 w 34"/>
                  <a:gd name="T1" fmla="*/ 2 h 20"/>
                  <a:gd name="T2" fmla="*/ 22 w 34"/>
                  <a:gd name="T3" fmla="*/ 2 h 20"/>
                  <a:gd name="T4" fmla="*/ 20 w 34"/>
                  <a:gd name="T5" fmla="*/ 2 h 20"/>
                  <a:gd name="T6" fmla="*/ 20 w 34"/>
                  <a:gd name="T7" fmla="*/ 2 h 20"/>
                  <a:gd name="T8" fmla="*/ 16 w 34"/>
                  <a:gd name="T9" fmla="*/ 2 h 20"/>
                  <a:gd name="T10" fmla="*/ 14 w 34"/>
                  <a:gd name="T11" fmla="*/ 2 h 20"/>
                  <a:gd name="T12" fmla="*/ 12 w 34"/>
                  <a:gd name="T13" fmla="*/ 2 h 20"/>
                  <a:gd name="T14" fmla="*/ 12 w 34"/>
                  <a:gd name="T15" fmla="*/ 2 h 20"/>
                  <a:gd name="T16" fmla="*/ 10 w 34"/>
                  <a:gd name="T17" fmla="*/ 2 h 20"/>
                  <a:gd name="T18" fmla="*/ 10 w 34"/>
                  <a:gd name="T19" fmla="*/ 4 h 20"/>
                  <a:gd name="T20" fmla="*/ 8 w 34"/>
                  <a:gd name="T21" fmla="*/ 4 h 20"/>
                  <a:gd name="T22" fmla="*/ 8 w 34"/>
                  <a:gd name="T23" fmla="*/ 4 h 20"/>
                  <a:gd name="T24" fmla="*/ 4 w 34"/>
                  <a:gd name="T25" fmla="*/ 6 h 20"/>
                  <a:gd name="T26" fmla="*/ 0 w 34"/>
                  <a:gd name="T27" fmla="*/ 6 h 20"/>
                  <a:gd name="T28" fmla="*/ 0 w 34"/>
                  <a:gd name="T29" fmla="*/ 6 h 20"/>
                  <a:gd name="T30" fmla="*/ 2 w 34"/>
                  <a:gd name="T31" fmla="*/ 10 h 20"/>
                  <a:gd name="T32" fmla="*/ 2 w 34"/>
                  <a:gd name="T33" fmla="*/ 10 h 20"/>
                  <a:gd name="T34" fmla="*/ 4 w 34"/>
                  <a:gd name="T35" fmla="*/ 12 h 20"/>
                  <a:gd name="T36" fmla="*/ 4 w 34"/>
                  <a:gd name="T37" fmla="*/ 14 h 20"/>
                  <a:gd name="T38" fmla="*/ 4 w 34"/>
                  <a:gd name="T39" fmla="*/ 18 h 20"/>
                  <a:gd name="T40" fmla="*/ 4 w 34"/>
                  <a:gd name="T41" fmla="*/ 18 h 20"/>
                  <a:gd name="T42" fmla="*/ 6 w 34"/>
                  <a:gd name="T43" fmla="*/ 18 h 20"/>
                  <a:gd name="T44" fmla="*/ 6 w 34"/>
                  <a:gd name="T45" fmla="*/ 20 h 20"/>
                  <a:gd name="T46" fmla="*/ 6 w 34"/>
                  <a:gd name="T47" fmla="*/ 20 h 20"/>
                  <a:gd name="T48" fmla="*/ 8 w 34"/>
                  <a:gd name="T49" fmla="*/ 18 h 20"/>
                  <a:gd name="T50" fmla="*/ 10 w 34"/>
                  <a:gd name="T51" fmla="*/ 18 h 20"/>
                  <a:gd name="T52" fmla="*/ 10 w 34"/>
                  <a:gd name="T53" fmla="*/ 18 h 20"/>
                  <a:gd name="T54" fmla="*/ 10 w 34"/>
                  <a:gd name="T55" fmla="*/ 16 h 20"/>
                  <a:gd name="T56" fmla="*/ 12 w 34"/>
                  <a:gd name="T57" fmla="*/ 16 h 20"/>
                  <a:gd name="T58" fmla="*/ 12 w 34"/>
                  <a:gd name="T59" fmla="*/ 14 h 20"/>
                  <a:gd name="T60" fmla="*/ 12 w 34"/>
                  <a:gd name="T61" fmla="*/ 14 h 20"/>
                  <a:gd name="T62" fmla="*/ 14 w 34"/>
                  <a:gd name="T63" fmla="*/ 14 h 20"/>
                  <a:gd name="T64" fmla="*/ 14 w 34"/>
                  <a:gd name="T65" fmla="*/ 14 h 20"/>
                  <a:gd name="T66" fmla="*/ 16 w 34"/>
                  <a:gd name="T67" fmla="*/ 14 h 20"/>
                  <a:gd name="T68" fmla="*/ 18 w 34"/>
                  <a:gd name="T69" fmla="*/ 14 h 20"/>
                  <a:gd name="T70" fmla="*/ 20 w 34"/>
                  <a:gd name="T71" fmla="*/ 14 h 20"/>
                  <a:gd name="T72" fmla="*/ 22 w 34"/>
                  <a:gd name="T73" fmla="*/ 14 h 20"/>
                  <a:gd name="T74" fmla="*/ 22 w 34"/>
                  <a:gd name="T75" fmla="*/ 14 h 20"/>
                  <a:gd name="T76" fmla="*/ 24 w 34"/>
                  <a:gd name="T77" fmla="*/ 12 h 20"/>
                  <a:gd name="T78" fmla="*/ 24 w 34"/>
                  <a:gd name="T79" fmla="*/ 12 h 20"/>
                  <a:gd name="T80" fmla="*/ 28 w 34"/>
                  <a:gd name="T81" fmla="*/ 8 h 20"/>
                  <a:gd name="T82" fmla="*/ 28 w 34"/>
                  <a:gd name="T83" fmla="*/ 8 h 20"/>
                  <a:gd name="T84" fmla="*/ 32 w 34"/>
                  <a:gd name="T85" fmla="*/ 6 h 20"/>
                  <a:gd name="T86" fmla="*/ 32 w 34"/>
                  <a:gd name="T87" fmla="*/ 6 h 20"/>
                  <a:gd name="T88" fmla="*/ 34 w 34"/>
                  <a:gd name="T89" fmla="*/ 4 h 20"/>
                  <a:gd name="T90" fmla="*/ 34 w 34"/>
                  <a:gd name="T91" fmla="*/ 4 h 20"/>
                  <a:gd name="T92" fmla="*/ 34 w 34"/>
                  <a:gd name="T93" fmla="*/ 2 h 20"/>
                  <a:gd name="T94" fmla="*/ 34 w 34"/>
                  <a:gd name="T95" fmla="*/ 2 h 20"/>
                  <a:gd name="T96" fmla="*/ 34 w 34"/>
                  <a:gd name="T97" fmla="*/ 2 h 20"/>
                  <a:gd name="T98" fmla="*/ 34 w 34"/>
                  <a:gd name="T99" fmla="*/ 0 h 20"/>
                  <a:gd name="T100" fmla="*/ 32 w 34"/>
                  <a:gd name="T101" fmla="*/ 0 h 20"/>
                  <a:gd name="T102" fmla="*/ 30 w 34"/>
                  <a:gd name="T103" fmla="*/ 0 h 20"/>
                  <a:gd name="T104" fmla="*/ 24 w 34"/>
                  <a:gd name="T105" fmla="*/ 2 h 20"/>
                  <a:gd name="T106" fmla="*/ 22 w 34"/>
                  <a:gd name="T107" fmla="*/ 2 h 20"/>
                  <a:gd name="T108" fmla="*/ 22 w 34"/>
                  <a:gd name="T109" fmla="*/ 2 h 20"/>
                  <a:gd name="T110" fmla="*/ 22 w 34"/>
                  <a:gd name="T111" fmla="*/ 2 h 20"/>
                  <a:gd name="T112" fmla="*/ 22 w 34"/>
                  <a:gd name="T113" fmla="*/ 2 h 20"/>
                  <a:gd name="T114" fmla="*/ 22 w 34"/>
                  <a:gd name="T115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4" h="20">
                    <a:moveTo>
                      <a:pt x="22" y="2"/>
                    </a:moveTo>
                    <a:lnTo>
                      <a:pt x="22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6" y="2"/>
                    </a:lnTo>
                    <a:lnTo>
                      <a:pt x="14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10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4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4" y="12"/>
                    </a:lnTo>
                    <a:lnTo>
                      <a:pt x="4" y="14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6" y="18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6"/>
                    </a:lnTo>
                    <a:lnTo>
                      <a:pt x="12" y="16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14"/>
                    </a:lnTo>
                    <a:lnTo>
                      <a:pt x="18" y="14"/>
                    </a:lnTo>
                    <a:lnTo>
                      <a:pt x="20" y="14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32" y="6"/>
                    </a:lnTo>
                    <a:lnTo>
                      <a:pt x="32" y="6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0"/>
                    </a:lnTo>
                    <a:lnTo>
                      <a:pt x="32" y="0"/>
                    </a:lnTo>
                    <a:lnTo>
                      <a:pt x="30" y="0"/>
                    </a:lnTo>
                    <a:lnTo>
                      <a:pt x="24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58" name="Freeform 714"/>
              <p:cNvSpPr>
                <a:spLocks/>
              </p:cNvSpPr>
              <p:nvPr/>
            </p:nvSpPr>
            <p:spPr bwMode="auto">
              <a:xfrm>
                <a:off x="4659" y="2594"/>
                <a:ext cx="32" cy="56"/>
              </a:xfrm>
              <a:custGeom>
                <a:avLst/>
                <a:gdLst>
                  <a:gd name="T0" fmla="*/ 0 w 32"/>
                  <a:gd name="T1" fmla="*/ 4 h 56"/>
                  <a:gd name="T2" fmla="*/ 2 w 32"/>
                  <a:gd name="T3" fmla="*/ 6 h 56"/>
                  <a:gd name="T4" fmla="*/ 4 w 32"/>
                  <a:gd name="T5" fmla="*/ 10 h 56"/>
                  <a:gd name="T6" fmla="*/ 4 w 32"/>
                  <a:gd name="T7" fmla="*/ 20 h 56"/>
                  <a:gd name="T8" fmla="*/ 2 w 32"/>
                  <a:gd name="T9" fmla="*/ 26 h 56"/>
                  <a:gd name="T10" fmla="*/ 4 w 32"/>
                  <a:gd name="T11" fmla="*/ 30 h 56"/>
                  <a:gd name="T12" fmla="*/ 6 w 32"/>
                  <a:gd name="T13" fmla="*/ 28 h 56"/>
                  <a:gd name="T14" fmla="*/ 12 w 32"/>
                  <a:gd name="T15" fmla="*/ 24 h 56"/>
                  <a:gd name="T16" fmla="*/ 14 w 32"/>
                  <a:gd name="T17" fmla="*/ 26 h 56"/>
                  <a:gd name="T18" fmla="*/ 14 w 32"/>
                  <a:gd name="T19" fmla="*/ 32 h 56"/>
                  <a:gd name="T20" fmla="*/ 14 w 32"/>
                  <a:gd name="T21" fmla="*/ 34 h 56"/>
                  <a:gd name="T22" fmla="*/ 16 w 32"/>
                  <a:gd name="T23" fmla="*/ 36 h 56"/>
                  <a:gd name="T24" fmla="*/ 14 w 32"/>
                  <a:gd name="T25" fmla="*/ 42 h 56"/>
                  <a:gd name="T26" fmla="*/ 10 w 32"/>
                  <a:gd name="T27" fmla="*/ 46 h 56"/>
                  <a:gd name="T28" fmla="*/ 10 w 32"/>
                  <a:gd name="T29" fmla="*/ 52 h 56"/>
                  <a:gd name="T30" fmla="*/ 12 w 32"/>
                  <a:gd name="T31" fmla="*/ 54 h 56"/>
                  <a:gd name="T32" fmla="*/ 16 w 32"/>
                  <a:gd name="T33" fmla="*/ 54 h 56"/>
                  <a:gd name="T34" fmla="*/ 18 w 32"/>
                  <a:gd name="T35" fmla="*/ 54 h 56"/>
                  <a:gd name="T36" fmla="*/ 22 w 32"/>
                  <a:gd name="T37" fmla="*/ 56 h 56"/>
                  <a:gd name="T38" fmla="*/ 24 w 32"/>
                  <a:gd name="T39" fmla="*/ 54 h 56"/>
                  <a:gd name="T40" fmla="*/ 24 w 32"/>
                  <a:gd name="T41" fmla="*/ 52 h 56"/>
                  <a:gd name="T42" fmla="*/ 22 w 32"/>
                  <a:gd name="T43" fmla="*/ 46 h 56"/>
                  <a:gd name="T44" fmla="*/ 22 w 32"/>
                  <a:gd name="T45" fmla="*/ 42 h 56"/>
                  <a:gd name="T46" fmla="*/ 24 w 32"/>
                  <a:gd name="T47" fmla="*/ 36 h 56"/>
                  <a:gd name="T48" fmla="*/ 24 w 32"/>
                  <a:gd name="T49" fmla="*/ 24 h 56"/>
                  <a:gd name="T50" fmla="*/ 26 w 32"/>
                  <a:gd name="T51" fmla="*/ 22 h 56"/>
                  <a:gd name="T52" fmla="*/ 28 w 32"/>
                  <a:gd name="T53" fmla="*/ 24 h 56"/>
                  <a:gd name="T54" fmla="*/ 28 w 32"/>
                  <a:gd name="T55" fmla="*/ 30 h 56"/>
                  <a:gd name="T56" fmla="*/ 26 w 32"/>
                  <a:gd name="T57" fmla="*/ 34 h 56"/>
                  <a:gd name="T58" fmla="*/ 26 w 32"/>
                  <a:gd name="T59" fmla="*/ 40 h 56"/>
                  <a:gd name="T60" fmla="*/ 28 w 32"/>
                  <a:gd name="T61" fmla="*/ 42 h 56"/>
                  <a:gd name="T62" fmla="*/ 30 w 32"/>
                  <a:gd name="T63" fmla="*/ 40 h 56"/>
                  <a:gd name="T64" fmla="*/ 30 w 32"/>
                  <a:gd name="T65" fmla="*/ 34 h 56"/>
                  <a:gd name="T66" fmla="*/ 32 w 32"/>
                  <a:gd name="T67" fmla="*/ 26 h 56"/>
                  <a:gd name="T68" fmla="*/ 30 w 32"/>
                  <a:gd name="T69" fmla="*/ 22 h 56"/>
                  <a:gd name="T70" fmla="*/ 30 w 32"/>
                  <a:gd name="T71" fmla="*/ 18 h 56"/>
                  <a:gd name="T72" fmla="*/ 26 w 32"/>
                  <a:gd name="T73" fmla="*/ 12 h 56"/>
                  <a:gd name="T74" fmla="*/ 26 w 32"/>
                  <a:gd name="T75" fmla="*/ 14 h 56"/>
                  <a:gd name="T76" fmla="*/ 24 w 32"/>
                  <a:gd name="T77" fmla="*/ 18 h 56"/>
                  <a:gd name="T78" fmla="*/ 20 w 32"/>
                  <a:gd name="T79" fmla="*/ 18 h 56"/>
                  <a:gd name="T80" fmla="*/ 18 w 32"/>
                  <a:gd name="T81" fmla="*/ 18 h 56"/>
                  <a:gd name="T82" fmla="*/ 18 w 32"/>
                  <a:gd name="T83" fmla="*/ 14 h 56"/>
                  <a:gd name="T84" fmla="*/ 20 w 32"/>
                  <a:gd name="T85" fmla="*/ 12 h 56"/>
                  <a:gd name="T86" fmla="*/ 20 w 32"/>
                  <a:gd name="T87" fmla="*/ 8 h 56"/>
                  <a:gd name="T88" fmla="*/ 14 w 32"/>
                  <a:gd name="T89" fmla="*/ 6 h 56"/>
                  <a:gd name="T90" fmla="*/ 10 w 32"/>
                  <a:gd name="T91" fmla="*/ 4 h 56"/>
                  <a:gd name="T92" fmla="*/ 6 w 32"/>
                  <a:gd name="T93" fmla="*/ 2 h 56"/>
                  <a:gd name="T94" fmla="*/ 2 w 32"/>
                  <a:gd name="T95" fmla="*/ 0 h 56"/>
                  <a:gd name="T96" fmla="*/ 0 w 32"/>
                  <a:gd name="T97" fmla="*/ 2 h 56"/>
                  <a:gd name="T98" fmla="*/ 0 w 32"/>
                  <a:gd name="T99" fmla="*/ 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2" h="56">
                    <a:moveTo>
                      <a:pt x="0" y="2"/>
                    </a:move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4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2" y="22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4" y="28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6" y="28"/>
                    </a:lnTo>
                    <a:lnTo>
                      <a:pt x="6" y="28"/>
                    </a:lnTo>
                    <a:lnTo>
                      <a:pt x="8" y="26"/>
                    </a:lnTo>
                    <a:lnTo>
                      <a:pt x="10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4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4" y="42"/>
                    </a:lnTo>
                    <a:lnTo>
                      <a:pt x="12" y="44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50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14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8" y="54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4" y="56"/>
                    </a:lnTo>
                    <a:lnTo>
                      <a:pt x="24" y="54"/>
                    </a:lnTo>
                    <a:lnTo>
                      <a:pt x="24" y="54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0"/>
                    </a:lnTo>
                    <a:lnTo>
                      <a:pt x="24" y="48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22" y="44"/>
                    </a:lnTo>
                    <a:lnTo>
                      <a:pt x="22" y="42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24" y="36"/>
                    </a:lnTo>
                    <a:lnTo>
                      <a:pt x="24" y="32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8" y="24"/>
                    </a:lnTo>
                    <a:lnTo>
                      <a:pt x="28" y="24"/>
                    </a:lnTo>
                    <a:lnTo>
                      <a:pt x="28" y="26"/>
                    </a:lnTo>
                    <a:lnTo>
                      <a:pt x="28" y="28"/>
                    </a:lnTo>
                    <a:lnTo>
                      <a:pt x="28" y="30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40"/>
                    </a:lnTo>
                    <a:lnTo>
                      <a:pt x="28" y="42"/>
                    </a:lnTo>
                    <a:lnTo>
                      <a:pt x="28" y="42"/>
                    </a:lnTo>
                    <a:lnTo>
                      <a:pt x="28" y="42"/>
                    </a:lnTo>
                    <a:lnTo>
                      <a:pt x="28" y="42"/>
                    </a:lnTo>
                    <a:lnTo>
                      <a:pt x="30" y="42"/>
                    </a:lnTo>
                    <a:lnTo>
                      <a:pt x="30" y="40"/>
                    </a:lnTo>
                    <a:lnTo>
                      <a:pt x="30" y="38"/>
                    </a:lnTo>
                    <a:lnTo>
                      <a:pt x="30" y="36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0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4"/>
                    </a:lnTo>
                    <a:lnTo>
                      <a:pt x="30" y="22"/>
                    </a:lnTo>
                    <a:lnTo>
                      <a:pt x="30" y="20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28" y="14"/>
                    </a:lnTo>
                    <a:lnTo>
                      <a:pt x="28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6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20"/>
                    </a:lnTo>
                    <a:lnTo>
                      <a:pt x="24" y="20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0"/>
                    </a:lnTo>
                    <a:lnTo>
                      <a:pt x="20" y="8"/>
                    </a:lnTo>
                    <a:lnTo>
                      <a:pt x="18" y="8"/>
                    </a:lnTo>
                    <a:lnTo>
                      <a:pt x="18" y="6"/>
                    </a:lnTo>
                    <a:lnTo>
                      <a:pt x="14" y="6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59" name="Freeform 716"/>
              <p:cNvSpPr>
                <a:spLocks/>
              </p:cNvSpPr>
              <p:nvPr/>
            </p:nvSpPr>
            <p:spPr bwMode="auto">
              <a:xfrm>
                <a:off x="4611" y="2464"/>
                <a:ext cx="76" cy="108"/>
              </a:xfrm>
              <a:custGeom>
                <a:avLst/>
                <a:gdLst>
                  <a:gd name="T0" fmla="*/ 20 w 76"/>
                  <a:gd name="T1" fmla="*/ 2 h 108"/>
                  <a:gd name="T2" fmla="*/ 16 w 76"/>
                  <a:gd name="T3" fmla="*/ 2 h 108"/>
                  <a:gd name="T4" fmla="*/ 8 w 76"/>
                  <a:gd name="T5" fmla="*/ 6 h 108"/>
                  <a:gd name="T6" fmla="*/ 8 w 76"/>
                  <a:gd name="T7" fmla="*/ 14 h 108"/>
                  <a:gd name="T8" fmla="*/ 4 w 76"/>
                  <a:gd name="T9" fmla="*/ 22 h 108"/>
                  <a:gd name="T10" fmla="*/ 4 w 76"/>
                  <a:gd name="T11" fmla="*/ 28 h 108"/>
                  <a:gd name="T12" fmla="*/ 10 w 76"/>
                  <a:gd name="T13" fmla="*/ 34 h 108"/>
                  <a:gd name="T14" fmla="*/ 8 w 76"/>
                  <a:gd name="T15" fmla="*/ 42 h 108"/>
                  <a:gd name="T16" fmla="*/ 8 w 76"/>
                  <a:gd name="T17" fmla="*/ 48 h 108"/>
                  <a:gd name="T18" fmla="*/ 6 w 76"/>
                  <a:gd name="T19" fmla="*/ 50 h 108"/>
                  <a:gd name="T20" fmla="*/ 2 w 76"/>
                  <a:gd name="T21" fmla="*/ 48 h 108"/>
                  <a:gd name="T22" fmla="*/ 2 w 76"/>
                  <a:gd name="T23" fmla="*/ 54 h 108"/>
                  <a:gd name="T24" fmla="*/ 4 w 76"/>
                  <a:gd name="T25" fmla="*/ 60 h 108"/>
                  <a:gd name="T26" fmla="*/ 10 w 76"/>
                  <a:gd name="T27" fmla="*/ 70 h 108"/>
                  <a:gd name="T28" fmla="*/ 18 w 76"/>
                  <a:gd name="T29" fmla="*/ 78 h 108"/>
                  <a:gd name="T30" fmla="*/ 22 w 76"/>
                  <a:gd name="T31" fmla="*/ 88 h 108"/>
                  <a:gd name="T32" fmla="*/ 24 w 76"/>
                  <a:gd name="T33" fmla="*/ 92 h 108"/>
                  <a:gd name="T34" fmla="*/ 30 w 76"/>
                  <a:gd name="T35" fmla="*/ 96 h 108"/>
                  <a:gd name="T36" fmla="*/ 36 w 76"/>
                  <a:gd name="T37" fmla="*/ 90 h 108"/>
                  <a:gd name="T38" fmla="*/ 42 w 76"/>
                  <a:gd name="T39" fmla="*/ 92 h 108"/>
                  <a:gd name="T40" fmla="*/ 44 w 76"/>
                  <a:gd name="T41" fmla="*/ 92 h 108"/>
                  <a:gd name="T42" fmla="*/ 50 w 76"/>
                  <a:gd name="T43" fmla="*/ 98 h 108"/>
                  <a:gd name="T44" fmla="*/ 52 w 76"/>
                  <a:gd name="T45" fmla="*/ 98 h 108"/>
                  <a:gd name="T46" fmla="*/ 50 w 76"/>
                  <a:gd name="T47" fmla="*/ 90 h 108"/>
                  <a:gd name="T48" fmla="*/ 52 w 76"/>
                  <a:gd name="T49" fmla="*/ 94 h 108"/>
                  <a:gd name="T50" fmla="*/ 58 w 76"/>
                  <a:gd name="T51" fmla="*/ 96 h 108"/>
                  <a:gd name="T52" fmla="*/ 60 w 76"/>
                  <a:gd name="T53" fmla="*/ 100 h 108"/>
                  <a:gd name="T54" fmla="*/ 64 w 76"/>
                  <a:gd name="T55" fmla="*/ 104 h 108"/>
                  <a:gd name="T56" fmla="*/ 70 w 76"/>
                  <a:gd name="T57" fmla="*/ 106 h 108"/>
                  <a:gd name="T58" fmla="*/ 74 w 76"/>
                  <a:gd name="T59" fmla="*/ 108 h 108"/>
                  <a:gd name="T60" fmla="*/ 76 w 76"/>
                  <a:gd name="T61" fmla="*/ 104 h 108"/>
                  <a:gd name="T62" fmla="*/ 74 w 76"/>
                  <a:gd name="T63" fmla="*/ 98 h 108"/>
                  <a:gd name="T64" fmla="*/ 74 w 76"/>
                  <a:gd name="T65" fmla="*/ 94 h 108"/>
                  <a:gd name="T66" fmla="*/ 70 w 76"/>
                  <a:gd name="T67" fmla="*/ 92 h 108"/>
                  <a:gd name="T68" fmla="*/ 70 w 76"/>
                  <a:gd name="T69" fmla="*/ 88 h 108"/>
                  <a:gd name="T70" fmla="*/ 66 w 76"/>
                  <a:gd name="T71" fmla="*/ 86 h 108"/>
                  <a:gd name="T72" fmla="*/ 60 w 76"/>
                  <a:gd name="T73" fmla="*/ 84 h 108"/>
                  <a:gd name="T74" fmla="*/ 58 w 76"/>
                  <a:gd name="T75" fmla="*/ 86 h 108"/>
                  <a:gd name="T76" fmla="*/ 54 w 76"/>
                  <a:gd name="T77" fmla="*/ 84 h 108"/>
                  <a:gd name="T78" fmla="*/ 48 w 76"/>
                  <a:gd name="T79" fmla="*/ 82 h 108"/>
                  <a:gd name="T80" fmla="*/ 38 w 76"/>
                  <a:gd name="T81" fmla="*/ 84 h 108"/>
                  <a:gd name="T82" fmla="*/ 36 w 76"/>
                  <a:gd name="T83" fmla="*/ 80 h 108"/>
                  <a:gd name="T84" fmla="*/ 34 w 76"/>
                  <a:gd name="T85" fmla="*/ 72 h 108"/>
                  <a:gd name="T86" fmla="*/ 32 w 76"/>
                  <a:gd name="T87" fmla="*/ 60 h 108"/>
                  <a:gd name="T88" fmla="*/ 34 w 76"/>
                  <a:gd name="T89" fmla="*/ 54 h 108"/>
                  <a:gd name="T90" fmla="*/ 40 w 76"/>
                  <a:gd name="T91" fmla="*/ 48 h 108"/>
                  <a:gd name="T92" fmla="*/ 36 w 76"/>
                  <a:gd name="T93" fmla="*/ 36 h 108"/>
                  <a:gd name="T94" fmla="*/ 36 w 76"/>
                  <a:gd name="T95" fmla="*/ 30 h 108"/>
                  <a:gd name="T96" fmla="*/ 38 w 76"/>
                  <a:gd name="T97" fmla="*/ 18 h 108"/>
                  <a:gd name="T98" fmla="*/ 34 w 76"/>
                  <a:gd name="T99" fmla="*/ 14 h 108"/>
                  <a:gd name="T100" fmla="*/ 32 w 76"/>
                  <a:gd name="T101" fmla="*/ 2 h 108"/>
                  <a:gd name="T102" fmla="*/ 30 w 76"/>
                  <a:gd name="T103" fmla="*/ 0 h 108"/>
                  <a:gd name="T104" fmla="*/ 24 w 76"/>
                  <a:gd name="T105" fmla="*/ 4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76" h="108">
                    <a:moveTo>
                      <a:pt x="24" y="4"/>
                    </a:moveTo>
                    <a:lnTo>
                      <a:pt x="24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0" y="4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8"/>
                    </a:lnTo>
                    <a:lnTo>
                      <a:pt x="8" y="10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6" y="18"/>
                    </a:lnTo>
                    <a:lnTo>
                      <a:pt x="4" y="20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6"/>
                    </a:lnTo>
                    <a:lnTo>
                      <a:pt x="4" y="28"/>
                    </a:lnTo>
                    <a:lnTo>
                      <a:pt x="6" y="30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8" y="40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6" y="44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50"/>
                    </a:lnTo>
                    <a:lnTo>
                      <a:pt x="8" y="50"/>
                    </a:lnTo>
                    <a:lnTo>
                      <a:pt x="6" y="50"/>
                    </a:lnTo>
                    <a:lnTo>
                      <a:pt x="6" y="50"/>
                    </a:lnTo>
                    <a:lnTo>
                      <a:pt x="6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2" y="50"/>
                    </a:lnTo>
                    <a:lnTo>
                      <a:pt x="2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50"/>
                    </a:lnTo>
                    <a:lnTo>
                      <a:pt x="2" y="50"/>
                    </a:lnTo>
                    <a:lnTo>
                      <a:pt x="2" y="54"/>
                    </a:lnTo>
                    <a:lnTo>
                      <a:pt x="2" y="54"/>
                    </a:lnTo>
                    <a:lnTo>
                      <a:pt x="4" y="56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6" y="62"/>
                    </a:lnTo>
                    <a:lnTo>
                      <a:pt x="8" y="66"/>
                    </a:lnTo>
                    <a:lnTo>
                      <a:pt x="8" y="66"/>
                    </a:lnTo>
                    <a:lnTo>
                      <a:pt x="10" y="68"/>
                    </a:lnTo>
                    <a:lnTo>
                      <a:pt x="10" y="70"/>
                    </a:lnTo>
                    <a:lnTo>
                      <a:pt x="10" y="70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4" y="76"/>
                    </a:lnTo>
                    <a:lnTo>
                      <a:pt x="18" y="78"/>
                    </a:lnTo>
                    <a:lnTo>
                      <a:pt x="18" y="78"/>
                    </a:lnTo>
                    <a:lnTo>
                      <a:pt x="20" y="80"/>
                    </a:lnTo>
                    <a:lnTo>
                      <a:pt x="22" y="82"/>
                    </a:lnTo>
                    <a:lnTo>
                      <a:pt x="22" y="86"/>
                    </a:lnTo>
                    <a:lnTo>
                      <a:pt x="22" y="88"/>
                    </a:lnTo>
                    <a:lnTo>
                      <a:pt x="22" y="88"/>
                    </a:lnTo>
                    <a:lnTo>
                      <a:pt x="22" y="90"/>
                    </a:lnTo>
                    <a:lnTo>
                      <a:pt x="24" y="92"/>
                    </a:lnTo>
                    <a:lnTo>
                      <a:pt x="24" y="92"/>
                    </a:lnTo>
                    <a:lnTo>
                      <a:pt x="24" y="92"/>
                    </a:lnTo>
                    <a:lnTo>
                      <a:pt x="26" y="94"/>
                    </a:lnTo>
                    <a:lnTo>
                      <a:pt x="28" y="96"/>
                    </a:lnTo>
                    <a:lnTo>
                      <a:pt x="28" y="96"/>
                    </a:lnTo>
                    <a:lnTo>
                      <a:pt x="30" y="96"/>
                    </a:lnTo>
                    <a:lnTo>
                      <a:pt x="30" y="96"/>
                    </a:lnTo>
                    <a:lnTo>
                      <a:pt x="32" y="96"/>
                    </a:lnTo>
                    <a:lnTo>
                      <a:pt x="32" y="94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36" y="90"/>
                    </a:lnTo>
                    <a:lnTo>
                      <a:pt x="36" y="90"/>
                    </a:lnTo>
                    <a:lnTo>
                      <a:pt x="36" y="90"/>
                    </a:lnTo>
                    <a:lnTo>
                      <a:pt x="38" y="92"/>
                    </a:lnTo>
                    <a:lnTo>
                      <a:pt x="40" y="92"/>
                    </a:lnTo>
                    <a:lnTo>
                      <a:pt x="42" y="92"/>
                    </a:lnTo>
                    <a:lnTo>
                      <a:pt x="42" y="92"/>
                    </a:lnTo>
                    <a:lnTo>
                      <a:pt x="42" y="90"/>
                    </a:lnTo>
                    <a:lnTo>
                      <a:pt x="44" y="90"/>
                    </a:lnTo>
                    <a:lnTo>
                      <a:pt x="44" y="92"/>
                    </a:lnTo>
                    <a:lnTo>
                      <a:pt x="44" y="92"/>
                    </a:lnTo>
                    <a:lnTo>
                      <a:pt x="44" y="92"/>
                    </a:lnTo>
                    <a:lnTo>
                      <a:pt x="46" y="94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50" y="98"/>
                    </a:lnTo>
                    <a:lnTo>
                      <a:pt x="50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52" y="96"/>
                    </a:lnTo>
                    <a:lnTo>
                      <a:pt x="52" y="94"/>
                    </a:lnTo>
                    <a:lnTo>
                      <a:pt x="50" y="92"/>
                    </a:lnTo>
                    <a:lnTo>
                      <a:pt x="50" y="92"/>
                    </a:lnTo>
                    <a:lnTo>
                      <a:pt x="50" y="90"/>
                    </a:lnTo>
                    <a:lnTo>
                      <a:pt x="50" y="90"/>
                    </a:lnTo>
                    <a:lnTo>
                      <a:pt x="52" y="90"/>
                    </a:lnTo>
                    <a:lnTo>
                      <a:pt x="52" y="92"/>
                    </a:lnTo>
                    <a:lnTo>
                      <a:pt x="52" y="94"/>
                    </a:lnTo>
                    <a:lnTo>
                      <a:pt x="52" y="94"/>
                    </a:lnTo>
                    <a:lnTo>
                      <a:pt x="54" y="94"/>
                    </a:lnTo>
                    <a:lnTo>
                      <a:pt x="54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8" y="96"/>
                    </a:lnTo>
                    <a:lnTo>
                      <a:pt x="60" y="96"/>
                    </a:lnTo>
                    <a:lnTo>
                      <a:pt x="60" y="98"/>
                    </a:lnTo>
                    <a:lnTo>
                      <a:pt x="60" y="98"/>
                    </a:lnTo>
                    <a:lnTo>
                      <a:pt x="60" y="98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62" y="102"/>
                    </a:lnTo>
                    <a:lnTo>
                      <a:pt x="62" y="102"/>
                    </a:lnTo>
                    <a:lnTo>
                      <a:pt x="64" y="104"/>
                    </a:lnTo>
                    <a:lnTo>
                      <a:pt x="66" y="104"/>
                    </a:lnTo>
                    <a:lnTo>
                      <a:pt x="66" y="104"/>
                    </a:lnTo>
                    <a:lnTo>
                      <a:pt x="66" y="106"/>
                    </a:lnTo>
                    <a:lnTo>
                      <a:pt x="68" y="106"/>
                    </a:lnTo>
                    <a:lnTo>
                      <a:pt x="70" y="106"/>
                    </a:lnTo>
                    <a:lnTo>
                      <a:pt x="70" y="106"/>
                    </a:lnTo>
                    <a:lnTo>
                      <a:pt x="70" y="106"/>
                    </a:lnTo>
                    <a:lnTo>
                      <a:pt x="72" y="106"/>
                    </a:lnTo>
                    <a:lnTo>
                      <a:pt x="72" y="106"/>
                    </a:lnTo>
                    <a:lnTo>
                      <a:pt x="74" y="108"/>
                    </a:lnTo>
                    <a:lnTo>
                      <a:pt x="74" y="108"/>
                    </a:lnTo>
                    <a:lnTo>
                      <a:pt x="74" y="108"/>
                    </a:lnTo>
                    <a:lnTo>
                      <a:pt x="76" y="106"/>
                    </a:lnTo>
                    <a:lnTo>
                      <a:pt x="76" y="106"/>
                    </a:lnTo>
                    <a:lnTo>
                      <a:pt x="76" y="104"/>
                    </a:lnTo>
                    <a:lnTo>
                      <a:pt x="76" y="104"/>
                    </a:lnTo>
                    <a:lnTo>
                      <a:pt x="76" y="104"/>
                    </a:lnTo>
                    <a:lnTo>
                      <a:pt x="74" y="100"/>
                    </a:lnTo>
                    <a:lnTo>
                      <a:pt x="74" y="98"/>
                    </a:lnTo>
                    <a:lnTo>
                      <a:pt x="74" y="98"/>
                    </a:lnTo>
                    <a:lnTo>
                      <a:pt x="74" y="98"/>
                    </a:lnTo>
                    <a:lnTo>
                      <a:pt x="74" y="96"/>
                    </a:lnTo>
                    <a:lnTo>
                      <a:pt x="74" y="96"/>
                    </a:lnTo>
                    <a:lnTo>
                      <a:pt x="74" y="94"/>
                    </a:lnTo>
                    <a:lnTo>
                      <a:pt x="74" y="94"/>
                    </a:lnTo>
                    <a:lnTo>
                      <a:pt x="72" y="94"/>
                    </a:lnTo>
                    <a:lnTo>
                      <a:pt x="70" y="94"/>
                    </a:lnTo>
                    <a:lnTo>
                      <a:pt x="70" y="94"/>
                    </a:lnTo>
                    <a:lnTo>
                      <a:pt x="70" y="92"/>
                    </a:lnTo>
                    <a:lnTo>
                      <a:pt x="70" y="92"/>
                    </a:lnTo>
                    <a:lnTo>
                      <a:pt x="70" y="92"/>
                    </a:lnTo>
                    <a:lnTo>
                      <a:pt x="70" y="90"/>
                    </a:lnTo>
                    <a:lnTo>
                      <a:pt x="70" y="90"/>
                    </a:lnTo>
                    <a:lnTo>
                      <a:pt x="70" y="90"/>
                    </a:lnTo>
                    <a:lnTo>
                      <a:pt x="70" y="88"/>
                    </a:lnTo>
                    <a:lnTo>
                      <a:pt x="70" y="88"/>
                    </a:lnTo>
                    <a:lnTo>
                      <a:pt x="70" y="88"/>
                    </a:lnTo>
                    <a:lnTo>
                      <a:pt x="68" y="86"/>
                    </a:lnTo>
                    <a:lnTo>
                      <a:pt x="66" y="86"/>
                    </a:lnTo>
                    <a:lnTo>
                      <a:pt x="66" y="86"/>
                    </a:lnTo>
                    <a:lnTo>
                      <a:pt x="64" y="86"/>
                    </a:lnTo>
                    <a:lnTo>
                      <a:pt x="64" y="84"/>
                    </a:lnTo>
                    <a:lnTo>
                      <a:pt x="62" y="84"/>
                    </a:lnTo>
                    <a:lnTo>
                      <a:pt x="62" y="84"/>
                    </a:lnTo>
                    <a:lnTo>
                      <a:pt x="60" y="84"/>
                    </a:lnTo>
                    <a:lnTo>
                      <a:pt x="60" y="84"/>
                    </a:lnTo>
                    <a:lnTo>
                      <a:pt x="60" y="84"/>
                    </a:lnTo>
                    <a:lnTo>
                      <a:pt x="60" y="84"/>
                    </a:lnTo>
                    <a:lnTo>
                      <a:pt x="60" y="86"/>
                    </a:lnTo>
                    <a:lnTo>
                      <a:pt x="58" y="86"/>
                    </a:lnTo>
                    <a:lnTo>
                      <a:pt x="58" y="86"/>
                    </a:lnTo>
                    <a:lnTo>
                      <a:pt x="58" y="86"/>
                    </a:lnTo>
                    <a:lnTo>
                      <a:pt x="56" y="86"/>
                    </a:lnTo>
                    <a:lnTo>
                      <a:pt x="54" y="84"/>
                    </a:lnTo>
                    <a:lnTo>
                      <a:pt x="54" y="84"/>
                    </a:lnTo>
                    <a:lnTo>
                      <a:pt x="52" y="82"/>
                    </a:lnTo>
                    <a:lnTo>
                      <a:pt x="52" y="82"/>
                    </a:lnTo>
                    <a:lnTo>
                      <a:pt x="52" y="82"/>
                    </a:lnTo>
                    <a:lnTo>
                      <a:pt x="50" y="82"/>
                    </a:lnTo>
                    <a:lnTo>
                      <a:pt x="48" y="82"/>
                    </a:lnTo>
                    <a:lnTo>
                      <a:pt x="46" y="84"/>
                    </a:lnTo>
                    <a:lnTo>
                      <a:pt x="46" y="84"/>
                    </a:lnTo>
                    <a:lnTo>
                      <a:pt x="44" y="84"/>
                    </a:lnTo>
                    <a:lnTo>
                      <a:pt x="40" y="84"/>
                    </a:lnTo>
                    <a:lnTo>
                      <a:pt x="38" y="84"/>
                    </a:lnTo>
                    <a:lnTo>
                      <a:pt x="36" y="84"/>
                    </a:lnTo>
                    <a:lnTo>
                      <a:pt x="36" y="84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6" y="80"/>
                    </a:lnTo>
                    <a:lnTo>
                      <a:pt x="36" y="78"/>
                    </a:lnTo>
                    <a:lnTo>
                      <a:pt x="36" y="76"/>
                    </a:lnTo>
                    <a:lnTo>
                      <a:pt x="36" y="76"/>
                    </a:lnTo>
                    <a:lnTo>
                      <a:pt x="34" y="74"/>
                    </a:lnTo>
                    <a:lnTo>
                      <a:pt x="34" y="72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66"/>
                    </a:lnTo>
                    <a:lnTo>
                      <a:pt x="32" y="62"/>
                    </a:lnTo>
                    <a:lnTo>
                      <a:pt x="32" y="60"/>
                    </a:lnTo>
                    <a:lnTo>
                      <a:pt x="32" y="58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2" y="54"/>
                    </a:lnTo>
                    <a:lnTo>
                      <a:pt x="34" y="54"/>
                    </a:lnTo>
                    <a:lnTo>
                      <a:pt x="36" y="52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6"/>
                    </a:lnTo>
                    <a:lnTo>
                      <a:pt x="40" y="44"/>
                    </a:lnTo>
                    <a:lnTo>
                      <a:pt x="40" y="42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6" y="34"/>
                    </a:lnTo>
                    <a:lnTo>
                      <a:pt x="36" y="32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8" y="26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2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6"/>
                    </a:lnTo>
                    <a:lnTo>
                      <a:pt x="36" y="16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2"/>
                    </a:lnTo>
                    <a:lnTo>
                      <a:pt x="34" y="10"/>
                    </a:lnTo>
                    <a:lnTo>
                      <a:pt x="34" y="8"/>
                    </a:lnTo>
                    <a:lnTo>
                      <a:pt x="32" y="6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8" y="2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60" name="Freeform 719"/>
              <p:cNvSpPr>
                <a:spLocks/>
              </p:cNvSpPr>
              <p:nvPr/>
            </p:nvSpPr>
            <p:spPr bwMode="auto">
              <a:xfrm>
                <a:off x="4631" y="2562"/>
                <a:ext cx="20" cy="22"/>
              </a:xfrm>
              <a:custGeom>
                <a:avLst/>
                <a:gdLst>
                  <a:gd name="T0" fmla="*/ 0 w 20"/>
                  <a:gd name="T1" fmla="*/ 4 h 22"/>
                  <a:gd name="T2" fmla="*/ 0 w 20"/>
                  <a:gd name="T3" fmla="*/ 4 h 22"/>
                  <a:gd name="T4" fmla="*/ 2 w 20"/>
                  <a:gd name="T5" fmla="*/ 6 h 22"/>
                  <a:gd name="T6" fmla="*/ 2 w 20"/>
                  <a:gd name="T7" fmla="*/ 6 h 22"/>
                  <a:gd name="T8" fmla="*/ 4 w 20"/>
                  <a:gd name="T9" fmla="*/ 8 h 22"/>
                  <a:gd name="T10" fmla="*/ 4 w 20"/>
                  <a:gd name="T11" fmla="*/ 8 h 22"/>
                  <a:gd name="T12" fmla="*/ 6 w 20"/>
                  <a:gd name="T13" fmla="*/ 10 h 22"/>
                  <a:gd name="T14" fmla="*/ 8 w 20"/>
                  <a:gd name="T15" fmla="*/ 14 h 22"/>
                  <a:gd name="T16" fmla="*/ 8 w 20"/>
                  <a:gd name="T17" fmla="*/ 14 h 22"/>
                  <a:gd name="T18" fmla="*/ 8 w 20"/>
                  <a:gd name="T19" fmla="*/ 16 h 22"/>
                  <a:gd name="T20" fmla="*/ 10 w 20"/>
                  <a:gd name="T21" fmla="*/ 20 h 22"/>
                  <a:gd name="T22" fmla="*/ 10 w 20"/>
                  <a:gd name="T23" fmla="*/ 20 h 22"/>
                  <a:gd name="T24" fmla="*/ 10 w 20"/>
                  <a:gd name="T25" fmla="*/ 22 h 22"/>
                  <a:gd name="T26" fmla="*/ 12 w 20"/>
                  <a:gd name="T27" fmla="*/ 22 h 22"/>
                  <a:gd name="T28" fmla="*/ 12 w 20"/>
                  <a:gd name="T29" fmla="*/ 22 h 22"/>
                  <a:gd name="T30" fmla="*/ 12 w 20"/>
                  <a:gd name="T31" fmla="*/ 22 h 22"/>
                  <a:gd name="T32" fmla="*/ 16 w 20"/>
                  <a:gd name="T33" fmla="*/ 22 h 22"/>
                  <a:gd name="T34" fmla="*/ 18 w 20"/>
                  <a:gd name="T35" fmla="*/ 22 h 22"/>
                  <a:gd name="T36" fmla="*/ 18 w 20"/>
                  <a:gd name="T37" fmla="*/ 20 h 22"/>
                  <a:gd name="T38" fmla="*/ 20 w 20"/>
                  <a:gd name="T39" fmla="*/ 20 h 22"/>
                  <a:gd name="T40" fmla="*/ 20 w 20"/>
                  <a:gd name="T41" fmla="*/ 18 h 22"/>
                  <a:gd name="T42" fmla="*/ 20 w 20"/>
                  <a:gd name="T43" fmla="*/ 16 h 22"/>
                  <a:gd name="T44" fmla="*/ 20 w 20"/>
                  <a:gd name="T45" fmla="*/ 16 h 22"/>
                  <a:gd name="T46" fmla="*/ 20 w 20"/>
                  <a:gd name="T47" fmla="*/ 16 h 22"/>
                  <a:gd name="T48" fmla="*/ 18 w 20"/>
                  <a:gd name="T49" fmla="*/ 14 h 22"/>
                  <a:gd name="T50" fmla="*/ 16 w 20"/>
                  <a:gd name="T51" fmla="*/ 14 h 22"/>
                  <a:gd name="T52" fmla="*/ 16 w 20"/>
                  <a:gd name="T53" fmla="*/ 14 h 22"/>
                  <a:gd name="T54" fmla="*/ 16 w 20"/>
                  <a:gd name="T55" fmla="*/ 14 h 22"/>
                  <a:gd name="T56" fmla="*/ 14 w 20"/>
                  <a:gd name="T57" fmla="*/ 12 h 22"/>
                  <a:gd name="T58" fmla="*/ 14 w 20"/>
                  <a:gd name="T59" fmla="*/ 10 h 22"/>
                  <a:gd name="T60" fmla="*/ 14 w 20"/>
                  <a:gd name="T61" fmla="*/ 10 h 22"/>
                  <a:gd name="T62" fmla="*/ 14 w 20"/>
                  <a:gd name="T63" fmla="*/ 8 h 22"/>
                  <a:gd name="T64" fmla="*/ 14 w 20"/>
                  <a:gd name="T65" fmla="*/ 6 h 22"/>
                  <a:gd name="T66" fmla="*/ 14 w 20"/>
                  <a:gd name="T67" fmla="*/ 6 h 22"/>
                  <a:gd name="T68" fmla="*/ 14 w 20"/>
                  <a:gd name="T69" fmla="*/ 6 h 22"/>
                  <a:gd name="T70" fmla="*/ 12 w 20"/>
                  <a:gd name="T71" fmla="*/ 4 h 22"/>
                  <a:gd name="T72" fmla="*/ 12 w 20"/>
                  <a:gd name="T73" fmla="*/ 2 h 22"/>
                  <a:gd name="T74" fmla="*/ 12 w 20"/>
                  <a:gd name="T75" fmla="*/ 2 h 22"/>
                  <a:gd name="T76" fmla="*/ 10 w 20"/>
                  <a:gd name="T77" fmla="*/ 2 h 22"/>
                  <a:gd name="T78" fmla="*/ 8 w 20"/>
                  <a:gd name="T79" fmla="*/ 0 h 22"/>
                  <a:gd name="T80" fmla="*/ 6 w 20"/>
                  <a:gd name="T81" fmla="*/ 0 h 22"/>
                  <a:gd name="T82" fmla="*/ 4 w 20"/>
                  <a:gd name="T83" fmla="*/ 0 h 22"/>
                  <a:gd name="T84" fmla="*/ 4 w 20"/>
                  <a:gd name="T85" fmla="*/ 0 h 22"/>
                  <a:gd name="T86" fmla="*/ 2 w 20"/>
                  <a:gd name="T87" fmla="*/ 0 h 22"/>
                  <a:gd name="T88" fmla="*/ 2 w 20"/>
                  <a:gd name="T89" fmla="*/ 2 h 22"/>
                  <a:gd name="T90" fmla="*/ 0 w 20"/>
                  <a:gd name="T91" fmla="*/ 2 h 22"/>
                  <a:gd name="T92" fmla="*/ 0 w 20"/>
                  <a:gd name="T93" fmla="*/ 2 h 22"/>
                  <a:gd name="T94" fmla="*/ 0 w 20"/>
                  <a:gd name="T95" fmla="*/ 4 h 22"/>
                  <a:gd name="T96" fmla="*/ 0 w 20"/>
                  <a:gd name="T97" fmla="*/ 4 h 22"/>
                  <a:gd name="T98" fmla="*/ 0 w 20"/>
                  <a:gd name="T99" fmla="*/ 4 h 22"/>
                  <a:gd name="T100" fmla="*/ 0 w 20"/>
                  <a:gd name="T101" fmla="*/ 4 h 22"/>
                  <a:gd name="T102" fmla="*/ 0 w 20"/>
                  <a:gd name="T103" fmla="*/ 4 h 22"/>
                  <a:gd name="T104" fmla="*/ 0 w 20"/>
                  <a:gd name="T105" fmla="*/ 4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0" h="22">
                    <a:moveTo>
                      <a:pt x="0" y="4"/>
                    </a:move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10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6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0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8" y="22"/>
                    </a:lnTo>
                    <a:lnTo>
                      <a:pt x="18" y="20"/>
                    </a:lnTo>
                    <a:lnTo>
                      <a:pt x="20" y="20"/>
                    </a:lnTo>
                    <a:lnTo>
                      <a:pt x="20" y="18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18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4" y="12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8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2" y="4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61" name="Freeform 720"/>
              <p:cNvSpPr>
                <a:spLocks/>
              </p:cNvSpPr>
              <p:nvPr/>
            </p:nvSpPr>
            <p:spPr bwMode="auto">
              <a:xfrm>
                <a:off x="4625" y="2586"/>
                <a:ext cx="6" cy="6"/>
              </a:xfrm>
              <a:custGeom>
                <a:avLst/>
                <a:gdLst>
                  <a:gd name="T0" fmla="*/ 4 w 6"/>
                  <a:gd name="T1" fmla="*/ 0 h 6"/>
                  <a:gd name="T2" fmla="*/ 4 w 6"/>
                  <a:gd name="T3" fmla="*/ 0 h 6"/>
                  <a:gd name="T4" fmla="*/ 2 w 6"/>
                  <a:gd name="T5" fmla="*/ 0 h 6"/>
                  <a:gd name="T6" fmla="*/ 2 w 6"/>
                  <a:gd name="T7" fmla="*/ 0 h 6"/>
                  <a:gd name="T8" fmla="*/ 2 w 6"/>
                  <a:gd name="T9" fmla="*/ 2 h 6"/>
                  <a:gd name="T10" fmla="*/ 0 w 6"/>
                  <a:gd name="T11" fmla="*/ 2 h 6"/>
                  <a:gd name="T12" fmla="*/ 0 w 6"/>
                  <a:gd name="T13" fmla="*/ 2 h 6"/>
                  <a:gd name="T14" fmla="*/ 0 w 6"/>
                  <a:gd name="T15" fmla="*/ 4 h 6"/>
                  <a:gd name="T16" fmla="*/ 0 w 6"/>
                  <a:gd name="T17" fmla="*/ 4 h 6"/>
                  <a:gd name="T18" fmla="*/ 2 w 6"/>
                  <a:gd name="T19" fmla="*/ 4 h 6"/>
                  <a:gd name="T20" fmla="*/ 2 w 6"/>
                  <a:gd name="T21" fmla="*/ 4 h 6"/>
                  <a:gd name="T22" fmla="*/ 2 w 6"/>
                  <a:gd name="T23" fmla="*/ 6 h 6"/>
                  <a:gd name="T24" fmla="*/ 4 w 6"/>
                  <a:gd name="T25" fmla="*/ 6 h 6"/>
                  <a:gd name="T26" fmla="*/ 4 w 6"/>
                  <a:gd name="T27" fmla="*/ 6 h 6"/>
                  <a:gd name="T28" fmla="*/ 4 w 6"/>
                  <a:gd name="T29" fmla="*/ 4 h 6"/>
                  <a:gd name="T30" fmla="*/ 6 w 6"/>
                  <a:gd name="T31" fmla="*/ 2 h 6"/>
                  <a:gd name="T32" fmla="*/ 6 w 6"/>
                  <a:gd name="T33" fmla="*/ 0 h 6"/>
                  <a:gd name="T34" fmla="*/ 6 w 6"/>
                  <a:gd name="T35" fmla="*/ 0 h 6"/>
                  <a:gd name="T36" fmla="*/ 4 w 6"/>
                  <a:gd name="T37" fmla="*/ 0 h 6"/>
                  <a:gd name="T38" fmla="*/ 4 w 6"/>
                  <a:gd name="T39" fmla="*/ 0 h 6"/>
                  <a:gd name="T40" fmla="*/ 4 w 6"/>
                  <a:gd name="T41" fmla="*/ 0 h 6"/>
                  <a:gd name="T42" fmla="*/ 4 w 6"/>
                  <a:gd name="T43" fmla="*/ 0 h 6"/>
                  <a:gd name="T44" fmla="*/ 4 w 6"/>
                  <a:gd name="T4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" h="6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62" name="Freeform 722"/>
              <p:cNvSpPr>
                <a:spLocks/>
              </p:cNvSpPr>
              <p:nvPr/>
            </p:nvSpPr>
            <p:spPr bwMode="auto">
              <a:xfrm>
                <a:off x="4653" y="2562"/>
                <a:ext cx="6" cy="4"/>
              </a:xfrm>
              <a:custGeom>
                <a:avLst/>
                <a:gdLst>
                  <a:gd name="T0" fmla="*/ 2 w 6"/>
                  <a:gd name="T1" fmla="*/ 4 h 4"/>
                  <a:gd name="T2" fmla="*/ 2 w 6"/>
                  <a:gd name="T3" fmla="*/ 4 h 4"/>
                  <a:gd name="T4" fmla="*/ 2 w 6"/>
                  <a:gd name="T5" fmla="*/ 4 h 4"/>
                  <a:gd name="T6" fmla="*/ 4 w 6"/>
                  <a:gd name="T7" fmla="*/ 4 h 4"/>
                  <a:gd name="T8" fmla="*/ 4 w 6"/>
                  <a:gd name="T9" fmla="*/ 4 h 4"/>
                  <a:gd name="T10" fmla="*/ 6 w 6"/>
                  <a:gd name="T11" fmla="*/ 4 h 4"/>
                  <a:gd name="T12" fmla="*/ 6 w 6"/>
                  <a:gd name="T13" fmla="*/ 4 h 4"/>
                  <a:gd name="T14" fmla="*/ 6 w 6"/>
                  <a:gd name="T15" fmla="*/ 2 h 4"/>
                  <a:gd name="T16" fmla="*/ 6 w 6"/>
                  <a:gd name="T17" fmla="*/ 2 h 4"/>
                  <a:gd name="T18" fmla="*/ 4 w 6"/>
                  <a:gd name="T19" fmla="*/ 0 h 4"/>
                  <a:gd name="T20" fmla="*/ 2 w 6"/>
                  <a:gd name="T21" fmla="*/ 0 h 4"/>
                  <a:gd name="T22" fmla="*/ 2 w 6"/>
                  <a:gd name="T23" fmla="*/ 0 h 4"/>
                  <a:gd name="T24" fmla="*/ 2 w 6"/>
                  <a:gd name="T25" fmla="*/ 0 h 4"/>
                  <a:gd name="T26" fmla="*/ 2 w 6"/>
                  <a:gd name="T27" fmla="*/ 0 h 4"/>
                  <a:gd name="T28" fmla="*/ 0 w 6"/>
                  <a:gd name="T29" fmla="*/ 0 h 4"/>
                  <a:gd name="T30" fmla="*/ 0 w 6"/>
                  <a:gd name="T31" fmla="*/ 0 h 4"/>
                  <a:gd name="T32" fmla="*/ 0 w 6"/>
                  <a:gd name="T33" fmla="*/ 2 h 4"/>
                  <a:gd name="T34" fmla="*/ 2 w 6"/>
                  <a:gd name="T35" fmla="*/ 4 h 4"/>
                  <a:gd name="T36" fmla="*/ 2 w 6"/>
                  <a:gd name="T37" fmla="*/ 4 h 4"/>
                  <a:gd name="T38" fmla="*/ 2 w 6"/>
                  <a:gd name="T39" fmla="*/ 4 h 4"/>
                  <a:gd name="T40" fmla="*/ 2 w 6"/>
                  <a:gd name="T41" fmla="*/ 4 h 4"/>
                  <a:gd name="T42" fmla="*/ 2 w 6"/>
                  <a:gd name="T43" fmla="*/ 4 h 4"/>
                  <a:gd name="T44" fmla="*/ 2 w 6"/>
                  <a:gd name="T4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" h="4">
                    <a:moveTo>
                      <a:pt x="2" y="4"/>
                    </a:moveTo>
                    <a:lnTo>
                      <a:pt x="2" y="4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63" name="Freeform 724"/>
              <p:cNvSpPr>
                <a:spLocks/>
              </p:cNvSpPr>
              <p:nvPr/>
            </p:nvSpPr>
            <p:spPr bwMode="auto">
              <a:xfrm>
                <a:off x="4687" y="2578"/>
                <a:ext cx="34" cy="48"/>
              </a:xfrm>
              <a:custGeom>
                <a:avLst/>
                <a:gdLst>
                  <a:gd name="T0" fmla="*/ 2 w 34"/>
                  <a:gd name="T1" fmla="*/ 4 h 48"/>
                  <a:gd name="T2" fmla="*/ 0 w 34"/>
                  <a:gd name="T3" fmla="*/ 6 h 48"/>
                  <a:gd name="T4" fmla="*/ 2 w 34"/>
                  <a:gd name="T5" fmla="*/ 8 h 48"/>
                  <a:gd name="T6" fmla="*/ 8 w 34"/>
                  <a:gd name="T7" fmla="*/ 12 h 48"/>
                  <a:gd name="T8" fmla="*/ 16 w 34"/>
                  <a:gd name="T9" fmla="*/ 18 h 48"/>
                  <a:gd name="T10" fmla="*/ 18 w 34"/>
                  <a:gd name="T11" fmla="*/ 18 h 48"/>
                  <a:gd name="T12" fmla="*/ 20 w 34"/>
                  <a:gd name="T13" fmla="*/ 22 h 48"/>
                  <a:gd name="T14" fmla="*/ 18 w 34"/>
                  <a:gd name="T15" fmla="*/ 26 h 48"/>
                  <a:gd name="T16" fmla="*/ 16 w 34"/>
                  <a:gd name="T17" fmla="*/ 26 h 48"/>
                  <a:gd name="T18" fmla="*/ 12 w 34"/>
                  <a:gd name="T19" fmla="*/ 24 h 48"/>
                  <a:gd name="T20" fmla="*/ 12 w 34"/>
                  <a:gd name="T21" fmla="*/ 26 h 48"/>
                  <a:gd name="T22" fmla="*/ 10 w 34"/>
                  <a:gd name="T23" fmla="*/ 28 h 48"/>
                  <a:gd name="T24" fmla="*/ 8 w 34"/>
                  <a:gd name="T25" fmla="*/ 30 h 48"/>
                  <a:gd name="T26" fmla="*/ 6 w 34"/>
                  <a:gd name="T27" fmla="*/ 30 h 48"/>
                  <a:gd name="T28" fmla="*/ 6 w 34"/>
                  <a:gd name="T29" fmla="*/ 34 h 48"/>
                  <a:gd name="T30" fmla="*/ 8 w 34"/>
                  <a:gd name="T31" fmla="*/ 40 h 48"/>
                  <a:gd name="T32" fmla="*/ 12 w 34"/>
                  <a:gd name="T33" fmla="*/ 40 h 48"/>
                  <a:gd name="T34" fmla="*/ 14 w 34"/>
                  <a:gd name="T35" fmla="*/ 38 h 48"/>
                  <a:gd name="T36" fmla="*/ 16 w 34"/>
                  <a:gd name="T37" fmla="*/ 42 h 48"/>
                  <a:gd name="T38" fmla="*/ 18 w 34"/>
                  <a:gd name="T39" fmla="*/ 46 h 48"/>
                  <a:gd name="T40" fmla="*/ 20 w 34"/>
                  <a:gd name="T41" fmla="*/ 46 h 48"/>
                  <a:gd name="T42" fmla="*/ 24 w 34"/>
                  <a:gd name="T43" fmla="*/ 46 h 48"/>
                  <a:gd name="T44" fmla="*/ 26 w 34"/>
                  <a:gd name="T45" fmla="*/ 48 h 48"/>
                  <a:gd name="T46" fmla="*/ 28 w 34"/>
                  <a:gd name="T47" fmla="*/ 46 h 48"/>
                  <a:gd name="T48" fmla="*/ 32 w 34"/>
                  <a:gd name="T49" fmla="*/ 48 h 48"/>
                  <a:gd name="T50" fmla="*/ 32 w 34"/>
                  <a:gd name="T51" fmla="*/ 48 h 48"/>
                  <a:gd name="T52" fmla="*/ 32 w 34"/>
                  <a:gd name="T53" fmla="*/ 44 h 48"/>
                  <a:gd name="T54" fmla="*/ 32 w 34"/>
                  <a:gd name="T55" fmla="*/ 42 h 48"/>
                  <a:gd name="T56" fmla="*/ 30 w 34"/>
                  <a:gd name="T57" fmla="*/ 40 h 48"/>
                  <a:gd name="T58" fmla="*/ 28 w 34"/>
                  <a:gd name="T59" fmla="*/ 42 h 48"/>
                  <a:gd name="T60" fmla="*/ 26 w 34"/>
                  <a:gd name="T61" fmla="*/ 44 h 48"/>
                  <a:gd name="T62" fmla="*/ 24 w 34"/>
                  <a:gd name="T63" fmla="*/ 40 h 48"/>
                  <a:gd name="T64" fmla="*/ 22 w 34"/>
                  <a:gd name="T65" fmla="*/ 38 h 48"/>
                  <a:gd name="T66" fmla="*/ 18 w 34"/>
                  <a:gd name="T67" fmla="*/ 36 h 48"/>
                  <a:gd name="T68" fmla="*/ 18 w 34"/>
                  <a:gd name="T69" fmla="*/ 30 h 48"/>
                  <a:gd name="T70" fmla="*/ 18 w 34"/>
                  <a:gd name="T71" fmla="*/ 30 h 48"/>
                  <a:gd name="T72" fmla="*/ 20 w 34"/>
                  <a:gd name="T73" fmla="*/ 30 h 48"/>
                  <a:gd name="T74" fmla="*/ 24 w 34"/>
                  <a:gd name="T75" fmla="*/ 30 h 48"/>
                  <a:gd name="T76" fmla="*/ 24 w 34"/>
                  <a:gd name="T77" fmla="*/ 30 h 48"/>
                  <a:gd name="T78" fmla="*/ 26 w 34"/>
                  <a:gd name="T79" fmla="*/ 30 h 48"/>
                  <a:gd name="T80" fmla="*/ 28 w 34"/>
                  <a:gd name="T81" fmla="*/ 30 h 48"/>
                  <a:gd name="T82" fmla="*/ 32 w 34"/>
                  <a:gd name="T83" fmla="*/ 30 h 48"/>
                  <a:gd name="T84" fmla="*/ 32 w 34"/>
                  <a:gd name="T85" fmla="*/ 30 h 48"/>
                  <a:gd name="T86" fmla="*/ 28 w 34"/>
                  <a:gd name="T87" fmla="*/ 28 h 48"/>
                  <a:gd name="T88" fmla="*/ 26 w 34"/>
                  <a:gd name="T89" fmla="*/ 24 h 48"/>
                  <a:gd name="T90" fmla="*/ 26 w 34"/>
                  <a:gd name="T91" fmla="*/ 22 h 48"/>
                  <a:gd name="T92" fmla="*/ 28 w 34"/>
                  <a:gd name="T93" fmla="*/ 16 h 48"/>
                  <a:gd name="T94" fmla="*/ 26 w 34"/>
                  <a:gd name="T95" fmla="*/ 12 h 48"/>
                  <a:gd name="T96" fmla="*/ 24 w 34"/>
                  <a:gd name="T97" fmla="*/ 10 h 48"/>
                  <a:gd name="T98" fmla="*/ 24 w 34"/>
                  <a:gd name="T99" fmla="*/ 8 h 48"/>
                  <a:gd name="T100" fmla="*/ 20 w 34"/>
                  <a:gd name="T101" fmla="*/ 6 h 48"/>
                  <a:gd name="T102" fmla="*/ 16 w 34"/>
                  <a:gd name="T103" fmla="*/ 2 h 48"/>
                  <a:gd name="T104" fmla="*/ 8 w 34"/>
                  <a:gd name="T105" fmla="*/ 0 h 48"/>
                  <a:gd name="T106" fmla="*/ 4 w 34"/>
                  <a:gd name="T107" fmla="*/ 2 h 48"/>
                  <a:gd name="T108" fmla="*/ 4 w 34"/>
                  <a:gd name="T109" fmla="*/ 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4" h="48">
                    <a:moveTo>
                      <a:pt x="4" y="2"/>
                    </a:moveTo>
                    <a:lnTo>
                      <a:pt x="4" y="2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2" y="8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8" y="12"/>
                    </a:lnTo>
                    <a:lnTo>
                      <a:pt x="10" y="14"/>
                    </a:lnTo>
                    <a:lnTo>
                      <a:pt x="12" y="16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20" y="22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4" y="26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8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6" y="30"/>
                    </a:lnTo>
                    <a:lnTo>
                      <a:pt x="4" y="30"/>
                    </a:lnTo>
                    <a:lnTo>
                      <a:pt x="6" y="30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6" y="34"/>
                    </a:lnTo>
                    <a:lnTo>
                      <a:pt x="8" y="36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10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6" y="40"/>
                    </a:lnTo>
                    <a:lnTo>
                      <a:pt x="16" y="42"/>
                    </a:lnTo>
                    <a:lnTo>
                      <a:pt x="16" y="44"/>
                    </a:lnTo>
                    <a:lnTo>
                      <a:pt x="18" y="46"/>
                    </a:lnTo>
                    <a:lnTo>
                      <a:pt x="18" y="46"/>
                    </a:lnTo>
                    <a:lnTo>
                      <a:pt x="18" y="46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2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8"/>
                    </a:lnTo>
                    <a:lnTo>
                      <a:pt x="26" y="48"/>
                    </a:lnTo>
                    <a:lnTo>
                      <a:pt x="28" y="48"/>
                    </a:lnTo>
                    <a:lnTo>
                      <a:pt x="28" y="48"/>
                    </a:lnTo>
                    <a:lnTo>
                      <a:pt x="28" y="46"/>
                    </a:lnTo>
                    <a:lnTo>
                      <a:pt x="28" y="46"/>
                    </a:lnTo>
                    <a:lnTo>
                      <a:pt x="30" y="48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34" y="46"/>
                    </a:lnTo>
                    <a:lnTo>
                      <a:pt x="32" y="44"/>
                    </a:lnTo>
                    <a:lnTo>
                      <a:pt x="32" y="42"/>
                    </a:lnTo>
                    <a:lnTo>
                      <a:pt x="32" y="42"/>
                    </a:lnTo>
                    <a:lnTo>
                      <a:pt x="32" y="42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28" y="40"/>
                    </a:lnTo>
                    <a:lnTo>
                      <a:pt x="28" y="40"/>
                    </a:lnTo>
                    <a:lnTo>
                      <a:pt x="28" y="42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2"/>
                    </a:lnTo>
                    <a:lnTo>
                      <a:pt x="24" y="40"/>
                    </a:lnTo>
                    <a:lnTo>
                      <a:pt x="24" y="40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0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4"/>
                    </a:lnTo>
                    <a:lnTo>
                      <a:pt x="18" y="32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2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8" y="30"/>
                    </a:lnTo>
                    <a:lnTo>
                      <a:pt x="28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0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6"/>
                    </a:lnTo>
                    <a:lnTo>
                      <a:pt x="26" y="26"/>
                    </a:lnTo>
                    <a:lnTo>
                      <a:pt x="26" y="24"/>
                    </a:lnTo>
                    <a:lnTo>
                      <a:pt x="26" y="24"/>
                    </a:lnTo>
                    <a:lnTo>
                      <a:pt x="26" y="24"/>
                    </a:lnTo>
                    <a:lnTo>
                      <a:pt x="26" y="22"/>
                    </a:lnTo>
                    <a:lnTo>
                      <a:pt x="26" y="20"/>
                    </a:lnTo>
                    <a:lnTo>
                      <a:pt x="28" y="18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4" y="10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2" y="8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2" y="2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64" name="Freeform 726"/>
              <p:cNvSpPr>
                <a:spLocks/>
              </p:cNvSpPr>
              <p:nvPr/>
            </p:nvSpPr>
            <p:spPr bwMode="auto">
              <a:xfrm>
                <a:off x="4585" y="2600"/>
                <a:ext cx="40" cy="62"/>
              </a:xfrm>
              <a:custGeom>
                <a:avLst/>
                <a:gdLst>
                  <a:gd name="T0" fmla="*/ 32 w 40"/>
                  <a:gd name="T1" fmla="*/ 4 h 62"/>
                  <a:gd name="T2" fmla="*/ 32 w 40"/>
                  <a:gd name="T3" fmla="*/ 8 h 62"/>
                  <a:gd name="T4" fmla="*/ 30 w 40"/>
                  <a:gd name="T5" fmla="*/ 8 h 62"/>
                  <a:gd name="T6" fmla="*/ 30 w 40"/>
                  <a:gd name="T7" fmla="*/ 10 h 62"/>
                  <a:gd name="T8" fmla="*/ 30 w 40"/>
                  <a:gd name="T9" fmla="*/ 14 h 62"/>
                  <a:gd name="T10" fmla="*/ 30 w 40"/>
                  <a:gd name="T11" fmla="*/ 16 h 62"/>
                  <a:gd name="T12" fmla="*/ 32 w 40"/>
                  <a:gd name="T13" fmla="*/ 18 h 62"/>
                  <a:gd name="T14" fmla="*/ 32 w 40"/>
                  <a:gd name="T15" fmla="*/ 20 h 62"/>
                  <a:gd name="T16" fmla="*/ 30 w 40"/>
                  <a:gd name="T17" fmla="*/ 22 h 62"/>
                  <a:gd name="T18" fmla="*/ 30 w 40"/>
                  <a:gd name="T19" fmla="*/ 24 h 62"/>
                  <a:gd name="T20" fmla="*/ 26 w 40"/>
                  <a:gd name="T21" fmla="*/ 26 h 62"/>
                  <a:gd name="T22" fmla="*/ 26 w 40"/>
                  <a:gd name="T23" fmla="*/ 30 h 62"/>
                  <a:gd name="T24" fmla="*/ 24 w 40"/>
                  <a:gd name="T25" fmla="*/ 32 h 62"/>
                  <a:gd name="T26" fmla="*/ 24 w 40"/>
                  <a:gd name="T27" fmla="*/ 32 h 62"/>
                  <a:gd name="T28" fmla="*/ 20 w 40"/>
                  <a:gd name="T29" fmla="*/ 36 h 62"/>
                  <a:gd name="T30" fmla="*/ 18 w 40"/>
                  <a:gd name="T31" fmla="*/ 38 h 62"/>
                  <a:gd name="T32" fmla="*/ 16 w 40"/>
                  <a:gd name="T33" fmla="*/ 42 h 62"/>
                  <a:gd name="T34" fmla="*/ 14 w 40"/>
                  <a:gd name="T35" fmla="*/ 44 h 62"/>
                  <a:gd name="T36" fmla="*/ 6 w 40"/>
                  <a:gd name="T37" fmla="*/ 50 h 62"/>
                  <a:gd name="T38" fmla="*/ 6 w 40"/>
                  <a:gd name="T39" fmla="*/ 52 h 62"/>
                  <a:gd name="T40" fmla="*/ 2 w 40"/>
                  <a:gd name="T41" fmla="*/ 56 h 62"/>
                  <a:gd name="T42" fmla="*/ 0 w 40"/>
                  <a:gd name="T43" fmla="*/ 58 h 62"/>
                  <a:gd name="T44" fmla="*/ 0 w 40"/>
                  <a:gd name="T45" fmla="*/ 60 h 62"/>
                  <a:gd name="T46" fmla="*/ 0 w 40"/>
                  <a:gd name="T47" fmla="*/ 62 h 62"/>
                  <a:gd name="T48" fmla="*/ 2 w 40"/>
                  <a:gd name="T49" fmla="*/ 62 h 62"/>
                  <a:gd name="T50" fmla="*/ 4 w 40"/>
                  <a:gd name="T51" fmla="*/ 60 h 62"/>
                  <a:gd name="T52" fmla="*/ 6 w 40"/>
                  <a:gd name="T53" fmla="*/ 58 h 62"/>
                  <a:gd name="T54" fmla="*/ 8 w 40"/>
                  <a:gd name="T55" fmla="*/ 56 h 62"/>
                  <a:gd name="T56" fmla="*/ 12 w 40"/>
                  <a:gd name="T57" fmla="*/ 52 h 62"/>
                  <a:gd name="T58" fmla="*/ 16 w 40"/>
                  <a:gd name="T59" fmla="*/ 50 h 62"/>
                  <a:gd name="T60" fmla="*/ 18 w 40"/>
                  <a:gd name="T61" fmla="*/ 48 h 62"/>
                  <a:gd name="T62" fmla="*/ 20 w 40"/>
                  <a:gd name="T63" fmla="*/ 48 h 62"/>
                  <a:gd name="T64" fmla="*/ 22 w 40"/>
                  <a:gd name="T65" fmla="*/ 46 h 62"/>
                  <a:gd name="T66" fmla="*/ 22 w 40"/>
                  <a:gd name="T67" fmla="*/ 42 h 62"/>
                  <a:gd name="T68" fmla="*/ 26 w 40"/>
                  <a:gd name="T69" fmla="*/ 36 h 62"/>
                  <a:gd name="T70" fmla="*/ 28 w 40"/>
                  <a:gd name="T71" fmla="*/ 34 h 62"/>
                  <a:gd name="T72" fmla="*/ 32 w 40"/>
                  <a:gd name="T73" fmla="*/ 30 h 62"/>
                  <a:gd name="T74" fmla="*/ 38 w 40"/>
                  <a:gd name="T75" fmla="*/ 28 h 62"/>
                  <a:gd name="T76" fmla="*/ 38 w 40"/>
                  <a:gd name="T77" fmla="*/ 26 h 62"/>
                  <a:gd name="T78" fmla="*/ 40 w 40"/>
                  <a:gd name="T79" fmla="*/ 22 h 62"/>
                  <a:gd name="T80" fmla="*/ 38 w 40"/>
                  <a:gd name="T81" fmla="*/ 16 h 62"/>
                  <a:gd name="T82" fmla="*/ 36 w 40"/>
                  <a:gd name="T83" fmla="*/ 14 h 62"/>
                  <a:gd name="T84" fmla="*/ 36 w 40"/>
                  <a:gd name="T85" fmla="*/ 10 h 62"/>
                  <a:gd name="T86" fmla="*/ 36 w 40"/>
                  <a:gd name="T87" fmla="*/ 6 h 62"/>
                  <a:gd name="T88" fmla="*/ 36 w 40"/>
                  <a:gd name="T89" fmla="*/ 4 h 62"/>
                  <a:gd name="T90" fmla="*/ 36 w 40"/>
                  <a:gd name="T91" fmla="*/ 0 h 62"/>
                  <a:gd name="T92" fmla="*/ 34 w 40"/>
                  <a:gd name="T93" fmla="*/ 0 h 62"/>
                  <a:gd name="T94" fmla="*/ 32 w 40"/>
                  <a:gd name="T95" fmla="*/ 0 h 62"/>
                  <a:gd name="T96" fmla="*/ 32 w 40"/>
                  <a:gd name="T97" fmla="*/ 2 h 62"/>
                  <a:gd name="T98" fmla="*/ 32 w 40"/>
                  <a:gd name="T99" fmla="*/ 4 h 62"/>
                  <a:gd name="T100" fmla="*/ 32 w 40"/>
                  <a:gd name="T101" fmla="*/ 4 h 62"/>
                  <a:gd name="T102" fmla="*/ 32 w 40"/>
                  <a:gd name="T103" fmla="*/ 4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40" h="62">
                    <a:moveTo>
                      <a:pt x="32" y="4"/>
                    </a:moveTo>
                    <a:lnTo>
                      <a:pt x="32" y="4"/>
                    </a:lnTo>
                    <a:lnTo>
                      <a:pt x="32" y="6"/>
                    </a:lnTo>
                    <a:lnTo>
                      <a:pt x="32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10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32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4"/>
                    </a:lnTo>
                    <a:lnTo>
                      <a:pt x="28" y="24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26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2" y="34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18" y="38"/>
                    </a:lnTo>
                    <a:lnTo>
                      <a:pt x="16" y="40"/>
                    </a:lnTo>
                    <a:lnTo>
                      <a:pt x="16" y="42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0" y="48"/>
                    </a:lnTo>
                    <a:lnTo>
                      <a:pt x="6" y="50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4" y="54"/>
                    </a:lnTo>
                    <a:lnTo>
                      <a:pt x="2" y="56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2" y="62"/>
                    </a:lnTo>
                    <a:lnTo>
                      <a:pt x="2" y="62"/>
                    </a:lnTo>
                    <a:lnTo>
                      <a:pt x="4" y="60"/>
                    </a:lnTo>
                    <a:lnTo>
                      <a:pt x="6" y="60"/>
                    </a:lnTo>
                    <a:lnTo>
                      <a:pt x="6" y="58"/>
                    </a:lnTo>
                    <a:lnTo>
                      <a:pt x="6" y="58"/>
                    </a:lnTo>
                    <a:lnTo>
                      <a:pt x="8" y="56"/>
                    </a:lnTo>
                    <a:lnTo>
                      <a:pt x="10" y="54"/>
                    </a:lnTo>
                    <a:lnTo>
                      <a:pt x="12" y="52"/>
                    </a:lnTo>
                    <a:lnTo>
                      <a:pt x="16" y="50"/>
                    </a:lnTo>
                    <a:lnTo>
                      <a:pt x="16" y="50"/>
                    </a:lnTo>
                    <a:lnTo>
                      <a:pt x="18" y="50"/>
                    </a:lnTo>
                    <a:lnTo>
                      <a:pt x="18" y="48"/>
                    </a:lnTo>
                    <a:lnTo>
                      <a:pt x="20" y="48"/>
                    </a:lnTo>
                    <a:lnTo>
                      <a:pt x="20" y="48"/>
                    </a:lnTo>
                    <a:lnTo>
                      <a:pt x="20" y="46"/>
                    </a:lnTo>
                    <a:lnTo>
                      <a:pt x="22" y="46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4" y="38"/>
                    </a:lnTo>
                    <a:lnTo>
                      <a:pt x="26" y="36"/>
                    </a:lnTo>
                    <a:lnTo>
                      <a:pt x="28" y="34"/>
                    </a:lnTo>
                    <a:lnTo>
                      <a:pt x="28" y="34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4" y="30"/>
                    </a:lnTo>
                    <a:lnTo>
                      <a:pt x="38" y="28"/>
                    </a:lnTo>
                    <a:lnTo>
                      <a:pt x="38" y="28"/>
                    </a:lnTo>
                    <a:lnTo>
                      <a:pt x="38" y="26"/>
                    </a:lnTo>
                    <a:lnTo>
                      <a:pt x="40" y="24"/>
                    </a:lnTo>
                    <a:lnTo>
                      <a:pt x="40" y="22"/>
                    </a:lnTo>
                    <a:lnTo>
                      <a:pt x="38" y="20"/>
                    </a:lnTo>
                    <a:lnTo>
                      <a:pt x="38" y="16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6" y="10"/>
                    </a:lnTo>
                    <a:lnTo>
                      <a:pt x="36" y="8"/>
                    </a:lnTo>
                    <a:lnTo>
                      <a:pt x="36" y="6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2"/>
                    </a:lnTo>
                    <a:lnTo>
                      <a:pt x="36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2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65" name="Freeform 728"/>
              <p:cNvSpPr>
                <a:spLocks/>
              </p:cNvSpPr>
              <p:nvPr/>
            </p:nvSpPr>
            <p:spPr bwMode="auto">
              <a:xfrm>
                <a:off x="4691" y="2626"/>
                <a:ext cx="12" cy="10"/>
              </a:xfrm>
              <a:custGeom>
                <a:avLst/>
                <a:gdLst>
                  <a:gd name="T0" fmla="*/ 2 w 12"/>
                  <a:gd name="T1" fmla="*/ 6 h 10"/>
                  <a:gd name="T2" fmla="*/ 2 w 12"/>
                  <a:gd name="T3" fmla="*/ 6 h 10"/>
                  <a:gd name="T4" fmla="*/ 0 w 12"/>
                  <a:gd name="T5" fmla="*/ 8 h 10"/>
                  <a:gd name="T6" fmla="*/ 0 w 12"/>
                  <a:gd name="T7" fmla="*/ 8 h 10"/>
                  <a:gd name="T8" fmla="*/ 0 w 12"/>
                  <a:gd name="T9" fmla="*/ 8 h 10"/>
                  <a:gd name="T10" fmla="*/ 0 w 12"/>
                  <a:gd name="T11" fmla="*/ 8 h 10"/>
                  <a:gd name="T12" fmla="*/ 0 w 12"/>
                  <a:gd name="T13" fmla="*/ 10 h 10"/>
                  <a:gd name="T14" fmla="*/ 2 w 12"/>
                  <a:gd name="T15" fmla="*/ 10 h 10"/>
                  <a:gd name="T16" fmla="*/ 4 w 12"/>
                  <a:gd name="T17" fmla="*/ 10 h 10"/>
                  <a:gd name="T18" fmla="*/ 4 w 12"/>
                  <a:gd name="T19" fmla="*/ 10 h 10"/>
                  <a:gd name="T20" fmla="*/ 6 w 12"/>
                  <a:gd name="T21" fmla="*/ 10 h 10"/>
                  <a:gd name="T22" fmla="*/ 6 w 12"/>
                  <a:gd name="T23" fmla="*/ 10 h 10"/>
                  <a:gd name="T24" fmla="*/ 8 w 12"/>
                  <a:gd name="T25" fmla="*/ 8 h 10"/>
                  <a:gd name="T26" fmla="*/ 10 w 12"/>
                  <a:gd name="T27" fmla="*/ 8 h 10"/>
                  <a:gd name="T28" fmla="*/ 10 w 12"/>
                  <a:gd name="T29" fmla="*/ 8 h 10"/>
                  <a:gd name="T30" fmla="*/ 10 w 12"/>
                  <a:gd name="T31" fmla="*/ 6 h 10"/>
                  <a:gd name="T32" fmla="*/ 12 w 12"/>
                  <a:gd name="T33" fmla="*/ 4 h 10"/>
                  <a:gd name="T34" fmla="*/ 10 w 12"/>
                  <a:gd name="T35" fmla="*/ 4 h 10"/>
                  <a:gd name="T36" fmla="*/ 10 w 12"/>
                  <a:gd name="T37" fmla="*/ 4 h 10"/>
                  <a:gd name="T38" fmla="*/ 10 w 12"/>
                  <a:gd name="T39" fmla="*/ 2 h 10"/>
                  <a:gd name="T40" fmla="*/ 10 w 12"/>
                  <a:gd name="T41" fmla="*/ 0 h 10"/>
                  <a:gd name="T42" fmla="*/ 8 w 12"/>
                  <a:gd name="T43" fmla="*/ 0 h 10"/>
                  <a:gd name="T44" fmla="*/ 8 w 12"/>
                  <a:gd name="T45" fmla="*/ 2 h 10"/>
                  <a:gd name="T46" fmla="*/ 6 w 12"/>
                  <a:gd name="T47" fmla="*/ 2 h 10"/>
                  <a:gd name="T48" fmla="*/ 4 w 12"/>
                  <a:gd name="T49" fmla="*/ 4 h 10"/>
                  <a:gd name="T50" fmla="*/ 2 w 12"/>
                  <a:gd name="T51" fmla="*/ 6 h 10"/>
                  <a:gd name="T52" fmla="*/ 2 w 12"/>
                  <a:gd name="T53" fmla="*/ 6 h 10"/>
                  <a:gd name="T54" fmla="*/ 2 w 12"/>
                  <a:gd name="T55" fmla="*/ 6 h 10"/>
                  <a:gd name="T56" fmla="*/ 2 w 12"/>
                  <a:gd name="T57" fmla="*/ 6 h 10"/>
                  <a:gd name="T58" fmla="*/ 2 w 12"/>
                  <a:gd name="T59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2" h="10">
                    <a:moveTo>
                      <a:pt x="2" y="6"/>
                    </a:move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2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8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6"/>
                    </a:lnTo>
                    <a:lnTo>
                      <a:pt x="12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2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66" name="Freeform 730"/>
              <p:cNvSpPr>
                <a:spLocks/>
              </p:cNvSpPr>
              <p:nvPr/>
            </p:nvSpPr>
            <p:spPr bwMode="auto">
              <a:xfrm>
                <a:off x="4663" y="2632"/>
                <a:ext cx="76" cy="82"/>
              </a:xfrm>
              <a:custGeom>
                <a:avLst/>
                <a:gdLst>
                  <a:gd name="T0" fmla="*/ 50 w 76"/>
                  <a:gd name="T1" fmla="*/ 6 h 82"/>
                  <a:gd name="T2" fmla="*/ 56 w 76"/>
                  <a:gd name="T3" fmla="*/ 12 h 82"/>
                  <a:gd name="T4" fmla="*/ 54 w 76"/>
                  <a:gd name="T5" fmla="*/ 16 h 82"/>
                  <a:gd name="T6" fmla="*/ 50 w 76"/>
                  <a:gd name="T7" fmla="*/ 16 h 82"/>
                  <a:gd name="T8" fmla="*/ 46 w 76"/>
                  <a:gd name="T9" fmla="*/ 18 h 82"/>
                  <a:gd name="T10" fmla="*/ 44 w 76"/>
                  <a:gd name="T11" fmla="*/ 22 h 82"/>
                  <a:gd name="T12" fmla="*/ 40 w 76"/>
                  <a:gd name="T13" fmla="*/ 22 h 82"/>
                  <a:gd name="T14" fmla="*/ 36 w 76"/>
                  <a:gd name="T15" fmla="*/ 28 h 82"/>
                  <a:gd name="T16" fmla="*/ 32 w 76"/>
                  <a:gd name="T17" fmla="*/ 32 h 82"/>
                  <a:gd name="T18" fmla="*/ 28 w 76"/>
                  <a:gd name="T19" fmla="*/ 30 h 82"/>
                  <a:gd name="T20" fmla="*/ 22 w 76"/>
                  <a:gd name="T21" fmla="*/ 28 h 82"/>
                  <a:gd name="T22" fmla="*/ 18 w 76"/>
                  <a:gd name="T23" fmla="*/ 34 h 82"/>
                  <a:gd name="T24" fmla="*/ 16 w 76"/>
                  <a:gd name="T25" fmla="*/ 38 h 82"/>
                  <a:gd name="T26" fmla="*/ 10 w 76"/>
                  <a:gd name="T27" fmla="*/ 40 h 82"/>
                  <a:gd name="T28" fmla="*/ 6 w 76"/>
                  <a:gd name="T29" fmla="*/ 42 h 82"/>
                  <a:gd name="T30" fmla="*/ 2 w 76"/>
                  <a:gd name="T31" fmla="*/ 46 h 82"/>
                  <a:gd name="T32" fmla="*/ 0 w 76"/>
                  <a:gd name="T33" fmla="*/ 50 h 82"/>
                  <a:gd name="T34" fmla="*/ 0 w 76"/>
                  <a:gd name="T35" fmla="*/ 54 h 82"/>
                  <a:gd name="T36" fmla="*/ 6 w 76"/>
                  <a:gd name="T37" fmla="*/ 54 h 82"/>
                  <a:gd name="T38" fmla="*/ 8 w 76"/>
                  <a:gd name="T39" fmla="*/ 50 h 82"/>
                  <a:gd name="T40" fmla="*/ 12 w 76"/>
                  <a:gd name="T41" fmla="*/ 50 h 82"/>
                  <a:gd name="T42" fmla="*/ 12 w 76"/>
                  <a:gd name="T43" fmla="*/ 54 h 82"/>
                  <a:gd name="T44" fmla="*/ 16 w 76"/>
                  <a:gd name="T45" fmla="*/ 54 h 82"/>
                  <a:gd name="T46" fmla="*/ 18 w 76"/>
                  <a:gd name="T47" fmla="*/ 52 h 82"/>
                  <a:gd name="T48" fmla="*/ 24 w 76"/>
                  <a:gd name="T49" fmla="*/ 52 h 82"/>
                  <a:gd name="T50" fmla="*/ 24 w 76"/>
                  <a:gd name="T51" fmla="*/ 48 h 82"/>
                  <a:gd name="T52" fmla="*/ 28 w 76"/>
                  <a:gd name="T53" fmla="*/ 46 h 82"/>
                  <a:gd name="T54" fmla="*/ 28 w 76"/>
                  <a:gd name="T55" fmla="*/ 48 h 82"/>
                  <a:gd name="T56" fmla="*/ 32 w 76"/>
                  <a:gd name="T57" fmla="*/ 54 h 82"/>
                  <a:gd name="T58" fmla="*/ 36 w 76"/>
                  <a:gd name="T59" fmla="*/ 56 h 82"/>
                  <a:gd name="T60" fmla="*/ 34 w 76"/>
                  <a:gd name="T61" fmla="*/ 62 h 82"/>
                  <a:gd name="T62" fmla="*/ 36 w 76"/>
                  <a:gd name="T63" fmla="*/ 68 h 82"/>
                  <a:gd name="T64" fmla="*/ 40 w 76"/>
                  <a:gd name="T65" fmla="*/ 74 h 82"/>
                  <a:gd name="T66" fmla="*/ 46 w 76"/>
                  <a:gd name="T67" fmla="*/ 76 h 82"/>
                  <a:gd name="T68" fmla="*/ 54 w 76"/>
                  <a:gd name="T69" fmla="*/ 78 h 82"/>
                  <a:gd name="T70" fmla="*/ 58 w 76"/>
                  <a:gd name="T71" fmla="*/ 80 h 82"/>
                  <a:gd name="T72" fmla="*/ 60 w 76"/>
                  <a:gd name="T73" fmla="*/ 82 h 82"/>
                  <a:gd name="T74" fmla="*/ 62 w 76"/>
                  <a:gd name="T75" fmla="*/ 82 h 82"/>
                  <a:gd name="T76" fmla="*/ 62 w 76"/>
                  <a:gd name="T77" fmla="*/ 76 h 82"/>
                  <a:gd name="T78" fmla="*/ 60 w 76"/>
                  <a:gd name="T79" fmla="*/ 68 h 82"/>
                  <a:gd name="T80" fmla="*/ 60 w 76"/>
                  <a:gd name="T81" fmla="*/ 62 h 82"/>
                  <a:gd name="T82" fmla="*/ 62 w 76"/>
                  <a:gd name="T83" fmla="*/ 56 h 82"/>
                  <a:gd name="T84" fmla="*/ 64 w 76"/>
                  <a:gd name="T85" fmla="*/ 56 h 82"/>
                  <a:gd name="T86" fmla="*/ 66 w 76"/>
                  <a:gd name="T87" fmla="*/ 60 h 82"/>
                  <a:gd name="T88" fmla="*/ 66 w 76"/>
                  <a:gd name="T89" fmla="*/ 66 h 82"/>
                  <a:gd name="T90" fmla="*/ 68 w 76"/>
                  <a:gd name="T91" fmla="*/ 68 h 82"/>
                  <a:gd name="T92" fmla="*/ 70 w 76"/>
                  <a:gd name="T93" fmla="*/ 66 h 82"/>
                  <a:gd name="T94" fmla="*/ 72 w 76"/>
                  <a:gd name="T95" fmla="*/ 60 h 82"/>
                  <a:gd name="T96" fmla="*/ 74 w 76"/>
                  <a:gd name="T97" fmla="*/ 54 h 82"/>
                  <a:gd name="T98" fmla="*/ 76 w 76"/>
                  <a:gd name="T99" fmla="*/ 48 h 82"/>
                  <a:gd name="T100" fmla="*/ 72 w 76"/>
                  <a:gd name="T101" fmla="*/ 40 h 82"/>
                  <a:gd name="T102" fmla="*/ 72 w 76"/>
                  <a:gd name="T103" fmla="*/ 34 h 82"/>
                  <a:gd name="T104" fmla="*/ 72 w 76"/>
                  <a:gd name="T105" fmla="*/ 30 h 82"/>
                  <a:gd name="T106" fmla="*/ 70 w 76"/>
                  <a:gd name="T107" fmla="*/ 26 h 82"/>
                  <a:gd name="T108" fmla="*/ 72 w 76"/>
                  <a:gd name="T109" fmla="*/ 24 h 82"/>
                  <a:gd name="T110" fmla="*/ 70 w 76"/>
                  <a:gd name="T111" fmla="*/ 20 h 82"/>
                  <a:gd name="T112" fmla="*/ 62 w 76"/>
                  <a:gd name="T113" fmla="*/ 10 h 82"/>
                  <a:gd name="T114" fmla="*/ 54 w 76"/>
                  <a:gd name="T115" fmla="*/ 2 h 82"/>
                  <a:gd name="T116" fmla="*/ 52 w 76"/>
                  <a:gd name="T117" fmla="*/ 0 h 82"/>
                  <a:gd name="T118" fmla="*/ 50 w 76"/>
                  <a:gd name="T119" fmla="*/ 4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6" h="82">
                    <a:moveTo>
                      <a:pt x="50" y="4"/>
                    </a:moveTo>
                    <a:lnTo>
                      <a:pt x="50" y="4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4" y="10"/>
                    </a:lnTo>
                    <a:lnTo>
                      <a:pt x="56" y="12"/>
                    </a:lnTo>
                    <a:lnTo>
                      <a:pt x="56" y="14"/>
                    </a:lnTo>
                    <a:lnTo>
                      <a:pt x="56" y="14"/>
                    </a:lnTo>
                    <a:lnTo>
                      <a:pt x="54" y="16"/>
                    </a:lnTo>
                    <a:lnTo>
                      <a:pt x="54" y="16"/>
                    </a:lnTo>
                    <a:lnTo>
                      <a:pt x="54" y="16"/>
                    </a:lnTo>
                    <a:lnTo>
                      <a:pt x="54" y="16"/>
                    </a:lnTo>
                    <a:lnTo>
                      <a:pt x="52" y="16"/>
                    </a:lnTo>
                    <a:lnTo>
                      <a:pt x="50" y="16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6" y="18"/>
                    </a:lnTo>
                    <a:lnTo>
                      <a:pt x="46" y="18"/>
                    </a:lnTo>
                    <a:lnTo>
                      <a:pt x="46" y="20"/>
                    </a:lnTo>
                    <a:lnTo>
                      <a:pt x="44" y="20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4"/>
                    </a:lnTo>
                    <a:lnTo>
                      <a:pt x="38" y="24"/>
                    </a:lnTo>
                    <a:lnTo>
                      <a:pt x="38" y="26"/>
                    </a:lnTo>
                    <a:lnTo>
                      <a:pt x="36" y="28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2" y="32"/>
                    </a:lnTo>
                    <a:lnTo>
                      <a:pt x="30" y="32"/>
                    </a:lnTo>
                    <a:lnTo>
                      <a:pt x="28" y="30"/>
                    </a:lnTo>
                    <a:lnTo>
                      <a:pt x="28" y="30"/>
                    </a:lnTo>
                    <a:lnTo>
                      <a:pt x="28" y="30"/>
                    </a:lnTo>
                    <a:lnTo>
                      <a:pt x="26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2" y="28"/>
                    </a:lnTo>
                    <a:lnTo>
                      <a:pt x="22" y="28"/>
                    </a:lnTo>
                    <a:lnTo>
                      <a:pt x="20" y="28"/>
                    </a:lnTo>
                    <a:lnTo>
                      <a:pt x="20" y="30"/>
                    </a:lnTo>
                    <a:lnTo>
                      <a:pt x="18" y="34"/>
                    </a:lnTo>
                    <a:lnTo>
                      <a:pt x="18" y="36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4" y="40"/>
                    </a:lnTo>
                    <a:lnTo>
                      <a:pt x="12" y="40"/>
                    </a:lnTo>
                    <a:lnTo>
                      <a:pt x="10" y="38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8" y="40"/>
                    </a:lnTo>
                    <a:lnTo>
                      <a:pt x="8" y="42"/>
                    </a:lnTo>
                    <a:lnTo>
                      <a:pt x="6" y="42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2" y="44"/>
                    </a:lnTo>
                    <a:lnTo>
                      <a:pt x="2" y="46"/>
                    </a:lnTo>
                    <a:lnTo>
                      <a:pt x="0" y="46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50"/>
                    </a:lnTo>
                    <a:lnTo>
                      <a:pt x="0" y="52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2" y="54"/>
                    </a:lnTo>
                    <a:lnTo>
                      <a:pt x="2" y="54"/>
                    </a:lnTo>
                    <a:lnTo>
                      <a:pt x="4" y="54"/>
                    </a:lnTo>
                    <a:lnTo>
                      <a:pt x="6" y="54"/>
                    </a:lnTo>
                    <a:lnTo>
                      <a:pt x="6" y="54"/>
                    </a:lnTo>
                    <a:lnTo>
                      <a:pt x="6" y="52"/>
                    </a:lnTo>
                    <a:lnTo>
                      <a:pt x="8" y="50"/>
                    </a:lnTo>
                    <a:lnTo>
                      <a:pt x="8" y="50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2" y="50"/>
                    </a:lnTo>
                    <a:lnTo>
                      <a:pt x="12" y="50"/>
                    </a:lnTo>
                    <a:lnTo>
                      <a:pt x="12" y="52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2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0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26" y="48"/>
                    </a:lnTo>
                    <a:lnTo>
                      <a:pt x="26" y="48"/>
                    </a:lnTo>
                    <a:lnTo>
                      <a:pt x="26" y="46"/>
                    </a:lnTo>
                    <a:lnTo>
                      <a:pt x="28" y="46"/>
                    </a:lnTo>
                    <a:lnTo>
                      <a:pt x="28" y="46"/>
                    </a:lnTo>
                    <a:lnTo>
                      <a:pt x="28" y="48"/>
                    </a:lnTo>
                    <a:lnTo>
                      <a:pt x="28" y="48"/>
                    </a:lnTo>
                    <a:lnTo>
                      <a:pt x="28" y="48"/>
                    </a:lnTo>
                    <a:lnTo>
                      <a:pt x="30" y="50"/>
                    </a:lnTo>
                    <a:lnTo>
                      <a:pt x="32" y="52"/>
                    </a:lnTo>
                    <a:lnTo>
                      <a:pt x="32" y="52"/>
                    </a:lnTo>
                    <a:lnTo>
                      <a:pt x="32" y="54"/>
                    </a:lnTo>
                    <a:lnTo>
                      <a:pt x="34" y="54"/>
                    </a:lnTo>
                    <a:lnTo>
                      <a:pt x="34" y="56"/>
                    </a:lnTo>
                    <a:lnTo>
                      <a:pt x="36" y="56"/>
                    </a:lnTo>
                    <a:lnTo>
                      <a:pt x="36" y="56"/>
                    </a:lnTo>
                    <a:lnTo>
                      <a:pt x="36" y="58"/>
                    </a:lnTo>
                    <a:lnTo>
                      <a:pt x="34" y="60"/>
                    </a:lnTo>
                    <a:lnTo>
                      <a:pt x="34" y="60"/>
                    </a:lnTo>
                    <a:lnTo>
                      <a:pt x="34" y="62"/>
                    </a:lnTo>
                    <a:lnTo>
                      <a:pt x="34" y="62"/>
                    </a:lnTo>
                    <a:lnTo>
                      <a:pt x="34" y="64"/>
                    </a:lnTo>
                    <a:lnTo>
                      <a:pt x="34" y="66"/>
                    </a:lnTo>
                    <a:lnTo>
                      <a:pt x="36" y="68"/>
                    </a:lnTo>
                    <a:lnTo>
                      <a:pt x="36" y="68"/>
                    </a:lnTo>
                    <a:lnTo>
                      <a:pt x="38" y="72"/>
                    </a:lnTo>
                    <a:lnTo>
                      <a:pt x="40" y="72"/>
                    </a:lnTo>
                    <a:lnTo>
                      <a:pt x="40" y="74"/>
                    </a:lnTo>
                    <a:lnTo>
                      <a:pt x="40" y="74"/>
                    </a:lnTo>
                    <a:lnTo>
                      <a:pt x="44" y="74"/>
                    </a:lnTo>
                    <a:lnTo>
                      <a:pt x="46" y="76"/>
                    </a:lnTo>
                    <a:lnTo>
                      <a:pt x="46" y="76"/>
                    </a:lnTo>
                    <a:lnTo>
                      <a:pt x="48" y="78"/>
                    </a:lnTo>
                    <a:lnTo>
                      <a:pt x="52" y="78"/>
                    </a:lnTo>
                    <a:lnTo>
                      <a:pt x="52" y="78"/>
                    </a:lnTo>
                    <a:lnTo>
                      <a:pt x="54" y="78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58" y="80"/>
                    </a:lnTo>
                    <a:lnTo>
                      <a:pt x="58" y="80"/>
                    </a:lnTo>
                    <a:lnTo>
                      <a:pt x="58" y="80"/>
                    </a:lnTo>
                    <a:lnTo>
                      <a:pt x="58" y="80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2" y="82"/>
                    </a:lnTo>
                    <a:lnTo>
                      <a:pt x="62" y="82"/>
                    </a:lnTo>
                    <a:lnTo>
                      <a:pt x="62" y="80"/>
                    </a:lnTo>
                    <a:lnTo>
                      <a:pt x="62" y="76"/>
                    </a:lnTo>
                    <a:lnTo>
                      <a:pt x="62" y="76"/>
                    </a:lnTo>
                    <a:lnTo>
                      <a:pt x="62" y="76"/>
                    </a:lnTo>
                    <a:lnTo>
                      <a:pt x="62" y="74"/>
                    </a:lnTo>
                    <a:lnTo>
                      <a:pt x="62" y="72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6"/>
                    </a:lnTo>
                    <a:lnTo>
                      <a:pt x="60" y="66"/>
                    </a:lnTo>
                    <a:lnTo>
                      <a:pt x="60" y="64"/>
                    </a:lnTo>
                    <a:lnTo>
                      <a:pt x="60" y="62"/>
                    </a:lnTo>
                    <a:lnTo>
                      <a:pt x="60" y="60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2" y="56"/>
                    </a:lnTo>
                    <a:lnTo>
                      <a:pt x="62" y="56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6" y="56"/>
                    </a:lnTo>
                    <a:lnTo>
                      <a:pt x="66" y="56"/>
                    </a:lnTo>
                    <a:lnTo>
                      <a:pt x="66" y="58"/>
                    </a:lnTo>
                    <a:lnTo>
                      <a:pt x="66" y="60"/>
                    </a:lnTo>
                    <a:lnTo>
                      <a:pt x="66" y="62"/>
                    </a:lnTo>
                    <a:lnTo>
                      <a:pt x="66" y="62"/>
                    </a:lnTo>
                    <a:lnTo>
                      <a:pt x="66" y="66"/>
                    </a:lnTo>
                    <a:lnTo>
                      <a:pt x="66" y="66"/>
                    </a:lnTo>
                    <a:lnTo>
                      <a:pt x="66" y="68"/>
                    </a:lnTo>
                    <a:lnTo>
                      <a:pt x="66" y="68"/>
                    </a:lnTo>
                    <a:lnTo>
                      <a:pt x="66" y="68"/>
                    </a:lnTo>
                    <a:lnTo>
                      <a:pt x="68" y="68"/>
                    </a:lnTo>
                    <a:lnTo>
                      <a:pt x="68" y="68"/>
                    </a:lnTo>
                    <a:lnTo>
                      <a:pt x="70" y="68"/>
                    </a:lnTo>
                    <a:lnTo>
                      <a:pt x="70" y="66"/>
                    </a:lnTo>
                    <a:lnTo>
                      <a:pt x="70" y="66"/>
                    </a:lnTo>
                    <a:lnTo>
                      <a:pt x="70" y="66"/>
                    </a:lnTo>
                    <a:lnTo>
                      <a:pt x="72" y="64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4" y="54"/>
                    </a:lnTo>
                    <a:lnTo>
                      <a:pt x="74" y="54"/>
                    </a:lnTo>
                    <a:lnTo>
                      <a:pt x="74" y="52"/>
                    </a:lnTo>
                    <a:lnTo>
                      <a:pt x="76" y="50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4" y="46"/>
                    </a:lnTo>
                    <a:lnTo>
                      <a:pt x="74" y="44"/>
                    </a:lnTo>
                    <a:lnTo>
                      <a:pt x="72" y="40"/>
                    </a:lnTo>
                    <a:lnTo>
                      <a:pt x="72" y="38"/>
                    </a:lnTo>
                    <a:lnTo>
                      <a:pt x="72" y="38"/>
                    </a:lnTo>
                    <a:lnTo>
                      <a:pt x="72" y="34"/>
                    </a:lnTo>
                    <a:lnTo>
                      <a:pt x="72" y="34"/>
                    </a:lnTo>
                    <a:lnTo>
                      <a:pt x="72" y="32"/>
                    </a:lnTo>
                    <a:lnTo>
                      <a:pt x="72" y="32"/>
                    </a:lnTo>
                    <a:lnTo>
                      <a:pt x="72" y="30"/>
                    </a:lnTo>
                    <a:lnTo>
                      <a:pt x="72" y="30"/>
                    </a:lnTo>
                    <a:lnTo>
                      <a:pt x="70" y="28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2" y="24"/>
                    </a:lnTo>
                    <a:lnTo>
                      <a:pt x="72" y="24"/>
                    </a:lnTo>
                    <a:lnTo>
                      <a:pt x="72" y="24"/>
                    </a:lnTo>
                    <a:lnTo>
                      <a:pt x="72" y="24"/>
                    </a:lnTo>
                    <a:lnTo>
                      <a:pt x="72" y="22"/>
                    </a:lnTo>
                    <a:lnTo>
                      <a:pt x="72" y="22"/>
                    </a:lnTo>
                    <a:lnTo>
                      <a:pt x="70" y="20"/>
                    </a:lnTo>
                    <a:lnTo>
                      <a:pt x="70" y="20"/>
                    </a:lnTo>
                    <a:lnTo>
                      <a:pt x="68" y="16"/>
                    </a:lnTo>
                    <a:lnTo>
                      <a:pt x="66" y="14"/>
                    </a:lnTo>
                    <a:lnTo>
                      <a:pt x="62" y="10"/>
                    </a:lnTo>
                    <a:lnTo>
                      <a:pt x="62" y="10"/>
                    </a:lnTo>
                    <a:lnTo>
                      <a:pt x="58" y="8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4" y="2"/>
                    </a:lnTo>
                    <a:lnTo>
                      <a:pt x="54" y="2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67" name="Freeform 732"/>
              <p:cNvSpPr>
                <a:spLocks/>
              </p:cNvSpPr>
              <p:nvPr/>
            </p:nvSpPr>
            <p:spPr bwMode="auto">
              <a:xfrm>
                <a:off x="4725" y="2716"/>
                <a:ext cx="4" cy="4"/>
              </a:xfrm>
              <a:custGeom>
                <a:avLst/>
                <a:gdLst>
                  <a:gd name="T0" fmla="*/ 0 w 4"/>
                  <a:gd name="T1" fmla="*/ 4 h 4"/>
                  <a:gd name="T2" fmla="*/ 0 w 4"/>
                  <a:gd name="T3" fmla="*/ 4 h 4"/>
                  <a:gd name="T4" fmla="*/ 2 w 4"/>
                  <a:gd name="T5" fmla="*/ 4 h 4"/>
                  <a:gd name="T6" fmla="*/ 2 w 4"/>
                  <a:gd name="T7" fmla="*/ 4 h 4"/>
                  <a:gd name="T8" fmla="*/ 4 w 4"/>
                  <a:gd name="T9" fmla="*/ 4 h 4"/>
                  <a:gd name="T10" fmla="*/ 4 w 4"/>
                  <a:gd name="T11" fmla="*/ 2 h 4"/>
                  <a:gd name="T12" fmla="*/ 4 w 4"/>
                  <a:gd name="T13" fmla="*/ 2 h 4"/>
                  <a:gd name="T14" fmla="*/ 4 w 4"/>
                  <a:gd name="T15" fmla="*/ 0 h 4"/>
                  <a:gd name="T16" fmla="*/ 4 w 4"/>
                  <a:gd name="T17" fmla="*/ 0 h 4"/>
                  <a:gd name="T18" fmla="*/ 2 w 4"/>
                  <a:gd name="T19" fmla="*/ 0 h 4"/>
                  <a:gd name="T20" fmla="*/ 2 w 4"/>
                  <a:gd name="T21" fmla="*/ 0 h 4"/>
                  <a:gd name="T22" fmla="*/ 2 w 4"/>
                  <a:gd name="T23" fmla="*/ 0 h 4"/>
                  <a:gd name="T24" fmla="*/ 0 w 4"/>
                  <a:gd name="T25" fmla="*/ 2 h 4"/>
                  <a:gd name="T26" fmla="*/ 0 w 4"/>
                  <a:gd name="T27" fmla="*/ 2 h 4"/>
                  <a:gd name="T28" fmla="*/ 0 w 4"/>
                  <a:gd name="T29" fmla="*/ 4 h 4"/>
                  <a:gd name="T30" fmla="*/ 0 w 4"/>
                  <a:gd name="T31" fmla="*/ 4 h 4"/>
                  <a:gd name="T32" fmla="*/ 0 w 4"/>
                  <a:gd name="T33" fmla="*/ 4 h 4"/>
                  <a:gd name="T34" fmla="*/ 0 w 4"/>
                  <a:gd name="T35" fmla="*/ 4 h 4"/>
                  <a:gd name="T36" fmla="*/ 0 w 4"/>
                  <a:gd name="T37" fmla="*/ 4 h 4"/>
                  <a:gd name="T38" fmla="*/ 0 w 4"/>
                  <a:gd name="T39" fmla="*/ 4 h 4"/>
                  <a:gd name="T40" fmla="*/ 0 w 4"/>
                  <a:gd name="T4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" h="4">
                    <a:moveTo>
                      <a:pt x="0" y="4"/>
                    </a:moveTo>
                    <a:lnTo>
                      <a:pt x="0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68" name="Freeform 734"/>
              <p:cNvSpPr>
                <a:spLocks/>
              </p:cNvSpPr>
              <p:nvPr/>
            </p:nvSpPr>
            <p:spPr bwMode="auto">
              <a:xfrm>
                <a:off x="4661" y="2698"/>
                <a:ext cx="8" cy="8"/>
              </a:xfrm>
              <a:custGeom>
                <a:avLst/>
                <a:gdLst>
                  <a:gd name="T0" fmla="*/ 4 w 8"/>
                  <a:gd name="T1" fmla="*/ 8 h 8"/>
                  <a:gd name="T2" fmla="*/ 4 w 8"/>
                  <a:gd name="T3" fmla="*/ 8 h 8"/>
                  <a:gd name="T4" fmla="*/ 6 w 8"/>
                  <a:gd name="T5" fmla="*/ 8 h 8"/>
                  <a:gd name="T6" fmla="*/ 6 w 8"/>
                  <a:gd name="T7" fmla="*/ 6 h 8"/>
                  <a:gd name="T8" fmla="*/ 8 w 8"/>
                  <a:gd name="T9" fmla="*/ 6 h 8"/>
                  <a:gd name="T10" fmla="*/ 8 w 8"/>
                  <a:gd name="T11" fmla="*/ 4 h 8"/>
                  <a:gd name="T12" fmla="*/ 8 w 8"/>
                  <a:gd name="T13" fmla="*/ 4 h 8"/>
                  <a:gd name="T14" fmla="*/ 8 w 8"/>
                  <a:gd name="T15" fmla="*/ 4 h 8"/>
                  <a:gd name="T16" fmla="*/ 8 w 8"/>
                  <a:gd name="T17" fmla="*/ 2 h 8"/>
                  <a:gd name="T18" fmla="*/ 6 w 8"/>
                  <a:gd name="T19" fmla="*/ 0 h 8"/>
                  <a:gd name="T20" fmla="*/ 6 w 8"/>
                  <a:gd name="T21" fmla="*/ 0 h 8"/>
                  <a:gd name="T22" fmla="*/ 4 w 8"/>
                  <a:gd name="T23" fmla="*/ 0 h 8"/>
                  <a:gd name="T24" fmla="*/ 4 w 8"/>
                  <a:gd name="T25" fmla="*/ 0 h 8"/>
                  <a:gd name="T26" fmla="*/ 2 w 8"/>
                  <a:gd name="T27" fmla="*/ 0 h 8"/>
                  <a:gd name="T28" fmla="*/ 2 w 8"/>
                  <a:gd name="T29" fmla="*/ 0 h 8"/>
                  <a:gd name="T30" fmla="*/ 2 w 8"/>
                  <a:gd name="T31" fmla="*/ 0 h 8"/>
                  <a:gd name="T32" fmla="*/ 2 w 8"/>
                  <a:gd name="T33" fmla="*/ 2 h 8"/>
                  <a:gd name="T34" fmla="*/ 0 w 8"/>
                  <a:gd name="T35" fmla="*/ 2 h 8"/>
                  <a:gd name="T36" fmla="*/ 0 w 8"/>
                  <a:gd name="T37" fmla="*/ 4 h 8"/>
                  <a:gd name="T38" fmla="*/ 2 w 8"/>
                  <a:gd name="T39" fmla="*/ 6 h 8"/>
                  <a:gd name="T40" fmla="*/ 2 w 8"/>
                  <a:gd name="T41" fmla="*/ 6 h 8"/>
                  <a:gd name="T42" fmla="*/ 2 w 8"/>
                  <a:gd name="T43" fmla="*/ 6 h 8"/>
                  <a:gd name="T44" fmla="*/ 4 w 8"/>
                  <a:gd name="T45" fmla="*/ 8 h 8"/>
                  <a:gd name="T46" fmla="*/ 4 w 8"/>
                  <a:gd name="T47" fmla="*/ 8 h 8"/>
                  <a:gd name="T48" fmla="*/ 4 w 8"/>
                  <a:gd name="T49" fmla="*/ 8 h 8"/>
                  <a:gd name="T50" fmla="*/ 4 w 8"/>
                  <a:gd name="T51" fmla="*/ 8 h 8"/>
                  <a:gd name="T52" fmla="*/ 4 w 8"/>
                  <a:gd name="T53" fmla="*/ 8 h 8"/>
                  <a:gd name="T54" fmla="*/ 4 w 8"/>
                  <a:gd name="T5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lnTo>
                      <a:pt x="4" y="8"/>
                    </a:lnTo>
                    <a:lnTo>
                      <a:pt x="6" y="8"/>
                    </a:lnTo>
                    <a:lnTo>
                      <a:pt x="6" y="6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69" name="Freeform 736"/>
              <p:cNvSpPr>
                <a:spLocks/>
              </p:cNvSpPr>
              <p:nvPr/>
            </p:nvSpPr>
            <p:spPr bwMode="auto">
              <a:xfrm>
                <a:off x="4645" y="2708"/>
                <a:ext cx="12" cy="8"/>
              </a:xfrm>
              <a:custGeom>
                <a:avLst/>
                <a:gdLst>
                  <a:gd name="T0" fmla="*/ 2 w 12"/>
                  <a:gd name="T1" fmla="*/ 2 h 8"/>
                  <a:gd name="T2" fmla="*/ 2 w 12"/>
                  <a:gd name="T3" fmla="*/ 2 h 8"/>
                  <a:gd name="T4" fmla="*/ 0 w 12"/>
                  <a:gd name="T5" fmla="*/ 2 h 8"/>
                  <a:gd name="T6" fmla="*/ 0 w 12"/>
                  <a:gd name="T7" fmla="*/ 4 h 8"/>
                  <a:gd name="T8" fmla="*/ 2 w 12"/>
                  <a:gd name="T9" fmla="*/ 4 h 8"/>
                  <a:gd name="T10" fmla="*/ 4 w 12"/>
                  <a:gd name="T11" fmla="*/ 4 h 8"/>
                  <a:gd name="T12" fmla="*/ 4 w 12"/>
                  <a:gd name="T13" fmla="*/ 6 h 8"/>
                  <a:gd name="T14" fmla="*/ 4 w 12"/>
                  <a:gd name="T15" fmla="*/ 6 h 8"/>
                  <a:gd name="T16" fmla="*/ 6 w 12"/>
                  <a:gd name="T17" fmla="*/ 6 h 8"/>
                  <a:gd name="T18" fmla="*/ 8 w 12"/>
                  <a:gd name="T19" fmla="*/ 6 h 8"/>
                  <a:gd name="T20" fmla="*/ 8 w 12"/>
                  <a:gd name="T21" fmla="*/ 6 h 8"/>
                  <a:gd name="T22" fmla="*/ 10 w 12"/>
                  <a:gd name="T23" fmla="*/ 6 h 8"/>
                  <a:gd name="T24" fmla="*/ 12 w 12"/>
                  <a:gd name="T25" fmla="*/ 8 h 8"/>
                  <a:gd name="T26" fmla="*/ 12 w 12"/>
                  <a:gd name="T27" fmla="*/ 8 h 8"/>
                  <a:gd name="T28" fmla="*/ 12 w 12"/>
                  <a:gd name="T29" fmla="*/ 8 h 8"/>
                  <a:gd name="T30" fmla="*/ 12 w 12"/>
                  <a:gd name="T31" fmla="*/ 6 h 8"/>
                  <a:gd name="T32" fmla="*/ 12 w 12"/>
                  <a:gd name="T33" fmla="*/ 4 h 8"/>
                  <a:gd name="T34" fmla="*/ 10 w 12"/>
                  <a:gd name="T35" fmla="*/ 4 h 8"/>
                  <a:gd name="T36" fmla="*/ 8 w 12"/>
                  <a:gd name="T37" fmla="*/ 2 h 8"/>
                  <a:gd name="T38" fmla="*/ 6 w 12"/>
                  <a:gd name="T39" fmla="*/ 2 h 8"/>
                  <a:gd name="T40" fmla="*/ 4 w 12"/>
                  <a:gd name="T41" fmla="*/ 0 h 8"/>
                  <a:gd name="T42" fmla="*/ 2 w 12"/>
                  <a:gd name="T43" fmla="*/ 0 h 8"/>
                  <a:gd name="T44" fmla="*/ 2 w 12"/>
                  <a:gd name="T45" fmla="*/ 2 h 8"/>
                  <a:gd name="T46" fmla="*/ 2 w 12"/>
                  <a:gd name="T47" fmla="*/ 2 h 8"/>
                  <a:gd name="T48" fmla="*/ 2 w 12"/>
                  <a:gd name="T49" fmla="*/ 2 h 8"/>
                  <a:gd name="T50" fmla="*/ 2 w 12"/>
                  <a:gd name="T51" fmla="*/ 2 h 8"/>
                  <a:gd name="T52" fmla="*/ 2 w 12"/>
                  <a:gd name="T53" fmla="*/ 2 h 8"/>
                  <a:gd name="T54" fmla="*/ 2 w 12"/>
                  <a:gd name="T55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2" h="8">
                    <a:moveTo>
                      <a:pt x="2" y="2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0" y="6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6"/>
                    </a:lnTo>
                    <a:lnTo>
                      <a:pt x="12" y="4"/>
                    </a:lnTo>
                    <a:lnTo>
                      <a:pt x="10" y="4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70" name="Freeform 738"/>
              <p:cNvSpPr>
                <a:spLocks/>
              </p:cNvSpPr>
              <p:nvPr/>
            </p:nvSpPr>
            <p:spPr bwMode="auto">
              <a:xfrm>
                <a:off x="4673" y="2580"/>
                <a:ext cx="16" cy="14"/>
              </a:xfrm>
              <a:custGeom>
                <a:avLst/>
                <a:gdLst>
                  <a:gd name="T0" fmla="*/ 4 w 16"/>
                  <a:gd name="T1" fmla="*/ 0 h 14"/>
                  <a:gd name="T2" fmla="*/ 4 w 16"/>
                  <a:gd name="T3" fmla="*/ 0 h 14"/>
                  <a:gd name="T4" fmla="*/ 2 w 16"/>
                  <a:gd name="T5" fmla="*/ 0 h 14"/>
                  <a:gd name="T6" fmla="*/ 2 w 16"/>
                  <a:gd name="T7" fmla="*/ 0 h 14"/>
                  <a:gd name="T8" fmla="*/ 0 w 16"/>
                  <a:gd name="T9" fmla="*/ 0 h 14"/>
                  <a:gd name="T10" fmla="*/ 0 w 16"/>
                  <a:gd name="T11" fmla="*/ 2 h 14"/>
                  <a:gd name="T12" fmla="*/ 0 w 16"/>
                  <a:gd name="T13" fmla="*/ 2 h 14"/>
                  <a:gd name="T14" fmla="*/ 0 w 16"/>
                  <a:gd name="T15" fmla="*/ 2 h 14"/>
                  <a:gd name="T16" fmla="*/ 0 w 16"/>
                  <a:gd name="T17" fmla="*/ 4 h 14"/>
                  <a:gd name="T18" fmla="*/ 2 w 16"/>
                  <a:gd name="T19" fmla="*/ 4 h 14"/>
                  <a:gd name="T20" fmla="*/ 4 w 16"/>
                  <a:gd name="T21" fmla="*/ 4 h 14"/>
                  <a:gd name="T22" fmla="*/ 4 w 16"/>
                  <a:gd name="T23" fmla="*/ 6 h 14"/>
                  <a:gd name="T24" fmla="*/ 4 w 16"/>
                  <a:gd name="T25" fmla="*/ 6 h 14"/>
                  <a:gd name="T26" fmla="*/ 6 w 16"/>
                  <a:gd name="T27" fmla="*/ 8 h 14"/>
                  <a:gd name="T28" fmla="*/ 6 w 16"/>
                  <a:gd name="T29" fmla="*/ 10 h 14"/>
                  <a:gd name="T30" fmla="*/ 6 w 16"/>
                  <a:gd name="T31" fmla="*/ 12 h 14"/>
                  <a:gd name="T32" fmla="*/ 6 w 16"/>
                  <a:gd name="T33" fmla="*/ 12 h 14"/>
                  <a:gd name="T34" fmla="*/ 6 w 16"/>
                  <a:gd name="T35" fmla="*/ 12 h 14"/>
                  <a:gd name="T36" fmla="*/ 6 w 16"/>
                  <a:gd name="T37" fmla="*/ 12 h 14"/>
                  <a:gd name="T38" fmla="*/ 8 w 16"/>
                  <a:gd name="T39" fmla="*/ 14 h 14"/>
                  <a:gd name="T40" fmla="*/ 10 w 16"/>
                  <a:gd name="T41" fmla="*/ 12 h 14"/>
                  <a:gd name="T42" fmla="*/ 10 w 16"/>
                  <a:gd name="T43" fmla="*/ 12 h 14"/>
                  <a:gd name="T44" fmla="*/ 12 w 16"/>
                  <a:gd name="T45" fmla="*/ 12 h 14"/>
                  <a:gd name="T46" fmla="*/ 12 w 16"/>
                  <a:gd name="T47" fmla="*/ 12 h 14"/>
                  <a:gd name="T48" fmla="*/ 12 w 16"/>
                  <a:gd name="T49" fmla="*/ 12 h 14"/>
                  <a:gd name="T50" fmla="*/ 14 w 16"/>
                  <a:gd name="T51" fmla="*/ 14 h 14"/>
                  <a:gd name="T52" fmla="*/ 14 w 16"/>
                  <a:gd name="T53" fmla="*/ 14 h 14"/>
                  <a:gd name="T54" fmla="*/ 14 w 16"/>
                  <a:gd name="T55" fmla="*/ 14 h 14"/>
                  <a:gd name="T56" fmla="*/ 14 w 16"/>
                  <a:gd name="T57" fmla="*/ 12 h 14"/>
                  <a:gd name="T58" fmla="*/ 14 w 16"/>
                  <a:gd name="T59" fmla="*/ 12 h 14"/>
                  <a:gd name="T60" fmla="*/ 16 w 16"/>
                  <a:gd name="T61" fmla="*/ 12 h 14"/>
                  <a:gd name="T62" fmla="*/ 14 w 16"/>
                  <a:gd name="T63" fmla="*/ 10 h 14"/>
                  <a:gd name="T64" fmla="*/ 14 w 16"/>
                  <a:gd name="T65" fmla="*/ 8 h 14"/>
                  <a:gd name="T66" fmla="*/ 14 w 16"/>
                  <a:gd name="T67" fmla="*/ 6 h 14"/>
                  <a:gd name="T68" fmla="*/ 12 w 16"/>
                  <a:gd name="T69" fmla="*/ 4 h 14"/>
                  <a:gd name="T70" fmla="*/ 12 w 16"/>
                  <a:gd name="T71" fmla="*/ 4 h 14"/>
                  <a:gd name="T72" fmla="*/ 10 w 16"/>
                  <a:gd name="T73" fmla="*/ 4 h 14"/>
                  <a:gd name="T74" fmla="*/ 8 w 16"/>
                  <a:gd name="T75" fmla="*/ 2 h 14"/>
                  <a:gd name="T76" fmla="*/ 4 w 16"/>
                  <a:gd name="T77" fmla="*/ 0 h 14"/>
                  <a:gd name="T78" fmla="*/ 4 w 16"/>
                  <a:gd name="T79" fmla="*/ 0 h 14"/>
                  <a:gd name="T80" fmla="*/ 4 w 16"/>
                  <a:gd name="T81" fmla="*/ 0 h 14"/>
                  <a:gd name="T82" fmla="*/ 4 w 16"/>
                  <a:gd name="T83" fmla="*/ 0 h 14"/>
                  <a:gd name="T84" fmla="*/ 4 w 16"/>
                  <a:gd name="T8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6" h="14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8"/>
                    </a:lnTo>
                    <a:lnTo>
                      <a:pt x="6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4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6" y="12"/>
                    </a:lnTo>
                    <a:lnTo>
                      <a:pt x="14" y="10"/>
                    </a:lnTo>
                    <a:lnTo>
                      <a:pt x="14" y="8"/>
                    </a:lnTo>
                    <a:lnTo>
                      <a:pt x="14" y="6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4"/>
                    </a:lnTo>
                    <a:lnTo>
                      <a:pt x="8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71" name="Freeform 740"/>
              <p:cNvSpPr>
                <a:spLocks/>
              </p:cNvSpPr>
              <p:nvPr/>
            </p:nvSpPr>
            <p:spPr bwMode="auto">
              <a:xfrm>
                <a:off x="4541" y="2728"/>
                <a:ext cx="22" cy="18"/>
              </a:xfrm>
              <a:custGeom>
                <a:avLst/>
                <a:gdLst>
                  <a:gd name="T0" fmla="*/ 6 w 22"/>
                  <a:gd name="T1" fmla="*/ 18 h 18"/>
                  <a:gd name="T2" fmla="*/ 6 w 22"/>
                  <a:gd name="T3" fmla="*/ 18 h 18"/>
                  <a:gd name="T4" fmla="*/ 6 w 22"/>
                  <a:gd name="T5" fmla="*/ 18 h 18"/>
                  <a:gd name="T6" fmla="*/ 8 w 22"/>
                  <a:gd name="T7" fmla="*/ 18 h 18"/>
                  <a:gd name="T8" fmla="*/ 8 w 22"/>
                  <a:gd name="T9" fmla="*/ 18 h 18"/>
                  <a:gd name="T10" fmla="*/ 8 w 22"/>
                  <a:gd name="T11" fmla="*/ 16 h 18"/>
                  <a:gd name="T12" fmla="*/ 10 w 22"/>
                  <a:gd name="T13" fmla="*/ 14 h 18"/>
                  <a:gd name="T14" fmla="*/ 10 w 22"/>
                  <a:gd name="T15" fmla="*/ 10 h 18"/>
                  <a:gd name="T16" fmla="*/ 10 w 22"/>
                  <a:gd name="T17" fmla="*/ 10 h 18"/>
                  <a:gd name="T18" fmla="*/ 10 w 22"/>
                  <a:gd name="T19" fmla="*/ 10 h 18"/>
                  <a:gd name="T20" fmla="*/ 12 w 22"/>
                  <a:gd name="T21" fmla="*/ 8 h 18"/>
                  <a:gd name="T22" fmla="*/ 12 w 22"/>
                  <a:gd name="T23" fmla="*/ 8 h 18"/>
                  <a:gd name="T24" fmla="*/ 14 w 22"/>
                  <a:gd name="T25" fmla="*/ 10 h 18"/>
                  <a:gd name="T26" fmla="*/ 16 w 22"/>
                  <a:gd name="T27" fmla="*/ 12 h 18"/>
                  <a:gd name="T28" fmla="*/ 16 w 22"/>
                  <a:gd name="T29" fmla="*/ 14 h 18"/>
                  <a:gd name="T30" fmla="*/ 16 w 22"/>
                  <a:gd name="T31" fmla="*/ 14 h 18"/>
                  <a:gd name="T32" fmla="*/ 18 w 22"/>
                  <a:gd name="T33" fmla="*/ 14 h 18"/>
                  <a:gd name="T34" fmla="*/ 20 w 22"/>
                  <a:gd name="T35" fmla="*/ 16 h 18"/>
                  <a:gd name="T36" fmla="*/ 22 w 22"/>
                  <a:gd name="T37" fmla="*/ 14 h 18"/>
                  <a:gd name="T38" fmla="*/ 22 w 22"/>
                  <a:gd name="T39" fmla="*/ 14 h 18"/>
                  <a:gd name="T40" fmla="*/ 22 w 22"/>
                  <a:gd name="T41" fmla="*/ 14 h 18"/>
                  <a:gd name="T42" fmla="*/ 22 w 22"/>
                  <a:gd name="T43" fmla="*/ 12 h 18"/>
                  <a:gd name="T44" fmla="*/ 22 w 22"/>
                  <a:gd name="T45" fmla="*/ 10 h 18"/>
                  <a:gd name="T46" fmla="*/ 22 w 22"/>
                  <a:gd name="T47" fmla="*/ 10 h 18"/>
                  <a:gd name="T48" fmla="*/ 20 w 22"/>
                  <a:gd name="T49" fmla="*/ 6 h 18"/>
                  <a:gd name="T50" fmla="*/ 20 w 22"/>
                  <a:gd name="T51" fmla="*/ 6 h 18"/>
                  <a:gd name="T52" fmla="*/ 20 w 22"/>
                  <a:gd name="T53" fmla="*/ 4 h 18"/>
                  <a:gd name="T54" fmla="*/ 20 w 22"/>
                  <a:gd name="T55" fmla="*/ 4 h 18"/>
                  <a:gd name="T56" fmla="*/ 20 w 22"/>
                  <a:gd name="T57" fmla="*/ 0 h 18"/>
                  <a:gd name="T58" fmla="*/ 20 w 22"/>
                  <a:gd name="T59" fmla="*/ 0 h 18"/>
                  <a:gd name="T60" fmla="*/ 18 w 22"/>
                  <a:gd name="T61" fmla="*/ 0 h 18"/>
                  <a:gd name="T62" fmla="*/ 16 w 22"/>
                  <a:gd name="T63" fmla="*/ 0 h 18"/>
                  <a:gd name="T64" fmla="*/ 14 w 22"/>
                  <a:gd name="T65" fmla="*/ 0 h 18"/>
                  <a:gd name="T66" fmla="*/ 12 w 22"/>
                  <a:gd name="T67" fmla="*/ 0 h 18"/>
                  <a:gd name="T68" fmla="*/ 10 w 22"/>
                  <a:gd name="T69" fmla="*/ 0 h 18"/>
                  <a:gd name="T70" fmla="*/ 10 w 22"/>
                  <a:gd name="T71" fmla="*/ 0 h 18"/>
                  <a:gd name="T72" fmla="*/ 10 w 22"/>
                  <a:gd name="T73" fmla="*/ 0 h 18"/>
                  <a:gd name="T74" fmla="*/ 8 w 22"/>
                  <a:gd name="T75" fmla="*/ 0 h 18"/>
                  <a:gd name="T76" fmla="*/ 8 w 22"/>
                  <a:gd name="T77" fmla="*/ 2 h 18"/>
                  <a:gd name="T78" fmla="*/ 6 w 22"/>
                  <a:gd name="T79" fmla="*/ 2 h 18"/>
                  <a:gd name="T80" fmla="*/ 6 w 22"/>
                  <a:gd name="T81" fmla="*/ 4 h 18"/>
                  <a:gd name="T82" fmla="*/ 6 w 22"/>
                  <a:gd name="T83" fmla="*/ 4 h 18"/>
                  <a:gd name="T84" fmla="*/ 4 w 22"/>
                  <a:gd name="T85" fmla="*/ 6 h 18"/>
                  <a:gd name="T86" fmla="*/ 4 w 22"/>
                  <a:gd name="T87" fmla="*/ 6 h 18"/>
                  <a:gd name="T88" fmla="*/ 2 w 22"/>
                  <a:gd name="T89" fmla="*/ 10 h 18"/>
                  <a:gd name="T90" fmla="*/ 2 w 22"/>
                  <a:gd name="T91" fmla="*/ 10 h 18"/>
                  <a:gd name="T92" fmla="*/ 2 w 22"/>
                  <a:gd name="T93" fmla="*/ 10 h 18"/>
                  <a:gd name="T94" fmla="*/ 2 w 22"/>
                  <a:gd name="T95" fmla="*/ 12 h 18"/>
                  <a:gd name="T96" fmla="*/ 0 w 22"/>
                  <a:gd name="T97" fmla="*/ 14 h 18"/>
                  <a:gd name="T98" fmla="*/ 0 w 22"/>
                  <a:gd name="T99" fmla="*/ 14 h 18"/>
                  <a:gd name="T100" fmla="*/ 0 w 22"/>
                  <a:gd name="T101" fmla="*/ 16 h 18"/>
                  <a:gd name="T102" fmla="*/ 2 w 22"/>
                  <a:gd name="T103" fmla="*/ 16 h 18"/>
                  <a:gd name="T104" fmla="*/ 4 w 22"/>
                  <a:gd name="T105" fmla="*/ 18 h 18"/>
                  <a:gd name="T106" fmla="*/ 6 w 22"/>
                  <a:gd name="T107" fmla="*/ 18 h 18"/>
                  <a:gd name="T108" fmla="*/ 6 w 22"/>
                  <a:gd name="T109" fmla="*/ 18 h 18"/>
                  <a:gd name="T110" fmla="*/ 6 w 22"/>
                  <a:gd name="T111" fmla="*/ 18 h 18"/>
                  <a:gd name="T112" fmla="*/ 6 w 22"/>
                  <a:gd name="T113" fmla="*/ 18 h 18"/>
                  <a:gd name="T114" fmla="*/ 6 w 22"/>
                  <a:gd name="T11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2" h="18">
                    <a:moveTo>
                      <a:pt x="6" y="18"/>
                    </a:moveTo>
                    <a:lnTo>
                      <a:pt x="6" y="18"/>
                    </a:lnTo>
                    <a:lnTo>
                      <a:pt x="6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6"/>
                    </a:lnTo>
                    <a:lnTo>
                      <a:pt x="10" y="14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4" y="10"/>
                    </a:lnTo>
                    <a:lnTo>
                      <a:pt x="16" y="12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8" y="14"/>
                    </a:lnTo>
                    <a:lnTo>
                      <a:pt x="20" y="16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2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2" y="16"/>
                    </a:lnTo>
                    <a:lnTo>
                      <a:pt x="4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72" name="Freeform 741"/>
              <p:cNvSpPr>
                <a:spLocks/>
              </p:cNvSpPr>
              <p:nvPr/>
            </p:nvSpPr>
            <p:spPr bwMode="auto">
              <a:xfrm>
                <a:off x="4541" y="2728"/>
                <a:ext cx="22" cy="18"/>
              </a:xfrm>
              <a:custGeom>
                <a:avLst/>
                <a:gdLst>
                  <a:gd name="T0" fmla="*/ 6 w 22"/>
                  <a:gd name="T1" fmla="*/ 18 h 18"/>
                  <a:gd name="T2" fmla="*/ 6 w 22"/>
                  <a:gd name="T3" fmla="*/ 18 h 18"/>
                  <a:gd name="T4" fmla="*/ 6 w 22"/>
                  <a:gd name="T5" fmla="*/ 18 h 18"/>
                  <a:gd name="T6" fmla="*/ 8 w 22"/>
                  <a:gd name="T7" fmla="*/ 18 h 18"/>
                  <a:gd name="T8" fmla="*/ 8 w 22"/>
                  <a:gd name="T9" fmla="*/ 18 h 18"/>
                  <a:gd name="T10" fmla="*/ 8 w 22"/>
                  <a:gd name="T11" fmla="*/ 16 h 18"/>
                  <a:gd name="T12" fmla="*/ 10 w 22"/>
                  <a:gd name="T13" fmla="*/ 14 h 18"/>
                  <a:gd name="T14" fmla="*/ 10 w 22"/>
                  <a:gd name="T15" fmla="*/ 10 h 18"/>
                  <a:gd name="T16" fmla="*/ 10 w 22"/>
                  <a:gd name="T17" fmla="*/ 10 h 18"/>
                  <a:gd name="T18" fmla="*/ 10 w 22"/>
                  <a:gd name="T19" fmla="*/ 10 h 18"/>
                  <a:gd name="T20" fmla="*/ 12 w 22"/>
                  <a:gd name="T21" fmla="*/ 8 h 18"/>
                  <a:gd name="T22" fmla="*/ 12 w 22"/>
                  <a:gd name="T23" fmla="*/ 8 h 18"/>
                  <a:gd name="T24" fmla="*/ 14 w 22"/>
                  <a:gd name="T25" fmla="*/ 10 h 18"/>
                  <a:gd name="T26" fmla="*/ 16 w 22"/>
                  <a:gd name="T27" fmla="*/ 12 h 18"/>
                  <a:gd name="T28" fmla="*/ 16 w 22"/>
                  <a:gd name="T29" fmla="*/ 14 h 18"/>
                  <a:gd name="T30" fmla="*/ 16 w 22"/>
                  <a:gd name="T31" fmla="*/ 14 h 18"/>
                  <a:gd name="T32" fmla="*/ 18 w 22"/>
                  <a:gd name="T33" fmla="*/ 14 h 18"/>
                  <a:gd name="T34" fmla="*/ 20 w 22"/>
                  <a:gd name="T35" fmla="*/ 16 h 18"/>
                  <a:gd name="T36" fmla="*/ 22 w 22"/>
                  <a:gd name="T37" fmla="*/ 14 h 18"/>
                  <a:gd name="T38" fmla="*/ 22 w 22"/>
                  <a:gd name="T39" fmla="*/ 14 h 18"/>
                  <a:gd name="T40" fmla="*/ 22 w 22"/>
                  <a:gd name="T41" fmla="*/ 14 h 18"/>
                  <a:gd name="T42" fmla="*/ 22 w 22"/>
                  <a:gd name="T43" fmla="*/ 12 h 18"/>
                  <a:gd name="T44" fmla="*/ 22 w 22"/>
                  <a:gd name="T45" fmla="*/ 10 h 18"/>
                  <a:gd name="T46" fmla="*/ 22 w 22"/>
                  <a:gd name="T47" fmla="*/ 10 h 18"/>
                  <a:gd name="T48" fmla="*/ 20 w 22"/>
                  <a:gd name="T49" fmla="*/ 6 h 18"/>
                  <a:gd name="T50" fmla="*/ 20 w 22"/>
                  <a:gd name="T51" fmla="*/ 6 h 18"/>
                  <a:gd name="T52" fmla="*/ 20 w 22"/>
                  <a:gd name="T53" fmla="*/ 4 h 18"/>
                  <a:gd name="T54" fmla="*/ 20 w 22"/>
                  <a:gd name="T55" fmla="*/ 4 h 18"/>
                  <a:gd name="T56" fmla="*/ 20 w 22"/>
                  <a:gd name="T57" fmla="*/ 0 h 18"/>
                  <a:gd name="T58" fmla="*/ 20 w 22"/>
                  <a:gd name="T59" fmla="*/ 0 h 18"/>
                  <a:gd name="T60" fmla="*/ 18 w 22"/>
                  <a:gd name="T61" fmla="*/ 0 h 18"/>
                  <a:gd name="T62" fmla="*/ 16 w 22"/>
                  <a:gd name="T63" fmla="*/ 0 h 18"/>
                  <a:gd name="T64" fmla="*/ 14 w 22"/>
                  <a:gd name="T65" fmla="*/ 0 h 18"/>
                  <a:gd name="T66" fmla="*/ 12 w 22"/>
                  <a:gd name="T67" fmla="*/ 0 h 18"/>
                  <a:gd name="T68" fmla="*/ 10 w 22"/>
                  <a:gd name="T69" fmla="*/ 0 h 18"/>
                  <a:gd name="T70" fmla="*/ 10 w 22"/>
                  <a:gd name="T71" fmla="*/ 0 h 18"/>
                  <a:gd name="T72" fmla="*/ 10 w 22"/>
                  <a:gd name="T73" fmla="*/ 0 h 18"/>
                  <a:gd name="T74" fmla="*/ 8 w 22"/>
                  <a:gd name="T75" fmla="*/ 0 h 18"/>
                  <a:gd name="T76" fmla="*/ 8 w 22"/>
                  <a:gd name="T77" fmla="*/ 2 h 18"/>
                  <a:gd name="T78" fmla="*/ 6 w 22"/>
                  <a:gd name="T79" fmla="*/ 2 h 18"/>
                  <a:gd name="T80" fmla="*/ 6 w 22"/>
                  <a:gd name="T81" fmla="*/ 4 h 18"/>
                  <a:gd name="T82" fmla="*/ 6 w 22"/>
                  <a:gd name="T83" fmla="*/ 4 h 18"/>
                  <a:gd name="T84" fmla="*/ 4 w 22"/>
                  <a:gd name="T85" fmla="*/ 6 h 18"/>
                  <a:gd name="T86" fmla="*/ 4 w 22"/>
                  <a:gd name="T87" fmla="*/ 6 h 18"/>
                  <a:gd name="T88" fmla="*/ 2 w 22"/>
                  <a:gd name="T89" fmla="*/ 10 h 18"/>
                  <a:gd name="T90" fmla="*/ 2 w 22"/>
                  <a:gd name="T91" fmla="*/ 10 h 18"/>
                  <a:gd name="T92" fmla="*/ 2 w 22"/>
                  <a:gd name="T93" fmla="*/ 10 h 18"/>
                  <a:gd name="T94" fmla="*/ 2 w 22"/>
                  <a:gd name="T95" fmla="*/ 12 h 18"/>
                  <a:gd name="T96" fmla="*/ 0 w 22"/>
                  <a:gd name="T97" fmla="*/ 14 h 18"/>
                  <a:gd name="T98" fmla="*/ 0 w 22"/>
                  <a:gd name="T99" fmla="*/ 14 h 18"/>
                  <a:gd name="T100" fmla="*/ 0 w 22"/>
                  <a:gd name="T101" fmla="*/ 16 h 18"/>
                  <a:gd name="T102" fmla="*/ 2 w 22"/>
                  <a:gd name="T103" fmla="*/ 16 h 18"/>
                  <a:gd name="T104" fmla="*/ 4 w 22"/>
                  <a:gd name="T105" fmla="*/ 18 h 18"/>
                  <a:gd name="T106" fmla="*/ 6 w 22"/>
                  <a:gd name="T107" fmla="*/ 18 h 18"/>
                  <a:gd name="T108" fmla="*/ 6 w 22"/>
                  <a:gd name="T109" fmla="*/ 18 h 18"/>
                  <a:gd name="T110" fmla="*/ 6 w 22"/>
                  <a:gd name="T111" fmla="*/ 18 h 18"/>
                  <a:gd name="T112" fmla="*/ 6 w 22"/>
                  <a:gd name="T113" fmla="*/ 18 h 18"/>
                  <a:gd name="T114" fmla="*/ 6 w 22"/>
                  <a:gd name="T11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2" h="18">
                    <a:moveTo>
                      <a:pt x="6" y="18"/>
                    </a:moveTo>
                    <a:lnTo>
                      <a:pt x="6" y="18"/>
                    </a:lnTo>
                    <a:lnTo>
                      <a:pt x="6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6"/>
                    </a:lnTo>
                    <a:lnTo>
                      <a:pt x="10" y="14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4" y="10"/>
                    </a:lnTo>
                    <a:lnTo>
                      <a:pt x="16" y="12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8" y="14"/>
                    </a:lnTo>
                    <a:lnTo>
                      <a:pt x="20" y="16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2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2" y="16"/>
                    </a:lnTo>
                    <a:lnTo>
                      <a:pt x="4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73" name="Freeform 742"/>
              <p:cNvSpPr>
                <a:spLocks/>
              </p:cNvSpPr>
              <p:nvPr/>
            </p:nvSpPr>
            <p:spPr bwMode="auto">
              <a:xfrm>
                <a:off x="4247" y="2450"/>
                <a:ext cx="142" cy="266"/>
              </a:xfrm>
              <a:custGeom>
                <a:avLst/>
                <a:gdLst>
                  <a:gd name="T0" fmla="*/ 132 w 142"/>
                  <a:gd name="T1" fmla="*/ 76 h 266"/>
                  <a:gd name="T2" fmla="*/ 122 w 142"/>
                  <a:gd name="T3" fmla="*/ 62 h 266"/>
                  <a:gd name="T4" fmla="*/ 110 w 142"/>
                  <a:gd name="T5" fmla="*/ 42 h 266"/>
                  <a:gd name="T6" fmla="*/ 92 w 142"/>
                  <a:gd name="T7" fmla="*/ 46 h 266"/>
                  <a:gd name="T8" fmla="*/ 80 w 142"/>
                  <a:gd name="T9" fmla="*/ 44 h 266"/>
                  <a:gd name="T10" fmla="*/ 70 w 142"/>
                  <a:gd name="T11" fmla="*/ 54 h 266"/>
                  <a:gd name="T12" fmla="*/ 66 w 142"/>
                  <a:gd name="T13" fmla="*/ 40 h 266"/>
                  <a:gd name="T14" fmla="*/ 62 w 142"/>
                  <a:gd name="T15" fmla="*/ 22 h 266"/>
                  <a:gd name="T16" fmla="*/ 50 w 142"/>
                  <a:gd name="T17" fmla="*/ 16 h 266"/>
                  <a:gd name="T18" fmla="*/ 48 w 142"/>
                  <a:gd name="T19" fmla="*/ 2 h 266"/>
                  <a:gd name="T20" fmla="*/ 32 w 142"/>
                  <a:gd name="T21" fmla="*/ 2 h 266"/>
                  <a:gd name="T22" fmla="*/ 22 w 142"/>
                  <a:gd name="T23" fmla="*/ 12 h 266"/>
                  <a:gd name="T24" fmla="*/ 8 w 142"/>
                  <a:gd name="T25" fmla="*/ 16 h 266"/>
                  <a:gd name="T26" fmla="*/ 0 w 142"/>
                  <a:gd name="T27" fmla="*/ 24 h 266"/>
                  <a:gd name="T28" fmla="*/ 2 w 142"/>
                  <a:gd name="T29" fmla="*/ 40 h 266"/>
                  <a:gd name="T30" fmla="*/ 14 w 142"/>
                  <a:gd name="T31" fmla="*/ 52 h 266"/>
                  <a:gd name="T32" fmla="*/ 24 w 142"/>
                  <a:gd name="T33" fmla="*/ 64 h 266"/>
                  <a:gd name="T34" fmla="*/ 30 w 142"/>
                  <a:gd name="T35" fmla="*/ 80 h 266"/>
                  <a:gd name="T36" fmla="*/ 24 w 142"/>
                  <a:gd name="T37" fmla="*/ 102 h 266"/>
                  <a:gd name="T38" fmla="*/ 30 w 142"/>
                  <a:gd name="T39" fmla="*/ 116 h 266"/>
                  <a:gd name="T40" fmla="*/ 42 w 142"/>
                  <a:gd name="T41" fmla="*/ 134 h 266"/>
                  <a:gd name="T42" fmla="*/ 46 w 142"/>
                  <a:gd name="T43" fmla="*/ 146 h 266"/>
                  <a:gd name="T44" fmla="*/ 50 w 142"/>
                  <a:gd name="T45" fmla="*/ 168 h 266"/>
                  <a:gd name="T46" fmla="*/ 42 w 142"/>
                  <a:gd name="T47" fmla="*/ 188 h 266"/>
                  <a:gd name="T48" fmla="*/ 34 w 142"/>
                  <a:gd name="T49" fmla="*/ 204 h 266"/>
                  <a:gd name="T50" fmla="*/ 34 w 142"/>
                  <a:gd name="T51" fmla="*/ 226 h 266"/>
                  <a:gd name="T52" fmla="*/ 40 w 142"/>
                  <a:gd name="T53" fmla="*/ 230 h 266"/>
                  <a:gd name="T54" fmla="*/ 42 w 142"/>
                  <a:gd name="T55" fmla="*/ 222 h 266"/>
                  <a:gd name="T56" fmla="*/ 48 w 142"/>
                  <a:gd name="T57" fmla="*/ 234 h 266"/>
                  <a:gd name="T58" fmla="*/ 58 w 142"/>
                  <a:gd name="T59" fmla="*/ 246 h 266"/>
                  <a:gd name="T60" fmla="*/ 72 w 142"/>
                  <a:gd name="T61" fmla="*/ 252 h 266"/>
                  <a:gd name="T62" fmla="*/ 82 w 142"/>
                  <a:gd name="T63" fmla="*/ 264 h 266"/>
                  <a:gd name="T64" fmla="*/ 100 w 142"/>
                  <a:gd name="T65" fmla="*/ 264 h 266"/>
                  <a:gd name="T66" fmla="*/ 92 w 142"/>
                  <a:gd name="T67" fmla="*/ 250 h 266"/>
                  <a:gd name="T68" fmla="*/ 84 w 142"/>
                  <a:gd name="T69" fmla="*/ 248 h 266"/>
                  <a:gd name="T70" fmla="*/ 70 w 142"/>
                  <a:gd name="T71" fmla="*/ 234 h 266"/>
                  <a:gd name="T72" fmla="*/ 66 w 142"/>
                  <a:gd name="T73" fmla="*/ 236 h 266"/>
                  <a:gd name="T74" fmla="*/ 62 w 142"/>
                  <a:gd name="T75" fmla="*/ 228 h 266"/>
                  <a:gd name="T76" fmla="*/ 66 w 142"/>
                  <a:gd name="T77" fmla="*/ 222 h 266"/>
                  <a:gd name="T78" fmla="*/ 60 w 142"/>
                  <a:gd name="T79" fmla="*/ 206 h 266"/>
                  <a:gd name="T80" fmla="*/ 54 w 142"/>
                  <a:gd name="T81" fmla="*/ 200 h 266"/>
                  <a:gd name="T82" fmla="*/ 52 w 142"/>
                  <a:gd name="T83" fmla="*/ 184 h 266"/>
                  <a:gd name="T84" fmla="*/ 54 w 142"/>
                  <a:gd name="T85" fmla="*/ 162 h 266"/>
                  <a:gd name="T86" fmla="*/ 58 w 142"/>
                  <a:gd name="T87" fmla="*/ 152 h 266"/>
                  <a:gd name="T88" fmla="*/ 56 w 142"/>
                  <a:gd name="T89" fmla="*/ 130 h 266"/>
                  <a:gd name="T90" fmla="*/ 62 w 142"/>
                  <a:gd name="T91" fmla="*/ 122 h 266"/>
                  <a:gd name="T92" fmla="*/ 72 w 142"/>
                  <a:gd name="T93" fmla="*/ 128 h 266"/>
                  <a:gd name="T94" fmla="*/ 70 w 142"/>
                  <a:gd name="T95" fmla="*/ 138 h 266"/>
                  <a:gd name="T96" fmla="*/ 76 w 142"/>
                  <a:gd name="T97" fmla="*/ 142 h 266"/>
                  <a:gd name="T98" fmla="*/ 86 w 142"/>
                  <a:gd name="T99" fmla="*/ 140 h 266"/>
                  <a:gd name="T100" fmla="*/ 94 w 142"/>
                  <a:gd name="T101" fmla="*/ 150 h 266"/>
                  <a:gd name="T102" fmla="*/ 104 w 142"/>
                  <a:gd name="T103" fmla="*/ 154 h 266"/>
                  <a:gd name="T104" fmla="*/ 104 w 142"/>
                  <a:gd name="T105" fmla="*/ 140 h 266"/>
                  <a:gd name="T106" fmla="*/ 98 w 142"/>
                  <a:gd name="T107" fmla="*/ 122 h 266"/>
                  <a:gd name="T108" fmla="*/ 112 w 142"/>
                  <a:gd name="T109" fmla="*/ 104 h 266"/>
                  <a:gd name="T110" fmla="*/ 132 w 142"/>
                  <a:gd name="T111" fmla="*/ 108 h 266"/>
                  <a:gd name="T112" fmla="*/ 142 w 142"/>
                  <a:gd name="T113" fmla="*/ 106 h 266"/>
                  <a:gd name="T114" fmla="*/ 140 w 142"/>
                  <a:gd name="T115" fmla="*/ 88 h 2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42" h="266">
                    <a:moveTo>
                      <a:pt x="140" y="88"/>
                    </a:moveTo>
                    <a:lnTo>
                      <a:pt x="140" y="88"/>
                    </a:lnTo>
                    <a:lnTo>
                      <a:pt x="138" y="84"/>
                    </a:lnTo>
                    <a:lnTo>
                      <a:pt x="138" y="82"/>
                    </a:lnTo>
                    <a:lnTo>
                      <a:pt x="136" y="80"/>
                    </a:lnTo>
                    <a:lnTo>
                      <a:pt x="136" y="78"/>
                    </a:lnTo>
                    <a:lnTo>
                      <a:pt x="134" y="78"/>
                    </a:lnTo>
                    <a:lnTo>
                      <a:pt x="132" y="76"/>
                    </a:lnTo>
                    <a:lnTo>
                      <a:pt x="132" y="76"/>
                    </a:lnTo>
                    <a:lnTo>
                      <a:pt x="130" y="74"/>
                    </a:lnTo>
                    <a:lnTo>
                      <a:pt x="126" y="74"/>
                    </a:lnTo>
                    <a:lnTo>
                      <a:pt x="126" y="72"/>
                    </a:lnTo>
                    <a:lnTo>
                      <a:pt x="124" y="72"/>
                    </a:lnTo>
                    <a:lnTo>
                      <a:pt x="122" y="70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4"/>
                    </a:lnTo>
                    <a:lnTo>
                      <a:pt x="122" y="62"/>
                    </a:lnTo>
                    <a:lnTo>
                      <a:pt x="122" y="58"/>
                    </a:lnTo>
                    <a:lnTo>
                      <a:pt x="120" y="54"/>
                    </a:lnTo>
                    <a:lnTo>
                      <a:pt x="120" y="54"/>
                    </a:lnTo>
                    <a:lnTo>
                      <a:pt x="120" y="52"/>
                    </a:lnTo>
                    <a:lnTo>
                      <a:pt x="118" y="48"/>
                    </a:lnTo>
                    <a:lnTo>
                      <a:pt x="116" y="46"/>
                    </a:lnTo>
                    <a:lnTo>
                      <a:pt x="112" y="44"/>
                    </a:lnTo>
                    <a:lnTo>
                      <a:pt x="112" y="44"/>
                    </a:lnTo>
                    <a:lnTo>
                      <a:pt x="110" y="42"/>
                    </a:lnTo>
                    <a:lnTo>
                      <a:pt x="110" y="42"/>
                    </a:lnTo>
                    <a:lnTo>
                      <a:pt x="106" y="42"/>
                    </a:lnTo>
                    <a:lnTo>
                      <a:pt x="102" y="40"/>
                    </a:lnTo>
                    <a:lnTo>
                      <a:pt x="98" y="42"/>
                    </a:lnTo>
                    <a:lnTo>
                      <a:pt x="98" y="42"/>
                    </a:lnTo>
                    <a:lnTo>
                      <a:pt x="98" y="42"/>
                    </a:lnTo>
                    <a:lnTo>
                      <a:pt x="96" y="42"/>
                    </a:lnTo>
                    <a:lnTo>
                      <a:pt x="94" y="44"/>
                    </a:lnTo>
                    <a:lnTo>
                      <a:pt x="92" y="46"/>
                    </a:lnTo>
                    <a:lnTo>
                      <a:pt x="92" y="46"/>
                    </a:lnTo>
                    <a:lnTo>
                      <a:pt x="90" y="48"/>
                    </a:lnTo>
                    <a:lnTo>
                      <a:pt x="88" y="48"/>
                    </a:lnTo>
                    <a:lnTo>
                      <a:pt x="88" y="48"/>
                    </a:lnTo>
                    <a:lnTo>
                      <a:pt x="86" y="48"/>
                    </a:lnTo>
                    <a:lnTo>
                      <a:pt x="84" y="46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78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4" y="46"/>
                    </a:lnTo>
                    <a:lnTo>
                      <a:pt x="74" y="48"/>
                    </a:lnTo>
                    <a:lnTo>
                      <a:pt x="72" y="50"/>
                    </a:lnTo>
                    <a:lnTo>
                      <a:pt x="70" y="52"/>
                    </a:lnTo>
                    <a:lnTo>
                      <a:pt x="70" y="54"/>
                    </a:lnTo>
                    <a:lnTo>
                      <a:pt x="70" y="54"/>
                    </a:lnTo>
                    <a:lnTo>
                      <a:pt x="68" y="52"/>
                    </a:lnTo>
                    <a:lnTo>
                      <a:pt x="66" y="50"/>
                    </a:lnTo>
                    <a:lnTo>
                      <a:pt x="66" y="50"/>
                    </a:lnTo>
                    <a:lnTo>
                      <a:pt x="66" y="50"/>
                    </a:lnTo>
                    <a:lnTo>
                      <a:pt x="66" y="48"/>
                    </a:lnTo>
                    <a:lnTo>
                      <a:pt x="64" y="46"/>
                    </a:lnTo>
                    <a:lnTo>
                      <a:pt x="64" y="44"/>
                    </a:lnTo>
                    <a:lnTo>
                      <a:pt x="66" y="40"/>
                    </a:lnTo>
                    <a:lnTo>
                      <a:pt x="66" y="38"/>
                    </a:lnTo>
                    <a:lnTo>
                      <a:pt x="66" y="38"/>
                    </a:lnTo>
                    <a:lnTo>
                      <a:pt x="66" y="34"/>
                    </a:lnTo>
                    <a:lnTo>
                      <a:pt x="66" y="28"/>
                    </a:lnTo>
                    <a:lnTo>
                      <a:pt x="66" y="26"/>
                    </a:lnTo>
                    <a:lnTo>
                      <a:pt x="64" y="26"/>
                    </a:lnTo>
                    <a:lnTo>
                      <a:pt x="64" y="24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0" y="20"/>
                    </a:lnTo>
                    <a:lnTo>
                      <a:pt x="58" y="18"/>
                    </a:lnTo>
                    <a:lnTo>
                      <a:pt x="58" y="18"/>
                    </a:lnTo>
                    <a:lnTo>
                      <a:pt x="56" y="18"/>
                    </a:lnTo>
                    <a:lnTo>
                      <a:pt x="54" y="18"/>
                    </a:lnTo>
                    <a:lnTo>
                      <a:pt x="52" y="18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50" y="16"/>
                    </a:lnTo>
                    <a:lnTo>
                      <a:pt x="50" y="16"/>
                    </a:lnTo>
                    <a:lnTo>
                      <a:pt x="50" y="16"/>
                    </a:lnTo>
                    <a:lnTo>
                      <a:pt x="50" y="14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48" y="8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2"/>
                    </a:lnTo>
                    <a:lnTo>
                      <a:pt x="46" y="2"/>
                    </a:lnTo>
                    <a:lnTo>
                      <a:pt x="44" y="2"/>
                    </a:lnTo>
                    <a:lnTo>
                      <a:pt x="44" y="2"/>
                    </a:lnTo>
                    <a:lnTo>
                      <a:pt x="42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2" y="2"/>
                    </a:lnTo>
                    <a:lnTo>
                      <a:pt x="30" y="2"/>
                    </a:lnTo>
                    <a:lnTo>
                      <a:pt x="30" y="4"/>
                    </a:lnTo>
                    <a:lnTo>
                      <a:pt x="28" y="4"/>
                    </a:lnTo>
                    <a:lnTo>
                      <a:pt x="28" y="6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10"/>
                    </a:lnTo>
                    <a:lnTo>
                      <a:pt x="24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0" y="12"/>
                    </a:lnTo>
                    <a:lnTo>
                      <a:pt x="18" y="12"/>
                    </a:lnTo>
                    <a:lnTo>
                      <a:pt x="16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2" y="14"/>
                    </a:lnTo>
                    <a:lnTo>
                      <a:pt x="8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4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8"/>
                    </a:lnTo>
                    <a:lnTo>
                      <a:pt x="0" y="20"/>
                    </a:lnTo>
                    <a:lnTo>
                      <a:pt x="0" y="22"/>
                    </a:lnTo>
                    <a:lnTo>
                      <a:pt x="0" y="24"/>
                    </a:lnTo>
                    <a:lnTo>
                      <a:pt x="0" y="28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4"/>
                    </a:lnTo>
                    <a:lnTo>
                      <a:pt x="0" y="36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2" y="40"/>
                    </a:lnTo>
                    <a:lnTo>
                      <a:pt x="2" y="40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6" y="46"/>
                    </a:lnTo>
                    <a:lnTo>
                      <a:pt x="8" y="48"/>
                    </a:lnTo>
                    <a:lnTo>
                      <a:pt x="10" y="50"/>
                    </a:lnTo>
                    <a:lnTo>
                      <a:pt x="10" y="50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4" y="52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8" y="54"/>
                    </a:lnTo>
                    <a:lnTo>
                      <a:pt x="18" y="56"/>
                    </a:lnTo>
                    <a:lnTo>
                      <a:pt x="20" y="60"/>
                    </a:lnTo>
                    <a:lnTo>
                      <a:pt x="22" y="62"/>
                    </a:lnTo>
                    <a:lnTo>
                      <a:pt x="22" y="64"/>
                    </a:lnTo>
                    <a:lnTo>
                      <a:pt x="24" y="64"/>
                    </a:lnTo>
                    <a:lnTo>
                      <a:pt x="24" y="64"/>
                    </a:lnTo>
                    <a:lnTo>
                      <a:pt x="26" y="68"/>
                    </a:lnTo>
                    <a:lnTo>
                      <a:pt x="28" y="68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2"/>
                    </a:lnTo>
                    <a:lnTo>
                      <a:pt x="30" y="74"/>
                    </a:lnTo>
                    <a:lnTo>
                      <a:pt x="30" y="78"/>
                    </a:lnTo>
                    <a:lnTo>
                      <a:pt x="30" y="78"/>
                    </a:lnTo>
                    <a:lnTo>
                      <a:pt x="30" y="80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28" y="84"/>
                    </a:lnTo>
                    <a:lnTo>
                      <a:pt x="26" y="86"/>
                    </a:lnTo>
                    <a:lnTo>
                      <a:pt x="24" y="88"/>
                    </a:lnTo>
                    <a:lnTo>
                      <a:pt x="24" y="90"/>
                    </a:lnTo>
                    <a:lnTo>
                      <a:pt x="24" y="90"/>
                    </a:lnTo>
                    <a:lnTo>
                      <a:pt x="24" y="96"/>
                    </a:lnTo>
                    <a:lnTo>
                      <a:pt x="24" y="102"/>
                    </a:lnTo>
                    <a:lnTo>
                      <a:pt x="24" y="102"/>
                    </a:lnTo>
                    <a:lnTo>
                      <a:pt x="24" y="104"/>
                    </a:lnTo>
                    <a:lnTo>
                      <a:pt x="26" y="106"/>
                    </a:lnTo>
                    <a:lnTo>
                      <a:pt x="28" y="110"/>
                    </a:lnTo>
                    <a:lnTo>
                      <a:pt x="28" y="112"/>
                    </a:lnTo>
                    <a:lnTo>
                      <a:pt x="28" y="112"/>
                    </a:lnTo>
                    <a:lnTo>
                      <a:pt x="30" y="112"/>
                    </a:lnTo>
                    <a:lnTo>
                      <a:pt x="30" y="112"/>
                    </a:lnTo>
                    <a:lnTo>
                      <a:pt x="30" y="116"/>
                    </a:lnTo>
                    <a:lnTo>
                      <a:pt x="30" y="118"/>
                    </a:lnTo>
                    <a:lnTo>
                      <a:pt x="30" y="118"/>
                    </a:lnTo>
                    <a:lnTo>
                      <a:pt x="32" y="120"/>
                    </a:lnTo>
                    <a:lnTo>
                      <a:pt x="32" y="120"/>
                    </a:lnTo>
                    <a:lnTo>
                      <a:pt x="36" y="122"/>
                    </a:lnTo>
                    <a:lnTo>
                      <a:pt x="36" y="124"/>
                    </a:lnTo>
                    <a:lnTo>
                      <a:pt x="40" y="126"/>
                    </a:lnTo>
                    <a:lnTo>
                      <a:pt x="40" y="126"/>
                    </a:lnTo>
                    <a:lnTo>
                      <a:pt x="42" y="134"/>
                    </a:lnTo>
                    <a:lnTo>
                      <a:pt x="42" y="136"/>
                    </a:lnTo>
                    <a:lnTo>
                      <a:pt x="44" y="138"/>
                    </a:lnTo>
                    <a:lnTo>
                      <a:pt x="44" y="138"/>
                    </a:lnTo>
                    <a:lnTo>
                      <a:pt x="44" y="142"/>
                    </a:lnTo>
                    <a:lnTo>
                      <a:pt x="44" y="144"/>
                    </a:lnTo>
                    <a:lnTo>
                      <a:pt x="44" y="146"/>
                    </a:lnTo>
                    <a:lnTo>
                      <a:pt x="44" y="146"/>
                    </a:lnTo>
                    <a:lnTo>
                      <a:pt x="46" y="146"/>
                    </a:lnTo>
                    <a:lnTo>
                      <a:pt x="46" y="146"/>
                    </a:lnTo>
                    <a:lnTo>
                      <a:pt x="48" y="148"/>
                    </a:lnTo>
                    <a:lnTo>
                      <a:pt x="48" y="150"/>
                    </a:lnTo>
                    <a:lnTo>
                      <a:pt x="48" y="150"/>
                    </a:lnTo>
                    <a:lnTo>
                      <a:pt x="50" y="152"/>
                    </a:lnTo>
                    <a:lnTo>
                      <a:pt x="50" y="154"/>
                    </a:lnTo>
                    <a:lnTo>
                      <a:pt x="50" y="156"/>
                    </a:lnTo>
                    <a:lnTo>
                      <a:pt x="50" y="164"/>
                    </a:lnTo>
                    <a:lnTo>
                      <a:pt x="50" y="164"/>
                    </a:lnTo>
                    <a:lnTo>
                      <a:pt x="50" y="168"/>
                    </a:lnTo>
                    <a:lnTo>
                      <a:pt x="50" y="170"/>
                    </a:lnTo>
                    <a:lnTo>
                      <a:pt x="48" y="178"/>
                    </a:lnTo>
                    <a:lnTo>
                      <a:pt x="48" y="178"/>
                    </a:lnTo>
                    <a:lnTo>
                      <a:pt x="46" y="182"/>
                    </a:lnTo>
                    <a:lnTo>
                      <a:pt x="44" y="186"/>
                    </a:lnTo>
                    <a:lnTo>
                      <a:pt x="44" y="186"/>
                    </a:lnTo>
                    <a:lnTo>
                      <a:pt x="44" y="188"/>
                    </a:lnTo>
                    <a:lnTo>
                      <a:pt x="44" y="188"/>
                    </a:lnTo>
                    <a:lnTo>
                      <a:pt x="42" y="188"/>
                    </a:lnTo>
                    <a:lnTo>
                      <a:pt x="40" y="190"/>
                    </a:lnTo>
                    <a:lnTo>
                      <a:pt x="34" y="190"/>
                    </a:lnTo>
                    <a:lnTo>
                      <a:pt x="34" y="190"/>
                    </a:lnTo>
                    <a:lnTo>
                      <a:pt x="36" y="194"/>
                    </a:lnTo>
                    <a:lnTo>
                      <a:pt x="36" y="196"/>
                    </a:lnTo>
                    <a:lnTo>
                      <a:pt x="36" y="198"/>
                    </a:lnTo>
                    <a:lnTo>
                      <a:pt x="36" y="198"/>
                    </a:lnTo>
                    <a:lnTo>
                      <a:pt x="34" y="202"/>
                    </a:lnTo>
                    <a:lnTo>
                      <a:pt x="34" y="204"/>
                    </a:lnTo>
                    <a:lnTo>
                      <a:pt x="32" y="206"/>
                    </a:lnTo>
                    <a:lnTo>
                      <a:pt x="32" y="206"/>
                    </a:lnTo>
                    <a:lnTo>
                      <a:pt x="30" y="208"/>
                    </a:lnTo>
                    <a:lnTo>
                      <a:pt x="30" y="208"/>
                    </a:lnTo>
                    <a:lnTo>
                      <a:pt x="30" y="212"/>
                    </a:lnTo>
                    <a:lnTo>
                      <a:pt x="32" y="216"/>
                    </a:lnTo>
                    <a:lnTo>
                      <a:pt x="32" y="224"/>
                    </a:lnTo>
                    <a:lnTo>
                      <a:pt x="32" y="224"/>
                    </a:lnTo>
                    <a:lnTo>
                      <a:pt x="34" y="226"/>
                    </a:lnTo>
                    <a:lnTo>
                      <a:pt x="34" y="228"/>
                    </a:lnTo>
                    <a:lnTo>
                      <a:pt x="34" y="228"/>
                    </a:lnTo>
                    <a:lnTo>
                      <a:pt x="34" y="230"/>
                    </a:lnTo>
                    <a:lnTo>
                      <a:pt x="34" y="230"/>
                    </a:lnTo>
                    <a:lnTo>
                      <a:pt x="34" y="230"/>
                    </a:lnTo>
                    <a:lnTo>
                      <a:pt x="36" y="230"/>
                    </a:lnTo>
                    <a:lnTo>
                      <a:pt x="36" y="230"/>
                    </a:lnTo>
                    <a:lnTo>
                      <a:pt x="40" y="230"/>
                    </a:lnTo>
                    <a:lnTo>
                      <a:pt x="40" y="230"/>
                    </a:lnTo>
                    <a:lnTo>
                      <a:pt x="40" y="228"/>
                    </a:lnTo>
                    <a:lnTo>
                      <a:pt x="40" y="228"/>
                    </a:lnTo>
                    <a:lnTo>
                      <a:pt x="40" y="226"/>
                    </a:lnTo>
                    <a:lnTo>
                      <a:pt x="40" y="224"/>
                    </a:lnTo>
                    <a:lnTo>
                      <a:pt x="40" y="222"/>
                    </a:lnTo>
                    <a:lnTo>
                      <a:pt x="40" y="220"/>
                    </a:lnTo>
                    <a:lnTo>
                      <a:pt x="42" y="220"/>
                    </a:lnTo>
                    <a:lnTo>
                      <a:pt x="42" y="222"/>
                    </a:lnTo>
                    <a:lnTo>
                      <a:pt x="42" y="222"/>
                    </a:lnTo>
                    <a:lnTo>
                      <a:pt x="44" y="224"/>
                    </a:lnTo>
                    <a:lnTo>
                      <a:pt x="44" y="224"/>
                    </a:lnTo>
                    <a:lnTo>
                      <a:pt x="44" y="226"/>
                    </a:lnTo>
                    <a:lnTo>
                      <a:pt x="44" y="230"/>
                    </a:lnTo>
                    <a:lnTo>
                      <a:pt x="44" y="230"/>
                    </a:lnTo>
                    <a:lnTo>
                      <a:pt x="46" y="230"/>
                    </a:lnTo>
                    <a:lnTo>
                      <a:pt x="46" y="230"/>
                    </a:lnTo>
                    <a:lnTo>
                      <a:pt x="46" y="232"/>
                    </a:lnTo>
                    <a:lnTo>
                      <a:pt x="48" y="234"/>
                    </a:lnTo>
                    <a:lnTo>
                      <a:pt x="52" y="236"/>
                    </a:lnTo>
                    <a:lnTo>
                      <a:pt x="52" y="236"/>
                    </a:lnTo>
                    <a:lnTo>
                      <a:pt x="54" y="236"/>
                    </a:lnTo>
                    <a:lnTo>
                      <a:pt x="54" y="238"/>
                    </a:lnTo>
                    <a:lnTo>
                      <a:pt x="56" y="240"/>
                    </a:lnTo>
                    <a:lnTo>
                      <a:pt x="56" y="246"/>
                    </a:lnTo>
                    <a:lnTo>
                      <a:pt x="56" y="246"/>
                    </a:lnTo>
                    <a:lnTo>
                      <a:pt x="56" y="246"/>
                    </a:lnTo>
                    <a:lnTo>
                      <a:pt x="58" y="246"/>
                    </a:lnTo>
                    <a:lnTo>
                      <a:pt x="60" y="248"/>
                    </a:lnTo>
                    <a:lnTo>
                      <a:pt x="60" y="248"/>
                    </a:lnTo>
                    <a:lnTo>
                      <a:pt x="60" y="250"/>
                    </a:lnTo>
                    <a:lnTo>
                      <a:pt x="62" y="252"/>
                    </a:lnTo>
                    <a:lnTo>
                      <a:pt x="62" y="252"/>
                    </a:lnTo>
                    <a:lnTo>
                      <a:pt x="64" y="252"/>
                    </a:lnTo>
                    <a:lnTo>
                      <a:pt x="68" y="252"/>
                    </a:lnTo>
                    <a:lnTo>
                      <a:pt x="70" y="252"/>
                    </a:lnTo>
                    <a:lnTo>
                      <a:pt x="72" y="252"/>
                    </a:lnTo>
                    <a:lnTo>
                      <a:pt x="72" y="252"/>
                    </a:lnTo>
                    <a:lnTo>
                      <a:pt x="74" y="252"/>
                    </a:lnTo>
                    <a:lnTo>
                      <a:pt x="76" y="254"/>
                    </a:lnTo>
                    <a:lnTo>
                      <a:pt x="76" y="254"/>
                    </a:lnTo>
                    <a:lnTo>
                      <a:pt x="78" y="256"/>
                    </a:lnTo>
                    <a:lnTo>
                      <a:pt x="80" y="258"/>
                    </a:lnTo>
                    <a:lnTo>
                      <a:pt x="80" y="262"/>
                    </a:lnTo>
                    <a:lnTo>
                      <a:pt x="80" y="262"/>
                    </a:lnTo>
                    <a:lnTo>
                      <a:pt x="82" y="264"/>
                    </a:lnTo>
                    <a:lnTo>
                      <a:pt x="82" y="264"/>
                    </a:lnTo>
                    <a:lnTo>
                      <a:pt x="84" y="266"/>
                    </a:lnTo>
                    <a:lnTo>
                      <a:pt x="86" y="266"/>
                    </a:lnTo>
                    <a:lnTo>
                      <a:pt x="88" y="266"/>
                    </a:lnTo>
                    <a:lnTo>
                      <a:pt x="88" y="266"/>
                    </a:lnTo>
                    <a:lnTo>
                      <a:pt x="92" y="266"/>
                    </a:lnTo>
                    <a:lnTo>
                      <a:pt x="92" y="266"/>
                    </a:lnTo>
                    <a:lnTo>
                      <a:pt x="96" y="264"/>
                    </a:lnTo>
                    <a:lnTo>
                      <a:pt x="100" y="264"/>
                    </a:lnTo>
                    <a:lnTo>
                      <a:pt x="100" y="264"/>
                    </a:lnTo>
                    <a:lnTo>
                      <a:pt x="96" y="260"/>
                    </a:lnTo>
                    <a:lnTo>
                      <a:pt x="96" y="260"/>
                    </a:lnTo>
                    <a:lnTo>
                      <a:pt x="94" y="256"/>
                    </a:lnTo>
                    <a:lnTo>
                      <a:pt x="94" y="256"/>
                    </a:lnTo>
                    <a:lnTo>
                      <a:pt x="94" y="254"/>
                    </a:lnTo>
                    <a:lnTo>
                      <a:pt x="94" y="254"/>
                    </a:lnTo>
                    <a:lnTo>
                      <a:pt x="92" y="252"/>
                    </a:lnTo>
                    <a:lnTo>
                      <a:pt x="92" y="250"/>
                    </a:lnTo>
                    <a:lnTo>
                      <a:pt x="92" y="248"/>
                    </a:lnTo>
                    <a:lnTo>
                      <a:pt x="92" y="248"/>
                    </a:lnTo>
                    <a:lnTo>
                      <a:pt x="90" y="248"/>
                    </a:lnTo>
                    <a:lnTo>
                      <a:pt x="90" y="248"/>
                    </a:lnTo>
                    <a:lnTo>
                      <a:pt x="88" y="248"/>
                    </a:lnTo>
                    <a:lnTo>
                      <a:pt x="88" y="248"/>
                    </a:lnTo>
                    <a:lnTo>
                      <a:pt x="88" y="248"/>
                    </a:lnTo>
                    <a:lnTo>
                      <a:pt x="86" y="248"/>
                    </a:lnTo>
                    <a:lnTo>
                      <a:pt x="84" y="248"/>
                    </a:lnTo>
                    <a:lnTo>
                      <a:pt x="84" y="248"/>
                    </a:lnTo>
                    <a:lnTo>
                      <a:pt x="82" y="246"/>
                    </a:lnTo>
                    <a:lnTo>
                      <a:pt x="82" y="246"/>
                    </a:lnTo>
                    <a:lnTo>
                      <a:pt x="80" y="242"/>
                    </a:lnTo>
                    <a:lnTo>
                      <a:pt x="76" y="238"/>
                    </a:lnTo>
                    <a:lnTo>
                      <a:pt x="76" y="238"/>
                    </a:lnTo>
                    <a:lnTo>
                      <a:pt x="74" y="236"/>
                    </a:lnTo>
                    <a:lnTo>
                      <a:pt x="72" y="236"/>
                    </a:lnTo>
                    <a:lnTo>
                      <a:pt x="70" y="234"/>
                    </a:lnTo>
                    <a:lnTo>
                      <a:pt x="70" y="234"/>
                    </a:lnTo>
                    <a:lnTo>
                      <a:pt x="68" y="234"/>
                    </a:lnTo>
                    <a:lnTo>
                      <a:pt x="68" y="234"/>
                    </a:lnTo>
                    <a:lnTo>
                      <a:pt x="68" y="234"/>
                    </a:lnTo>
                    <a:lnTo>
                      <a:pt x="66" y="236"/>
                    </a:lnTo>
                    <a:lnTo>
                      <a:pt x="66" y="236"/>
                    </a:lnTo>
                    <a:lnTo>
                      <a:pt x="66" y="236"/>
                    </a:lnTo>
                    <a:lnTo>
                      <a:pt x="66" y="236"/>
                    </a:lnTo>
                    <a:lnTo>
                      <a:pt x="66" y="236"/>
                    </a:lnTo>
                    <a:lnTo>
                      <a:pt x="64" y="236"/>
                    </a:lnTo>
                    <a:lnTo>
                      <a:pt x="64" y="234"/>
                    </a:lnTo>
                    <a:lnTo>
                      <a:pt x="64" y="234"/>
                    </a:lnTo>
                    <a:lnTo>
                      <a:pt x="62" y="232"/>
                    </a:lnTo>
                    <a:lnTo>
                      <a:pt x="62" y="230"/>
                    </a:lnTo>
                    <a:lnTo>
                      <a:pt x="62" y="230"/>
                    </a:lnTo>
                    <a:lnTo>
                      <a:pt x="62" y="228"/>
                    </a:lnTo>
                    <a:lnTo>
                      <a:pt x="62" y="228"/>
                    </a:lnTo>
                    <a:lnTo>
                      <a:pt x="62" y="228"/>
                    </a:lnTo>
                    <a:lnTo>
                      <a:pt x="64" y="228"/>
                    </a:lnTo>
                    <a:lnTo>
                      <a:pt x="66" y="228"/>
                    </a:lnTo>
                    <a:lnTo>
                      <a:pt x="66" y="228"/>
                    </a:lnTo>
                    <a:lnTo>
                      <a:pt x="68" y="228"/>
                    </a:lnTo>
                    <a:lnTo>
                      <a:pt x="68" y="228"/>
                    </a:lnTo>
                    <a:lnTo>
                      <a:pt x="68" y="226"/>
                    </a:lnTo>
                    <a:lnTo>
                      <a:pt x="68" y="226"/>
                    </a:lnTo>
                    <a:lnTo>
                      <a:pt x="66" y="224"/>
                    </a:lnTo>
                    <a:lnTo>
                      <a:pt x="66" y="222"/>
                    </a:lnTo>
                    <a:lnTo>
                      <a:pt x="66" y="222"/>
                    </a:lnTo>
                    <a:lnTo>
                      <a:pt x="66" y="220"/>
                    </a:lnTo>
                    <a:lnTo>
                      <a:pt x="66" y="216"/>
                    </a:lnTo>
                    <a:lnTo>
                      <a:pt x="64" y="214"/>
                    </a:lnTo>
                    <a:lnTo>
                      <a:pt x="64" y="212"/>
                    </a:lnTo>
                    <a:lnTo>
                      <a:pt x="62" y="210"/>
                    </a:lnTo>
                    <a:lnTo>
                      <a:pt x="62" y="210"/>
                    </a:lnTo>
                    <a:lnTo>
                      <a:pt x="62" y="208"/>
                    </a:lnTo>
                    <a:lnTo>
                      <a:pt x="60" y="206"/>
                    </a:lnTo>
                    <a:lnTo>
                      <a:pt x="60" y="206"/>
                    </a:lnTo>
                    <a:lnTo>
                      <a:pt x="60" y="206"/>
                    </a:lnTo>
                    <a:lnTo>
                      <a:pt x="60" y="204"/>
                    </a:lnTo>
                    <a:lnTo>
                      <a:pt x="60" y="204"/>
                    </a:lnTo>
                    <a:lnTo>
                      <a:pt x="58" y="202"/>
                    </a:lnTo>
                    <a:lnTo>
                      <a:pt x="56" y="202"/>
                    </a:lnTo>
                    <a:lnTo>
                      <a:pt x="56" y="200"/>
                    </a:lnTo>
                    <a:lnTo>
                      <a:pt x="56" y="200"/>
                    </a:lnTo>
                    <a:lnTo>
                      <a:pt x="54" y="200"/>
                    </a:lnTo>
                    <a:lnTo>
                      <a:pt x="54" y="198"/>
                    </a:lnTo>
                    <a:lnTo>
                      <a:pt x="54" y="196"/>
                    </a:lnTo>
                    <a:lnTo>
                      <a:pt x="54" y="196"/>
                    </a:lnTo>
                    <a:lnTo>
                      <a:pt x="52" y="190"/>
                    </a:lnTo>
                    <a:lnTo>
                      <a:pt x="52" y="190"/>
                    </a:lnTo>
                    <a:lnTo>
                      <a:pt x="52" y="188"/>
                    </a:lnTo>
                    <a:lnTo>
                      <a:pt x="52" y="186"/>
                    </a:lnTo>
                    <a:lnTo>
                      <a:pt x="52" y="184"/>
                    </a:lnTo>
                    <a:lnTo>
                      <a:pt x="52" y="184"/>
                    </a:lnTo>
                    <a:lnTo>
                      <a:pt x="52" y="182"/>
                    </a:lnTo>
                    <a:lnTo>
                      <a:pt x="54" y="180"/>
                    </a:lnTo>
                    <a:lnTo>
                      <a:pt x="54" y="180"/>
                    </a:lnTo>
                    <a:lnTo>
                      <a:pt x="54" y="176"/>
                    </a:lnTo>
                    <a:lnTo>
                      <a:pt x="54" y="174"/>
                    </a:lnTo>
                    <a:lnTo>
                      <a:pt x="54" y="166"/>
                    </a:lnTo>
                    <a:lnTo>
                      <a:pt x="54" y="166"/>
                    </a:lnTo>
                    <a:lnTo>
                      <a:pt x="54" y="164"/>
                    </a:lnTo>
                    <a:lnTo>
                      <a:pt x="54" y="162"/>
                    </a:lnTo>
                    <a:lnTo>
                      <a:pt x="56" y="160"/>
                    </a:lnTo>
                    <a:lnTo>
                      <a:pt x="56" y="160"/>
                    </a:lnTo>
                    <a:lnTo>
                      <a:pt x="56" y="160"/>
                    </a:lnTo>
                    <a:lnTo>
                      <a:pt x="56" y="158"/>
                    </a:lnTo>
                    <a:lnTo>
                      <a:pt x="56" y="158"/>
                    </a:lnTo>
                    <a:lnTo>
                      <a:pt x="58" y="158"/>
                    </a:lnTo>
                    <a:lnTo>
                      <a:pt x="58" y="158"/>
                    </a:lnTo>
                    <a:lnTo>
                      <a:pt x="58" y="154"/>
                    </a:lnTo>
                    <a:lnTo>
                      <a:pt x="58" y="152"/>
                    </a:lnTo>
                    <a:lnTo>
                      <a:pt x="58" y="148"/>
                    </a:lnTo>
                    <a:lnTo>
                      <a:pt x="58" y="140"/>
                    </a:lnTo>
                    <a:lnTo>
                      <a:pt x="58" y="140"/>
                    </a:lnTo>
                    <a:lnTo>
                      <a:pt x="58" y="136"/>
                    </a:lnTo>
                    <a:lnTo>
                      <a:pt x="58" y="134"/>
                    </a:lnTo>
                    <a:lnTo>
                      <a:pt x="58" y="134"/>
                    </a:lnTo>
                    <a:lnTo>
                      <a:pt x="56" y="132"/>
                    </a:lnTo>
                    <a:lnTo>
                      <a:pt x="56" y="132"/>
                    </a:lnTo>
                    <a:lnTo>
                      <a:pt x="56" y="130"/>
                    </a:lnTo>
                    <a:lnTo>
                      <a:pt x="56" y="128"/>
                    </a:lnTo>
                    <a:lnTo>
                      <a:pt x="56" y="128"/>
                    </a:lnTo>
                    <a:lnTo>
                      <a:pt x="56" y="128"/>
                    </a:lnTo>
                    <a:lnTo>
                      <a:pt x="56" y="126"/>
                    </a:lnTo>
                    <a:lnTo>
                      <a:pt x="58" y="126"/>
                    </a:lnTo>
                    <a:lnTo>
                      <a:pt x="58" y="126"/>
                    </a:lnTo>
                    <a:lnTo>
                      <a:pt x="60" y="124"/>
                    </a:lnTo>
                    <a:lnTo>
                      <a:pt x="62" y="122"/>
                    </a:lnTo>
                    <a:lnTo>
                      <a:pt x="62" y="122"/>
                    </a:lnTo>
                    <a:lnTo>
                      <a:pt x="62" y="122"/>
                    </a:lnTo>
                    <a:lnTo>
                      <a:pt x="64" y="122"/>
                    </a:lnTo>
                    <a:lnTo>
                      <a:pt x="64" y="122"/>
                    </a:lnTo>
                    <a:lnTo>
                      <a:pt x="68" y="124"/>
                    </a:lnTo>
                    <a:lnTo>
                      <a:pt x="68" y="124"/>
                    </a:lnTo>
                    <a:lnTo>
                      <a:pt x="70" y="126"/>
                    </a:lnTo>
                    <a:lnTo>
                      <a:pt x="70" y="128"/>
                    </a:lnTo>
                    <a:lnTo>
                      <a:pt x="72" y="128"/>
                    </a:lnTo>
                    <a:lnTo>
                      <a:pt x="72" y="128"/>
                    </a:lnTo>
                    <a:lnTo>
                      <a:pt x="72" y="130"/>
                    </a:lnTo>
                    <a:lnTo>
                      <a:pt x="70" y="130"/>
                    </a:lnTo>
                    <a:lnTo>
                      <a:pt x="70" y="132"/>
                    </a:lnTo>
                    <a:lnTo>
                      <a:pt x="70" y="132"/>
                    </a:lnTo>
                    <a:lnTo>
                      <a:pt x="70" y="132"/>
                    </a:lnTo>
                    <a:lnTo>
                      <a:pt x="70" y="134"/>
                    </a:lnTo>
                    <a:lnTo>
                      <a:pt x="70" y="134"/>
                    </a:lnTo>
                    <a:lnTo>
                      <a:pt x="70" y="136"/>
                    </a:lnTo>
                    <a:lnTo>
                      <a:pt x="70" y="138"/>
                    </a:lnTo>
                    <a:lnTo>
                      <a:pt x="70" y="138"/>
                    </a:lnTo>
                    <a:lnTo>
                      <a:pt x="70" y="140"/>
                    </a:lnTo>
                    <a:lnTo>
                      <a:pt x="70" y="142"/>
                    </a:lnTo>
                    <a:lnTo>
                      <a:pt x="72" y="142"/>
                    </a:lnTo>
                    <a:lnTo>
                      <a:pt x="72" y="142"/>
                    </a:lnTo>
                    <a:lnTo>
                      <a:pt x="72" y="142"/>
                    </a:lnTo>
                    <a:lnTo>
                      <a:pt x="74" y="142"/>
                    </a:lnTo>
                    <a:lnTo>
                      <a:pt x="74" y="142"/>
                    </a:lnTo>
                    <a:lnTo>
                      <a:pt x="76" y="142"/>
                    </a:lnTo>
                    <a:lnTo>
                      <a:pt x="76" y="140"/>
                    </a:lnTo>
                    <a:lnTo>
                      <a:pt x="76" y="140"/>
                    </a:lnTo>
                    <a:lnTo>
                      <a:pt x="80" y="140"/>
                    </a:lnTo>
                    <a:lnTo>
                      <a:pt x="80" y="142"/>
                    </a:lnTo>
                    <a:lnTo>
                      <a:pt x="80" y="142"/>
                    </a:lnTo>
                    <a:lnTo>
                      <a:pt x="84" y="140"/>
                    </a:lnTo>
                    <a:lnTo>
                      <a:pt x="84" y="140"/>
                    </a:lnTo>
                    <a:lnTo>
                      <a:pt x="86" y="140"/>
                    </a:lnTo>
                    <a:lnTo>
                      <a:pt x="86" y="140"/>
                    </a:lnTo>
                    <a:lnTo>
                      <a:pt x="88" y="142"/>
                    </a:lnTo>
                    <a:lnTo>
                      <a:pt x="88" y="142"/>
                    </a:lnTo>
                    <a:lnTo>
                      <a:pt x="88" y="144"/>
                    </a:lnTo>
                    <a:lnTo>
                      <a:pt x="88" y="146"/>
                    </a:lnTo>
                    <a:lnTo>
                      <a:pt x="88" y="146"/>
                    </a:lnTo>
                    <a:lnTo>
                      <a:pt x="90" y="146"/>
                    </a:lnTo>
                    <a:lnTo>
                      <a:pt x="92" y="148"/>
                    </a:lnTo>
                    <a:lnTo>
                      <a:pt x="94" y="150"/>
                    </a:lnTo>
                    <a:lnTo>
                      <a:pt x="94" y="150"/>
                    </a:lnTo>
                    <a:lnTo>
                      <a:pt x="98" y="152"/>
                    </a:lnTo>
                    <a:lnTo>
                      <a:pt x="98" y="154"/>
                    </a:lnTo>
                    <a:lnTo>
                      <a:pt x="100" y="156"/>
                    </a:lnTo>
                    <a:lnTo>
                      <a:pt x="102" y="158"/>
                    </a:lnTo>
                    <a:lnTo>
                      <a:pt x="102" y="158"/>
                    </a:lnTo>
                    <a:lnTo>
                      <a:pt x="104" y="158"/>
                    </a:lnTo>
                    <a:lnTo>
                      <a:pt x="104" y="158"/>
                    </a:lnTo>
                    <a:lnTo>
                      <a:pt x="104" y="156"/>
                    </a:lnTo>
                    <a:lnTo>
                      <a:pt x="104" y="154"/>
                    </a:lnTo>
                    <a:lnTo>
                      <a:pt x="106" y="152"/>
                    </a:lnTo>
                    <a:lnTo>
                      <a:pt x="106" y="150"/>
                    </a:lnTo>
                    <a:lnTo>
                      <a:pt x="106" y="150"/>
                    </a:lnTo>
                    <a:lnTo>
                      <a:pt x="106" y="148"/>
                    </a:lnTo>
                    <a:lnTo>
                      <a:pt x="106" y="144"/>
                    </a:lnTo>
                    <a:lnTo>
                      <a:pt x="106" y="144"/>
                    </a:lnTo>
                    <a:lnTo>
                      <a:pt x="106" y="142"/>
                    </a:lnTo>
                    <a:lnTo>
                      <a:pt x="106" y="140"/>
                    </a:lnTo>
                    <a:lnTo>
                      <a:pt x="104" y="140"/>
                    </a:lnTo>
                    <a:lnTo>
                      <a:pt x="104" y="140"/>
                    </a:lnTo>
                    <a:lnTo>
                      <a:pt x="102" y="138"/>
                    </a:lnTo>
                    <a:lnTo>
                      <a:pt x="102" y="138"/>
                    </a:lnTo>
                    <a:lnTo>
                      <a:pt x="100" y="136"/>
                    </a:lnTo>
                    <a:lnTo>
                      <a:pt x="98" y="134"/>
                    </a:lnTo>
                    <a:lnTo>
                      <a:pt x="98" y="132"/>
                    </a:lnTo>
                    <a:lnTo>
                      <a:pt x="96" y="128"/>
                    </a:lnTo>
                    <a:lnTo>
                      <a:pt x="96" y="126"/>
                    </a:lnTo>
                    <a:lnTo>
                      <a:pt x="98" y="122"/>
                    </a:lnTo>
                    <a:lnTo>
                      <a:pt x="98" y="118"/>
                    </a:lnTo>
                    <a:lnTo>
                      <a:pt x="100" y="114"/>
                    </a:lnTo>
                    <a:lnTo>
                      <a:pt x="100" y="114"/>
                    </a:lnTo>
                    <a:lnTo>
                      <a:pt x="102" y="112"/>
                    </a:lnTo>
                    <a:lnTo>
                      <a:pt x="104" y="110"/>
                    </a:lnTo>
                    <a:lnTo>
                      <a:pt x="106" y="108"/>
                    </a:lnTo>
                    <a:lnTo>
                      <a:pt x="108" y="106"/>
                    </a:lnTo>
                    <a:lnTo>
                      <a:pt x="108" y="106"/>
                    </a:lnTo>
                    <a:lnTo>
                      <a:pt x="112" y="104"/>
                    </a:lnTo>
                    <a:lnTo>
                      <a:pt x="116" y="104"/>
                    </a:lnTo>
                    <a:lnTo>
                      <a:pt x="124" y="104"/>
                    </a:lnTo>
                    <a:lnTo>
                      <a:pt x="124" y="104"/>
                    </a:lnTo>
                    <a:lnTo>
                      <a:pt x="128" y="104"/>
                    </a:lnTo>
                    <a:lnTo>
                      <a:pt x="128" y="104"/>
                    </a:lnTo>
                    <a:lnTo>
                      <a:pt x="130" y="104"/>
                    </a:lnTo>
                    <a:lnTo>
                      <a:pt x="130" y="104"/>
                    </a:lnTo>
                    <a:lnTo>
                      <a:pt x="130" y="106"/>
                    </a:lnTo>
                    <a:lnTo>
                      <a:pt x="132" y="108"/>
                    </a:lnTo>
                    <a:lnTo>
                      <a:pt x="132" y="108"/>
                    </a:lnTo>
                    <a:lnTo>
                      <a:pt x="134" y="110"/>
                    </a:lnTo>
                    <a:lnTo>
                      <a:pt x="134" y="110"/>
                    </a:lnTo>
                    <a:lnTo>
                      <a:pt x="136" y="110"/>
                    </a:lnTo>
                    <a:lnTo>
                      <a:pt x="136" y="110"/>
                    </a:lnTo>
                    <a:lnTo>
                      <a:pt x="138" y="110"/>
                    </a:lnTo>
                    <a:lnTo>
                      <a:pt x="140" y="110"/>
                    </a:lnTo>
                    <a:lnTo>
                      <a:pt x="140" y="108"/>
                    </a:lnTo>
                    <a:lnTo>
                      <a:pt x="142" y="106"/>
                    </a:lnTo>
                    <a:lnTo>
                      <a:pt x="142" y="102"/>
                    </a:lnTo>
                    <a:lnTo>
                      <a:pt x="142" y="102"/>
                    </a:lnTo>
                    <a:lnTo>
                      <a:pt x="142" y="100"/>
                    </a:lnTo>
                    <a:lnTo>
                      <a:pt x="142" y="98"/>
                    </a:lnTo>
                    <a:lnTo>
                      <a:pt x="142" y="96"/>
                    </a:lnTo>
                    <a:lnTo>
                      <a:pt x="140" y="92"/>
                    </a:lnTo>
                    <a:lnTo>
                      <a:pt x="140" y="88"/>
                    </a:lnTo>
                    <a:lnTo>
                      <a:pt x="140" y="88"/>
                    </a:lnTo>
                    <a:lnTo>
                      <a:pt x="140" y="88"/>
                    </a:lnTo>
                    <a:lnTo>
                      <a:pt x="140" y="88"/>
                    </a:lnTo>
                    <a:lnTo>
                      <a:pt x="140" y="88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74" name="Freeform 744"/>
              <p:cNvSpPr>
                <a:spLocks/>
              </p:cNvSpPr>
              <p:nvPr/>
            </p:nvSpPr>
            <p:spPr bwMode="auto">
              <a:xfrm>
                <a:off x="4467" y="2686"/>
                <a:ext cx="154" cy="132"/>
              </a:xfrm>
              <a:custGeom>
                <a:avLst/>
                <a:gdLst>
                  <a:gd name="T0" fmla="*/ 152 w 154"/>
                  <a:gd name="T1" fmla="*/ 46 h 132"/>
                  <a:gd name="T2" fmla="*/ 154 w 154"/>
                  <a:gd name="T3" fmla="*/ 40 h 132"/>
                  <a:gd name="T4" fmla="*/ 148 w 154"/>
                  <a:gd name="T5" fmla="*/ 38 h 132"/>
                  <a:gd name="T6" fmla="*/ 142 w 154"/>
                  <a:gd name="T7" fmla="*/ 32 h 132"/>
                  <a:gd name="T8" fmla="*/ 136 w 154"/>
                  <a:gd name="T9" fmla="*/ 32 h 132"/>
                  <a:gd name="T10" fmla="*/ 134 w 154"/>
                  <a:gd name="T11" fmla="*/ 28 h 132"/>
                  <a:gd name="T12" fmla="*/ 128 w 154"/>
                  <a:gd name="T13" fmla="*/ 20 h 132"/>
                  <a:gd name="T14" fmla="*/ 122 w 154"/>
                  <a:gd name="T15" fmla="*/ 14 h 132"/>
                  <a:gd name="T16" fmla="*/ 118 w 154"/>
                  <a:gd name="T17" fmla="*/ 6 h 132"/>
                  <a:gd name="T18" fmla="*/ 112 w 154"/>
                  <a:gd name="T19" fmla="*/ 0 h 132"/>
                  <a:gd name="T20" fmla="*/ 110 w 154"/>
                  <a:gd name="T21" fmla="*/ 6 h 132"/>
                  <a:gd name="T22" fmla="*/ 106 w 154"/>
                  <a:gd name="T23" fmla="*/ 12 h 132"/>
                  <a:gd name="T24" fmla="*/ 106 w 154"/>
                  <a:gd name="T25" fmla="*/ 10 h 132"/>
                  <a:gd name="T26" fmla="*/ 102 w 154"/>
                  <a:gd name="T27" fmla="*/ 20 h 132"/>
                  <a:gd name="T28" fmla="*/ 98 w 154"/>
                  <a:gd name="T29" fmla="*/ 26 h 132"/>
                  <a:gd name="T30" fmla="*/ 96 w 154"/>
                  <a:gd name="T31" fmla="*/ 32 h 132"/>
                  <a:gd name="T32" fmla="*/ 94 w 154"/>
                  <a:gd name="T33" fmla="*/ 36 h 132"/>
                  <a:gd name="T34" fmla="*/ 96 w 154"/>
                  <a:gd name="T35" fmla="*/ 42 h 132"/>
                  <a:gd name="T36" fmla="*/ 94 w 154"/>
                  <a:gd name="T37" fmla="*/ 48 h 132"/>
                  <a:gd name="T38" fmla="*/ 96 w 154"/>
                  <a:gd name="T39" fmla="*/ 56 h 132"/>
                  <a:gd name="T40" fmla="*/ 90 w 154"/>
                  <a:gd name="T41" fmla="*/ 54 h 132"/>
                  <a:gd name="T42" fmla="*/ 84 w 154"/>
                  <a:gd name="T43" fmla="*/ 52 h 132"/>
                  <a:gd name="T44" fmla="*/ 80 w 154"/>
                  <a:gd name="T45" fmla="*/ 60 h 132"/>
                  <a:gd name="T46" fmla="*/ 74 w 154"/>
                  <a:gd name="T47" fmla="*/ 56 h 132"/>
                  <a:gd name="T48" fmla="*/ 66 w 154"/>
                  <a:gd name="T49" fmla="*/ 66 h 132"/>
                  <a:gd name="T50" fmla="*/ 60 w 154"/>
                  <a:gd name="T51" fmla="*/ 80 h 132"/>
                  <a:gd name="T52" fmla="*/ 42 w 154"/>
                  <a:gd name="T53" fmla="*/ 88 h 132"/>
                  <a:gd name="T54" fmla="*/ 30 w 154"/>
                  <a:gd name="T55" fmla="*/ 92 h 132"/>
                  <a:gd name="T56" fmla="*/ 24 w 154"/>
                  <a:gd name="T57" fmla="*/ 100 h 132"/>
                  <a:gd name="T58" fmla="*/ 26 w 154"/>
                  <a:gd name="T59" fmla="*/ 112 h 132"/>
                  <a:gd name="T60" fmla="*/ 18 w 154"/>
                  <a:gd name="T61" fmla="*/ 116 h 132"/>
                  <a:gd name="T62" fmla="*/ 14 w 154"/>
                  <a:gd name="T63" fmla="*/ 116 h 132"/>
                  <a:gd name="T64" fmla="*/ 8 w 154"/>
                  <a:gd name="T65" fmla="*/ 114 h 132"/>
                  <a:gd name="T66" fmla="*/ 2 w 154"/>
                  <a:gd name="T67" fmla="*/ 116 h 132"/>
                  <a:gd name="T68" fmla="*/ 2 w 154"/>
                  <a:gd name="T69" fmla="*/ 124 h 132"/>
                  <a:gd name="T70" fmla="*/ 8 w 154"/>
                  <a:gd name="T71" fmla="*/ 132 h 132"/>
                  <a:gd name="T72" fmla="*/ 18 w 154"/>
                  <a:gd name="T73" fmla="*/ 130 h 132"/>
                  <a:gd name="T74" fmla="*/ 24 w 154"/>
                  <a:gd name="T75" fmla="*/ 126 h 132"/>
                  <a:gd name="T76" fmla="*/ 34 w 154"/>
                  <a:gd name="T77" fmla="*/ 126 h 132"/>
                  <a:gd name="T78" fmla="*/ 44 w 154"/>
                  <a:gd name="T79" fmla="*/ 118 h 132"/>
                  <a:gd name="T80" fmla="*/ 54 w 154"/>
                  <a:gd name="T81" fmla="*/ 120 h 132"/>
                  <a:gd name="T82" fmla="*/ 74 w 154"/>
                  <a:gd name="T83" fmla="*/ 120 h 132"/>
                  <a:gd name="T84" fmla="*/ 80 w 154"/>
                  <a:gd name="T85" fmla="*/ 118 h 132"/>
                  <a:gd name="T86" fmla="*/ 82 w 154"/>
                  <a:gd name="T87" fmla="*/ 100 h 132"/>
                  <a:gd name="T88" fmla="*/ 90 w 154"/>
                  <a:gd name="T89" fmla="*/ 90 h 132"/>
                  <a:gd name="T90" fmla="*/ 98 w 154"/>
                  <a:gd name="T91" fmla="*/ 74 h 132"/>
                  <a:gd name="T92" fmla="*/ 106 w 154"/>
                  <a:gd name="T93" fmla="*/ 62 h 132"/>
                  <a:gd name="T94" fmla="*/ 120 w 154"/>
                  <a:gd name="T95" fmla="*/ 60 h 132"/>
                  <a:gd name="T96" fmla="*/ 130 w 154"/>
                  <a:gd name="T97" fmla="*/ 56 h 132"/>
                  <a:gd name="T98" fmla="*/ 138 w 154"/>
                  <a:gd name="T99" fmla="*/ 60 h 132"/>
                  <a:gd name="T100" fmla="*/ 146 w 154"/>
                  <a:gd name="T101" fmla="*/ 58 h 132"/>
                  <a:gd name="T102" fmla="*/ 138 w 154"/>
                  <a:gd name="T103" fmla="*/ 50 h 132"/>
                  <a:gd name="T104" fmla="*/ 144 w 154"/>
                  <a:gd name="T105" fmla="*/ 46 h 132"/>
                  <a:gd name="T106" fmla="*/ 150 w 154"/>
                  <a:gd name="T107" fmla="*/ 48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54" h="132">
                    <a:moveTo>
                      <a:pt x="150" y="48"/>
                    </a:moveTo>
                    <a:lnTo>
                      <a:pt x="150" y="48"/>
                    </a:lnTo>
                    <a:lnTo>
                      <a:pt x="150" y="48"/>
                    </a:lnTo>
                    <a:lnTo>
                      <a:pt x="150" y="48"/>
                    </a:lnTo>
                    <a:lnTo>
                      <a:pt x="152" y="46"/>
                    </a:lnTo>
                    <a:lnTo>
                      <a:pt x="152" y="46"/>
                    </a:lnTo>
                    <a:lnTo>
                      <a:pt x="152" y="44"/>
                    </a:lnTo>
                    <a:lnTo>
                      <a:pt x="154" y="42"/>
                    </a:lnTo>
                    <a:lnTo>
                      <a:pt x="154" y="42"/>
                    </a:lnTo>
                    <a:lnTo>
                      <a:pt x="154" y="42"/>
                    </a:lnTo>
                    <a:lnTo>
                      <a:pt x="154" y="42"/>
                    </a:lnTo>
                    <a:lnTo>
                      <a:pt x="154" y="40"/>
                    </a:lnTo>
                    <a:lnTo>
                      <a:pt x="154" y="40"/>
                    </a:lnTo>
                    <a:lnTo>
                      <a:pt x="152" y="40"/>
                    </a:lnTo>
                    <a:lnTo>
                      <a:pt x="150" y="40"/>
                    </a:lnTo>
                    <a:lnTo>
                      <a:pt x="148" y="38"/>
                    </a:lnTo>
                    <a:lnTo>
                      <a:pt x="148" y="38"/>
                    </a:lnTo>
                    <a:lnTo>
                      <a:pt x="148" y="38"/>
                    </a:lnTo>
                    <a:lnTo>
                      <a:pt x="148" y="38"/>
                    </a:lnTo>
                    <a:lnTo>
                      <a:pt x="148" y="36"/>
                    </a:lnTo>
                    <a:lnTo>
                      <a:pt x="148" y="34"/>
                    </a:lnTo>
                    <a:lnTo>
                      <a:pt x="146" y="34"/>
                    </a:lnTo>
                    <a:lnTo>
                      <a:pt x="146" y="34"/>
                    </a:lnTo>
                    <a:lnTo>
                      <a:pt x="142" y="32"/>
                    </a:lnTo>
                    <a:lnTo>
                      <a:pt x="142" y="32"/>
                    </a:lnTo>
                    <a:lnTo>
                      <a:pt x="140" y="32"/>
                    </a:lnTo>
                    <a:lnTo>
                      <a:pt x="140" y="32"/>
                    </a:lnTo>
                    <a:lnTo>
                      <a:pt x="138" y="32"/>
                    </a:lnTo>
                    <a:lnTo>
                      <a:pt x="138" y="32"/>
                    </a:lnTo>
                    <a:lnTo>
                      <a:pt x="136" y="32"/>
                    </a:lnTo>
                    <a:lnTo>
                      <a:pt x="136" y="32"/>
                    </a:lnTo>
                    <a:lnTo>
                      <a:pt x="136" y="32"/>
                    </a:lnTo>
                    <a:lnTo>
                      <a:pt x="136" y="30"/>
                    </a:lnTo>
                    <a:lnTo>
                      <a:pt x="134" y="30"/>
                    </a:lnTo>
                    <a:lnTo>
                      <a:pt x="134" y="30"/>
                    </a:lnTo>
                    <a:lnTo>
                      <a:pt x="134" y="28"/>
                    </a:lnTo>
                    <a:lnTo>
                      <a:pt x="132" y="28"/>
                    </a:lnTo>
                    <a:lnTo>
                      <a:pt x="132" y="28"/>
                    </a:lnTo>
                    <a:lnTo>
                      <a:pt x="132" y="26"/>
                    </a:lnTo>
                    <a:lnTo>
                      <a:pt x="130" y="26"/>
                    </a:lnTo>
                    <a:lnTo>
                      <a:pt x="130" y="22"/>
                    </a:lnTo>
                    <a:lnTo>
                      <a:pt x="128" y="20"/>
                    </a:lnTo>
                    <a:lnTo>
                      <a:pt x="128" y="18"/>
                    </a:lnTo>
                    <a:lnTo>
                      <a:pt x="126" y="18"/>
                    </a:lnTo>
                    <a:lnTo>
                      <a:pt x="126" y="18"/>
                    </a:lnTo>
                    <a:lnTo>
                      <a:pt x="124" y="18"/>
                    </a:lnTo>
                    <a:lnTo>
                      <a:pt x="122" y="16"/>
                    </a:lnTo>
                    <a:lnTo>
                      <a:pt x="122" y="14"/>
                    </a:lnTo>
                    <a:lnTo>
                      <a:pt x="122" y="14"/>
                    </a:lnTo>
                    <a:lnTo>
                      <a:pt x="120" y="12"/>
                    </a:lnTo>
                    <a:lnTo>
                      <a:pt x="118" y="10"/>
                    </a:lnTo>
                    <a:lnTo>
                      <a:pt x="118" y="10"/>
                    </a:lnTo>
                    <a:lnTo>
                      <a:pt x="118" y="10"/>
                    </a:lnTo>
                    <a:lnTo>
                      <a:pt x="118" y="6"/>
                    </a:lnTo>
                    <a:lnTo>
                      <a:pt x="118" y="4"/>
                    </a:lnTo>
                    <a:lnTo>
                      <a:pt x="116" y="4"/>
                    </a:lnTo>
                    <a:lnTo>
                      <a:pt x="116" y="4"/>
                    </a:lnTo>
                    <a:lnTo>
                      <a:pt x="116" y="2"/>
                    </a:lnTo>
                    <a:lnTo>
                      <a:pt x="114" y="0"/>
                    </a:lnTo>
                    <a:lnTo>
                      <a:pt x="112" y="0"/>
                    </a:lnTo>
                    <a:lnTo>
                      <a:pt x="112" y="0"/>
                    </a:lnTo>
                    <a:lnTo>
                      <a:pt x="112" y="0"/>
                    </a:lnTo>
                    <a:lnTo>
                      <a:pt x="110" y="2"/>
                    </a:lnTo>
                    <a:lnTo>
                      <a:pt x="110" y="2"/>
                    </a:lnTo>
                    <a:lnTo>
                      <a:pt x="110" y="4"/>
                    </a:lnTo>
                    <a:lnTo>
                      <a:pt x="110" y="6"/>
                    </a:lnTo>
                    <a:lnTo>
                      <a:pt x="108" y="8"/>
                    </a:lnTo>
                    <a:lnTo>
                      <a:pt x="108" y="8"/>
                    </a:lnTo>
                    <a:lnTo>
                      <a:pt x="108" y="12"/>
                    </a:lnTo>
                    <a:lnTo>
                      <a:pt x="108" y="12"/>
                    </a:lnTo>
                    <a:lnTo>
                      <a:pt x="108" y="12"/>
                    </a:lnTo>
                    <a:lnTo>
                      <a:pt x="106" y="12"/>
                    </a:lnTo>
                    <a:lnTo>
                      <a:pt x="106" y="12"/>
                    </a:lnTo>
                    <a:lnTo>
                      <a:pt x="106" y="12"/>
                    </a:lnTo>
                    <a:lnTo>
                      <a:pt x="106" y="12"/>
                    </a:lnTo>
                    <a:lnTo>
                      <a:pt x="106" y="10"/>
                    </a:lnTo>
                    <a:lnTo>
                      <a:pt x="106" y="10"/>
                    </a:lnTo>
                    <a:lnTo>
                      <a:pt x="106" y="10"/>
                    </a:lnTo>
                    <a:lnTo>
                      <a:pt x="104" y="10"/>
                    </a:lnTo>
                    <a:lnTo>
                      <a:pt x="104" y="12"/>
                    </a:lnTo>
                    <a:lnTo>
                      <a:pt x="104" y="14"/>
                    </a:lnTo>
                    <a:lnTo>
                      <a:pt x="104" y="14"/>
                    </a:lnTo>
                    <a:lnTo>
                      <a:pt x="102" y="18"/>
                    </a:lnTo>
                    <a:lnTo>
                      <a:pt x="102" y="20"/>
                    </a:lnTo>
                    <a:lnTo>
                      <a:pt x="102" y="20"/>
                    </a:lnTo>
                    <a:lnTo>
                      <a:pt x="100" y="24"/>
                    </a:lnTo>
                    <a:lnTo>
                      <a:pt x="100" y="24"/>
                    </a:lnTo>
                    <a:lnTo>
                      <a:pt x="100" y="26"/>
                    </a:lnTo>
                    <a:lnTo>
                      <a:pt x="98" y="26"/>
                    </a:lnTo>
                    <a:lnTo>
                      <a:pt x="98" y="26"/>
                    </a:lnTo>
                    <a:lnTo>
                      <a:pt x="98" y="28"/>
                    </a:lnTo>
                    <a:lnTo>
                      <a:pt x="98" y="30"/>
                    </a:lnTo>
                    <a:lnTo>
                      <a:pt x="98" y="30"/>
                    </a:lnTo>
                    <a:lnTo>
                      <a:pt x="98" y="32"/>
                    </a:lnTo>
                    <a:lnTo>
                      <a:pt x="98" y="32"/>
                    </a:lnTo>
                    <a:lnTo>
                      <a:pt x="96" y="32"/>
                    </a:lnTo>
                    <a:lnTo>
                      <a:pt x="96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6"/>
                    </a:lnTo>
                    <a:lnTo>
                      <a:pt x="94" y="36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2"/>
                    </a:lnTo>
                    <a:lnTo>
                      <a:pt x="96" y="42"/>
                    </a:lnTo>
                    <a:lnTo>
                      <a:pt x="96" y="42"/>
                    </a:lnTo>
                    <a:lnTo>
                      <a:pt x="96" y="42"/>
                    </a:lnTo>
                    <a:lnTo>
                      <a:pt x="94" y="42"/>
                    </a:lnTo>
                    <a:lnTo>
                      <a:pt x="94" y="42"/>
                    </a:lnTo>
                    <a:lnTo>
                      <a:pt x="94" y="46"/>
                    </a:lnTo>
                    <a:lnTo>
                      <a:pt x="94" y="46"/>
                    </a:lnTo>
                    <a:lnTo>
                      <a:pt x="94" y="48"/>
                    </a:lnTo>
                    <a:lnTo>
                      <a:pt x="94" y="48"/>
                    </a:lnTo>
                    <a:lnTo>
                      <a:pt x="96" y="52"/>
                    </a:lnTo>
                    <a:lnTo>
                      <a:pt x="96" y="52"/>
                    </a:lnTo>
                    <a:lnTo>
                      <a:pt x="96" y="54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4" y="58"/>
                    </a:lnTo>
                    <a:lnTo>
                      <a:pt x="92" y="56"/>
                    </a:lnTo>
                    <a:lnTo>
                      <a:pt x="90" y="56"/>
                    </a:lnTo>
                    <a:lnTo>
                      <a:pt x="90" y="56"/>
                    </a:lnTo>
                    <a:lnTo>
                      <a:pt x="90" y="54"/>
                    </a:lnTo>
                    <a:lnTo>
                      <a:pt x="88" y="52"/>
                    </a:lnTo>
                    <a:lnTo>
                      <a:pt x="86" y="50"/>
                    </a:lnTo>
                    <a:lnTo>
                      <a:pt x="86" y="50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84" y="56"/>
                    </a:lnTo>
                    <a:lnTo>
                      <a:pt x="82" y="58"/>
                    </a:lnTo>
                    <a:lnTo>
                      <a:pt x="82" y="60"/>
                    </a:lnTo>
                    <a:lnTo>
                      <a:pt x="82" y="60"/>
                    </a:lnTo>
                    <a:lnTo>
                      <a:pt x="80" y="60"/>
                    </a:lnTo>
                    <a:lnTo>
                      <a:pt x="80" y="60"/>
                    </a:lnTo>
                    <a:lnTo>
                      <a:pt x="80" y="60"/>
                    </a:lnTo>
                    <a:lnTo>
                      <a:pt x="78" y="60"/>
                    </a:lnTo>
                    <a:lnTo>
                      <a:pt x="76" y="58"/>
                    </a:lnTo>
                    <a:lnTo>
                      <a:pt x="74" y="58"/>
                    </a:lnTo>
                    <a:lnTo>
                      <a:pt x="74" y="56"/>
                    </a:lnTo>
                    <a:lnTo>
                      <a:pt x="74" y="56"/>
                    </a:lnTo>
                    <a:lnTo>
                      <a:pt x="72" y="58"/>
                    </a:lnTo>
                    <a:lnTo>
                      <a:pt x="70" y="60"/>
                    </a:lnTo>
                    <a:lnTo>
                      <a:pt x="70" y="60"/>
                    </a:lnTo>
                    <a:lnTo>
                      <a:pt x="68" y="62"/>
                    </a:lnTo>
                    <a:lnTo>
                      <a:pt x="68" y="66"/>
                    </a:lnTo>
                    <a:lnTo>
                      <a:pt x="66" y="66"/>
                    </a:lnTo>
                    <a:lnTo>
                      <a:pt x="66" y="70"/>
                    </a:lnTo>
                    <a:lnTo>
                      <a:pt x="66" y="70"/>
                    </a:lnTo>
                    <a:lnTo>
                      <a:pt x="64" y="72"/>
                    </a:lnTo>
                    <a:lnTo>
                      <a:pt x="64" y="74"/>
                    </a:lnTo>
                    <a:lnTo>
                      <a:pt x="62" y="78"/>
                    </a:lnTo>
                    <a:lnTo>
                      <a:pt x="60" y="80"/>
                    </a:lnTo>
                    <a:lnTo>
                      <a:pt x="54" y="80"/>
                    </a:lnTo>
                    <a:lnTo>
                      <a:pt x="52" y="82"/>
                    </a:lnTo>
                    <a:lnTo>
                      <a:pt x="48" y="86"/>
                    </a:lnTo>
                    <a:lnTo>
                      <a:pt x="48" y="86"/>
                    </a:lnTo>
                    <a:lnTo>
                      <a:pt x="44" y="86"/>
                    </a:lnTo>
                    <a:lnTo>
                      <a:pt x="42" y="88"/>
                    </a:lnTo>
                    <a:lnTo>
                      <a:pt x="38" y="88"/>
                    </a:lnTo>
                    <a:lnTo>
                      <a:pt x="34" y="90"/>
                    </a:lnTo>
                    <a:lnTo>
                      <a:pt x="34" y="90"/>
                    </a:lnTo>
                    <a:lnTo>
                      <a:pt x="34" y="90"/>
                    </a:lnTo>
                    <a:lnTo>
                      <a:pt x="32" y="90"/>
                    </a:lnTo>
                    <a:lnTo>
                      <a:pt x="30" y="92"/>
                    </a:lnTo>
                    <a:lnTo>
                      <a:pt x="30" y="92"/>
                    </a:lnTo>
                    <a:lnTo>
                      <a:pt x="28" y="94"/>
                    </a:lnTo>
                    <a:lnTo>
                      <a:pt x="26" y="96"/>
                    </a:lnTo>
                    <a:lnTo>
                      <a:pt x="26" y="96"/>
                    </a:lnTo>
                    <a:lnTo>
                      <a:pt x="24" y="96"/>
                    </a:lnTo>
                    <a:lnTo>
                      <a:pt x="24" y="100"/>
                    </a:lnTo>
                    <a:lnTo>
                      <a:pt x="22" y="102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4" y="106"/>
                    </a:lnTo>
                    <a:lnTo>
                      <a:pt x="24" y="110"/>
                    </a:lnTo>
                    <a:lnTo>
                      <a:pt x="26" y="112"/>
                    </a:lnTo>
                    <a:lnTo>
                      <a:pt x="26" y="114"/>
                    </a:lnTo>
                    <a:lnTo>
                      <a:pt x="24" y="114"/>
                    </a:lnTo>
                    <a:lnTo>
                      <a:pt x="24" y="114"/>
                    </a:lnTo>
                    <a:lnTo>
                      <a:pt x="24" y="114"/>
                    </a:lnTo>
                    <a:lnTo>
                      <a:pt x="22" y="116"/>
                    </a:lnTo>
                    <a:lnTo>
                      <a:pt x="18" y="116"/>
                    </a:lnTo>
                    <a:lnTo>
                      <a:pt x="18" y="116"/>
                    </a:lnTo>
                    <a:lnTo>
                      <a:pt x="18" y="118"/>
                    </a:lnTo>
                    <a:lnTo>
                      <a:pt x="16" y="116"/>
                    </a:lnTo>
                    <a:lnTo>
                      <a:pt x="16" y="116"/>
                    </a:lnTo>
                    <a:lnTo>
                      <a:pt x="14" y="116"/>
                    </a:lnTo>
                    <a:lnTo>
                      <a:pt x="14" y="116"/>
                    </a:lnTo>
                    <a:lnTo>
                      <a:pt x="12" y="114"/>
                    </a:lnTo>
                    <a:lnTo>
                      <a:pt x="12" y="114"/>
                    </a:lnTo>
                    <a:lnTo>
                      <a:pt x="10" y="114"/>
                    </a:lnTo>
                    <a:lnTo>
                      <a:pt x="10" y="114"/>
                    </a:lnTo>
                    <a:lnTo>
                      <a:pt x="8" y="114"/>
                    </a:lnTo>
                    <a:lnTo>
                      <a:pt x="8" y="114"/>
                    </a:lnTo>
                    <a:lnTo>
                      <a:pt x="6" y="114"/>
                    </a:lnTo>
                    <a:lnTo>
                      <a:pt x="6" y="116"/>
                    </a:lnTo>
                    <a:lnTo>
                      <a:pt x="6" y="116"/>
                    </a:lnTo>
                    <a:lnTo>
                      <a:pt x="4" y="116"/>
                    </a:lnTo>
                    <a:lnTo>
                      <a:pt x="4" y="116"/>
                    </a:lnTo>
                    <a:lnTo>
                      <a:pt x="2" y="116"/>
                    </a:lnTo>
                    <a:lnTo>
                      <a:pt x="0" y="114"/>
                    </a:lnTo>
                    <a:lnTo>
                      <a:pt x="0" y="114"/>
                    </a:lnTo>
                    <a:lnTo>
                      <a:pt x="0" y="116"/>
                    </a:lnTo>
                    <a:lnTo>
                      <a:pt x="0" y="118"/>
                    </a:lnTo>
                    <a:lnTo>
                      <a:pt x="0" y="122"/>
                    </a:lnTo>
                    <a:lnTo>
                      <a:pt x="2" y="124"/>
                    </a:lnTo>
                    <a:lnTo>
                      <a:pt x="2" y="124"/>
                    </a:lnTo>
                    <a:lnTo>
                      <a:pt x="4" y="126"/>
                    </a:lnTo>
                    <a:lnTo>
                      <a:pt x="6" y="128"/>
                    </a:lnTo>
                    <a:lnTo>
                      <a:pt x="6" y="128"/>
                    </a:lnTo>
                    <a:lnTo>
                      <a:pt x="6" y="130"/>
                    </a:lnTo>
                    <a:lnTo>
                      <a:pt x="8" y="132"/>
                    </a:lnTo>
                    <a:lnTo>
                      <a:pt x="10" y="132"/>
                    </a:lnTo>
                    <a:lnTo>
                      <a:pt x="10" y="132"/>
                    </a:lnTo>
                    <a:lnTo>
                      <a:pt x="12" y="132"/>
                    </a:lnTo>
                    <a:lnTo>
                      <a:pt x="14" y="132"/>
                    </a:lnTo>
                    <a:lnTo>
                      <a:pt x="18" y="132"/>
                    </a:lnTo>
                    <a:lnTo>
                      <a:pt x="18" y="130"/>
                    </a:lnTo>
                    <a:lnTo>
                      <a:pt x="20" y="130"/>
                    </a:lnTo>
                    <a:lnTo>
                      <a:pt x="20" y="130"/>
                    </a:lnTo>
                    <a:lnTo>
                      <a:pt x="22" y="128"/>
                    </a:lnTo>
                    <a:lnTo>
                      <a:pt x="24" y="128"/>
                    </a:lnTo>
                    <a:lnTo>
                      <a:pt x="24" y="126"/>
                    </a:lnTo>
                    <a:lnTo>
                      <a:pt x="24" y="126"/>
                    </a:lnTo>
                    <a:lnTo>
                      <a:pt x="26" y="126"/>
                    </a:lnTo>
                    <a:lnTo>
                      <a:pt x="26" y="126"/>
                    </a:lnTo>
                    <a:lnTo>
                      <a:pt x="28" y="126"/>
                    </a:lnTo>
                    <a:lnTo>
                      <a:pt x="28" y="126"/>
                    </a:lnTo>
                    <a:lnTo>
                      <a:pt x="32" y="126"/>
                    </a:lnTo>
                    <a:lnTo>
                      <a:pt x="34" y="126"/>
                    </a:lnTo>
                    <a:lnTo>
                      <a:pt x="36" y="124"/>
                    </a:lnTo>
                    <a:lnTo>
                      <a:pt x="38" y="122"/>
                    </a:lnTo>
                    <a:lnTo>
                      <a:pt x="38" y="122"/>
                    </a:lnTo>
                    <a:lnTo>
                      <a:pt x="40" y="120"/>
                    </a:lnTo>
                    <a:lnTo>
                      <a:pt x="42" y="120"/>
                    </a:lnTo>
                    <a:lnTo>
                      <a:pt x="44" y="118"/>
                    </a:lnTo>
                    <a:lnTo>
                      <a:pt x="48" y="118"/>
                    </a:lnTo>
                    <a:lnTo>
                      <a:pt x="48" y="118"/>
                    </a:lnTo>
                    <a:lnTo>
                      <a:pt x="50" y="118"/>
                    </a:lnTo>
                    <a:lnTo>
                      <a:pt x="52" y="120"/>
                    </a:lnTo>
                    <a:lnTo>
                      <a:pt x="52" y="120"/>
                    </a:lnTo>
                    <a:lnTo>
                      <a:pt x="54" y="120"/>
                    </a:lnTo>
                    <a:lnTo>
                      <a:pt x="56" y="120"/>
                    </a:lnTo>
                    <a:lnTo>
                      <a:pt x="60" y="120"/>
                    </a:lnTo>
                    <a:lnTo>
                      <a:pt x="60" y="120"/>
                    </a:lnTo>
                    <a:lnTo>
                      <a:pt x="64" y="120"/>
                    </a:lnTo>
                    <a:lnTo>
                      <a:pt x="66" y="120"/>
                    </a:lnTo>
                    <a:lnTo>
                      <a:pt x="74" y="120"/>
                    </a:lnTo>
                    <a:lnTo>
                      <a:pt x="74" y="120"/>
                    </a:lnTo>
                    <a:lnTo>
                      <a:pt x="74" y="120"/>
                    </a:lnTo>
                    <a:lnTo>
                      <a:pt x="76" y="120"/>
                    </a:lnTo>
                    <a:lnTo>
                      <a:pt x="78" y="120"/>
                    </a:lnTo>
                    <a:lnTo>
                      <a:pt x="78" y="118"/>
                    </a:lnTo>
                    <a:lnTo>
                      <a:pt x="80" y="118"/>
                    </a:lnTo>
                    <a:lnTo>
                      <a:pt x="80" y="116"/>
                    </a:lnTo>
                    <a:lnTo>
                      <a:pt x="80" y="114"/>
                    </a:lnTo>
                    <a:lnTo>
                      <a:pt x="80" y="114"/>
                    </a:lnTo>
                    <a:lnTo>
                      <a:pt x="80" y="114"/>
                    </a:lnTo>
                    <a:lnTo>
                      <a:pt x="82" y="106"/>
                    </a:lnTo>
                    <a:lnTo>
                      <a:pt x="82" y="100"/>
                    </a:lnTo>
                    <a:lnTo>
                      <a:pt x="82" y="100"/>
                    </a:lnTo>
                    <a:lnTo>
                      <a:pt x="84" y="96"/>
                    </a:lnTo>
                    <a:lnTo>
                      <a:pt x="86" y="92"/>
                    </a:lnTo>
                    <a:lnTo>
                      <a:pt x="88" y="90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2" y="88"/>
                    </a:lnTo>
                    <a:lnTo>
                      <a:pt x="96" y="86"/>
                    </a:lnTo>
                    <a:lnTo>
                      <a:pt x="96" y="84"/>
                    </a:lnTo>
                    <a:lnTo>
                      <a:pt x="98" y="80"/>
                    </a:lnTo>
                    <a:lnTo>
                      <a:pt x="98" y="80"/>
                    </a:lnTo>
                    <a:lnTo>
                      <a:pt x="98" y="74"/>
                    </a:lnTo>
                    <a:lnTo>
                      <a:pt x="98" y="70"/>
                    </a:lnTo>
                    <a:lnTo>
                      <a:pt x="100" y="68"/>
                    </a:lnTo>
                    <a:lnTo>
                      <a:pt x="100" y="68"/>
                    </a:lnTo>
                    <a:lnTo>
                      <a:pt x="102" y="66"/>
                    </a:lnTo>
                    <a:lnTo>
                      <a:pt x="104" y="64"/>
                    </a:lnTo>
                    <a:lnTo>
                      <a:pt x="106" y="62"/>
                    </a:lnTo>
                    <a:lnTo>
                      <a:pt x="108" y="62"/>
                    </a:lnTo>
                    <a:lnTo>
                      <a:pt x="108" y="62"/>
                    </a:lnTo>
                    <a:lnTo>
                      <a:pt x="114" y="60"/>
                    </a:lnTo>
                    <a:lnTo>
                      <a:pt x="118" y="60"/>
                    </a:lnTo>
                    <a:lnTo>
                      <a:pt x="120" y="60"/>
                    </a:lnTo>
                    <a:lnTo>
                      <a:pt x="120" y="60"/>
                    </a:lnTo>
                    <a:lnTo>
                      <a:pt x="124" y="60"/>
                    </a:lnTo>
                    <a:lnTo>
                      <a:pt x="130" y="60"/>
                    </a:lnTo>
                    <a:lnTo>
                      <a:pt x="130" y="60"/>
                    </a:lnTo>
                    <a:lnTo>
                      <a:pt x="130" y="56"/>
                    </a:lnTo>
                    <a:lnTo>
                      <a:pt x="130" y="56"/>
                    </a:lnTo>
                    <a:lnTo>
                      <a:pt x="130" y="56"/>
                    </a:lnTo>
                    <a:lnTo>
                      <a:pt x="132" y="56"/>
                    </a:lnTo>
                    <a:lnTo>
                      <a:pt x="134" y="58"/>
                    </a:lnTo>
                    <a:lnTo>
                      <a:pt x="134" y="58"/>
                    </a:lnTo>
                    <a:lnTo>
                      <a:pt x="134" y="58"/>
                    </a:lnTo>
                    <a:lnTo>
                      <a:pt x="136" y="60"/>
                    </a:lnTo>
                    <a:lnTo>
                      <a:pt x="138" y="60"/>
                    </a:lnTo>
                    <a:lnTo>
                      <a:pt x="138" y="60"/>
                    </a:lnTo>
                    <a:lnTo>
                      <a:pt x="140" y="60"/>
                    </a:lnTo>
                    <a:lnTo>
                      <a:pt x="144" y="60"/>
                    </a:lnTo>
                    <a:lnTo>
                      <a:pt x="144" y="60"/>
                    </a:lnTo>
                    <a:lnTo>
                      <a:pt x="144" y="58"/>
                    </a:lnTo>
                    <a:lnTo>
                      <a:pt x="146" y="58"/>
                    </a:lnTo>
                    <a:lnTo>
                      <a:pt x="144" y="56"/>
                    </a:lnTo>
                    <a:lnTo>
                      <a:pt x="144" y="56"/>
                    </a:lnTo>
                    <a:lnTo>
                      <a:pt x="142" y="54"/>
                    </a:lnTo>
                    <a:lnTo>
                      <a:pt x="140" y="52"/>
                    </a:lnTo>
                    <a:lnTo>
                      <a:pt x="140" y="52"/>
                    </a:lnTo>
                    <a:lnTo>
                      <a:pt x="138" y="50"/>
                    </a:lnTo>
                    <a:lnTo>
                      <a:pt x="138" y="48"/>
                    </a:lnTo>
                    <a:lnTo>
                      <a:pt x="140" y="48"/>
                    </a:lnTo>
                    <a:lnTo>
                      <a:pt x="140" y="48"/>
                    </a:lnTo>
                    <a:lnTo>
                      <a:pt x="140" y="46"/>
                    </a:lnTo>
                    <a:lnTo>
                      <a:pt x="142" y="46"/>
                    </a:lnTo>
                    <a:lnTo>
                      <a:pt x="144" y="46"/>
                    </a:lnTo>
                    <a:lnTo>
                      <a:pt x="144" y="48"/>
                    </a:lnTo>
                    <a:lnTo>
                      <a:pt x="148" y="48"/>
                    </a:lnTo>
                    <a:lnTo>
                      <a:pt x="148" y="48"/>
                    </a:lnTo>
                    <a:lnTo>
                      <a:pt x="150" y="48"/>
                    </a:lnTo>
                    <a:lnTo>
                      <a:pt x="150" y="48"/>
                    </a:lnTo>
                    <a:lnTo>
                      <a:pt x="150" y="48"/>
                    </a:lnTo>
                    <a:lnTo>
                      <a:pt x="150" y="48"/>
                    </a:lnTo>
                    <a:lnTo>
                      <a:pt x="150" y="48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75" name="Freeform 746"/>
              <p:cNvSpPr>
                <a:spLocks/>
              </p:cNvSpPr>
              <p:nvPr/>
            </p:nvSpPr>
            <p:spPr bwMode="auto">
              <a:xfrm>
                <a:off x="4309" y="2702"/>
                <a:ext cx="72" cy="104"/>
              </a:xfrm>
              <a:custGeom>
                <a:avLst/>
                <a:gdLst>
                  <a:gd name="T0" fmla="*/ 18 w 72"/>
                  <a:gd name="T1" fmla="*/ 6 h 104"/>
                  <a:gd name="T2" fmla="*/ 14 w 72"/>
                  <a:gd name="T3" fmla="*/ 2 h 104"/>
                  <a:gd name="T4" fmla="*/ 10 w 72"/>
                  <a:gd name="T5" fmla="*/ 0 h 104"/>
                  <a:gd name="T6" fmla="*/ 2 w 72"/>
                  <a:gd name="T7" fmla="*/ 0 h 104"/>
                  <a:gd name="T8" fmla="*/ 0 w 72"/>
                  <a:gd name="T9" fmla="*/ 2 h 104"/>
                  <a:gd name="T10" fmla="*/ 4 w 72"/>
                  <a:gd name="T11" fmla="*/ 10 h 104"/>
                  <a:gd name="T12" fmla="*/ 8 w 72"/>
                  <a:gd name="T13" fmla="*/ 16 h 104"/>
                  <a:gd name="T14" fmla="*/ 10 w 72"/>
                  <a:gd name="T15" fmla="*/ 20 h 104"/>
                  <a:gd name="T16" fmla="*/ 12 w 72"/>
                  <a:gd name="T17" fmla="*/ 26 h 104"/>
                  <a:gd name="T18" fmla="*/ 14 w 72"/>
                  <a:gd name="T19" fmla="*/ 30 h 104"/>
                  <a:gd name="T20" fmla="*/ 16 w 72"/>
                  <a:gd name="T21" fmla="*/ 38 h 104"/>
                  <a:gd name="T22" fmla="*/ 14 w 72"/>
                  <a:gd name="T23" fmla="*/ 46 h 104"/>
                  <a:gd name="T24" fmla="*/ 16 w 72"/>
                  <a:gd name="T25" fmla="*/ 54 h 104"/>
                  <a:gd name="T26" fmla="*/ 18 w 72"/>
                  <a:gd name="T27" fmla="*/ 58 h 104"/>
                  <a:gd name="T28" fmla="*/ 20 w 72"/>
                  <a:gd name="T29" fmla="*/ 64 h 104"/>
                  <a:gd name="T30" fmla="*/ 22 w 72"/>
                  <a:gd name="T31" fmla="*/ 64 h 104"/>
                  <a:gd name="T32" fmla="*/ 24 w 72"/>
                  <a:gd name="T33" fmla="*/ 68 h 104"/>
                  <a:gd name="T34" fmla="*/ 22 w 72"/>
                  <a:gd name="T35" fmla="*/ 72 h 104"/>
                  <a:gd name="T36" fmla="*/ 22 w 72"/>
                  <a:gd name="T37" fmla="*/ 74 h 104"/>
                  <a:gd name="T38" fmla="*/ 24 w 72"/>
                  <a:gd name="T39" fmla="*/ 76 h 104"/>
                  <a:gd name="T40" fmla="*/ 28 w 72"/>
                  <a:gd name="T41" fmla="*/ 80 h 104"/>
                  <a:gd name="T42" fmla="*/ 38 w 72"/>
                  <a:gd name="T43" fmla="*/ 86 h 104"/>
                  <a:gd name="T44" fmla="*/ 44 w 72"/>
                  <a:gd name="T45" fmla="*/ 90 h 104"/>
                  <a:gd name="T46" fmla="*/ 46 w 72"/>
                  <a:gd name="T47" fmla="*/ 96 h 104"/>
                  <a:gd name="T48" fmla="*/ 48 w 72"/>
                  <a:gd name="T49" fmla="*/ 96 h 104"/>
                  <a:gd name="T50" fmla="*/ 52 w 72"/>
                  <a:gd name="T51" fmla="*/ 98 h 104"/>
                  <a:gd name="T52" fmla="*/ 58 w 72"/>
                  <a:gd name="T53" fmla="*/ 100 h 104"/>
                  <a:gd name="T54" fmla="*/ 64 w 72"/>
                  <a:gd name="T55" fmla="*/ 102 h 104"/>
                  <a:gd name="T56" fmla="*/ 70 w 72"/>
                  <a:gd name="T57" fmla="*/ 104 h 104"/>
                  <a:gd name="T58" fmla="*/ 72 w 72"/>
                  <a:gd name="T59" fmla="*/ 102 h 104"/>
                  <a:gd name="T60" fmla="*/ 72 w 72"/>
                  <a:gd name="T61" fmla="*/ 98 h 104"/>
                  <a:gd name="T62" fmla="*/ 68 w 72"/>
                  <a:gd name="T63" fmla="*/ 88 h 104"/>
                  <a:gd name="T64" fmla="*/ 66 w 72"/>
                  <a:gd name="T65" fmla="*/ 80 h 104"/>
                  <a:gd name="T66" fmla="*/ 60 w 72"/>
                  <a:gd name="T67" fmla="*/ 70 h 104"/>
                  <a:gd name="T68" fmla="*/ 58 w 72"/>
                  <a:gd name="T69" fmla="*/ 66 h 104"/>
                  <a:gd name="T70" fmla="*/ 58 w 72"/>
                  <a:gd name="T71" fmla="*/ 60 h 104"/>
                  <a:gd name="T72" fmla="*/ 58 w 72"/>
                  <a:gd name="T73" fmla="*/ 42 h 104"/>
                  <a:gd name="T74" fmla="*/ 58 w 72"/>
                  <a:gd name="T75" fmla="*/ 36 h 104"/>
                  <a:gd name="T76" fmla="*/ 54 w 72"/>
                  <a:gd name="T77" fmla="*/ 32 h 104"/>
                  <a:gd name="T78" fmla="*/ 48 w 72"/>
                  <a:gd name="T79" fmla="*/ 24 h 104"/>
                  <a:gd name="T80" fmla="*/ 42 w 72"/>
                  <a:gd name="T81" fmla="*/ 16 h 104"/>
                  <a:gd name="T82" fmla="*/ 34 w 72"/>
                  <a:gd name="T83" fmla="*/ 12 h 104"/>
                  <a:gd name="T84" fmla="*/ 26 w 72"/>
                  <a:gd name="T85" fmla="*/ 14 h 104"/>
                  <a:gd name="T86" fmla="*/ 22 w 72"/>
                  <a:gd name="T87" fmla="*/ 14 h 104"/>
                  <a:gd name="T88" fmla="*/ 18 w 72"/>
                  <a:gd name="T89" fmla="*/ 10 h 104"/>
                  <a:gd name="T90" fmla="*/ 18 w 72"/>
                  <a:gd name="T91" fmla="*/ 10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72" h="104">
                    <a:moveTo>
                      <a:pt x="18" y="10"/>
                    </a:moveTo>
                    <a:lnTo>
                      <a:pt x="18" y="10"/>
                    </a:lnTo>
                    <a:lnTo>
                      <a:pt x="18" y="6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6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8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0" y="24"/>
                    </a:lnTo>
                    <a:lnTo>
                      <a:pt x="12" y="26"/>
                    </a:lnTo>
                    <a:lnTo>
                      <a:pt x="12" y="28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4"/>
                    </a:lnTo>
                    <a:lnTo>
                      <a:pt x="14" y="36"/>
                    </a:lnTo>
                    <a:lnTo>
                      <a:pt x="16" y="38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4" y="46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4"/>
                    </a:lnTo>
                    <a:lnTo>
                      <a:pt x="16" y="56"/>
                    </a:lnTo>
                    <a:lnTo>
                      <a:pt x="16" y="58"/>
                    </a:lnTo>
                    <a:lnTo>
                      <a:pt x="18" y="58"/>
                    </a:lnTo>
                    <a:lnTo>
                      <a:pt x="18" y="58"/>
                    </a:lnTo>
                    <a:lnTo>
                      <a:pt x="18" y="62"/>
                    </a:lnTo>
                    <a:lnTo>
                      <a:pt x="20" y="64"/>
                    </a:lnTo>
                    <a:lnTo>
                      <a:pt x="20" y="64"/>
                    </a:lnTo>
                    <a:lnTo>
                      <a:pt x="20" y="64"/>
                    </a:lnTo>
                    <a:lnTo>
                      <a:pt x="22" y="64"/>
                    </a:lnTo>
                    <a:lnTo>
                      <a:pt x="22" y="66"/>
                    </a:lnTo>
                    <a:lnTo>
                      <a:pt x="24" y="68"/>
                    </a:lnTo>
                    <a:lnTo>
                      <a:pt x="24" y="68"/>
                    </a:lnTo>
                    <a:lnTo>
                      <a:pt x="24" y="68"/>
                    </a:lnTo>
                    <a:lnTo>
                      <a:pt x="22" y="70"/>
                    </a:lnTo>
                    <a:lnTo>
                      <a:pt x="22" y="72"/>
                    </a:lnTo>
                    <a:lnTo>
                      <a:pt x="22" y="72"/>
                    </a:lnTo>
                    <a:lnTo>
                      <a:pt x="22" y="72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6"/>
                    </a:lnTo>
                    <a:lnTo>
                      <a:pt x="24" y="76"/>
                    </a:lnTo>
                    <a:lnTo>
                      <a:pt x="26" y="78"/>
                    </a:lnTo>
                    <a:lnTo>
                      <a:pt x="28" y="80"/>
                    </a:lnTo>
                    <a:lnTo>
                      <a:pt x="28" y="80"/>
                    </a:lnTo>
                    <a:lnTo>
                      <a:pt x="30" y="80"/>
                    </a:lnTo>
                    <a:lnTo>
                      <a:pt x="32" y="82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42" y="88"/>
                    </a:lnTo>
                    <a:lnTo>
                      <a:pt x="44" y="90"/>
                    </a:lnTo>
                    <a:lnTo>
                      <a:pt x="44" y="92"/>
                    </a:lnTo>
                    <a:lnTo>
                      <a:pt x="44" y="92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8" y="96"/>
                    </a:lnTo>
                    <a:lnTo>
                      <a:pt x="48" y="96"/>
                    </a:lnTo>
                    <a:lnTo>
                      <a:pt x="48" y="98"/>
                    </a:lnTo>
                    <a:lnTo>
                      <a:pt x="50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58" y="100"/>
                    </a:lnTo>
                    <a:lnTo>
                      <a:pt x="62" y="102"/>
                    </a:lnTo>
                    <a:lnTo>
                      <a:pt x="62" y="102"/>
                    </a:lnTo>
                    <a:lnTo>
                      <a:pt x="64" y="102"/>
                    </a:lnTo>
                    <a:lnTo>
                      <a:pt x="68" y="104"/>
                    </a:lnTo>
                    <a:lnTo>
                      <a:pt x="68" y="104"/>
                    </a:lnTo>
                    <a:lnTo>
                      <a:pt x="70" y="104"/>
                    </a:lnTo>
                    <a:lnTo>
                      <a:pt x="70" y="104"/>
                    </a:lnTo>
                    <a:lnTo>
                      <a:pt x="72" y="102"/>
                    </a:lnTo>
                    <a:lnTo>
                      <a:pt x="72" y="102"/>
                    </a:lnTo>
                    <a:lnTo>
                      <a:pt x="72" y="100"/>
                    </a:lnTo>
                    <a:lnTo>
                      <a:pt x="72" y="100"/>
                    </a:lnTo>
                    <a:lnTo>
                      <a:pt x="72" y="98"/>
                    </a:lnTo>
                    <a:lnTo>
                      <a:pt x="70" y="92"/>
                    </a:lnTo>
                    <a:lnTo>
                      <a:pt x="70" y="92"/>
                    </a:lnTo>
                    <a:lnTo>
                      <a:pt x="68" y="88"/>
                    </a:lnTo>
                    <a:lnTo>
                      <a:pt x="68" y="86"/>
                    </a:lnTo>
                    <a:lnTo>
                      <a:pt x="66" y="80"/>
                    </a:lnTo>
                    <a:lnTo>
                      <a:pt x="66" y="80"/>
                    </a:lnTo>
                    <a:lnTo>
                      <a:pt x="64" y="76"/>
                    </a:lnTo>
                    <a:lnTo>
                      <a:pt x="64" y="74"/>
                    </a:lnTo>
                    <a:lnTo>
                      <a:pt x="60" y="70"/>
                    </a:lnTo>
                    <a:lnTo>
                      <a:pt x="60" y="70"/>
                    </a:lnTo>
                    <a:lnTo>
                      <a:pt x="58" y="68"/>
                    </a:lnTo>
                    <a:lnTo>
                      <a:pt x="58" y="66"/>
                    </a:lnTo>
                    <a:lnTo>
                      <a:pt x="56" y="64"/>
                    </a:lnTo>
                    <a:lnTo>
                      <a:pt x="58" y="60"/>
                    </a:lnTo>
                    <a:lnTo>
                      <a:pt x="58" y="60"/>
                    </a:lnTo>
                    <a:lnTo>
                      <a:pt x="58" y="56"/>
                    </a:lnTo>
                    <a:lnTo>
                      <a:pt x="58" y="52"/>
                    </a:lnTo>
                    <a:lnTo>
                      <a:pt x="58" y="42"/>
                    </a:lnTo>
                    <a:lnTo>
                      <a:pt x="58" y="42"/>
                    </a:lnTo>
                    <a:lnTo>
                      <a:pt x="58" y="40"/>
                    </a:lnTo>
                    <a:lnTo>
                      <a:pt x="58" y="36"/>
                    </a:lnTo>
                    <a:lnTo>
                      <a:pt x="56" y="34"/>
                    </a:lnTo>
                    <a:lnTo>
                      <a:pt x="54" y="32"/>
                    </a:lnTo>
                    <a:lnTo>
                      <a:pt x="54" y="32"/>
                    </a:lnTo>
                    <a:lnTo>
                      <a:pt x="54" y="30"/>
                    </a:lnTo>
                    <a:lnTo>
                      <a:pt x="52" y="26"/>
                    </a:lnTo>
                    <a:lnTo>
                      <a:pt x="48" y="24"/>
                    </a:lnTo>
                    <a:lnTo>
                      <a:pt x="44" y="20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4" y="12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4" y="14"/>
                    </a:lnTo>
                    <a:lnTo>
                      <a:pt x="22" y="14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76" name="Freeform 748"/>
              <p:cNvSpPr>
                <a:spLocks/>
              </p:cNvSpPr>
              <p:nvPr/>
            </p:nvSpPr>
            <p:spPr bwMode="auto">
              <a:xfrm>
                <a:off x="4231" y="2720"/>
                <a:ext cx="172" cy="218"/>
              </a:xfrm>
              <a:custGeom>
                <a:avLst/>
                <a:gdLst>
                  <a:gd name="T0" fmla="*/ 8 w 172"/>
                  <a:gd name="T1" fmla="*/ 0 h 218"/>
                  <a:gd name="T2" fmla="*/ 2 w 172"/>
                  <a:gd name="T3" fmla="*/ 2 h 218"/>
                  <a:gd name="T4" fmla="*/ 4 w 172"/>
                  <a:gd name="T5" fmla="*/ 16 h 218"/>
                  <a:gd name="T6" fmla="*/ 12 w 172"/>
                  <a:gd name="T7" fmla="*/ 24 h 218"/>
                  <a:gd name="T8" fmla="*/ 18 w 172"/>
                  <a:gd name="T9" fmla="*/ 30 h 218"/>
                  <a:gd name="T10" fmla="*/ 24 w 172"/>
                  <a:gd name="T11" fmla="*/ 34 h 218"/>
                  <a:gd name="T12" fmla="*/ 28 w 172"/>
                  <a:gd name="T13" fmla="*/ 46 h 218"/>
                  <a:gd name="T14" fmla="*/ 36 w 172"/>
                  <a:gd name="T15" fmla="*/ 54 h 218"/>
                  <a:gd name="T16" fmla="*/ 42 w 172"/>
                  <a:gd name="T17" fmla="*/ 64 h 218"/>
                  <a:gd name="T18" fmla="*/ 52 w 172"/>
                  <a:gd name="T19" fmla="*/ 70 h 218"/>
                  <a:gd name="T20" fmla="*/ 60 w 172"/>
                  <a:gd name="T21" fmla="*/ 78 h 218"/>
                  <a:gd name="T22" fmla="*/ 66 w 172"/>
                  <a:gd name="T23" fmla="*/ 94 h 218"/>
                  <a:gd name="T24" fmla="*/ 74 w 172"/>
                  <a:gd name="T25" fmla="*/ 106 h 218"/>
                  <a:gd name="T26" fmla="*/ 80 w 172"/>
                  <a:gd name="T27" fmla="*/ 116 h 218"/>
                  <a:gd name="T28" fmla="*/ 86 w 172"/>
                  <a:gd name="T29" fmla="*/ 122 h 218"/>
                  <a:gd name="T30" fmla="*/ 88 w 172"/>
                  <a:gd name="T31" fmla="*/ 130 h 218"/>
                  <a:gd name="T32" fmla="*/ 90 w 172"/>
                  <a:gd name="T33" fmla="*/ 138 h 218"/>
                  <a:gd name="T34" fmla="*/ 100 w 172"/>
                  <a:gd name="T35" fmla="*/ 152 h 218"/>
                  <a:gd name="T36" fmla="*/ 106 w 172"/>
                  <a:gd name="T37" fmla="*/ 162 h 218"/>
                  <a:gd name="T38" fmla="*/ 114 w 172"/>
                  <a:gd name="T39" fmla="*/ 176 h 218"/>
                  <a:gd name="T40" fmla="*/ 124 w 172"/>
                  <a:gd name="T41" fmla="*/ 190 h 218"/>
                  <a:gd name="T42" fmla="*/ 136 w 172"/>
                  <a:gd name="T43" fmla="*/ 198 h 218"/>
                  <a:gd name="T44" fmla="*/ 144 w 172"/>
                  <a:gd name="T45" fmla="*/ 208 h 218"/>
                  <a:gd name="T46" fmla="*/ 150 w 172"/>
                  <a:gd name="T47" fmla="*/ 212 h 218"/>
                  <a:gd name="T48" fmla="*/ 156 w 172"/>
                  <a:gd name="T49" fmla="*/ 212 h 218"/>
                  <a:gd name="T50" fmla="*/ 160 w 172"/>
                  <a:gd name="T51" fmla="*/ 216 h 218"/>
                  <a:gd name="T52" fmla="*/ 168 w 172"/>
                  <a:gd name="T53" fmla="*/ 218 h 218"/>
                  <a:gd name="T54" fmla="*/ 168 w 172"/>
                  <a:gd name="T55" fmla="*/ 206 h 218"/>
                  <a:gd name="T56" fmla="*/ 170 w 172"/>
                  <a:gd name="T57" fmla="*/ 190 h 218"/>
                  <a:gd name="T58" fmla="*/ 168 w 172"/>
                  <a:gd name="T59" fmla="*/ 176 h 218"/>
                  <a:gd name="T60" fmla="*/ 170 w 172"/>
                  <a:gd name="T61" fmla="*/ 168 h 218"/>
                  <a:gd name="T62" fmla="*/ 172 w 172"/>
                  <a:gd name="T63" fmla="*/ 158 h 218"/>
                  <a:gd name="T64" fmla="*/ 168 w 172"/>
                  <a:gd name="T65" fmla="*/ 150 h 218"/>
                  <a:gd name="T66" fmla="*/ 166 w 172"/>
                  <a:gd name="T67" fmla="*/ 146 h 218"/>
                  <a:gd name="T68" fmla="*/ 156 w 172"/>
                  <a:gd name="T69" fmla="*/ 146 h 218"/>
                  <a:gd name="T70" fmla="*/ 152 w 172"/>
                  <a:gd name="T71" fmla="*/ 134 h 218"/>
                  <a:gd name="T72" fmla="*/ 144 w 172"/>
                  <a:gd name="T73" fmla="*/ 122 h 218"/>
                  <a:gd name="T74" fmla="*/ 138 w 172"/>
                  <a:gd name="T75" fmla="*/ 118 h 218"/>
                  <a:gd name="T76" fmla="*/ 136 w 172"/>
                  <a:gd name="T77" fmla="*/ 112 h 218"/>
                  <a:gd name="T78" fmla="*/ 136 w 172"/>
                  <a:gd name="T79" fmla="*/ 104 h 218"/>
                  <a:gd name="T80" fmla="*/ 126 w 172"/>
                  <a:gd name="T81" fmla="*/ 102 h 218"/>
                  <a:gd name="T82" fmla="*/ 120 w 172"/>
                  <a:gd name="T83" fmla="*/ 92 h 218"/>
                  <a:gd name="T84" fmla="*/ 114 w 172"/>
                  <a:gd name="T85" fmla="*/ 86 h 218"/>
                  <a:gd name="T86" fmla="*/ 112 w 172"/>
                  <a:gd name="T87" fmla="*/ 80 h 218"/>
                  <a:gd name="T88" fmla="*/ 102 w 172"/>
                  <a:gd name="T89" fmla="*/ 76 h 218"/>
                  <a:gd name="T90" fmla="*/ 98 w 172"/>
                  <a:gd name="T91" fmla="*/ 66 h 218"/>
                  <a:gd name="T92" fmla="*/ 86 w 172"/>
                  <a:gd name="T93" fmla="*/ 62 h 218"/>
                  <a:gd name="T94" fmla="*/ 78 w 172"/>
                  <a:gd name="T95" fmla="*/ 54 h 218"/>
                  <a:gd name="T96" fmla="*/ 72 w 172"/>
                  <a:gd name="T97" fmla="*/ 46 h 218"/>
                  <a:gd name="T98" fmla="*/ 56 w 172"/>
                  <a:gd name="T99" fmla="*/ 32 h 218"/>
                  <a:gd name="T100" fmla="*/ 46 w 172"/>
                  <a:gd name="T101" fmla="*/ 22 h 218"/>
                  <a:gd name="T102" fmla="*/ 40 w 172"/>
                  <a:gd name="T103" fmla="*/ 18 h 218"/>
                  <a:gd name="T104" fmla="*/ 38 w 172"/>
                  <a:gd name="T105" fmla="*/ 12 h 218"/>
                  <a:gd name="T106" fmla="*/ 26 w 172"/>
                  <a:gd name="T107" fmla="*/ 6 h 218"/>
                  <a:gd name="T108" fmla="*/ 14 w 172"/>
                  <a:gd name="T109" fmla="*/ 6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72" h="218">
                    <a:moveTo>
                      <a:pt x="12" y="6"/>
                    </a:moveTo>
                    <a:lnTo>
                      <a:pt x="12" y="6"/>
                    </a:lnTo>
                    <a:lnTo>
                      <a:pt x="12" y="4"/>
                    </a:lnTo>
                    <a:lnTo>
                      <a:pt x="10" y="4"/>
                    </a:lnTo>
                    <a:lnTo>
                      <a:pt x="8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6" y="20"/>
                    </a:lnTo>
                    <a:lnTo>
                      <a:pt x="6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12" y="24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6" y="26"/>
                    </a:lnTo>
                    <a:lnTo>
                      <a:pt x="16" y="28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0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4" y="34"/>
                    </a:lnTo>
                    <a:lnTo>
                      <a:pt x="24" y="34"/>
                    </a:lnTo>
                    <a:lnTo>
                      <a:pt x="24" y="34"/>
                    </a:lnTo>
                    <a:lnTo>
                      <a:pt x="26" y="36"/>
                    </a:lnTo>
                    <a:lnTo>
                      <a:pt x="26" y="38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8" y="44"/>
                    </a:lnTo>
                    <a:lnTo>
                      <a:pt x="28" y="46"/>
                    </a:lnTo>
                    <a:lnTo>
                      <a:pt x="30" y="50"/>
                    </a:lnTo>
                    <a:lnTo>
                      <a:pt x="30" y="50"/>
                    </a:lnTo>
                    <a:lnTo>
                      <a:pt x="32" y="50"/>
                    </a:lnTo>
                    <a:lnTo>
                      <a:pt x="32" y="52"/>
                    </a:lnTo>
                    <a:lnTo>
                      <a:pt x="36" y="54"/>
                    </a:lnTo>
                    <a:lnTo>
                      <a:pt x="36" y="54"/>
                    </a:lnTo>
                    <a:lnTo>
                      <a:pt x="36" y="54"/>
                    </a:lnTo>
                    <a:lnTo>
                      <a:pt x="38" y="56"/>
                    </a:lnTo>
                    <a:lnTo>
                      <a:pt x="38" y="58"/>
                    </a:lnTo>
                    <a:lnTo>
                      <a:pt x="38" y="58"/>
                    </a:lnTo>
                    <a:lnTo>
                      <a:pt x="40" y="62"/>
                    </a:lnTo>
                    <a:lnTo>
                      <a:pt x="42" y="64"/>
                    </a:lnTo>
                    <a:lnTo>
                      <a:pt x="44" y="66"/>
                    </a:lnTo>
                    <a:lnTo>
                      <a:pt x="46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50" y="68"/>
                    </a:lnTo>
                    <a:lnTo>
                      <a:pt x="52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8" y="72"/>
                    </a:lnTo>
                    <a:lnTo>
                      <a:pt x="58" y="74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4" y="80"/>
                    </a:lnTo>
                    <a:lnTo>
                      <a:pt x="64" y="84"/>
                    </a:lnTo>
                    <a:lnTo>
                      <a:pt x="66" y="88"/>
                    </a:lnTo>
                    <a:lnTo>
                      <a:pt x="66" y="92"/>
                    </a:lnTo>
                    <a:lnTo>
                      <a:pt x="66" y="92"/>
                    </a:lnTo>
                    <a:lnTo>
                      <a:pt x="66" y="94"/>
                    </a:lnTo>
                    <a:lnTo>
                      <a:pt x="66" y="96"/>
                    </a:lnTo>
                    <a:lnTo>
                      <a:pt x="68" y="98"/>
                    </a:lnTo>
                    <a:lnTo>
                      <a:pt x="70" y="102"/>
                    </a:lnTo>
                    <a:lnTo>
                      <a:pt x="72" y="104"/>
                    </a:lnTo>
                    <a:lnTo>
                      <a:pt x="72" y="104"/>
                    </a:lnTo>
                    <a:lnTo>
                      <a:pt x="74" y="106"/>
                    </a:lnTo>
                    <a:lnTo>
                      <a:pt x="78" y="110"/>
                    </a:lnTo>
                    <a:lnTo>
                      <a:pt x="78" y="110"/>
                    </a:lnTo>
                    <a:lnTo>
                      <a:pt x="78" y="112"/>
                    </a:lnTo>
                    <a:lnTo>
                      <a:pt x="80" y="114"/>
                    </a:lnTo>
                    <a:lnTo>
                      <a:pt x="80" y="114"/>
                    </a:lnTo>
                    <a:lnTo>
                      <a:pt x="80" y="116"/>
                    </a:lnTo>
                    <a:lnTo>
                      <a:pt x="80" y="116"/>
                    </a:lnTo>
                    <a:lnTo>
                      <a:pt x="82" y="118"/>
                    </a:lnTo>
                    <a:lnTo>
                      <a:pt x="84" y="118"/>
                    </a:lnTo>
                    <a:lnTo>
                      <a:pt x="84" y="120"/>
                    </a:lnTo>
                    <a:lnTo>
                      <a:pt x="86" y="122"/>
                    </a:lnTo>
                    <a:lnTo>
                      <a:pt x="86" y="122"/>
                    </a:lnTo>
                    <a:lnTo>
                      <a:pt x="86" y="124"/>
                    </a:lnTo>
                    <a:lnTo>
                      <a:pt x="86" y="124"/>
                    </a:lnTo>
                    <a:lnTo>
                      <a:pt x="86" y="126"/>
                    </a:lnTo>
                    <a:lnTo>
                      <a:pt x="86" y="128"/>
                    </a:lnTo>
                    <a:lnTo>
                      <a:pt x="86" y="128"/>
                    </a:lnTo>
                    <a:lnTo>
                      <a:pt x="88" y="130"/>
                    </a:lnTo>
                    <a:lnTo>
                      <a:pt x="88" y="132"/>
                    </a:lnTo>
                    <a:lnTo>
                      <a:pt x="88" y="134"/>
                    </a:lnTo>
                    <a:lnTo>
                      <a:pt x="88" y="134"/>
                    </a:lnTo>
                    <a:lnTo>
                      <a:pt x="90" y="136"/>
                    </a:lnTo>
                    <a:lnTo>
                      <a:pt x="90" y="136"/>
                    </a:lnTo>
                    <a:lnTo>
                      <a:pt x="90" y="138"/>
                    </a:lnTo>
                    <a:lnTo>
                      <a:pt x="92" y="140"/>
                    </a:lnTo>
                    <a:lnTo>
                      <a:pt x="92" y="140"/>
                    </a:lnTo>
                    <a:lnTo>
                      <a:pt x="96" y="142"/>
                    </a:lnTo>
                    <a:lnTo>
                      <a:pt x="96" y="146"/>
                    </a:lnTo>
                    <a:lnTo>
                      <a:pt x="100" y="150"/>
                    </a:lnTo>
                    <a:lnTo>
                      <a:pt x="100" y="152"/>
                    </a:lnTo>
                    <a:lnTo>
                      <a:pt x="100" y="152"/>
                    </a:lnTo>
                    <a:lnTo>
                      <a:pt x="102" y="156"/>
                    </a:lnTo>
                    <a:lnTo>
                      <a:pt x="102" y="158"/>
                    </a:lnTo>
                    <a:lnTo>
                      <a:pt x="104" y="160"/>
                    </a:lnTo>
                    <a:lnTo>
                      <a:pt x="104" y="160"/>
                    </a:lnTo>
                    <a:lnTo>
                      <a:pt x="106" y="162"/>
                    </a:lnTo>
                    <a:lnTo>
                      <a:pt x="108" y="164"/>
                    </a:lnTo>
                    <a:lnTo>
                      <a:pt x="110" y="164"/>
                    </a:lnTo>
                    <a:lnTo>
                      <a:pt x="110" y="164"/>
                    </a:lnTo>
                    <a:lnTo>
                      <a:pt x="110" y="168"/>
                    </a:lnTo>
                    <a:lnTo>
                      <a:pt x="112" y="170"/>
                    </a:lnTo>
                    <a:lnTo>
                      <a:pt x="114" y="176"/>
                    </a:lnTo>
                    <a:lnTo>
                      <a:pt x="114" y="176"/>
                    </a:lnTo>
                    <a:lnTo>
                      <a:pt x="116" y="180"/>
                    </a:lnTo>
                    <a:lnTo>
                      <a:pt x="118" y="184"/>
                    </a:lnTo>
                    <a:lnTo>
                      <a:pt x="120" y="188"/>
                    </a:lnTo>
                    <a:lnTo>
                      <a:pt x="124" y="190"/>
                    </a:lnTo>
                    <a:lnTo>
                      <a:pt x="124" y="190"/>
                    </a:lnTo>
                    <a:lnTo>
                      <a:pt x="126" y="192"/>
                    </a:lnTo>
                    <a:lnTo>
                      <a:pt x="128" y="194"/>
                    </a:lnTo>
                    <a:lnTo>
                      <a:pt x="128" y="194"/>
                    </a:lnTo>
                    <a:lnTo>
                      <a:pt x="130" y="194"/>
                    </a:lnTo>
                    <a:lnTo>
                      <a:pt x="134" y="196"/>
                    </a:lnTo>
                    <a:lnTo>
                      <a:pt x="136" y="198"/>
                    </a:lnTo>
                    <a:lnTo>
                      <a:pt x="138" y="198"/>
                    </a:lnTo>
                    <a:lnTo>
                      <a:pt x="138" y="200"/>
                    </a:lnTo>
                    <a:lnTo>
                      <a:pt x="138" y="200"/>
                    </a:lnTo>
                    <a:lnTo>
                      <a:pt x="142" y="206"/>
                    </a:lnTo>
                    <a:lnTo>
                      <a:pt x="142" y="208"/>
                    </a:lnTo>
                    <a:lnTo>
                      <a:pt x="144" y="208"/>
                    </a:lnTo>
                    <a:lnTo>
                      <a:pt x="144" y="210"/>
                    </a:lnTo>
                    <a:lnTo>
                      <a:pt x="146" y="210"/>
                    </a:lnTo>
                    <a:lnTo>
                      <a:pt x="146" y="210"/>
                    </a:lnTo>
                    <a:lnTo>
                      <a:pt x="148" y="212"/>
                    </a:lnTo>
                    <a:lnTo>
                      <a:pt x="150" y="212"/>
                    </a:lnTo>
                    <a:lnTo>
                      <a:pt x="150" y="212"/>
                    </a:lnTo>
                    <a:lnTo>
                      <a:pt x="152" y="214"/>
                    </a:lnTo>
                    <a:lnTo>
                      <a:pt x="154" y="214"/>
                    </a:lnTo>
                    <a:lnTo>
                      <a:pt x="156" y="214"/>
                    </a:lnTo>
                    <a:lnTo>
                      <a:pt x="156" y="214"/>
                    </a:lnTo>
                    <a:lnTo>
                      <a:pt x="156" y="214"/>
                    </a:lnTo>
                    <a:lnTo>
                      <a:pt x="156" y="212"/>
                    </a:lnTo>
                    <a:lnTo>
                      <a:pt x="156" y="212"/>
                    </a:lnTo>
                    <a:lnTo>
                      <a:pt x="158" y="212"/>
                    </a:lnTo>
                    <a:lnTo>
                      <a:pt x="158" y="212"/>
                    </a:lnTo>
                    <a:lnTo>
                      <a:pt x="158" y="214"/>
                    </a:lnTo>
                    <a:lnTo>
                      <a:pt x="160" y="214"/>
                    </a:lnTo>
                    <a:lnTo>
                      <a:pt x="160" y="216"/>
                    </a:lnTo>
                    <a:lnTo>
                      <a:pt x="162" y="216"/>
                    </a:lnTo>
                    <a:lnTo>
                      <a:pt x="162" y="216"/>
                    </a:lnTo>
                    <a:lnTo>
                      <a:pt x="166" y="218"/>
                    </a:lnTo>
                    <a:lnTo>
                      <a:pt x="168" y="218"/>
                    </a:lnTo>
                    <a:lnTo>
                      <a:pt x="168" y="218"/>
                    </a:lnTo>
                    <a:lnTo>
                      <a:pt x="168" y="218"/>
                    </a:lnTo>
                    <a:lnTo>
                      <a:pt x="168" y="218"/>
                    </a:lnTo>
                    <a:lnTo>
                      <a:pt x="170" y="216"/>
                    </a:lnTo>
                    <a:lnTo>
                      <a:pt x="170" y="214"/>
                    </a:lnTo>
                    <a:lnTo>
                      <a:pt x="170" y="214"/>
                    </a:lnTo>
                    <a:lnTo>
                      <a:pt x="168" y="210"/>
                    </a:lnTo>
                    <a:lnTo>
                      <a:pt x="168" y="206"/>
                    </a:lnTo>
                    <a:lnTo>
                      <a:pt x="168" y="206"/>
                    </a:lnTo>
                    <a:lnTo>
                      <a:pt x="168" y="204"/>
                    </a:lnTo>
                    <a:lnTo>
                      <a:pt x="168" y="202"/>
                    </a:lnTo>
                    <a:lnTo>
                      <a:pt x="168" y="196"/>
                    </a:lnTo>
                    <a:lnTo>
                      <a:pt x="170" y="192"/>
                    </a:lnTo>
                    <a:lnTo>
                      <a:pt x="170" y="190"/>
                    </a:lnTo>
                    <a:lnTo>
                      <a:pt x="170" y="188"/>
                    </a:lnTo>
                    <a:lnTo>
                      <a:pt x="170" y="188"/>
                    </a:lnTo>
                    <a:lnTo>
                      <a:pt x="168" y="184"/>
                    </a:lnTo>
                    <a:lnTo>
                      <a:pt x="168" y="180"/>
                    </a:lnTo>
                    <a:lnTo>
                      <a:pt x="168" y="178"/>
                    </a:lnTo>
                    <a:lnTo>
                      <a:pt x="168" y="176"/>
                    </a:lnTo>
                    <a:lnTo>
                      <a:pt x="168" y="174"/>
                    </a:lnTo>
                    <a:lnTo>
                      <a:pt x="168" y="174"/>
                    </a:lnTo>
                    <a:lnTo>
                      <a:pt x="170" y="172"/>
                    </a:lnTo>
                    <a:lnTo>
                      <a:pt x="170" y="170"/>
                    </a:lnTo>
                    <a:lnTo>
                      <a:pt x="170" y="168"/>
                    </a:lnTo>
                    <a:lnTo>
                      <a:pt x="170" y="168"/>
                    </a:lnTo>
                    <a:lnTo>
                      <a:pt x="170" y="164"/>
                    </a:lnTo>
                    <a:lnTo>
                      <a:pt x="170" y="162"/>
                    </a:lnTo>
                    <a:lnTo>
                      <a:pt x="170" y="162"/>
                    </a:lnTo>
                    <a:lnTo>
                      <a:pt x="170" y="162"/>
                    </a:lnTo>
                    <a:lnTo>
                      <a:pt x="172" y="160"/>
                    </a:lnTo>
                    <a:lnTo>
                      <a:pt x="172" y="158"/>
                    </a:lnTo>
                    <a:lnTo>
                      <a:pt x="172" y="158"/>
                    </a:lnTo>
                    <a:lnTo>
                      <a:pt x="172" y="156"/>
                    </a:lnTo>
                    <a:lnTo>
                      <a:pt x="172" y="156"/>
                    </a:lnTo>
                    <a:lnTo>
                      <a:pt x="172" y="154"/>
                    </a:lnTo>
                    <a:lnTo>
                      <a:pt x="172" y="152"/>
                    </a:lnTo>
                    <a:lnTo>
                      <a:pt x="168" y="150"/>
                    </a:lnTo>
                    <a:lnTo>
                      <a:pt x="168" y="150"/>
                    </a:lnTo>
                    <a:lnTo>
                      <a:pt x="168" y="150"/>
                    </a:lnTo>
                    <a:lnTo>
                      <a:pt x="168" y="150"/>
                    </a:lnTo>
                    <a:lnTo>
                      <a:pt x="166" y="148"/>
                    </a:lnTo>
                    <a:lnTo>
                      <a:pt x="166" y="146"/>
                    </a:lnTo>
                    <a:lnTo>
                      <a:pt x="166" y="146"/>
                    </a:lnTo>
                    <a:lnTo>
                      <a:pt x="164" y="146"/>
                    </a:lnTo>
                    <a:lnTo>
                      <a:pt x="162" y="146"/>
                    </a:lnTo>
                    <a:lnTo>
                      <a:pt x="158" y="146"/>
                    </a:lnTo>
                    <a:lnTo>
                      <a:pt x="158" y="146"/>
                    </a:lnTo>
                    <a:lnTo>
                      <a:pt x="156" y="146"/>
                    </a:lnTo>
                    <a:lnTo>
                      <a:pt x="156" y="146"/>
                    </a:lnTo>
                    <a:lnTo>
                      <a:pt x="156" y="144"/>
                    </a:lnTo>
                    <a:lnTo>
                      <a:pt x="156" y="142"/>
                    </a:lnTo>
                    <a:lnTo>
                      <a:pt x="156" y="142"/>
                    </a:lnTo>
                    <a:lnTo>
                      <a:pt x="156" y="138"/>
                    </a:lnTo>
                    <a:lnTo>
                      <a:pt x="154" y="136"/>
                    </a:lnTo>
                    <a:lnTo>
                      <a:pt x="152" y="134"/>
                    </a:lnTo>
                    <a:lnTo>
                      <a:pt x="152" y="134"/>
                    </a:lnTo>
                    <a:lnTo>
                      <a:pt x="150" y="130"/>
                    </a:lnTo>
                    <a:lnTo>
                      <a:pt x="146" y="126"/>
                    </a:lnTo>
                    <a:lnTo>
                      <a:pt x="146" y="126"/>
                    </a:lnTo>
                    <a:lnTo>
                      <a:pt x="146" y="122"/>
                    </a:lnTo>
                    <a:lnTo>
                      <a:pt x="144" y="122"/>
                    </a:lnTo>
                    <a:lnTo>
                      <a:pt x="144" y="120"/>
                    </a:lnTo>
                    <a:lnTo>
                      <a:pt x="144" y="120"/>
                    </a:lnTo>
                    <a:lnTo>
                      <a:pt x="142" y="120"/>
                    </a:lnTo>
                    <a:lnTo>
                      <a:pt x="140" y="118"/>
                    </a:lnTo>
                    <a:lnTo>
                      <a:pt x="138" y="118"/>
                    </a:lnTo>
                    <a:lnTo>
                      <a:pt x="138" y="118"/>
                    </a:lnTo>
                    <a:lnTo>
                      <a:pt x="138" y="118"/>
                    </a:lnTo>
                    <a:lnTo>
                      <a:pt x="136" y="118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4"/>
                    </a:lnTo>
                    <a:lnTo>
                      <a:pt x="136" y="112"/>
                    </a:lnTo>
                    <a:lnTo>
                      <a:pt x="136" y="110"/>
                    </a:lnTo>
                    <a:lnTo>
                      <a:pt x="136" y="110"/>
                    </a:lnTo>
                    <a:lnTo>
                      <a:pt x="138" y="108"/>
                    </a:lnTo>
                    <a:lnTo>
                      <a:pt x="136" y="106"/>
                    </a:lnTo>
                    <a:lnTo>
                      <a:pt x="136" y="106"/>
                    </a:lnTo>
                    <a:lnTo>
                      <a:pt x="136" y="104"/>
                    </a:lnTo>
                    <a:lnTo>
                      <a:pt x="134" y="102"/>
                    </a:lnTo>
                    <a:lnTo>
                      <a:pt x="130" y="102"/>
                    </a:lnTo>
                    <a:lnTo>
                      <a:pt x="130" y="102"/>
                    </a:lnTo>
                    <a:lnTo>
                      <a:pt x="130" y="102"/>
                    </a:lnTo>
                    <a:lnTo>
                      <a:pt x="128" y="102"/>
                    </a:lnTo>
                    <a:lnTo>
                      <a:pt x="126" y="102"/>
                    </a:lnTo>
                    <a:lnTo>
                      <a:pt x="126" y="100"/>
                    </a:lnTo>
                    <a:lnTo>
                      <a:pt x="122" y="96"/>
                    </a:lnTo>
                    <a:lnTo>
                      <a:pt x="122" y="94"/>
                    </a:lnTo>
                    <a:lnTo>
                      <a:pt x="122" y="94"/>
                    </a:lnTo>
                    <a:lnTo>
                      <a:pt x="122" y="92"/>
                    </a:lnTo>
                    <a:lnTo>
                      <a:pt x="120" y="92"/>
                    </a:lnTo>
                    <a:lnTo>
                      <a:pt x="120" y="90"/>
                    </a:lnTo>
                    <a:lnTo>
                      <a:pt x="118" y="88"/>
                    </a:lnTo>
                    <a:lnTo>
                      <a:pt x="118" y="88"/>
                    </a:lnTo>
                    <a:lnTo>
                      <a:pt x="116" y="88"/>
                    </a:lnTo>
                    <a:lnTo>
                      <a:pt x="114" y="88"/>
                    </a:lnTo>
                    <a:lnTo>
                      <a:pt x="114" y="86"/>
                    </a:lnTo>
                    <a:lnTo>
                      <a:pt x="114" y="86"/>
                    </a:lnTo>
                    <a:lnTo>
                      <a:pt x="114" y="84"/>
                    </a:lnTo>
                    <a:lnTo>
                      <a:pt x="112" y="82"/>
                    </a:lnTo>
                    <a:lnTo>
                      <a:pt x="112" y="82"/>
                    </a:lnTo>
                    <a:lnTo>
                      <a:pt x="112" y="80"/>
                    </a:lnTo>
                    <a:lnTo>
                      <a:pt x="112" y="80"/>
                    </a:lnTo>
                    <a:lnTo>
                      <a:pt x="110" y="80"/>
                    </a:lnTo>
                    <a:lnTo>
                      <a:pt x="108" y="80"/>
                    </a:lnTo>
                    <a:lnTo>
                      <a:pt x="104" y="78"/>
                    </a:lnTo>
                    <a:lnTo>
                      <a:pt x="104" y="78"/>
                    </a:lnTo>
                    <a:lnTo>
                      <a:pt x="104" y="78"/>
                    </a:lnTo>
                    <a:lnTo>
                      <a:pt x="102" y="76"/>
                    </a:lnTo>
                    <a:lnTo>
                      <a:pt x="102" y="74"/>
                    </a:lnTo>
                    <a:lnTo>
                      <a:pt x="100" y="72"/>
                    </a:lnTo>
                    <a:lnTo>
                      <a:pt x="100" y="68"/>
                    </a:lnTo>
                    <a:lnTo>
                      <a:pt x="100" y="66"/>
                    </a:lnTo>
                    <a:lnTo>
                      <a:pt x="98" y="66"/>
                    </a:lnTo>
                    <a:lnTo>
                      <a:pt x="98" y="66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4" y="64"/>
                    </a:lnTo>
                    <a:lnTo>
                      <a:pt x="90" y="64"/>
                    </a:lnTo>
                    <a:lnTo>
                      <a:pt x="88" y="64"/>
                    </a:lnTo>
                    <a:lnTo>
                      <a:pt x="86" y="62"/>
                    </a:lnTo>
                    <a:lnTo>
                      <a:pt x="86" y="62"/>
                    </a:lnTo>
                    <a:lnTo>
                      <a:pt x="86" y="62"/>
                    </a:lnTo>
                    <a:lnTo>
                      <a:pt x="84" y="60"/>
                    </a:lnTo>
                    <a:lnTo>
                      <a:pt x="80" y="56"/>
                    </a:lnTo>
                    <a:lnTo>
                      <a:pt x="80" y="56"/>
                    </a:lnTo>
                    <a:lnTo>
                      <a:pt x="78" y="54"/>
                    </a:lnTo>
                    <a:lnTo>
                      <a:pt x="76" y="52"/>
                    </a:lnTo>
                    <a:lnTo>
                      <a:pt x="74" y="50"/>
                    </a:lnTo>
                    <a:lnTo>
                      <a:pt x="74" y="50"/>
                    </a:lnTo>
                    <a:lnTo>
                      <a:pt x="74" y="46"/>
                    </a:lnTo>
                    <a:lnTo>
                      <a:pt x="72" y="46"/>
                    </a:lnTo>
                    <a:lnTo>
                      <a:pt x="72" y="46"/>
                    </a:lnTo>
                    <a:lnTo>
                      <a:pt x="68" y="40"/>
                    </a:lnTo>
                    <a:lnTo>
                      <a:pt x="62" y="36"/>
                    </a:lnTo>
                    <a:lnTo>
                      <a:pt x="62" y="36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6" y="32"/>
                    </a:lnTo>
                    <a:lnTo>
                      <a:pt x="56" y="32"/>
                    </a:lnTo>
                    <a:lnTo>
                      <a:pt x="52" y="30"/>
                    </a:lnTo>
                    <a:lnTo>
                      <a:pt x="50" y="26"/>
                    </a:lnTo>
                    <a:lnTo>
                      <a:pt x="50" y="26"/>
                    </a:lnTo>
                    <a:lnTo>
                      <a:pt x="48" y="24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2" y="18"/>
                    </a:lnTo>
                    <a:lnTo>
                      <a:pt x="40" y="18"/>
                    </a:lnTo>
                    <a:lnTo>
                      <a:pt x="40" y="18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6" y="10"/>
                    </a:lnTo>
                    <a:lnTo>
                      <a:pt x="36" y="10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28" y="6"/>
                    </a:lnTo>
                    <a:lnTo>
                      <a:pt x="26" y="6"/>
                    </a:lnTo>
                    <a:lnTo>
                      <a:pt x="24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18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77" name="Freeform 750"/>
              <p:cNvSpPr>
                <a:spLocks/>
              </p:cNvSpPr>
              <p:nvPr/>
            </p:nvSpPr>
            <p:spPr bwMode="auto">
              <a:xfrm>
                <a:off x="4243" y="2776"/>
                <a:ext cx="10" cy="10"/>
              </a:xfrm>
              <a:custGeom>
                <a:avLst/>
                <a:gdLst>
                  <a:gd name="T0" fmla="*/ 0 w 10"/>
                  <a:gd name="T1" fmla="*/ 2 h 10"/>
                  <a:gd name="T2" fmla="*/ 0 w 10"/>
                  <a:gd name="T3" fmla="*/ 2 h 10"/>
                  <a:gd name="T4" fmla="*/ 0 w 10"/>
                  <a:gd name="T5" fmla="*/ 2 h 10"/>
                  <a:gd name="T6" fmla="*/ 0 w 10"/>
                  <a:gd name="T7" fmla="*/ 2 h 10"/>
                  <a:gd name="T8" fmla="*/ 0 w 10"/>
                  <a:gd name="T9" fmla="*/ 4 h 10"/>
                  <a:gd name="T10" fmla="*/ 2 w 10"/>
                  <a:gd name="T11" fmla="*/ 6 h 10"/>
                  <a:gd name="T12" fmla="*/ 4 w 10"/>
                  <a:gd name="T13" fmla="*/ 6 h 10"/>
                  <a:gd name="T14" fmla="*/ 8 w 10"/>
                  <a:gd name="T15" fmla="*/ 8 h 10"/>
                  <a:gd name="T16" fmla="*/ 10 w 10"/>
                  <a:gd name="T17" fmla="*/ 10 h 10"/>
                  <a:gd name="T18" fmla="*/ 10 w 10"/>
                  <a:gd name="T19" fmla="*/ 10 h 10"/>
                  <a:gd name="T20" fmla="*/ 10 w 10"/>
                  <a:gd name="T21" fmla="*/ 8 h 10"/>
                  <a:gd name="T22" fmla="*/ 8 w 10"/>
                  <a:gd name="T23" fmla="*/ 6 h 10"/>
                  <a:gd name="T24" fmla="*/ 8 w 10"/>
                  <a:gd name="T25" fmla="*/ 6 h 10"/>
                  <a:gd name="T26" fmla="*/ 8 w 10"/>
                  <a:gd name="T27" fmla="*/ 2 h 10"/>
                  <a:gd name="T28" fmla="*/ 6 w 10"/>
                  <a:gd name="T29" fmla="*/ 2 h 10"/>
                  <a:gd name="T30" fmla="*/ 2 w 10"/>
                  <a:gd name="T31" fmla="*/ 0 h 10"/>
                  <a:gd name="T32" fmla="*/ 0 w 10"/>
                  <a:gd name="T33" fmla="*/ 2 h 10"/>
                  <a:gd name="T34" fmla="*/ 0 w 10"/>
                  <a:gd name="T35" fmla="*/ 2 h 10"/>
                  <a:gd name="T36" fmla="*/ 0 w 10"/>
                  <a:gd name="T37" fmla="*/ 2 h 10"/>
                  <a:gd name="T38" fmla="*/ 0 w 10"/>
                  <a:gd name="T39" fmla="*/ 2 h 10"/>
                  <a:gd name="T40" fmla="*/ 0 w 10"/>
                  <a:gd name="T41" fmla="*/ 2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0" h="10">
                    <a:moveTo>
                      <a:pt x="0" y="2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8" y="8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0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78" name="Freeform 753"/>
              <p:cNvSpPr>
                <a:spLocks/>
              </p:cNvSpPr>
              <p:nvPr/>
            </p:nvSpPr>
            <p:spPr bwMode="auto">
              <a:xfrm>
                <a:off x="4265" y="2798"/>
                <a:ext cx="14" cy="14"/>
              </a:xfrm>
              <a:custGeom>
                <a:avLst/>
                <a:gdLst>
                  <a:gd name="T0" fmla="*/ 0 w 14"/>
                  <a:gd name="T1" fmla="*/ 4 h 14"/>
                  <a:gd name="T2" fmla="*/ 0 w 14"/>
                  <a:gd name="T3" fmla="*/ 4 h 14"/>
                  <a:gd name="T4" fmla="*/ 0 w 14"/>
                  <a:gd name="T5" fmla="*/ 6 h 14"/>
                  <a:gd name="T6" fmla="*/ 0 w 14"/>
                  <a:gd name="T7" fmla="*/ 6 h 14"/>
                  <a:gd name="T8" fmla="*/ 2 w 14"/>
                  <a:gd name="T9" fmla="*/ 8 h 14"/>
                  <a:gd name="T10" fmla="*/ 4 w 14"/>
                  <a:gd name="T11" fmla="*/ 8 h 14"/>
                  <a:gd name="T12" fmla="*/ 4 w 14"/>
                  <a:gd name="T13" fmla="*/ 8 h 14"/>
                  <a:gd name="T14" fmla="*/ 6 w 14"/>
                  <a:gd name="T15" fmla="*/ 10 h 14"/>
                  <a:gd name="T16" fmla="*/ 8 w 14"/>
                  <a:gd name="T17" fmla="*/ 14 h 14"/>
                  <a:gd name="T18" fmla="*/ 10 w 14"/>
                  <a:gd name="T19" fmla="*/ 14 h 14"/>
                  <a:gd name="T20" fmla="*/ 10 w 14"/>
                  <a:gd name="T21" fmla="*/ 14 h 14"/>
                  <a:gd name="T22" fmla="*/ 12 w 14"/>
                  <a:gd name="T23" fmla="*/ 14 h 14"/>
                  <a:gd name="T24" fmla="*/ 12 w 14"/>
                  <a:gd name="T25" fmla="*/ 14 h 14"/>
                  <a:gd name="T26" fmla="*/ 12 w 14"/>
                  <a:gd name="T27" fmla="*/ 14 h 14"/>
                  <a:gd name="T28" fmla="*/ 14 w 14"/>
                  <a:gd name="T29" fmla="*/ 14 h 14"/>
                  <a:gd name="T30" fmla="*/ 14 w 14"/>
                  <a:gd name="T31" fmla="*/ 12 h 14"/>
                  <a:gd name="T32" fmla="*/ 14 w 14"/>
                  <a:gd name="T33" fmla="*/ 12 h 14"/>
                  <a:gd name="T34" fmla="*/ 14 w 14"/>
                  <a:gd name="T35" fmla="*/ 10 h 14"/>
                  <a:gd name="T36" fmla="*/ 12 w 14"/>
                  <a:gd name="T37" fmla="*/ 8 h 14"/>
                  <a:gd name="T38" fmla="*/ 10 w 14"/>
                  <a:gd name="T39" fmla="*/ 6 h 14"/>
                  <a:gd name="T40" fmla="*/ 10 w 14"/>
                  <a:gd name="T41" fmla="*/ 6 h 14"/>
                  <a:gd name="T42" fmla="*/ 8 w 14"/>
                  <a:gd name="T43" fmla="*/ 2 h 14"/>
                  <a:gd name="T44" fmla="*/ 6 w 14"/>
                  <a:gd name="T45" fmla="*/ 2 h 14"/>
                  <a:gd name="T46" fmla="*/ 4 w 14"/>
                  <a:gd name="T47" fmla="*/ 2 h 14"/>
                  <a:gd name="T48" fmla="*/ 2 w 14"/>
                  <a:gd name="T49" fmla="*/ 0 h 14"/>
                  <a:gd name="T50" fmla="*/ 2 w 14"/>
                  <a:gd name="T51" fmla="*/ 0 h 14"/>
                  <a:gd name="T52" fmla="*/ 0 w 14"/>
                  <a:gd name="T53" fmla="*/ 0 h 14"/>
                  <a:gd name="T54" fmla="*/ 0 w 14"/>
                  <a:gd name="T55" fmla="*/ 2 h 14"/>
                  <a:gd name="T56" fmla="*/ 0 w 14"/>
                  <a:gd name="T57" fmla="*/ 2 h 14"/>
                  <a:gd name="T58" fmla="*/ 0 w 14"/>
                  <a:gd name="T59" fmla="*/ 4 h 14"/>
                  <a:gd name="T60" fmla="*/ 0 w 14"/>
                  <a:gd name="T61" fmla="*/ 4 h 14"/>
                  <a:gd name="T62" fmla="*/ 0 w 14"/>
                  <a:gd name="T63" fmla="*/ 4 h 14"/>
                  <a:gd name="T64" fmla="*/ 0 w 14"/>
                  <a:gd name="T65" fmla="*/ 4 h 14"/>
                  <a:gd name="T66" fmla="*/ 0 w 14"/>
                  <a:gd name="T67" fmla="*/ 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4" h="14">
                    <a:moveTo>
                      <a:pt x="0" y="4"/>
                    </a:move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10"/>
                    </a:lnTo>
                    <a:lnTo>
                      <a:pt x="8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4" y="14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0"/>
                    </a:lnTo>
                    <a:lnTo>
                      <a:pt x="12" y="8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79" name="Freeform 755"/>
              <p:cNvSpPr>
                <a:spLocks/>
              </p:cNvSpPr>
              <p:nvPr/>
            </p:nvSpPr>
            <p:spPr bwMode="auto">
              <a:xfrm>
                <a:off x="4289" y="2840"/>
                <a:ext cx="8" cy="12"/>
              </a:xfrm>
              <a:custGeom>
                <a:avLst/>
                <a:gdLst>
                  <a:gd name="T0" fmla="*/ 6 w 8"/>
                  <a:gd name="T1" fmla="*/ 10 h 12"/>
                  <a:gd name="T2" fmla="*/ 6 w 8"/>
                  <a:gd name="T3" fmla="*/ 10 h 12"/>
                  <a:gd name="T4" fmla="*/ 8 w 8"/>
                  <a:gd name="T5" fmla="*/ 12 h 12"/>
                  <a:gd name="T6" fmla="*/ 8 w 8"/>
                  <a:gd name="T7" fmla="*/ 12 h 12"/>
                  <a:gd name="T8" fmla="*/ 8 w 8"/>
                  <a:gd name="T9" fmla="*/ 10 h 12"/>
                  <a:gd name="T10" fmla="*/ 8 w 8"/>
                  <a:gd name="T11" fmla="*/ 10 h 12"/>
                  <a:gd name="T12" fmla="*/ 8 w 8"/>
                  <a:gd name="T13" fmla="*/ 8 h 12"/>
                  <a:gd name="T14" fmla="*/ 8 w 8"/>
                  <a:gd name="T15" fmla="*/ 8 h 12"/>
                  <a:gd name="T16" fmla="*/ 8 w 8"/>
                  <a:gd name="T17" fmla="*/ 8 h 12"/>
                  <a:gd name="T18" fmla="*/ 6 w 8"/>
                  <a:gd name="T19" fmla="*/ 6 h 12"/>
                  <a:gd name="T20" fmla="*/ 4 w 8"/>
                  <a:gd name="T21" fmla="*/ 2 h 12"/>
                  <a:gd name="T22" fmla="*/ 4 w 8"/>
                  <a:gd name="T23" fmla="*/ 2 h 12"/>
                  <a:gd name="T24" fmla="*/ 2 w 8"/>
                  <a:gd name="T25" fmla="*/ 0 h 12"/>
                  <a:gd name="T26" fmla="*/ 2 w 8"/>
                  <a:gd name="T27" fmla="*/ 0 h 12"/>
                  <a:gd name="T28" fmla="*/ 0 w 8"/>
                  <a:gd name="T29" fmla="*/ 2 h 12"/>
                  <a:gd name="T30" fmla="*/ 0 w 8"/>
                  <a:gd name="T31" fmla="*/ 2 h 12"/>
                  <a:gd name="T32" fmla="*/ 0 w 8"/>
                  <a:gd name="T33" fmla="*/ 2 h 12"/>
                  <a:gd name="T34" fmla="*/ 0 w 8"/>
                  <a:gd name="T35" fmla="*/ 4 h 12"/>
                  <a:gd name="T36" fmla="*/ 0 w 8"/>
                  <a:gd name="T37" fmla="*/ 6 h 12"/>
                  <a:gd name="T38" fmla="*/ 0 w 8"/>
                  <a:gd name="T39" fmla="*/ 6 h 12"/>
                  <a:gd name="T40" fmla="*/ 2 w 8"/>
                  <a:gd name="T41" fmla="*/ 8 h 12"/>
                  <a:gd name="T42" fmla="*/ 4 w 8"/>
                  <a:gd name="T43" fmla="*/ 10 h 12"/>
                  <a:gd name="T44" fmla="*/ 4 w 8"/>
                  <a:gd name="T45" fmla="*/ 10 h 12"/>
                  <a:gd name="T46" fmla="*/ 6 w 8"/>
                  <a:gd name="T47" fmla="*/ 10 h 12"/>
                  <a:gd name="T48" fmla="*/ 6 w 8"/>
                  <a:gd name="T49" fmla="*/ 10 h 12"/>
                  <a:gd name="T50" fmla="*/ 6 w 8"/>
                  <a:gd name="T51" fmla="*/ 10 h 12"/>
                  <a:gd name="T52" fmla="*/ 6 w 8"/>
                  <a:gd name="T53" fmla="*/ 10 h 12"/>
                  <a:gd name="T54" fmla="*/ 6 w 8"/>
                  <a:gd name="T55" fmla="*/ 1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" h="12">
                    <a:moveTo>
                      <a:pt x="6" y="10"/>
                    </a:moveTo>
                    <a:lnTo>
                      <a:pt x="6" y="10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6" y="6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80" name="Freeform 756"/>
              <p:cNvSpPr>
                <a:spLocks/>
              </p:cNvSpPr>
              <p:nvPr/>
            </p:nvSpPr>
            <p:spPr bwMode="auto">
              <a:xfrm>
                <a:off x="4303" y="2862"/>
                <a:ext cx="6" cy="8"/>
              </a:xfrm>
              <a:custGeom>
                <a:avLst/>
                <a:gdLst>
                  <a:gd name="T0" fmla="*/ 4 w 6"/>
                  <a:gd name="T1" fmla="*/ 8 h 8"/>
                  <a:gd name="T2" fmla="*/ 4 w 6"/>
                  <a:gd name="T3" fmla="*/ 8 h 8"/>
                  <a:gd name="T4" fmla="*/ 4 w 6"/>
                  <a:gd name="T5" fmla="*/ 8 h 8"/>
                  <a:gd name="T6" fmla="*/ 6 w 6"/>
                  <a:gd name="T7" fmla="*/ 8 h 8"/>
                  <a:gd name="T8" fmla="*/ 6 w 6"/>
                  <a:gd name="T9" fmla="*/ 8 h 8"/>
                  <a:gd name="T10" fmla="*/ 6 w 6"/>
                  <a:gd name="T11" fmla="*/ 8 h 8"/>
                  <a:gd name="T12" fmla="*/ 6 w 6"/>
                  <a:gd name="T13" fmla="*/ 6 h 8"/>
                  <a:gd name="T14" fmla="*/ 6 w 6"/>
                  <a:gd name="T15" fmla="*/ 4 h 8"/>
                  <a:gd name="T16" fmla="*/ 6 w 6"/>
                  <a:gd name="T17" fmla="*/ 4 h 8"/>
                  <a:gd name="T18" fmla="*/ 4 w 6"/>
                  <a:gd name="T19" fmla="*/ 2 h 8"/>
                  <a:gd name="T20" fmla="*/ 4 w 6"/>
                  <a:gd name="T21" fmla="*/ 2 h 8"/>
                  <a:gd name="T22" fmla="*/ 4 w 6"/>
                  <a:gd name="T23" fmla="*/ 2 h 8"/>
                  <a:gd name="T24" fmla="*/ 2 w 6"/>
                  <a:gd name="T25" fmla="*/ 0 h 8"/>
                  <a:gd name="T26" fmla="*/ 2 w 6"/>
                  <a:gd name="T27" fmla="*/ 0 h 8"/>
                  <a:gd name="T28" fmla="*/ 2 w 6"/>
                  <a:gd name="T29" fmla="*/ 0 h 8"/>
                  <a:gd name="T30" fmla="*/ 0 w 6"/>
                  <a:gd name="T31" fmla="*/ 2 h 8"/>
                  <a:gd name="T32" fmla="*/ 0 w 6"/>
                  <a:gd name="T33" fmla="*/ 4 h 8"/>
                  <a:gd name="T34" fmla="*/ 0 w 6"/>
                  <a:gd name="T35" fmla="*/ 4 h 8"/>
                  <a:gd name="T36" fmla="*/ 2 w 6"/>
                  <a:gd name="T37" fmla="*/ 6 h 8"/>
                  <a:gd name="T38" fmla="*/ 2 w 6"/>
                  <a:gd name="T39" fmla="*/ 8 h 8"/>
                  <a:gd name="T40" fmla="*/ 2 w 6"/>
                  <a:gd name="T41" fmla="*/ 8 h 8"/>
                  <a:gd name="T42" fmla="*/ 4 w 6"/>
                  <a:gd name="T43" fmla="*/ 8 h 8"/>
                  <a:gd name="T44" fmla="*/ 4 w 6"/>
                  <a:gd name="T45" fmla="*/ 8 h 8"/>
                  <a:gd name="T46" fmla="*/ 4 w 6"/>
                  <a:gd name="T47" fmla="*/ 8 h 8"/>
                  <a:gd name="T48" fmla="*/ 4 w 6"/>
                  <a:gd name="T49" fmla="*/ 8 h 8"/>
                  <a:gd name="T50" fmla="*/ 4 w 6"/>
                  <a:gd name="T5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" h="8">
                    <a:moveTo>
                      <a:pt x="4" y="8"/>
                    </a:move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81" name="Freeform 758"/>
              <p:cNvSpPr>
                <a:spLocks/>
              </p:cNvSpPr>
              <p:nvPr/>
            </p:nvSpPr>
            <p:spPr bwMode="auto">
              <a:xfrm>
                <a:off x="4313" y="2876"/>
                <a:ext cx="4" cy="6"/>
              </a:xfrm>
              <a:custGeom>
                <a:avLst/>
                <a:gdLst>
                  <a:gd name="T0" fmla="*/ 4 w 4"/>
                  <a:gd name="T1" fmla="*/ 6 h 6"/>
                  <a:gd name="T2" fmla="*/ 4 w 4"/>
                  <a:gd name="T3" fmla="*/ 6 h 6"/>
                  <a:gd name="T4" fmla="*/ 4 w 4"/>
                  <a:gd name="T5" fmla="*/ 4 h 6"/>
                  <a:gd name="T6" fmla="*/ 4 w 4"/>
                  <a:gd name="T7" fmla="*/ 2 h 6"/>
                  <a:gd name="T8" fmla="*/ 4 w 4"/>
                  <a:gd name="T9" fmla="*/ 0 h 6"/>
                  <a:gd name="T10" fmla="*/ 4 w 4"/>
                  <a:gd name="T11" fmla="*/ 0 h 6"/>
                  <a:gd name="T12" fmla="*/ 4 w 4"/>
                  <a:gd name="T13" fmla="*/ 0 h 6"/>
                  <a:gd name="T14" fmla="*/ 4 w 4"/>
                  <a:gd name="T15" fmla="*/ 0 h 6"/>
                  <a:gd name="T16" fmla="*/ 2 w 4"/>
                  <a:gd name="T17" fmla="*/ 0 h 6"/>
                  <a:gd name="T18" fmla="*/ 2 w 4"/>
                  <a:gd name="T19" fmla="*/ 0 h 6"/>
                  <a:gd name="T20" fmla="*/ 0 w 4"/>
                  <a:gd name="T21" fmla="*/ 0 h 6"/>
                  <a:gd name="T22" fmla="*/ 0 w 4"/>
                  <a:gd name="T23" fmla="*/ 2 h 6"/>
                  <a:gd name="T24" fmla="*/ 2 w 4"/>
                  <a:gd name="T25" fmla="*/ 4 h 6"/>
                  <a:gd name="T26" fmla="*/ 2 w 4"/>
                  <a:gd name="T27" fmla="*/ 4 h 6"/>
                  <a:gd name="T28" fmla="*/ 4 w 4"/>
                  <a:gd name="T29" fmla="*/ 6 h 6"/>
                  <a:gd name="T30" fmla="*/ 4 w 4"/>
                  <a:gd name="T31" fmla="*/ 6 h 6"/>
                  <a:gd name="T32" fmla="*/ 4 w 4"/>
                  <a:gd name="T33" fmla="*/ 6 h 6"/>
                  <a:gd name="T34" fmla="*/ 4 w 4"/>
                  <a:gd name="T35" fmla="*/ 6 h 6"/>
                  <a:gd name="T36" fmla="*/ 4 w 4"/>
                  <a:gd name="T37" fmla="*/ 6 h 6"/>
                  <a:gd name="T38" fmla="*/ 4 w 4"/>
                  <a:gd name="T3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" h="6">
                    <a:moveTo>
                      <a:pt x="4" y="6"/>
                    </a:moveTo>
                    <a:lnTo>
                      <a:pt x="4" y="6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82" name="Freeform 760"/>
              <p:cNvSpPr>
                <a:spLocks/>
              </p:cNvSpPr>
              <p:nvPr/>
            </p:nvSpPr>
            <p:spPr bwMode="auto">
              <a:xfrm>
                <a:off x="4335" y="2792"/>
                <a:ext cx="8" cy="6"/>
              </a:xfrm>
              <a:custGeom>
                <a:avLst/>
                <a:gdLst>
                  <a:gd name="T0" fmla="*/ 0 w 8"/>
                  <a:gd name="T1" fmla="*/ 6 h 6"/>
                  <a:gd name="T2" fmla="*/ 0 w 8"/>
                  <a:gd name="T3" fmla="*/ 6 h 6"/>
                  <a:gd name="T4" fmla="*/ 2 w 8"/>
                  <a:gd name="T5" fmla="*/ 6 h 6"/>
                  <a:gd name="T6" fmla="*/ 4 w 8"/>
                  <a:gd name="T7" fmla="*/ 6 h 6"/>
                  <a:gd name="T8" fmla="*/ 6 w 8"/>
                  <a:gd name="T9" fmla="*/ 6 h 6"/>
                  <a:gd name="T10" fmla="*/ 6 w 8"/>
                  <a:gd name="T11" fmla="*/ 6 h 6"/>
                  <a:gd name="T12" fmla="*/ 8 w 8"/>
                  <a:gd name="T13" fmla="*/ 4 h 6"/>
                  <a:gd name="T14" fmla="*/ 8 w 8"/>
                  <a:gd name="T15" fmla="*/ 4 h 6"/>
                  <a:gd name="T16" fmla="*/ 8 w 8"/>
                  <a:gd name="T17" fmla="*/ 2 h 6"/>
                  <a:gd name="T18" fmla="*/ 6 w 8"/>
                  <a:gd name="T19" fmla="*/ 2 h 6"/>
                  <a:gd name="T20" fmla="*/ 6 w 8"/>
                  <a:gd name="T21" fmla="*/ 2 h 6"/>
                  <a:gd name="T22" fmla="*/ 6 w 8"/>
                  <a:gd name="T23" fmla="*/ 0 h 6"/>
                  <a:gd name="T24" fmla="*/ 4 w 8"/>
                  <a:gd name="T25" fmla="*/ 0 h 6"/>
                  <a:gd name="T26" fmla="*/ 2 w 8"/>
                  <a:gd name="T27" fmla="*/ 0 h 6"/>
                  <a:gd name="T28" fmla="*/ 0 w 8"/>
                  <a:gd name="T29" fmla="*/ 0 h 6"/>
                  <a:gd name="T30" fmla="*/ 0 w 8"/>
                  <a:gd name="T31" fmla="*/ 2 h 6"/>
                  <a:gd name="T32" fmla="*/ 0 w 8"/>
                  <a:gd name="T33" fmla="*/ 2 h 6"/>
                  <a:gd name="T34" fmla="*/ 0 w 8"/>
                  <a:gd name="T35" fmla="*/ 4 h 6"/>
                  <a:gd name="T36" fmla="*/ 0 w 8"/>
                  <a:gd name="T37" fmla="*/ 6 h 6"/>
                  <a:gd name="T38" fmla="*/ 0 w 8"/>
                  <a:gd name="T39" fmla="*/ 6 h 6"/>
                  <a:gd name="T40" fmla="*/ 0 w 8"/>
                  <a:gd name="T41" fmla="*/ 6 h 6"/>
                  <a:gd name="T42" fmla="*/ 0 w 8"/>
                  <a:gd name="T43" fmla="*/ 6 h 6"/>
                  <a:gd name="T44" fmla="*/ 0 w 8"/>
                  <a:gd name="T4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8" h="6">
                    <a:moveTo>
                      <a:pt x="0" y="6"/>
                    </a:moveTo>
                    <a:lnTo>
                      <a:pt x="0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83" name="Freeform 761"/>
              <p:cNvSpPr>
                <a:spLocks/>
              </p:cNvSpPr>
              <p:nvPr/>
            </p:nvSpPr>
            <p:spPr bwMode="auto">
              <a:xfrm>
                <a:off x="4335" y="2792"/>
                <a:ext cx="8" cy="6"/>
              </a:xfrm>
              <a:custGeom>
                <a:avLst/>
                <a:gdLst>
                  <a:gd name="T0" fmla="*/ 0 w 8"/>
                  <a:gd name="T1" fmla="*/ 6 h 6"/>
                  <a:gd name="T2" fmla="*/ 0 w 8"/>
                  <a:gd name="T3" fmla="*/ 6 h 6"/>
                  <a:gd name="T4" fmla="*/ 2 w 8"/>
                  <a:gd name="T5" fmla="*/ 6 h 6"/>
                  <a:gd name="T6" fmla="*/ 4 w 8"/>
                  <a:gd name="T7" fmla="*/ 6 h 6"/>
                  <a:gd name="T8" fmla="*/ 6 w 8"/>
                  <a:gd name="T9" fmla="*/ 6 h 6"/>
                  <a:gd name="T10" fmla="*/ 6 w 8"/>
                  <a:gd name="T11" fmla="*/ 6 h 6"/>
                  <a:gd name="T12" fmla="*/ 8 w 8"/>
                  <a:gd name="T13" fmla="*/ 4 h 6"/>
                  <a:gd name="T14" fmla="*/ 8 w 8"/>
                  <a:gd name="T15" fmla="*/ 4 h 6"/>
                  <a:gd name="T16" fmla="*/ 8 w 8"/>
                  <a:gd name="T17" fmla="*/ 2 h 6"/>
                  <a:gd name="T18" fmla="*/ 6 w 8"/>
                  <a:gd name="T19" fmla="*/ 2 h 6"/>
                  <a:gd name="T20" fmla="*/ 6 w 8"/>
                  <a:gd name="T21" fmla="*/ 2 h 6"/>
                  <a:gd name="T22" fmla="*/ 6 w 8"/>
                  <a:gd name="T23" fmla="*/ 0 h 6"/>
                  <a:gd name="T24" fmla="*/ 4 w 8"/>
                  <a:gd name="T25" fmla="*/ 0 h 6"/>
                  <a:gd name="T26" fmla="*/ 2 w 8"/>
                  <a:gd name="T27" fmla="*/ 0 h 6"/>
                  <a:gd name="T28" fmla="*/ 0 w 8"/>
                  <a:gd name="T29" fmla="*/ 0 h 6"/>
                  <a:gd name="T30" fmla="*/ 0 w 8"/>
                  <a:gd name="T31" fmla="*/ 2 h 6"/>
                  <a:gd name="T32" fmla="*/ 0 w 8"/>
                  <a:gd name="T33" fmla="*/ 2 h 6"/>
                  <a:gd name="T34" fmla="*/ 0 w 8"/>
                  <a:gd name="T35" fmla="*/ 4 h 6"/>
                  <a:gd name="T36" fmla="*/ 0 w 8"/>
                  <a:gd name="T37" fmla="*/ 6 h 6"/>
                  <a:gd name="T38" fmla="*/ 0 w 8"/>
                  <a:gd name="T39" fmla="*/ 6 h 6"/>
                  <a:gd name="T40" fmla="*/ 0 w 8"/>
                  <a:gd name="T41" fmla="*/ 6 h 6"/>
                  <a:gd name="T42" fmla="*/ 0 w 8"/>
                  <a:gd name="T43" fmla="*/ 6 h 6"/>
                  <a:gd name="T44" fmla="*/ 0 w 8"/>
                  <a:gd name="T4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8" h="6">
                    <a:moveTo>
                      <a:pt x="0" y="6"/>
                    </a:moveTo>
                    <a:lnTo>
                      <a:pt x="0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84" name="Freeform 762"/>
              <p:cNvSpPr>
                <a:spLocks/>
              </p:cNvSpPr>
              <p:nvPr/>
            </p:nvSpPr>
            <p:spPr bwMode="auto">
              <a:xfrm>
                <a:off x="4345" y="2800"/>
                <a:ext cx="14" cy="12"/>
              </a:xfrm>
              <a:custGeom>
                <a:avLst/>
                <a:gdLst>
                  <a:gd name="T0" fmla="*/ 0 w 14"/>
                  <a:gd name="T1" fmla="*/ 2 h 12"/>
                  <a:gd name="T2" fmla="*/ 0 w 14"/>
                  <a:gd name="T3" fmla="*/ 2 h 12"/>
                  <a:gd name="T4" fmla="*/ 2 w 14"/>
                  <a:gd name="T5" fmla="*/ 4 h 12"/>
                  <a:gd name="T6" fmla="*/ 2 w 14"/>
                  <a:gd name="T7" fmla="*/ 4 h 12"/>
                  <a:gd name="T8" fmla="*/ 4 w 14"/>
                  <a:gd name="T9" fmla="*/ 6 h 12"/>
                  <a:gd name="T10" fmla="*/ 4 w 14"/>
                  <a:gd name="T11" fmla="*/ 6 h 12"/>
                  <a:gd name="T12" fmla="*/ 6 w 14"/>
                  <a:gd name="T13" fmla="*/ 8 h 12"/>
                  <a:gd name="T14" fmla="*/ 8 w 14"/>
                  <a:gd name="T15" fmla="*/ 10 h 12"/>
                  <a:gd name="T16" fmla="*/ 10 w 14"/>
                  <a:gd name="T17" fmla="*/ 12 h 12"/>
                  <a:gd name="T18" fmla="*/ 10 w 14"/>
                  <a:gd name="T19" fmla="*/ 12 h 12"/>
                  <a:gd name="T20" fmla="*/ 12 w 14"/>
                  <a:gd name="T21" fmla="*/ 12 h 12"/>
                  <a:gd name="T22" fmla="*/ 14 w 14"/>
                  <a:gd name="T23" fmla="*/ 12 h 12"/>
                  <a:gd name="T24" fmla="*/ 14 w 14"/>
                  <a:gd name="T25" fmla="*/ 12 h 12"/>
                  <a:gd name="T26" fmla="*/ 14 w 14"/>
                  <a:gd name="T27" fmla="*/ 10 h 12"/>
                  <a:gd name="T28" fmla="*/ 14 w 14"/>
                  <a:gd name="T29" fmla="*/ 10 h 12"/>
                  <a:gd name="T30" fmla="*/ 14 w 14"/>
                  <a:gd name="T31" fmla="*/ 10 h 12"/>
                  <a:gd name="T32" fmla="*/ 14 w 14"/>
                  <a:gd name="T33" fmla="*/ 8 h 12"/>
                  <a:gd name="T34" fmla="*/ 12 w 14"/>
                  <a:gd name="T35" fmla="*/ 6 h 12"/>
                  <a:gd name="T36" fmla="*/ 10 w 14"/>
                  <a:gd name="T37" fmla="*/ 4 h 12"/>
                  <a:gd name="T38" fmla="*/ 10 w 14"/>
                  <a:gd name="T39" fmla="*/ 4 h 12"/>
                  <a:gd name="T40" fmla="*/ 8 w 14"/>
                  <a:gd name="T41" fmla="*/ 4 h 12"/>
                  <a:gd name="T42" fmla="*/ 6 w 14"/>
                  <a:gd name="T43" fmla="*/ 4 h 12"/>
                  <a:gd name="T44" fmla="*/ 6 w 14"/>
                  <a:gd name="T45" fmla="*/ 4 h 12"/>
                  <a:gd name="T46" fmla="*/ 6 w 14"/>
                  <a:gd name="T47" fmla="*/ 4 h 12"/>
                  <a:gd name="T48" fmla="*/ 6 w 14"/>
                  <a:gd name="T49" fmla="*/ 2 h 12"/>
                  <a:gd name="T50" fmla="*/ 4 w 14"/>
                  <a:gd name="T51" fmla="*/ 0 h 12"/>
                  <a:gd name="T52" fmla="*/ 2 w 14"/>
                  <a:gd name="T53" fmla="*/ 0 h 12"/>
                  <a:gd name="T54" fmla="*/ 2 w 14"/>
                  <a:gd name="T55" fmla="*/ 0 h 12"/>
                  <a:gd name="T56" fmla="*/ 2 w 14"/>
                  <a:gd name="T57" fmla="*/ 0 h 12"/>
                  <a:gd name="T58" fmla="*/ 0 w 14"/>
                  <a:gd name="T59" fmla="*/ 2 h 12"/>
                  <a:gd name="T60" fmla="*/ 0 w 14"/>
                  <a:gd name="T61" fmla="*/ 2 h 12"/>
                  <a:gd name="T62" fmla="*/ 0 w 14"/>
                  <a:gd name="T63" fmla="*/ 2 h 12"/>
                  <a:gd name="T64" fmla="*/ 0 w 14"/>
                  <a:gd name="T65" fmla="*/ 2 h 12"/>
                  <a:gd name="T66" fmla="*/ 0 w 14"/>
                  <a:gd name="T67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4" h="12">
                    <a:moveTo>
                      <a:pt x="0" y="2"/>
                    </a:moveTo>
                    <a:lnTo>
                      <a:pt x="0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8"/>
                    </a:lnTo>
                    <a:lnTo>
                      <a:pt x="8" y="10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2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8"/>
                    </a:lnTo>
                    <a:lnTo>
                      <a:pt x="12" y="6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8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85" name="Freeform 764"/>
              <p:cNvSpPr>
                <a:spLocks/>
              </p:cNvSpPr>
              <p:nvPr/>
            </p:nvSpPr>
            <p:spPr bwMode="auto">
              <a:xfrm>
                <a:off x="4381" y="2826"/>
                <a:ext cx="10" cy="10"/>
              </a:xfrm>
              <a:custGeom>
                <a:avLst/>
                <a:gdLst>
                  <a:gd name="T0" fmla="*/ 6 w 10"/>
                  <a:gd name="T1" fmla="*/ 8 h 10"/>
                  <a:gd name="T2" fmla="*/ 6 w 10"/>
                  <a:gd name="T3" fmla="*/ 8 h 10"/>
                  <a:gd name="T4" fmla="*/ 8 w 10"/>
                  <a:gd name="T5" fmla="*/ 10 h 10"/>
                  <a:gd name="T6" fmla="*/ 8 w 10"/>
                  <a:gd name="T7" fmla="*/ 10 h 10"/>
                  <a:gd name="T8" fmla="*/ 10 w 10"/>
                  <a:gd name="T9" fmla="*/ 8 h 10"/>
                  <a:gd name="T10" fmla="*/ 10 w 10"/>
                  <a:gd name="T11" fmla="*/ 8 h 10"/>
                  <a:gd name="T12" fmla="*/ 10 w 10"/>
                  <a:gd name="T13" fmla="*/ 6 h 10"/>
                  <a:gd name="T14" fmla="*/ 10 w 10"/>
                  <a:gd name="T15" fmla="*/ 6 h 10"/>
                  <a:gd name="T16" fmla="*/ 8 w 10"/>
                  <a:gd name="T17" fmla="*/ 6 h 10"/>
                  <a:gd name="T18" fmla="*/ 8 w 10"/>
                  <a:gd name="T19" fmla="*/ 4 h 10"/>
                  <a:gd name="T20" fmla="*/ 6 w 10"/>
                  <a:gd name="T21" fmla="*/ 2 h 10"/>
                  <a:gd name="T22" fmla="*/ 4 w 10"/>
                  <a:gd name="T23" fmla="*/ 2 h 10"/>
                  <a:gd name="T24" fmla="*/ 4 w 10"/>
                  <a:gd name="T25" fmla="*/ 0 h 10"/>
                  <a:gd name="T26" fmla="*/ 2 w 10"/>
                  <a:gd name="T27" fmla="*/ 0 h 10"/>
                  <a:gd name="T28" fmla="*/ 2 w 10"/>
                  <a:gd name="T29" fmla="*/ 2 h 10"/>
                  <a:gd name="T30" fmla="*/ 0 w 10"/>
                  <a:gd name="T31" fmla="*/ 2 h 10"/>
                  <a:gd name="T32" fmla="*/ 0 w 10"/>
                  <a:gd name="T33" fmla="*/ 2 h 10"/>
                  <a:gd name="T34" fmla="*/ 0 w 10"/>
                  <a:gd name="T35" fmla="*/ 4 h 10"/>
                  <a:gd name="T36" fmla="*/ 0 w 10"/>
                  <a:gd name="T37" fmla="*/ 4 h 10"/>
                  <a:gd name="T38" fmla="*/ 2 w 10"/>
                  <a:gd name="T39" fmla="*/ 6 h 10"/>
                  <a:gd name="T40" fmla="*/ 6 w 10"/>
                  <a:gd name="T41" fmla="*/ 8 h 10"/>
                  <a:gd name="T42" fmla="*/ 6 w 10"/>
                  <a:gd name="T43" fmla="*/ 8 h 10"/>
                  <a:gd name="T44" fmla="*/ 6 w 10"/>
                  <a:gd name="T45" fmla="*/ 8 h 10"/>
                  <a:gd name="T46" fmla="*/ 6 w 10"/>
                  <a:gd name="T47" fmla="*/ 8 h 10"/>
                  <a:gd name="T48" fmla="*/ 6 w 10"/>
                  <a:gd name="T49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0" h="10">
                    <a:moveTo>
                      <a:pt x="6" y="8"/>
                    </a:moveTo>
                    <a:lnTo>
                      <a:pt x="6" y="8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86" name="Freeform 766"/>
              <p:cNvSpPr>
                <a:spLocks/>
              </p:cNvSpPr>
              <p:nvPr/>
            </p:nvSpPr>
            <p:spPr bwMode="auto">
              <a:xfrm>
                <a:off x="4391" y="2848"/>
                <a:ext cx="26" cy="28"/>
              </a:xfrm>
              <a:custGeom>
                <a:avLst/>
                <a:gdLst>
                  <a:gd name="T0" fmla="*/ 0 w 26"/>
                  <a:gd name="T1" fmla="*/ 8 h 28"/>
                  <a:gd name="T2" fmla="*/ 0 w 26"/>
                  <a:gd name="T3" fmla="*/ 12 h 28"/>
                  <a:gd name="T4" fmla="*/ 4 w 26"/>
                  <a:gd name="T5" fmla="*/ 14 h 28"/>
                  <a:gd name="T6" fmla="*/ 4 w 26"/>
                  <a:gd name="T7" fmla="*/ 14 h 28"/>
                  <a:gd name="T8" fmla="*/ 6 w 26"/>
                  <a:gd name="T9" fmla="*/ 12 h 28"/>
                  <a:gd name="T10" fmla="*/ 8 w 26"/>
                  <a:gd name="T11" fmla="*/ 12 h 28"/>
                  <a:gd name="T12" fmla="*/ 8 w 26"/>
                  <a:gd name="T13" fmla="*/ 12 h 28"/>
                  <a:gd name="T14" fmla="*/ 10 w 26"/>
                  <a:gd name="T15" fmla="*/ 14 h 28"/>
                  <a:gd name="T16" fmla="*/ 10 w 26"/>
                  <a:gd name="T17" fmla="*/ 18 h 28"/>
                  <a:gd name="T18" fmla="*/ 12 w 26"/>
                  <a:gd name="T19" fmla="*/ 22 h 28"/>
                  <a:gd name="T20" fmla="*/ 14 w 26"/>
                  <a:gd name="T21" fmla="*/ 24 h 28"/>
                  <a:gd name="T22" fmla="*/ 16 w 26"/>
                  <a:gd name="T23" fmla="*/ 26 h 28"/>
                  <a:gd name="T24" fmla="*/ 22 w 26"/>
                  <a:gd name="T25" fmla="*/ 28 h 28"/>
                  <a:gd name="T26" fmla="*/ 24 w 26"/>
                  <a:gd name="T27" fmla="*/ 28 h 28"/>
                  <a:gd name="T28" fmla="*/ 26 w 26"/>
                  <a:gd name="T29" fmla="*/ 26 h 28"/>
                  <a:gd name="T30" fmla="*/ 26 w 26"/>
                  <a:gd name="T31" fmla="*/ 24 h 28"/>
                  <a:gd name="T32" fmla="*/ 26 w 26"/>
                  <a:gd name="T33" fmla="*/ 22 h 28"/>
                  <a:gd name="T34" fmla="*/ 24 w 26"/>
                  <a:gd name="T35" fmla="*/ 20 h 28"/>
                  <a:gd name="T36" fmla="*/ 22 w 26"/>
                  <a:gd name="T37" fmla="*/ 18 h 28"/>
                  <a:gd name="T38" fmla="*/ 22 w 26"/>
                  <a:gd name="T39" fmla="*/ 16 h 28"/>
                  <a:gd name="T40" fmla="*/ 22 w 26"/>
                  <a:gd name="T41" fmla="*/ 14 h 28"/>
                  <a:gd name="T42" fmla="*/ 20 w 26"/>
                  <a:gd name="T43" fmla="*/ 8 h 28"/>
                  <a:gd name="T44" fmla="*/ 16 w 26"/>
                  <a:gd name="T45" fmla="*/ 6 h 28"/>
                  <a:gd name="T46" fmla="*/ 14 w 26"/>
                  <a:gd name="T47" fmla="*/ 4 h 28"/>
                  <a:gd name="T48" fmla="*/ 10 w 26"/>
                  <a:gd name="T49" fmla="*/ 0 h 28"/>
                  <a:gd name="T50" fmla="*/ 8 w 26"/>
                  <a:gd name="T51" fmla="*/ 0 h 28"/>
                  <a:gd name="T52" fmla="*/ 8 w 26"/>
                  <a:gd name="T53" fmla="*/ 0 h 28"/>
                  <a:gd name="T54" fmla="*/ 6 w 26"/>
                  <a:gd name="T55" fmla="*/ 2 h 28"/>
                  <a:gd name="T56" fmla="*/ 4 w 26"/>
                  <a:gd name="T57" fmla="*/ 4 h 28"/>
                  <a:gd name="T58" fmla="*/ 2 w 26"/>
                  <a:gd name="T59" fmla="*/ 6 h 28"/>
                  <a:gd name="T60" fmla="*/ 0 w 26"/>
                  <a:gd name="T61" fmla="*/ 8 h 28"/>
                  <a:gd name="T62" fmla="*/ 0 w 26"/>
                  <a:gd name="T63" fmla="*/ 8 h 28"/>
                  <a:gd name="T64" fmla="*/ 0 w 26"/>
                  <a:gd name="T65" fmla="*/ 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6" h="28">
                    <a:moveTo>
                      <a:pt x="0" y="8"/>
                    </a:moveTo>
                    <a:lnTo>
                      <a:pt x="0" y="8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4" y="24"/>
                    </a:lnTo>
                    <a:lnTo>
                      <a:pt x="14" y="26"/>
                    </a:lnTo>
                    <a:lnTo>
                      <a:pt x="16" y="26"/>
                    </a:lnTo>
                    <a:lnTo>
                      <a:pt x="20" y="28"/>
                    </a:lnTo>
                    <a:lnTo>
                      <a:pt x="22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4"/>
                    </a:lnTo>
                    <a:lnTo>
                      <a:pt x="26" y="24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4" y="20"/>
                    </a:lnTo>
                    <a:lnTo>
                      <a:pt x="24" y="20"/>
                    </a:lnTo>
                    <a:lnTo>
                      <a:pt x="22" y="18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0" y="8"/>
                    </a:lnTo>
                    <a:lnTo>
                      <a:pt x="18" y="8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4" y="4"/>
                    </a:lnTo>
                    <a:lnTo>
                      <a:pt x="12" y="2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87" name="Freeform 768"/>
              <p:cNvSpPr>
                <a:spLocks/>
              </p:cNvSpPr>
              <p:nvPr/>
            </p:nvSpPr>
            <p:spPr bwMode="auto">
              <a:xfrm>
                <a:off x="4425" y="2870"/>
                <a:ext cx="14" cy="12"/>
              </a:xfrm>
              <a:custGeom>
                <a:avLst/>
                <a:gdLst>
                  <a:gd name="T0" fmla="*/ 0 w 14"/>
                  <a:gd name="T1" fmla="*/ 6 h 12"/>
                  <a:gd name="T2" fmla="*/ 0 w 14"/>
                  <a:gd name="T3" fmla="*/ 6 h 12"/>
                  <a:gd name="T4" fmla="*/ 0 w 14"/>
                  <a:gd name="T5" fmla="*/ 8 h 12"/>
                  <a:gd name="T6" fmla="*/ 0 w 14"/>
                  <a:gd name="T7" fmla="*/ 8 h 12"/>
                  <a:gd name="T8" fmla="*/ 2 w 14"/>
                  <a:gd name="T9" fmla="*/ 10 h 12"/>
                  <a:gd name="T10" fmla="*/ 2 w 14"/>
                  <a:gd name="T11" fmla="*/ 12 h 12"/>
                  <a:gd name="T12" fmla="*/ 2 w 14"/>
                  <a:gd name="T13" fmla="*/ 12 h 12"/>
                  <a:gd name="T14" fmla="*/ 4 w 14"/>
                  <a:gd name="T15" fmla="*/ 12 h 12"/>
                  <a:gd name="T16" fmla="*/ 6 w 14"/>
                  <a:gd name="T17" fmla="*/ 12 h 12"/>
                  <a:gd name="T18" fmla="*/ 8 w 14"/>
                  <a:gd name="T19" fmla="*/ 10 h 12"/>
                  <a:gd name="T20" fmla="*/ 8 w 14"/>
                  <a:gd name="T21" fmla="*/ 10 h 12"/>
                  <a:gd name="T22" fmla="*/ 8 w 14"/>
                  <a:gd name="T23" fmla="*/ 10 h 12"/>
                  <a:gd name="T24" fmla="*/ 10 w 14"/>
                  <a:gd name="T25" fmla="*/ 10 h 12"/>
                  <a:gd name="T26" fmla="*/ 10 w 14"/>
                  <a:gd name="T27" fmla="*/ 10 h 12"/>
                  <a:gd name="T28" fmla="*/ 10 w 14"/>
                  <a:gd name="T29" fmla="*/ 10 h 12"/>
                  <a:gd name="T30" fmla="*/ 10 w 14"/>
                  <a:gd name="T31" fmla="*/ 10 h 12"/>
                  <a:gd name="T32" fmla="*/ 12 w 14"/>
                  <a:gd name="T33" fmla="*/ 10 h 12"/>
                  <a:gd name="T34" fmla="*/ 12 w 14"/>
                  <a:gd name="T35" fmla="*/ 10 h 12"/>
                  <a:gd name="T36" fmla="*/ 12 w 14"/>
                  <a:gd name="T37" fmla="*/ 10 h 12"/>
                  <a:gd name="T38" fmla="*/ 12 w 14"/>
                  <a:gd name="T39" fmla="*/ 12 h 12"/>
                  <a:gd name="T40" fmla="*/ 14 w 14"/>
                  <a:gd name="T41" fmla="*/ 12 h 12"/>
                  <a:gd name="T42" fmla="*/ 14 w 14"/>
                  <a:gd name="T43" fmla="*/ 10 h 12"/>
                  <a:gd name="T44" fmla="*/ 14 w 14"/>
                  <a:gd name="T45" fmla="*/ 8 h 12"/>
                  <a:gd name="T46" fmla="*/ 14 w 14"/>
                  <a:gd name="T47" fmla="*/ 8 h 12"/>
                  <a:gd name="T48" fmla="*/ 14 w 14"/>
                  <a:gd name="T49" fmla="*/ 8 h 12"/>
                  <a:gd name="T50" fmla="*/ 14 w 14"/>
                  <a:gd name="T51" fmla="*/ 6 h 12"/>
                  <a:gd name="T52" fmla="*/ 14 w 14"/>
                  <a:gd name="T53" fmla="*/ 4 h 12"/>
                  <a:gd name="T54" fmla="*/ 12 w 14"/>
                  <a:gd name="T55" fmla="*/ 2 h 12"/>
                  <a:gd name="T56" fmla="*/ 12 w 14"/>
                  <a:gd name="T57" fmla="*/ 2 h 12"/>
                  <a:gd name="T58" fmla="*/ 10 w 14"/>
                  <a:gd name="T59" fmla="*/ 0 h 12"/>
                  <a:gd name="T60" fmla="*/ 8 w 14"/>
                  <a:gd name="T61" fmla="*/ 0 h 12"/>
                  <a:gd name="T62" fmla="*/ 8 w 14"/>
                  <a:gd name="T63" fmla="*/ 0 h 12"/>
                  <a:gd name="T64" fmla="*/ 6 w 14"/>
                  <a:gd name="T65" fmla="*/ 0 h 12"/>
                  <a:gd name="T66" fmla="*/ 4 w 14"/>
                  <a:gd name="T67" fmla="*/ 0 h 12"/>
                  <a:gd name="T68" fmla="*/ 4 w 14"/>
                  <a:gd name="T69" fmla="*/ 0 h 12"/>
                  <a:gd name="T70" fmla="*/ 2 w 14"/>
                  <a:gd name="T71" fmla="*/ 2 h 12"/>
                  <a:gd name="T72" fmla="*/ 2 w 14"/>
                  <a:gd name="T73" fmla="*/ 2 h 12"/>
                  <a:gd name="T74" fmla="*/ 0 w 14"/>
                  <a:gd name="T75" fmla="*/ 4 h 12"/>
                  <a:gd name="T76" fmla="*/ 0 w 14"/>
                  <a:gd name="T77" fmla="*/ 6 h 12"/>
                  <a:gd name="T78" fmla="*/ 0 w 14"/>
                  <a:gd name="T79" fmla="*/ 6 h 12"/>
                  <a:gd name="T80" fmla="*/ 0 w 14"/>
                  <a:gd name="T81" fmla="*/ 6 h 12"/>
                  <a:gd name="T82" fmla="*/ 0 w 14"/>
                  <a:gd name="T83" fmla="*/ 6 h 12"/>
                  <a:gd name="T84" fmla="*/ 0 w 14"/>
                  <a:gd name="T85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4" h="12">
                    <a:moveTo>
                      <a:pt x="0" y="6"/>
                    </a:moveTo>
                    <a:lnTo>
                      <a:pt x="0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2"/>
                    </a:lnTo>
                    <a:lnTo>
                      <a:pt x="14" y="12"/>
                    </a:lnTo>
                    <a:lnTo>
                      <a:pt x="14" y="10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6"/>
                    </a:lnTo>
                    <a:lnTo>
                      <a:pt x="14" y="4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88" name="Freeform 770"/>
              <p:cNvSpPr>
                <a:spLocks/>
              </p:cNvSpPr>
              <p:nvPr/>
            </p:nvSpPr>
            <p:spPr bwMode="auto">
              <a:xfrm>
                <a:off x="4395" y="2940"/>
                <a:ext cx="148" cy="62"/>
              </a:xfrm>
              <a:custGeom>
                <a:avLst/>
                <a:gdLst>
                  <a:gd name="T0" fmla="*/ 28 w 148"/>
                  <a:gd name="T1" fmla="*/ 2 h 62"/>
                  <a:gd name="T2" fmla="*/ 20 w 148"/>
                  <a:gd name="T3" fmla="*/ 2 h 62"/>
                  <a:gd name="T4" fmla="*/ 14 w 148"/>
                  <a:gd name="T5" fmla="*/ 0 h 62"/>
                  <a:gd name="T6" fmla="*/ 8 w 148"/>
                  <a:gd name="T7" fmla="*/ 2 h 62"/>
                  <a:gd name="T8" fmla="*/ 6 w 148"/>
                  <a:gd name="T9" fmla="*/ 6 h 62"/>
                  <a:gd name="T10" fmla="*/ 6 w 148"/>
                  <a:gd name="T11" fmla="*/ 12 h 62"/>
                  <a:gd name="T12" fmla="*/ 0 w 148"/>
                  <a:gd name="T13" fmla="*/ 18 h 62"/>
                  <a:gd name="T14" fmla="*/ 2 w 148"/>
                  <a:gd name="T15" fmla="*/ 20 h 62"/>
                  <a:gd name="T16" fmla="*/ 14 w 148"/>
                  <a:gd name="T17" fmla="*/ 18 h 62"/>
                  <a:gd name="T18" fmla="*/ 18 w 148"/>
                  <a:gd name="T19" fmla="*/ 18 h 62"/>
                  <a:gd name="T20" fmla="*/ 14 w 148"/>
                  <a:gd name="T21" fmla="*/ 24 h 62"/>
                  <a:gd name="T22" fmla="*/ 12 w 148"/>
                  <a:gd name="T23" fmla="*/ 26 h 62"/>
                  <a:gd name="T24" fmla="*/ 16 w 148"/>
                  <a:gd name="T25" fmla="*/ 26 h 62"/>
                  <a:gd name="T26" fmla="*/ 22 w 148"/>
                  <a:gd name="T27" fmla="*/ 26 h 62"/>
                  <a:gd name="T28" fmla="*/ 26 w 148"/>
                  <a:gd name="T29" fmla="*/ 26 h 62"/>
                  <a:gd name="T30" fmla="*/ 30 w 148"/>
                  <a:gd name="T31" fmla="*/ 28 h 62"/>
                  <a:gd name="T32" fmla="*/ 38 w 148"/>
                  <a:gd name="T33" fmla="*/ 30 h 62"/>
                  <a:gd name="T34" fmla="*/ 42 w 148"/>
                  <a:gd name="T35" fmla="*/ 34 h 62"/>
                  <a:gd name="T36" fmla="*/ 54 w 148"/>
                  <a:gd name="T37" fmla="*/ 36 h 62"/>
                  <a:gd name="T38" fmla="*/ 58 w 148"/>
                  <a:gd name="T39" fmla="*/ 34 h 62"/>
                  <a:gd name="T40" fmla="*/ 60 w 148"/>
                  <a:gd name="T41" fmla="*/ 34 h 62"/>
                  <a:gd name="T42" fmla="*/ 62 w 148"/>
                  <a:gd name="T43" fmla="*/ 36 h 62"/>
                  <a:gd name="T44" fmla="*/ 70 w 148"/>
                  <a:gd name="T45" fmla="*/ 36 h 62"/>
                  <a:gd name="T46" fmla="*/ 76 w 148"/>
                  <a:gd name="T47" fmla="*/ 40 h 62"/>
                  <a:gd name="T48" fmla="*/ 82 w 148"/>
                  <a:gd name="T49" fmla="*/ 44 h 62"/>
                  <a:gd name="T50" fmla="*/ 86 w 148"/>
                  <a:gd name="T51" fmla="*/ 48 h 62"/>
                  <a:gd name="T52" fmla="*/ 96 w 148"/>
                  <a:gd name="T53" fmla="*/ 50 h 62"/>
                  <a:gd name="T54" fmla="*/ 106 w 148"/>
                  <a:gd name="T55" fmla="*/ 50 h 62"/>
                  <a:gd name="T56" fmla="*/ 122 w 148"/>
                  <a:gd name="T57" fmla="*/ 52 h 62"/>
                  <a:gd name="T58" fmla="*/ 132 w 148"/>
                  <a:gd name="T59" fmla="*/ 58 h 62"/>
                  <a:gd name="T60" fmla="*/ 138 w 148"/>
                  <a:gd name="T61" fmla="*/ 60 h 62"/>
                  <a:gd name="T62" fmla="*/ 146 w 148"/>
                  <a:gd name="T63" fmla="*/ 60 h 62"/>
                  <a:gd name="T64" fmla="*/ 146 w 148"/>
                  <a:gd name="T65" fmla="*/ 56 h 62"/>
                  <a:gd name="T66" fmla="*/ 142 w 148"/>
                  <a:gd name="T67" fmla="*/ 52 h 62"/>
                  <a:gd name="T68" fmla="*/ 144 w 148"/>
                  <a:gd name="T69" fmla="*/ 48 h 62"/>
                  <a:gd name="T70" fmla="*/ 144 w 148"/>
                  <a:gd name="T71" fmla="*/ 44 h 62"/>
                  <a:gd name="T72" fmla="*/ 142 w 148"/>
                  <a:gd name="T73" fmla="*/ 42 h 62"/>
                  <a:gd name="T74" fmla="*/ 140 w 148"/>
                  <a:gd name="T75" fmla="*/ 40 h 62"/>
                  <a:gd name="T76" fmla="*/ 136 w 148"/>
                  <a:gd name="T77" fmla="*/ 40 h 62"/>
                  <a:gd name="T78" fmla="*/ 132 w 148"/>
                  <a:gd name="T79" fmla="*/ 38 h 62"/>
                  <a:gd name="T80" fmla="*/ 126 w 148"/>
                  <a:gd name="T81" fmla="*/ 40 h 62"/>
                  <a:gd name="T82" fmla="*/ 124 w 148"/>
                  <a:gd name="T83" fmla="*/ 44 h 62"/>
                  <a:gd name="T84" fmla="*/ 122 w 148"/>
                  <a:gd name="T85" fmla="*/ 44 h 62"/>
                  <a:gd name="T86" fmla="*/ 116 w 148"/>
                  <a:gd name="T87" fmla="*/ 38 h 62"/>
                  <a:gd name="T88" fmla="*/ 118 w 148"/>
                  <a:gd name="T89" fmla="*/ 34 h 62"/>
                  <a:gd name="T90" fmla="*/ 120 w 148"/>
                  <a:gd name="T91" fmla="*/ 30 h 62"/>
                  <a:gd name="T92" fmla="*/ 116 w 148"/>
                  <a:gd name="T93" fmla="*/ 24 h 62"/>
                  <a:gd name="T94" fmla="*/ 108 w 148"/>
                  <a:gd name="T95" fmla="*/ 20 h 62"/>
                  <a:gd name="T96" fmla="*/ 98 w 148"/>
                  <a:gd name="T97" fmla="*/ 18 h 62"/>
                  <a:gd name="T98" fmla="*/ 94 w 148"/>
                  <a:gd name="T99" fmla="*/ 14 h 62"/>
                  <a:gd name="T100" fmla="*/ 88 w 148"/>
                  <a:gd name="T101" fmla="*/ 14 h 62"/>
                  <a:gd name="T102" fmla="*/ 82 w 148"/>
                  <a:gd name="T103" fmla="*/ 18 h 62"/>
                  <a:gd name="T104" fmla="*/ 78 w 148"/>
                  <a:gd name="T105" fmla="*/ 20 h 62"/>
                  <a:gd name="T106" fmla="*/ 72 w 148"/>
                  <a:gd name="T107" fmla="*/ 18 h 62"/>
                  <a:gd name="T108" fmla="*/ 60 w 148"/>
                  <a:gd name="T109" fmla="*/ 18 h 62"/>
                  <a:gd name="T110" fmla="*/ 54 w 148"/>
                  <a:gd name="T111" fmla="*/ 16 h 62"/>
                  <a:gd name="T112" fmla="*/ 46 w 148"/>
                  <a:gd name="T113" fmla="*/ 10 h 62"/>
                  <a:gd name="T114" fmla="*/ 38 w 148"/>
                  <a:gd name="T115" fmla="*/ 8 h 62"/>
                  <a:gd name="T116" fmla="*/ 30 w 148"/>
                  <a:gd name="T117" fmla="*/ 4 h 62"/>
                  <a:gd name="T118" fmla="*/ 30 w 148"/>
                  <a:gd name="T119" fmla="*/ 4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48" h="62">
                    <a:moveTo>
                      <a:pt x="30" y="4"/>
                    </a:moveTo>
                    <a:lnTo>
                      <a:pt x="30" y="4"/>
                    </a:lnTo>
                    <a:lnTo>
                      <a:pt x="28" y="4"/>
                    </a:lnTo>
                    <a:lnTo>
                      <a:pt x="28" y="2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2" y="2"/>
                    </a:lnTo>
                    <a:lnTo>
                      <a:pt x="20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2"/>
                    </a:lnTo>
                    <a:lnTo>
                      <a:pt x="8" y="2"/>
                    </a:lnTo>
                    <a:lnTo>
                      <a:pt x="8" y="4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6" y="6"/>
                    </a:lnTo>
                    <a:lnTo>
                      <a:pt x="6" y="8"/>
                    </a:lnTo>
                    <a:lnTo>
                      <a:pt x="6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4"/>
                    </a:lnTo>
                    <a:lnTo>
                      <a:pt x="4" y="14"/>
                    </a:lnTo>
                    <a:lnTo>
                      <a:pt x="2" y="18"/>
                    </a:lnTo>
                    <a:lnTo>
                      <a:pt x="0" y="18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12" y="18"/>
                    </a:lnTo>
                    <a:lnTo>
                      <a:pt x="14" y="18"/>
                    </a:lnTo>
                    <a:lnTo>
                      <a:pt x="16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6" y="22"/>
                    </a:lnTo>
                    <a:lnTo>
                      <a:pt x="14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4" y="26"/>
                    </a:lnTo>
                    <a:lnTo>
                      <a:pt x="16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20" y="26"/>
                    </a:lnTo>
                    <a:lnTo>
                      <a:pt x="22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6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2" y="28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8" y="30"/>
                    </a:lnTo>
                    <a:lnTo>
                      <a:pt x="38" y="32"/>
                    </a:lnTo>
                    <a:lnTo>
                      <a:pt x="40" y="32"/>
                    </a:lnTo>
                    <a:lnTo>
                      <a:pt x="42" y="34"/>
                    </a:lnTo>
                    <a:lnTo>
                      <a:pt x="42" y="34"/>
                    </a:lnTo>
                    <a:lnTo>
                      <a:pt x="44" y="34"/>
                    </a:lnTo>
                    <a:lnTo>
                      <a:pt x="48" y="36"/>
                    </a:lnTo>
                    <a:lnTo>
                      <a:pt x="52" y="36"/>
                    </a:lnTo>
                    <a:lnTo>
                      <a:pt x="54" y="36"/>
                    </a:lnTo>
                    <a:lnTo>
                      <a:pt x="56" y="34"/>
                    </a:lnTo>
                    <a:lnTo>
                      <a:pt x="56" y="34"/>
                    </a:lnTo>
                    <a:lnTo>
                      <a:pt x="56" y="34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2" y="36"/>
                    </a:lnTo>
                    <a:lnTo>
                      <a:pt x="62" y="36"/>
                    </a:lnTo>
                    <a:lnTo>
                      <a:pt x="62" y="36"/>
                    </a:lnTo>
                    <a:lnTo>
                      <a:pt x="64" y="36"/>
                    </a:lnTo>
                    <a:lnTo>
                      <a:pt x="68" y="36"/>
                    </a:lnTo>
                    <a:lnTo>
                      <a:pt x="68" y="36"/>
                    </a:lnTo>
                    <a:lnTo>
                      <a:pt x="70" y="36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4" y="38"/>
                    </a:lnTo>
                    <a:lnTo>
                      <a:pt x="76" y="40"/>
                    </a:lnTo>
                    <a:lnTo>
                      <a:pt x="80" y="42"/>
                    </a:lnTo>
                    <a:lnTo>
                      <a:pt x="80" y="42"/>
                    </a:lnTo>
                    <a:lnTo>
                      <a:pt x="80" y="44"/>
                    </a:lnTo>
                    <a:lnTo>
                      <a:pt x="82" y="44"/>
                    </a:lnTo>
                    <a:lnTo>
                      <a:pt x="82" y="46"/>
                    </a:lnTo>
                    <a:lnTo>
                      <a:pt x="84" y="48"/>
                    </a:lnTo>
                    <a:lnTo>
                      <a:pt x="84" y="48"/>
                    </a:lnTo>
                    <a:lnTo>
                      <a:pt x="86" y="48"/>
                    </a:lnTo>
                    <a:lnTo>
                      <a:pt x="88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6" y="50"/>
                    </a:lnTo>
                    <a:lnTo>
                      <a:pt x="98" y="50"/>
                    </a:lnTo>
                    <a:lnTo>
                      <a:pt x="102" y="50"/>
                    </a:lnTo>
                    <a:lnTo>
                      <a:pt x="106" y="50"/>
                    </a:lnTo>
                    <a:lnTo>
                      <a:pt x="106" y="50"/>
                    </a:lnTo>
                    <a:lnTo>
                      <a:pt x="114" y="50"/>
                    </a:lnTo>
                    <a:lnTo>
                      <a:pt x="118" y="52"/>
                    </a:lnTo>
                    <a:lnTo>
                      <a:pt x="120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4" y="54"/>
                    </a:lnTo>
                    <a:lnTo>
                      <a:pt x="126" y="58"/>
                    </a:lnTo>
                    <a:lnTo>
                      <a:pt x="132" y="58"/>
                    </a:lnTo>
                    <a:lnTo>
                      <a:pt x="134" y="60"/>
                    </a:lnTo>
                    <a:lnTo>
                      <a:pt x="136" y="60"/>
                    </a:lnTo>
                    <a:lnTo>
                      <a:pt x="136" y="60"/>
                    </a:lnTo>
                    <a:lnTo>
                      <a:pt x="138" y="60"/>
                    </a:lnTo>
                    <a:lnTo>
                      <a:pt x="142" y="62"/>
                    </a:lnTo>
                    <a:lnTo>
                      <a:pt x="144" y="62"/>
                    </a:lnTo>
                    <a:lnTo>
                      <a:pt x="146" y="62"/>
                    </a:lnTo>
                    <a:lnTo>
                      <a:pt x="146" y="60"/>
                    </a:lnTo>
                    <a:lnTo>
                      <a:pt x="148" y="60"/>
                    </a:lnTo>
                    <a:lnTo>
                      <a:pt x="148" y="60"/>
                    </a:lnTo>
                    <a:lnTo>
                      <a:pt x="148" y="58"/>
                    </a:lnTo>
                    <a:lnTo>
                      <a:pt x="146" y="56"/>
                    </a:lnTo>
                    <a:lnTo>
                      <a:pt x="146" y="56"/>
                    </a:lnTo>
                    <a:lnTo>
                      <a:pt x="144" y="54"/>
                    </a:lnTo>
                    <a:lnTo>
                      <a:pt x="142" y="54"/>
                    </a:lnTo>
                    <a:lnTo>
                      <a:pt x="142" y="52"/>
                    </a:lnTo>
                    <a:lnTo>
                      <a:pt x="142" y="52"/>
                    </a:lnTo>
                    <a:lnTo>
                      <a:pt x="142" y="50"/>
                    </a:lnTo>
                    <a:lnTo>
                      <a:pt x="142" y="50"/>
                    </a:lnTo>
                    <a:lnTo>
                      <a:pt x="144" y="48"/>
                    </a:lnTo>
                    <a:lnTo>
                      <a:pt x="144" y="48"/>
                    </a:lnTo>
                    <a:lnTo>
                      <a:pt x="144" y="48"/>
                    </a:lnTo>
                    <a:lnTo>
                      <a:pt x="144" y="46"/>
                    </a:lnTo>
                    <a:lnTo>
                      <a:pt x="144" y="44"/>
                    </a:lnTo>
                    <a:lnTo>
                      <a:pt x="144" y="44"/>
                    </a:lnTo>
                    <a:lnTo>
                      <a:pt x="142" y="44"/>
                    </a:lnTo>
                    <a:lnTo>
                      <a:pt x="142" y="42"/>
                    </a:lnTo>
                    <a:lnTo>
                      <a:pt x="142" y="42"/>
                    </a:lnTo>
                    <a:lnTo>
                      <a:pt x="140" y="42"/>
                    </a:lnTo>
                    <a:lnTo>
                      <a:pt x="140" y="40"/>
                    </a:lnTo>
                    <a:lnTo>
                      <a:pt x="140" y="40"/>
                    </a:lnTo>
                    <a:lnTo>
                      <a:pt x="140" y="40"/>
                    </a:lnTo>
                    <a:lnTo>
                      <a:pt x="140" y="40"/>
                    </a:lnTo>
                    <a:lnTo>
                      <a:pt x="138" y="40"/>
                    </a:lnTo>
                    <a:lnTo>
                      <a:pt x="138" y="40"/>
                    </a:lnTo>
                    <a:lnTo>
                      <a:pt x="136" y="40"/>
                    </a:lnTo>
                    <a:lnTo>
                      <a:pt x="136" y="40"/>
                    </a:lnTo>
                    <a:lnTo>
                      <a:pt x="134" y="38"/>
                    </a:lnTo>
                    <a:lnTo>
                      <a:pt x="132" y="38"/>
                    </a:lnTo>
                    <a:lnTo>
                      <a:pt x="132" y="38"/>
                    </a:lnTo>
                    <a:lnTo>
                      <a:pt x="128" y="38"/>
                    </a:lnTo>
                    <a:lnTo>
                      <a:pt x="128" y="38"/>
                    </a:lnTo>
                    <a:lnTo>
                      <a:pt x="126" y="38"/>
                    </a:lnTo>
                    <a:lnTo>
                      <a:pt x="126" y="40"/>
                    </a:lnTo>
                    <a:lnTo>
                      <a:pt x="126" y="40"/>
                    </a:lnTo>
                    <a:lnTo>
                      <a:pt x="126" y="42"/>
                    </a:lnTo>
                    <a:lnTo>
                      <a:pt x="124" y="44"/>
                    </a:lnTo>
                    <a:lnTo>
                      <a:pt x="124" y="44"/>
                    </a:lnTo>
                    <a:lnTo>
                      <a:pt x="122" y="44"/>
                    </a:lnTo>
                    <a:lnTo>
                      <a:pt x="122" y="44"/>
                    </a:lnTo>
                    <a:lnTo>
                      <a:pt x="122" y="44"/>
                    </a:lnTo>
                    <a:lnTo>
                      <a:pt x="122" y="44"/>
                    </a:lnTo>
                    <a:lnTo>
                      <a:pt x="120" y="42"/>
                    </a:lnTo>
                    <a:lnTo>
                      <a:pt x="118" y="40"/>
                    </a:lnTo>
                    <a:lnTo>
                      <a:pt x="118" y="40"/>
                    </a:lnTo>
                    <a:lnTo>
                      <a:pt x="116" y="38"/>
                    </a:lnTo>
                    <a:lnTo>
                      <a:pt x="116" y="38"/>
                    </a:lnTo>
                    <a:lnTo>
                      <a:pt x="116" y="36"/>
                    </a:lnTo>
                    <a:lnTo>
                      <a:pt x="116" y="36"/>
                    </a:lnTo>
                    <a:lnTo>
                      <a:pt x="118" y="34"/>
                    </a:lnTo>
                    <a:lnTo>
                      <a:pt x="118" y="32"/>
                    </a:lnTo>
                    <a:lnTo>
                      <a:pt x="120" y="32"/>
                    </a:lnTo>
                    <a:lnTo>
                      <a:pt x="120" y="30"/>
                    </a:lnTo>
                    <a:lnTo>
                      <a:pt x="120" y="30"/>
                    </a:lnTo>
                    <a:lnTo>
                      <a:pt x="120" y="28"/>
                    </a:lnTo>
                    <a:lnTo>
                      <a:pt x="118" y="26"/>
                    </a:lnTo>
                    <a:lnTo>
                      <a:pt x="116" y="26"/>
                    </a:lnTo>
                    <a:lnTo>
                      <a:pt x="116" y="24"/>
                    </a:lnTo>
                    <a:lnTo>
                      <a:pt x="112" y="22"/>
                    </a:lnTo>
                    <a:lnTo>
                      <a:pt x="110" y="20"/>
                    </a:lnTo>
                    <a:lnTo>
                      <a:pt x="108" y="20"/>
                    </a:lnTo>
                    <a:lnTo>
                      <a:pt x="108" y="20"/>
                    </a:lnTo>
                    <a:lnTo>
                      <a:pt x="106" y="20"/>
                    </a:lnTo>
                    <a:lnTo>
                      <a:pt x="104" y="20"/>
                    </a:lnTo>
                    <a:lnTo>
                      <a:pt x="100" y="20"/>
                    </a:lnTo>
                    <a:lnTo>
                      <a:pt x="98" y="18"/>
                    </a:lnTo>
                    <a:lnTo>
                      <a:pt x="98" y="18"/>
                    </a:lnTo>
                    <a:lnTo>
                      <a:pt x="98" y="18"/>
                    </a:lnTo>
                    <a:lnTo>
                      <a:pt x="96" y="16"/>
                    </a:lnTo>
                    <a:lnTo>
                      <a:pt x="94" y="14"/>
                    </a:lnTo>
                    <a:lnTo>
                      <a:pt x="94" y="14"/>
                    </a:lnTo>
                    <a:lnTo>
                      <a:pt x="92" y="12"/>
                    </a:lnTo>
                    <a:lnTo>
                      <a:pt x="90" y="12"/>
                    </a:lnTo>
                    <a:lnTo>
                      <a:pt x="88" y="14"/>
                    </a:lnTo>
                    <a:lnTo>
                      <a:pt x="88" y="14"/>
                    </a:lnTo>
                    <a:lnTo>
                      <a:pt x="86" y="16"/>
                    </a:lnTo>
                    <a:lnTo>
                      <a:pt x="84" y="18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2" y="20"/>
                    </a:lnTo>
                    <a:lnTo>
                      <a:pt x="80" y="20"/>
                    </a:lnTo>
                    <a:lnTo>
                      <a:pt x="78" y="20"/>
                    </a:lnTo>
                    <a:lnTo>
                      <a:pt x="78" y="20"/>
                    </a:lnTo>
                    <a:lnTo>
                      <a:pt x="74" y="20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0" y="18"/>
                    </a:lnTo>
                    <a:lnTo>
                      <a:pt x="68" y="18"/>
                    </a:lnTo>
                    <a:lnTo>
                      <a:pt x="64" y="18"/>
                    </a:lnTo>
                    <a:lnTo>
                      <a:pt x="60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4" y="16"/>
                    </a:lnTo>
                    <a:lnTo>
                      <a:pt x="54" y="16"/>
                    </a:lnTo>
                    <a:lnTo>
                      <a:pt x="52" y="14"/>
                    </a:lnTo>
                    <a:lnTo>
                      <a:pt x="50" y="12"/>
                    </a:lnTo>
                    <a:lnTo>
                      <a:pt x="48" y="10"/>
                    </a:lnTo>
                    <a:lnTo>
                      <a:pt x="46" y="10"/>
                    </a:lnTo>
                    <a:lnTo>
                      <a:pt x="46" y="10"/>
                    </a:lnTo>
                    <a:lnTo>
                      <a:pt x="44" y="8"/>
                    </a:lnTo>
                    <a:lnTo>
                      <a:pt x="42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6" y="8"/>
                    </a:lnTo>
                    <a:lnTo>
                      <a:pt x="34" y="6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89" name="Freeform 772"/>
              <p:cNvSpPr>
                <a:spLocks/>
              </p:cNvSpPr>
              <p:nvPr/>
            </p:nvSpPr>
            <p:spPr bwMode="auto">
              <a:xfrm>
                <a:off x="4515" y="2956"/>
                <a:ext cx="20" cy="8"/>
              </a:xfrm>
              <a:custGeom>
                <a:avLst/>
                <a:gdLst>
                  <a:gd name="T0" fmla="*/ 4 w 20"/>
                  <a:gd name="T1" fmla="*/ 2 h 8"/>
                  <a:gd name="T2" fmla="*/ 4 w 20"/>
                  <a:gd name="T3" fmla="*/ 2 h 8"/>
                  <a:gd name="T4" fmla="*/ 2 w 20"/>
                  <a:gd name="T5" fmla="*/ 2 h 8"/>
                  <a:gd name="T6" fmla="*/ 2 w 20"/>
                  <a:gd name="T7" fmla="*/ 2 h 8"/>
                  <a:gd name="T8" fmla="*/ 0 w 20"/>
                  <a:gd name="T9" fmla="*/ 2 h 8"/>
                  <a:gd name="T10" fmla="*/ 0 w 20"/>
                  <a:gd name="T11" fmla="*/ 4 h 8"/>
                  <a:gd name="T12" fmla="*/ 0 w 20"/>
                  <a:gd name="T13" fmla="*/ 4 h 8"/>
                  <a:gd name="T14" fmla="*/ 2 w 20"/>
                  <a:gd name="T15" fmla="*/ 6 h 8"/>
                  <a:gd name="T16" fmla="*/ 2 w 20"/>
                  <a:gd name="T17" fmla="*/ 8 h 8"/>
                  <a:gd name="T18" fmla="*/ 2 w 20"/>
                  <a:gd name="T19" fmla="*/ 8 h 8"/>
                  <a:gd name="T20" fmla="*/ 4 w 20"/>
                  <a:gd name="T21" fmla="*/ 8 h 8"/>
                  <a:gd name="T22" fmla="*/ 6 w 20"/>
                  <a:gd name="T23" fmla="*/ 8 h 8"/>
                  <a:gd name="T24" fmla="*/ 8 w 20"/>
                  <a:gd name="T25" fmla="*/ 8 h 8"/>
                  <a:gd name="T26" fmla="*/ 14 w 20"/>
                  <a:gd name="T27" fmla="*/ 6 h 8"/>
                  <a:gd name="T28" fmla="*/ 16 w 20"/>
                  <a:gd name="T29" fmla="*/ 6 h 8"/>
                  <a:gd name="T30" fmla="*/ 16 w 20"/>
                  <a:gd name="T31" fmla="*/ 6 h 8"/>
                  <a:gd name="T32" fmla="*/ 18 w 20"/>
                  <a:gd name="T33" fmla="*/ 4 h 8"/>
                  <a:gd name="T34" fmla="*/ 20 w 20"/>
                  <a:gd name="T35" fmla="*/ 2 h 8"/>
                  <a:gd name="T36" fmla="*/ 20 w 20"/>
                  <a:gd name="T37" fmla="*/ 2 h 8"/>
                  <a:gd name="T38" fmla="*/ 20 w 20"/>
                  <a:gd name="T39" fmla="*/ 0 h 8"/>
                  <a:gd name="T40" fmla="*/ 20 w 20"/>
                  <a:gd name="T41" fmla="*/ 0 h 8"/>
                  <a:gd name="T42" fmla="*/ 18 w 20"/>
                  <a:gd name="T43" fmla="*/ 0 h 8"/>
                  <a:gd name="T44" fmla="*/ 18 w 20"/>
                  <a:gd name="T45" fmla="*/ 0 h 8"/>
                  <a:gd name="T46" fmla="*/ 18 w 20"/>
                  <a:gd name="T47" fmla="*/ 0 h 8"/>
                  <a:gd name="T48" fmla="*/ 16 w 20"/>
                  <a:gd name="T49" fmla="*/ 0 h 8"/>
                  <a:gd name="T50" fmla="*/ 14 w 20"/>
                  <a:gd name="T51" fmla="*/ 0 h 8"/>
                  <a:gd name="T52" fmla="*/ 14 w 20"/>
                  <a:gd name="T53" fmla="*/ 0 h 8"/>
                  <a:gd name="T54" fmla="*/ 4 w 20"/>
                  <a:gd name="T55" fmla="*/ 2 h 8"/>
                  <a:gd name="T56" fmla="*/ 4 w 20"/>
                  <a:gd name="T57" fmla="*/ 2 h 8"/>
                  <a:gd name="T58" fmla="*/ 4 w 20"/>
                  <a:gd name="T59" fmla="*/ 2 h 8"/>
                  <a:gd name="T60" fmla="*/ 4 w 20"/>
                  <a:gd name="T61" fmla="*/ 2 h 8"/>
                  <a:gd name="T62" fmla="*/ 4 w 20"/>
                  <a:gd name="T63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0" h="8">
                    <a:moveTo>
                      <a:pt x="4" y="2"/>
                    </a:moveTo>
                    <a:lnTo>
                      <a:pt x="4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8" y="8"/>
                    </a:lnTo>
                    <a:lnTo>
                      <a:pt x="14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8" y="4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90" name="Freeform 774"/>
              <p:cNvSpPr>
                <a:spLocks/>
              </p:cNvSpPr>
              <p:nvPr/>
            </p:nvSpPr>
            <p:spPr bwMode="auto">
              <a:xfrm>
                <a:off x="4541" y="2988"/>
                <a:ext cx="10" cy="8"/>
              </a:xfrm>
              <a:custGeom>
                <a:avLst/>
                <a:gdLst>
                  <a:gd name="T0" fmla="*/ 0 w 10"/>
                  <a:gd name="T1" fmla="*/ 2 h 8"/>
                  <a:gd name="T2" fmla="*/ 0 w 10"/>
                  <a:gd name="T3" fmla="*/ 2 h 8"/>
                  <a:gd name="T4" fmla="*/ 0 w 10"/>
                  <a:gd name="T5" fmla="*/ 2 h 8"/>
                  <a:gd name="T6" fmla="*/ 0 w 10"/>
                  <a:gd name="T7" fmla="*/ 2 h 8"/>
                  <a:gd name="T8" fmla="*/ 0 w 10"/>
                  <a:gd name="T9" fmla="*/ 4 h 8"/>
                  <a:gd name="T10" fmla="*/ 2 w 10"/>
                  <a:gd name="T11" fmla="*/ 6 h 8"/>
                  <a:gd name="T12" fmla="*/ 2 w 10"/>
                  <a:gd name="T13" fmla="*/ 6 h 8"/>
                  <a:gd name="T14" fmla="*/ 2 w 10"/>
                  <a:gd name="T15" fmla="*/ 6 h 8"/>
                  <a:gd name="T16" fmla="*/ 2 w 10"/>
                  <a:gd name="T17" fmla="*/ 8 h 8"/>
                  <a:gd name="T18" fmla="*/ 4 w 10"/>
                  <a:gd name="T19" fmla="*/ 8 h 8"/>
                  <a:gd name="T20" fmla="*/ 6 w 10"/>
                  <a:gd name="T21" fmla="*/ 8 h 8"/>
                  <a:gd name="T22" fmla="*/ 8 w 10"/>
                  <a:gd name="T23" fmla="*/ 6 h 8"/>
                  <a:gd name="T24" fmla="*/ 8 w 10"/>
                  <a:gd name="T25" fmla="*/ 6 h 8"/>
                  <a:gd name="T26" fmla="*/ 10 w 10"/>
                  <a:gd name="T27" fmla="*/ 6 h 8"/>
                  <a:gd name="T28" fmla="*/ 10 w 10"/>
                  <a:gd name="T29" fmla="*/ 6 h 8"/>
                  <a:gd name="T30" fmla="*/ 10 w 10"/>
                  <a:gd name="T31" fmla="*/ 4 h 8"/>
                  <a:gd name="T32" fmla="*/ 10 w 10"/>
                  <a:gd name="T33" fmla="*/ 4 h 8"/>
                  <a:gd name="T34" fmla="*/ 10 w 10"/>
                  <a:gd name="T35" fmla="*/ 4 h 8"/>
                  <a:gd name="T36" fmla="*/ 10 w 10"/>
                  <a:gd name="T37" fmla="*/ 2 h 8"/>
                  <a:gd name="T38" fmla="*/ 8 w 10"/>
                  <a:gd name="T39" fmla="*/ 2 h 8"/>
                  <a:gd name="T40" fmla="*/ 6 w 10"/>
                  <a:gd name="T41" fmla="*/ 2 h 8"/>
                  <a:gd name="T42" fmla="*/ 4 w 10"/>
                  <a:gd name="T43" fmla="*/ 0 h 8"/>
                  <a:gd name="T44" fmla="*/ 2 w 10"/>
                  <a:gd name="T45" fmla="*/ 0 h 8"/>
                  <a:gd name="T46" fmla="*/ 0 w 10"/>
                  <a:gd name="T47" fmla="*/ 2 h 8"/>
                  <a:gd name="T48" fmla="*/ 0 w 10"/>
                  <a:gd name="T49" fmla="*/ 2 h 8"/>
                  <a:gd name="T50" fmla="*/ 0 w 10"/>
                  <a:gd name="T51" fmla="*/ 2 h 8"/>
                  <a:gd name="T52" fmla="*/ 0 w 10"/>
                  <a:gd name="T53" fmla="*/ 2 h 8"/>
                  <a:gd name="T54" fmla="*/ 0 w 10"/>
                  <a:gd name="T55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0" h="8">
                    <a:moveTo>
                      <a:pt x="0" y="2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2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91" name="Freeform 776"/>
              <p:cNvSpPr>
                <a:spLocks/>
              </p:cNvSpPr>
              <p:nvPr/>
            </p:nvSpPr>
            <p:spPr bwMode="auto">
              <a:xfrm>
                <a:off x="4555" y="2990"/>
                <a:ext cx="10" cy="6"/>
              </a:xfrm>
              <a:custGeom>
                <a:avLst/>
                <a:gdLst>
                  <a:gd name="T0" fmla="*/ 2 w 10"/>
                  <a:gd name="T1" fmla="*/ 6 h 6"/>
                  <a:gd name="T2" fmla="*/ 2 w 10"/>
                  <a:gd name="T3" fmla="*/ 6 h 6"/>
                  <a:gd name="T4" fmla="*/ 2 w 10"/>
                  <a:gd name="T5" fmla="*/ 6 h 6"/>
                  <a:gd name="T6" fmla="*/ 2 w 10"/>
                  <a:gd name="T7" fmla="*/ 6 h 6"/>
                  <a:gd name="T8" fmla="*/ 2 w 10"/>
                  <a:gd name="T9" fmla="*/ 6 h 6"/>
                  <a:gd name="T10" fmla="*/ 4 w 10"/>
                  <a:gd name="T11" fmla="*/ 6 h 6"/>
                  <a:gd name="T12" fmla="*/ 4 w 10"/>
                  <a:gd name="T13" fmla="*/ 6 h 6"/>
                  <a:gd name="T14" fmla="*/ 4 w 10"/>
                  <a:gd name="T15" fmla="*/ 6 h 6"/>
                  <a:gd name="T16" fmla="*/ 4 w 10"/>
                  <a:gd name="T17" fmla="*/ 6 h 6"/>
                  <a:gd name="T18" fmla="*/ 6 w 10"/>
                  <a:gd name="T19" fmla="*/ 6 h 6"/>
                  <a:gd name="T20" fmla="*/ 6 w 10"/>
                  <a:gd name="T21" fmla="*/ 6 h 6"/>
                  <a:gd name="T22" fmla="*/ 8 w 10"/>
                  <a:gd name="T23" fmla="*/ 4 h 6"/>
                  <a:gd name="T24" fmla="*/ 10 w 10"/>
                  <a:gd name="T25" fmla="*/ 2 h 6"/>
                  <a:gd name="T26" fmla="*/ 10 w 10"/>
                  <a:gd name="T27" fmla="*/ 2 h 6"/>
                  <a:gd name="T28" fmla="*/ 10 w 10"/>
                  <a:gd name="T29" fmla="*/ 2 h 6"/>
                  <a:gd name="T30" fmla="*/ 10 w 10"/>
                  <a:gd name="T31" fmla="*/ 2 h 6"/>
                  <a:gd name="T32" fmla="*/ 10 w 10"/>
                  <a:gd name="T33" fmla="*/ 0 h 6"/>
                  <a:gd name="T34" fmla="*/ 8 w 10"/>
                  <a:gd name="T35" fmla="*/ 0 h 6"/>
                  <a:gd name="T36" fmla="*/ 4 w 10"/>
                  <a:gd name="T37" fmla="*/ 0 h 6"/>
                  <a:gd name="T38" fmla="*/ 2 w 10"/>
                  <a:gd name="T39" fmla="*/ 0 h 6"/>
                  <a:gd name="T40" fmla="*/ 2 w 10"/>
                  <a:gd name="T41" fmla="*/ 0 h 6"/>
                  <a:gd name="T42" fmla="*/ 2 w 10"/>
                  <a:gd name="T43" fmla="*/ 0 h 6"/>
                  <a:gd name="T44" fmla="*/ 0 w 10"/>
                  <a:gd name="T45" fmla="*/ 0 h 6"/>
                  <a:gd name="T46" fmla="*/ 0 w 10"/>
                  <a:gd name="T47" fmla="*/ 0 h 6"/>
                  <a:gd name="T48" fmla="*/ 0 w 10"/>
                  <a:gd name="T49" fmla="*/ 2 h 6"/>
                  <a:gd name="T50" fmla="*/ 0 w 10"/>
                  <a:gd name="T51" fmla="*/ 2 h 6"/>
                  <a:gd name="T52" fmla="*/ 0 w 10"/>
                  <a:gd name="T53" fmla="*/ 4 h 6"/>
                  <a:gd name="T54" fmla="*/ 2 w 10"/>
                  <a:gd name="T55" fmla="*/ 6 h 6"/>
                  <a:gd name="T56" fmla="*/ 2 w 10"/>
                  <a:gd name="T57" fmla="*/ 6 h 6"/>
                  <a:gd name="T58" fmla="*/ 2 w 10"/>
                  <a:gd name="T59" fmla="*/ 6 h 6"/>
                  <a:gd name="T60" fmla="*/ 2 w 10"/>
                  <a:gd name="T61" fmla="*/ 6 h 6"/>
                  <a:gd name="T62" fmla="*/ 2 w 10"/>
                  <a:gd name="T6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" h="6">
                    <a:moveTo>
                      <a:pt x="2" y="6"/>
                    </a:move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8" y="4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92" name="Freeform 778"/>
              <p:cNvSpPr>
                <a:spLocks/>
              </p:cNvSpPr>
              <p:nvPr/>
            </p:nvSpPr>
            <p:spPr bwMode="auto">
              <a:xfrm>
                <a:off x="4565" y="2990"/>
                <a:ext cx="44" cy="16"/>
              </a:xfrm>
              <a:custGeom>
                <a:avLst/>
                <a:gdLst>
                  <a:gd name="T0" fmla="*/ 0 w 44"/>
                  <a:gd name="T1" fmla="*/ 8 h 16"/>
                  <a:gd name="T2" fmla="*/ 0 w 44"/>
                  <a:gd name="T3" fmla="*/ 10 h 16"/>
                  <a:gd name="T4" fmla="*/ 2 w 44"/>
                  <a:gd name="T5" fmla="*/ 12 h 16"/>
                  <a:gd name="T6" fmla="*/ 4 w 44"/>
                  <a:gd name="T7" fmla="*/ 12 h 16"/>
                  <a:gd name="T8" fmla="*/ 6 w 44"/>
                  <a:gd name="T9" fmla="*/ 12 h 16"/>
                  <a:gd name="T10" fmla="*/ 8 w 44"/>
                  <a:gd name="T11" fmla="*/ 14 h 16"/>
                  <a:gd name="T12" fmla="*/ 10 w 44"/>
                  <a:gd name="T13" fmla="*/ 14 h 16"/>
                  <a:gd name="T14" fmla="*/ 12 w 44"/>
                  <a:gd name="T15" fmla="*/ 16 h 16"/>
                  <a:gd name="T16" fmla="*/ 14 w 44"/>
                  <a:gd name="T17" fmla="*/ 14 h 16"/>
                  <a:gd name="T18" fmla="*/ 16 w 44"/>
                  <a:gd name="T19" fmla="*/ 12 h 16"/>
                  <a:gd name="T20" fmla="*/ 18 w 44"/>
                  <a:gd name="T21" fmla="*/ 10 h 16"/>
                  <a:gd name="T22" fmla="*/ 20 w 44"/>
                  <a:gd name="T23" fmla="*/ 12 h 16"/>
                  <a:gd name="T24" fmla="*/ 24 w 44"/>
                  <a:gd name="T25" fmla="*/ 12 h 16"/>
                  <a:gd name="T26" fmla="*/ 26 w 44"/>
                  <a:gd name="T27" fmla="*/ 10 h 16"/>
                  <a:gd name="T28" fmla="*/ 28 w 44"/>
                  <a:gd name="T29" fmla="*/ 8 h 16"/>
                  <a:gd name="T30" fmla="*/ 30 w 44"/>
                  <a:gd name="T31" fmla="*/ 8 h 16"/>
                  <a:gd name="T32" fmla="*/ 32 w 44"/>
                  <a:gd name="T33" fmla="*/ 8 h 16"/>
                  <a:gd name="T34" fmla="*/ 36 w 44"/>
                  <a:gd name="T35" fmla="*/ 10 h 16"/>
                  <a:gd name="T36" fmla="*/ 40 w 44"/>
                  <a:gd name="T37" fmla="*/ 12 h 16"/>
                  <a:gd name="T38" fmla="*/ 44 w 44"/>
                  <a:gd name="T39" fmla="*/ 10 h 16"/>
                  <a:gd name="T40" fmla="*/ 44 w 44"/>
                  <a:gd name="T41" fmla="*/ 10 h 16"/>
                  <a:gd name="T42" fmla="*/ 42 w 44"/>
                  <a:gd name="T43" fmla="*/ 8 h 16"/>
                  <a:gd name="T44" fmla="*/ 44 w 44"/>
                  <a:gd name="T45" fmla="*/ 6 h 16"/>
                  <a:gd name="T46" fmla="*/ 44 w 44"/>
                  <a:gd name="T47" fmla="*/ 4 h 16"/>
                  <a:gd name="T48" fmla="*/ 42 w 44"/>
                  <a:gd name="T49" fmla="*/ 0 h 16"/>
                  <a:gd name="T50" fmla="*/ 38 w 44"/>
                  <a:gd name="T51" fmla="*/ 0 h 16"/>
                  <a:gd name="T52" fmla="*/ 38 w 44"/>
                  <a:gd name="T53" fmla="*/ 0 h 16"/>
                  <a:gd name="T54" fmla="*/ 34 w 44"/>
                  <a:gd name="T55" fmla="*/ 0 h 16"/>
                  <a:gd name="T56" fmla="*/ 32 w 44"/>
                  <a:gd name="T57" fmla="*/ 0 h 16"/>
                  <a:gd name="T58" fmla="*/ 28 w 44"/>
                  <a:gd name="T59" fmla="*/ 0 h 16"/>
                  <a:gd name="T60" fmla="*/ 26 w 44"/>
                  <a:gd name="T61" fmla="*/ 0 h 16"/>
                  <a:gd name="T62" fmla="*/ 26 w 44"/>
                  <a:gd name="T63" fmla="*/ 0 h 16"/>
                  <a:gd name="T64" fmla="*/ 26 w 44"/>
                  <a:gd name="T65" fmla="*/ 0 h 16"/>
                  <a:gd name="T66" fmla="*/ 26 w 44"/>
                  <a:gd name="T67" fmla="*/ 2 h 16"/>
                  <a:gd name="T68" fmla="*/ 26 w 44"/>
                  <a:gd name="T69" fmla="*/ 4 h 16"/>
                  <a:gd name="T70" fmla="*/ 26 w 44"/>
                  <a:gd name="T71" fmla="*/ 6 h 16"/>
                  <a:gd name="T72" fmla="*/ 24 w 44"/>
                  <a:gd name="T73" fmla="*/ 6 h 16"/>
                  <a:gd name="T74" fmla="*/ 22 w 44"/>
                  <a:gd name="T75" fmla="*/ 6 h 16"/>
                  <a:gd name="T76" fmla="*/ 20 w 44"/>
                  <a:gd name="T77" fmla="*/ 4 h 16"/>
                  <a:gd name="T78" fmla="*/ 18 w 44"/>
                  <a:gd name="T79" fmla="*/ 2 h 16"/>
                  <a:gd name="T80" fmla="*/ 16 w 44"/>
                  <a:gd name="T81" fmla="*/ 2 h 16"/>
                  <a:gd name="T82" fmla="*/ 14 w 44"/>
                  <a:gd name="T83" fmla="*/ 4 h 16"/>
                  <a:gd name="T84" fmla="*/ 12 w 44"/>
                  <a:gd name="T85" fmla="*/ 2 h 16"/>
                  <a:gd name="T86" fmla="*/ 10 w 44"/>
                  <a:gd name="T87" fmla="*/ 2 h 16"/>
                  <a:gd name="T88" fmla="*/ 8 w 44"/>
                  <a:gd name="T89" fmla="*/ 0 h 16"/>
                  <a:gd name="T90" fmla="*/ 4 w 44"/>
                  <a:gd name="T91" fmla="*/ 0 h 16"/>
                  <a:gd name="T92" fmla="*/ 2 w 44"/>
                  <a:gd name="T93" fmla="*/ 2 h 16"/>
                  <a:gd name="T94" fmla="*/ 0 w 44"/>
                  <a:gd name="T95" fmla="*/ 6 h 16"/>
                  <a:gd name="T96" fmla="*/ 0 w 44"/>
                  <a:gd name="T97" fmla="*/ 8 h 16"/>
                  <a:gd name="T98" fmla="*/ 0 w 44"/>
                  <a:gd name="T99" fmla="*/ 8 h 16"/>
                  <a:gd name="T100" fmla="*/ 0 w 44"/>
                  <a:gd name="T101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44" h="16">
                    <a:moveTo>
                      <a:pt x="0" y="8"/>
                    </a:moveTo>
                    <a:lnTo>
                      <a:pt x="0" y="8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0" y="14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6" y="12"/>
                    </a:lnTo>
                    <a:lnTo>
                      <a:pt x="18" y="12"/>
                    </a:lnTo>
                    <a:lnTo>
                      <a:pt x="18" y="10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2" y="8"/>
                    </a:lnTo>
                    <a:lnTo>
                      <a:pt x="34" y="8"/>
                    </a:lnTo>
                    <a:lnTo>
                      <a:pt x="36" y="10"/>
                    </a:lnTo>
                    <a:lnTo>
                      <a:pt x="38" y="10"/>
                    </a:lnTo>
                    <a:lnTo>
                      <a:pt x="40" y="12"/>
                    </a:lnTo>
                    <a:lnTo>
                      <a:pt x="42" y="10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4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4" y="6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2"/>
                    </a:lnTo>
                    <a:lnTo>
                      <a:pt x="42" y="0"/>
                    </a:lnTo>
                    <a:lnTo>
                      <a:pt x="40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6" y="0"/>
                    </a:lnTo>
                    <a:lnTo>
                      <a:pt x="34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0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2" y="6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6" y="2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2" y="4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93" name="Freeform 780"/>
              <p:cNvSpPr>
                <a:spLocks/>
              </p:cNvSpPr>
              <p:nvPr/>
            </p:nvSpPr>
            <p:spPr bwMode="auto">
              <a:xfrm>
                <a:off x="4611" y="2998"/>
                <a:ext cx="8" cy="4"/>
              </a:xfrm>
              <a:custGeom>
                <a:avLst/>
                <a:gdLst>
                  <a:gd name="T0" fmla="*/ 0 w 8"/>
                  <a:gd name="T1" fmla="*/ 4 h 4"/>
                  <a:gd name="T2" fmla="*/ 0 w 8"/>
                  <a:gd name="T3" fmla="*/ 4 h 4"/>
                  <a:gd name="T4" fmla="*/ 2 w 8"/>
                  <a:gd name="T5" fmla="*/ 4 h 4"/>
                  <a:gd name="T6" fmla="*/ 4 w 8"/>
                  <a:gd name="T7" fmla="*/ 4 h 4"/>
                  <a:gd name="T8" fmla="*/ 8 w 8"/>
                  <a:gd name="T9" fmla="*/ 2 h 4"/>
                  <a:gd name="T10" fmla="*/ 8 w 8"/>
                  <a:gd name="T11" fmla="*/ 2 h 4"/>
                  <a:gd name="T12" fmla="*/ 6 w 8"/>
                  <a:gd name="T13" fmla="*/ 2 h 4"/>
                  <a:gd name="T14" fmla="*/ 6 w 8"/>
                  <a:gd name="T15" fmla="*/ 2 h 4"/>
                  <a:gd name="T16" fmla="*/ 4 w 8"/>
                  <a:gd name="T17" fmla="*/ 0 h 4"/>
                  <a:gd name="T18" fmla="*/ 4 w 8"/>
                  <a:gd name="T19" fmla="*/ 0 h 4"/>
                  <a:gd name="T20" fmla="*/ 2 w 8"/>
                  <a:gd name="T21" fmla="*/ 2 h 4"/>
                  <a:gd name="T22" fmla="*/ 0 w 8"/>
                  <a:gd name="T23" fmla="*/ 2 h 4"/>
                  <a:gd name="T24" fmla="*/ 0 w 8"/>
                  <a:gd name="T25" fmla="*/ 4 h 4"/>
                  <a:gd name="T26" fmla="*/ 0 w 8"/>
                  <a:gd name="T27" fmla="*/ 4 h 4"/>
                  <a:gd name="T28" fmla="*/ 0 w 8"/>
                  <a:gd name="T29" fmla="*/ 4 h 4"/>
                  <a:gd name="T30" fmla="*/ 0 w 8"/>
                  <a:gd name="T31" fmla="*/ 4 h 4"/>
                  <a:gd name="T32" fmla="*/ 0 w 8"/>
                  <a:gd name="T33" fmla="*/ 4 h 4"/>
                  <a:gd name="T34" fmla="*/ 0 w 8"/>
                  <a:gd name="T3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8" h="4">
                    <a:moveTo>
                      <a:pt x="0" y="4"/>
                    </a:moveTo>
                    <a:lnTo>
                      <a:pt x="0" y="4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94" name="Freeform 783"/>
              <p:cNvSpPr>
                <a:spLocks/>
              </p:cNvSpPr>
              <p:nvPr/>
            </p:nvSpPr>
            <p:spPr bwMode="auto">
              <a:xfrm>
                <a:off x="4623" y="2990"/>
                <a:ext cx="48" cy="14"/>
              </a:xfrm>
              <a:custGeom>
                <a:avLst/>
                <a:gdLst>
                  <a:gd name="T0" fmla="*/ 8 w 48"/>
                  <a:gd name="T1" fmla="*/ 4 h 14"/>
                  <a:gd name="T2" fmla="*/ 4 w 48"/>
                  <a:gd name="T3" fmla="*/ 8 h 14"/>
                  <a:gd name="T4" fmla="*/ 0 w 48"/>
                  <a:gd name="T5" fmla="*/ 10 h 14"/>
                  <a:gd name="T6" fmla="*/ 0 w 48"/>
                  <a:gd name="T7" fmla="*/ 10 h 14"/>
                  <a:gd name="T8" fmla="*/ 0 w 48"/>
                  <a:gd name="T9" fmla="*/ 12 h 14"/>
                  <a:gd name="T10" fmla="*/ 2 w 48"/>
                  <a:gd name="T11" fmla="*/ 14 h 14"/>
                  <a:gd name="T12" fmla="*/ 10 w 48"/>
                  <a:gd name="T13" fmla="*/ 14 h 14"/>
                  <a:gd name="T14" fmla="*/ 14 w 48"/>
                  <a:gd name="T15" fmla="*/ 14 h 14"/>
                  <a:gd name="T16" fmla="*/ 24 w 48"/>
                  <a:gd name="T17" fmla="*/ 14 h 14"/>
                  <a:gd name="T18" fmla="*/ 28 w 48"/>
                  <a:gd name="T19" fmla="*/ 12 h 14"/>
                  <a:gd name="T20" fmla="*/ 34 w 48"/>
                  <a:gd name="T21" fmla="*/ 10 h 14"/>
                  <a:gd name="T22" fmla="*/ 40 w 48"/>
                  <a:gd name="T23" fmla="*/ 8 h 14"/>
                  <a:gd name="T24" fmla="*/ 44 w 48"/>
                  <a:gd name="T25" fmla="*/ 4 h 14"/>
                  <a:gd name="T26" fmla="*/ 44 w 48"/>
                  <a:gd name="T27" fmla="*/ 4 h 14"/>
                  <a:gd name="T28" fmla="*/ 46 w 48"/>
                  <a:gd name="T29" fmla="*/ 2 h 14"/>
                  <a:gd name="T30" fmla="*/ 48 w 48"/>
                  <a:gd name="T31" fmla="*/ 0 h 14"/>
                  <a:gd name="T32" fmla="*/ 46 w 48"/>
                  <a:gd name="T33" fmla="*/ 0 h 14"/>
                  <a:gd name="T34" fmla="*/ 44 w 48"/>
                  <a:gd name="T35" fmla="*/ 0 h 14"/>
                  <a:gd name="T36" fmla="*/ 40 w 48"/>
                  <a:gd name="T37" fmla="*/ 2 h 14"/>
                  <a:gd name="T38" fmla="*/ 38 w 48"/>
                  <a:gd name="T39" fmla="*/ 2 h 14"/>
                  <a:gd name="T40" fmla="*/ 36 w 48"/>
                  <a:gd name="T41" fmla="*/ 4 h 14"/>
                  <a:gd name="T42" fmla="*/ 34 w 48"/>
                  <a:gd name="T43" fmla="*/ 6 h 14"/>
                  <a:gd name="T44" fmla="*/ 34 w 48"/>
                  <a:gd name="T45" fmla="*/ 6 h 14"/>
                  <a:gd name="T46" fmla="*/ 32 w 48"/>
                  <a:gd name="T47" fmla="*/ 6 h 14"/>
                  <a:gd name="T48" fmla="*/ 28 w 48"/>
                  <a:gd name="T49" fmla="*/ 4 h 14"/>
                  <a:gd name="T50" fmla="*/ 26 w 48"/>
                  <a:gd name="T51" fmla="*/ 4 h 14"/>
                  <a:gd name="T52" fmla="*/ 22 w 48"/>
                  <a:gd name="T53" fmla="*/ 6 h 14"/>
                  <a:gd name="T54" fmla="*/ 22 w 48"/>
                  <a:gd name="T55" fmla="*/ 6 h 14"/>
                  <a:gd name="T56" fmla="*/ 18 w 48"/>
                  <a:gd name="T57" fmla="*/ 6 h 14"/>
                  <a:gd name="T58" fmla="*/ 16 w 48"/>
                  <a:gd name="T59" fmla="*/ 2 h 14"/>
                  <a:gd name="T60" fmla="*/ 12 w 48"/>
                  <a:gd name="T61" fmla="*/ 2 h 14"/>
                  <a:gd name="T62" fmla="*/ 10 w 48"/>
                  <a:gd name="T63" fmla="*/ 2 h 14"/>
                  <a:gd name="T64" fmla="*/ 8 w 48"/>
                  <a:gd name="T65" fmla="*/ 4 h 14"/>
                  <a:gd name="T66" fmla="*/ 8 w 48"/>
                  <a:gd name="T67" fmla="*/ 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48" h="14">
                    <a:moveTo>
                      <a:pt x="8" y="4"/>
                    </a:moveTo>
                    <a:lnTo>
                      <a:pt x="8" y="4"/>
                    </a:lnTo>
                    <a:lnTo>
                      <a:pt x="6" y="6"/>
                    </a:lnTo>
                    <a:lnTo>
                      <a:pt x="4" y="8"/>
                    </a:lnTo>
                    <a:lnTo>
                      <a:pt x="2" y="8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2" y="14"/>
                    </a:lnTo>
                    <a:lnTo>
                      <a:pt x="4" y="14"/>
                    </a:lnTo>
                    <a:lnTo>
                      <a:pt x="10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8" y="14"/>
                    </a:lnTo>
                    <a:lnTo>
                      <a:pt x="24" y="14"/>
                    </a:lnTo>
                    <a:lnTo>
                      <a:pt x="26" y="14"/>
                    </a:lnTo>
                    <a:lnTo>
                      <a:pt x="28" y="12"/>
                    </a:lnTo>
                    <a:lnTo>
                      <a:pt x="32" y="12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40" y="8"/>
                    </a:lnTo>
                    <a:lnTo>
                      <a:pt x="42" y="6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6" y="2"/>
                    </a:lnTo>
                    <a:lnTo>
                      <a:pt x="46" y="2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40" y="0"/>
                    </a:lnTo>
                    <a:lnTo>
                      <a:pt x="40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4"/>
                    </a:lnTo>
                    <a:lnTo>
                      <a:pt x="36" y="4"/>
                    </a:lnTo>
                    <a:lnTo>
                      <a:pt x="36" y="6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2" y="6"/>
                    </a:lnTo>
                    <a:lnTo>
                      <a:pt x="32" y="6"/>
                    </a:lnTo>
                    <a:lnTo>
                      <a:pt x="30" y="6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6" y="4"/>
                    </a:lnTo>
                    <a:lnTo>
                      <a:pt x="26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0" y="6"/>
                    </a:lnTo>
                    <a:lnTo>
                      <a:pt x="18" y="6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95" name="Freeform 784"/>
              <p:cNvSpPr>
                <a:spLocks/>
              </p:cNvSpPr>
              <p:nvPr/>
            </p:nvSpPr>
            <p:spPr bwMode="auto">
              <a:xfrm>
                <a:off x="4607" y="3014"/>
                <a:ext cx="24" cy="16"/>
              </a:xfrm>
              <a:custGeom>
                <a:avLst/>
                <a:gdLst>
                  <a:gd name="T0" fmla="*/ 8 w 24"/>
                  <a:gd name="T1" fmla="*/ 0 h 16"/>
                  <a:gd name="T2" fmla="*/ 8 w 24"/>
                  <a:gd name="T3" fmla="*/ 0 h 16"/>
                  <a:gd name="T4" fmla="*/ 6 w 24"/>
                  <a:gd name="T5" fmla="*/ 0 h 16"/>
                  <a:gd name="T6" fmla="*/ 4 w 24"/>
                  <a:gd name="T7" fmla="*/ 0 h 16"/>
                  <a:gd name="T8" fmla="*/ 2 w 24"/>
                  <a:gd name="T9" fmla="*/ 0 h 16"/>
                  <a:gd name="T10" fmla="*/ 2 w 24"/>
                  <a:gd name="T11" fmla="*/ 0 h 16"/>
                  <a:gd name="T12" fmla="*/ 2 w 24"/>
                  <a:gd name="T13" fmla="*/ 0 h 16"/>
                  <a:gd name="T14" fmla="*/ 2 w 24"/>
                  <a:gd name="T15" fmla="*/ 0 h 16"/>
                  <a:gd name="T16" fmla="*/ 0 w 24"/>
                  <a:gd name="T17" fmla="*/ 2 h 16"/>
                  <a:gd name="T18" fmla="*/ 0 w 24"/>
                  <a:gd name="T19" fmla="*/ 2 h 16"/>
                  <a:gd name="T20" fmla="*/ 0 w 24"/>
                  <a:gd name="T21" fmla="*/ 2 h 16"/>
                  <a:gd name="T22" fmla="*/ 0 w 24"/>
                  <a:gd name="T23" fmla="*/ 4 h 16"/>
                  <a:gd name="T24" fmla="*/ 2 w 24"/>
                  <a:gd name="T25" fmla="*/ 6 h 16"/>
                  <a:gd name="T26" fmla="*/ 2 w 24"/>
                  <a:gd name="T27" fmla="*/ 6 h 16"/>
                  <a:gd name="T28" fmla="*/ 2 w 24"/>
                  <a:gd name="T29" fmla="*/ 6 h 16"/>
                  <a:gd name="T30" fmla="*/ 4 w 24"/>
                  <a:gd name="T31" fmla="*/ 6 h 16"/>
                  <a:gd name="T32" fmla="*/ 6 w 24"/>
                  <a:gd name="T33" fmla="*/ 8 h 16"/>
                  <a:gd name="T34" fmla="*/ 8 w 24"/>
                  <a:gd name="T35" fmla="*/ 6 h 16"/>
                  <a:gd name="T36" fmla="*/ 8 w 24"/>
                  <a:gd name="T37" fmla="*/ 6 h 16"/>
                  <a:gd name="T38" fmla="*/ 10 w 24"/>
                  <a:gd name="T39" fmla="*/ 6 h 16"/>
                  <a:gd name="T40" fmla="*/ 12 w 24"/>
                  <a:gd name="T41" fmla="*/ 8 h 16"/>
                  <a:gd name="T42" fmla="*/ 14 w 24"/>
                  <a:gd name="T43" fmla="*/ 8 h 16"/>
                  <a:gd name="T44" fmla="*/ 14 w 24"/>
                  <a:gd name="T45" fmla="*/ 10 h 16"/>
                  <a:gd name="T46" fmla="*/ 16 w 24"/>
                  <a:gd name="T47" fmla="*/ 12 h 16"/>
                  <a:gd name="T48" fmla="*/ 16 w 24"/>
                  <a:gd name="T49" fmla="*/ 12 h 16"/>
                  <a:gd name="T50" fmla="*/ 18 w 24"/>
                  <a:gd name="T51" fmla="*/ 14 h 16"/>
                  <a:gd name="T52" fmla="*/ 20 w 24"/>
                  <a:gd name="T53" fmla="*/ 16 h 16"/>
                  <a:gd name="T54" fmla="*/ 20 w 24"/>
                  <a:gd name="T55" fmla="*/ 16 h 16"/>
                  <a:gd name="T56" fmla="*/ 22 w 24"/>
                  <a:gd name="T57" fmla="*/ 16 h 16"/>
                  <a:gd name="T58" fmla="*/ 24 w 24"/>
                  <a:gd name="T59" fmla="*/ 14 h 16"/>
                  <a:gd name="T60" fmla="*/ 24 w 24"/>
                  <a:gd name="T61" fmla="*/ 12 h 16"/>
                  <a:gd name="T62" fmla="*/ 24 w 24"/>
                  <a:gd name="T63" fmla="*/ 12 h 16"/>
                  <a:gd name="T64" fmla="*/ 24 w 24"/>
                  <a:gd name="T65" fmla="*/ 10 h 16"/>
                  <a:gd name="T66" fmla="*/ 24 w 24"/>
                  <a:gd name="T67" fmla="*/ 8 h 16"/>
                  <a:gd name="T68" fmla="*/ 22 w 24"/>
                  <a:gd name="T69" fmla="*/ 4 h 16"/>
                  <a:gd name="T70" fmla="*/ 22 w 24"/>
                  <a:gd name="T71" fmla="*/ 4 h 16"/>
                  <a:gd name="T72" fmla="*/ 20 w 24"/>
                  <a:gd name="T73" fmla="*/ 2 h 16"/>
                  <a:gd name="T74" fmla="*/ 20 w 24"/>
                  <a:gd name="T75" fmla="*/ 2 h 16"/>
                  <a:gd name="T76" fmla="*/ 18 w 24"/>
                  <a:gd name="T77" fmla="*/ 0 h 16"/>
                  <a:gd name="T78" fmla="*/ 16 w 24"/>
                  <a:gd name="T79" fmla="*/ 0 h 16"/>
                  <a:gd name="T80" fmla="*/ 16 w 24"/>
                  <a:gd name="T81" fmla="*/ 0 h 16"/>
                  <a:gd name="T82" fmla="*/ 12 w 24"/>
                  <a:gd name="T83" fmla="*/ 0 h 16"/>
                  <a:gd name="T84" fmla="*/ 12 w 24"/>
                  <a:gd name="T85" fmla="*/ 0 h 16"/>
                  <a:gd name="T86" fmla="*/ 10 w 24"/>
                  <a:gd name="T87" fmla="*/ 0 h 16"/>
                  <a:gd name="T88" fmla="*/ 8 w 24"/>
                  <a:gd name="T89" fmla="*/ 0 h 16"/>
                  <a:gd name="T90" fmla="*/ 8 w 24"/>
                  <a:gd name="T91" fmla="*/ 0 h 16"/>
                  <a:gd name="T92" fmla="*/ 8 w 24"/>
                  <a:gd name="T93" fmla="*/ 0 h 16"/>
                  <a:gd name="T94" fmla="*/ 8 w 24"/>
                  <a:gd name="T95" fmla="*/ 0 h 16"/>
                  <a:gd name="T96" fmla="*/ 8 w 24"/>
                  <a:gd name="T97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4" h="16">
                    <a:moveTo>
                      <a:pt x="8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0" y="6"/>
                    </a:lnTo>
                    <a:lnTo>
                      <a:pt x="12" y="8"/>
                    </a:lnTo>
                    <a:lnTo>
                      <a:pt x="14" y="8"/>
                    </a:lnTo>
                    <a:lnTo>
                      <a:pt x="14" y="10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8" y="14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2" y="16"/>
                    </a:lnTo>
                    <a:lnTo>
                      <a:pt x="24" y="14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0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96" name="Freeform 786"/>
              <p:cNvSpPr>
                <a:spLocks/>
              </p:cNvSpPr>
              <p:nvPr/>
            </p:nvSpPr>
            <p:spPr bwMode="auto">
              <a:xfrm>
                <a:off x="4681" y="3004"/>
                <a:ext cx="26" cy="28"/>
              </a:xfrm>
              <a:custGeom>
                <a:avLst/>
                <a:gdLst>
                  <a:gd name="T0" fmla="*/ 22 w 26"/>
                  <a:gd name="T1" fmla="*/ 4 h 28"/>
                  <a:gd name="T2" fmla="*/ 22 w 26"/>
                  <a:gd name="T3" fmla="*/ 4 h 28"/>
                  <a:gd name="T4" fmla="*/ 20 w 26"/>
                  <a:gd name="T5" fmla="*/ 0 h 28"/>
                  <a:gd name="T6" fmla="*/ 20 w 26"/>
                  <a:gd name="T7" fmla="*/ 0 h 28"/>
                  <a:gd name="T8" fmla="*/ 18 w 26"/>
                  <a:gd name="T9" fmla="*/ 2 h 28"/>
                  <a:gd name="T10" fmla="*/ 16 w 26"/>
                  <a:gd name="T11" fmla="*/ 2 h 28"/>
                  <a:gd name="T12" fmla="*/ 16 w 26"/>
                  <a:gd name="T13" fmla="*/ 4 h 28"/>
                  <a:gd name="T14" fmla="*/ 16 w 26"/>
                  <a:gd name="T15" fmla="*/ 4 h 28"/>
                  <a:gd name="T16" fmla="*/ 16 w 26"/>
                  <a:gd name="T17" fmla="*/ 4 h 28"/>
                  <a:gd name="T18" fmla="*/ 14 w 26"/>
                  <a:gd name="T19" fmla="*/ 6 h 28"/>
                  <a:gd name="T20" fmla="*/ 14 w 26"/>
                  <a:gd name="T21" fmla="*/ 8 h 28"/>
                  <a:gd name="T22" fmla="*/ 14 w 26"/>
                  <a:gd name="T23" fmla="*/ 10 h 28"/>
                  <a:gd name="T24" fmla="*/ 14 w 26"/>
                  <a:gd name="T25" fmla="*/ 10 h 28"/>
                  <a:gd name="T26" fmla="*/ 12 w 26"/>
                  <a:gd name="T27" fmla="*/ 10 h 28"/>
                  <a:gd name="T28" fmla="*/ 10 w 26"/>
                  <a:gd name="T29" fmla="*/ 10 h 28"/>
                  <a:gd name="T30" fmla="*/ 6 w 26"/>
                  <a:gd name="T31" fmla="*/ 12 h 28"/>
                  <a:gd name="T32" fmla="*/ 6 w 26"/>
                  <a:gd name="T33" fmla="*/ 12 h 28"/>
                  <a:gd name="T34" fmla="*/ 6 w 26"/>
                  <a:gd name="T35" fmla="*/ 12 h 28"/>
                  <a:gd name="T36" fmla="*/ 4 w 26"/>
                  <a:gd name="T37" fmla="*/ 14 h 28"/>
                  <a:gd name="T38" fmla="*/ 4 w 26"/>
                  <a:gd name="T39" fmla="*/ 14 h 28"/>
                  <a:gd name="T40" fmla="*/ 2 w 26"/>
                  <a:gd name="T41" fmla="*/ 16 h 28"/>
                  <a:gd name="T42" fmla="*/ 2 w 26"/>
                  <a:gd name="T43" fmla="*/ 16 h 28"/>
                  <a:gd name="T44" fmla="*/ 2 w 26"/>
                  <a:gd name="T45" fmla="*/ 20 h 28"/>
                  <a:gd name="T46" fmla="*/ 0 w 26"/>
                  <a:gd name="T47" fmla="*/ 22 h 28"/>
                  <a:gd name="T48" fmla="*/ 0 w 26"/>
                  <a:gd name="T49" fmla="*/ 22 h 28"/>
                  <a:gd name="T50" fmla="*/ 0 w 26"/>
                  <a:gd name="T51" fmla="*/ 24 h 28"/>
                  <a:gd name="T52" fmla="*/ 0 w 26"/>
                  <a:gd name="T53" fmla="*/ 26 h 28"/>
                  <a:gd name="T54" fmla="*/ 2 w 26"/>
                  <a:gd name="T55" fmla="*/ 26 h 28"/>
                  <a:gd name="T56" fmla="*/ 4 w 26"/>
                  <a:gd name="T57" fmla="*/ 28 h 28"/>
                  <a:gd name="T58" fmla="*/ 4 w 26"/>
                  <a:gd name="T59" fmla="*/ 28 h 28"/>
                  <a:gd name="T60" fmla="*/ 6 w 26"/>
                  <a:gd name="T61" fmla="*/ 28 h 28"/>
                  <a:gd name="T62" fmla="*/ 8 w 26"/>
                  <a:gd name="T63" fmla="*/ 28 h 28"/>
                  <a:gd name="T64" fmla="*/ 10 w 26"/>
                  <a:gd name="T65" fmla="*/ 26 h 28"/>
                  <a:gd name="T66" fmla="*/ 12 w 26"/>
                  <a:gd name="T67" fmla="*/ 26 h 28"/>
                  <a:gd name="T68" fmla="*/ 12 w 26"/>
                  <a:gd name="T69" fmla="*/ 24 h 28"/>
                  <a:gd name="T70" fmla="*/ 14 w 26"/>
                  <a:gd name="T71" fmla="*/ 22 h 28"/>
                  <a:gd name="T72" fmla="*/ 18 w 26"/>
                  <a:gd name="T73" fmla="*/ 20 h 28"/>
                  <a:gd name="T74" fmla="*/ 18 w 26"/>
                  <a:gd name="T75" fmla="*/ 20 h 28"/>
                  <a:gd name="T76" fmla="*/ 20 w 26"/>
                  <a:gd name="T77" fmla="*/ 16 h 28"/>
                  <a:gd name="T78" fmla="*/ 20 w 26"/>
                  <a:gd name="T79" fmla="*/ 16 h 28"/>
                  <a:gd name="T80" fmla="*/ 22 w 26"/>
                  <a:gd name="T81" fmla="*/ 14 h 28"/>
                  <a:gd name="T82" fmla="*/ 22 w 26"/>
                  <a:gd name="T83" fmla="*/ 14 h 28"/>
                  <a:gd name="T84" fmla="*/ 24 w 26"/>
                  <a:gd name="T85" fmla="*/ 14 h 28"/>
                  <a:gd name="T86" fmla="*/ 26 w 26"/>
                  <a:gd name="T87" fmla="*/ 14 h 28"/>
                  <a:gd name="T88" fmla="*/ 26 w 26"/>
                  <a:gd name="T89" fmla="*/ 14 h 28"/>
                  <a:gd name="T90" fmla="*/ 26 w 26"/>
                  <a:gd name="T91" fmla="*/ 12 h 28"/>
                  <a:gd name="T92" fmla="*/ 24 w 26"/>
                  <a:gd name="T93" fmla="*/ 12 h 28"/>
                  <a:gd name="T94" fmla="*/ 24 w 26"/>
                  <a:gd name="T95" fmla="*/ 12 h 28"/>
                  <a:gd name="T96" fmla="*/ 24 w 26"/>
                  <a:gd name="T97" fmla="*/ 8 h 28"/>
                  <a:gd name="T98" fmla="*/ 24 w 26"/>
                  <a:gd name="T99" fmla="*/ 6 h 28"/>
                  <a:gd name="T100" fmla="*/ 22 w 26"/>
                  <a:gd name="T101" fmla="*/ 4 h 28"/>
                  <a:gd name="T102" fmla="*/ 22 w 26"/>
                  <a:gd name="T103" fmla="*/ 4 h 28"/>
                  <a:gd name="T104" fmla="*/ 22 w 26"/>
                  <a:gd name="T105" fmla="*/ 4 h 28"/>
                  <a:gd name="T106" fmla="*/ 22 w 26"/>
                  <a:gd name="T107" fmla="*/ 4 h 28"/>
                  <a:gd name="T108" fmla="*/ 22 w 26"/>
                  <a:gd name="T109" fmla="*/ 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6" h="28">
                    <a:moveTo>
                      <a:pt x="22" y="4"/>
                    </a:moveTo>
                    <a:lnTo>
                      <a:pt x="22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8" y="2"/>
                    </a:lnTo>
                    <a:lnTo>
                      <a:pt x="16" y="2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4" y="6"/>
                    </a:lnTo>
                    <a:lnTo>
                      <a:pt x="14" y="8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2" y="10"/>
                    </a:lnTo>
                    <a:lnTo>
                      <a:pt x="10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20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4"/>
                    </a:lnTo>
                    <a:lnTo>
                      <a:pt x="0" y="26"/>
                    </a:lnTo>
                    <a:lnTo>
                      <a:pt x="2" y="26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6" y="28"/>
                    </a:lnTo>
                    <a:lnTo>
                      <a:pt x="8" y="28"/>
                    </a:lnTo>
                    <a:lnTo>
                      <a:pt x="10" y="26"/>
                    </a:lnTo>
                    <a:lnTo>
                      <a:pt x="12" y="26"/>
                    </a:lnTo>
                    <a:lnTo>
                      <a:pt x="12" y="24"/>
                    </a:lnTo>
                    <a:lnTo>
                      <a:pt x="14" y="22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4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6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97" name="Freeform 787"/>
              <p:cNvSpPr>
                <a:spLocks/>
              </p:cNvSpPr>
              <p:nvPr/>
            </p:nvSpPr>
            <p:spPr bwMode="auto">
              <a:xfrm>
                <a:off x="4681" y="3004"/>
                <a:ext cx="26" cy="28"/>
              </a:xfrm>
              <a:custGeom>
                <a:avLst/>
                <a:gdLst>
                  <a:gd name="T0" fmla="*/ 22 w 26"/>
                  <a:gd name="T1" fmla="*/ 4 h 28"/>
                  <a:gd name="T2" fmla="*/ 22 w 26"/>
                  <a:gd name="T3" fmla="*/ 4 h 28"/>
                  <a:gd name="T4" fmla="*/ 20 w 26"/>
                  <a:gd name="T5" fmla="*/ 0 h 28"/>
                  <a:gd name="T6" fmla="*/ 20 w 26"/>
                  <a:gd name="T7" fmla="*/ 0 h 28"/>
                  <a:gd name="T8" fmla="*/ 18 w 26"/>
                  <a:gd name="T9" fmla="*/ 2 h 28"/>
                  <a:gd name="T10" fmla="*/ 16 w 26"/>
                  <a:gd name="T11" fmla="*/ 2 h 28"/>
                  <a:gd name="T12" fmla="*/ 16 w 26"/>
                  <a:gd name="T13" fmla="*/ 4 h 28"/>
                  <a:gd name="T14" fmla="*/ 16 w 26"/>
                  <a:gd name="T15" fmla="*/ 4 h 28"/>
                  <a:gd name="T16" fmla="*/ 16 w 26"/>
                  <a:gd name="T17" fmla="*/ 4 h 28"/>
                  <a:gd name="T18" fmla="*/ 14 w 26"/>
                  <a:gd name="T19" fmla="*/ 6 h 28"/>
                  <a:gd name="T20" fmla="*/ 14 w 26"/>
                  <a:gd name="T21" fmla="*/ 8 h 28"/>
                  <a:gd name="T22" fmla="*/ 14 w 26"/>
                  <a:gd name="T23" fmla="*/ 10 h 28"/>
                  <a:gd name="T24" fmla="*/ 14 w 26"/>
                  <a:gd name="T25" fmla="*/ 10 h 28"/>
                  <a:gd name="T26" fmla="*/ 12 w 26"/>
                  <a:gd name="T27" fmla="*/ 10 h 28"/>
                  <a:gd name="T28" fmla="*/ 10 w 26"/>
                  <a:gd name="T29" fmla="*/ 10 h 28"/>
                  <a:gd name="T30" fmla="*/ 6 w 26"/>
                  <a:gd name="T31" fmla="*/ 12 h 28"/>
                  <a:gd name="T32" fmla="*/ 6 w 26"/>
                  <a:gd name="T33" fmla="*/ 12 h 28"/>
                  <a:gd name="T34" fmla="*/ 6 w 26"/>
                  <a:gd name="T35" fmla="*/ 12 h 28"/>
                  <a:gd name="T36" fmla="*/ 4 w 26"/>
                  <a:gd name="T37" fmla="*/ 14 h 28"/>
                  <a:gd name="T38" fmla="*/ 4 w 26"/>
                  <a:gd name="T39" fmla="*/ 14 h 28"/>
                  <a:gd name="T40" fmla="*/ 2 w 26"/>
                  <a:gd name="T41" fmla="*/ 16 h 28"/>
                  <a:gd name="T42" fmla="*/ 2 w 26"/>
                  <a:gd name="T43" fmla="*/ 16 h 28"/>
                  <a:gd name="T44" fmla="*/ 2 w 26"/>
                  <a:gd name="T45" fmla="*/ 20 h 28"/>
                  <a:gd name="T46" fmla="*/ 0 w 26"/>
                  <a:gd name="T47" fmla="*/ 22 h 28"/>
                  <a:gd name="T48" fmla="*/ 0 w 26"/>
                  <a:gd name="T49" fmla="*/ 22 h 28"/>
                  <a:gd name="T50" fmla="*/ 0 w 26"/>
                  <a:gd name="T51" fmla="*/ 24 h 28"/>
                  <a:gd name="T52" fmla="*/ 0 w 26"/>
                  <a:gd name="T53" fmla="*/ 26 h 28"/>
                  <a:gd name="T54" fmla="*/ 2 w 26"/>
                  <a:gd name="T55" fmla="*/ 26 h 28"/>
                  <a:gd name="T56" fmla="*/ 4 w 26"/>
                  <a:gd name="T57" fmla="*/ 28 h 28"/>
                  <a:gd name="T58" fmla="*/ 4 w 26"/>
                  <a:gd name="T59" fmla="*/ 28 h 28"/>
                  <a:gd name="T60" fmla="*/ 6 w 26"/>
                  <a:gd name="T61" fmla="*/ 28 h 28"/>
                  <a:gd name="T62" fmla="*/ 8 w 26"/>
                  <a:gd name="T63" fmla="*/ 28 h 28"/>
                  <a:gd name="T64" fmla="*/ 10 w 26"/>
                  <a:gd name="T65" fmla="*/ 26 h 28"/>
                  <a:gd name="T66" fmla="*/ 12 w 26"/>
                  <a:gd name="T67" fmla="*/ 26 h 28"/>
                  <a:gd name="T68" fmla="*/ 12 w 26"/>
                  <a:gd name="T69" fmla="*/ 24 h 28"/>
                  <a:gd name="T70" fmla="*/ 14 w 26"/>
                  <a:gd name="T71" fmla="*/ 22 h 28"/>
                  <a:gd name="T72" fmla="*/ 18 w 26"/>
                  <a:gd name="T73" fmla="*/ 20 h 28"/>
                  <a:gd name="T74" fmla="*/ 18 w 26"/>
                  <a:gd name="T75" fmla="*/ 20 h 28"/>
                  <a:gd name="T76" fmla="*/ 20 w 26"/>
                  <a:gd name="T77" fmla="*/ 16 h 28"/>
                  <a:gd name="T78" fmla="*/ 20 w 26"/>
                  <a:gd name="T79" fmla="*/ 16 h 28"/>
                  <a:gd name="T80" fmla="*/ 22 w 26"/>
                  <a:gd name="T81" fmla="*/ 14 h 28"/>
                  <a:gd name="T82" fmla="*/ 22 w 26"/>
                  <a:gd name="T83" fmla="*/ 14 h 28"/>
                  <a:gd name="T84" fmla="*/ 24 w 26"/>
                  <a:gd name="T85" fmla="*/ 14 h 28"/>
                  <a:gd name="T86" fmla="*/ 26 w 26"/>
                  <a:gd name="T87" fmla="*/ 14 h 28"/>
                  <a:gd name="T88" fmla="*/ 26 w 26"/>
                  <a:gd name="T89" fmla="*/ 14 h 28"/>
                  <a:gd name="T90" fmla="*/ 26 w 26"/>
                  <a:gd name="T91" fmla="*/ 12 h 28"/>
                  <a:gd name="T92" fmla="*/ 24 w 26"/>
                  <a:gd name="T93" fmla="*/ 12 h 28"/>
                  <a:gd name="T94" fmla="*/ 24 w 26"/>
                  <a:gd name="T95" fmla="*/ 12 h 28"/>
                  <a:gd name="T96" fmla="*/ 24 w 26"/>
                  <a:gd name="T97" fmla="*/ 8 h 28"/>
                  <a:gd name="T98" fmla="*/ 24 w 26"/>
                  <a:gd name="T99" fmla="*/ 6 h 28"/>
                  <a:gd name="T100" fmla="*/ 22 w 26"/>
                  <a:gd name="T101" fmla="*/ 4 h 28"/>
                  <a:gd name="T102" fmla="*/ 22 w 26"/>
                  <a:gd name="T103" fmla="*/ 4 h 28"/>
                  <a:gd name="T104" fmla="*/ 22 w 26"/>
                  <a:gd name="T105" fmla="*/ 4 h 28"/>
                  <a:gd name="T106" fmla="*/ 22 w 26"/>
                  <a:gd name="T107" fmla="*/ 4 h 28"/>
                  <a:gd name="T108" fmla="*/ 22 w 26"/>
                  <a:gd name="T109" fmla="*/ 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6" h="28">
                    <a:moveTo>
                      <a:pt x="22" y="4"/>
                    </a:moveTo>
                    <a:lnTo>
                      <a:pt x="22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8" y="2"/>
                    </a:lnTo>
                    <a:lnTo>
                      <a:pt x="16" y="2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4" y="6"/>
                    </a:lnTo>
                    <a:lnTo>
                      <a:pt x="14" y="8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2" y="10"/>
                    </a:lnTo>
                    <a:lnTo>
                      <a:pt x="10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20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4"/>
                    </a:lnTo>
                    <a:lnTo>
                      <a:pt x="0" y="26"/>
                    </a:lnTo>
                    <a:lnTo>
                      <a:pt x="2" y="26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6" y="28"/>
                    </a:lnTo>
                    <a:lnTo>
                      <a:pt x="8" y="28"/>
                    </a:lnTo>
                    <a:lnTo>
                      <a:pt x="10" y="26"/>
                    </a:lnTo>
                    <a:lnTo>
                      <a:pt x="12" y="26"/>
                    </a:lnTo>
                    <a:lnTo>
                      <a:pt x="12" y="24"/>
                    </a:lnTo>
                    <a:lnTo>
                      <a:pt x="14" y="22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4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6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98" name="Freeform 788"/>
              <p:cNvSpPr>
                <a:spLocks/>
              </p:cNvSpPr>
              <p:nvPr/>
            </p:nvSpPr>
            <p:spPr bwMode="auto">
              <a:xfrm>
                <a:off x="4695" y="2990"/>
                <a:ext cx="12" cy="6"/>
              </a:xfrm>
              <a:custGeom>
                <a:avLst/>
                <a:gdLst>
                  <a:gd name="T0" fmla="*/ 0 w 12"/>
                  <a:gd name="T1" fmla="*/ 4 h 6"/>
                  <a:gd name="T2" fmla="*/ 0 w 12"/>
                  <a:gd name="T3" fmla="*/ 4 h 6"/>
                  <a:gd name="T4" fmla="*/ 2 w 12"/>
                  <a:gd name="T5" fmla="*/ 6 h 6"/>
                  <a:gd name="T6" fmla="*/ 4 w 12"/>
                  <a:gd name="T7" fmla="*/ 6 h 6"/>
                  <a:gd name="T8" fmla="*/ 10 w 12"/>
                  <a:gd name="T9" fmla="*/ 6 h 6"/>
                  <a:gd name="T10" fmla="*/ 10 w 12"/>
                  <a:gd name="T11" fmla="*/ 6 h 6"/>
                  <a:gd name="T12" fmla="*/ 10 w 12"/>
                  <a:gd name="T13" fmla="*/ 6 h 6"/>
                  <a:gd name="T14" fmla="*/ 12 w 12"/>
                  <a:gd name="T15" fmla="*/ 4 h 6"/>
                  <a:gd name="T16" fmla="*/ 12 w 12"/>
                  <a:gd name="T17" fmla="*/ 4 h 6"/>
                  <a:gd name="T18" fmla="*/ 12 w 12"/>
                  <a:gd name="T19" fmla="*/ 4 h 6"/>
                  <a:gd name="T20" fmla="*/ 12 w 12"/>
                  <a:gd name="T21" fmla="*/ 2 h 6"/>
                  <a:gd name="T22" fmla="*/ 10 w 12"/>
                  <a:gd name="T23" fmla="*/ 2 h 6"/>
                  <a:gd name="T24" fmla="*/ 10 w 12"/>
                  <a:gd name="T25" fmla="*/ 2 h 6"/>
                  <a:gd name="T26" fmla="*/ 8 w 12"/>
                  <a:gd name="T27" fmla="*/ 2 h 6"/>
                  <a:gd name="T28" fmla="*/ 8 w 12"/>
                  <a:gd name="T29" fmla="*/ 2 h 6"/>
                  <a:gd name="T30" fmla="*/ 6 w 12"/>
                  <a:gd name="T31" fmla="*/ 0 h 6"/>
                  <a:gd name="T32" fmla="*/ 6 w 12"/>
                  <a:gd name="T33" fmla="*/ 0 h 6"/>
                  <a:gd name="T34" fmla="*/ 2 w 12"/>
                  <a:gd name="T35" fmla="*/ 0 h 6"/>
                  <a:gd name="T36" fmla="*/ 2 w 12"/>
                  <a:gd name="T37" fmla="*/ 0 h 6"/>
                  <a:gd name="T38" fmla="*/ 0 w 12"/>
                  <a:gd name="T39" fmla="*/ 0 h 6"/>
                  <a:gd name="T40" fmla="*/ 0 w 12"/>
                  <a:gd name="T41" fmla="*/ 0 h 6"/>
                  <a:gd name="T42" fmla="*/ 0 w 12"/>
                  <a:gd name="T43" fmla="*/ 0 h 6"/>
                  <a:gd name="T44" fmla="*/ 0 w 12"/>
                  <a:gd name="T45" fmla="*/ 2 h 6"/>
                  <a:gd name="T46" fmla="*/ 0 w 12"/>
                  <a:gd name="T47" fmla="*/ 4 h 6"/>
                  <a:gd name="T48" fmla="*/ 0 w 12"/>
                  <a:gd name="T49" fmla="*/ 4 h 6"/>
                  <a:gd name="T50" fmla="*/ 0 w 12"/>
                  <a:gd name="T51" fmla="*/ 4 h 6"/>
                  <a:gd name="T52" fmla="*/ 0 w 12"/>
                  <a:gd name="T53" fmla="*/ 4 h 6"/>
                  <a:gd name="T54" fmla="*/ 0 w 12"/>
                  <a:gd name="T55" fmla="*/ 4 h 6"/>
                  <a:gd name="T56" fmla="*/ 0 w 12"/>
                  <a:gd name="T57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2" h="6">
                    <a:moveTo>
                      <a:pt x="0" y="4"/>
                    </a:moveTo>
                    <a:lnTo>
                      <a:pt x="0" y="4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99" name="Freeform 790"/>
              <p:cNvSpPr>
                <a:spLocks/>
              </p:cNvSpPr>
              <p:nvPr/>
            </p:nvSpPr>
            <p:spPr bwMode="auto">
              <a:xfrm>
                <a:off x="4679" y="2990"/>
                <a:ext cx="4" cy="4"/>
              </a:xfrm>
              <a:custGeom>
                <a:avLst/>
                <a:gdLst>
                  <a:gd name="T0" fmla="*/ 4 w 4"/>
                  <a:gd name="T1" fmla="*/ 0 h 4"/>
                  <a:gd name="T2" fmla="*/ 4 w 4"/>
                  <a:gd name="T3" fmla="*/ 0 h 4"/>
                  <a:gd name="T4" fmla="*/ 2 w 4"/>
                  <a:gd name="T5" fmla="*/ 0 h 4"/>
                  <a:gd name="T6" fmla="*/ 0 w 4"/>
                  <a:gd name="T7" fmla="*/ 2 h 4"/>
                  <a:gd name="T8" fmla="*/ 0 w 4"/>
                  <a:gd name="T9" fmla="*/ 2 h 4"/>
                  <a:gd name="T10" fmla="*/ 0 w 4"/>
                  <a:gd name="T11" fmla="*/ 2 h 4"/>
                  <a:gd name="T12" fmla="*/ 2 w 4"/>
                  <a:gd name="T13" fmla="*/ 4 h 4"/>
                  <a:gd name="T14" fmla="*/ 2 w 4"/>
                  <a:gd name="T15" fmla="*/ 4 h 4"/>
                  <a:gd name="T16" fmla="*/ 4 w 4"/>
                  <a:gd name="T17" fmla="*/ 4 h 4"/>
                  <a:gd name="T18" fmla="*/ 4 w 4"/>
                  <a:gd name="T19" fmla="*/ 2 h 4"/>
                  <a:gd name="T20" fmla="*/ 4 w 4"/>
                  <a:gd name="T21" fmla="*/ 2 h 4"/>
                  <a:gd name="T22" fmla="*/ 4 w 4"/>
                  <a:gd name="T23" fmla="*/ 0 h 4"/>
                  <a:gd name="T24" fmla="*/ 4 w 4"/>
                  <a:gd name="T25" fmla="*/ 0 h 4"/>
                  <a:gd name="T26" fmla="*/ 4 w 4"/>
                  <a:gd name="T27" fmla="*/ 0 h 4"/>
                  <a:gd name="T28" fmla="*/ 4 w 4"/>
                  <a:gd name="T29" fmla="*/ 0 h 4"/>
                  <a:gd name="T30" fmla="*/ 4 w 4"/>
                  <a:gd name="T3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" h="4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00" name="Freeform 791"/>
              <p:cNvSpPr>
                <a:spLocks/>
              </p:cNvSpPr>
              <p:nvPr/>
            </p:nvSpPr>
            <p:spPr bwMode="auto">
              <a:xfrm>
                <a:off x="4679" y="2990"/>
                <a:ext cx="4" cy="4"/>
              </a:xfrm>
              <a:custGeom>
                <a:avLst/>
                <a:gdLst>
                  <a:gd name="T0" fmla="*/ 4 w 4"/>
                  <a:gd name="T1" fmla="*/ 0 h 4"/>
                  <a:gd name="T2" fmla="*/ 4 w 4"/>
                  <a:gd name="T3" fmla="*/ 0 h 4"/>
                  <a:gd name="T4" fmla="*/ 2 w 4"/>
                  <a:gd name="T5" fmla="*/ 0 h 4"/>
                  <a:gd name="T6" fmla="*/ 0 w 4"/>
                  <a:gd name="T7" fmla="*/ 2 h 4"/>
                  <a:gd name="T8" fmla="*/ 0 w 4"/>
                  <a:gd name="T9" fmla="*/ 2 h 4"/>
                  <a:gd name="T10" fmla="*/ 0 w 4"/>
                  <a:gd name="T11" fmla="*/ 2 h 4"/>
                  <a:gd name="T12" fmla="*/ 2 w 4"/>
                  <a:gd name="T13" fmla="*/ 4 h 4"/>
                  <a:gd name="T14" fmla="*/ 2 w 4"/>
                  <a:gd name="T15" fmla="*/ 4 h 4"/>
                  <a:gd name="T16" fmla="*/ 4 w 4"/>
                  <a:gd name="T17" fmla="*/ 4 h 4"/>
                  <a:gd name="T18" fmla="*/ 4 w 4"/>
                  <a:gd name="T19" fmla="*/ 2 h 4"/>
                  <a:gd name="T20" fmla="*/ 4 w 4"/>
                  <a:gd name="T21" fmla="*/ 2 h 4"/>
                  <a:gd name="T22" fmla="*/ 4 w 4"/>
                  <a:gd name="T23" fmla="*/ 0 h 4"/>
                  <a:gd name="T24" fmla="*/ 4 w 4"/>
                  <a:gd name="T25" fmla="*/ 0 h 4"/>
                  <a:gd name="T26" fmla="*/ 4 w 4"/>
                  <a:gd name="T27" fmla="*/ 0 h 4"/>
                  <a:gd name="T28" fmla="*/ 4 w 4"/>
                  <a:gd name="T29" fmla="*/ 0 h 4"/>
                  <a:gd name="T30" fmla="*/ 4 w 4"/>
                  <a:gd name="T3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" h="4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01" name="Freeform 792"/>
              <p:cNvSpPr>
                <a:spLocks/>
              </p:cNvSpPr>
              <p:nvPr/>
            </p:nvSpPr>
            <p:spPr bwMode="auto">
              <a:xfrm>
                <a:off x="4687" y="2990"/>
                <a:ext cx="4" cy="2"/>
              </a:xfrm>
              <a:custGeom>
                <a:avLst/>
                <a:gdLst>
                  <a:gd name="T0" fmla="*/ 2 w 4"/>
                  <a:gd name="T1" fmla="*/ 2 h 2"/>
                  <a:gd name="T2" fmla="*/ 2 w 4"/>
                  <a:gd name="T3" fmla="*/ 2 h 2"/>
                  <a:gd name="T4" fmla="*/ 4 w 4"/>
                  <a:gd name="T5" fmla="*/ 2 h 2"/>
                  <a:gd name="T6" fmla="*/ 4 w 4"/>
                  <a:gd name="T7" fmla="*/ 2 h 2"/>
                  <a:gd name="T8" fmla="*/ 4 w 4"/>
                  <a:gd name="T9" fmla="*/ 2 h 2"/>
                  <a:gd name="T10" fmla="*/ 4 w 4"/>
                  <a:gd name="T11" fmla="*/ 2 h 2"/>
                  <a:gd name="T12" fmla="*/ 4 w 4"/>
                  <a:gd name="T13" fmla="*/ 0 h 2"/>
                  <a:gd name="T14" fmla="*/ 2 w 4"/>
                  <a:gd name="T15" fmla="*/ 0 h 2"/>
                  <a:gd name="T16" fmla="*/ 2 w 4"/>
                  <a:gd name="T17" fmla="*/ 0 h 2"/>
                  <a:gd name="T18" fmla="*/ 2 w 4"/>
                  <a:gd name="T19" fmla="*/ 0 h 2"/>
                  <a:gd name="T20" fmla="*/ 2 w 4"/>
                  <a:gd name="T21" fmla="*/ 0 h 2"/>
                  <a:gd name="T22" fmla="*/ 0 w 4"/>
                  <a:gd name="T23" fmla="*/ 0 h 2"/>
                  <a:gd name="T24" fmla="*/ 0 w 4"/>
                  <a:gd name="T25" fmla="*/ 2 h 2"/>
                  <a:gd name="T26" fmla="*/ 0 w 4"/>
                  <a:gd name="T27" fmla="*/ 2 h 2"/>
                  <a:gd name="T28" fmla="*/ 0 w 4"/>
                  <a:gd name="T29" fmla="*/ 2 h 2"/>
                  <a:gd name="T30" fmla="*/ 2 w 4"/>
                  <a:gd name="T31" fmla="*/ 2 h 2"/>
                  <a:gd name="T32" fmla="*/ 2 w 4"/>
                  <a:gd name="T33" fmla="*/ 2 h 2"/>
                  <a:gd name="T34" fmla="*/ 2 w 4"/>
                  <a:gd name="T35" fmla="*/ 2 h 2"/>
                  <a:gd name="T36" fmla="*/ 2 w 4"/>
                  <a:gd name="T37" fmla="*/ 2 h 2"/>
                  <a:gd name="T38" fmla="*/ 2 w 4"/>
                  <a:gd name="T39" fmla="*/ 2 h 2"/>
                  <a:gd name="T40" fmla="*/ 2 w 4"/>
                  <a:gd name="T4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" h="2">
                    <a:moveTo>
                      <a:pt x="2" y="2"/>
                    </a:moveTo>
                    <a:lnTo>
                      <a:pt x="2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02" name="Freeform 793"/>
              <p:cNvSpPr>
                <a:spLocks/>
              </p:cNvSpPr>
              <p:nvPr/>
            </p:nvSpPr>
            <p:spPr bwMode="auto">
              <a:xfrm>
                <a:off x="4687" y="2990"/>
                <a:ext cx="4" cy="2"/>
              </a:xfrm>
              <a:custGeom>
                <a:avLst/>
                <a:gdLst>
                  <a:gd name="T0" fmla="*/ 2 w 4"/>
                  <a:gd name="T1" fmla="*/ 2 h 2"/>
                  <a:gd name="T2" fmla="*/ 2 w 4"/>
                  <a:gd name="T3" fmla="*/ 2 h 2"/>
                  <a:gd name="T4" fmla="*/ 4 w 4"/>
                  <a:gd name="T5" fmla="*/ 2 h 2"/>
                  <a:gd name="T6" fmla="*/ 4 w 4"/>
                  <a:gd name="T7" fmla="*/ 2 h 2"/>
                  <a:gd name="T8" fmla="*/ 4 w 4"/>
                  <a:gd name="T9" fmla="*/ 2 h 2"/>
                  <a:gd name="T10" fmla="*/ 4 w 4"/>
                  <a:gd name="T11" fmla="*/ 2 h 2"/>
                  <a:gd name="T12" fmla="*/ 4 w 4"/>
                  <a:gd name="T13" fmla="*/ 0 h 2"/>
                  <a:gd name="T14" fmla="*/ 2 w 4"/>
                  <a:gd name="T15" fmla="*/ 0 h 2"/>
                  <a:gd name="T16" fmla="*/ 2 w 4"/>
                  <a:gd name="T17" fmla="*/ 0 h 2"/>
                  <a:gd name="T18" fmla="*/ 2 w 4"/>
                  <a:gd name="T19" fmla="*/ 0 h 2"/>
                  <a:gd name="T20" fmla="*/ 2 w 4"/>
                  <a:gd name="T21" fmla="*/ 0 h 2"/>
                  <a:gd name="T22" fmla="*/ 0 w 4"/>
                  <a:gd name="T23" fmla="*/ 0 h 2"/>
                  <a:gd name="T24" fmla="*/ 0 w 4"/>
                  <a:gd name="T25" fmla="*/ 2 h 2"/>
                  <a:gd name="T26" fmla="*/ 0 w 4"/>
                  <a:gd name="T27" fmla="*/ 2 h 2"/>
                  <a:gd name="T28" fmla="*/ 0 w 4"/>
                  <a:gd name="T29" fmla="*/ 2 h 2"/>
                  <a:gd name="T30" fmla="*/ 2 w 4"/>
                  <a:gd name="T31" fmla="*/ 2 h 2"/>
                  <a:gd name="T32" fmla="*/ 2 w 4"/>
                  <a:gd name="T33" fmla="*/ 2 h 2"/>
                  <a:gd name="T34" fmla="*/ 2 w 4"/>
                  <a:gd name="T35" fmla="*/ 2 h 2"/>
                  <a:gd name="T36" fmla="*/ 2 w 4"/>
                  <a:gd name="T37" fmla="*/ 2 h 2"/>
                  <a:gd name="T38" fmla="*/ 2 w 4"/>
                  <a:gd name="T39" fmla="*/ 2 h 2"/>
                  <a:gd name="T40" fmla="*/ 2 w 4"/>
                  <a:gd name="T4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" h="2">
                    <a:moveTo>
                      <a:pt x="2" y="2"/>
                    </a:moveTo>
                    <a:lnTo>
                      <a:pt x="2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03" name="Freeform 794"/>
              <p:cNvSpPr>
                <a:spLocks/>
              </p:cNvSpPr>
              <p:nvPr/>
            </p:nvSpPr>
            <p:spPr bwMode="auto">
              <a:xfrm>
                <a:off x="4719" y="2978"/>
                <a:ext cx="16" cy="12"/>
              </a:xfrm>
              <a:custGeom>
                <a:avLst/>
                <a:gdLst>
                  <a:gd name="T0" fmla="*/ 4 w 16"/>
                  <a:gd name="T1" fmla="*/ 6 h 12"/>
                  <a:gd name="T2" fmla="*/ 4 w 16"/>
                  <a:gd name="T3" fmla="*/ 6 h 12"/>
                  <a:gd name="T4" fmla="*/ 2 w 16"/>
                  <a:gd name="T5" fmla="*/ 8 h 12"/>
                  <a:gd name="T6" fmla="*/ 0 w 16"/>
                  <a:gd name="T7" fmla="*/ 8 h 12"/>
                  <a:gd name="T8" fmla="*/ 0 w 16"/>
                  <a:gd name="T9" fmla="*/ 8 h 12"/>
                  <a:gd name="T10" fmla="*/ 0 w 16"/>
                  <a:gd name="T11" fmla="*/ 8 h 12"/>
                  <a:gd name="T12" fmla="*/ 0 w 16"/>
                  <a:gd name="T13" fmla="*/ 10 h 12"/>
                  <a:gd name="T14" fmla="*/ 0 w 16"/>
                  <a:gd name="T15" fmla="*/ 10 h 12"/>
                  <a:gd name="T16" fmla="*/ 2 w 16"/>
                  <a:gd name="T17" fmla="*/ 12 h 12"/>
                  <a:gd name="T18" fmla="*/ 2 w 16"/>
                  <a:gd name="T19" fmla="*/ 12 h 12"/>
                  <a:gd name="T20" fmla="*/ 2 w 16"/>
                  <a:gd name="T21" fmla="*/ 12 h 12"/>
                  <a:gd name="T22" fmla="*/ 4 w 16"/>
                  <a:gd name="T23" fmla="*/ 12 h 12"/>
                  <a:gd name="T24" fmla="*/ 6 w 16"/>
                  <a:gd name="T25" fmla="*/ 12 h 12"/>
                  <a:gd name="T26" fmla="*/ 8 w 16"/>
                  <a:gd name="T27" fmla="*/ 12 h 12"/>
                  <a:gd name="T28" fmla="*/ 8 w 16"/>
                  <a:gd name="T29" fmla="*/ 10 h 12"/>
                  <a:gd name="T30" fmla="*/ 10 w 16"/>
                  <a:gd name="T31" fmla="*/ 8 h 12"/>
                  <a:gd name="T32" fmla="*/ 12 w 16"/>
                  <a:gd name="T33" fmla="*/ 8 h 12"/>
                  <a:gd name="T34" fmla="*/ 12 w 16"/>
                  <a:gd name="T35" fmla="*/ 6 h 12"/>
                  <a:gd name="T36" fmla="*/ 12 w 16"/>
                  <a:gd name="T37" fmla="*/ 6 h 12"/>
                  <a:gd name="T38" fmla="*/ 14 w 16"/>
                  <a:gd name="T39" fmla="*/ 6 h 12"/>
                  <a:gd name="T40" fmla="*/ 16 w 16"/>
                  <a:gd name="T41" fmla="*/ 4 h 12"/>
                  <a:gd name="T42" fmla="*/ 16 w 16"/>
                  <a:gd name="T43" fmla="*/ 4 h 12"/>
                  <a:gd name="T44" fmla="*/ 16 w 16"/>
                  <a:gd name="T45" fmla="*/ 4 h 12"/>
                  <a:gd name="T46" fmla="*/ 16 w 16"/>
                  <a:gd name="T47" fmla="*/ 2 h 12"/>
                  <a:gd name="T48" fmla="*/ 16 w 16"/>
                  <a:gd name="T49" fmla="*/ 2 h 12"/>
                  <a:gd name="T50" fmla="*/ 16 w 16"/>
                  <a:gd name="T51" fmla="*/ 2 h 12"/>
                  <a:gd name="T52" fmla="*/ 16 w 16"/>
                  <a:gd name="T53" fmla="*/ 0 h 12"/>
                  <a:gd name="T54" fmla="*/ 14 w 16"/>
                  <a:gd name="T55" fmla="*/ 0 h 12"/>
                  <a:gd name="T56" fmla="*/ 12 w 16"/>
                  <a:gd name="T57" fmla="*/ 2 h 12"/>
                  <a:gd name="T58" fmla="*/ 12 w 16"/>
                  <a:gd name="T59" fmla="*/ 2 h 12"/>
                  <a:gd name="T60" fmla="*/ 10 w 16"/>
                  <a:gd name="T61" fmla="*/ 2 h 12"/>
                  <a:gd name="T62" fmla="*/ 8 w 16"/>
                  <a:gd name="T63" fmla="*/ 4 h 12"/>
                  <a:gd name="T64" fmla="*/ 6 w 16"/>
                  <a:gd name="T65" fmla="*/ 6 h 12"/>
                  <a:gd name="T66" fmla="*/ 4 w 16"/>
                  <a:gd name="T67" fmla="*/ 6 h 12"/>
                  <a:gd name="T68" fmla="*/ 4 w 16"/>
                  <a:gd name="T69" fmla="*/ 6 h 12"/>
                  <a:gd name="T70" fmla="*/ 4 w 16"/>
                  <a:gd name="T71" fmla="*/ 6 h 12"/>
                  <a:gd name="T72" fmla="*/ 4 w 16"/>
                  <a:gd name="T73" fmla="*/ 6 h 12"/>
                  <a:gd name="T74" fmla="*/ 4 w 16"/>
                  <a:gd name="T75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6" h="12">
                    <a:moveTo>
                      <a:pt x="4" y="6"/>
                    </a:moveTo>
                    <a:lnTo>
                      <a:pt x="4" y="6"/>
                    </a:lnTo>
                    <a:lnTo>
                      <a:pt x="2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0"/>
                    </a:lnTo>
                    <a:lnTo>
                      <a:pt x="10" y="8"/>
                    </a:lnTo>
                    <a:lnTo>
                      <a:pt x="12" y="8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4" y="6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8" y="4"/>
                    </a:lnTo>
                    <a:lnTo>
                      <a:pt x="6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04" name="Freeform 797"/>
              <p:cNvSpPr>
                <a:spLocks/>
              </p:cNvSpPr>
              <p:nvPr/>
            </p:nvSpPr>
            <p:spPr bwMode="auto">
              <a:xfrm>
                <a:off x="4667" y="3034"/>
                <a:ext cx="10" cy="8"/>
              </a:xfrm>
              <a:custGeom>
                <a:avLst/>
                <a:gdLst>
                  <a:gd name="T0" fmla="*/ 0 w 10"/>
                  <a:gd name="T1" fmla="*/ 8 h 8"/>
                  <a:gd name="T2" fmla="*/ 0 w 10"/>
                  <a:gd name="T3" fmla="*/ 8 h 8"/>
                  <a:gd name="T4" fmla="*/ 2 w 10"/>
                  <a:gd name="T5" fmla="*/ 8 h 8"/>
                  <a:gd name="T6" fmla="*/ 4 w 10"/>
                  <a:gd name="T7" fmla="*/ 8 h 8"/>
                  <a:gd name="T8" fmla="*/ 4 w 10"/>
                  <a:gd name="T9" fmla="*/ 8 h 8"/>
                  <a:gd name="T10" fmla="*/ 6 w 10"/>
                  <a:gd name="T11" fmla="*/ 6 h 8"/>
                  <a:gd name="T12" fmla="*/ 8 w 10"/>
                  <a:gd name="T13" fmla="*/ 4 h 8"/>
                  <a:gd name="T14" fmla="*/ 8 w 10"/>
                  <a:gd name="T15" fmla="*/ 4 h 8"/>
                  <a:gd name="T16" fmla="*/ 10 w 10"/>
                  <a:gd name="T17" fmla="*/ 4 h 8"/>
                  <a:gd name="T18" fmla="*/ 10 w 10"/>
                  <a:gd name="T19" fmla="*/ 2 h 8"/>
                  <a:gd name="T20" fmla="*/ 10 w 10"/>
                  <a:gd name="T21" fmla="*/ 2 h 8"/>
                  <a:gd name="T22" fmla="*/ 10 w 10"/>
                  <a:gd name="T23" fmla="*/ 2 h 8"/>
                  <a:gd name="T24" fmla="*/ 10 w 10"/>
                  <a:gd name="T25" fmla="*/ 0 h 8"/>
                  <a:gd name="T26" fmla="*/ 10 w 10"/>
                  <a:gd name="T27" fmla="*/ 0 h 8"/>
                  <a:gd name="T28" fmla="*/ 8 w 10"/>
                  <a:gd name="T29" fmla="*/ 0 h 8"/>
                  <a:gd name="T30" fmla="*/ 8 w 10"/>
                  <a:gd name="T31" fmla="*/ 0 h 8"/>
                  <a:gd name="T32" fmla="*/ 6 w 10"/>
                  <a:gd name="T33" fmla="*/ 0 h 8"/>
                  <a:gd name="T34" fmla="*/ 4 w 10"/>
                  <a:gd name="T35" fmla="*/ 2 h 8"/>
                  <a:gd name="T36" fmla="*/ 2 w 10"/>
                  <a:gd name="T37" fmla="*/ 4 h 8"/>
                  <a:gd name="T38" fmla="*/ 0 w 10"/>
                  <a:gd name="T39" fmla="*/ 6 h 8"/>
                  <a:gd name="T40" fmla="*/ 0 w 10"/>
                  <a:gd name="T41" fmla="*/ 6 h 8"/>
                  <a:gd name="T42" fmla="*/ 0 w 10"/>
                  <a:gd name="T43" fmla="*/ 8 h 8"/>
                  <a:gd name="T44" fmla="*/ 0 w 10"/>
                  <a:gd name="T45" fmla="*/ 8 h 8"/>
                  <a:gd name="T46" fmla="*/ 0 w 10"/>
                  <a:gd name="T47" fmla="*/ 8 h 8"/>
                  <a:gd name="T48" fmla="*/ 0 w 10"/>
                  <a:gd name="T49" fmla="*/ 8 h 8"/>
                  <a:gd name="T50" fmla="*/ 0 w 10"/>
                  <a:gd name="T51" fmla="*/ 8 h 8"/>
                  <a:gd name="T52" fmla="*/ 0 w 10"/>
                  <a:gd name="T53" fmla="*/ 8 h 8"/>
                  <a:gd name="T54" fmla="*/ 0 w 10"/>
                  <a:gd name="T5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0" h="8">
                    <a:moveTo>
                      <a:pt x="0" y="8"/>
                    </a:moveTo>
                    <a:lnTo>
                      <a:pt x="0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0" y="4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05" name="Freeform 799"/>
              <p:cNvSpPr>
                <a:spLocks/>
              </p:cNvSpPr>
              <p:nvPr/>
            </p:nvSpPr>
            <p:spPr bwMode="auto">
              <a:xfrm>
                <a:off x="4807" y="2972"/>
                <a:ext cx="8" cy="12"/>
              </a:xfrm>
              <a:custGeom>
                <a:avLst/>
                <a:gdLst>
                  <a:gd name="T0" fmla="*/ 2 w 8"/>
                  <a:gd name="T1" fmla="*/ 6 h 12"/>
                  <a:gd name="T2" fmla="*/ 2 w 8"/>
                  <a:gd name="T3" fmla="*/ 6 h 12"/>
                  <a:gd name="T4" fmla="*/ 0 w 8"/>
                  <a:gd name="T5" fmla="*/ 8 h 12"/>
                  <a:gd name="T6" fmla="*/ 0 w 8"/>
                  <a:gd name="T7" fmla="*/ 10 h 12"/>
                  <a:gd name="T8" fmla="*/ 0 w 8"/>
                  <a:gd name="T9" fmla="*/ 10 h 12"/>
                  <a:gd name="T10" fmla="*/ 0 w 8"/>
                  <a:gd name="T11" fmla="*/ 10 h 12"/>
                  <a:gd name="T12" fmla="*/ 2 w 8"/>
                  <a:gd name="T13" fmla="*/ 12 h 12"/>
                  <a:gd name="T14" fmla="*/ 2 w 8"/>
                  <a:gd name="T15" fmla="*/ 12 h 12"/>
                  <a:gd name="T16" fmla="*/ 2 w 8"/>
                  <a:gd name="T17" fmla="*/ 12 h 12"/>
                  <a:gd name="T18" fmla="*/ 2 w 8"/>
                  <a:gd name="T19" fmla="*/ 12 h 12"/>
                  <a:gd name="T20" fmla="*/ 4 w 8"/>
                  <a:gd name="T21" fmla="*/ 12 h 12"/>
                  <a:gd name="T22" fmla="*/ 4 w 8"/>
                  <a:gd name="T23" fmla="*/ 10 h 12"/>
                  <a:gd name="T24" fmla="*/ 6 w 8"/>
                  <a:gd name="T25" fmla="*/ 8 h 12"/>
                  <a:gd name="T26" fmla="*/ 8 w 8"/>
                  <a:gd name="T27" fmla="*/ 6 h 12"/>
                  <a:gd name="T28" fmla="*/ 8 w 8"/>
                  <a:gd name="T29" fmla="*/ 6 h 12"/>
                  <a:gd name="T30" fmla="*/ 8 w 8"/>
                  <a:gd name="T31" fmla="*/ 6 h 12"/>
                  <a:gd name="T32" fmla="*/ 8 w 8"/>
                  <a:gd name="T33" fmla="*/ 4 h 12"/>
                  <a:gd name="T34" fmla="*/ 8 w 8"/>
                  <a:gd name="T35" fmla="*/ 0 h 12"/>
                  <a:gd name="T36" fmla="*/ 8 w 8"/>
                  <a:gd name="T37" fmla="*/ 0 h 12"/>
                  <a:gd name="T38" fmla="*/ 8 w 8"/>
                  <a:gd name="T39" fmla="*/ 0 h 12"/>
                  <a:gd name="T40" fmla="*/ 8 w 8"/>
                  <a:gd name="T41" fmla="*/ 0 h 12"/>
                  <a:gd name="T42" fmla="*/ 6 w 8"/>
                  <a:gd name="T43" fmla="*/ 0 h 12"/>
                  <a:gd name="T44" fmla="*/ 6 w 8"/>
                  <a:gd name="T45" fmla="*/ 0 h 12"/>
                  <a:gd name="T46" fmla="*/ 4 w 8"/>
                  <a:gd name="T47" fmla="*/ 0 h 12"/>
                  <a:gd name="T48" fmla="*/ 4 w 8"/>
                  <a:gd name="T49" fmla="*/ 2 h 12"/>
                  <a:gd name="T50" fmla="*/ 2 w 8"/>
                  <a:gd name="T51" fmla="*/ 4 h 12"/>
                  <a:gd name="T52" fmla="*/ 2 w 8"/>
                  <a:gd name="T53" fmla="*/ 6 h 12"/>
                  <a:gd name="T54" fmla="*/ 2 w 8"/>
                  <a:gd name="T55" fmla="*/ 6 h 12"/>
                  <a:gd name="T56" fmla="*/ 2 w 8"/>
                  <a:gd name="T57" fmla="*/ 6 h 12"/>
                  <a:gd name="T58" fmla="*/ 2 w 8"/>
                  <a:gd name="T59" fmla="*/ 6 h 12"/>
                  <a:gd name="T60" fmla="*/ 2 w 8"/>
                  <a:gd name="T61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8" h="12">
                    <a:moveTo>
                      <a:pt x="2" y="6"/>
                    </a:moveTo>
                    <a:lnTo>
                      <a:pt x="2" y="6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2"/>
                    </a:lnTo>
                    <a:lnTo>
                      <a:pt x="4" y="10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06" name="Freeform 800"/>
              <p:cNvSpPr>
                <a:spLocks/>
              </p:cNvSpPr>
              <p:nvPr/>
            </p:nvSpPr>
            <p:spPr bwMode="auto">
              <a:xfrm>
                <a:off x="4837" y="2942"/>
                <a:ext cx="6" cy="6"/>
              </a:xfrm>
              <a:custGeom>
                <a:avLst/>
                <a:gdLst>
                  <a:gd name="T0" fmla="*/ 2 w 6"/>
                  <a:gd name="T1" fmla="*/ 6 h 6"/>
                  <a:gd name="T2" fmla="*/ 2 w 6"/>
                  <a:gd name="T3" fmla="*/ 6 h 6"/>
                  <a:gd name="T4" fmla="*/ 4 w 6"/>
                  <a:gd name="T5" fmla="*/ 6 h 6"/>
                  <a:gd name="T6" fmla="*/ 4 w 6"/>
                  <a:gd name="T7" fmla="*/ 6 h 6"/>
                  <a:gd name="T8" fmla="*/ 4 w 6"/>
                  <a:gd name="T9" fmla="*/ 4 h 6"/>
                  <a:gd name="T10" fmla="*/ 6 w 6"/>
                  <a:gd name="T11" fmla="*/ 4 h 6"/>
                  <a:gd name="T12" fmla="*/ 6 w 6"/>
                  <a:gd name="T13" fmla="*/ 2 h 6"/>
                  <a:gd name="T14" fmla="*/ 6 w 6"/>
                  <a:gd name="T15" fmla="*/ 2 h 6"/>
                  <a:gd name="T16" fmla="*/ 6 w 6"/>
                  <a:gd name="T17" fmla="*/ 0 h 6"/>
                  <a:gd name="T18" fmla="*/ 6 w 6"/>
                  <a:gd name="T19" fmla="*/ 0 h 6"/>
                  <a:gd name="T20" fmla="*/ 6 w 6"/>
                  <a:gd name="T21" fmla="*/ 0 h 6"/>
                  <a:gd name="T22" fmla="*/ 4 w 6"/>
                  <a:gd name="T23" fmla="*/ 0 h 6"/>
                  <a:gd name="T24" fmla="*/ 4 w 6"/>
                  <a:gd name="T25" fmla="*/ 0 h 6"/>
                  <a:gd name="T26" fmla="*/ 2 w 6"/>
                  <a:gd name="T27" fmla="*/ 0 h 6"/>
                  <a:gd name="T28" fmla="*/ 2 w 6"/>
                  <a:gd name="T29" fmla="*/ 0 h 6"/>
                  <a:gd name="T30" fmla="*/ 0 w 6"/>
                  <a:gd name="T31" fmla="*/ 2 h 6"/>
                  <a:gd name="T32" fmla="*/ 0 w 6"/>
                  <a:gd name="T33" fmla="*/ 4 h 6"/>
                  <a:gd name="T34" fmla="*/ 2 w 6"/>
                  <a:gd name="T35" fmla="*/ 4 h 6"/>
                  <a:gd name="T36" fmla="*/ 2 w 6"/>
                  <a:gd name="T37" fmla="*/ 6 h 6"/>
                  <a:gd name="T38" fmla="*/ 2 w 6"/>
                  <a:gd name="T39" fmla="*/ 6 h 6"/>
                  <a:gd name="T40" fmla="*/ 2 w 6"/>
                  <a:gd name="T41" fmla="*/ 6 h 6"/>
                  <a:gd name="T42" fmla="*/ 2 w 6"/>
                  <a:gd name="T43" fmla="*/ 6 h 6"/>
                  <a:gd name="T44" fmla="*/ 2 w 6"/>
                  <a:gd name="T4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" h="6">
                    <a:moveTo>
                      <a:pt x="2" y="6"/>
                    </a:move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07" name="Freeform 802"/>
              <p:cNvSpPr>
                <a:spLocks/>
              </p:cNvSpPr>
              <p:nvPr/>
            </p:nvSpPr>
            <p:spPr bwMode="auto">
              <a:xfrm>
                <a:off x="4855" y="2942"/>
                <a:ext cx="12" cy="28"/>
              </a:xfrm>
              <a:custGeom>
                <a:avLst/>
                <a:gdLst>
                  <a:gd name="T0" fmla="*/ 2 w 12"/>
                  <a:gd name="T1" fmla="*/ 12 h 28"/>
                  <a:gd name="T2" fmla="*/ 2 w 12"/>
                  <a:gd name="T3" fmla="*/ 12 h 28"/>
                  <a:gd name="T4" fmla="*/ 2 w 12"/>
                  <a:gd name="T5" fmla="*/ 14 h 28"/>
                  <a:gd name="T6" fmla="*/ 0 w 12"/>
                  <a:gd name="T7" fmla="*/ 14 h 28"/>
                  <a:gd name="T8" fmla="*/ 0 w 12"/>
                  <a:gd name="T9" fmla="*/ 18 h 28"/>
                  <a:gd name="T10" fmla="*/ 0 w 12"/>
                  <a:gd name="T11" fmla="*/ 18 h 28"/>
                  <a:gd name="T12" fmla="*/ 0 w 12"/>
                  <a:gd name="T13" fmla="*/ 20 h 28"/>
                  <a:gd name="T14" fmla="*/ 0 w 12"/>
                  <a:gd name="T15" fmla="*/ 22 h 28"/>
                  <a:gd name="T16" fmla="*/ 0 w 12"/>
                  <a:gd name="T17" fmla="*/ 24 h 28"/>
                  <a:gd name="T18" fmla="*/ 0 w 12"/>
                  <a:gd name="T19" fmla="*/ 26 h 28"/>
                  <a:gd name="T20" fmla="*/ 0 w 12"/>
                  <a:gd name="T21" fmla="*/ 26 h 28"/>
                  <a:gd name="T22" fmla="*/ 0 w 12"/>
                  <a:gd name="T23" fmla="*/ 28 h 28"/>
                  <a:gd name="T24" fmla="*/ 2 w 12"/>
                  <a:gd name="T25" fmla="*/ 28 h 28"/>
                  <a:gd name="T26" fmla="*/ 2 w 12"/>
                  <a:gd name="T27" fmla="*/ 28 h 28"/>
                  <a:gd name="T28" fmla="*/ 4 w 12"/>
                  <a:gd name="T29" fmla="*/ 28 h 28"/>
                  <a:gd name="T30" fmla="*/ 6 w 12"/>
                  <a:gd name="T31" fmla="*/ 28 h 28"/>
                  <a:gd name="T32" fmla="*/ 6 w 12"/>
                  <a:gd name="T33" fmla="*/ 28 h 28"/>
                  <a:gd name="T34" fmla="*/ 6 w 12"/>
                  <a:gd name="T35" fmla="*/ 26 h 28"/>
                  <a:gd name="T36" fmla="*/ 8 w 12"/>
                  <a:gd name="T37" fmla="*/ 24 h 28"/>
                  <a:gd name="T38" fmla="*/ 8 w 12"/>
                  <a:gd name="T39" fmla="*/ 22 h 28"/>
                  <a:gd name="T40" fmla="*/ 8 w 12"/>
                  <a:gd name="T41" fmla="*/ 20 h 28"/>
                  <a:gd name="T42" fmla="*/ 8 w 12"/>
                  <a:gd name="T43" fmla="*/ 20 h 28"/>
                  <a:gd name="T44" fmla="*/ 8 w 12"/>
                  <a:gd name="T45" fmla="*/ 16 h 28"/>
                  <a:gd name="T46" fmla="*/ 8 w 12"/>
                  <a:gd name="T47" fmla="*/ 16 h 28"/>
                  <a:gd name="T48" fmla="*/ 8 w 12"/>
                  <a:gd name="T49" fmla="*/ 14 h 28"/>
                  <a:gd name="T50" fmla="*/ 8 w 12"/>
                  <a:gd name="T51" fmla="*/ 14 h 28"/>
                  <a:gd name="T52" fmla="*/ 10 w 12"/>
                  <a:gd name="T53" fmla="*/ 12 h 28"/>
                  <a:gd name="T54" fmla="*/ 10 w 12"/>
                  <a:gd name="T55" fmla="*/ 12 h 28"/>
                  <a:gd name="T56" fmla="*/ 12 w 12"/>
                  <a:gd name="T57" fmla="*/ 10 h 28"/>
                  <a:gd name="T58" fmla="*/ 12 w 12"/>
                  <a:gd name="T59" fmla="*/ 8 h 28"/>
                  <a:gd name="T60" fmla="*/ 12 w 12"/>
                  <a:gd name="T61" fmla="*/ 8 h 28"/>
                  <a:gd name="T62" fmla="*/ 12 w 12"/>
                  <a:gd name="T63" fmla="*/ 6 h 28"/>
                  <a:gd name="T64" fmla="*/ 12 w 12"/>
                  <a:gd name="T65" fmla="*/ 6 h 28"/>
                  <a:gd name="T66" fmla="*/ 12 w 12"/>
                  <a:gd name="T67" fmla="*/ 4 h 28"/>
                  <a:gd name="T68" fmla="*/ 12 w 12"/>
                  <a:gd name="T69" fmla="*/ 4 h 28"/>
                  <a:gd name="T70" fmla="*/ 12 w 12"/>
                  <a:gd name="T71" fmla="*/ 4 h 28"/>
                  <a:gd name="T72" fmla="*/ 12 w 12"/>
                  <a:gd name="T73" fmla="*/ 2 h 28"/>
                  <a:gd name="T74" fmla="*/ 12 w 12"/>
                  <a:gd name="T75" fmla="*/ 0 h 28"/>
                  <a:gd name="T76" fmla="*/ 12 w 12"/>
                  <a:gd name="T77" fmla="*/ 0 h 28"/>
                  <a:gd name="T78" fmla="*/ 10 w 12"/>
                  <a:gd name="T79" fmla="*/ 0 h 28"/>
                  <a:gd name="T80" fmla="*/ 10 w 12"/>
                  <a:gd name="T81" fmla="*/ 0 h 28"/>
                  <a:gd name="T82" fmla="*/ 8 w 12"/>
                  <a:gd name="T83" fmla="*/ 0 h 28"/>
                  <a:gd name="T84" fmla="*/ 8 w 12"/>
                  <a:gd name="T85" fmla="*/ 2 h 28"/>
                  <a:gd name="T86" fmla="*/ 8 w 12"/>
                  <a:gd name="T87" fmla="*/ 2 h 28"/>
                  <a:gd name="T88" fmla="*/ 6 w 12"/>
                  <a:gd name="T89" fmla="*/ 4 h 28"/>
                  <a:gd name="T90" fmla="*/ 4 w 12"/>
                  <a:gd name="T91" fmla="*/ 6 h 28"/>
                  <a:gd name="T92" fmla="*/ 2 w 12"/>
                  <a:gd name="T93" fmla="*/ 12 h 28"/>
                  <a:gd name="T94" fmla="*/ 2 w 12"/>
                  <a:gd name="T95" fmla="*/ 12 h 28"/>
                  <a:gd name="T96" fmla="*/ 2 w 12"/>
                  <a:gd name="T97" fmla="*/ 12 h 28"/>
                  <a:gd name="T98" fmla="*/ 2 w 12"/>
                  <a:gd name="T99" fmla="*/ 12 h 28"/>
                  <a:gd name="T100" fmla="*/ 2 w 12"/>
                  <a:gd name="T101" fmla="*/ 1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2" h="28">
                    <a:moveTo>
                      <a:pt x="2" y="12"/>
                    </a:moveTo>
                    <a:lnTo>
                      <a:pt x="2" y="12"/>
                    </a:lnTo>
                    <a:lnTo>
                      <a:pt x="2" y="14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20"/>
                    </a:lnTo>
                    <a:lnTo>
                      <a:pt x="0" y="22"/>
                    </a:lnTo>
                    <a:lnTo>
                      <a:pt x="0" y="24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8"/>
                    </a:lnTo>
                    <a:lnTo>
                      <a:pt x="2" y="28"/>
                    </a:lnTo>
                    <a:lnTo>
                      <a:pt x="2" y="28"/>
                    </a:lnTo>
                    <a:lnTo>
                      <a:pt x="4" y="28"/>
                    </a:lnTo>
                    <a:lnTo>
                      <a:pt x="6" y="28"/>
                    </a:lnTo>
                    <a:lnTo>
                      <a:pt x="6" y="28"/>
                    </a:lnTo>
                    <a:lnTo>
                      <a:pt x="6" y="26"/>
                    </a:lnTo>
                    <a:lnTo>
                      <a:pt x="8" y="24"/>
                    </a:lnTo>
                    <a:lnTo>
                      <a:pt x="8" y="22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2" y="10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4"/>
                    </a:lnTo>
                    <a:lnTo>
                      <a:pt x="4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08" name="Freeform 804"/>
              <p:cNvSpPr>
                <a:spLocks/>
              </p:cNvSpPr>
              <p:nvPr/>
            </p:nvSpPr>
            <p:spPr bwMode="auto">
              <a:xfrm>
                <a:off x="4615" y="2800"/>
                <a:ext cx="108" cy="140"/>
              </a:xfrm>
              <a:custGeom>
                <a:avLst/>
                <a:gdLst>
                  <a:gd name="T0" fmla="*/ 90 w 108"/>
                  <a:gd name="T1" fmla="*/ 6 h 140"/>
                  <a:gd name="T2" fmla="*/ 88 w 108"/>
                  <a:gd name="T3" fmla="*/ 12 h 140"/>
                  <a:gd name="T4" fmla="*/ 76 w 108"/>
                  <a:gd name="T5" fmla="*/ 12 h 140"/>
                  <a:gd name="T6" fmla="*/ 64 w 108"/>
                  <a:gd name="T7" fmla="*/ 10 h 140"/>
                  <a:gd name="T8" fmla="*/ 48 w 108"/>
                  <a:gd name="T9" fmla="*/ 8 h 140"/>
                  <a:gd name="T10" fmla="*/ 36 w 108"/>
                  <a:gd name="T11" fmla="*/ 4 h 140"/>
                  <a:gd name="T12" fmla="*/ 32 w 108"/>
                  <a:gd name="T13" fmla="*/ 14 h 140"/>
                  <a:gd name="T14" fmla="*/ 22 w 108"/>
                  <a:gd name="T15" fmla="*/ 20 h 140"/>
                  <a:gd name="T16" fmla="*/ 18 w 108"/>
                  <a:gd name="T17" fmla="*/ 26 h 140"/>
                  <a:gd name="T18" fmla="*/ 18 w 108"/>
                  <a:gd name="T19" fmla="*/ 40 h 140"/>
                  <a:gd name="T20" fmla="*/ 12 w 108"/>
                  <a:gd name="T21" fmla="*/ 46 h 140"/>
                  <a:gd name="T22" fmla="*/ 8 w 108"/>
                  <a:gd name="T23" fmla="*/ 70 h 140"/>
                  <a:gd name="T24" fmla="*/ 0 w 108"/>
                  <a:gd name="T25" fmla="*/ 82 h 140"/>
                  <a:gd name="T26" fmla="*/ 2 w 108"/>
                  <a:gd name="T27" fmla="*/ 94 h 140"/>
                  <a:gd name="T28" fmla="*/ 8 w 108"/>
                  <a:gd name="T29" fmla="*/ 98 h 140"/>
                  <a:gd name="T30" fmla="*/ 14 w 108"/>
                  <a:gd name="T31" fmla="*/ 106 h 140"/>
                  <a:gd name="T32" fmla="*/ 10 w 108"/>
                  <a:gd name="T33" fmla="*/ 124 h 140"/>
                  <a:gd name="T34" fmla="*/ 8 w 108"/>
                  <a:gd name="T35" fmla="*/ 138 h 140"/>
                  <a:gd name="T36" fmla="*/ 20 w 108"/>
                  <a:gd name="T37" fmla="*/ 140 h 140"/>
                  <a:gd name="T38" fmla="*/ 22 w 108"/>
                  <a:gd name="T39" fmla="*/ 132 h 140"/>
                  <a:gd name="T40" fmla="*/ 22 w 108"/>
                  <a:gd name="T41" fmla="*/ 122 h 140"/>
                  <a:gd name="T42" fmla="*/ 26 w 108"/>
                  <a:gd name="T43" fmla="*/ 108 h 140"/>
                  <a:gd name="T44" fmla="*/ 28 w 108"/>
                  <a:gd name="T45" fmla="*/ 88 h 140"/>
                  <a:gd name="T46" fmla="*/ 28 w 108"/>
                  <a:gd name="T47" fmla="*/ 72 h 140"/>
                  <a:gd name="T48" fmla="*/ 38 w 108"/>
                  <a:gd name="T49" fmla="*/ 78 h 140"/>
                  <a:gd name="T50" fmla="*/ 36 w 108"/>
                  <a:gd name="T51" fmla="*/ 86 h 140"/>
                  <a:gd name="T52" fmla="*/ 44 w 108"/>
                  <a:gd name="T53" fmla="*/ 98 h 140"/>
                  <a:gd name="T54" fmla="*/ 46 w 108"/>
                  <a:gd name="T55" fmla="*/ 110 h 140"/>
                  <a:gd name="T56" fmla="*/ 44 w 108"/>
                  <a:gd name="T57" fmla="*/ 120 h 140"/>
                  <a:gd name="T58" fmla="*/ 48 w 108"/>
                  <a:gd name="T59" fmla="*/ 130 h 140"/>
                  <a:gd name="T60" fmla="*/ 58 w 108"/>
                  <a:gd name="T61" fmla="*/ 130 h 140"/>
                  <a:gd name="T62" fmla="*/ 60 w 108"/>
                  <a:gd name="T63" fmla="*/ 122 h 140"/>
                  <a:gd name="T64" fmla="*/ 64 w 108"/>
                  <a:gd name="T65" fmla="*/ 124 h 140"/>
                  <a:gd name="T66" fmla="*/ 70 w 108"/>
                  <a:gd name="T67" fmla="*/ 130 h 140"/>
                  <a:gd name="T68" fmla="*/ 72 w 108"/>
                  <a:gd name="T69" fmla="*/ 136 h 140"/>
                  <a:gd name="T70" fmla="*/ 72 w 108"/>
                  <a:gd name="T71" fmla="*/ 126 h 140"/>
                  <a:gd name="T72" fmla="*/ 74 w 108"/>
                  <a:gd name="T73" fmla="*/ 118 h 140"/>
                  <a:gd name="T74" fmla="*/ 68 w 108"/>
                  <a:gd name="T75" fmla="*/ 112 h 140"/>
                  <a:gd name="T76" fmla="*/ 62 w 108"/>
                  <a:gd name="T77" fmla="*/ 100 h 140"/>
                  <a:gd name="T78" fmla="*/ 60 w 108"/>
                  <a:gd name="T79" fmla="*/ 88 h 140"/>
                  <a:gd name="T80" fmla="*/ 56 w 108"/>
                  <a:gd name="T81" fmla="*/ 74 h 140"/>
                  <a:gd name="T82" fmla="*/ 48 w 108"/>
                  <a:gd name="T83" fmla="*/ 62 h 140"/>
                  <a:gd name="T84" fmla="*/ 56 w 108"/>
                  <a:gd name="T85" fmla="*/ 60 h 140"/>
                  <a:gd name="T86" fmla="*/ 70 w 108"/>
                  <a:gd name="T87" fmla="*/ 52 h 140"/>
                  <a:gd name="T88" fmla="*/ 74 w 108"/>
                  <a:gd name="T89" fmla="*/ 46 h 140"/>
                  <a:gd name="T90" fmla="*/ 76 w 108"/>
                  <a:gd name="T91" fmla="*/ 42 h 140"/>
                  <a:gd name="T92" fmla="*/ 70 w 108"/>
                  <a:gd name="T93" fmla="*/ 36 h 140"/>
                  <a:gd name="T94" fmla="*/ 64 w 108"/>
                  <a:gd name="T95" fmla="*/ 42 h 140"/>
                  <a:gd name="T96" fmla="*/ 48 w 108"/>
                  <a:gd name="T97" fmla="*/ 44 h 140"/>
                  <a:gd name="T98" fmla="*/ 44 w 108"/>
                  <a:gd name="T99" fmla="*/ 50 h 140"/>
                  <a:gd name="T100" fmla="*/ 34 w 108"/>
                  <a:gd name="T101" fmla="*/ 46 h 140"/>
                  <a:gd name="T102" fmla="*/ 26 w 108"/>
                  <a:gd name="T103" fmla="*/ 40 h 140"/>
                  <a:gd name="T104" fmla="*/ 28 w 108"/>
                  <a:gd name="T105" fmla="*/ 24 h 140"/>
                  <a:gd name="T106" fmla="*/ 42 w 108"/>
                  <a:gd name="T107" fmla="*/ 20 h 140"/>
                  <a:gd name="T108" fmla="*/ 52 w 108"/>
                  <a:gd name="T109" fmla="*/ 22 h 140"/>
                  <a:gd name="T110" fmla="*/ 64 w 108"/>
                  <a:gd name="T111" fmla="*/ 20 h 140"/>
                  <a:gd name="T112" fmla="*/ 80 w 108"/>
                  <a:gd name="T113" fmla="*/ 24 h 140"/>
                  <a:gd name="T114" fmla="*/ 88 w 108"/>
                  <a:gd name="T115" fmla="*/ 22 h 140"/>
                  <a:gd name="T116" fmla="*/ 98 w 108"/>
                  <a:gd name="T117" fmla="*/ 16 h 140"/>
                  <a:gd name="T118" fmla="*/ 108 w 108"/>
                  <a:gd name="T119" fmla="*/ 4 h 140"/>
                  <a:gd name="T120" fmla="*/ 102 w 108"/>
                  <a:gd name="T121" fmla="*/ 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08" h="140">
                    <a:moveTo>
                      <a:pt x="98" y="2"/>
                    </a:moveTo>
                    <a:lnTo>
                      <a:pt x="98" y="2"/>
                    </a:lnTo>
                    <a:lnTo>
                      <a:pt x="96" y="4"/>
                    </a:lnTo>
                    <a:lnTo>
                      <a:pt x="96" y="4"/>
                    </a:lnTo>
                    <a:lnTo>
                      <a:pt x="92" y="6"/>
                    </a:lnTo>
                    <a:lnTo>
                      <a:pt x="92" y="6"/>
                    </a:lnTo>
                    <a:lnTo>
                      <a:pt x="90" y="6"/>
                    </a:lnTo>
                    <a:lnTo>
                      <a:pt x="90" y="6"/>
                    </a:lnTo>
                    <a:lnTo>
                      <a:pt x="90" y="8"/>
                    </a:lnTo>
                    <a:lnTo>
                      <a:pt x="90" y="8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2"/>
                    </a:lnTo>
                    <a:lnTo>
                      <a:pt x="90" y="12"/>
                    </a:lnTo>
                    <a:lnTo>
                      <a:pt x="90" y="12"/>
                    </a:lnTo>
                    <a:lnTo>
                      <a:pt x="88" y="12"/>
                    </a:lnTo>
                    <a:lnTo>
                      <a:pt x="86" y="12"/>
                    </a:lnTo>
                    <a:lnTo>
                      <a:pt x="84" y="10"/>
                    </a:lnTo>
                    <a:lnTo>
                      <a:pt x="84" y="10"/>
                    </a:lnTo>
                    <a:lnTo>
                      <a:pt x="82" y="10"/>
                    </a:lnTo>
                    <a:lnTo>
                      <a:pt x="80" y="10"/>
                    </a:lnTo>
                    <a:lnTo>
                      <a:pt x="78" y="10"/>
                    </a:lnTo>
                    <a:lnTo>
                      <a:pt x="76" y="12"/>
                    </a:lnTo>
                    <a:lnTo>
                      <a:pt x="76" y="12"/>
                    </a:lnTo>
                    <a:lnTo>
                      <a:pt x="74" y="12"/>
                    </a:lnTo>
                    <a:lnTo>
                      <a:pt x="72" y="12"/>
                    </a:lnTo>
                    <a:lnTo>
                      <a:pt x="70" y="12"/>
                    </a:lnTo>
                    <a:lnTo>
                      <a:pt x="70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4" y="10"/>
                    </a:lnTo>
                    <a:lnTo>
                      <a:pt x="64" y="10"/>
                    </a:lnTo>
                    <a:lnTo>
                      <a:pt x="64" y="10"/>
                    </a:lnTo>
                    <a:lnTo>
                      <a:pt x="62" y="10"/>
                    </a:lnTo>
                    <a:lnTo>
                      <a:pt x="58" y="10"/>
                    </a:lnTo>
                    <a:lnTo>
                      <a:pt x="58" y="10"/>
                    </a:lnTo>
                    <a:lnTo>
                      <a:pt x="54" y="8"/>
                    </a:lnTo>
                    <a:lnTo>
                      <a:pt x="50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6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4" y="4"/>
                    </a:lnTo>
                    <a:lnTo>
                      <a:pt x="40" y="2"/>
                    </a:lnTo>
                    <a:lnTo>
                      <a:pt x="38" y="2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4" y="8"/>
                    </a:lnTo>
                    <a:lnTo>
                      <a:pt x="34" y="10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4"/>
                    </a:lnTo>
                    <a:lnTo>
                      <a:pt x="30" y="14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2" y="22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8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4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8" y="40"/>
                    </a:lnTo>
                    <a:lnTo>
                      <a:pt x="18" y="42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6" y="44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2" y="46"/>
                    </a:lnTo>
                    <a:lnTo>
                      <a:pt x="12" y="46"/>
                    </a:lnTo>
                    <a:lnTo>
                      <a:pt x="10" y="50"/>
                    </a:lnTo>
                    <a:lnTo>
                      <a:pt x="10" y="54"/>
                    </a:lnTo>
                    <a:lnTo>
                      <a:pt x="8" y="56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4"/>
                    </a:lnTo>
                    <a:lnTo>
                      <a:pt x="8" y="68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2"/>
                    </a:lnTo>
                    <a:lnTo>
                      <a:pt x="6" y="74"/>
                    </a:lnTo>
                    <a:lnTo>
                      <a:pt x="6" y="74"/>
                    </a:lnTo>
                    <a:lnTo>
                      <a:pt x="4" y="76"/>
                    </a:lnTo>
                    <a:lnTo>
                      <a:pt x="2" y="78"/>
                    </a:lnTo>
                    <a:lnTo>
                      <a:pt x="2" y="80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84"/>
                    </a:lnTo>
                    <a:lnTo>
                      <a:pt x="0" y="88"/>
                    </a:lnTo>
                    <a:lnTo>
                      <a:pt x="0" y="88"/>
                    </a:lnTo>
                    <a:lnTo>
                      <a:pt x="2" y="90"/>
                    </a:lnTo>
                    <a:lnTo>
                      <a:pt x="2" y="92"/>
                    </a:lnTo>
                    <a:lnTo>
                      <a:pt x="0" y="92"/>
                    </a:lnTo>
                    <a:lnTo>
                      <a:pt x="2" y="94"/>
                    </a:lnTo>
                    <a:lnTo>
                      <a:pt x="2" y="94"/>
                    </a:lnTo>
                    <a:lnTo>
                      <a:pt x="2" y="96"/>
                    </a:lnTo>
                    <a:lnTo>
                      <a:pt x="4" y="96"/>
                    </a:lnTo>
                    <a:lnTo>
                      <a:pt x="4" y="96"/>
                    </a:lnTo>
                    <a:lnTo>
                      <a:pt x="6" y="96"/>
                    </a:lnTo>
                    <a:lnTo>
                      <a:pt x="6" y="96"/>
                    </a:lnTo>
                    <a:lnTo>
                      <a:pt x="8" y="98"/>
                    </a:lnTo>
                    <a:lnTo>
                      <a:pt x="8" y="98"/>
                    </a:lnTo>
                    <a:lnTo>
                      <a:pt x="10" y="100"/>
                    </a:lnTo>
                    <a:lnTo>
                      <a:pt x="10" y="102"/>
                    </a:lnTo>
                    <a:lnTo>
                      <a:pt x="10" y="102"/>
                    </a:lnTo>
                    <a:lnTo>
                      <a:pt x="10" y="102"/>
                    </a:lnTo>
                    <a:lnTo>
                      <a:pt x="12" y="104"/>
                    </a:lnTo>
                    <a:lnTo>
                      <a:pt x="12" y="106"/>
                    </a:lnTo>
                    <a:lnTo>
                      <a:pt x="14" y="106"/>
                    </a:lnTo>
                    <a:lnTo>
                      <a:pt x="14" y="106"/>
                    </a:lnTo>
                    <a:lnTo>
                      <a:pt x="14" y="108"/>
                    </a:lnTo>
                    <a:lnTo>
                      <a:pt x="14" y="112"/>
                    </a:lnTo>
                    <a:lnTo>
                      <a:pt x="12" y="116"/>
                    </a:lnTo>
                    <a:lnTo>
                      <a:pt x="12" y="116"/>
                    </a:lnTo>
                    <a:lnTo>
                      <a:pt x="12" y="118"/>
                    </a:lnTo>
                    <a:lnTo>
                      <a:pt x="12" y="122"/>
                    </a:lnTo>
                    <a:lnTo>
                      <a:pt x="12" y="122"/>
                    </a:lnTo>
                    <a:lnTo>
                      <a:pt x="10" y="124"/>
                    </a:lnTo>
                    <a:lnTo>
                      <a:pt x="10" y="126"/>
                    </a:lnTo>
                    <a:lnTo>
                      <a:pt x="8" y="130"/>
                    </a:lnTo>
                    <a:lnTo>
                      <a:pt x="6" y="132"/>
                    </a:lnTo>
                    <a:lnTo>
                      <a:pt x="6" y="134"/>
                    </a:lnTo>
                    <a:lnTo>
                      <a:pt x="6" y="134"/>
                    </a:lnTo>
                    <a:lnTo>
                      <a:pt x="6" y="136"/>
                    </a:lnTo>
                    <a:lnTo>
                      <a:pt x="6" y="136"/>
                    </a:lnTo>
                    <a:lnTo>
                      <a:pt x="8" y="138"/>
                    </a:lnTo>
                    <a:lnTo>
                      <a:pt x="8" y="138"/>
                    </a:lnTo>
                    <a:lnTo>
                      <a:pt x="10" y="138"/>
                    </a:lnTo>
                    <a:lnTo>
                      <a:pt x="12" y="136"/>
                    </a:lnTo>
                    <a:lnTo>
                      <a:pt x="14" y="136"/>
                    </a:lnTo>
                    <a:lnTo>
                      <a:pt x="14" y="136"/>
                    </a:lnTo>
                    <a:lnTo>
                      <a:pt x="16" y="138"/>
                    </a:lnTo>
                    <a:lnTo>
                      <a:pt x="18" y="138"/>
                    </a:lnTo>
                    <a:lnTo>
                      <a:pt x="20" y="140"/>
                    </a:lnTo>
                    <a:lnTo>
                      <a:pt x="20" y="140"/>
                    </a:lnTo>
                    <a:lnTo>
                      <a:pt x="22" y="138"/>
                    </a:lnTo>
                    <a:lnTo>
                      <a:pt x="22" y="138"/>
                    </a:lnTo>
                    <a:lnTo>
                      <a:pt x="22" y="138"/>
                    </a:lnTo>
                    <a:lnTo>
                      <a:pt x="22" y="138"/>
                    </a:lnTo>
                    <a:lnTo>
                      <a:pt x="22" y="136"/>
                    </a:lnTo>
                    <a:lnTo>
                      <a:pt x="22" y="134"/>
                    </a:lnTo>
                    <a:lnTo>
                      <a:pt x="22" y="132"/>
                    </a:lnTo>
                    <a:lnTo>
                      <a:pt x="22" y="132"/>
                    </a:lnTo>
                    <a:lnTo>
                      <a:pt x="22" y="130"/>
                    </a:lnTo>
                    <a:lnTo>
                      <a:pt x="24" y="130"/>
                    </a:lnTo>
                    <a:lnTo>
                      <a:pt x="24" y="128"/>
                    </a:lnTo>
                    <a:lnTo>
                      <a:pt x="24" y="126"/>
                    </a:lnTo>
                    <a:lnTo>
                      <a:pt x="24" y="126"/>
                    </a:lnTo>
                    <a:lnTo>
                      <a:pt x="22" y="122"/>
                    </a:lnTo>
                    <a:lnTo>
                      <a:pt x="22" y="122"/>
                    </a:lnTo>
                    <a:lnTo>
                      <a:pt x="22" y="120"/>
                    </a:lnTo>
                    <a:lnTo>
                      <a:pt x="22" y="120"/>
                    </a:lnTo>
                    <a:lnTo>
                      <a:pt x="24" y="118"/>
                    </a:lnTo>
                    <a:lnTo>
                      <a:pt x="24" y="116"/>
                    </a:lnTo>
                    <a:lnTo>
                      <a:pt x="26" y="112"/>
                    </a:lnTo>
                    <a:lnTo>
                      <a:pt x="26" y="112"/>
                    </a:lnTo>
                    <a:lnTo>
                      <a:pt x="26" y="110"/>
                    </a:lnTo>
                    <a:lnTo>
                      <a:pt x="26" y="108"/>
                    </a:lnTo>
                    <a:lnTo>
                      <a:pt x="26" y="104"/>
                    </a:lnTo>
                    <a:lnTo>
                      <a:pt x="26" y="98"/>
                    </a:lnTo>
                    <a:lnTo>
                      <a:pt x="28" y="94"/>
                    </a:lnTo>
                    <a:lnTo>
                      <a:pt x="28" y="94"/>
                    </a:lnTo>
                    <a:lnTo>
                      <a:pt x="28" y="92"/>
                    </a:lnTo>
                    <a:lnTo>
                      <a:pt x="28" y="90"/>
                    </a:lnTo>
                    <a:lnTo>
                      <a:pt x="28" y="88"/>
                    </a:lnTo>
                    <a:lnTo>
                      <a:pt x="28" y="88"/>
                    </a:lnTo>
                    <a:lnTo>
                      <a:pt x="26" y="84"/>
                    </a:lnTo>
                    <a:lnTo>
                      <a:pt x="26" y="82"/>
                    </a:lnTo>
                    <a:lnTo>
                      <a:pt x="26" y="80"/>
                    </a:lnTo>
                    <a:lnTo>
                      <a:pt x="26" y="80"/>
                    </a:lnTo>
                    <a:lnTo>
                      <a:pt x="26" y="76"/>
                    </a:lnTo>
                    <a:lnTo>
                      <a:pt x="26" y="74"/>
                    </a:lnTo>
                    <a:lnTo>
                      <a:pt x="28" y="72"/>
                    </a:lnTo>
                    <a:lnTo>
                      <a:pt x="28" y="72"/>
                    </a:lnTo>
                    <a:lnTo>
                      <a:pt x="28" y="72"/>
                    </a:lnTo>
                    <a:lnTo>
                      <a:pt x="28" y="72"/>
                    </a:lnTo>
                    <a:lnTo>
                      <a:pt x="30" y="72"/>
                    </a:lnTo>
                    <a:lnTo>
                      <a:pt x="32" y="74"/>
                    </a:lnTo>
                    <a:lnTo>
                      <a:pt x="34" y="74"/>
                    </a:lnTo>
                    <a:lnTo>
                      <a:pt x="34" y="74"/>
                    </a:lnTo>
                    <a:lnTo>
                      <a:pt x="38" y="78"/>
                    </a:lnTo>
                    <a:lnTo>
                      <a:pt x="38" y="78"/>
                    </a:lnTo>
                    <a:lnTo>
                      <a:pt x="38" y="78"/>
                    </a:lnTo>
                    <a:lnTo>
                      <a:pt x="38" y="78"/>
                    </a:lnTo>
                    <a:lnTo>
                      <a:pt x="40" y="80"/>
                    </a:lnTo>
                    <a:lnTo>
                      <a:pt x="40" y="80"/>
                    </a:lnTo>
                    <a:lnTo>
                      <a:pt x="40" y="80"/>
                    </a:lnTo>
                    <a:lnTo>
                      <a:pt x="38" y="82"/>
                    </a:lnTo>
                    <a:lnTo>
                      <a:pt x="38" y="84"/>
                    </a:lnTo>
                    <a:lnTo>
                      <a:pt x="36" y="86"/>
                    </a:lnTo>
                    <a:lnTo>
                      <a:pt x="34" y="88"/>
                    </a:lnTo>
                    <a:lnTo>
                      <a:pt x="34" y="88"/>
                    </a:lnTo>
                    <a:lnTo>
                      <a:pt x="36" y="90"/>
                    </a:lnTo>
                    <a:lnTo>
                      <a:pt x="36" y="92"/>
                    </a:lnTo>
                    <a:lnTo>
                      <a:pt x="38" y="92"/>
                    </a:lnTo>
                    <a:lnTo>
                      <a:pt x="38" y="94"/>
                    </a:lnTo>
                    <a:lnTo>
                      <a:pt x="42" y="96"/>
                    </a:lnTo>
                    <a:lnTo>
                      <a:pt x="44" y="98"/>
                    </a:lnTo>
                    <a:lnTo>
                      <a:pt x="44" y="100"/>
                    </a:lnTo>
                    <a:lnTo>
                      <a:pt x="44" y="100"/>
                    </a:lnTo>
                    <a:lnTo>
                      <a:pt x="44" y="102"/>
                    </a:lnTo>
                    <a:lnTo>
                      <a:pt x="44" y="104"/>
                    </a:lnTo>
                    <a:lnTo>
                      <a:pt x="44" y="106"/>
                    </a:lnTo>
                    <a:lnTo>
                      <a:pt x="44" y="106"/>
                    </a:lnTo>
                    <a:lnTo>
                      <a:pt x="44" y="106"/>
                    </a:lnTo>
                    <a:lnTo>
                      <a:pt x="46" y="110"/>
                    </a:lnTo>
                    <a:lnTo>
                      <a:pt x="46" y="110"/>
                    </a:lnTo>
                    <a:lnTo>
                      <a:pt x="46" y="112"/>
                    </a:lnTo>
                    <a:lnTo>
                      <a:pt x="46" y="112"/>
                    </a:lnTo>
                    <a:lnTo>
                      <a:pt x="44" y="116"/>
                    </a:lnTo>
                    <a:lnTo>
                      <a:pt x="44" y="116"/>
                    </a:lnTo>
                    <a:lnTo>
                      <a:pt x="44" y="118"/>
                    </a:lnTo>
                    <a:lnTo>
                      <a:pt x="44" y="118"/>
                    </a:lnTo>
                    <a:lnTo>
                      <a:pt x="44" y="120"/>
                    </a:lnTo>
                    <a:lnTo>
                      <a:pt x="44" y="120"/>
                    </a:lnTo>
                    <a:lnTo>
                      <a:pt x="46" y="124"/>
                    </a:lnTo>
                    <a:lnTo>
                      <a:pt x="46" y="124"/>
                    </a:lnTo>
                    <a:lnTo>
                      <a:pt x="46" y="126"/>
                    </a:lnTo>
                    <a:lnTo>
                      <a:pt x="46" y="128"/>
                    </a:lnTo>
                    <a:lnTo>
                      <a:pt x="46" y="130"/>
                    </a:lnTo>
                    <a:lnTo>
                      <a:pt x="48" y="130"/>
                    </a:lnTo>
                    <a:lnTo>
                      <a:pt x="48" y="130"/>
                    </a:lnTo>
                    <a:lnTo>
                      <a:pt x="48" y="132"/>
                    </a:lnTo>
                    <a:lnTo>
                      <a:pt x="48" y="132"/>
                    </a:lnTo>
                    <a:lnTo>
                      <a:pt x="48" y="132"/>
                    </a:lnTo>
                    <a:lnTo>
                      <a:pt x="52" y="130"/>
                    </a:lnTo>
                    <a:lnTo>
                      <a:pt x="52" y="130"/>
                    </a:lnTo>
                    <a:lnTo>
                      <a:pt x="54" y="130"/>
                    </a:lnTo>
                    <a:lnTo>
                      <a:pt x="56" y="130"/>
                    </a:lnTo>
                    <a:lnTo>
                      <a:pt x="58" y="130"/>
                    </a:lnTo>
                    <a:lnTo>
                      <a:pt x="58" y="128"/>
                    </a:lnTo>
                    <a:lnTo>
                      <a:pt x="58" y="128"/>
                    </a:lnTo>
                    <a:lnTo>
                      <a:pt x="58" y="128"/>
                    </a:lnTo>
                    <a:lnTo>
                      <a:pt x="60" y="128"/>
                    </a:lnTo>
                    <a:lnTo>
                      <a:pt x="60" y="126"/>
                    </a:lnTo>
                    <a:lnTo>
                      <a:pt x="60" y="124"/>
                    </a:lnTo>
                    <a:lnTo>
                      <a:pt x="58" y="122"/>
                    </a:lnTo>
                    <a:lnTo>
                      <a:pt x="60" y="122"/>
                    </a:lnTo>
                    <a:lnTo>
                      <a:pt x="60" y="120"/>
                    </a:lnTo>
                    <a:lnTo>
                      <a:pt x="60" y="120"/>
                    </a:lnTo>
                    <a:lnTo>
                      <a:pt x="60" y="120"/>
                    </a:lnTo>
                    <a:lnTo>
                      <a:pt x="62" y="120"/>
                    </a:lnTo>
                    <a:lnTo>
                      <a:pt x="62" y="120"/>
                    </a:lnTo>
                    <a:lnTo>
                      <a:pt x="64" y="120"/>
                    </a:lnTo>
                    <a:lnTo>
                      <a:pt x="64" y="122"/>
                    </a:lnTo>
                    <a:lnTo>
                      <a:pt x="64" y="124"/>
                    </a:lnTo>
                    <a:lnTo>
                      <a:pt x="64" y="124"/>
                    </a:lnTo>
                    <a:lnTo>
                      <a:pt x="66" y="126"/>
                    </a:lnTo>
                    <a:lnTo>
                      <a:pt x="66" y="126"/>
                    </a:lnTo>
                    <a:lnTo>
                      <a:pt x="68" y="126"/>
                    </a:lnTo>
                    <a:lnTo>
                      <a:pt x="68" y="128"/>
                    </a:lnTo>
                    <a:lnTo>
                      <a:pt x="68" y="128"/>
                    </a:lnTo>
                    <a:lnTo>
                      <a:pt x="70" y="128"/>
                    </a:lnTo>
                    <a:lnTo>
                      <a:pt x="70" y="130"/>
                    </a:lnTo>
                    <a:lnTo>
                      <a:pt x="70" y="132"/>
                    </a:lnTo>
                    <a:lnTo>
                      <a:pt x="70" y="134"/>
                    </a:lnTo>
                    <a:lnTo>
                      <a:pt x="70" y="136"/>
                    </a:lnTo>
                    <a:lnTo>
                      <a:pt x="70" y="136"/>
                    </a:lnTo>
                    <a:lnTo>
                      <a:pt x="70" y="136"/>
                    </a:lnTo>
                    <a:lnTo>
                      <a:pt x="72" y="136"/>
                    </a:lnTo>
                    <a:lnTo>
                      <a:pt x="72" y="136"/>
                    </a:lnTo>
                    <a:lnTo>
                      <a:pt x="72" y="136"/>
                    </a:lnTo>
                    <a:lnTo>
                      <a:pt x="72" y="134"/>
                    </a:lnTo>
                    <a:lnTo>
                      <a:pt x="74" y="132"/>
                    </a:lnTo>
                    <a:lnTo>
                      <a:pt x="74" y="132"/>
                    </a:lnTo>
                    <a:lnTo>
                      <a:pt x="74" y="130"/>
                    </a:lnTo>
                    <a:lnTo>
                      <a:pt x="74" y="130"/>
                    </a:lnTo>
                    <a:lnTo>
                      <a:pt x="72" y="128"/>
                    </a:lnTo>
                    <a:lnTo>
                      <a:pt x="72" y="126"/>
                    </a:lnTo>
                    <a:lnTo>
                      <a:pt x="72" y="126"/>
                    </a:lnTo>
                    <a:lnTo>
                      <a:pt x="72" y="124"/>
                    </a:lnTo>
                    <a:lnTo>
                      <a:pt x="74" y="122"/>
                    </a:lnTo>
                    <a:lnTo>
                      <a:pt x="74" y="120"/>
                    </a:lnTo>
                    <a:lnTo>
                      <a:pt x="74" y="120"/>
                    </a:lnTo>
                    <a:lnTo>
                      <a:pt x="74" y="120"/>
                    </a:lnTo>
                    <a:lnTo>
                      <a:pt x="74" y="120"/>
                    </a:lnTo>
                    <a:lnTo>
                      <a:pt x="74" y="118"/>
                    </a:lnTo>
                    <a:lnTo>
                      <a:pt x="74" y="118"/>
                    </a:lnTo>
                    <a:lnTo>
                      <a:pt x="74" y="118"/>
                    </a:lnTo>
                    <a:lnTo>
                      <a:pt x="72" y="116"/>
                    </a:lnTo>
                    <a:lnTo>
                      <a:pt x="72" y="116"/>
                    </a:lnTo>
                    <a:lnTo>
                      <a:pt x="70" y="116"/>
                    </a:lnTo>
                    <a:lnTo>
                      <a:pt x="70" y="116"/>
                    </a:lnTo>
                    <a:lnTo>
                      <a:pt x="70" y="114"/>
                    </a:lnTo>
                    <a:lnTo>
                      <a:pt x="68" y="114"/>
                    </a:lnTo>
                    <a:lnTo>
                      <a:pt x="68" y="112"/>
                    </a:lnTo>
                    <a:lnTo>
                      <a:pt x="68" y="110"/>
                    </a:lnTo>
                    <a:lnTo>
                      <a:pt x="68" y="108"/>
                    </a:lnTo>
                    <a:lnTo>
                      <a:pt x="68" y="108"/>
                    </a:lnTo>
                    <a:lnTo>
                      <a:pt x="66" y="104"/>
                    </a:lnTo>
                    <a:lnTo>
                      <a:pt x="64" y="102"/>
                    </a:lnTo>
                    <a:lnTo>
                      <a:pt x="64" y="102"/>
                    </a:lnTo>
                    <a:lnTo>
                      <a:pt x="62" y="100"/>
                    </a:lnTo>
                    <a:lnTo>
                      <a:pt x="62" y="100"/>
                    </a:lnTo>
                    <a:lnTo>
                      <a:pt x="60" y="98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88"/>
                    </a:lnTo>
                    <a:lnTo>
                      <a:pt x="60" y="84"/>
                    </a:lnTo>
                    <a:lnTo>
                      <a:pt x="60" y="84"/>
                    </a:lnTo>
                    <a:lnTo>
                      <a:pt x="60" y="84"/>
                    </a:lnTo>
                    <a:lnTo>
                      <a:pt x="58" y="82"/>
                    </a:lnTo>
                    <a:lnTo>
                      <a:pt x="58" y="80"/>
                    </a:lnTo>
                    <a:lnTo>
                      <a:pt x="58" y="80"/>
                    </a:lnTo>
                    <a:lnTo>
                      <a:pt x="56" y="76"/>
                    </a:lnTo>
                    <a:lnTo>
                      <a:pt x="56" y="74"/>
                    </a:lnTo>
                    <a:lnTo>
                      <a:pt x="56" y="72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2" y="66"/>
                    </a:lnTo>
                    <a:lnTo>
                      <a:pt x="52" y="66"/>
                    </a:lnTo>
                    <a:lnTo>
                      <a:pt x="50" y="64"/>
                    </a:lnTo>
                    <a:lnTo>
                      <a:pt x="50" y="64"/>
                    </a:lnTo>
                    <a:lnTo>
                      <a:pt x="48" y="62"/>
                    </a:lnTo>
                    <a:lnTo>
                      <a:pt x="48" y="60"/>
                    </a:lnTo>
                    <a:lnTo>
                      <a:pt x="48" y="60"/>
                    </a:lnTo>
                    <a:lnTo>
                      <a:pt x="48" y="60"/>
                    </a:lnTo>
                    <a:lnTo>
                      <a:pt x="50" y="58"/>
                    </a:lnTo>
                    <a:lnTo>
                      <a:pt x="50" y="60"/>
                    </a:lnTo>
                    <a:lnTo>
                      <a:pt x="54" y="60"/>
                    </a:lnTo>
                    <a:lnTo>
                      <a:pt x="56" y="60"/>
                    </a:lnTo>
                    <a:lnTo>
                      <a:pt x="56" y="60"/>
                    </a:lnTo>
                    <a:lnTo>
                      <a:pt x="56" y="58"/>
                    </a:lnTo>
                    <a:lnTo>
                      <a:pt x="58" y="56"/>
                    </a:lnTo>
                    <a:lnTo>
                      <a:pt x="60" y="54"/>
                    </a:lnTo>
                    <a:lnTo>
                      <a:pt x="60" y="54"/>
                    </a:lnTo>
                    <a:lnTo>
                      <a:pt x="62" y="54"/>
                    </a:lnTo>
                    <a:lnTo>
                      <a:pt x="64" y="52"/>
                    </a:lnTo>
                    <a:lnTo>
                      <a:pt x="66" y="52"/>
                    </a:lnTo>
                    <a:lnTo>
                      <a:pt x="70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4" y="50"/>
                    </a:lnTo>
                    <a:lnTo>
                      <a:pt x="74" y="50"/>
                    </a:lnTo>
                    <a:lnTo>
                      <a:pt x="74" y="48"/>
                    </a:lnTo>
                    <a:lnTo>
                      <a:pt x="74" y="46"/>
                    </a:lnTo>
                    <a:lnTo>
                      <a:pt x="74" y="46"/>
                    </a:lnTo>
                    <a:lnTo>
                      <a:pt x="74" y="46"/>
                    </a:lnTo>
                    <a:lnTo>
                      <a:pt x="74" y="44"/>
                    </a:lnTo>
                    <a:lnTo>
                      <a:pt x="74" y="44"/>
                    </a:lnTo>
                    <a:lnTo>
                      <a:pt x="74" y="44"/>
                    </a:lnTo>
                    <a:lnTo>
                      <a:pt x="74" y="44"/>
                    </a:lnTo>
                    <a:lnTo>
                      <a:pt x="74" y="44"/>
                    </a:lnTo>
                    <a:lnTo>
                      <a:pt x="76" y="42"/>
                    </a:lnTo>
                    <a:lnTo>
                      <a:pt x="76" y="42"/>
                    </a:lnTo>
                    <a:lnTo>
                      <a:pt x="76" y="42"/>
                    </a:lnTo>
                    <a:lnTo>
                      <a:pt x="76" y="42"/>
                    </a:lnTo>
                    <a:lnTo>
                      <a:pt x="76" y="40"/>
                    </a:lnTo>
                    <a:lnTo>
                      <a:pt x="74" y="38"/>
                    </a:lnTo>
                    <a:lnTo>
                      <a:pt x="72" y="38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0" y="36"/>
                    </a:lnTo>
                    <a:lnTo>
                      <a:pt x="68" y="36"/>
                    </a:lnTo>
                    <a:lnTo>
                      <a:pt x="68" y="38"/>
                    </a:lnTo>
                    <a:lnTo>
                      <a:pt x="68" y="38"/>
                    </a:lnTo>
                    <a:lnTo>
                      <a:pt x="68" y="38"/>
                    </a:lnTo>
                    <a:lnTo>
                      <a:pt x="66" y="42"/>
                    </a:lnTo>
                    <a:lnTo>
                      <a:pt x="64" y="42"/>
                    </a:lnTo>
                    <a:lnTo>
                      <a:pt x="64" y="42"/>
                    </a:lnTo>
                    <a:lnTo>
                      <a:pt x="64" y="42"/>
                    </a:lnTo>
                    <a:lnTo>
                      <a:pt x="62" y="42"/>
                    </a:lnTo>
                    <a:lnTo>
                      <a:pt x="58" y="44"/>
                    </a:lnTo>
                    <a:lnTo>
                      <a:pt x="54" y="42"/>
                    </a:lnTo>
                    <a:lnTo>
                      <a:pt x="54" y="42"/>
                    </a:lnTo>
                    <a:lnTo>
                      <a:pt x="50" y="42"/>
                    </a:lnTo>
                    <a:lnTo>
                      <a:pt x="50" y="44"/>
                    </a:lnTo>
                    <a:lnTo>
                      <a:pt x="48" y="44"/>
                    </a:lnTo>
                    <a:lnTo>
                      <a:pt x="48" y="44"/>
                    </a:lnTo>
                    <a:lnTo>
                      <a:pt x="48" y="44"/>
                    </a:lnTo>
                    <a:lnTo>
                      <a:pt x="48" y="46"/>
                    </a:lnTo>
                    <a:lnTo>
                      <a:pt x="46" y="46"/>
                    </a:lnTo>
                    <a:lnTo>
                      <a:pt x="46" y="46"/>
                    </a:lnTo>
                    <a:lnTo>
                      <a:pt x="46" y="46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50"/>
                    </a:lnTo>
                    <a:lnTo>
                      <a:pt x="42" y="50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38" y="50"/>
                    </a:lnTo>
                    <a:lnTo>
                      <a:pt x="36" y="50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2" y="46"/>
                    </a:lnTo>
                    <a:lnTo>
                      <a:pt x="32" y="46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26" y="44"/>
                    </a:lnTo>
                    <a:lnTo>
                      <a:pt x="26" y="42"/>
                    </a:lnTo>
                    <a:lnTo>
                      <a:pt x="26" y="40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24" y="36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8" y="26"/>
                    </a:lnTo>
                    <a:lnTo>
                      <a:pt x="28" y="24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30" y="22"/>
                    </a:lnTo>
                    <a:lnTo>
                      <a:pt x="32" y="20"/>
                    </a:lnTo>
                    <a:lnTo>
                      <a:pt x="34" y="20"/>
                    </a:lnTo>
                    <a:lnTo>
                      <a:pt x="36" y="20"/>
                    </a:lnTo>
                    <a:lnTo>
                      <a:pt x="40" y="20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4" y="22"/>
                    </a:lnTo>
                    <a:lnTo>
                      <a:pt x="46" y="22"/>
                    </a:lnTo>
                    <a:lnTo>
                      <a:pt x="48" y="22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2" y="22"/>
                    </a:lnTo>
                    <a:lnTo>
                      <a:pt x="54" y="20"/>
                    </a:lnTo>
                    <a:lnTo>
                      <a:pt x="54" y="20"/>
                    </a:lnTo>
                    <a:lnTo>
                      <a:pt x="56" y="18"/>
                    </a:lnTo>
                    <a:lnTo>
                      <a:pt x="58" y="18"/>
                    </a:lnTo>
                    <a:lnTo>
                      <a:pt x="60" y="20"/>
                    </a:lnTo>
                    <a:lnTo>
                      <a:pt x="62" y="20"/>
                    </a:lnTo>
                    <a:lnTo>
                      <a:pt x="62" y="20"/>
                    </a:lnTo>
                    <a:lnTo>
                      <a:pt x="64" y="20"/>
                    </a:lnTo>
                    <a:lnTo>
                      <a:pt x="64" y="20"/>
                    </a:lnTo>
                    <a:lnTo>
                      <a:pt x="68" y="20"/>
                    </a:lnTo>
                    <a:lnTo>
                      <a:pt x="68" y="20"/>
                    </a:lnTo>
                    <a:lnTo>
                      <a:pt x="70" y="20"/>
                    </a:lnTo>
                    <a:lnTo>
                      <a:pt x="72" y="20"/>
                    </a:lnTo>
                    <a:lnTo>
                      <a:pt x="74" y="22"/>
                    </a:lnTo>
                    <a:lnTo>
                      <a:pt x="78" y="24"/>
                    </a:lnTo>
                    <a:lnTo>
                      <a:pt x="80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4" y="24"/>
                    </a:lnTo>
                    <a:lnTo>
                      <a:pt x="84" y="24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8" y="22"/>
                    </a:lnTo>
                    <a:lnTo>
                      <a:pt x="88" y="22"/>
                    </a:lnTo>
                    <a:lnTo>
                      <a:pt x="90" y="22"/>
                    </a:lnTo>
                    <a:lnTo>
                      <a:pt x="94" y="22"/>
                    </a:lnTo>
                    <a:lnTo>
                      <a:pt x="96" y="20"/>
                    </a:lnTo>
                    <a:lnTo>
                      <a:pt x="96" y="20"/>
                    </a:lnTo>
                    <a:lnTo>
                      <a:pt x="96" y="20"/>
                    </a:lnTo>
                    <a:lnTo>
                      <a:pt x="98" y="20"/>
                    </a:lnTo>
                    <a:lnTo>
                      <a:pt x="98" y="16"/>
                    </a:lnTo>
                    <a:lnTo>
                      <a:pt x="98" y="16"/>
                    </a:lnTo>
                    <a:lnTo>
                      <a:pt x="98" y="14"/>
                    </a:lnTo>
                    <a:lnTo>
                      <a:pt x="100" y="12"/>
                    </a:lnTo>
                    <a:lnTo>
                      <a:pt x="102" y="12"/>
                    </a:lnTo>
                    <a:lnTo>
                      <a:pt x="102" y="10"/>
                    </a:lnTo>
                    <a:lnTo>
                      <a:pt x="102" y="10"/>
                    </a:lnTo>
                    <a:lnTo>
                      <a:pt x="104" y="8"/>
                    </a:lnTo>
                    <a:lnTo>
                      <a:pt x="106" y="6"/>
                    </a:lnTo>
                    <a:lnTo>
                      <a:pt x="108" y="4"/>
                    </a:lnTo>
                    <a:lnTo>
                      <a:pt x="108" y="4"/>
                    </a:lnTo>
                    <a:lnTo>
                      <a:pt x="108" y="2"/>
                    </a:lnTo>
                    <a:lnTo>
                      <a:pt x="108" y="2"/>
                    </a:lnTo>
                    <a:lnTo>
                      <a:pt x="108" y="0"/>
                    </a:lnTo>
                    <a:lnTo>
                      <a:pt x="106" y="0"/>
                    </a:lnTo>
                    <a:lnTo>
                      <a:pt x="106" y="0"/>
                    </a:lnTo>
                    <a:lnTo>
                      <a:pt x="104" y="0"/>
                    </a:lnTo>
                    <a:lnTo>
                      <a:pt x="102" y="0"/>
                    </a:lnTo>
                    <a:lnTo>
                      <a:pt x="102" y="0"/>
                    </a:lnTo>
                    <a:lnTo>
                      <a:pt x="98" y="2"/>
                    </a:lnTo>
                    <a:lnTo>
                      <a:pt x="98" y="2"/>
                    </a:lnTo>
                    <a:lnTo>
                      <a:pt x="98" y="2"/>
                    </a:lnTo>
                    <a:lnTo>
                      <a:pt x="98" y="2"/>
                    </a:lnTo>
                    <a:lnTo>
                      <a:pt x="98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309" name="Freeform 807"/>
              <p:cNvSpPr>
                <a:spLocks/>
              </p:cNvSpPr>
              <p:nvPr/>
            </p:nvSpPr>
            <p:spPr bwMode="auto">
              <a:xfrm>
                <a:off x="4719" y="2782"/>
                <a:ext cx="4" cy="4"/>
              </a:xfrm>
              <a:custGeom>
                <a:avLst/>
                <a:gdLst>
                  <a:gd name="T0" fmla="*/ 2 w 4"/>
                  <a:gd name="T1" fmla="*/ 0 h 4"/>
                  <a:gd name="T2" fmla="*/ 2 w 4"/>
                  <a:gd name="T3" fmla="*/ 0 h 4"/>
                  <a:gd name="T4" fmla="*/ 0 w 4"/>
                  <a:gd name="T5" fmla="*/ 2 h 4"/>
                  <a:gd name="T6" fmla="*/ 0 w 4"/>
                  <a:gd name="T7" fmla="*/ 4 h 4"/>
                  <a:gd name="T8" fmla="*/ 2 w 4"/>
                  <a:gd name="T9" fmla="*/ 4 h 4"/>
                  <a:gd name="T10" fmla="*/ 2 w 4"/>
                  <a:gd name="T11" fmla="*/ 4 h 4"/>
                  <a:gd name="T12" fmla="*/ 4 w 4"/>
                  <a:gd name="T13" fmla="*/ 4 h 4"/>
                  <a:gd name="T14" fmla="*/ 4 w 4"/>
                  <a:gd name="T15" fmla="*/ 4 h 4"/>
                  <a:gd name="T16" fmla="*/ 4 w 4"/>
                  <a:gd name="T17" fmla="*/ 2 h 4"/>
                  <a:gd name="T18" fmla="*/ 4 w 4"/>
                  <a:gd name="T19" fmla="*/ 0 h 4"/>
                  <a:gd name="T20" fmla="*/ 4 w 4"/>
                  <a:gd name="T21" fmla="*/ 0 h 4"/>
                  <a:gd name="T22" fmla="*/ 4 w 4"/>
                  <a:gd name="T23" fmla="*/ 0 h 4"/>
                  <a:gd name="T24" fmla="*/ 2 w 4"/>
                  <a:gd name="T25" fmla="*/ 0 h 4"/>
                  <a:gd name="T26" fmla="*/ 2 w 4"/>
                  <a:gd name="T27" fmla="*/ 0 h 4"/>
                  <a:gd name="T28" fmla="*/ 2 w 4"/>
                  <a:gd name="T29" fmla="*/ 0 h 4"/>
                  <a:gd name="T30" fmla="*/ 2 w 4"/>
                  <a:gd name="T3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" h="4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</p:grpSp>
        <p:grpSp>
          <p:nvGrpSpPr>
            <p:cNvPr id="44" name="Group 1009"/>
            <p:cNvGrpSpPr>
              <a:grpSpLocks/>
            </p:cNvGrpSpPr>
            <p:nvPr/>
          </p:nvGrpSpPr>
          <p:grpSpPr bwMode="auto">
            <a:xfrm>
              <a:off x="179512" y="1551815"/>
              <a:ext cx="8685409" cy="4376797"/>
              <a:chOff x="205" y="1096"/>
              <a:chExt cx="5350" cy="2696"/>
            </a:xfrm>
            <a:grpFill/>
          </p:grpSpPr>
          <p:sp>
            <p:nvSpPr>
              <p:cNvPr id="97" name="Freeform 809"/>
              <p:cNvSpPr>
                <a:spLocks/>
              </p:cNvSpPr>
              <p:nvPr/>
            </p:nvSpPr>
            <p:spPr bwMode="auto">
              <a:xfrm>
                <a:off x="4721" y="2768"/>
                <a:ext cx="2" cy="4"/>
              </a:xfrm>
              <a:custGeom>
                <a:avLst/>
                <a:gdLst>
                  <a:gd name="T0" fmla="*/ 0 w 2"/>
                  <a:gd name="T1" fmla="*/ 0 h 4"/>
                  <a:gd name="T2" fmla="*/ 0 w 2"/>
                  <a:gd name="T3" fmla="*/ 0 h 4"/>
                  <a:gd name="T4" fmla="*/ 0 w 2"/>
                  <a:gd name="T5" fmla="*/ 0 h 4"/>
                  <a:gd name="T6" fmla="*/ 0 w 2"/>
                  <a:gd name="T7" fmla="*/ 2 h 4"/>
                  <a:gd name="T8" fmla="*/ 0 w 2"/>
                  <a:gd name="T9" fmla="*/ 2 h 4"/>
                  <a:gd name="T10" fmla="*/ 2 w 2"/>
                  <a:gd name="T11" fmla="*/ 4 h 4"/>
                  <a:gd name="T12" fmla="*/ 2 w 2"/>
                  <a:gd name="T13" fmla="*/ 4 h 4"/>
                  <a:gd name="T14" fmla="*/ 2 w 2"/>
                  <a:gd name="T15" fmla="*/ 2 h 4"/>
                  <a:gd name="T16" fmla="*/ 2 w 2"/>
                  <a:gd name="T17" fmla="*/ 0 h 4"/>
                  <a:gd name="T18" fmla="*/ 0 w 2"/>
                  <a:gd name="T19" fmla="*/ 0 h 4"/>
                  <a:gd name="T20" fmla="*/ 0 w 2"/>
                  <a:gd name="T21" fmla="*/ 0 h 4"/>
                  <a:gd name="T22" fmla="*/ 0 w 2"/>
                  <a:gd name="T2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98" name="Freeform 811"/>
              <p:cNvSpPr>
                <a:spLocks/>
              </p:cNvSpPr>
              <p:nvPr/>
            </p:nvSpPr>
            <p:spPr bwMode="auto">
              <a:xfrm>
                <a:off x="4767" y="2778"/>
                <a:ext cx="8" cy="10"/>
              </a:xfrm>
              <a:custGeom>
                <a:avLst/>
                <a:gdLst>
                  <a:gd name="T0" fmla="*/ 4 w 8"/>
                  <a:gd name="T1" fmla="*/ 10 h 10"/>
                  <a:gd name="T2" fmla="*/ 4 w 8"/>
                  <a:gd name="T3" fmla="*/ 10 h 10"/>
                  <a:gd name="T4" fmla="*/ 6 w 8"/>
                  <a:gd name="T5" fmla="*/ 10 h 10"/>
                  <a:gd name="T6" fmla="*/ 8 w 8"/>
                  <a:gd name="T7" fmla="*/ 10 h 10"/>
                  <a:gd name="T8" fmla="*/ 8 w 8"/>
                  <a:gd name="T9" fmla="*/ 8 h 10"/>
                  <a:gd name="T10" fmla="*/ 8 w 8"/>
                  <a:gd name="T11" fmla="*/ 6 h 10"/>
                  <a:gd name="T12" fmla="*/ 8 w 8"/>
                  <a:gd name="T13" fmla="*/ 6 h 10"/>
                  <a:gd name="T14" fmla="*/ 8 w 8"/>
                  <a:gd name="T15" fmla="*/ 4 h 10"/>
                  <a:gd name="T16" fmla="*/ 8 w 8"/>
                  <a:gd name="T17" fmla="*/ 4 h 10"/>
                  <a:gd name="T18" fmla="*/ 8 w 8"/>
                  <a:gd name="T19" fmla="*/ 2 h 10"/>
                  <a:gd name="T20" fmla="*/ 8 w 8"/>
                  <a:gd name="T21" fmla="*/ 2 h 10"/>
                  <a:gd name="T22" fmla="*/ 6 w 8"/>
                  <a:gd name="T23" fmla="*/ 2 h 10"/>
                  <a:gd name="T24" fmla="*/ 6 w 8"/>
                  <a:gd name="T25" fmla="*/ 0 h 10"/>
                  <a:gd name="T26" fmla="*/ 4 w 8"/>
                  <a:gd name="T27" fmla="*/ 2 h 10"/>
                  <a:gd name="T28" fmla="*/ 2 w 8"/>
                  <a:gd name="T29" fmla="*/ 4 h 10"/>
                  <a:gd name="T30" fmla="*/ 2 w 8"/>
                  <a:gd name="T31" fmla="*/ 4 h 10"/>
                  <a:gd name="T32" fmla="*/ 0 w 8"/>
                  <a:gd name="T33" fmla="*/ 6 h 10"/>
                  <a:gd name="T34" fmla="*/ 0 w 8"/>
                  <a:gd name="T35" fmla="*/ 6 h 10"/>
                  <a:gd name="T36" fmla="*/ 2 w 8"/>
                  <a:gd name="T37" fmla="*/ 8 h 10"/>
                  <a:gd name="T38" fmla="*/ 2 w 8"/>
                  <a:gd name="T39" fmla="*/ 8 h 10"/>
                  <a:gd name="T40" fmla="*/ 4 w 8"/>
                  <a:gd name="T41" fmla="*/ 10 h 10"/>
                  <a:gd name="T42" fmla="*/ 4 w 8"/>
                  <a:gd name="T43" fmla="*/ 10 h 10"/>
                  <a:gd name="T44" fmla="*/ 4 w 8"/>
                  <a:gd name="T45" fmla="*/ 10 h 10"/>
                  <a:gd name="T46" fmla="*/ 4 w 8"/>
                  <a:gd name="T47" fmla="*/ 10 h 10"/>
                  <a:gd name="T48" fmla="*/ 4 w 8"/>
                  <a:gd name="T4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8" h="10">
                    <a:moveTo>
                      <a:pt x="4" y="10"/>
                    </a:moveTo>
                    <a:lnTo>
                      <a:pt x="4" y="10"/>
                    </a:lnTo>
                    <a:lnTo>
                      <a:pt x="6" y="10"/>
                    </a:lnTo>
                    <a:lnTo>
                      <a:pt x="8" y="10"/>
                    </a:lnTo>
                    <a:lnTo>
                      <a:pt x="8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99" name="Freeform 813"/>
              <p:cNvSpPr>
                <a:spLocks/>
              </p:cNvSpPr>
              <p:nvPr/>
            </p:nvSpPr>
            <p:spPr bwMode="auto">
              <a:xfrm>
                <a:off x="4745" y="2786"/>
                <a:ext cx="34" cy="54"/>
              </a:xfrm>
              <a:custGeom>
                <a:avLst/>
                <a:gdLst>
                  <a:gd name="T0" fmla="*/ 14 w 34"/>
                  <a:gd name="T1" fmla="*/ 12 h 54"/>
                  <a:gd name="T2" fmla="*/ 14 w 34"/>
                  <a:gd name="T3" fmla="*/ 8 h 54"/>
                  <a:gd name="T4" fmla="*/ 14 w 34"/>
                  <a:gd name="T5" fmla="*/ 4 h 54"/>
                  <a:gd name="T6" fmla="*/ 16 w 34"/>
                  <a:gd name="T7" fmla="*/ 2 h 54"/>
                  <a:gd name="T8" fmla="*/ 16 w 34"/>
                  <a:gd name="T9" fmla="*/ 0 h 54"/>
                  <a:gd name="T10" fmla="*/ 16 w 34"/>
                  <a:gd name="T11" fmla="*/ 0 h 54"/>
                  <a:gd name="T12" fmla="*/ 14 w 34"/>
                  <a:gd name="T13" fmla="*/ 2 h 54"/>
                  <a:gd name="T14" fmla="*/ 12 w 34"/>
                  <a:gd name="T15" fmla="*/ 6 h 54"/>
                  <a:gd name="T16" fmla="*/ 10 w 34"/>
                  <a:gd name="T17" fmla="*/ 8 h 54"/>
                  <a:gd name="T18" fmla="*/ 8 w 34"/>
                  <a:gd name="T19" fmla="*/ 8 h 54"/>
                  <a:gd name="T20" fmla="*/ 6 w 34"/>
                  <a:gd name="T21" fmla="*/ 12 h 54"/>
                  <a:gd name="T22" fmla="*/ 6 w 34"/>
                  <a:gd name="T23" fmla="*/ 14 h 54"/>
                  <a:gd name="T24" fmla="*/ 6 w 34"/>
                  <a:gd name="T25" fmla="*/ 16 h 54"/>
                  <a:gd name="T26" fmla="*/ 2 w 34"/>
                  <a:gd name="T27" fmla="*/ 18 h 54"/>
                  <a:gd name="T28" fmla="*/ 2 w 34"/>
                  <a:gd name="T29" fmla="*/ 20 h 54"/>
                  <a:gd name="T30" fmla="*/ 0 w 34"/>
                  <a:gd name="T31" fmla="*/ 24 h 54"/>
                  <a:gd name="T32" fmla="*/ 0 w 34"/>
                  <a:gd name="T33" fmla="*/ 28 h 54"/>
                  <a:gd name="T34" fmla="*/ 2 w 34"/>
                  <a:gd name="T35" fmla="*/ 30 h 54"/>
                  <a:gd name="T36" fmla="*/ 4 w 34"/>
                  <a:gd name="T37" fmla="*/ 32 h 54"/>
                  <a:gd name="T38" fmla="*/ 6 w 34"/>
                  <a:gd name="T39" fmla="*/ 34 h 54"/>
                  <a:gd name="T40" fmla="*/ 8 w 34"/>
                  <a:gd name="T41" fmla="*/ 36 h 54"/>
                  <a:gd name="T42" fmla="*/ 10 w 34"/>
                  <a:gd name="T43" fmla="*/ 40 h 54"/>
                  <a:gd name="T44" fmla="*/ 10 w 34"/>
                  <a:gd name="T45" fmla="*/ 42 h 54"/>
                  <a:gd name="T46" fmla="*/ 14 w 34"/>
                  <a:gd name="T47" fmla="*/ 44 h 54"/>
                  <a:gd name="T48" fmla="*/ 16 w 34"/>
                  <a:gd name="T49" fmla="*/ 48 h 54"/>
                  <a:gd name="T50" fmla="*/ 22 w 34"/>
                  <a:gd name="T51" fmla="*/ 52 h 54"/>
                  <a:gd name="T52" fmla="*/ 24 w 34"/>
                  <a:gd name="T53" fmla="*/ 52 h 54"/>
                  <a:gd name="T54" fmla="*/ 26 w 34"/>
                  <a:gd name="T55" fmla="*/ 54 h 54"/>
                  <a:gd name="T56" fmla="*/ 26 w 34"/>
                  <a:gd name="T57" fmla="*/ 52 h 54"/>
                  <a:gd name="T58" fmla="*/ 26 w 34"/>
                  <a:gd name="T59" fmla="*/ 52 h 54"/>
                  <a:gd name="T60" fmla="*/ 26 w 34"/>
                  <a:gd name="T61" fmla="*/ 48 h 54"/>
                  <a:gd name="T62" fmla="*/ 24 w 34"/>
                  <a:gd name="T63" fmla="*/ 46 h 54"/>
                  <a:gd name="T64" fmla="*/ 22 w 34"/>
                  <a:gd name="T65" fmla="*/ 44 h 54"/>
                  <a:gd name="T66" fmla="*/ 18 w 34"/>
                  <a:gd name="T67" fmla="*/ 42 h 54"/>
                  <a:gd name="T68" fmla="*/ 16 w 34"/>
                  <a:gd name="T69" fmla="*/ 42 h 54"/>
                  <a:gd name="T70" fmla="*/ 16 w 34"/>
                  <a:gd name="T71" fmla="*/ 40 h 54"/>
                  <a:gd name="T72" fmla="*/ 18 w 34"/>
                  <a:gd name="T73" fmla="*/ 38 h 54"/>
                  <a:gd name="T74" fmla="*/ 24 w 34"/>
                  <a:gd name="T75" fmla="*/ 36 h 54"/>
                  <a:gd name="T76" fmla="*/ 26 w 34"/>
                  <a:gd name="T77" fmla="*/ 36 h 54"/>
                  <a:gd name="T78" fmla="*/ 34 w 34"/>
                  <a:gd name="T79" fmla="*/ 36 h 54"/>
                  <a:gd name="T80" fmla="*/ 34 w 34"/>
                  <a:gd name="T81" fmla="*/ 36 h 54"/>
                  <a:gd name="T82" fmla="*/ 32 w 34"/>
                  <a:gd name="T83" fmla="*/ 34 h 54"/>
                  <a:gd name="T84" fmla="*/ 30 w 34"/>
                  <a:gd name="T85" fmla="*/ 32 h 54"/>
                  <a:gd name="T86" fmla="*/ 30 w 34"/>
                  <a:gd name="T87" fmla="*/ 30 h 54"/>
                  <a:gd name="T88" fmla="*/ 30 w 34"/>
                  <a:gd name="T89" fmla="*/ 30 h 54"/>
                  <a:gd name="T90" fmla="*/ 30 w 34"/>
                  <a:gd name="T91" fmla="*/ 28 h 54"/>
                  <a:gd name="T92" fmla="*/ 32 w 34"/>
                  <a:gd name="T93" fmla="*/ 26 h 54"/>
                  <a:gd name="T94" fmla="*/ 32 w 34"/>
                  <a:gd name="T95" fmla="*/ 24 h 54"/>
                  <a:gd name="T96" fmla="*/ 32 w 34"/>
                  <a:gd name="T97" fmla="*/ 20 h 54"/>
                  <a:gd name="T98" fmla="*/ 28 w 34"/>
                  <a:gd name="T99" fmla="*/ 18 h 54"/>
                  <a:gd name="T100" fmla="*/ 26 w 34"/>
                  <a:gd name="T101" fmla="*/ 18 h 54"/>
                  <a:gd name="T102" fmla="*/ 24 w 34"/>
                  <a:gd name="T103" fmla="*/ 18 h 54"/>
                  <a:gd name="T104" fmla="*/ 22 w 34"/>
                  <a:gd name="T105" fmla="*/ 20 h 54"/>
                  <a:gd name="T106" fmla="*/ 22 w 34"/>
                  <a:gd name="T107" fmla="*/ 24 h 54"/>
                  <a:gd name="T108" fmla="*/ 22 w 34"/>
                  <a:gd name="T109" fmla="*/ 24 h 54"/>
                  <a:gd name="T110" fmla="*/ 16 w 34"/>
                  <a:gd name="T111" fmla="*/ 26 h 54"/>
                  <a:gd name="T112" fmla="*/ 14 w 34"/>
                  <a:gd name="T113" fmla="*/ 24 h 54"/>
                  <a:gd name="T114" fmla="*/ 14 w 34"/>
                  <a:gd name="T115" fmla="*/ 24 h 54"/>
                  <a:gd name="T116" fmla="*/ 14 w 34"/>
                  <a:gd name="T117" fmla="*/ 20 h 54"/>
                  <a:gd name="T118" fmla="*/ 14 w 34"/>
                  <a:gd name="T119" fmla="*/ 14 h 54"/>
                  <a:gd name="T120" fmla="*/ 14 w 34"/>
                  <a:gd name="T121" fmla="*/ 12 h 54"/>
                  <a:gd name="T122" fmla="*/ 14 w 34"/>
                  <a:gd name="T123" fmla="*/ 1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4" h="54">
                    <a:moveTo>
                      <a:pt x="14" y="12"/>
                    </a:moveTo>
                    <a:lnTo>
                      <a:pt x="14" y="12"/>
                    </a:lnTo>
                    <a:lnTo>
                      <a:pt x="14" y="10"/>
                    </a:lnTo>
                    <a:lnTo>
                      <a:pt x="14" y="8"/>
                    </a:lnTo>
                    <a:lnTo>
                      <a:pt x="14" y="6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6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4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0" y="6"/>
                    </a:lnTo>
                    <a:lnTo>
                      <a:pt x="10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10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6"/>
                    </a:lnTo>
                    <a:lnTo>
                      <a:pt x="4" y="16"/>
                    </a:lnTo>
                    <a:lnTo>
                      <a:pt x="2" y="18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22"/>
                    </a:lnTo>
                    <a:lnTo>
                      <a:pt x="0" y="24"/>
                    </a:lnTo>
                    <a:lnTo>
                      <a:pt x="0" y="26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2" y="30"/>
                    </a:lnTo>
                    <a:lnTo>
                      <a:pt x="2" y="32"/>
                    </a:lnTo>
                    <a:lnTo>
                      <a:pt x="4" y="32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8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2"/>
                    </a:lnTo>
                    <a:lnTo>
                      <a:pt x="12" y="42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6" y="48"/>
                    </a:lnTo>
                    <a:lnTo>
                      <a:pt x="18" y="50"/>
                    </a:lnTo>
                    <a:lnTo>
                      <a:pt x="22" y="52"/>
                    </a:lnTo>
                    <a:lnTo>
                      <a:pt x="22" y="52"/>
                    </a:lnTo>
                    <a:lnTo>
                      <a:pt x="24" y="52"/>
                    </a:lnTo>
                    <a:lnTo>
                      <a:pt x="24" y="54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0"/>
                    </a:lnTo>
                    <a:lnTo>
                      <a:pt x="26" y="48"/>
                    </a:lnTo>
                    <a:lnTo>
                      <a:pt x="26" y="48"/>
                    </a:lnTo>
                    <a:lnTo>
                      <a:pt x="24" y="46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22" y="36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6" y="36"/>
                    </a:lnTo>
                    <a:lnTo>
                      <a:pt x="28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4"/>
                    </a:lnTo>
                    <a:lnTo>
                      <a:pt x="32" y="22"/>
                    </a:lnTo>
                    <a:lnTo>
                      <a:pt x="32" y="20"/>
                    </a:lnTo>
                    <a:lnTo>
                      <a:pt x="30" y="18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6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20"/>
                    </a:lnTo>
                    <a:lnTo>
                      <a:pt x="22" y="20"/>
                    </a:lnTo>
                    <a:lnTo>
                      <a:pt x="22" y="22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18" y="26"/>
                    </a:lnTo>
                    <a:lnTo>
                      <a:pt x="16" y="26"/>
                    </a:lnTo>
                    <a:lnTo>
                      <a:pt x="14" y="26"/>
                    </a:lnTo>
                    <a:lnTo>
                      <a:pt x="14" y="24"/>
                    </a:lnTo>
                    <a:lnTo>
                      <a:pt x="14" y="24"/>
                    </a:lnTo>
                    <a:lnTo>
                      <a:pt x="14" y="24"/>
                    </a:lnTo>
                    <a:lnTo>
                      <a:pt x="14" y="22"/>
                    </a:lnTo>
                    <a:lnTo>
                      <a:pt x="14" y="20"/>
                    </a:lnTo>
                    <a:lnTo>
                      <a:pt x="14" y="18"/>
                    </a:lnTo>
                    <a:lnTo>
                      <a:pt x="14" y="14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00" name="Freeform 816"/>
              <p:cNvSpPr>
                <a:spLocks/>
              </p:cNvSpPr>
              <p:nvPr/>
            </p:nvSpPr>
            <p:spPr bwMode="auto">
              <a:xfrm>
                <a:off x="4691" y="2852"/>
                <a:ext cx="4" cy="6"/>
              </a:xfrm>
              <a:custGeom>
                <a:avLst/>
                <a:gdLst>
                  <a:gd name="T0" fmla="*/ 2 w 4"/>
                  <a:gd name="T1" fmla="*/ 6 h 6"/>
                  <a:gd name="T2" fmla="*/ 2 w 4"/>
                  <a:gd name="T3" fmla="*/ 6 h 6"/>
                  <a:gd name="T4" fmla="*/ 2 w 4"/>
                  <a:gd name="T5" fmla="*/ 6 h 6"/>
                  <a:gd name="T6" fmla="*/ 4 w 4"/>
                  <a:gd name="T7" fmla="*/ 6 h 6"/>
                  <a:gd name="T8" fmla="*/ 4 w 4"/>
                  <a:gd name="T9" fmla="*/ 4 h 6"/>
                  <a:gd name="T10" fmla="*/ 4 w 4"/>
                  <a:gd name="T11" fmla="*/ 4 h 6"/>
                  <a:gd name="T12" fmla="*/ 4 w 4"/>
                  <a:gd name="T13" fmla="*/ 2 h 6"/>
                  <a:gd name="T14" fmla="*/ 2 w 4"/>
                  <a:gd name="T15" fmla="*/ 2 h 6"/>
                  <a:gd name="T16" fmla="*/ 2 w 4"/>
                  <a:gd name="T17" fmla="*/ 2 h 6"/>
                  <a:gd name="T18" fmla="*/ 2 w 4"/>
                  <a:gd name="T19" fmla="*/ 0 h 6"/>
                  <a:gd name="T20" fmla="*/ 0 w 4"/>
                  <a:gd name="T21" fmla="*/ 2 h 6"/>
                  <a:gd name="T22" fmla="*/ 0 w 4"/>
                  <a:gd name="T23" fmla="*/ 2 h 6"/>
                  <a:gd name="T24" fmla="*/ 0 w 4"/>
                  <a:gd name="T25" fmla="*/ 2 h 6"/>
                  <a:gd name="T26" fmla="*/ 0 w 4"/>
                  <a:gd name="T27" fmla="*/ 4 h 6"/>
                  <a:gd name="T28" fmla="*/ 0 w 4"/>
                  <a:gd name="T29" fmla="*/ 4 h 6"/>
                  <a:gd name="T30" fmla="*/ 0 w 4"/>
                  <a:gd name="T31" fmla="*/ 6 h 6"/>
                  <a:gd name="T32" fmla="*/ 2 w 4"/>
                  <a:gd name="T33" fmla="*/ 6 h 6"/>
                  <a:gd name="T34" fmla="*/ 2 w 4"/>
                  <a:gd name="T35" fmla="*/ 6 h 6"/>
                  <a:gd name="T36" fmla="*/ 2 w 4"/>
                  <a:gd name="T37" fmla="*/ 6 h 6"/>
                  <a:gd name="T38" fmla="*/ 2 w 4"/>
                  <a:gd name="T39" fmla="*/ 6 h 6"/>
                  <a:gd name="T40" fmla="*/ 2 w 4"/>
                  <a:gd name="T4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" h="6">
                    <a:moveTo>
                      <a:pt x="2" y="6"/>
                    </a:move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01" name="Freeform 818"/>
              <p:cNvSpPr>
                <a:spLocks/>
              </p:cNvSpPr>
              <p:nvPr/>
            </p:nvSpPr>
            <p:spPr bwMode="auto">
              <a:xfrm>
                <a:off x="4701" y="2858"/>
                <a:ext cx="18" cy="6"/>
              </a:xfrm>
              <a:custGeom>
                <a:avLst/>
                <a:gdLst>
                  <a:gd name="T0" fmla="*/ 0 w 18"/>
                  <a:gd name="T1" fmla="*/ 2 h 6"/>
                  <a:gd name="T2" fmla="*/ 0 w 18"/>
                  <a:gd name="T3" fmla="*/ 2 h 6"/>
                  <a:gd name="T4" fmla="*/ 0 w 18"/>
                  <a:gd name="T5" fmla="*/ 2 h 6"/>
                  <a:gd name="T6" fmla="*/ 0 w 18"/>
                  <a:gd name="T7" fmla="*/ 4 h 6"/>
                  <a:gd name="T8" fmla="*/ 0 w 18"/>
                  <a:gd name="T9" fmla="*/ 4 h 6"/>
                  <a:gd name="T10" fmla="*/ 2 w 18"/>
                  <a:gd name="T11" fmla="*/ 6 h 6"/>
                  <a:gd name="T12" fmla="*/ 4 w 18"/>
                  <a:gd name="T13" fmla="*/ 6 h 6"/>
                  <a:gd name="T14" fmla="*/ 4 w 18"/>
                  <a:gd name="T15" fmla="*/ 6 h 6"/>
                  <a:gd name="T16" fmla="*/ 4 w 18"/>
                  <a:gd name="T17" fmla="*/ 6 h 6"/>
                  <a:gd name="T18" fmla="*/ 6 w 18"/>
                  <a:gd name="T19" fmla="*/ 6 h 6"/>
                  <a:gd name="T20" fmla="*/ 8 w 18"/>
                  <a:gd name="T21" fmla="*/ 6 h 6"/>
                  <a:gd name="T22" fmla="*/ 10 w 18"/>
                  <a:gd name="T23" fmla="*/ 4 h 6"/>
                  <a:gd name="T24" fmla="*/ 10 w 18"/>
                  <a:gd name="T25" fmla="*/ 4 h 6"/>
                  <a:gd name="T26" fmla="*/ 14 w 18"/>
                  <a:gd name="T27" fmla="*/ 4 h 6"/>
                  <a:gd name="T28" fmla="*/ 18 w 18"/>
                  <a:gd name="T29" fmla="*/ 4 h 6"/>
                  <a:gd name="T30" fmla="*/ 18 w 18"/>
                  <a:gd name="T31" fmla="*/ 4 h 6"/>
                  <a:gd name="T32" fmla="*/ 18 w 18"/>
                  <a:gd name="T33" fmla="*/ 2 h 6"/>
                  <a:gd name="T34" fmla="*/ 16 w 18"/>
                  <a:gd name="T35" fmla="*/ 2 h 6"/>
                  <a:gd name="T36" fmla="*/ 16 w 18"/>
                  <a:gd name="T37" fmla="*/ 0 h 6"/>
                  <a:gd name="T38" fmla="*/ 12 w 18"/>
                  <a:gd name="T39" fmla="*/ 0 h 6"/>
                  <a:gd name="T40" fmla="*/ 10 w 18"/>
                  <a:gd name="T41" fmla="*/ 0 h 6"/>
                  <a:gd name="T42" fmla="*/ 6 w 18"/>
                  <a:gd name="T43" fmla="*/ 0 h 6"/>
                  <a:gd name="T44" fmla="*/ 4 w 18"/>
                  <a:gd name="T45" fmla="*/ 0 h 6"/>
                  <a:gd name="T46" fmla="*/ 2 w 18"/>
                  <a:gd name="T47" fmla="*/ 2 h 6"/>
                  <a:gd name="T48" fmla="*/ 2 w 18"/>
                  <a:gd name="T49" fmla="*/ 2 h 6"/>
                  <a:gd name="T50" fmla="*/ 0 w 18"/>
                  <a:gd name="T51" fmla="*/ 2 h 6"/>
                  <a:gd name="T52" fmla="*/ 0 w 18"/>
                  <a:gd name="T53" fmla="*/ 2 h 6"/>
                  <a:gd name="T54" fmla="*/ 0 w 18"/>
                  <a:gd name="T55" fmla="*/ 2 h 6"/>
                  <a:gd name="T56" fmla="*/ 0 w 18"/>
                  <a:gd name="T57" fmla="*/ 2 h 6"/>
                  <a:gd name="T58" fmla="*/ 0 w 18"/>
                  <a:gd name="T59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8" h="6">
                    <a:moveTo>
                      <a:pt x="0" y="2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8" y="6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2"/>
                    </a:lnTo>
                    <a:lnTo>
                      <a:pt x="16" y="2"/>
                    </a:lnTo>
                    <a:lnTo>
                      <a:pt x="16" y="0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02" name="Freeform 819"/>
              <p:cNvSpPr>
                <a:spLocks/>
              </p:cNvSpPr>
              <p:nvPr/>
            </p:nvSpPr>
            <p:spPr bwMode="auto">
              <a:xfrm>
                <a:off x="4721" y="2860"/>
                <a:ext cx="12" cy="2"/>
              </a:xfrm>
              <a:custGeom>
                <a:avLst/>
                <a:gdLst>
                  <a:gd name="T0" fmla="*/ 0 w 12"/>
                  <a:gd name="T1" fmla="*/ 2 h 2"/>
                  <a:gd name="T2" fmla="*/ 0 w 12"/>
                  <a:gd name="T3" fmla="*/ 2 h 2"/>
                  <a:gd name="T4" fmla="*/ 2 w 12"/>
                  <a:gd name="T5" fmla="*/ 2 h 2"/>
                  <a:gd name="T6" fmla="*/ 4 w 12"/>
                  <a:gd name="T7" fmla="*/ 2 h 2"/>
                  <a:gd name="T8" fmla="*/ 8 w 12"/>
                  <a:gd name="T9" fmla="*/ 2 h 2"/>
                  <a:gd name="T10" fmla="*/ 10 w 12"/>
                  <a:gd name="T11" fmla="*/ 2 h 2"/>
                  <a:gd name="T12" fmla="*/ 10 w 12"/>
                  <a:gd name="T13" fmla="*/ 2 h 2"/>
                  <a:gd name="T14" fmla="*/ 10 w 12"/>
                  <a:gd name="T15" fmla="*/ 2 h 2"/>
                  <a:gd name="T16" fmla="*/ 12 w 12"/>
                  <a:gd name="T17" fmla="*/ 2 h 2"/>
                  <a:gd name="T18" fmla="*/ 12 w 12"/>
                  <a:gd name="T19" fmla="*/ 0 h 2"/>
                  <a:gd name="T20" fmla="*/ 10 w 12"/>
                  <a:gd name="T21" fmla="*/ 0 h 2"/>
                  <a:gd name="T22" fmla="*/ 10 w 12"/>
                  <a:gd name="T23" fmla="*/ 0 h 2"/>
                  <a:gd name="T24" fmla="*/ 10 w 12"/>
                  <a:gd name="T25" fmla="*/ 0 h 2"/>
                  <a:gd name="T26" fmla="*/ 8 w 12"/>
                  <a:gd name="T27" fmla="*/ 0 h 2"/>
                  <a:gd name="T28" fmla="*/ 4 w 12"/>
                  <a:gd name="T29" fmla="*/ 0 h 2"/>
                  <a:gd name="T30" fmla="*/ 2 w 12"/>
                  <a:gd name="T31" fmla="*/ 0 h 2"/>
                  <a:gd name="T32" fmla="*/ 0 w 12"/>
                  <a:gd name="T33" fmla="*/ 0 h 2"/>
                  <a:gd name="T34" fmla="*/ 0 w 12"/>
                  <a:gd name="T35" fmla="*/ 2 h 2"/>
                  <a:gd name="T36" fmla="*/ 0 w 12"/>
                  <a:gd name="T37" fmla="*/ 2 h 2"/>
                  <a:gd name="T38" fmla="*/ 0 w 12"/>
                  <a:gd name="T39" fmla="*/ 2 h 2"/>
                  <a:gd name="T40" fmla="*/ 0 w 12"/>
                  <a:gd name="T41" fmla="*/ 2 h 2"/>
                  <a:gd name="T42" fmla="*/ 0 w 12"/>
                  <a:gd name="T4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2" h="2">
                    <a:moveTo>
                      <a:pt x="0" y="2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8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2" y="2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03" name="Freeform 820"/>
              <p:cNvSpPr>
                <a:spLocks/>
              </p:cNvSpPr>
              <p:nvPr/>
            </p:nvSpPr>
            <p:spPr bwMode="auto">
              <a:xfrm>
                <a:off x="4721" y="2860"/>
                <a:ext cx="12" cy="2"/>
              </a:xfrm>
              <a:custGeom>
                <a:avLst/>
                <a:gdLst>
                  <a:gd name="T0" fmla="*/ 0 w 12"/>
                  <a:gd name="T1" fmla="*/ 2 h 2"/>
                  <a:gd name="T2" fmla="*/ 0 w 12"/>
                  <a:gd name="T3" fmla="*/ 2 h 2"/>
                  <a:gd name="T4" fmla="*/ 2 w 12"/>
                  <a:gd name="T5" fmla="*/ 2 h 2"/>
                  <a:gd name="T6" fmla="*/ 4 w 12"/>
                  <a:gd name="T7" fmla="*/ 2 h 2"/>
                  <a:gd name="T8" fmla="*/ 8 w 12"/>
                  <a:gd name="T9" fmla="*/ 2 h 2"/>
                  <a:gd name="T10" fmla="*/ 10 w 12"/>
                  <a:gd name="T11" fmla="*/ 2 h 2"/>
                  <a:gd name="T12" fmla="*/ 10 w 12"/>
                  <a:gd name="T13" fmla="*/ 2 h 2"/>
                  <a:gd name="T14" fmla="*/ 10 w 12"/>
                  <a:gd name="T15" fmla="*/ 2 h 2"/>
                  <a:gd name="T16" fmla="*/ 12 w 12"/>
                  <a:gd name="T17" fmla="*/ 2 h 2"/>
                  <a:gd name="T18" fmla="*/ 12 w 12"/>
                  <a:gd name="T19" fmla="*/ 0 h 2"/>
                  <a:gd name="T20" fmla="*/ 10 w 12"/>
                  <a:gd name="T21" fmla="*/ 0 h 2"/>
                  <a:gd name="T22" fmla="*/ 10 w 12"/>
                  <a:gd name="T23" fmla="*/ 0 h 2"/>
                  <a:gd name="T24" fmla="*/ 10 w 12"/>
                  <a:gd name="T25" fmla="*/ 0 h 2"/>
                  <a:gd name="T26" fmla="*/ 8 w 12"/>
                  <a:gd name="T27" fmla="*/ 0 h 2"/>
                  <a:gd name="T28" fmla="*/ 4 w 12"/>
                  <a:gd name="T29" fmla="*/ 0 h 2"/>
                  <a:gd name="T30" fmla="*/ 2 w 12"/>
                  <a:gd name="T31" fmla="*/ 0 h 2"/>
                  <a:gd name="T32" fmla="*/ 0 w 12"/>
                  <a:gd name="T33" fmla="*/ 0 h 2"/>
                  <a:gd name="T34" fmla="*/ 0 w 12"/>
                  <a:gd name="T35" fmla="*/ 2 h 2"/>
                  <a:gd name="T36" fmla="*/ 0 w 12"/>
                  <a:gd name="T37" fmla="*/ 2 h 2"/>
                  <a:gd name="T38" fmla="*/ 0 w 12"/>
                  <a:gd name="T39" fmla="*/ 2 h 2"/>
                  <a:gd name="T40" fmla="*/ 0 w 12"/>
                  <a:gd name="T41" fmla="*/ 2 h 2"/>
                  <a:gd name="T42" fmla="*/ 0 w 12"/>
                  <a:gd name="T4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2" h="2">
                    <a:moveTo>
                      <a:pt x="0" y="2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8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2" y="2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04" name="Freeform 822"/>
              <p:cNvSpPr>
                <a:spLocks/>
              </p:cNvSpPr>
              <p:nvPr/>
            </p:nvSpPr>
            <p:spPr bwMode="auto">
              <a:xfrm>
                <a:off x="4735" y="2856"/>
                <a:ext cx="12" cy="6"/>
              </a:xfrm>
              <a:custGeom>
                <a:avLst/>
                <a:gdLst>
                  <a:gd name="T0" fmla="*/ 0 w 12"/>
                  <a:gd name="T1" fmla="*/ 4 h 6"/>
                  <a:gd name="T2" fmla="*/ 0 w 12"/>
                  <a:gd name="T3" fmla="*/ 4 h 6"/>
                  <a:gd name="T4" fmla="*/ 0 w 12"/>
                  <a:gd name="T5" fmla="*/ 4 h 6"/>
                  <a:gd name="T6" fmla="*/ 0 w 12"/>
                  <a:gd name="T7" fmla="*/ 6 h 6"/>
                  <a:gd name="T8" fmla="*/ 2 w 12"/>
                  <a:gd name="T9" fmla="*/ 6 h 6"/>
                  <a:gd name="T10" fmla="*/ 2 w 12"/>
                  <a:gd name="T11" fmla="*/ 6 h 6"/>
                  <a:gd name="T12" fmla="*/ 4 w 12"/>
                  <a:gd name="T13" fmla="*/ 6 h 6"/>
                  <a:gd name="T14" fmla="*/ 4 w 12"/>
                  <a:gd name="T15" fmla="*/ 6 h 6"/>
                  <a:gd name="T16" fmla="*/ 8 w 12"/>
                  <a:gd name="T17" fmla="*/ 6 h 6"/>
                  <a:gd name="T18" fmla="*/ 10 w 12"/>
                  <a:gd name="T19" fmla="*/ 6 h 6"/>
                  <a:gd name="T20" fmla="*/ 12 w 12"/>
                  <a:gd name="T21" fmla="*/ 6 h 6"/>
                  <a:gd name="T22" fmla="*/ 12 w 12"/>
                  <a:gd name="T23" fmla="*/ 6 h 6"/>
                  <a:gd name="T24" fmla="*/ 12 w 12"/>
                  <a:gd name="T25" fmla="*/ 4 h 6"/>
                  <a:gd name="T26" fmla="*/ 12 w 12"/>
                  <a:gd name="T27" fmla="*/ 4 h 6"/>
                  <a:gd name="T28" fmla="*/ 12 w 12"/>
                  <a:gd name="T29" fmla="*/ 4 h 6"/>
                  <a:gd name="T30" fmla="*/ 12 w 12"/>
                  <a:gd name="T31" fmla="*/ 2 h 6"/>
                  <a:gd name="T32" fmla="*/ 8 w 12"/>
                  <a:gd name="T33" fmla="*/ 2 h 6"/>
                  <a:gd name="T34" fmla="*/ 8 w 12"/>
                  <a:gd name="T35" fmla="*/ 0 h 6"/>
                  <a:gd name="T36" fmla="*/ 4 w 12"/>
                  <a:gd name="T37" fmla="*/ 0 h 6"/>
                  <a:gd name="T38" fmla="*/ 2 w 12"/>
                  <a:gd name="T39" fmla="*/ 0 h 6"/>
                  <a:gd name="T40" fmla="*/ 2 w 12"/>
                  <a:gd name="T41" fmla="*/ 2 h 6"/>
                  <a:gd name="T42" fmla="*/ 0 w 12"/>
                  <a:gd name="T43" fmla="*/ 2 h 6"/>
                  <a:gd name="T44" fmla="*/ 0 w 12"/>
                  <a:gd name="T45" fmla="*/ 2 h 6"/>
                  <a:gd name="T46" fmla="*/ 0 w 12"/>
                  <a:gd name="T47" fmla="*/ 4 h 6"/>
                  <a:gd name="T48" fmla="*/ 0 w 12"/>
                  <a:gd name="T49" fmla="*/ 4 h 6"/>
                  <a:gd name="T50" fmla="*/ 0 w 12"/>
                  <a:gd name="T51" fmla="*/ 4 h 6"/>
                  <a:gd name="T52" fmla="*/ 0 w 12"/>
                  <a:gd name="T53" fmla="*/ 4 h 6"/>
                  <a:gd name="T54" fmla="*/ 0 w 12"/>
                  <a:gd name="T55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2" h="6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8" y="6"/>
                    </a:lnTo>
                    <a:lnTo>
                      <a:pt x="10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2"/>
                    </a:lnTo>
                    <a:lnTo>
                      <a:pt x="8" y="2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05" name="Freeform 823"/>
              <p:cNvSpPr>
                <a:spLocks/>
              </p:cNvSpPr>
              <p:nvPr/>
            </p:nvSpPr>
            <p:spPr bwMode="auto">
              <a:xfrm>
                <a:off x="4755" y="2854"/>
                <a:ext cx="12" cy="6"/>
              </a:xfrm>
              <a:custGeom>
                <a:avLst/>
                <a:gdLst>
                  <a:gd name="T0" fmla="*/ 0 w 12"/>
                  <a:gd name="T1" fmla="*/ 4 h 6"/>
                  <a:gd name="T2" fmla="*/ 0 w 12"/>
                  <a:gd name="T3" fmla="*/ 4 h 6"/>
                  <a:gd name="T4" fmla="*/ 0 w 12"/>
                  <a:gd name="T5" fmla="*/ 6 h 6"/>
                  <a:gd name="T6" fmla="*/ 0 w 12"/>
                  <a:gd name="T7" fmla="*/ 6 h 6"/>
                  <a:gd name="T8" fmla="*/ 0 w 12"/>
                  <a:gd name="T9" fmla="*/ 6 h 6"/>
                  <a:gd name="T10" fmla="*/ 2 w 12"/>
                  <a:gd name="T11" fmla="*/ 6 h 6"/>
                  <a:gd name="T12" fmla="*/ 4 w 12"/>
                  <a:gd name="T13" fmla="*/ 6 h 6"/>
                  <a:gd name="T14" fmla="*/ 4 w 12"/>
                  <a:gd name="T15" fmla="*/ 6 h 6"/>
                  <a:gd name="T16" fmla="*/ 4 w 12"/>
                  <a:gd name="T17" fmla="*/ 6 h 6"/>
                  <a:gd name="T18" fmla="*/ 6 w 12"/>
                  <a:gd name="T19" fmla="*/ 6 h 6"/>
                  <a:gd name="T20" fmla="*/ 8 w 12"/>
                  <a:gd name="T21" fmla="*/ 4 h 6"/>
                  <a:gd name="T22" fmla="*/ 8 w 12"/>
                  <a:gd name="T23" fmla="*/ 4 h 6"/>
                  <a:gd name="T24" fmla="*/ 12 w 12"/>
                  <a:gd name="T25" fmla="*/ 4 h 6"/>
                  <a:gd name="T26" fmla="*/ 12 w 12"/>
                  <a:gd name="T27" fmla="*/ 4 h 6"/>
                  <a:gd name="T28" fmla="*/ 12 w 12"/>
                  <a:gd name="T29" fmla="*/ 4 h 6"/>
                  <a:gd name="T30" fmla="*/ 12 w 12"/>
                  <a:gd name="T31" fmla="*/ 2 h 6"/>
                  <a:gd name="T32" fmla="*/ 12 w 12"/>
                  <a:gd name="T33" fmla="*/ 2 h 6"/>
                  <a:gd name="T34" fmla="*/ 12 w 12"/>
                  <a:gd name="T35" fmla="*/ 0 h 6"/>
                  <a:gd name="T36" fmla="*/ 8 w 12"/>
                  <a:gd name="T37" fmla="*/ 0 h 6"/>
                  <a:gd name="T38" fmla="*/ 6 w 12"/>
                  <a:gd name="T39" fmla="*/ 0 h 6"/>
                  <a:gd name="T40" fmla="*/ 4 w 12"/>
                  <a:gd name="T41" fmla="*/ 0 h 6"/>
                  <a:gd name="T42" fmla="*/ 2 w 12"/>
                  <a:gd name="T43" fmla="*/ 0 h 6"/>
                  <a:gd name="T44" fmla="*/ 0 w 12"/>
                  <a:gd name="T45" fmla="*/ 2 h 6"/>
                  <a:gd name="T46" fmla="*/ 0 w 12"/>
                  <a:gd name="T47" fmla="*/ 2 h 6"/>
                  <a:gd name="T48" fmla="*/ 0 w 12"/>
                  <a:gd name="T49" fmla="*/ 2 h 6"/>
                  <a:gd name="T50" fmla="*/ 0 w 12"/>
                  <a:gd name="T51" fmla="*/ 4 h 6"/>
                  <a:gd name="T52" fmla="*/ 0 w 12"/>
                  <a:gd name="T53" fmla="*/ 4 h 6"/>
                  <a:gd name="T54" fmla="*/ 0 w 12"/>
                  <a:gd name="T55" fmla="*/ 4 h 6"/>
                  <a:gd name="T56" fmla="*/ 0 w 12"/>
                  <a:gd name="T57" fmla="*/ 4 h 6"/>
                  <a:gd name="T58" fmla="*/ 0 w 12"/>
                  <a:gd name="T59" fmla="*/ 4 h 6"/>
                  <a:gd name="T60" fmla="*/ 0 w 12"/>
                  <a:gd name="T61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2" h="6">
                    <a:moveTo>
                      <a:pt x="0" y="4"/>
                    </a:move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06" name="Freeform 825"/>
              <p:cNvSpPr>
                <a:spLocks/>
              </p:cNvSpPr>
              <p:nvPr/>
            </p:nvSpPr>
            <p:spPr bwMode="auto">
              <a:xfrm>
                <a:off x="4735" y="2882"/>
                <a:ext cx="14" cy="16"/>
              </a:xfrm>
              <a:custGeom>
                <a:avLst/>
                <a:gdLst>
                  <a:gd name="T0" fmla="*/ 2 w 14"/>
                  <a:gd name="T1" fmla="*/ 4 h 16"/>
                  <a:gd name="T2" fmla="*/ 2 w 14"/>
                  <a:gd name="T3" fmla="*/ 4 h 16"/>
                  <a:gd name="T4" fmla="*/ 0 w 14"/>
                  <a:gd name="T5" fmla="*/ 6 h 16"/>
                  <a:gd name="T6" fmla="*/ 0 w 14"/>
                  <a:gd name="T7" fmla="*/ 6 h 16"/>
                  <a:gd name="T8" fmla="*/ 0 w 14"/>
                  <a:gd name="T9" fmla="*/ 8 h 16"/>
                  <a:gd name="T10" fmla="*/ 0 w 14"/>
                  <a:gd name="T11" fmla="*/ 8 h 16"/>
                  <a:gd name="T12" fmla="*/ 0 w 14"/>
                  <a:gd name="T13" fmla="*/ 10 h 16"/>
                  <a:gd name="T14" fmla="*/ 0 w 14"/>
                  <a:gd name="T15" fmla="*/ 12 h 16"/>
                  <a:gd name="T16" fmla="*/ 0 w 14"/>
                  <a:gd name="T17" fmla="*/ 12 h 16"/>
                  <a:gd name="T18" fmla="*/ 2 w 14"/>
                  <a:gd name="T19" fmla="*/ 14 h 16"/>
                  <a:gd name="T20" fmla="*/ 2 w 14"/>
                  <a:gd name="T21" fmla="*/ 14 h 16"/>
                  <a:gd name="T22" fmla="*/ 2 w 14"/>
                  <a:gd name="T23" fmla="*/ 14 h 16"/>
                  <a:gd name="T24" fmla="*/ 4 w 14"/>
                  <a:gd name="T25" fmla="*/ 16 h 16"/>
                  <a:gd name="T26" fmla="*/ 4 w 14"/>
                  <a:gd name="T27" fmla="*/ 16 h 16"/>
                  <a:gd name="T28" fmla="*/ 6 w 14"/>
                  <a:gd name="T29" fmla="*/ 16 h 16"/>
                  <a:gd name="T30" fmla="*/ 8 w 14"/>
                  <a:gd name="T31" fmla="*/ 16 h 16"/>
                  <a:gd name="T32" fmla="*/ 8 w 14"/>
                  <a:gd name="T33" fmla="*/ 16 h 16"/>
                  <a:gd name="T34" fmla="*/ 12 w 14"/>
                  <a:gd name="T35" fmla="*/ 14 h 16"/>
                  <a:gd name="T36" fmla="*/ 12 w 14"/>
                  <a:gd name="T37" fmla="*/ 14 h 16"/>
                  <a:gd name="T38" fmla="*/ 14 w 14"/>
                  <a:gd name="T39" fmla="*/ 12 h 16"/>
                  <a:gd name="T40" fmla="*/ 14 w 14"/>
                  <a:gd name="T41" fmla="*/ 10 h 16"/>
                  <a:gd name="T42" fmla="*/ 14 w 14"/>
                  <a:gd name="T43" fmla="*/ 8 h 16"/>
                  <a:gd name="T44" fmla="*/ 14 w 14"/>
                  <a:gd name="T45" fmla="*/ 8 h 16"/>
                  <a:gd name="T46" fmla="*/ 14 w 14"/>
                  <a:gd name="T47" fmla="*/ 8 h 16"/>
                  <a:gd name="T48" fmla="*/ 14 w 14"/>
                  <a:gd name="T49" fmla="*/ 8 h 16"/>
                  <a:gd name="T50" fmla="*/ 12 w 14"/>
                  <a:gd name="T51" fmla="*/ 6 h 16"/>
                  <a:gd name="T52" fmla="*/ 12 w 14"/>
                  <a:gd name="T53" fmla="*/ 6 h 16"/>
                  <a:gd name="T54" fmla="*/ 12 w 14"/>
                  <a:gd name="T55" fmla="*/ 4 h 16"/>
                  <a:gd name="T56" fmla="*/ 12 w 14"/>
                  <a:gd name="T57" fmla="*/ 4 h 16"/>
                  <a:gd name="T58" fmla="*/ 10 w 14"/>
                  <a:gd name="T59" fmla="*/ 2 h 16"/>
                  <a:gd name="T60" fmla="*/ 8 w 14"/>
                  <a:gd name="T61" fmla="*/ 2 h 16"/>
                  <a:gd name="T62" fmla="*/ 8 w 14"/>
                  <a:gd name="T63" fmla="*/ 2 h 16"/>
                  <a:gd name="T64" fmla="*/ 6 w 14"/>
                  <a:gd name="T65" fmla="*/ 0 h 16"/>
                  <a:gd name="T66" fmla="*/ 4 w 14"/>
                  <a:gd name="T67" fmla="*/ 0 h 16"/>
                  <a:gd name="T68" fmla="*/ 2 w 14"/>
                  <a:gd name="T69" fmla="*/ 2 h 16"/>
                  <a:gd name="T70" fmla="*/ 2 w 14"/>
                  <a:gd name="T71" fmla="*/ 4 h 16"/>
                  <a:gd name="T72" fmla="*/ 2 w 14"/>
                  <a:gd name="T73" fmla="*/ 4 h 16"/>
                  <a:gd name="T74" fmla="*/ 2 w 14"/>
                  <a:gd name="T75" fmla="*/ 4 h 16"/>
                  <a:gd name="T76" fmla="*/ 2 w 14"/>
                  <a:gd name="T77" fmla="*/ 4 h 16"/>
                  <a:gd name="T78" fmla="*/ 2 w 14"/>
                  <a:gd name="T79" fmla="*/ 4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4" h="16">
                    <a:moveTo>
                      <a:pt x="2" y="4"/>
                    </a:moveTo>
                    <a:lnTo>
                      <a:pt x="2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4" y="12"/>
                    </a:lnTo>
                    <a:lnTo>
                      <a:pt x="14" y="10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2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07" name="Freeform 827"/>
              <p:cNvSpPr>
                <a:spLocks/>
              </p:cNvSpPr>
              <p:nvPr/>
            </p:nvSpPr>
            <p:spPr bwMode="auto">
              <a:xfrm>
                <a:off x="4757" y="2872"/>
                <a:ext cx="56" cy="24"/>
              </a:xfrm>
              <a:custGeom>
                <a:avLst/>
                <a:gdLst>
                  <a:gd name="T0" fmla="*/ 14 w 56"/>
                  <a:gd name="T1" fmla="*/ 4 h 24"/>
                  <a:gd name="T2" fmla="*/ 10 w 56"/>
                  <a:gd name="T3" fmla="*/ 6 h 24"/>
                  <a:gd name="T4" fmla="*/ 6 w 56"/>
                  <a:gd name="T5" fmla="*/ 6 h 24"/>
                  <a:gd name="T6" fmla="*/ 2 w 56"/>
                  <a:gd name="T7" fmla="*/ 8 h 24"/>
                  <a:gd name="T8" fmla="*/ 0 w 56"/>
                  <a:gd name="T9" fmla="*/ 14 h 24"/>
                  <a:gd name="T10" fmla="*/ 0 w 56"/>
                  <a:gd name="T11" fmla="*/ 16 h 24"/>
                  <a:gd name="T12" fmla="*/ 2 w 56"/>
                  <a:gd name="T13" fmla="*/ 16 h 24"/>
                  <a:gd name="T14" fmla="*/ 2 w 56"/>
                  <a:gd name="T15" fmla="*/ 16 h 24"/>
                  <a:gd name="T16" fmla="*/ 4 w 56"/>
                  <a:gd name="T17" fmla="*/ 14 h 24"/>
                  <a:gd name="T18" fmla="*/ 4 w 56"/>
                  <a:gd name="T19" fmla="*/ 14 h 24"/>
                  <a:gd name="T20" fmla="*/ 6 w 56"/>
                  <a:gd name="T21" fmla="*/ 16 h 24"/>
                  <a:gd name="T22" fmla="*/ 6 w 56"/>
                  <a:gd name="T23" fmla="*/ 16 h 24"/>
                  <a:gd name="T24" fmla="*/ 6 w 56"/>
                  <a:gd name="T25" fmla="*/ 18 h 24"/>
                  <a:gd name="T26" fmla="*/ 10 w 56"/>
                  <a:gd name="T27" fmla="*/ 18 h 24"/>
                  <a:gd name="T28" fmla="*/ 12 w 56"/>
                  <a:gd name="T29" fmla="*/ 18 h 24"/>
                  <a:gd name="T30" fmla="*/ 14 w 56"/>
                  <a:gd name="T31" fmla="*/ 16 h 24"/>
                  <a:gd name="T32" fmla="*/ 16 w 56"/>
                  <a:gd name="T33" fmla="*/ 16 h 24"/>
                  <a:gd name="T34" fmla="*/ 16 w 56"/>
                  <a:gd name="T35" fmla="*/ 16 h 24"/>
                  <a:gd name="T36" fmla="*/ 16 w 56"/>
                  <a:gd name="T37" fmla="*/ 14 h 24"/>
                  <a:gd name="T38" fmla="*/ 18 w 56"/>
                  <a:gd name="T39" fmla="*/ 14 h 24"/>
                  <a:gd name="T40" fmla="*/ 22 w 56"/>
                  <a:gd name="T41" fmla="*/ 14 h 24"/>
                  <a:gd name="T42" fmla="*/ 24 w 56"/>
                  <a:gd name="T43" fmla="*/ 14 h 24"/>
                  <a:gd name="T44" fmla="*/ 28 w 56"/>
                  <a:gd name="T45" fmla="*/ 12 h 24"/>
                  <a:gd name="T46" fmla="*/ 32 w 56"/>
                  <a:gd name="T47" fmla="*/ 10 h 24"/>
                  <a:gd name="T48" fmla="*/ 34 w 56"/>
                  <a:gd name="T49" fmla="*/ 14 h 24"/>
                  <a:gd name="T50" fmla="*/ 36 w 56"/>
                  <a:gd name="T51" fmla="*/ 16 h 24"/>
                  <a:gd name="T52" fmla="*/ 38 w 56"/>
                  <a:gd name="T53" fmla="*/ 18 h 24"/>
                  <a:gd name="T54" fmla="*/ 42 w 56"/>
                  <a:gd name="T55" fmla="*/ 18 h 24"/>
                  <a:gd name="T56" fmla="*/ 44 w 56"/>
                  <a:gd name="T57" fmla="*/ 18 h 24"/>
                  <a:gd name="T58" fmla="*/ 50 w 56"/>
                  <a:gd name="T59" fmla="*/ 22 h 24"/>
                  <a:gd name="T60" fmla="*/ 52 w 56"/>
                  <a:gd name="T61" fmla="*/ 24 h 24"/>
                  <a:gd name="T62" fmla="*/ 56 w 56"/>
                  <a:gd name="T63" fmla="*/ 24 h 24"/>
                  <a:gd name="T64" fmla="*/ 56 w 56"/>
                  <a:gd name="T65" fmla="*/ 24 h 24"/>
                  <a:gd name="T66" fmla="*/ 56 w 56"/>
                  <a:gd name="T67" fmla="*/ 20 h 24"/>
                  <a:gd name="T68" fmla="*/ 52 w 56"/>
                  <a:gd name="T69" fmla="*/ 16 h 24"/>
                  <a:gd name="T70" fmla="*/ 48 w 56"/>
                  <a:gd name="T71" fmla="*/ 8 h 24"/>
                  <a:gd name="T72" fmla="*/ 46 w 56"/>
                  <a:gd name="T73" fmla="*/ 6 h 24"/>
                  <a:gd name="T74" fmla="*/ 40 w 56"/>
                  <a:gd name="T75" fmla="*/ 2 h 24"/>
                  <a:gd name="T76" fmla="*/ 32 w 56"/>
                  <a:gd name="T77" fmla="*/ 2 h 24"/>
                  <a:gd name="T78" fmla="*/ 28 w 56"/>
                  <a:gd name="T79" fmla="*/ 0 h 24"/>
                  <a:gd name="T80" fmla="*/ 22 w 56"/>
                  <a:gd name="T81" fmla="*/ 0 h 24"/>
                  <a:gd name="T82" fmla="*/ 20 w 56"/>
                  <a:gd name="T83" fmla="*/ 0 h 24"/>
                  <a:gd name="T84" fmla="*/ 14 w 56"/>
                  <a:gd name="T85" fmla="*/ 4 h 24"/>
                  <a:gd name="T86" fmla="*/ 14 w 56"/>
                  <a:gd name="T87" fmla="*/ 4 h 24"/>
                  <a:gd name="T88" fmla="*/ 14 w 56"/>
                  <a:gd name="T89" fmla="*/ 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56" h="24">
                    <a:moveTo>
                      <a:pt x="14" y="4"/>
                    </a:moveTo>
                    <a:lnTo>
                      <a:pt x="14" y="4"/>
                    </a:lnTo>
                    <a:lnTo>
                      <a:pt x="12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4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20" y="14"/>
                    </a:lnTo>
                    <a:lnTo>
                      <a:pt x="22" y="14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8" y="14"/>
                    </a:lnTo>
                    <a:lnTo>
                      <a:pt x="28" y="12"/>
                    </a:lnTo>
                    <a:lnTo>
                      <a:pt x="32" y="10"/>
                    </a:lnTo>
                    <a:lnTo>
                      <a:pt x="32" y="10"/>
                    </a:lnTo>
                    <a:lnTo>
                      <a:pt x="34" y="12"/>
                    </a:lnTo>
                    <a:lnTo>
                      <a:pt x="34" y="14"/>
                    </a:lnTo>
                    <a:lnTo>
                      <a:pt x="34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4" y="18"/>
                    </a:lnTo>
                    <a:lnTo>
                      <a:pt x="46" y="20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2" y="24"/>
                    </a:lnTo>
                    <a:lnTo>
                      <a:pt x="54" y="24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6" y="22"/>
                    </a:lnTo>
                    <a:lnTo>
                      <a:pt x="56" y="20"/>
                    </a:lnTo>
                    <a:lnTo>
                      <a:pt x="54" y="18"/>
                    </a:lnTo>
                    <a:lnTo>
                      <a:pt x="52" y="16"/>
                    </a:lnTo>
                    <a:lnTo>
                      <a:pt x="50" y="10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6" y="6"/>
                    </a:lnTo>
                    <a:lnTo>
                      <a:pt x="44" y="4"/>
                    </a:lnTo>
                    <a:lnTo>
                      <a:pt x="40" y="2"/>
                    </a:lnTo>
                    <a:lnTo>
                      <a:pt x="36" y="2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28" y="0"/>
                    </a:lnTo>
                    <a:lnTo>
                      <a:pt x="26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0" y="0"/>
                    </a:lnTo>
                    <a:lnTo>
                      <a:pt x="18" y="2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08" name="Freeform 829"/>
              <p:cNvSpPr>
                <a:spLocks/>
              </p:cNvSpPr>
              <p:nvPr/>
            </p:nvSpPr>
            <p:spPr bwMode="auto">
              <a:xfrm>
                <a:off x="4801" y="2830"/>
                <a:ext cx="20" cy="12"/>
              </a:xfrm>
              <a:custGeom>
                <a:avLst/>
                <a:gdLst>
                  <a:gd name="T0" fmla="*/ 6 w 20"/>
                  <a:gd name="T1" fmla="*/ 0 h 12"/>
                  <a:gd name="T2" fmla="*/ 6 w 20"/>
                  <a:gd name="T3" fmla="*/ 0 h 12"/>
                  <a:gd name="T4" fmla="*/ 6 w 20"/>
                  <a:gd name="T5" fmla="*/ 0 h 12"/>
                  <a:gd name="T6" fmla="*/ 4 w 20"/>
                  <a:gd name="T7" fmla="*/ 0 h 12"/>
                  <a:gd name="T8" fmla="*/ 4 w 20"/>
                  <a:gd name="T9" fmla="*/ 2 h 12"/>
                  <a:gd name="T10" fmla="*/ 4 w 20"/>
                  <a:gd name="T11" fmla="*/ 4 h 12"/>
                  <a:gd name="T12" fmla="*/ 4 w 20"/>
                  <a:gd name="T13" fmla="*/ 4 h 12"/>
                  <a:gd name="T14" fmla="*/ 4 w 20"/>
                  <a:gd name="T15" fmla="*/ 4 h 12"/>
                  <a:gd name="T16" fmla="*/ 4 w 20"/>
                  <a:gd name="T17" fmla="*/ 6 h 12"/>
                  <a:gd name="T18" fmla="*/ 4 w 20"/>
                  <a:gd name="T19" fmla="*/ 6 h 12"/>
                  <a:gd name="T20" fmla="*/ 2 w 20"/>
                  <a:gd name="T21" fmla="*/ 6 h 12"/>
                  <a:gd name="T22" fmla="*/ 0 w 20"/>
                  <a:gd name="T23" fmla="*/ 8 h 12"/>
                  <a:gd name="T24" fmla="*/ 0 w 20"/>
                  <a:gd name="T25" fmla="*/ 8 h 12"/>
                  <a:gd name="T26" fmla="*/ 0 w 20"/>
                  <a:gd name="T27" fmla="*/ 8 h 12"/>
                  <a:gd name="T28" fmla="*/ 0 w 20"/>
                  <a:gd name="T29" fmla="*/ 8 h 12"/>
                  <a:gd name="T30" fmla="*/ 0 w 20"/>
                  <a:gd name="T31" fmla="*/ 10 h 12"/>
                  <a:gd name="T32" fmla="*/ 0 w 20"/>
                  <a:gd name="T33" fmla="*/ 10 h 12"/>
                  <a:gd name="T34" fmla="*/ 2 w 20"/>
                  <a:gd name="T35" fmla="*/ 12 h 12"/>
                  <a:gd name="T36" fmla="*/ 2 w 20"/>
                  <a:gd name="T37" fmla="*/ 12 h 12"/>
                  <a:gd name="T38" fmla="*/ 4 w 20"/>
                  <a:gd name="T39" fmla="*/ 12 h 12"/>
                  <a:gd name="T40" fmla="*/ 6 w 20"/>
                  <a:gd name="T41" fmla="*/ 12 h 12"/>
                  <a:gd name="T42" fmla="*/ 6 w 20"/>
                  <a:gd name="T43" fmla="*/ 12 h 12"/>
                  <a:gd name="T44" fmla="*/ 8 w 20"/>
                  <a:gd name="T45" fmla="*/ 12 h 12"/>
                  <a:gd name="T46" fmla="*/ 8 w 20"/>
                  <a:gd name="T47" fmla="*/ 10 h 12"/>
                  <a:gd name="T48" fmla="*/ 8 w 20"/>
                  <a:gd name="T49" fmla="*/ 8 h 12"/>
                  <a:gd name="T50" fmla="*/ 10 w 20"/>
                  <a:gd name="T51" fmla="*/ 8 h 12"/>
                  <a:gd name="T52" fmla="*/ 10 w 20"/>
                  <a:gd name="T53" fmla="*/ 8 h 12"/>
                  <a:gd name="T54" fmla="*/ 12 w 20"/>
                  <a:gd name="T55" fmla="*/ 8 h 12"/>
                  <a:gd name="T56" fmla="*/ 14 w 20"/>
                  <a:gd name="T57" fmla="*/ 6 h 12"/>
                  <a:gd name="T58" fmla="*/ 16 w 20"/>
                  <a:gd name="T59" fmla="*/ 6 h 12"/>
                  <a:gd name="T60" fmla="*/ 16 w 20"/>
                  <a:gd name="T61" fmla="*/ 6 h 12"/>
                  <a:gd name="T62" fmla="*/ 18 w 20"/>
                  <a:gd name="T63" fmla="*/ 6 h 12"/>
                  <a:gd name="T64" fmla="*/ 20 w 20"/>
                  <a:gd name="T65" fmla="*/ 4 h 12"/>
                  <a:gd name="T66" fmla="*/ 20 w 20"/>
                  <a:gd name="T67" fmla="*/ 4 h 12"/>
                  <a:gd name="T68" fmla="*/ 20 w 20"/>
                  <a:gd name="T69" fmla="*/ 4 h 12"/>
                  <a:gd name="T70" fmla="*/ 20 w 20"/>
                  <a:gd name="T71" fmla="*/ 4 h 12"/>
                  <a:gd name="T72" fmla="*/ 20 w 20"/>
                  <a:gd name="T73" fmla="*/ 4 h 12"/>
                  <a:gd name="T74" fmla="*/ 20 w 20"/>
                  <a:gd name="T75" fmla="*/ 2 h 12"/>
                  <a:gd name="T76" fmla="*/ 18 w 20"/>
                  <a:gd name="T77" fmla="*/ 2 h 12"/>
                  <a:gd name="T78" fmla="*/ 16 w 20"/>
                  <a:gd name="T79" fmla="*/ 0 h 12"/>
                  <a:gd name="T80" fmla="*/ 14 w 20"/>
                  <a:gd name="T81" fmla="*/ 0 h 12"/>
                  <a:gd name="T82" fmla="*/ 8 w 20"/>
                  <a:gd name="T83" fmla="*/ 0 h 12"/>
                  <a:gd name="T84" fmla="*/ 8 w 20"/>
                  <a:gd name="T85" fmla="*/ 0 h 12"/>
                  <a:gd name="T86" fmla="*/ 6 w 20"/>
                  <a:gd name="T87" fmla="*/ 0 h 12"/>
                  <a:gd name="T88" fmla="*/ 6 w 20"/>
                  <a:gd name="T89" fmla="*/ 0 h 12"/>
                  <a:gd name="T90" fmla="*/ 6 w 20"/>
                  <a:gd name="T91" fmla="*/ 0 h 12"/>
                  <a:gd name="T92" fmla="*/ 6 w 20"/>
                  <a:gd name="T93" fmla="*/ 0 h 12"/>
                  <a:gd name="T94" fmla="*/ 6 w 20"/>
                  <a:gd name="T9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0" h="12">
                    <a:moveTo>
                      <a:pt x="6" y="0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0"/>
                    </a:lnTo>
                    <a:lnTo>
                      <a:pt x="8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2" y="8"/>
                    </a:lnTo>
                    <a:lnTo>
                      <a:pt x="14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8" y="6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2"/>
                    </a:lnTo>
                    <a:lnTo>
                      <a:pt x="18" y="2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09" name="Freeform 831"/>
              <p:cNvSpPr>
                <a:spLocks/>
              </p:cNvSpPr>
              <p:nvPr/>
            </p:nvSpPr>
            <p:spPr bwMode="auto">
              <a:xfrm>
                <a:off x="4795" y="2858"/>
                <a:ext cx="12" cy="6"/>
              </a:xfrm>
              <a:custGeom>
                <a:avLst/>
                <a:gdLst>
                  <a:gd name="T0" fmla="*/ 0 w 12"/>
                  <a:gd name="T1" fmla="*/ 4 h 6"/>
                  <a:gd name="T2" fmla="*/ 0 w 12"/>
                  <a:gd name="T3" fmla="*/ 4 h 6"/>
                  <a:gd name="T4" fmla="*/ 0 w 12"/>
                  <a:gd name="T5" fmla="*/ 4 h 6"/>
                  <a:gd name="T6" fmla="*/ 2 w 12"/>
                  <a:gd name="T7" fmla="*/ 4 h 6"/>
                  <a:gd name="T8" fmla="*/ 2 w 12"/>
                  <a:gd name="T9" fmla="*/ 6 h 6"/>
                  <a:gd name="T10" fmla="*/ 4 w 12"/>
                  <a:gd name="T11" fmla="*/ 6 h 6"/>
                  <a:gd name="T12" fmla="*/ 6 w 12"/>
                  <a:gd name="T13" fmla="*/ 6 h 6"/>
                  <a:gd name="T14" fmla="*/ 6 w 12"/>
                  <a:gd name="T15" fmla="*/ 6 h 6"/>
                  <a:gd name="T16" fmla="*/ 10 w 12"/>
                  <a:gd name="T17" fmla="*/ 6 h 6"/>
                  <a:gd name="T18" fmla="*/ 12 w 12"/>
                  <a:gd name="T19" fmla="*/ 4 h 6"/>
                  <a:gd name="T20" fmla="*/ 12 w 12"/>
                  <a:gd name="T21" fmla="*/ 4 h 6"/>
                  <a:gd name="T22" fmla="*/ 12 w 12"/>
                  <a:gd name="T23" fmla="*/ 4 h 6"/>
                  <a:gd name="T24" fmla="*/ 12 w 12"/>
                  <a:gd name="T25" fmla="*/ 2 h 6"/>
                  <a:gd name="T26" fmla="*/ 12 w 12"/>
                  <a:gd name="T27" fmla="*/ 2 h 6"/>
                  <a:gd name="T28" fmla="*/ 10 w 12"/>
                  <a:gd name="T29" fmla="*/ 0 h 6"/>
                  <a:gd name="T30" fmla="*/ 8 w 12"/>
                  <a:gd name="T31" fmla="*/ 0 h 6"/>
                  <a:gd name="T32" fmla="*/ 6 w 12"/>
                  <a:gd name="T33" fmla="*/ 0 h 6"/>
                  <a:gd name="T34" fmla="*/ 4 w 12"/>
                  <a:gd name="T35" fmla="*/ 0 h 6"/>
                  <a:gd name="T36" fmla="*/ 2 w 12"/>
                  <a:gd name="T37" fmla="*/ 0 h 6"/>
                  <a:gd name="T38" fmla="*/ 2 w 12"/>
                  <a:gd name="T39" fmla="*/ 2 h 6"/>
                  <a:gd name="T40" fmla="*/ 2 w 12"/>
                  <a:gd name="T41" fmla="*/ 2 h 6"/>
                  <a:gd name="T42" fmla="*/ 0 w 12"/>
                  <a:gd name="T43" fmla="*/ 4 h 6"/>
                  <a:gd name="T44" fmla="*/ 0 w 12"/>
                  <a:gd name="T45" fmla="*/ 4 h 6"/>
                  <a:gd name="T46" fmla="*/ 0 w 12"/>
                  <a:gd name="T47" fmla="*/ 4 h 6"/>
                  <a:gd name="T48" fmla="*/ 0 w 12"/>
                  <a:gd name="T49" fmla="*/ 4 h 6"/>
                  <a:gd name="T50" fmla="*/ 0 w 12"/>
                  <a:gd name="T51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2" h="6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10" y="6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10" name="Freeform 833"/>
              <p:cNvSpPr>
                <a:spLocks/>
              </p:cNvSpPr>
              <p:nvPr/>
            </p:nvSpPr>
            <p:spPr bwMode="auto">
              <a:xfrm>
                <a:off x="4809" y="2838"/>
                <a:ext cx="166" cy="192"/>
              </a:xfrm>
              <a:custGeom>
                <a:avLst/>
                <a:gdLst>
                  <a:gd name="T0" fmla="*/ 150 w 166"/>
                  <a:gd name="T1" fmla="*/ 48 h 192"/>
                  <a:gd name="T2" fmla="*/ 138 w 166"/>
                  <a:gd name="T3" fmla="*/ 40 h 192"/>
                  <a:gd name="T4" fmla="*/ 136 w 166"/>
                  <a:gd name="T5" fmla="*/ 36 h 192"/>
                  <a:gd name="T6" fmla="*/ 120 w 166"/>
                  <a:gd name="T7" fmla="*/ 24 h 192"/>
                  <a:gd name="T8" fmla="*/ 108 w 166"/>
                  <a:gd name="T9" fmla="*/ 22 h 192"/>
                  <a:gd name="T10" fmla="*/ 104 w 166"/>
                  <a:gd name="T11" fmla="*/ 30 h 192"/>
                  <a:gd name="T12" fmla="*/ 102 w 166"/>
                  <a:gd name="T13" fmla="*/ 36 h 192"/>
                  <a:gd name="T14" fmla="*/ 94 w 166"/>
                  <a:gd name="T15" fmla="*/ 36 h 192"/>
                  <a:gd name="T16" fmla="*/ 88 w 166"/>
                  <a:gd name="T17" fmla="*/ 40 h 192"/>
                  <a:gd name="T18" fmla="*/ 86 w 166"/>
                  <a:gd name="T19" fmla="*/ 46 h 192"/>
                  <a:gd name="T20" fmla="*/ 74 w 166"/>
                  <a:gd name="T21" fmla="*/ 56 h 192"/>
                  <a:gd name="T22" fmla="*/ 68 w 166"/>
                  <a:gd name="T23" fmla="*/ 54 h 192"/>
                  <a:gd name="T24" fmla="*/ 68 w 166"/>
                  <a:gd name="T25" fmla="*/ 50 h 192"/>
                  <a:gd name="T26" fmla="*/ 66 w 166"/>
                  <a:gd name="T27" fmla="*/ 46 h 192"/>
                  <a:gd name="T28" fmla="*/ 60 w 166"/>
                  <a:gd name="T29" fmla="*/ 40 h 192"/>
                  <a:gd name="T30" fmla="*/ 54 w 166"/>
                  <a:gd name="T31" fmla="*/ 32 h 192"/>
                  <a:gd name="T32" fmla="*/ 56 w 166"/>
                  <a:gd name="T33" fmla="*/ 18 h 192"/>
                  <a:gd name="T34" fmla="*/ 54 w 166"/>
                  <a:gd name="T35" fmla="*/ 6 h 192"/>
                  <a:gd name="T36" fmla="*/ 44 w 166"/>
                  <a:gd name="T37" fmla="*/ 4 h 192"/>
                  <a:gd name="T38" fmla="*/ 30 w 166"/>
                  <a:gd name="T39" fmla="*/ 0 h 192"/>
                  <a:gd name="T40" fmla="*/ 24 w 166"/>
                  <a:gd name="T41" fmla="*/ 4 h 192"/>
                  <a:gd name="T42" fmla="*/ 16 w 166"/>
                  <a:gd name="T43" fmla="*/ 4 h 192"/>
                  <a:gd name="T44" fmla="*/ 10 w 166"/>
                  <a:gd name="T45" fmla="*/ 12 h 192"/>
                  <a:gd name="T46" fmla="*/ 0 w 166"/>
                  <a:gd name="T47" fmla="*/ 12 h 192"/>
                  <a:gd name="T48" fmla="*/ 0 w 166"/>
                  <a:gd name="T49" fmla="*/ 14 h 192"/>
                  <a:gd name="T50" fmla="*/ 8 w 166"/>
                  <a:gd name="T51" fmla="*/ 20 h 192"/>
                  <a:gd name="T52" fmla="*/ 18 w 166"/>
                  <a:gd name="T53" fmla="*/ 22 h 192"/>
                  <a:gd name="T54" fmla="*/ 20 w 166"/>
                  <a:gd name="T55" fmla="*/ 32 h 192"/>
                  <a:gd name="T56" fmla="*/ 26 w 166"/>
                  <a:gd name="T57" fmla="*/ 32 h 192"/>
                  <a:gd name="T58" fmla="*/ 38 w 166"/>
                  <a:gd name="T59" fmla="*/ 34 h 192"/>
                  <a:gd name="T60" fmla="*/ 48 w 166"/>
                  <a:gd name="T61" fmla="*/ 36 h 192"/>
                  <a:gd name="T62" fmla="*/ 40 w 166"/>
                  <a:gd name="T63" fmla="*/ 38 h 192"/>
                  <a:gd name="T64" fmla="*/ 32 w 166"/>
                  <a:gd name="T65" fmla="*/ 40 h 192"/>
                  <a:gd name="T66" fmla="*/ 26 w 166"/>
                  <a:gd name="T67" fmla="*/ 42 h 192"/>
                  <a:gd name="T68" fmla="*/ 20 w 166"/>
                  <a:gd name="T69" fmla="*/ 44 h 192"/>
                  <a:gd name="T70" fmla="*/ 16 w 166"/>
                  <a:gd name="T71" fmla="*/ 46 h 192"/>
                  <a:gd name="T72" fmla="*/ 24 w 166"/>
                  <a:gd name="T73" fmla="*/ 50 h 192"/>
                  <a:gd name="T74" fmla="*/ 32 w 166"/>
                  <a:gd name="T75" fmla="*/ 60 h 192"/>
                  <a:gd name="T76" fmla="*/ 34 w 166"/>
                  <a:gd name="T77" fmla="*/ 80 h 192"/>
                  <a:gd name="T78" fmla="*/ 42 w 166"/>
                  <a:gd name="T79" fmla="*/ 80 h 192"/>
                  <a:gd name="T80" fmla="*/ 48 w 166"/>
                  <a:gd name="T81" fmla="*/ 56 h 192"/>
                  <a:gd name="T82" fmla="*/ 54 w 166"/>
                  <a:gd name="T83" fmla="*/ 50 h 192"/>
                  <a:gd name="T84" fmla="*/ 60 w 166"/>
                  <a:gd name="T85" fmla="*/ 48 h 192"/>
                  <a:gd name="T86" fmla="*/ 52 w 166"/>
                  <a:gd name="T87" fmla="*/ 58 h 192"/>
                  <a:gd name="T88" fmla="*/ 52 w 166"/>
                  <a:gd name="T89" fmla="*/ 70 h 192"/>
                  <a:gd name="T90" fmla="*/ 62 w 166"/>
                  <a:gd name="T91" fmla="*/ 80 h 192"/>
                  <a:gd name="T92" fmla="*/ 68 w 166"/>
                  <a:gd name="T93" fmla="*/ 80 h 192"/>
                  <a:gd name="T94" fmla="*/ 72 w 166"/>
                  <a:gd name="T95" fmla="*/ 86 h 192"/>
                  <a:gd name="T96" fmla="*/ 86 w 166"/>
                  <a:gd name="T97" fmla="*/ 94 h 192"/>
                  <a:gd name="T98" fmla="*/ 104 w 166"/>
                  <a:gd name="T99" fmla="*/ 100 h 192"/>
                  <a:gd name="T100" fmla="*/ 114 w 166"/>
                  <a:gd name="T101" fmla="*/ 108 h 192"/>
                  <a:gd name="T102" fmla="*/ 118 w 166"/>
                  <a:gd name="T103" fmla="*/ 114 h 192"/>
                  <a:gd name="T104" fmla="*/ 120 w 166"/>
                  <a:gd name="T105" fmla="*/ 124 h 192"/>
                  <a:gd name="T106" fmla="*/ 120 w 166"/>
                  <a:gd name="T107" fmla="*/ 138 h 192"/>
                  <a:gd name="T108" fmla="*/ 124 w 166"/>
                  <a:gd name="T109" fmla="*/ 144 h 192"/>
                  <a:gd name="T110" fmla="*/ 124 w 166"/>
                  <a:gd name="T111" fmla="*/ 152 h 192"/>
                  <a:gd name="T112" fmla="*/ 124 w 166"/>
                  <a:gd name="T113" fmla="*/ 164 h 192"/>
                  <a:gd name="T114" fmla="*/ 138 w 166"/>
                  <a:gd name="T115" fmla="*/ 170 h 192"/>
                  <a:gd name="T116" fmla="*/ 142 w 166"/>
                  <a:gd name="T117" fmla="*/ 180 h 192"/>
                  <a:gd name="T118" fmla="*/ 154 w 166"/>
                  <a:gd name="T119" fmla="*/ 188 h 192"/>
                  <a:gd name="T120" fmla="*/ 164 w 166"/>
                  <a:gd name="T121" fmla="*/ 52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66" h="192">
                    <a:moveTo>
                      <a:pt x="164" y="52"/>
                    </a:moveTo>
                    <a:lnTo>
                      <a:pt x="164" y="52"/>
                    </a:lnTo>
                    <a:lnTo>
                      <a:pt x="160" y="50"/>
                    </a:lnTo>
                    <a:lnTo>
                      <a:pt x="156" y="50"/>
                    </a:lnTo>
                    <a:lnTo>
                      <a:pt x="154" y="50"/>
                    </a:lnTo>
                    <a:lnTo>
                      <a:pt x="150" y="48"/>
                    </a:lnTo>
                    <a:lnTo>
                      <a:pt x="150" y="48"/>
                    </a:lnTo>
                    <a:lnTo>
                      <a:pt x="148" y="48"/>
                    </a:lnTo>
                    <a:lnTo>
                      <a:pt x="148" y="46"/>
                    </a:lnTo>
                    <a:lnTo>
                      <a:pt x="144" y="44"/>
                    </a:lnTo>
                    <a:lnTo>
                      <a:pt x="144" y="44"/>
                    </a:lnTo>
                    <a:lnTo>
                      <a:pt x="142" y="42"/>
                    </a:lnTo>
                    <a:lnTo>
                      <a:pt x="140" y="42"/>
                    </a:lnTo>
                    <a:lnTo>
                      <a:pt x="138" y="40"/>
                    </a:lnTo>
                    <a:lnTo>
                      <a:pt x="138" y="40"/>
                    </a:lnTo>
                    <a:lnTo>
                      <a:pt x="138" y="40"/>
                    </a:lnTo>
                    <a:lnTo>
                      <a:pt x="138" y="40"/>
                    </a:lnTo>
                    <a:lnTo>
                      <a:pt x="138" y="38"/>
                    </a:lnTo>
                    <a:lnTo>
                      <a:pt x="138" y="38"/>
                    </a:lnTo>
                    <a:lnTo>
                      <a:pt x="138" y="38"/>
                    </a:lnTo>
                    <a:lnTo>
                      <a:pt x="136" y="36"/>
                    </a:lnTo>
                    <a:lnTo>
                      <a:pt x="136" y="36"/>
                    </a:lnTo>
                    <a:lnTo>
                      <a:pt x="134" y="36"/>
                    </a:lnTo>
                    <a:lnTo>
                      <a:pt x="134" y="36"/>
                    </a:lnTo>
                    <a:lnTo>
                      <a:pt x="132" y="34"/>
                    </a:lnTo>
                    <a:lnTo>
                      <a:pt x="128" y="32"/>
                    </a:lnTo>
                    <a:lnTo>
                      <a:pt x="122" y="26"/>
                    </a:lnTo>
                    <a:lnTo>
                      <a:pt x="120" y="24"/>
                    </a:lnTo>
                    <a:lnTo>
                      <a:pt x="118" y="22"/>
                    </a:lnTo>
                    <a:lnTo>
                      <a:pt x="116" y="20"/>
                    </a:lnTo>
                    <a:lnTo>
                      <a:pt x="114" y="20"/>
                    </a:lnTo>
                    <a:lnTo>
                      <a:pt x="112" y="20"/>
                    </a:lnTo>
                    <a:lnTo>
                      <a:pt x="110" y="20"/>
                    </a:lnTo>
                    <a:lnTo>
                      <a:pt x="110" y="20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6" y="24"/>
                    </a:lnTo>
                    <a:lnTo>
                      <a:pt x="106" y="26"/>
                    </a:lnTo>
                    <a:lnTo>
                      <a:pt x="106" y="26"/>
                    </a:lnTo>
                    <a:lnTo>
                      <a:pt x="106" y="28"/>
                    </a:lnTo>
                    <a:lnTo>
                      <a:pt x="104" y="28"/>
                    </a:lnTo>
                    <a:lnTo>
                      <a:pt x="104" y="30"/>
                    </a:lnTo>
                    <a:lnTo>
                      <a:pt x="104" y="32"/>
                    </a:lnTo>
                    <a:lnTo>
                      <a:pt x="104" y="32"/>
                    </a:lnTo>
                    <a:lnTo>
                      <a:pt x="102" y="32"/>
                    </a:lnTo>
                    <a:lnTo>
                      <a:pt x="102" y="34"/>
                    </a:lnTo>
                    <a:lnTo>
                      <a:pt x="102" y="36"/>
                    </a:lnTo>
                    <a:lnTo>
                      <a:pt x="102" y="36"/>
                    </a:lnTo>
                    <a:lnTo>
                      <a:pt x="102" y="36"/>
                    </a:lnTo>
                    <a:lnTo>
                      <a:pt x="100" y="38"/>
                    </a:lnTo>
                    <a:lnTo>
                      <a:pt x="98" y="38"/>
                    </a:lnTo>
                    <a:lnTo>
                      <a:pt x="96" y="38"/>
                    </a:lnTo>
                    <a:lnTo>
                      <a:pt x="96" y="38"/>
                    </a:lnTo>
                    <a:lnTo>
                      <a:pt x="96" y="38"/>
                    </a:lnTo>
                    <a:lnTo>
                      <a:pt x="94" y="36"/>
                    </a:lnTo>
                    <a:lnTo>
                      <a:pt x="94" y="36"/>
                    </a:lnTo>
                    <a:lnTo>
                      <a:pt x="92" y="36"/>
                    </a:lnTo>
                    <a:lnTo>
                      <a:pt x="92" y="36"/>
                    </a:lnTo>
                    <a:lnTo>
                      <a:pt x="90" y="36"/>
                    </a:lnTo>
                    <a:lnTo>
                      <a:pt x="90" y="36"/>
                    </a:lnTo>
                    <a:lnTo>
                      <a:pt x="90" y="36"/>
                    </a:lnTo>
                    <a:lnTo>
                      <a:pt x="88" y="38"/>
                    </a:lnTo>
                    <a:lnTo>
                      <a:pt x="88" y="40"/>
                    </a:lnTo>
                    <a:lnTo>
                      <a:pt x="88" y="40"/>
                    </a:lnTo>
                    <a:lnTo>
                      <a:pt x="88" y="40"/>
                    </a:lnTo>
                    <a:lnTo>
                      <a:pt x="88" y="42"/>
                    </a:lnTo>
                    <a:lnTo>
                      <a:pt x="88" y="44"/>
                    </a:lnTo>
                    <a:lnTo>
                      <a:pt x="86" y="44"/>
                    </a:lnTo>
                    <a:lnTo>
                      <a:pt x="86" y="46"/>
                    </a:lnTo>
                    <a:lnTo>
                      <a:pt x="86" y="46"/>
                    </a:lnTo>
                    <a:lnTo>
                      <a:pt x="82" y="48"/>
                    </a:lnTo>
                    <a:lnTo>
                      <a:pt x="80" y="48"/>
                    </a:lnTo>
                    <a:lnTo>
                      <a:pt x="80" y="50"/>
                    </a:lnTo>
                    <a:lnTo>
                      <a:pt x="80" y="50"/>
                    </a:lnTo>
                    <a:lnTo>
                      <a:pt x="78" y="54"/>
                    </a:lnTo>
                    <a:lnTo>
                      <a:pt x="76" y="56"/>
                    </a:lnTo>
                    <a:lnTo>
                      <a:pt x="74" y="56"/>
                    </a:lnTo>
                    <a:lnTo>
                      <a:pt x="74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0" y="56"/>
                    </a:lnTo>
                    <a:lnTo>
                      <a:pt x="70" y="56"/>
                    </a:lnTo>
                    <a:lnTo>
                      <a:pt x="68" y="54"/>
                    </a:lnTo>
                    <a:lnTo>
                      <a:pt x="68" y="54"/>
                    </a:lnTo>
                    <a:lnTo>
                      <a:pt x="68" y="54"/>
                    </a:lnTo>
                    <a:lnTo>
                      <a:pt x="68" y="52"/>
                    </a:lnTo>
                    <a:lnTo>
                      <a:pt x="68" y="52"/>
                    </a:lnTo>
                    <a:lnTo>
                      <a:pt x="68" y="52"/>
                    </a:lnTo>
                    <a:lnTo>
                      <a:pt x="68" y="52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6" y="50"/>
                    </a:lnTo>
                    <a:lnTo>
                      <a:pt x="66" y="50"/>
                    </a:lnTo>
                    <a:lnTo>
                      <a:pt x="66" y="50"/>
                    </a:lnTo>
                    <a:lnTo>
                      <a:pt x="66" y="48"/>
                    </a:lnTo>
                    <a:lnTo>
                      <a:pt x="66" y="48"/>
                    </a:lnTo>
                    <a:lnTo>
                      <a:pt x="66" y="46"/>
                    </a:lnTo>
                    <a:lnTo>
                      <a:pt x="66" y="46"/>
                    </a:lnTo>
                    <a:lnTo>
                      <a:pt x="66" y="46"/>
                    </a:lnTo>
                    <a:lnTo>
                      <a:pt x="64" y="46"/>
                    </a:lnTo>
                    <a:lnTo>
                      <a:pt x="64" y="44"/>
                    </a:lnTo>
                    <a:lnTo>
                      <a:pt x="62" y="44"/>
                    </a:lnTo>
                    <a:lnTo>
                      <a:pt x="62" y="44"/>
                    </a:lnTo>
                    <a:lnTo>
                      <a:pt x="62" y="42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58" y="36"/>
                    </a:lnTo>
                    <a:lnTo>
                      <a:pt x="58" y="36"/>
                    </a:lnTo>
                    <a:lnTo>
                      <a:pt x="56" y="34"/>
                    </a:lnTo>
                    <a:lnTo>
                      <a:pt x="54" y="32"/>
                    </a:lnTo>
                    <a:lnTo>
                      <a:pt x="54" y="32"/>
                    </a:lnTo>
                    <a:lnTo>
                      <a:pt x="54" y="32"/>
                    </a:lnTo>
                    <a:lnTo>
                      <a:pt x="54" y="30"/>
                    </a:lnTo>
                    <a:lnTo>
                      <a:pt x="52" y="28"/>
                    </a:lnTo>
                    <a:lnTo>
                      <a:pt x="54" y="26"/>
                    </a:lnTo>
                    <a:lnTo>
                      <a:pt x="54" y="22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6"/>
                    </a:lnTo>
                    <a:lnTo>
                      <a:pt x="56" y="14"/>
                    </a:lnTo>
                    <a:lnTo>
                      <a:pt x="56" y="12"/>
                    </a:lnTo>
                    <a:lnTo>
                      <a:pt x="56" y="8"/>
                    </a:lnTo>
                    <a:lnTo>
                      <a:pt x="54" y="6"/>
                    </a:lnTo>
                    <a:lnTo>
                      <a:pt x="54" y="6"/>
                    </a:lnTo>
                    <a:lnTo>
                      <a:pt x="52" y="6"/>
                    </a:lnTo>
                    <a:lnTo>
                      <a:pt x="52" y="4"/>
                    </a:lnTo>
                    <a:lnTo>
                      <a:pt x="50" y="4"/>
                    </a:lnTo>
                    <a:lnTo>
                      <a:pt x="48" y="4"/>
                    </a:lnTo>
                    <a:lnTo>
                      <a:pt x="46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0" y="2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2" y="0"/>
                    </a:lnTo>
                    <a:lnTo>
                      <a:pt x="30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6" y="2"/>
                    </a:lnTo>
                    <a:lnTo>
                      <a:pt x="26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6"/>
                    </a:lnTo>
                    <a:lnTo>
                      <a:pt x="22" y="6"/>
                    </a:lnTo>
                    <a:lnTo>
                      <a:pt x="20" y="4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6"/>
                    </a:lnTo>
                    <a:lnTo>
                      <a:pt x="12" y="8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0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0" y="20"/>
                    </a:lnTo>
                    <a:lnTo>
                      <a:pt x="12" y="22"/>
                    </a:lnTo>
                    <a:lnTo>
                      <a:pt x="14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8" y="22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0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30" y="34"/>
                    </a:lnTo>
                    <a:lnTo>
                      <a:pt x="34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44" y="34"/>
                    </a:lnTo>
                    <a:lnTo>
                      <a:pt x="46" y="34"/>
                    </a:lnTo>
                    <a:lnTo>
                      <a:pt x="46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6"/>
                    </a:lnTo>
                    <a:lnTo>
                      <a:pt x="48" y="36"/>
                    </a:lnTo>
                    <a:lnTo>
                      <a:pt x="48" y="38"/>
                    </a:lnTo>
                    <a:lnTo>
                      <a:pt x="46" y="38"/>
                    </a:lnTo>
                    <a:lnTo>
                      <a:pt x="44" y="38"/>
                    </a:lnTo>
                    <a:lnTo>
                      <a:pt x="42" y="38"/>
                    </a:lnTo>
                    <a:lnTo>
                      <a:pt x="42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38" y="36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4" y="38"/>
                    </a:lnTo>
                    <a:lnTo>
                      <a:pt x="32" y="38"/>
                    </a:lnTo>
                    <a:lnTo>
                      <a:pt x="32" y="40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28" y="42"/>
                    </a:lnTo>
                    <a:lnTo>
                      <a:pt x="28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4" y="44"/>
                    </a:lnTo>
                    <a:lnTo>
                      <a:pt x="24" y="44"/>
                    </a:lnTo>
                    <a:lnTo>
                      <a:pt x="24" y="44"/>
                    </a:lnTo>
                    <a:lnTo>
                      <a:pt x="22" y="44"/>
                    </a:lnTo>
                    <a:lnTo>
                      <a:pt x="20" y="44"/>
                    </a:lnTo>
                    <a:lnTo>
                      <a:pt x="20" y="44"/>
                    </a:lnTo>
                    <a:lnTo>
                      <a:pt x="20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20" y="50"/>
                    </a:lnTo>
                    <a:lnTo>
                      <a:pt x="22" y="50"/>
                    </a:lnTo>
                    <a:lnTo>
                      <a:pt x="24" y="50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8" y="56"/>
                    </a:lnTo>
                    <a:lnTo>
                      <a:pt x="32" y="58"/>
                    </a:lnTo>
                    <a:lnTo>
                      <a:pt x="32" y="58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32" y="62"/>
                    </a:lnTo>
                    <a:lnTo>
                      <a:pt x="32" y="64"/>
                    </a:lnTo>
                    <a:lnTo>
                      <a:pt x="32" y="72"/>
                    </a:lnTo>
                    <a:lnTo>
                      <a:pt x="32" y="72"/>
                    </a:lnTo>
                    <a:lnTo>
                      <a:pt x="32" y="76"/>
                    </a:lnTo>
                    <a:lnTo>
                      <a:pt x="32" y="78"/>
                    </a:lnTo>
                    <a:lnTo>
                      <a:pt x="34" y="80"/>
                    </a:lnTo>
                    <a:lnTo>
                      <a:pt x="34" y="80"/>
                    </a:lnTo>
                    <a:lnTo>
                      <a:pt x="36" y="80"/>
                    </a:lnTo>
                    <a:lnTo>
                      <a:pt x="38" y="82"/>
                    </a:lnTo>
                    <a:lnTo>
                      <a:pt x="40" y="80"/>
                    </a:lnTo>
                    <a:lnTo>
                      <a:pt x="40" y="80"/>
                    </a:lnTo>
                    <a:lnTo>
                      <a:pt x="42" y="80"/>
                    </a:lnTo>
                    <a:lnTo>
                      <a:pt x="42" y="80"/>
                    </a:lnTo>
                    <a:lnTo>
                      <a:pt x="44" y="78"/>
                    </a:lnTo>
                    <a:lnTo>
                      <a:pt x="44" y="76"/>
                    </a:lnTo>
                    <a:lnTo>
                      <a:pt x="46" y="74"/>
                    </a:lnTo>
                    <a:lnTo>
                      <a:pt x="48" y="70"/>
                    </a:lnTo>
                    <a:lnTo>
                      <a:pt x="48" y="66"/>
                    </a:lnTo>
                    <a:lnTo>
                      <a:pt x="48" y="62"/>
                    </a:lnTo>
                    <a:lnTo>
                      <a:pt x="48" y="56"/>
                    </a:lnTo>
                    <a:lnTo>
                      <a:pt x="48" y="56"/>
                    </a:lnTo>
                    <a:lnTo>
                      <a:pt x="48" y="54"/>
                    </a:lnTo>
                    <a:lnTo>
                      <a:pt x="50" y="52"/>
                    </a:lnTo>
                    <a:lnTo>
                      <a:pt x="52" y="52"/>
                    </a:lnTo>
                    <a:lnTo>
                      <a:pt x="54" y="50"/>
                    </a:lnTo>
                    <a:lnTo>
                      <a:pt x="54" y="50"/>
                    </a:lnTo>
                    <a:lnTo>
                      <a:pt x="54" y="50"/>
                    </a:lnTo>
                    <a:lnTo>
                      <a:pt x="56" y="48"/>
                    </a:lnTo>
                    <a:lnTo>
                      <a:pt x="58" y="46"/>
                    </a:lnTo>
                    <a:lnTo>
                      <a:pt x="58" y="46"/>
                    </a:lnTo>
                    <a:lnTo>
                      <a:pt x="58" y="48"/>
                    </a:lnTo>
                    <a:lnTo>
                      <a:pt x="58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58" y="52"/>
                    </a:lnTo>
                    <a:lnTo>
                      <a:pt x="56" y="54"/>
                    </a:lnTo>
                    <a:lnTo>
                      <a:pt x="54" y="56"/>
                    </a:lnTo>
                    <a:lnTo>
                      <a:pt x="52" y="56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52" y="60"/>
                    </a:lnTo>
                    <a:lnTo>
                      <a:pt x="52" y="64"/>
                    </a:lnTo>
                    <a:lnTo>
                      <a:pt x="52" y="66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70"/>
                    </a:lnTo>
                    <a:lnTo>
                      <a:pt x="54" y="72"/>
                    </a:lnTo>
                    <a:lnTo>
                      <a:pt x="56" y="72"/>
                    </a:lnTo>
                    <a:lnTo>
                      <a:pt x="58" y="74"/>
                    </a:lnTo>
                    <a:lnTo>
                      <a:pt x="58" y="74"/>
                    </a:lnTo>
                    <a:lnTo>
                      <a:pt x="60" y="78"/>
                    </a:lnTo>
                    <a:lnTo>
                      <a:pt x="62" y="80"/>
                    </a:lnTo>
                    <a:lnTo>
                      <a:pt x="62" y="80"/>
                    </a:lnTo>
                    <a:lnTo>
                      <a:pt x="62" y="80"/>
                    </a:lnTo>
                    <a:lnTo>
                      <a:pt x="64" y="80"/>
                    </a:lnTo>
                    <a:lnTo>
                      <a:pt x="64" y="82"/>
                    </a:lnTo>
                    <a:lnTo>
                      <a:pt x="64" y="82"/>
                    </a:lnTo>
                    <a:lnTo>
                      <a:pt x="66" y="82"/>
                    </a:lnTo>
                    <a:lnTo>
                      <a:pt x="66" y="80"/>
                    </a:lnTo>
                    <a:lnTo>
                      <a:pt x="68" y="80"/>
                    </a:lnTo>
                    <a:lnTo>
                      <a:pt x="68" y="80"/>
                    </a:lnTo>
                    <a:lnTo>
                      <a:pt x="68" y="80"/>
                    </a:lnTo>
                    <a:lnTo>
                      <a:pt x="68" y="82"/>
                    </a:lnTo>
                    <a:lnTo>
                      <a:pt x="68" y="84"/>
                    </a:lnTo>
                    <a:lnTo>
                      <a:pt x="70" y="84"/>
                    </a:lnTo>
                    <a:lnTo>
                      <a:pt x="72" y="86"/>
                    </a:lnTo>
                    <a:lnTo>
                      <a:pt x="72" y="86"/>
                    </a:lnTo>
                    <a:lnTo>
                      <a:pt x="74" y="86"/>
                    </a:lnTo>
                    <a:lnTo>
                      <a:pt x="76" y="86"/>
                    </a:lnTo>
                    <a:lnTo>
                      <a:pt x="78" y="88"/>
                    </a:lnTo>
                    <a:lnTo>
                      <a:pt x="78" y="88"/>
                    </a:lnTo>
                    <a:lnTo>
                      <a:pt x="82" y="90"/>
                    </a:lnTo>
                    <a:lnTo>
                      <a:pt x="84" y="92"/>
                    </a:lnTo>
                    <a:lnTo>
                      <a:pt x="86" y="94"/>
                    </a:lnTo>
                    <a:lnTo>
                      <a:pt x="90" y="96"/>
                    </a:lnTo>
                    <a:lnTo>
                      <a:pt x="90" y="96"/>
                    </a:lnTo>
                    <a:lnTo>
                      <a:pt x="94" y="96"/>
                    </a:lnTo>
                    <a:lnTo>
                      <a:pt x="96" y="96"/>
                    </a:lnTo>
                    <a:lnTo>
                      <a:pt x="100" y="98"/>
                    </a:lnTo>
                    <a:lnTo>
                      <a:pt x="102" y="98"/>
                    </a:lnTo>
                    <a:lnTo>
                      <a:pt x="104" y="100"/>
                    </a:lnTo>
                    <a:lnTo>
                      <a:pt x="104" y="100"/>
                    </a:lnTo>
                    <a:lnTo>
                      <a:pt x="104" y="100"/>
                    </a:lnTo>
                    <a:lnTo>
                      <a:pt x="106" y="102"/>
                    </a:lnTo>
                    <a:lnTo>
                      <a:pt x="108" y="104"/>
                    </a:lnTo>
                    <a:lnTo>
                      <a:pt x="110" y="106"/>
                    </a:lnTo>
                    <a:lnTo>
                      <a:pt x="112" y="108"/>
                    </a:lnTo>
                    <a:lnTo>
                      <a:pt x="114" y="108"/>
                    </a:lnTo>
                    <a:lnTo>
                      <a:pt x="114" y="108"/>
                    </a:lnTo>
                    <a:lnTo>
                      <a:pt x="118" y="110"/>
                    </a:lnTo>
                    <a:lnTo>
                      <a:pt x="118" y="110"/>
                    </a:lnTo>
                    <a:lnTo>
                      <a:pt x="118" y="112"/>
                    </a:lnTo>
                    <a:lnTo>
                      <a:pt x="118" y="112"/>
                    </a:lnTo>
                    <a:lnTo>
                      <a:pt x="118" y="112"/>
                    </a:lnTo>
                    <a:lnTo>
                      <a:pt x="118" y="114"/>
                    </a:lnTo>
                    <a:lnTo>
                      <a:pt x="118" y="116"/>
                    </a:lnTo>
                    <a:lnTo>
                      <a:pt x="118" y="116"/>
                    </a:lnTo>
                    <a:lnTo>
                      <a:pt x="118" y="118"/>
                    </a:lnTo>
                    <a:lnTo>
                      <a:pt x="118" y="120"/>
                    </a:lnTo>
                    <a:lnTo>
                      <a:pt x="118" y="120"/>
                    </a:lnTo>
                    <a:lnTo>
                      <a:pt x="118" y="122"/>
                    </a:lnTo>
                    <a:lnTo>
                      <a:pt x="120" y="124"/>
                    </a:lnTo>
                    <a:lnTo>
                      <a:pt x="120" y="128"/>
                    </a:lnTo>
                    <a:lnTo>
                      <a:pt x="120" y="128"/>
                    </a:lnTo>
                    <a:lnTo>
                      <a:pt x="120" y="128"/>
                    </a:lnTo>
                    <a:lnTo>
                      <a:pt x="120" y="130"/>
                    </a:lnTo>
                    <a:lnTo>
                      <a:pt x="120" y="134"/>
                    </a:lnTo>
                    <a:lnTo>
                      <a:pt x="120" y="134"/>
                    </a:lnTo>
                    <a:lnTo>
                      <a:pt x="120" y="138"/>
                    </a:lnTo>
                    <a:lnTo>
                      <a:pt x="120" y="140"/>
                    </a:lnTo>
                    <a:lnTo>
                      <a:pt x="122" y="140"/>
                    </a:lnTo>
                    <a:lnTo>
                      <a:pt x="122" y="140"/>
                    </a:lnTo>
                    <a:lnTo>
                      <a:pt x="122" y="142"/>
                    </a:lnTo>
                    <a:lnTo>
                      <a:pt x="122" y="142"/>
                    </a:lnTo>
                    <a:lnTo>
                      <a:pt x="124" y="142"/>
                    </a:lnTo>
                    <a:lnTo>
                      <a:pt x="124" y="144"/>
                    </a:lnTo>
                    <a:lnTo>
                      <a:pt x="124" y="144"/>
                    </a:lnTo>
                    <a:lnTo>
                      <a:pt x="124" y="144"/>
                    </a:lnTo>
                    <a:lnTo>
                      <a:pt x="124" y="146"/>
                    </a:lnTo>
                    <a:lnTo>
                      <a:pt x="124" y="146"/>
                    </a:lnTo>
                    <a:lnTo>
                      <a:pt x="124" y="146"/>
                    </a:lnTo>
                    <a:lnTo>
                      <a:pt x="124" y="150"/>
                    </a:lnTo>
                    <a:lnTo>
                      <a:pt x="124" y="152"/>
                    </a:lnTo>
                    <a:lnTo>
                      <a:pt x="124" y="154"/>
                    </a:lnTo>
                    <a:lnTo>
                      <a:pt x="124" y="154"/>
                    </a:lnTo>
                    <a:lnTo>
                      <a:pt x="124" y="158"/>
                    </a:lnTo>
                    <a:lnTo>
                      <a:pt x="124" y="160"/>
                    </a:lnTo>
                    <a:lnTo>
                      <a:pt x="124" y="160"/>
                    </a:lnTo>
                    <a:lnTo>
                      <a:pt x="124" y="164"/>
                    </a:lnTo>
                    <a:lnTo>
                      <a:pt x="124" y="164"/>
                    </a:lnTo>
                    <a:lnTo>
                      <a:pt x="124" y="166"/>
                    </a:lnTo>
                    <a:lnTo>
                      <a:pt x="126" y="166"/>
                    </a:lnTo>
                    <a:lnTo>
                      <a:pt x="130" y="168"/>
                    </a:lnTo>
                    <a:lnTo>
                      <a:pt x="130" y="168"/>
                    </a:lnTo>
                    <a:lnTo>
                      <a:pt x="134" y="168"/>
                    </a:lnTo>
                    <a:lnTo>
                      <a:pt x="136" y="170"/>
                    </a:lnTo>
                    <a:lnTo>
                      <a:pt x="138" y="170"/>
                    </a:lnTo>
                    <a:lnTo>
                      <a:pt x="140" y="172"/>
                    </a:lnTo>
                    <a:lnTo>
                      <a:pt x="142" y="174"/>
                    </a:lnTo>
                    <a:lnTo>
                      <a:pt x="142" y="176"/>
                    </a:lnTo>
                    <a:lnTo>
                      <a:pt x="142" y="176"/>
                    </a:lnTo>
                    <a:lnTo>
                      <a:pt x="142" y="176"/>
                    </a:lnTo>
                    <a:lnTo>
                      <a:pt x="142" y="178"/>
                    </a:lnTo>
                    <a:lnTo>
                      <a:pt x="142" y="180"/>
                    </a:lnTo>
                    <a:lnTo>
                      <a:pt x="142" y="182"/>
                    </a:lnTo>
                    <a:lnTo>
                      <a:pt x="142" y="182"/>
                    </a:lnTo>
                    <a:lnTo>
                      <a:pt x="144" y="184"/>
                    </a:lnTo>
                    <a:lnTo>
                      <a:pt x="146" y="186"/>
                    </a:lnTo>
                    <a:lnTo>
                      <a:pt x="150" y="186"/>
                    </a:lnTo>
                    <a:lnTo>
                      <a:pt x="150" y="186"/>
                    </a:lnTo>
                    <a:lnTo>
                      <a:pt x="154" y="188"/>
                    </a:lnTo>
                    <a:lnTo>
                      <a:pt x="158" y="190"/>
                    </a:lnTo>
                    <a:lnTo>
                      <a:pt x="158" y="190"/>
                    </a:lnTo>
                    <a:lnTo>
                      <a:pt x="160" y="192"/>
                    </a:lnTo>
                    <a:lnTo>
                      <a:pt x="166" y="54"/>
                    </a:lnTo>
                    <a:lnTo>
                      <a:pt x="166" y="54"/>
                    </a:lnTo>
                    <a:lnTo>
                      <a:pt x="164" y="52"/>
                    </a:lnTo>
                    <a:lnTo>
                      <a:pt x="164" y="52"/>
                    </a:lnTo>
                    <a:lnTo>
                      <a:pt x="164" y="52"/>
                    </a:lnTo>
                    <a:lnTo>
                      <a:pt x="164" y="52"/>
                    </a:lnTo>
                    <a:lnTo>
                      <a:pt x="164" y="5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11" name="Freeform 835"/>
              <p:cNvSpPr>
                <a:spLocks/>
              </p:cNvSpPr>
              <p:nvPr/>
            </p:nvSpPr>
            <p:spPr bwMode="auto">
              <a:xfrm>
                <a:off x="4911" y="2984"/>
                <a:ext cx="18" cy="22"/>
              </a:xfrm>
              <a:custGeom>
                <a:avLst/>
                <a:gdLst>
                  <a:gd name="T0" fmla="*/ 2 w 18"/>
                  <a:gd name="T1" fmla="*/ 8 h 22"/>
                  <a:gd name="T2" fmla="*/ 2 w 18"/>
                  <a:gd name="T3" fmla="*/ 8 h 22"/>
                  <a:gd name="T4" fmla="*/ 0 w 18"/>
                  <a:gd name="T5" fmla="*/ 10 h 22"/>
                  <a:gd name="T6" fmla="*/ 0 w 18"/>
                  <a:gd name="T7" fmla="*/ 12 h 22"/>
                  <a:gd name="T8" fmla="*/ 0 w 18"/>
                  <a:gd name="T9" fmla="*/ 14 h 22"/>
                  <a:gd name="T10" fmla="*/ 0 w 18"/>
                  <a:gd name="T11" fmla="*/ 16 h 22"/>
                  <a:gd name="T12" fmla="*/ 0 w 18"/>
                  <a:gd name="T13" fmla="*/ 16 h 22"/>
                  <a:gd name="T14" fmla="*/ 0 w 18"/>
                  <a:gd name="T15" fmla="*/ 20 h 22"/>
                  <a:gd name="T16" fmla="*/ 0 w 18"/>
                  <a:gd name="T17" fmla="*/ 20 h 22"/>
                  <a:gd name="T18" fmla="*/ 0 w 18"/>
                  <a:gd name="T19" fmla="*/ 22 h 22"/>
                  <a:gd name="T20" fmla="*/ 2 w 18"/>
                  <a:gd name="T21" fmla="*/ 22 h 22"/>
                  <a:gd name="T22" fmla="*/ 2 w 18"/>
                  <a:gd name="T23" fmla="*/ 22 h 22"/>
                  <a:gd name="T24" fmla="*/ 2 w 18"/>
                  <a:gd name="T25" fmla="*/ 22 h 22"/>
                  <a:gd name="T26" fmla="*/ 4 w 18"/>
                  <a:gd name="T27" fmla="*/ 22 h 22"/>
                  <a:gd name="T28" fmla="*/ 6 w 18"/>
                  <a:gd name="T29" fmla="*/ 22 h 22"/>
                  <a:gd name="T30" fmla="*/ 8 w 18"/>
                  <a:gd name="T31" fmla="*/ 20 h 22"/>
                  <a:gd name="T32" fmla="*/ 12 w 18"/>
                  <a:gd name="T33" fmla="*/ 18 h 22"/>
                  <a:gd name="T34" fmla="*/ 14 w 18"/>
                  <a:gd name="T35" fmla="*/ 16 h 22"/>
                  <a:gd name="T36" fmla="*/ 14 w 18"/>
                  <a:gd name="T37" fmla="*/ 16 h 22"/>
                  <a:gd name="T38" fmla="*/ 16 w 18"/>
                  <a:gd name="T39" fmla="*/ 14 h 22"/>
                  <a:gd name="T40" fmla="*/ 16 w 18"/>
                  <a:gd name="T41" fmla="*/ 10 h 22"/>
                  <a:gd name="T42" fmla="*/ 18 w 18"/>
                  <a:gd name="T43" fmla="*/ 8 h 22"/>
                  <a:gd name="T44" fmla="*/ 18 w 18"/>
                  <a:gd name="T45" fmla="*/ 6 h 22"/>
                  <a:gd name="T46" fmla="*/ 18 w 18"/>
                  <a:gd name="T47" fmla="*/ 6 h 22"/>
                  <a:gd name="T48" fmla="*/ 18 w 18"/>
                  <a:gd name="T49" fmla="*/ 6 h 22"/>
                  <a:gd name="T50" fmla="*/ 16 w 18"/>
                  <a:gd name="T51" fmla="*/ 4 h 22"/>
                  <a:gd name="T52" fmla="*/ 16 w 18"/>
                  <a:gd name="T53" fmla="*/ 2 h 22"/>
                  <a:gd name="T54" fmla="*/ 16 w 18"/>
                  <a:gd name="T55" fmla="*/ 2 h 22"/>
                  <a:gd name="T56" fmla="*/ 16 w 18"/>
                  <a:gd name="T57" fmla="*/ 0 h 22"/>
                  <a:gd name="T58" fmla="*/ 14 w 18"/>
                  <a:gd name="T59" fmla="*/ 0 h 22"/>
                  <a:gd name="T60" fmla="*/ 12 w 18"/>
                  <a:gd name="T61" fmla="*/ 0 h 22"/>
                  <a:gd name="T62" fmla="*/ 12 w 18"/>
                  <a:gd name="T63" fmla="*/ 0 h 22"/>
                  <a:gd name="T64" fmla="*/ 10 w 18"/>
                  <a:gd name="T65" fmla="*/ 0 h 22"/>
                  <a:gd name="T66" fmla="*/ 10 w 18"/>
                  <a:gd name="T67" fmla="*/ 0 h 22"/>
                  <a:gd name="T68" fmla="*/ 8 w 18"/>
                  <a:gd name="T69" fmla="*/ 0 h 22"/>
                  <a:gd name="T70" fmla="*/ 8 w 18"/>
                  <a:gd name="T71" fmla="*/ 2 h 22"/>
                  <a:gd name="T72" fmla="*/ 6 w 18"/>
                  <a:gd name="T73" fmla="*/ 4 h 22"/>
                  <a:gd name="T74" fmla="*/ 2 w 18"/>
                  <a:gd name="T75" fmla="*/ 8 h 22"/>
                  <a:gd name="T76" fmla="*/ 2 w 18"/>
                  <a:gd name="T77" fmla="*/ 8 h 22"/>
                  <a:gd name="T78" fmla="*/ 2 w 18"/>
                  <a:gd name="T79" fmla="*/ 8 h 22"/>
                  <a:gd name="T80" fmla="*/ 2 w 18"/>
                  <a:gd name="T81" fmla="*/ 8 h 22"/>
                  <a:gd name="T82" fmla="*/ 2 w 18"/>
                  <a:gd name="T83" fmla="*/ 8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8" h="22">
                    <a:moveTo>
                      <a:pt x="2" y="8"/>
                    </a:moveTo>
                    <a:lnTo>
                      <a:pt x="2" y="8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4" y="22"/>
                    </a:lnTo>
                    <a:lnTo>
                      <a:pt x="6" y="22"/>
                    </a:lnTo>
                    <a:lnTo>
                      <a:pt x="8" y="20"/>
                    </a:lnTo>
                    <a:lnTo>
                      <a:pt x="12" y="18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6" y="14"/>
                    </a:lnTo>
                    <a:lnTo>
                      <a:pt x="16" y="10"/>
                    </a:lnTo>
                    <a:lnTo>
                      <a:pt x="18" y="8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6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8" y="2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12" name="Freeform 837"/>
              <p:cNvSpPr>
                <a:spLocks/>
              </p:cNvSpPr>
              <p:nvPr/>
            </p:nvSpPr>
            <p:spPr bwMode="auto">
              <a:xfrm>
                <a:off x="4925" y="3004"/>
                <a:ext cx="4" cy="6"/>
              </a:xfrm>
              <a:custGeom>
                <a:avLst/>
                <a:gdLst>
                  <a:gd name="T0" fmla="*/ 0 w 4"/>
                  <a:gd name="T1" fmla="*/ 6 h 6"/>
                  <a:gd name="T2" fmla="*/ 0 w 4"/>
                  <a:gd name="T3" fmla="*/ 6 h 6"/>
                  <a:gd name="T4" fmla="*/ 2 w 4"/>
                  <a:gd name="T5" fmla="*/ 6 h 6"/>
                  <a:gd name="T6" fmla="*/ 2 w 4"/>
                  <a:gd name="T7" fmla="*/ 4 h 6"/>
                  <a:gd name="T8" fmla="*/ 4 w 4"/>
                  <a:gd name="T9" fmla="*/ 4 h 6"/>
                  <a:gd name="T10" fmla="*/ 4 w 4"/>
                  <a:gd name="T11" fmla="*/ 2 h 6"/>
                  <a:gd name="T12" fmla="*/ 4 w 4"/>
                  <a:gd name="T13" fmla="*/ 2 h 6"/>
                  <a:gd name="T14" fmla="*/ 4 w 4"/>
                  <a:gd name="T15" fmla="*/ 0 h 6"/>
                  <a:gd name="T16" fmla="*/ 2 w 4"/>
                  <a:gd name="T17" fmla="*/ 0 h 6"/>
                  <a:gd name="T18" fmla="*/ 2 w 4"/>
                  <a:gd name="T19" fmla="*/ 0 h 6"/>
                  <a:gd name="T20" fmla="*/ 2 w 4"/>
                  <a:gd name="T21" fmla="*/ 0 h 6"/>
                  <a:gd name="T22" fmla="*/ 2 w 4"/>
                  <a:gd name="T23" fmla="*/ 0 h 6"/>
                  <a:gd name="T24" fmla="*/ 0 w 4"/>
                  <a:gd name="T25" fmla="*/ 2 h 6"/>
                  <a:gd name="T26" fmla="*/ 0 w 4"/>
                  <a:gd name="T27" fmla="*/ 2 h 6"/>
                  <a:gd name="T28" fmla="*/ 0 w 4"/>
                  <a:gd name="T29" fmla="*/ 4 h 6"/>
                  <a:gd name="T30" fmla="*/ 0 w 4"/>
                  <a:gd name="T31" fmla="*/ 4 h 6"/>
                  <a:gd name="T32" fmla="*/ 0 w 4"/>
                  <a:gd name="T33" fmla="*/ 6 h 6"/>
                  <a:gd name="T34" fmla="*/ 0 w 4"/>
                  <a:gd name="T35" fmla="*/ 6 h 6"/>
                  <a:gd name="T36" fmla="*/ 0 w 4"/>
                  <a:gd name="T37" fmla="*/ 6 h 6"/>
                  <a:gd name="T38" fmla="*/ 0 w 4"/>
                  <a:gd name="T39" fmla="*/ 6 h 6"/>
                  <a:gd name="T40" fmla="*/ 0 w 4"/>
                  <a:gd name="T41" fmla="*/ 6 h 6"/>
                  <a:gd name="T42" fmla="*/ 0 w 4"/>
                  <a:gd name="T4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" h="6">
                    <a:moveTo>
                      <a:pt x="0" y="6"/>
                    </a:moveTo>
                    <a:lnTo>
                      <a:pt x="0" y="6"/>
                    </a:lnTo>
                    <a:lnTo>
                      <a:pt x="2" y="6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13" name="Freeform 838"/>
              <p:cNvSpPr>
                <a:spLocks/>
              </p:cNvSpPr>
              <p:nvPr/>
            </p:nvSpPr>
            <p:spPr bwMode="auto">
              <a:xfrm>
                <a:off x="4925" y="3004"/>
                <a:ext cx="4" cy="6"/>
              </a:xfrm>
              <a:custGeom>
                <a:avLst/>
                <a:gdLst>
                  <a:gd name="T0" fmla="*/ 0 w 4"/>
                  <a:gd name="T1" fmla="*/ 6 h 6"/>
                  <a:gd name="T2" fmla="*/ 0 w 4"/>
                  <a:gd name="T3" fmla="*/ 6 h 6"/>
                  <a:gd name="T4" fmla="*/ 2 w 4"/>
                  <a:gd name="T5" fmla="*/ 6 h 6"/>
                  <a:gd name="T6" fmla="*/ 2 w 4"/>
                  <a:gd name="T7" fmla="*/ 4 h 6"/>
                  <a:gd name="T8" fmla="*/ 4 w 4"/>
                  <a:gd name="T9" fmla="*/ 4 h 6"/>
                  <a:gd name="T10" fmla="*/ 4 w 4"/>
                  <a:gd name="T11" fmla="*/ 2 h 6"/>
                  <a:gd name="T12" fmla="*/ 4 w 4"/>
                  <a:gd name="T13" fmla="*/ 2 h 6"/>
                  <a:gd name="T14" fmla="*/ 4 w 4"/>
                  <a:gd name="T15" fmla="*/ 0 h 6"/>
                  <a:gd name="T16" fmla="*/ 2 w 4"/>
                  <a:gd name="T17" fmla="*/ 0 h 6"/>
                  <a:gd name="T18" fmla="*/ 2 w 4"/>
                  <a:gd name="T19" fmla="*/ 0 h 6"/>
                  <a:gd name="T20" fmla="*/ 2 w 4"/>
                  <a:gd name="T21" fmla="*/ 0 h 6"/>
                  <a:gd name="T22" fmla="*/ 2 w 4"/>
                  <a:gd name="T23" fmla="*/ 0 h 6"/>
                  <a:gd name="T24" fmla="*/ 0 w 4"/>
                  <a:gd name="T25" fmla="*/ 2 h 6"/>
                  <a:gd name="T26" fmla="*/ 0 w 4"/>
                  <a:gd name="T27" fmla="*/ 2 h 6"/>
                  <a:gd name="T28" fmla="*/ 0 w 4"/>
                  <a:gd name="T29" fmla="*/ 4 h 6"/>
                  <a:gd name="T30" fmla="*/ 0 w 4"/>
                  <a:gd name="T31" fmla="*/ 4 h 6"/>
                  <a:gd name="T32" fmla="*/ 0 w 4"/>
                  <a:gd name="T33" fmla="*/ 6 h 6"/>
                  <a:gd name="T34" fmla="*/ 0 w 4"/>
                  <a:gd name="T35" fmla="*/ 6 h 6"/>
                  <a:gd name="T36" fmla="*/ 0 w 4"/>
                  <a:gd name="T37" fmla="*/ 6 h 6"/>
                  <a:gd name="T38" fmla="*/ 0 w 4"/>
                  <a:gd name="T39" fmla="*/ 6 h 6"/>
                  <a:gd name="T40" fmla="*/ 0 w 4"/>
                  <a:gd name="T41" fmla="*/ 6 h 6"/>
                  <a:gd name="T42" fmla="*/ 0 w 4"/>
                  <a:gd name="T4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" h="6">
                    <a:moveTo>
                      <a:pt x="0" y="6"/>
                    </a:moveTo>
                    <a:lnTo>
                      <a:pt x="0" y="6"/>
                    </a:lnTo>
                    <a:lnTo>
                      <a:pt x="2" y="6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14" name="Freeform 840"/>
              <p:cNvSpPr>
                <a:spLocks/>
              </p:cNvSpPr>
              <p:nvPr/>
            </p:nvSpPr>
            <p:spPr bwMode="auto">
              <a:xfrm>
                <a:off x="4883" y="2864"/>
                <a:ext cx="22" cy="4"/>
              </a:xfrm>
              <a:custGeom>
                <a:avLst/>
                <a:gdLst>
                  <a:gd name="T0" fmla="*/ 2 w 22"/>
                  <a:gd name="T1" fmla="*/ 0 h 4"/>
                  <a:gd name="T2" fmla="*/ 2 w 22"/>
                  <a:gd name="T3" fmla="*/ 0 h 4"/>
                  <a:gd name="T4" fmla="*/ 0 w 22"/>
                  <a:gd name="T5" fmla="*/ 0 h 4"/>
                  <a:gd name="T6" fmla="*/ 0 w 22"/>
                  <a:gd name="T7" fmla="*/ 2 h 4"/>
                  <a:gd name="T8" fmla="*/ 0 w 22"/>
                  <a:gd name="T9" fmla="*/ 2 h 4"/>
                  <a:gd name="T10" fmla="*/ 0 w 22"/>
                  <a:gd name="T11" fmla="*/ 2 h 4"/>
                  <a:gd name="T12" fmla="*/ 4 w 22"/>
                  <a:gd name="T13" fmla="*/ 4 h 4"/>
                  <a:gd name="T14" fmla="*/ 6 w 22"/>
                  <a:gd name="T15" fmla="*/ 4 h 4"/>
                  <a:gd name="T16" fmla="*/ 6 w 22"/>
                  <a:gd name="T17" fmla="*/ 4 h 4"/>
                  <a:gd name="T18" fmla="*/ 10 w 22"/>
                  <a:gd name="T19" fmla="*/ 4 h 4"/>
                  <a:gd name="T20" fmla="*/ 12 w 22"/>
                  <a:gd name="T21" fmla="*/ 4 h 4"/>
                  <a:gd name="T22" fmla="*/ 16 w 22"/>
                  <a:gd name="T23" fmla="*/ 4 h 4"/>
                  <a:gd name="T24" fmla="*/ 18 w 22"/>
                  <a:gd name="T25" fmla="*/ 4 h 4"/>
                  <a:gd name="T26" fmla="*/ 20 w 22"/>
                  <a:gd name="T27" fmla="*/ 4 h 4"/>
                  <a:gd name="T28" fmla="*/ 22 w 22"/>
                  <a:gd name="T29" fmla="*/ 2 h 4"/>
                  <a:gd name="T30" fmla="*/ 22 w 22"/>
                  <a:gd name="T31" fmla="*/ 0 h 4"/>
                  <a:gd name="T32" fmla="*/ 22 w 22"/>
                  <a:gd name="T33" fmla="*/ 0 h 4"/>
                  <a:gd name="T34" fmla="*/ 22 w 22"/>
                  <a:gd name="T35" fmla="*/ 0 h 4"/>
                  <a:gd name="T36" fmla="*/ 20 w 22"/>
                  <a:gd name="T37" fmla="*/ 0 h 4"/>
                  <a:gd name="T38" fmla="*/ 12 w 22"/>
                  <a:gd name="T39" fmla="*/ 0 h 4"/>
                  <a:gd name="T40" fmla="*/ 2 w 22"/>
                  <a:gd name="T41" fmla="*/ 0 h 4"/>
                  <a:gd name="T42" fmla="*/ 2 w 22"/>
                  <a:gd name="T43" fmla="*/ 0 h 4"/>
                  <a:gd name="T44" fmla="*/ 2 w 22"/>
                  <a:gd name="T45" fmla="*/ 0 h 4"/>
                  <a:gd name="T46" fmla="*/ 2 w 22"/>
                  <a:gd name="T47" fmla="*/ 0 h 4"/>
                  <a:gd name="T48" fmla="*/ 2 w 22"/>
                  <a:gd name="T4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2" h="4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8" y="4"/>
                    </a:lnTo>
                    <a:lnTo>
                      <a:pt x="20" y="4"/>
                    </a:lnTo>
                    <a:lnTo>
                      <a:pt x="22" y="2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0" y="0"/>
                    </a:lnTo>
                    <a:lnTo>
                      <a:pt x="1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15" name="Freeform 842"/>
              <p:cNvSpPr>
                <a:spLocks/>
              </p:cNvSpPr>
              <p:nvPr/>
            </p:nvSpPr>
            <p:spPr bwMode="auto">
              <a:xfrm>
                <a:off x="4881" y="2848"/>
                <a:ext cx="16" cy="8"/>
              </a:xfrm>
              <a:custGeom>
                <a:avLst/>
                <a:gdLst>
                  <a:gd name="T0" fmla="*/ 0 w 16"/>
                  <a:gd name="T1" fmla="*/ 0 h 8"/>
                  <a:gd name="T2" fmla="*/ 0 w 16"/>
                  <a:gd name="T3" fmla="*/ 0 h 8"/>
                  <a:gd name="T4" fmla="*/ 0 w 16"/>
                  <a:gd name="T5" fmla="*/ 2 h 8"/>
                  <a:gd name="T6" fmla="*/ 0 w 16"/>
                  <a:gd name="T7" fmla="*/ 2 h 8"/>
                  <a:gd name="T8" fmla="*/ 2 w 16"/>
                  <a:gd name="T9" fmla="*/ 4 h 8"/>
                  <a:gd name="T10" fmla="*/ 4 w 16"/>
                  <a:gd name="T11" fmla="*/ 4 h 8"/>
                  <a:gd name="T12" fmla="*/ 6 w 16"/>
                  <a:gd name="T13" fmla="*/ 6 h 8"/>
                  <a:gd name="T14" fmla="*/ 8 w 16"/>
                  <a:gd name="T15" fmla="*/ 6 h 8"/>
                  <a:gd name="T16" fmla="*/ 12 w 16"/>
                  <a:gd name="T17" fmla="*/ 8 h 8"/>
                  <a:gd name="T18" fmla="*/ 16 w 16"/>
                  <a:gd name="T19" fmla="*/ 8 h 8"/>
                  <a:gd name="T20" fmla="*/ 16 w 16"/>
                  <a:gd name="T21" fmla="*/ 8 h 8"/>
                  <a:gd name="T22" fmla="*/ 16 w 16"/>
                  <a:gd name="T23" fmla="*/ 6 h 8"/>
                  <a:gd name="T24" fmla="*/ 16 w 16"/>
                  <a:gd name="T25" fmla="*/ 6 h 8"/>
                  <a:gd name="T26" fmla="*/ 16 w 16"/>
                  <a:gd name="T27" fmla="*/ 6 h 8"/>
                  <a:gd name="T28" fmla="*/ 16 w 16"/>
                  <a:gd name="T29" fmla="*/ 4 h 8"/>
                  <a:gd name="T30" fmla="*/ 14 w 16"/>
                  <a:gd name="T31" fmla="*/ 4 h 8"/>
                  <a:gd name="T32" fmla="*/ 12 w 16"/>
                  <a:gd name="T33" fmla="*/ 4 h 8"/>
                  <a:gd name="T34" fmla="*/ 12 w 16"/>
                  <a:gd name="T35" fmla="*/ 4 h 8"/>
                  <a:gd name="T36" fmla="*/ 10 w 16"/>
                  <a:gd name="T37" fmla="*/ 4 h 8"/>
                  <a:gd name="T38" fmla="*/ 10 w 16"/>
                  <a:gd name="T39" fmla="*/ 4 h 8"/>
                  <a:gd name="T40" fmla="*/ 6 w 16"/>
                  <a:gd name="T41" fmla="*/ 2 h 8"/>
                  <a:gd name="T42" fmla="*/ 2 w 16"/>
                  <a:gd name="T43" fmla="*/ 0 h 8"/>
                  <a:gd name="T44" fmla="*/ 2 w 16"/>
                  <a:gd name="T45" fmla="*/ 0 h 8"/>
                  <a:gd name="T46" fmla="*/ 0 w 16"/>
                  <a:gd name="T47" fmla="*/ 0 h 8"/>
                  <a:gd name="T48" fmla="*/ 0 w 16"/>
                  <a:gd name="T49" fmla="*/ 0 h 8"/>
                  <a:gd name="T50" fmla="*/ 0 w 16"/>
                  <a:gd name="T51" fmla="*/ 0 h 8"/>
                  <a:gd name="T52" fmla="*/ 0 w 16"/>
                  <a:gd name="T53" fmla="*/ 0 h 8"/>
                  <a:gd name="T54" fmla="*/ 0 w 16"/>
                  <a:gd name="T5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6" h="8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6" y="6"/>
                    </a:lnTo>
                    <a:lnTo>
                      <a:pt x="8" y="6"/>
                    </a:lnTo>
                    <a:lnTo>
                      <a:pt x="12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4"/>
                    </a:lnTo>
                    <a:lnTo>
                      <a:pt x="14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6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16" name="Freeform 844"/>
              <p:cNvSpPr>
                <a:spLocks/>
              </p:cNvSpPr>
              <p:nvPr/>
            </p:nvSpPr>
            <p:spPr bwMode="auto">
              <a:xfrm>
                <a:off x="4737" y="2736"/>
                <a:ext cx="6" cy="10"/>
              </a:xfrm>
              <a:custGeom>
                <a:avLst/>
                <a:gdLst>
                  <a:gd name="T0" fmla="*/ 2 w 6"/>
                  <a:gd name="T1" fmla="*/ 10 h 10"/>
                  <a:gd name="T2" fmla="*/ 2 w 6"/>
                  <a:gd name="T3" fmla="*/ 10 h 10"/>
                  <a:gd name="T4" fmla="*/ 2 w 6"/>
                  <a:gd name="T5" fmla="*/ 10 h 10"/>
                  <a:gd name="T6" fmla="*/ 4 w 6"/>
                  <a:gd name="T7" fmla="*/ 10 h 10"/>
                  <a:gd name="T8" fmla="*/ 4 w 6"/>
                  <a:gd name="T9" fmla="*/ 8 h 10"/>
                  <a:gd name="T10" fmla="*/ 6 w 6"/>
                  <a:gd name="T11" fmla="*/ 6 h 10"/>
                  <a:gd name="T12" fmla="*/ 6 w 6"/>
                  <a:gd name="T13" fmla="*/ 4 h 10"/>
                  <a:gd name="T14" fmla="*/ 6 w 6"/>
                  <a:gd name="T15" fmla="*/ 4 h 10"/>
                  <a:gd name="T16" fmla="*/ 6 w 6"/>
                  <a:gd name="T17" fmla="*/ 2 h 10"/>
                  <a:gd name="T18" fmla="*/ 6 w 6"/>
                  <a:gd name="T19" fmla="*/ 2 h 10"/>
                  <a:gd name="T20" fmla="*/ 6 w 6"/>
                  <a:gd name="T21" fmla="*/ 2 h 10"/>
                  <a:gd name="T22" fmla="*/ 6 w 6"/>
                  <a:gd name="T23" fmla="*/ 2 h 10"/>
                  <a:gd name="T24" fmla="*/ 6 w 6"/>
                  <a:gd name="T25" fmla="*/ 0 h 10"/>
                  <a:gd name="T26" fmla="*/ 6 w 6"/>
                  <a:gd name="T27" fmla="*/ 0 h 10"/>
                  <a:gd name="T28" fmla="*/ 4 w 6"/>
                  <a:gd name="T29" fmla="*/ 0 h 10"/>
                  <a:gd name="T30" fmla="*/ 4 w 6"/>
                  <a:gd name="T31" fmla="*/ 0 h 10"/>
                  <a:gd name="T32" fmla="*/ 2 w 6"/>
                  <a:gd name="T33" fmla="*/ 0 h 10"/>
                  <a:gd name="T34" fmla="*/ 2 w 6"/>
                  <a:gd name="T35" fmla="*/ 2 h 10"/>
                  <a:gd name="T36" fmla="*/ 0 w 6"/>
                  <a:gd name="T37" fmla="*/ 4 h 10"/>
                  <a:gd name="T38" fmla="*/ 0 w 6"/>
                  <a:gd name="T39" fmla="*/ 6 h 10"/>
                  <a:gd name="T40" fmla="*/ 0 w 6"/>
                  <a:gd name="T41" fmla="*/ 8 h 10"/>
                  <a:gd name="T42" fmla="*/ 0 w 6"/>
                  <a:gd name="T43" fmla="*/ 8 h 10"/>
                  <a:gd name="T44" fmla="*/ 2 w 6"/>
                  <a:gd name="T45" fmla="*/ 10 h 10"/>
                  <a:gd name="T46" fmla="*/ 2 w 6"/>
                  <a:gd name="T47" fmla="*/ 10 h 10"/>
                  <a:gd name="T48" fmla="*/ 2 w 6"/>
                  <a:gd name="T49" fmla="*/ 10 h 10"/>
                  <a:gd name="T50" fmla="*/ 2 w 6"/>
                  <a:gd name="T51" fmla="*/ 10 h 10"/>
                  <a:gd name="T52" fmla="*/ 2 w 6"/>
                  <a:gd name="T53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" h="10">
                    <a:moveTo>
                      <a:pt x="2" y="10"/>
                    </a:moveTo>
                    <a:lnTo>
                      <a:pt x="2" y="10"/>
                    </a:lnTo>
                    <a:lnTo>
                      <a:pt x="2" y="10"/>
                    </a:lnTo>
                    <a:lnTo>
                      <a:pt x="4" y="10"/>
                    </a:lnTo>
                    <a:lnTo>
                      <a:pt x="4" y="8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1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17" name="Freeform 845"/>
              <p:cNvSpPr>
                <a:spLocks/>
              </p:cNvSpPr>
              <p:nvPr/>
            </p:nvSpPr>
            <p:spPr bwMode="auto">
              <a:xfrm>
                <a:off x="4719" y="2748"/>
                <a:ext cx="6" cy="6"/>
              </a:xfrm>
              <a:custGeom>
                <a:avLst/>
                <a:gdLst>
                  <a:gd name="T0" fmla="*/ 2 w 6"/>
                  <a:gd name="T1" fmla="*/ 4 h 6"/>
                  <a:gd name="T2" fmla="*/ 2 w 6"/>
                  <a:gd name="T3" fmla="*/ 4 h 6"/>
                  <a:gd name="T4" fmla="*/ 4 w 6"/>
                  <a:gd name="T5" fmla="*/ 6 h 6"/>
                  <a:gd name="T6" fmla="*/ 4 w 6"/>
                  <a:gd name="T7" fmla="*/ 6 h 6"/>
                  <a:gd name="T8" fmla="*/ 4 w 6"/>
                  <a:gd name="T9" fmla="*/ 6 h 6"/>
                  <a:gd name="T10" fmla="*/ 6 w 6"/>
                  <a:gd name="T11" fmla="*/ 4 h 6"/>
                  <a:gd name="T12" fmla="*/ 6 w 6"/>
                  <a:gd name="T13" fmla="*/ 4 h 6"/>
                  <a:gd name="T14" fmla="*/ 6 w 6"/>
                  <a:gd name="T15" fmla="*/ 4 h 6"/>
                  <a:gd name="T16" fmla="*/ 6 w 6"/>
                  <a:gd name="T17" fmla="*/ 2 h 6"/>
                  <a:gd name="T18" fmla="*/ 6 w 6"/>
                  <a:gd name="T19" fmla="*/ 0 h 6"/>
                  <a:gd name="T20" fmla="*/ 4 w 6"/>
                  <a:gd name="T21" fmla="*/ 0 h 6"/>
                  <a:gd name="T22" fmla="*/ 4 w 6"/>
                  <a:gd name="T23" fmla="*/ 0 h 6"/>
                  <a:gd name="T24" fmla="*/ 2 w 6"/>
                  <a:gd name="T25" fmla="*/ 0 h 6"/>
                  <a:gd name="T26" fmla="*/ 2 w 6"/>
                  <a:gd name="T27" fmla="*/ 0 h 6"/>
                  <a:gd name="T28" fmla="*/ 2 w 6"/>
                  <a:gd name="T29" fmla="*/ 0 h 6"/>
                  <a:gd name="T30" fmla="*/ 0 w 6"/>
                  <a:gd name="T31" fmla="*/ 0 h 6"/>
                  <a:gd name="T32" fmla="*/ 0 w 6"/>
                  <a:gd name="T33" fmla="*/ 0 h 6"/>
                  <a:gd name="T34" fmla="*/ 0 w 6"/>
                  <a:gd name="T35" fmla="*/ 2 h 6"/>
                  <a:gd name="T36" fmla="*/ 2 w 6"/>
                  <a:gd name="T37" fmla="*/ 4 h 6"/>
                  <a:gd name="T38" fmla="*/ 2 w 6"/>
                  <a:gd name="T39" fmla="*/ 4 h 6"/>
                  <a:gd name="T40" fmla="*/ 2 w 6"/>
                  <a:gd name="T41" fmla="*/ 4 h 6"/>
                  <a:gd name="T42" fmla="*/ 2 w 6"/>
                  <a:gd name="T43" fmla="*/ 4 h 6"/>
                  <a:gd name="T44" fmla="*/ 2 w 6"/>
                  <a:gd name="T45" fmla="*/ 4 h 6"/>
                  <a:gd name="T46" fmla="*/ 2 w 6"/>
                  <a:gd name="T47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" h="6">
                    <a:moveTo>
                      <a:pt x="2" y="4"/>
                    </a:moveTo>
                    <a:lnTo>
                      <a:pt x="2" y="4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18" name="Freeform 847"/>
              <p:cNvSpPr>
                <a:spLocks/>
              </p:cNvSpPr>
              <p:nvPr/>
            </p:nvSpPr>
            <p:spPr bwMode="auto">
              <a:xfrm>
                <a:off x="4457" y="2746"/>
                <a:ext cx="162" cy="164"/>
              </a:xfrm>
              <a:custGeom>
                <a:avLst/>
                <a:gdLst>
                  <a:gd name="T0" fmla="*/ 118 w 162"/>
                  <a:gd name="T1" fmla="*/ 2 h 164"/>
                  <a:gd name="T2" fmla="*/ 108 w 162"/>
                  <a:gd name="T3" fmla="*/ 10 h 164"/>
                  <a:gd name="T4" fmla="*/ 102 w 162"/>
                  <a:gd name="T5" fmla="*/ 28 h 164"/>
                  <a:gd name="T6" fmla="*/ 92 w 162"/>
                  <a:gd name="T7" fmla="*/ 40 h 164"/>
                  <a:gd name="T8" fmla="*/ 90 w 162"/>
                  <a:gd name="T9" fmla="*/ 56 h 164"/>
                  <a:gd name="T10" fmla="*/ 84 w 162"/>
                  <a:gd name="T11" fmla="*/ 60 h 164"/>
                  <a:gd name="T12" fmla="*/ 66 w 162"/>
                  <a:gd name="T13" fmla="*/ 60 h 164"/>
                  <a:gd name="T14" fmla="*/ 58 w 162"/>
                  <a:gd name="T15" fmla="*/ 58 h 164"/>
                  <a:gd name="T16" fmla="*/ 46 w 162"/>
                  <a:gd name="T17" fmla="*/ 64 h 164"/>
                  <a:gd name="T18" fmla="*/ 36 w 162"/>
                  <a:gd name="T19" fmla="*/ 66 h 164"/>
                  <a:gd name="T20" fmla="*/ 30 w 162"/>
                  <a:gd name="T21" fmla="*/ 70 h 164"/>
                  <a:gd name="T22" fmla="*/ 20 w 162"/>
                  <a:gd name="T23" fmla="*/ 72 h 164"/>
                  <a:gd name="T24" fmla="*/ 12 w 162"/>
                  <a:gd name="T25" fmla="*/ 64 h 164"/>
                  <a:gd name="T26" fmla="*/ 10 w 162"/>
                  <a:gd name="T27" fmla="*/ 54 h 164"/>
                  <a:gd name="T28" fmla="*/ 4 w 162"/>
                  <a:gd name="T29" fmla="*/ 56 h 164"/>
                  <a:gd name="T30" fmla="*/ 0 w 162"/>
                  <a:gd name="T31" fmla="*/ 72 h 164"/>
                  <a:gd name="T32" fmla="*/ 4 w 162"/>
                  <a:gd name="T33" fmla="*/ 78 h 164"/>
                  <a:gd name="T34" fmla="*/ 4 w 162"/>
                  <a:gd name="T35" fmla="*/ 88 h 164"/>
                  <a:gd name="T36" fmla="*/ 14 w 162"/>
                  <a:gd name="T37" fmla="*/ 96 h 164"/>
                  <a:gd name="T38" fmla="*/ 12 w 162"/>
                  <a:gd name="T39" fmla="*/ 102 h 164"/>
                  <a:gd name="T40" fmla="*/ 14 w 162"/>
                  <a:gd name="T41" fmla="*/ 106 h 164"/>
                  <a:gd name="T42" fmla="*/ 16 w 162"/>
                  <a:gd name="T43" fmla="*/ 112 h 164"/>
                  <a:gd name="T44" fmla="*/ 18 w 162"/>
                  <a:gd name="T45" fmla="*/ 122 h 164"/>
                  <a:gd name="T46" fmla="*/ 18 w 162"/>
                  <a:gd name="T47" fmla="*/ 128 h 164"/>
                  <a:gd name="T48" fmla="*/ 24 w 162"/>
                  <a:gd name="T49" fmla="*/ 136 h 164"/>
                  <a:gd name="T50" fmla="*/ 30 w 162"/>
                  <a:gd name="T51" fmla="*/ 136 h 164"/>
                  <a:gd name="T52" fmla="*/ 38 w 162"/>
                  <a:gd name="T53" fmla="*/ 134 h 164"/>
                  <a:gd name="T54" fmla="*/ 44 w 162"/>
                  <a:gd name="T55" fmla="*/ 132 h 164"/>
                  <a:gd name="T56" fmla="*/ 44 w 162"/>
                  <a:gd name="T57" fmla="*/ 138 h 164"/>
                  <a:gd name="T58" fmla="*/ 48 w 162"/>
                  <a:gd name="T59" fmla="*/ 144 h 164"/>
                  <a:gd name="T60" fmla="*/ 52 w 162"/>
                  <a:gd name="T61" fmla="*/ 140 h 164"/>
                  <a:gd name="T62" fmla="*/ 60 w 162"/>
                  <a:gd name="T63" fmla="*/ 142 h 164"/>
                  <a:gd name="T64" fmla="*/ 64 w 162"/>
                  <a:gd name="T65" fmla="*/ 138 h 164"/>
                  <a:gd name="T66" fmla="*/ 70 w 162"/>
                  <a:gd name="T67" fmla="*/ 146 h 164"/>
                  <a:gd name="T68" fmla="*/ 76 w 162"/>
                  <a:gd name="T69" fmla="*/ 146 h 164"/>
                  <a:gd name="T70" fmla="*/ 88 w 162"/>
                  <a:gd name="T71" fmla="*/ 148 h 164"/>
                  <a:gd name="T72" fmla="*/ 90 w 162"/>
                  <a:gd name="T73" fmla="*/ 160 h 164"/>
                  <a:gd name="T74" fmla="*/ 94 w 162"/>
                  <a:gd name="T75" fmla="*/ 164 h 164"/>
                  <a:gd name="T76" fmla="*/ 104 w 162"/>
                  <a:gd name="T77" fmla="*/ 154 h 164"/>
                  <a:gd name="T78" fmla="*/ 116 w 162"/>
                  <a:gd name="T79" fmla="*/ 138 h 164"/>
                  <a:gd name="T80" fmla="*/ 126 w 162"/>
                  <a:gd name="T81" fmla="*/ 124 h 164"/>
                  <a:gd name="T82" fmla="*/ 126 w 162"/>
                  <a:gd name="T83" fmla="*/ 114 h 164"/>
                  <a:gd name="T84" fmla="*/ 124 w 162"/>
                  <a:gd name="T85" fmla="*/ 104 h 164"/>
                  <a:gd name="T86" fmla="*/ 128 w 162"/>
                  <a:gd name="T87" fmla="*/ 98 h 164"/>
                  <a:gd name="T88" fmla="*/ 134 w 162"/>
                  <a:gd name="T89" fmla="*/ 96 h 164"/>
                  <a:gd name="T90" fmla="*/ 138 w 162"/>
                  <a:gd name="T91" fmla="*/ 92 h 164"/>
                  <a:gd name="T92" fmla="*/ 144 w 162"/>
                  <a:gd name="T93" fmla="*/ 84 h 164"/>
                  <a:gd name="T94" fmla="*/ 138 w 162"/>
                  <a:gd name="T95" fmla="*/ 80 h 164"/>
                  <a:gd name="T96" fmla="*/ 140 w 162"/>
                  <a:gd name="T97" fmla="*/ 76 h 164"/>
                  <a:gd name="T98" fmla="*/ 150 w 162"/>
                  <a:gd name="T99" fmla="*/ 70 h 164"/>
                  <a:gd name="T100" fmla="*/ 162 w 162"/>
                  <a:gd name="T101" fmla="*/ 68 h 164"/>
                  <a:gd name="T102" fmla="*/ 156 w 162"/>
                  <a:gd name="T103" fmla="*/ 60 h 164"/>
                  <a:gd name="T104" fmla="*/ 150 w 162"/>
                  <a:gd name="T105" fmla="*/ 50 h 164"/>
                  <a:gd name="T106" fmla="*/ 146 w 162"/>
                  <a:gd name="T107" fmla="*/ 44 h 164"/>
                  <a:gd name="T108" fmla="*/ 148 w 162"/>
                  <a:gd name="T109" fmla="*/ 38 h 164"/>
                  <a:gd name="T110" fmla="*/ 142 w 162"/>
                  <a:gd name="T111" fmla="*/ 30 h 164"/>
                  <a:gd name="T112" fmla="*/ 142 w 162"/>
                  <a:gd name="T113" fmla="*/ 26 h 164"/>
                  <a:gd name="T114" fmla="*/ 138 w 162"/>
                  <a:gd name="T115" fmla="*/ 20 h 164"/>
                  <a:gd name="T116" fmla="*/ 138 w 162"/>
                  <a:gd name="T117" fmla="*/ 10 h 164"/>
                  <a:gd name="T118" fmla="*/ 140 w 162"/>
                  <a:gd name="T119" fmla="*/ 6 h 164"/>
                  <a:gd name="T120" fmla="*/ 130 w 162"/>
                  <a:gd name="T121" fmla="*/ 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62" h="164">
                    <a:moveTo>
                      <a:pt x="130" y="0"/>
                    </a:moveTo>
                    <a:lnTo>
                      <a:pt x="130" y="0"/>
                    </a:lnTo>
                    <a:lnTo>
                      <a:pt x="128" y="0"/>
                    </a:lnTo>
                    <a:lnTo>
                      <a:pt x="124" y="0"/>
                    </a:lnTo>
                    <a:lnTo>
                      <a:pt x="118" y="2"/>
                    </a:lnTo>
                    <a:lnTo>
                      <a:pt x="118" y="2"/>
                    </a:lnTo>
                    <a:lnTo>
                      <a:pt x="116" y="2"/>
                    </a:lnTo>
                    <a:lnTo>
                      <a:pt x="114" y="4"/>
                    </a:lnTo>
                    <a:lnTo>
                      <a:pt x="112" y="6"/>
                    </a:lnTo>
                    <a:lnTo>
                      <a:pt x="110" y="8"/>
                    </a:lnTo>
                    <a:lnTo>
                      <a:pt x="110" y="8"/>
                    </a:lnTo>
                    <a:lnTo>
                      <a:pt x="108" y="10"/>
                    </a:lnTo>
                    <a:lnTo>
                      <a:pt x="108" y="14"/>
                    </a:lnTo>
                    <a:lnTo>
                      <a:pt x="108" y="20"/>
                    </a:lnTo>
                    <a:lnTo>
                      <a:pt x="108" y="20"/>
                    </a:lnTo>
                    <a:lnTo>
                      <a:pt x="106" y="24"/>
                    </a:lnTo>
                    <a:lnTo>
                      <a:pt x="106" y="26"/>
                    </a:lnTo>
                    <a:lnTo>
                      <a:pt x="102" y="28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98" y="30"/>
                    </a:lnTo>
                    <a:lnTo>
                      <a:pt x="96" y="32"/>
                    </a:lnTo>
                    <a:lnTo>
                      <a:pt x="94" y="36"/>
                    </a:lnTo>
                    <a:lnTo>
                      <a:pt x="92" y="40"/>
                    </a:lnTo>
                    <a:lnTo>
                      <a:pt x="92" y="40"/>
                    </a:lnTo>
                    <a:lnTo>
                      <a:pt x="92" y="46"/>
                    </a:lnTo>
                    <a:lnTo>
                      <a:pt x="90" y="54"/>
                    </a:lnTo>
                    <a:lnTo>
                      <a:pt x="90" y="54"/>
                    </a:lnTo>
                    <a:lnTo>
                      <a:pt x="90" y="54"/>
                    </a:lnTo>
                    <a:lnTo>
                      <a:pt x="90" y="56"/>
                    </a:lnTo>
                    <a:lnTo>
                      <a:pt x="90" y="58"/>
                    </a:lnTo>
                    <a:lnTo>
                      <a:pt x="88" y="58"/>
                    </a:lnTo>
                    <a:lnTo>
                      <a:pt x="88" y="60"/>
                    </a:lnTo>
                    <a:lnTo>
                      <a:pt x="86" y="60"/>
                    </a:lnTo>
                    <a:lnTo>
                      <a:pt x="84" y="60"/>
                    </a:lnTo>
                    <a:lnTo>
                      <a:pt x="84" y="60"/>
                    </a:lnTo>
                    <a:lnTo>
                      <a:pt x="84" y="60"/>
                    </a:lnTo>
                    <a:lnTo>
                      <a:pt x="76" y="60"/>
                    </a:lnTo>
                    <a:lnTo>
                      <a:pt x="74" y="60"/>
                    </a:lnTo>
                    <a:lnTo>
                      <a:pt x="70" y="60"/>
                    </a:lnTo>
                    <a:lnTo>
                      <a:pt x="70" y="60"/>
                    </a:lnTo>
                    <a:lnTo>
                      <a:pt x="66" y="60"/>
                    </a:lnTo>
                    <a:lnTo>
                      <a:pt x="64" y="60"/>
                    </a:lnTo>
                    <a:lnTo>
                      <a:pt x="62" y="60"/>
                    </a:lnTo>
                    <a:lnTo>
                      <a:pt x="62" y="60"/>
                    </a:lnTo>
                    <a:lnTo>
                      <a:pt x="60" y="58"/>
                    </a:lnTo>
                    <a:lnTo>
                      <a:pt x="58" y="58"/>
                    </a:lnTo>
                    <a:lnTo>
                      <a:pt x="58" y="58"/>
                    </a:lnTo>
                    <a:lnTo>
                      <a:pt x="54" y="58"/>
                    </a:lnTo>
                    <a:lnTo>
                      <a:pt x="52" y="60"/>
                    </a:lnTo>
                    <a:lnTo>
                      <a:pt x="50" y="60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6" y="64"/>
                    </a:lnTo>
                    <a:lnTo>
                      <a:pt x="44" y="66"/>
                    </a:lnTo>
                    <a:lnTo>
                      <a:pt x="42" y="66"/>
                    </a:lnTo>
                    <a:lnTo>
                      <a:pt x="38" y="66"/>
                    </a:lnTo>
                    <a:lnTo>
                      <a:pt x="38" y="66"/>
                    </a:lnTo>
                    <a:lnTo>
                      <a:pt x="36" y="66"/>
                    </a:lnTo>
                    <a:lnTo>
                      <a:pt x="36" y="66"/>
                    </a:lnTo>
                    <a:lnTo>
                      <a:pt x="34" y="66"/>
                    </a:lnTo>
                    <a:lnTo>
                      <a:pt x="34" y="66"/>
                    </a:lnTo>
                    <a:lnTo>
                      <a:pt x="34" y="68"/>
                    </a:lnTo>
                    <a:lnTo>
                      <a:pt x="32" y="68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28" y="70"/>
                    </a:lnTo>
                    <a:lnTo>
                      <a:pt x="28" y="72"/>
                    </a:lnTo>
                    <a:lnTo>
                      <a:pt x="24" y="72"/>
                    </a:lnTo>
                    <a:lnTo>
                      <a:pt x="22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18" y="72"/>
                    </a:lnTo>
                    <a:lnTo>
                      <a:pt x="16" y="70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4" y="66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0" y="62"/>
                    </a:lnTo>
                    <a:lnTo>
                      <a:pt x="10" y="58"/>
                    </a:lnTo>
                    <a:lnTo>
                      <a:pt x="10" y="56"/>
                    </a:lnTo>
                    <a:lnTo>
                      <a:pt x="10" y="54"/>
                    </a:lnTo>
                    <a:lnTo>
                      <a:pt x="10" y="54"/>
                    </a:lnTo>
                    <a:lnTo>
                      <a:pt x="8" y="54"/>
                    </a:lnTo>
                    <a:lnTo>
                      <a:pt x="6" y="54"/>
                    </a:lnTo>
                    <a:lnTo>
                      <a:pt x="6" y="54"/>
                    </a:lnTo>
                    <a:lnTo>
                      <a:pt x="6" y="54"/>
                    </a:lnTo>
                    <a:lnTo>
                      <a:pt x="4" y="54"/>
                    </a:lnTo>
                    <a:lnTo>
                      <a:pt x="4" y="56"/>
                    </a:lnTo>
                    <a:lnTo>
                      <a:pt x="2" y="58"/>
                    </a:lnTo>
                    <a:lnTo>
                      <a:pt x="2" y="60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70"/>
                    </a:lnTo>
                    <a:lnTo>
                      <a:pt x="0" y="72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2" y="76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80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4"/>
                    </a:lnTo>
                    <a:lnTo>
                      <a:pt x="4" y="88"/>
                    </a:lnTo>
                    <a:lnTo>
                      <a:pt x="6" y="90"/>
                    </a:lnTo>
                    <a:lnTo>
                      <a:pt x="6" y="92"/>
                    </a:lnTo>
                    <a:lnTo>
                      <a:pt x="6" y="92"/>
                    </a:lnTo>
                    <a:lnTo>
                      <a:pt x="8" y="94"/>
                    </a:lnTo>
                    <a:lnTo>
                      <a:pt x="12" y="96"/>
                    </a:lnTo>
                    <a:lnTo>
                      <a:pt x="14" y="96"/>
                    </a:lnTo>
                    <a:lnTo>
                      <a:pt x="14" y="98"/>
                    </a:lnTo>
                    <a:lnTo>
                      <a:pt x="14" y="98"/>
                    </a:lnTo>
                    <a:lnTo>
                      <a:pt x="14" y="98"/>
                    </a:lnTo>
                    <a:lnTo>
                      <a:pt x="14" y="100"/>
                    </a:lnTo>
                    <a:lnTo>
                      <a:pt x="14" y="100"/>
                    </a:lnTo>
                    <a:lnTo>
                      <a:pt x="12" y="102"/>
                    </a:lnTo>
                    <a:lnTo>
                      <a:pt x="12" y="102"/>
                    </a:lnTo>
                    <a:lnTo>
                      <a:pt x="12" y="102"/>
                    </a:lnTo>
                    <a:lnTo>
                      <a:pt x="14" y="104"/>
                    </a:lnTo>
                    <a:lnTo>
                      <a:pt x="14" y="104"/>
                    </a:lnTo>
                    <a:lnTo>
                      <a:pt x="14" y="106"/>
                    </a:lnTo>
                    <a:lnTo>
                      <a:pt x="14" y="106"/>
                    </a:lnTo>
                    <a:lnTo>
                      <a:pt x="14" y="106"/>
                    </a:lnTo>
                    <a:lnTo>
                      <a:pt x="16" y="108"/>
                    </a:lnTo>
                    <a:lnTo>
                      <a:pt x="16" y="108"/>
                    </a:lnTo>
                    <a:lnTo>
                      <a:pt x="16" y="110"/>
                    </a:lnTo>
                    <a:lnTo>
                      <a:pt x="16" y="110"/>
                    </a:lnTo>
                    <a:lnTo>
                      <a:pt x="16" y="112"/>
                    </a:lnTo>
                    <a:lnTo>
                      <a:pt x="16" y="114"/>
                    </a:lnTo>
                    <a:lnTo>
                      <a:pt x="16" y="116"/>
                    </a:lnTo>
                    <a:lnTo>
                      <a:pt x="16" y="116"/>
                    </a:lnTo>
                    <a:lnTo>
                      <a:pt x="18" y="116"/>
                    </a:lnTo>
                    <a:lnTo>
                      <a:pt x="18" y="118"/>
                    </a:lnTo>
                    <a:lnTo>
                      <a:pt x="18" y="122"/>
                    </a:lnTo>
                    <a:lnTo>
                      <a:pt x="18" y="122"/>
                    </a:lnTo>
                    <a:lnTo>
                      <a:pt x="18" y="122"/>
                    </a:lnTo>
                    <a:lnTo>
                      <a:pt x="18" y="124"/>
                    </a:lnTo>
                    <a:lnTo>
                      <a:pt x="18" y="126"/>
                    </a:lnTo>
                    <a:lnTo>
                      <a:pt x="18" y="126"/>
                    </a:lnTo>
                    <a:lnTo>
                      <a:pt x="18" y="128"/>
                    </a:lnTo>
                    <a:lnTo>
                      <a:pt x="18" y="130"/>
                    </a:lnTo>
                    <a:lnTo>
                      <a:pt x="20" y="134"/>
                    </a:lnTo>
                    <a:lnTo>
                      <a:pt x="22" y="134"/>
                    </a:lnTo>
                    <a:lnTo>
                      <a:pt x="22" y="134"/>
                    </a:lnTo>
                    <a:lnTo>
                      <a:pt x="22" y="136"/>
                    </a:lnTo>
                    <a:lnTo>
                      <a:pt x="24" y="136"/>
                    </a:lnTo>
                    <a:lnTo>
                      <a:pt x="26" y="136"/>
                    </a:lnTo>
                    <a:lnTo>
                      <a:pt x="26" y="136"/>
                    </a:lnTo>
                    <a:lnTo>
                      <a:pt x="28" y="136"/>
                    </a:lnTo>
                    <a:lnTo>
                      <a:pt x="28" y="136"/>
                    </a:lnTo>
                    <a:lnTo>
                      <a:pt x="30" y="136"/>
                    </a:lnTo>
                    <a:lnTo>
                      <a:pt x="30" y="136"/>
                    </a:lnTo>
                    <a:lnTo>
                      <a:pt x="34" y="136"/>
                    </a:lnTo>
                    <a:lnTo>
                      <a:pt x="36" y="136"/>
                    </a:lnTo>
                    <a:lnTo>
                      <a:pt x="36" y="136"/>
                    </a:lnTo>
                    <a:lnTo>
                      <a:pt x="36" y="136"/>
                    </a:lnTo>
                    <a:lnTo>
                      <a:pt x="36" y="134"/>
                    </a:lnTo>
                    <a:lnTo>
                      <a:pt x="38" y="134"/>
                    </a:lnTo>
                    <a:lnTo>
                      <a:pt x="38" y="132"/>
                    </a:lnTo>
                    <a:lnTo>
                      <a:pt x="38" y="132"/>
                    </a:lnTo>
                    <a:lnTo>
                      <a:pt x="40" y="132"/>
                    </a:lnTo>
                    <a:lnTo>
                      <a:pt x="42" y="132"/>
                    </a:lnTo>
                    <a:lnTo>
                      <a:pt x="42" y="132"/>
                    </a:lnTo>
                    <a:lnTo>
                      <a:pt x="44" y="132"/>
                    </a:lnTo>
                    <a:lnTo>
                      <a:pt x="44" y="132"/>
                    </a:lnTo>
                    <a:lnTo>
                      <a:pt x="44" y="134"/>
                    </a:lnTo>
                    <a:lnTo>
                      <a:pt x="46" y="134"/>
                    </a:lnTo>
                    <a:lnTo>
                      <a:pt x="46" y="136"/>
                    </a:lnTo>
                    <a:lnTo>
                      <a:pt x="44" y="136"/>
                    </a:lnTo>
                    <a:lnTo>
                      <a:pt x="44" y="138"/>
                    </a:lnTo>
                    <a:lnTo>
                      <a:pt x="44" y="140"/>
                    </a:lnTo>
                    <a:lnTo>
                      <a:pt x="44" y="142"/>
                    </a:lnTo>
                    <a:lnTo>
                      <a:pt x="44" y="142"/>
                    </a:lnTo>
                    <a:lnTo>
                      <a:pt x="44" y="142"/>
                    </a:lnTo>
                    <a:lnTo>
                      <a:pt x="48" y="144"/>
                    </a:lnTo>
                    <a:lnTo>
                      <a:pt x="48" y="144"/>
                    </a:lnTo>
                    <a:lnTo>
                      <a:pt x="48" y="144"/>
                    </a:lnTo>
                    <a:lnTo>
                      <a:pt x="50" y="142"/>
                    </a:lnTo>
                    <a:lnTo>
                      <a:pt x="50" y="142"/>
                    </a:lnTo>
                    <a:lnTo>
                      <a:pt x="52" y="140"/>
                    </a:lnTo>
                    <a:lnTo>
                      <a:pt x="52" y="140"/>
                    </a:lnTo>
                    <a:lnTo>
                      <a:pt x="52" y="140"/>
                    </a:lnTo>
                    <a:lnTo>
                      <a:pt x="54" y="140"/>
                    </a:lnTo>
                    <a:lnTo>
                      <a:pt x="56" y="140"/>
                    </a:lnTo>
                    <a:lnTo>
                      <a:pt x="58" y="142"/>
                    </a:lnTo>
                    <a:lnTo>
                      <a:pt x="58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62" y="140"/>
                    </a:lnTo>
                    <a:lnTo>
                      <a:pt x="62" y="138"/>
                    </a:lnTo>
                    <a:lnTo>
                      <a:pt x="64" y="138"/>
                    </a:lnTo>
                    <a:lnTo>
                      <a:pt x="64" y="138"/>
                    </a:lnTo>
                    <a:lnTo>
                      <a:pt x="64" y="138"/>
                    </a:lnTo>
                    <a:lnTo>
                      <a:pt x="64" y="138"/>
                    </a:lnTo>
                    <a:lnTo>
                      <a:pt x="66" y="140"/>
                    </a:lnTo>
                    <a:lnTo>
                      <a:pt x="66" y="142"/>
                    </a:lnTo>
                    <a:lnTo>
                      <a:pt x="66" y="142"/>
                    </a:lnTo>
                    <a:lnTo>
                      <a:pt x="70" y="144"/>
                    </a:lnTo>
                    <a:lnTo>
                      <a:pt x="70" y="146"/>
                    </a:lnTo>
                    <a:lnTo>
                      <a:pt x="70" y="146"/>
                    </a:lnTo>
                    <a:lnTo>
                      <a:pt x="72" y="148"/>
                    </a:lnTo>
                    <a:lnTo>
                      <a:pt x="74" y="148"/>
                    </a:lnTo>
                    <a:lnTo>
                      <a:pt x="74" y="148"/>
                    </a:lnTo>
                    <a:lnTo>
                      <a:pt x="76" y="146"/>
                    </a:lnTo>
                    <a:lnTo>
                      <a:pt x="76" y="146"/>
                    </a:lnTo>
                    <a:lnTo>
                      <a:pt x="80" y="146"/>
                    </a:lnTo>
                    <a:lnTo>
                      <a:pt x="82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6" y="146"/>
                    </a:lnTo>
                    <a:lnTo>
                      <a:pt x="88" y="148"/>
                    </a:lnTo>
                    <a:lnTo>
                      <a:pt x="90" y="148"/>
                    </a:lnTo>
                    <a:lnTo>
                      <a:pt x="90" y="150"/>
                    </a:lnTo>
                    <a:lnTo>
                      <a:pt x="90" y="152"/>
                    </a:lnTo>
                    <a:lnTo>
                      <a:pt x="90" y="156"/>
                    </a:lnTo>
                    <a:lnTo>
                      <a:pt x="90" y="160"/>
                    </a:lnTo>
                    <a:lnTo>
                      <a:pt x="90" y="160"/>
                    </a:lnTo>
                    <a:lnTo>
                      <a:pt x="90" y="162"/>
                    </a:lnTo>
                    <a:lnTo>
                      <a:pt x="90" y="164"/>
                    </a:lnTo>
                    <a:lnTo>
                      <a:pt x="90" y="164"/>
                    </a:lnTo>
                    <a:lnTo>
                      <a:pt x="90" y="164"/>
                    </a:lnTo>
                    <a:lnTo>
                      <a:pt x="92" y="164"/>
                    </a:lnTo>
                    <a:lnTo>
                      <a:pt x="94" y="164"/>
                    </a:lnTo>
                    <a:lnTo>
                      <a:pt x="96" y="162"/>
                    </a:lnTo>
                    <a:lnTo>
                      <a:pt x="96" y="162"/>
                    </a:lnTo>
                    <a:lnTo>
                      <a:pt x="98" y="162"/>
                    </a:lnTo>
                    <a:lnTo>
                      <a:pt x="98" y="162"/>
                    </a:lnTo>
                    <a:lnTo>
                      <a:pt x="100" y="160"/>
                    </a:lnTo>
                    <a:lnTo>
                      <a:pt x="104" y="154"/>
                    </a:lnTo>
                    <a:lnTo>
                      <a:pt x="104" y="154"/>
                    </a:lnTo>
                    <a:lnTo>
                      <a:pt x="110" y="148"/>
                    </a:lnTo>
                    <a:lnTo>
                      <a:pt x="110" y="148"/>
                    </a:lnTo>
                    <a:lnTo>
                      <a:pt x="114" y="144"/>
                    </a:lnTo>
                    <a:lnTo>
                      <a:pt x="116" y="138"/>
                    </a:lnTo>
                    <a:lnTo>
                      <a:pt x="116" y="138"/>
                    </a:lnTo>
                    <a:lnTo>
                      <a:pt x="120" y="134"/>
                    </a:lnTo>
                    <a:lnTo>
                      <a:pt x="120" y="132"/>
                    </a:lnTo>
                    <a:lnTo>
                      <a:pt x="122" y="128"/>
                    </a:lnTo>
                    <a:lnTo>
                      <a:pt x="122" y="128"/>
                    </a:lnTo>
                    <a:lnTo>
                      <a:pt x="124" y="126"/>
                    </a:lnTo>
                    <a:lnTo>
                      <a:pt x="126" y="124"/>
                    </a:lnTo>
                    <a:lnTo>
                      <a:pt x="126" y="122"/>
                    </a:lnTo>
                    <a:lnTo>
                      <a:pt x="128" y="118"/>
                    </a:lnTo>
                    <a:lnTo>
                      <a:pt x="128" y="118"/>
                    </a:lnTo>
                    <a:lnTo>
                      <a:pt x="128" y="118"/>
                    </a:lnTo>
                    <a:lnTo>
                      <a:pt x="126" y="116"/>
                    </a:lnTo>
                    <a:lnTo>
                      <a:pt x="126" y="114"/>
                    </a:lnTo>
                    <a:lnTo>
                      <a:pt x="126" y="114"/>
                    </a:lnTo>
                    <a:lnTo>
                      <a:pt x="124" y="114"/>
                    </a:lnTo>
                    <a:lnTo>
                      <a:pt x="124" y="112"/>
                    </a:lnTo>
                    <a:lnTo>
                      <a:pt x="124" y="110"/>
                    </a:lnTo>
                    <a:lnTo>
                      <a:pt x="124" y="110"/>
                    </a:lnTo>
                    <a:lnTo>
                      <a:pt x="124" y="104"/>
                    </a:lnTo>
                    <a:lnTo>
                      <a:pt x="126" y="102"/>
                    </a:lnTo>
                    <a:lnTo>
                      <a:pt x="126" y="100"/>
                    </a:lnTo>
                    <a:lnTo>
                      <a:pt x="126" y="100"/>
                    </a:lnTo>
                    <a:lnTo>
                      <a:pt x="126" y="98"/>
                    </a:lnTo>
                    <a:lnTo>
                      <a:pt x="128" y="98"/>
                    </a:lnTo>
                    <a:lnTo>
                      <a:pt x="128" y="98"/>
                    </a:lnTo>
                    <a:lnTo>
                      <a:pt x="130" y="96"/>
                    </a:lnTo>
                    <a:lnTo>
                      <a:pt x="130" y="96"/>
                    </a:lnTo>
                    <a:lnTo>
                      <a:pt x="130" y="96"/>
                    </a:lnTo>
                    <a:lnTo>
                      <a:pt x="132" y="96"/>
                    </a:lnTo>
                    <a:lnTo>
                      <a:pt x="134" y="96"/>
                    </a:lnTo>
                    <a:lnTo>
                      <a:pt x="134" y="96"/>
                    </a:lnTo>
                    <a:lnTo>
                      <a:pt x="134" y="96"/>
                    </a:lnTo>
                    <a:lnTo>
                      <a:pt x="136" y="96"/>
                    </a:lnTo>
                    <a:lnTo>
                      <a:pt x="136" y="94"/>
                    </a:lnTo>
                    <a:lnTo>
                      <a:pt x="138" y="92"/>
                    </a:lnTo>
                    <a:lnTo>
                      <a:pt x="138" y="92"/>
                    </a:lnTo>
                    <a:lnTo>
                      <a:pt x="138" y="92"/>
                    </a:lnTo>
                    <a:lnTo>
                      <a:pt x="142" y="90"/>
                    </a:lnTo>
                    <a:lnTo>
                      <a:pt x="142" y="90"/>
                    </a:lnTo>
                    <a:lnTo>
                      <a:pt x="142" y="88"/>
                    </a:lnTo>
                    <a:lnTo>
                      <a:pt x="142" y="88"/>
                    </a:lnTo>
                    <a:lnTo>
                      <a:pt x="144" y="86"/>
                    </a:lnTo>
                    <a:lnTo>
                      <a:pt x="144" y="84"/>
                    </a:lnTo>
                    <a:lnTo>
                      <a:pt x="144" y="84"/>
                    </a:lnTo>
                    <a:lnTo>
                      <a:pt x="144" y="84"/>
                    </a:lnTo>
                    <a:lnTo>
                      <a:pt x="142" y="82"/>
                    </a:lnTo>
                    <a:lnTo>
                      <a:pt x="142" y="82"/>
                    </a:lnTo>
                    <a:lnTo>
                      <a:pt x="140" y="80"/>
                    </a:lnTo>
                    <a:lnTo>
                      <a:pt x="138" y="80"/>
                    </a:lnTo>
                    <a:lnTo>
                      <a:pt x="138" y="80"/>
                    </a:lnTo>
                    <a:lnTo>
                      <a:pt x="138" y="80"/>
                    </a:lnTo>
                    <a:lnTo>
                      <a:pt x="138" y="78"/>
                    </a:lnTo>
                    <a:lnTo>
                      <a:pt x="138" y="78"/>
                    </a:lnTo>
                    <a:lnTo>
                      <a:pt x="138" y="76"/>
                    </a:lnTo>
                    <a:lnTo>
                      <a:pt x="140" y="76"/>
                    </a:lnTo>
                    <a:lnTo>
                      <a:pt x="142" y="74"/>
                    </a:lnTo>
                    <a:lnTo>
                      <a:pt x="144" y="72"/>
                    </a:lnTo>
                    <a:lnTo>
                      <a:pt x="146" y="70"/>
                    </a:lnTo>
                    <a:lnTo>
                      <a:pt x="148" y="70"/>
                    </a:lnTo>
                    <a:lnTo>
                      <a:pt x="150" y="70"/>
                    </a:lnTo>
                    <a:lnTo>
                      <a:pt x="150" y="70"/>
                    </a:lnTo>
                    <a:lnTo>
                      <a:pt x="156" y="70"/>
                    </a:lnTo>
                    <a:lnTo>
                      <a:pt x="158" y="70"/>
                    </a:lnTo>
                    <a:lnTo>
                      <a:pt x="160" y="70"/>
                    </a:lnTo>
                    <a:lnTo>
                      <a:pt x="160" y="70"/>
                    </a:lnTo>
                    <a:lnTo>
                      <a:pt x="160" y="70"/>
                    </a:lnTo>
                    <a:lnTo>
                      <a:pt x="162" y="68"/>
                    </a:lnTo>
                    <a:lnTo>
                      <a:pt x="160" y="68"/>
                    </a:lnTo>
                    <a:lnTo>
                      <a:pt x="160" y="66"/>
                    </a:lnTo>
                    <a:lnTo>
                      <a:pt x="158" y="64"/>
                    </a:lnTo>
                    <a:lnTo>
                      <a:pt x="156" y="62"/>
                    </a:lnTo>
                    <a:lnTo>
                      <a:pt x="156" y="62"/>
                    </a:lnTo>
                    <a:lnTo>
                      <a:pt x="156" y="60"/>
                    </a:lnTo>
                    <a:lnTo>
                      <a:pt x="154" y="60"/>
                    </a:lnTo>
                    <a:lnTo>
                      <a:pt x="154" y="58"/>
                    </a:lnTo>
                    <a:lnTo>
                      <a:pt x="154" y="58"/>
                    </a:lnTo>
                    <a:lnTo>
                      <a:pt x="152" y="54"/>
                    </a:lnTo>
                    <a:lnTo>
                      <a:pt x="152" y="52"/>
                    </a:lnTo>
                    <a:lnTo>
                      <a:pt x="150" y="50"/>
                    </a:lnTo>
                    <a:lnTo>
                      <a:pt x="150" y="50"/>
                    </a:lnTo>
                    <a:lnTo>
                      <a:pt x="148" y="48"/>
                    </a:lnTo>
                    <a:lnTo>
                      <a:pt x="146" y="46"/>
                    </a:lnTo>
                    <a:lnTo>
                      <a:pt x="146" y="46"/>
                    </a:lnTo>
                    <a:lnTo>
                      <a:pt x="146" y="46"/>
                    </a:lnTo>
                    <a:lnTo>
                      <a:pt x="146" y="44"/>
                    </a:lnTo>
                    <a:lnTo>
                      <a:pt x="146" y="42"/>
                    </a:lnTo>
                    <a:lnTo>
                      <a:pt x="148" y="42"/>
                    </a:lnTo>
                    <a:lnTo>
                      <a:pt x="148" y="40"/>
                    </a:lnTo>
                    <a:lnTo>
                      <a:pt x="148" y="40"/>
                    </a:lnTo>
                    <a:lnTo>
                      <a:pt x="148" y="40"/>
                    </a:lnTo>
                    <a:lnTo>
                      <a:pt x="148" y="38"/>
                    </a:lnTo>
                    <a:lnTo>
                      <a:pt x="148" y="36"/>
                    </a:lnTo>
                    <a:lnTo>
                      <a:pt x="148" y="36"/>
                    </a:lnTo>
                    <a:lnTo>
                      <a:pt x="146" y="32"/>
                    </a:lnTo>
                    <a:lnTo>
                      <a:pt x="142" y="32"/>
                    </a:lnTo>
                    <a:lnTo>
                      <a:pt x="142" y="32"/>
                    </a:lnTo>
                    <a:lnTo>
                      <a:pt x="142" y="30"/>
                    </a:lnTo>
                    <a:lnTo>
                      <a:pt x="140" y="30"/>
                    </a:lnTo>
                    <a:lnTo>
                      <a:pt x="140" y="28"/>
                    </a:lnTo>
                    <a:lnTo>
                      <a:pt x="140" y="28"/>
                    </a:lnTo>
                    <a:lnTo>
                      <a:pt x="140" y="28"/>
                    </a:lnTo>
                    <a:lnTo>
                      <a:pt x="142" y="26"/>
                    </a:lnTo>
                    <a:lnTo>
                      <a:pt x="142" y="26"/>
                    </a:lnTo>
                    <a:lnTo>
                      <a:pt x="142" y="24"/>
                    </a:lnTo>
                    <a:lnTo>
                      <a:pt x="142" y="24"/>
                    </a:lnTo>
                    <a:lnTo>
                      <a:pt x="140" y="24"/>
                    </a:lnTo>
                    <a:lnTo>
                      <a:pt x="140" y="22"/>
                    </a:lnTo>
                    <a:lnTo>
                      <a:pt x="140" y="22"/>
                    </a:lnTo>
                    <a:lnTo>
                      <a:pt x="138" y="20"/>
                    </a:lnTo>
                    <a:lnTo>
                      <a:pt x="138" y="20"/>
                    </a:lnTo>
                    <a:lnTo>
                      <a:pt x="138" y="18"/>
                    </a:lnTo>
                    <a:lnTo>
                      <a:pt x="138" y="14"/>
                    </a:lnTo>
                    <a:lnTo>
                      <a:pt x="138" y="14"/>
                    </a:lnTo>
                    <a:lnTo>
                      <a:pt x="138" y="12"/>
                    </a:lnTo>
                    <a:lnTo>
                      <a:pt x="138" y="10"/>
                    </a:lnTo>
                    <a:lnTo>
                      <a:pt x="138" y="10"/>
                    </a:lnTo>
                    <a:lnTo>
                      <a:pt x="138" y="10"/>
                    </a:lnTo>
                    <a:lnTo>
                      <a:pt x="138" y="8"/>
                    </a:lnTo>
                    <a:lnTo>
                      <a:pt x="138" y="6"/>
                    </a:lnTo>
                    <a:lnTo>
                      <a:pt x="140" y="6"/>
                    </a:lnTo>
                    <a:lnTo>
                      <a:pt x="140" y="6"/>
                    </a:lnTo>
                    <a:lnTo>
                      <a:pt x="140" y="4"/>
                    </a:lnTo>
                    <a:lnTo>
                      <a:pt x="140" y="0"/>
                    </a:lnTo>
                    <a:lnTo>
                      <a:pt x="140" y="0"/>
                    </a:lnTo>
                    <a:lnTo>
                      <a:pt x="134" y="0"/>
                    </a:lnTo>
                    <a:lnTo>
                      <a:pt x="130" y="0"/>
                    </a:lnTo>
                    <a:lnTo>
                      <a:pt x="130" y="0"/>
                    </a:lnTo>
                    <a:lnTo>
                      <a:pt x="130" y="0"/>
                    </a:lnTo>
                    <a:lnTo>
                      <a:pt x="130" y="0"/>
                    </a:lnTo>
                    <a:lnTo>
                      <a:pt x="130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19" name="Freeform 849"/>
              <p:cNvSpPr>
                <a:spLocks/>
              </p:cNvSpPr>
              <p:nvPr/>
            </p:nvSpPr>
            <p:spPr bwMode="auto">
              <a:xfrm>
                <a:off x="4437" y="2758"/>
                <a:ext cx="6" cy="12"/>
              </a:xfrm>
              <a:custGeom>
                <a:avLst/>
                <a:gdLst>
                  <a:gd name="T0" fmla="*/ 0 w 6"/>
                  <a:gd name="T1" fmla="*/ 6 h 12"/>
                  <a:gd name="T2" fmla="*/ 0 w 6"/>
                  <a:gd name="T3" fmla="*/ 6 h 12"/>
                  <a:gd name="T4" fmla="*/ 0 w 6"/>
                  <a:gd name="T5" fmla="*/ 10 h 12"/>
                  <a:gd name="T6" fmla="*/ 0 w 6"/>
                  <a:gd name="T7" fmla="*/ 10 h 12"/>
                  <a:gd name="T8" fmla="*/ 0 w 6"/>
                  <a:gd name="T9" fmla="*/ 10 h 12"/>
                  <a:gd name="T10" fmla="*/ 0 w 6"/>
                  <a:gd name="T11" fmla="*/ 12 h 12"/>
                  <a:gd name="T12" fmla="*/ 0 w 6"/>
                  <a:gd name="T13" fmla="*/ 12 h 12"/>
                  <a:gd name="T14" fmla="*/ 2 w 6"/>
                  <a:gd name="T15" fmla="*/ 10 h 12"/>
                  <a:gd name="T16" fmla="*/ 2 w 6"/>
                  <a:gd name="T17" fmla="*/ 10 h 12"/>
                  <a:gd name="T18" fmla="*/ 4 w 6"/>
                  <a:gd name="T19" fmla="*/ 8 h 12"/>
                  <a:gd name="T20" fmla="*/ 4 w 6"/>
                  <a:gd name="T21" fmla="*/ 8 h 12"/>
                  <a:gd name="T22" fmla="*/ 6 w 6"/>
                  <a:gd name="T23" fmla="*/ 8 h 12"/>
                  <a:gd name="T24" fmla="*/ 6 w 6"/>
                  <a:gd name="T25" fmla="*/ 8 h 12"/>
                  <a:gd name="T26" fmla="*/ 4 w 6"/>
                  <a:gd name="T27" fmla="*/ 4 h 12"/>
                  <a:gd name="T28" fmla="*/ 2 w 6"/>
                  <a:gd name="T29" fmla="*/ 0 h 12"/>
                  <a:gd name="T30" fmla="*/ 2 w 6"/>
                  <a:gd name="T31" fmla="*/ 0 h 12"/>
                  <a:gd name="T32" fmla="*/ 2 w 6"/>
                  <a:gd name="T33" fmla="*/ 0 h 12"/>
                  <a:gd name="T34" fmla="*/ 2 w 6"/>
                  <a:gd name="T35" fmla="*/ 0 h 12"/>
                  <a:gd name="T36" fmla="*/ 0 w 6"/>
                  <a:gd name="T37" fmla="*/ 0 h 12"/>
                  <a:gd name="T38" fmla="*/ 0 w 6"/>
                  <a:gd name="T39" fmla="*/ 2 h 12"/>
                  <a:gd name="T40" fmla="*/ 0 w 6"/>
                  <a:gd name="T41" fmla="*/ 4 h 12"/>
                  <a:gd name="T42" fmla="*/ 0 w 6"/>
                  <a:gd name="T43" fmla="*/ 6 h 12"/>
                  <a:gd name="T44" fmla="*/ 0 w 6"/>
                  <a:gd name="T45" fmla="*/ 6 h 12"/>
                  <a:gd name="T46" fmla="*/ 0 w 6"/>
                  <a:gd name="T47" fmla="*/ 6 h 12"/>
                  <a:gd name="T48" fmla="*/ 0 w 6"/>
                  <a:gd name="T49" fmla="*/ 6 h 12"/>
                  <a:gd name="T50" fmla="*/ 0 w 6"/>
                  <a:gd name="T51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" h="12">
                    <a:moveTo>
                      <a:pt x="0" y="6"/>
                    </a:move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4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20" name="Freeform 851"/>
              <p:cNvSpPr>
                <a:spLocks/>
              </p:cNvSpPr>
              <p:nvPr/>
            </p:nvSpPr>
            <p:spPr bwMode="auto">
              <a:xfrm>
                <a:off x="4969" y="2892"/>
                <a:ext cx="148" cy="174"/>
              </a:xfrm>
              <a:custGeom>
                <a:avLst/>
                <a:gdLst>
                  <a:gd name="T0" fmla="*/ 144 w 148"/>
                  <a:gd name="T1" fmla="*/ 158 h 174"/>
                  <a:gd name="T2" fmla="*/ 136 w 148"/>
                  <a:gd name="T3" fmla="*/ 156 h 174"/>
                  <a:gd name="T4" fmla="*/ 134 w 148"/>
                  <a:gd name="T5" fmla="*/ 150 h 174"/>
                  <a:gd name="T6" fmla="*/ 132 w 148"/>
                  <a:gd name="T7" fmla="*/ 146 h 174"/>
                  <a:gd name="T8" fmla="*/ 126 w 148"/>
                  <a:gd name="T9" fmla="*/ 138 h 174"/>
                  <a:gd name="T10" fmla="*/ 126 w 148"/>
                  <a:gd name="T11" fmla="*/ 132 h 174"/>
                  <a:gd name="T12" fmla="*/ 122 w 148"/>
                  <a:gd name="T13" fmla="*/ 130 h 174"/>
                  <a:gd name="T14" fmla="*/ 116 w 148"/>
                  <a:gd name="T15" fmla="*/ 128 h 174"/>
                  <a:gd name="T16" fmla="*/ 110 w 148"/>
                  <a:gd name="T17" fmla="*/ 120 h 174"/>
                  <a:gd name="T18" fmla="*/ 106 w 148"/>
                  <a:gd name="T19" fmla="*/ 112 h 174"/>
                  <a:gd name="T20" fmla="*/ 102 w 148"/>
                  <a:gd name="T21" fmla="*/ 104 h 174"/>
                  <a:gd name="T22" fmla="*/ 100 w 148"/>
                  <a:gd name="T23" fmla="*/ 92 h 174"/>
                  <a:gd name="T24" fmla="*/ 96 w 148"/>
                  <a:gd name="T25" fmla="*/ 82 h 174"/>
                  <a:gd name="T26" fmla="*/ 100 w 148"/>
                  <a:gd name="T27" fmla="*/ 80 h 174"/>
                  <a:gd name="T28" fmla="*/ 108 w 148"/>
                  <a:gd name="T29" fmla="*/ 80 h 174"/>
                  <a:gd name="T30" fmla="*/ 108 w 148"/>
                  <a:gd name="T31" fmla="*/ 74 h 174"/>
                  <a:gd name="T32" fmla="*/ 104 w 148"/>
                  <a:gd name="T33" fmla="*/ 66 h 174"/>
                  <a:gd name="T34" fmla="*/ 98 w 148"/>
                  <a:gd name="T35" fmla="*/ 64 h 174"/>
                  <a:gd name="T36" fmla="*/ 86 w 148"/>
                  <a:gd name="T37" fmla="*/ 58 h 174"/>
                  <a:gd name="T38" fmla="*/ 78 w 148"/>
                  <a:gd name="T39" fmla="*/ 56 h 174"/>
                  <a:gd name="T40" fmla="*/ 76 w 148"/>
                  <a:gd name="T41" fmla="*/ 44 h 174"/>
                  <a:gd name="T42" fmla="*/ 70 w 148"/>
                  <a:gd name="T43" fmla="*/ 32 h 174"/>
                  <a:gd name="T44" fmla="*/ 58 w 148"/>
                  <a:gd name="T45" fmla="*/ 26 h 174"/>
                  <a:gd name="T46" fmla="*/ 54 w 148"/>
                  <a:gd name="T47" fmla="*/ 24 h 174"/>
                  <a:gd name="T48" fmla="*/ 48 w 148"/>
                  <a:gd name="T49" fmla="*/ 22 h 174"/>
                  <a:gd name="T50" fmla="*/ 22 w 148"/>
                  <a:gd name="T51" fmla="*/ 8 h 174"/>
                  <a:gd name="T52" fmla="*/ 0 w 148"/>
                  <a:gd name="T53" fmla="*/ 138 h 174"/>
                  <a:gd name="T54" fmla="*/ 12 w 148"/>
                  <a:gd name="T55" fmla="*/ 138 h 174"/>
                  <a:gd name="T56" fmla="*/ 20 w 148"/>
                  <a:gd name="T57" fmla="*/ 138 h 174"/>
                  <a:gd name="T58" fmla="*/ 30 w 148"/>
                  <a:gd name="T59" fmla="*/ 130 h 174"/>
                  <a:gd name="T60" fmla="*/ 30 w 148"/>
                  <a:gd name="T61" fmla="*/ 122 h 174"/>
                  <a:gd name="T62" fmla="*/ 20 w 148"/>
                  <a:gd name="T63" fmla="*/ 116 h 174"/>
                  <a:gd name="T64" fmla="*/ 22 w 148"/>
                  <a:gd name="T65" fmla="*/ 112 h 174"/>
                  <a:gd name="T66" fmla="*/ 38 w 148"/>
                  <a:gd name="T67" fmla="*/ 112 h 174"/>
                  <a:gd name="T68" fmla="*/ 44 w 148"/>
                  <a:gd name="T69" fmla="*/ 108 h 174"/>
                  <a:gd name="T70" fmla="*/ 48 w 148"/>
                  <a:gd name="T71" fmla="*/ 102 h 174"/>
                  <a:gd name="T72" fmla="*/ 52 w 148"/>
                  <a:gd name="T73" fmla="*/ 100 h 174"/>
                  <a:gd name="T74" fmla="*/ 60 w 148"/>
                  <a:gd name="T75" fmla="*/ 100 h 174"/>
                  <a:gd name="T76" fmla="*/ 74 w 148"/>
                  <a:gd name="T77" fmla="*/ 108 h 174"/>
                  <a:gd name="T78" fmla="*/ 78 w 148"/>
                  <a:gd name="T79" fmla="*/ 114 h 174"/>
                  <a:gd name="T80" fmla="*/ 82 w 148"/>
                  <a:gd name="T81" fmla="*/ 122 h 174"/>
                  <a:gd name="T82" fmla="*/ 80 w 148"/>
                  <a:gd name="T83" fmla="*/ 128 h 174"/>
                  <a:gd name="T84" fmla="*/ 86 w 148"/>
                  <a:gd name="T85" fmla="*/ 142 h 174"/>
                  <a:gd name="T86" fmla="*/ 96 w 148"/>
                  <a:gd name="T87" fmla="*/ 158 h 174"/>
                  <a:gd name="T88" fmla="*/ 104 w 148"/>
                  <a:gd name="T89" fmla="*/ 162 h 174"/>
                  <a:gd name="T90" fmla="*/ 112 w 148"/>
                  <a:gd name="T91" fmla="*/ 166 h 174"/>
                  <a:gd name="T92" fmla="*/ 120 w 148"/>
                  <a:gd name="T93" fmla="*/ 166 h 174"/>
                  <a:gd name="T94" fmla="*/ 126 w 148"/>
                  <a:gd name="T95" fmla="*/ 170 h 174"/>
                  <a:gd name="T96" fmla="*/ 128 w 148"/>
                  <a:gd name="T97" fmla="*/ 170 h 174"/>
                  <a:gd name="T98" fmla="*/ 134 w 148"/>
                  <a:gd name="T99" fmla="*/ 170 h 174"/>
                  <a:gd name="T100" fmla="*/ 136 w 148"/>
                  <a:gd name="T101" fmla="*/ 174 h 174"/>
                  <a:gd name="T102" fmla="*/ 140 w 148"/>
                  <a:gd name="T103" fmla="*/ 174 h 174"/>
                  <a:gd name="T104" fmla="*/ 146 w 148"/>
                  <a:gd name="T105" fmla="*/ 170 h 174"/>
                  <a:gd name="T106" fmla="*/ 146 w 148"/>
                  <a:gd name="T107" fmla="*/ 164 h 174"/>
                  <a:gd name="T108" fmla="*/ 148 w 148"/>
                  <a:gd name="T109" fmla="*/ 160 h 174"/>
                  <a:gd name="T110" fmla="*/ 148 w 148"/>
                  <a:gd name="T111" fmla="*/ 158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48" h="174">
                    <a:moveTo>
                      <a:pt x="148" y="158"/>
                    </a:moveTo>
                    <a:lnTo>
                      <a:pt x="148" y="158"/>
                    </a:lnTo>
                    <a:lnTo>
                      <a:pt x="146" y="158"/>
                    </a:lnTo>
                    <a:lnTo>
                      <a:pt x="146" y="158"/>
                    </a:lnTo>
                    <a:lnTo>
                      <a:pt x="144" y="158"/>
                    </a:lnTo>
                    <a:lnTo>
                      <a:pt x="142" y="158"/>
                    </a:lnTo>
                    <a:lnTo>
                      <a:pt x="140" y="158"/>
                    </a:lnTo>
                    <a:lnTo>
                      <a:pt x="140" y="158"/>
                    </a:lnTo>
                    <a:lnTo>
                      <a:pt x="138" y="158"/>
                    </a:lnTo>
                    <a:lnTo>
                      <a:pt x="136" y="156"/>
                    </a:lnTo>
                    <a:lnTo>
                      <a:pt x="136" y="156"/>
                    </a:lnTo>
                    <a:lnTo>
                      <a:pt x="134" y="154"/>
                    </a:lnTo>
                    <a:lnTo>
                      <a:pt x="134" y="154"/>
                    </a:lnTo>
                    <a:lnTo>
                      <a:pt x="134" y="152"/>
                    </a:lnTo>
                    <a:lnTo>
                      <a:pt x="134" y="150"/>
                    </a:lnTo>
                    <a:lnTo>
                      <a:pt x="134" y="150"/>
                    </a:lnTo>
                    <a:lnTo>
                      <a:pt x="134" y="148"/>
                    </a:lnTo>
                    <a:lnTo>
                      <a:pt x="134" y="148"/>
                    </a:lnTo>
                    <a:lnTo>
                      <a:pt x="134" y="146"/>
                    </a:lnTo>
                    <a:lnTo>
                      <a:pt x="132" y="146"/>
                    </a:lnTo>
                    <a:lnTo>
                      <a:pt x="128" y="144"/>
                    </a:lnTo>
                    <a:lnTo>
                      <a:pt x="128" y="144"/>
                    </a:lnTo>
                    <a:lnTo>
                      <a:pt x="126" y="142"/>
                    </a:lnTo>
                    <a:lnTo>
                      <a:pt x="126" y="140"/>
                    </a:lnTo>
                    <a:lnTo>
                      <a:pt x="126" y="138"/>
                    </a:lnTo>
                    <a:lnTo>
                      <a:pt x="126" y="138"/>
                    </a:lnTo>
                    <a:lnTo>
                      <a:pt x="128" y="134"/>
                    </a:lnTo>
                    <a:lnTo>
                      <a:pt x="128" y="134"/>
                    </a:lnTo>
                    <a:lnTo>
                      <a:pt x="126" y="132"/>
                    </a:lnTo>
                    <a:lnTo>
                      <a:pt x="126" y="132"/>
                    </a:lnTo>
                    <a:lnTo>
                      <a:pt x="126" y="130"/>
                    </a:lnTo>
                    <a:lnTo>
                      <a:pt x="124" y="130"/>
                    </a:lnTo>
                    <a:lnTo>
                      <a:pt x="124" y="130"/>
                    </a:lnTo>
                    <a:lnTo>
                      <a:pt x="122" y="130"/>
                    </a:lnTo>
                    <a:lnTo>
                      <a:pt x="122" y="130"/>
                    </a:lnTo>
                    <a:lnTo>
                      <a:pt x="120" y="132"/>
                    </a:lnTo>
                    <a:lnTo>
                      <a:pt x="118" y="132"/>
                    </a:lnTo>
                    <a:lnTo>
                      <a:pt x="118" y="130"/>
                    </a:lnTo>
                    <a:lnTo>
                      <a:pt x="116" y="128"/>
                    </a:lnTo>
                    <a:lnTo>
                      <a:pt x="116" y="128"/>
                    </a:lnTo>
                    <a:lnTo>
                      <a:pt x="114" y="124"/>
                    </a:lnTo>
                    <a:lnTo>
                      <a:pt x="112" y="122"/>
                    </a:lnTo>
                    <a:lnTo>
                      <a:pt x="112" y="122"/>
                    </a:lnTo>
                    <a:lnTo>
                      <a:pt x="112" y="120"/>
                    </a:lnTo>
                    <a:lnTo>
                      <a:pt x="110" y="120"/>
                    </a:lnTo>
                    <a:lnTo>
                      <a:pt x="108" y="118"/>
                    </a:lnTo>
                    <a:lnTo>
                      <a:pt x="108" y="116"/>
                    </a:lnTo>
                    <a:lnTo>
                      <a:pt x="108" y="116"/>
                    </a:lnTo>
                    <a:lnTo>
                      <a:pt x="108" y="114"/>
                    </a:lnTo>
                    <a:lnTo>
                      <a:pt x="106" y="112"/>
                    </a:lnTo>
                    <a:lnTo>
                      <a:pt x="106" y="110"/>
                    </a:lnTo>
                    <a:lnTo>
                      <a:pt x="106" y="108"/>
                    </a:lnTo>
                    <a:lnTo>
                      <a:pt x="106" y="108"/>
                    </a:lnTo>
                    <a:lnTo>
                      <a:pt x="104" y="104"/>
                    </a:lnTo>
                    <a:lnTo>
                      <a:pt x="102" y="104"/>
                    </a:lnTo>
                    <a:lnTo>
                      <a:pt x="102" y="100"/>
                    </a:lnTo>
                    <a:lnTo>
                      <a:pt x="102" y="100"/>
                    </a:lnTo>
                    <a:lnTo>
                      <a:pt x="102" y="98"/>
                    </a:lnTo>
                    <a:lnTo>
                      <a:pt x="102" y="96"/>
                    </a:lnTo>
                    <a:lnTo>
                      <a:pt x="100" y="92"/>
                    </a:lnTo>
                    <a:lnTo>
                      <a:pt x="100" y="92"/>
                    </a:lnTo>
                    <a:lnTo>
                      <a:pt x="98" y="90"/>
                    </a:lnTo>
                    <a:lnTo>
                      <a:pt x="98" y="84"/>
                    </a:lnTo>
                    <a:lnTo>
                      <a:pt x="96" y="82"/>
                    </a:lnTo>
                    <a:lnTo>
                      <a:pt x="96" y="82"/>
                    </a:lnTo>
                    <a:lnTo>
                      <a:pt x="98" y="80"/>
                    </a:lnTo>
                    <a:lnTo>
                      <a:pt x="98" y="80"/>
                    </a:lnTo>
                    <a:lnTo>
                      <a:pt x="98" y="80"/>
                    </a:lnTo>
                    <a:lnTo>
                      <a:pt x="100" y="80"/>
                    </a:lnTo>
                    <a:lnTo>
                      <a:pt x="100" y="80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6" y="82"/>
                    </a:lnTo>
                    <a:lnTo>
                      <a:pt x="108" y="80"/>
                    </a:lnTo>
                    <a:lnTo>
                      <a:pt x="108" y="80"/>
                    </a:lnTo>
                    <a:lnTo>
                      <a:pt x="110" y="78"/>
                    </a:lnTo>
                    <a:lnTo>
                      <a:pt x="110" y="78"/>
                    </a:lnTo>
                    <a:lnTo>
                      <a:pt x="110" y="76"/>
                    </a:lnTo>
                    <a:lnTo>
                      <a:pt x="110" y="76"/>
                    </a:lnTo>
                    <a:lnTo>
                      <a:pt x="108" y="74"/>
                    </a:lnTo>
                    <a:lnTo>
                      <a:pt x="108" y="70"/>
                    </a:lnTo>
                    <a:lnTo>
                      <a:pt x="106" y="68"/>
                    </a:lnTo>
                    <a:lnTo>
                      <a:pt x="106" y="68"/>
                    </a:lnTo>
                    <a:lnTo>
                      <a:pt x="104" y="66"/>
                    </a:lnTo>
                    <a:lnTo>
                      <a:pt x="104" y="66"/>
                    </a:lnTo>
                    <a:lnTo>
                      <a:pt x="104" y="64"/>
                    </a:lnTo>
                    <a:lnTo>
                      <a:pt x="102" y="64"/>
                    </a:lnTo>
                    <a:lnTo>
                      <a:pt x="102" y="64"/>
                    </a:lnTo>
                    <a:lnTo>
                      <a:pt x="100" y="64"/>
                    </a:lnTo>
                    <a:lnTo>
                      <a:pt x="98" y="64"/>
                    </a:lnTo>
                    <a:lnTo>
                      <a:pt x="94" y="62"/>
                    </a:lnTo>
                    <a:lnTo>
                      <a:pt x="94" y="62"/>
                    </a:lnTo>
                    <a:lnTo>
                      <a:pt x="92" y="60"/>
                    </a:lnTo>
                    <a:lnTo>
                      <a:pt x="88" y="58"/>
                    </a:lnTo>
                    <a:lnTo>
                      <a:pt x="86" y="58"/>
                    </a:lnTo>
                    <a:lnTo>
                      <a:pt x="82" y="58"/>
                    </a:lnTo>
                    <a:lnTo>
                      <a:pt x="82" y="58"/>
                    </a:lnTo>
                    <a:lnTo>
                      <a:pt x="80" y="56"/>
                    </a:lnTo>
                    <a:lnTo>
                      <a:pt x="78" y="56"/>
                    </a:lnTo>
                    <a:lnTo>
                      <a:pt x="78" y="56"/>
                    </a:lnTo>
                    <a:lnTo>
                      <a:pt x="78" y="54"/>
                    </a:lnTo>
                    <a:lnTo>
                      <a:pt x="78" y="52"/>
                    </a:lnTo>
                    <a:lnTo>
                      <a:pt x="78" y="48"/>
                    </a:lnTo>
                    <a:lnTo>
                      <a:pt x="78" y="48"/>
                    </a:lnTo>
                    <a:lnTo>
                      <a:pt x="76" y="44"/>
                    </a:lnTo>
                    <a:lnTo>
                      <a:pt x="76" y="40"/>
                    </a:lnTo>
                    <a:lnTo>
                      <a:pt x="74" y="36"/>
                    </a:lnTo>
                    <a:lnTo>
                      <a:pt x="72" y="34"/>
                    </a:lnTo>
                    <a:lnTo>
                      <a:pt x="70" y="32"/>
                    </a:lnTo>
                    <a:lnTo>
                      <a:pt x="70" y="32"/>
                    </a:lnTo>
                    <a:lnTo>
                      <a:pt x="70" y="32"/>
                    </a:lnTo>
                    <a:lnTo>
                      <a:pt x="68" y="30"/>
                    </a:lnTo>
                    <a:lnTo>
                      <a:pt x="64" y="28"/>
                    </a:lnTo>
                    <a:lnTo>
                      <a:pt x="58" y="26"/>
                    </a:lnTo>
                    <a:lnTo>
                      <a:pt x="58" y="26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4" y="24"/>
                    </a:lnTo>
                    <a:lnTo>
                      <a:pt x="54" y="24"/>
                    </a:lnTo>
                    <a:lnTo>
                      <a:pt x="52" y="24"/>
                    </a:lnTo>
                    <a:lnTo>
                      <a:pt x="52" y="22"/>
                    </a:lnTo>
                    <a:lnTo>
                      <a:pt x="50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38" y="18"/>
                    </a:lnTo>
                    <a:lnTo>
                      <a:pt x="32" y="16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22" y="8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6" y="0"/>
                    </a:lnTo>
                    <a:lnTo>
                      <a:pt x="0" y="138"/>
                    </a:lnTo>
                    <a:lnTo>
                      <a:pt x="0" y="138"/>
                    </a:lnTo>
                    <a:lnTo>
                      <a:pt x="4" y="138"/>
                    </a:lnTo>
                    <a:lnTo>
                      <a:pt x="6" y="140"/>
                    </a:lnTo>
                    <a:lnTo>
                      <a:pt x="8" y="140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4" y="138"/>
                    </a:lnTo>
                    <a:lnTo>
                      <a:pt x="16" y="138"/>
                    </a:lnTo>
                    <a:lnTo>
                      <a:pt x="18" y="138"/>
                    </a:lnTo>
                    <a:lnTo>
                      <a:pt x="18" y="138"/>
                    </a:lnTo>
                    <a:lnTo>
                      <a:pt x="20" y="138"/>
                    </a:lnTo>
                    <a:lnTo>
                      <a:pt x="22" y="138"/>
                    </a:lnTo>
                    <a:lnTo>
                      <a:pt x="24" y="136"/>
                    </a:lnTo>
                    <a:lnTo>
                      <a:pt x="24" y="136"/>
                    </a:lnTo>
                    <a:lnTo>
                      <a:pt x="26" y="134"/>
                    </a:lnTo>
                    <a:lnTo>
                      <a:pt x="30" y="130"/>
                    </a:lnTo>
                    <a:lnTo>
                      <a:pt x="30" y="128"/>
                    </a:lnTo>
                    <a:lnTo>
                      <a:pt x="32" y="126"/>
                    </a:lnTo>
                    <a:lnTo>
                      <a:pt x="32" y="124"/>
                    </a:lnTo>
                    <a:lnTo>
                      <a:pt x="32" y="124"/>
                    </a:lnTo>
                    <a:lnTo>
                      <a:pt x="30" y="122"/>
                    </a:lnTo>
                    <a:lnTo>
                      <a:pt x="30" y="122"/>
                    </a:lnTo>
                    <a:lnTo>
                      <a:pt x="30" y="122"/>
                    </a:lnTo>
                    <a:lnTo>
                      <a:pt x="28" y="120"/>
                    </a:lnTo>
                    <a:lnTo>
                      <a:pt x="22" y="118"/>
                    </a:lnTo>
                    <a:lnTo>
                      <a:pt x="20" y="116"/>
                    </a:lnTo>
                    <a:lnTo>
                      <a:pt x="18" y="116"/>
                    </a:lnTo>
                    <a:lnTo>
                      <a:pt x="18" y="114"/>
                    </a:lnTo>
                    <a:lnTo>
                      <a:pt x="16" y="110"/>
                    </a:lnTo>
                    <a:lnTo>
                      <a:pt x="16" y="110"/>
                    </a:lnTo>
                    <a:lnTo>
                      <a:pt x="22" y="112"/>
                    </a:lnTo>
                    <a:lnTo>
                      <a:pt x="24" y="114"/>
                    </a:lnTo>
                    <a:lnTo>
                      <a:pt x="28" y="114"/>
                    </a:lnTo>
                    <a:lnTo>
                      <a:pt x="32" y="112"/>
                    </a:lnTo>
                    <a:lnTo>
                      <a:pt x="32" y="112"/>
                    </a:lnTo>
                    <a:lnTo>
                      <a:pt x="38" y="112"/>
                    </a:lnTo>
                    <a:lnTo>
                      <a:pt x="40" y="110"/>
                    </a:lnTo>
                    <a:lnTo>
                      <a:pt x="40" y="110"/>
                    </a:lnTo>
                    <a:lnTo>
                      <a:pt x="42" y="108"/>
                    </a:lnTo>
                    <a:lnTo>
                      <a:pt x="42" y="108"/>
                    </a:lnTo>
                    <a:lnTo>
                      <a:pt x="44" y="108"/>
                    </a:lnTo>
                    <a:lnTo>
                      <a:pt x="46" y="106"/>
                    </a:lnTo>
                    <a:lnTo>
                      <a:pt x="46" y="106"/>
                    </a:lnTo>
                    <a:lnTo>
                      <a:pt x="46" y="104"/>
                    </a:lnTo>
                    <a:lnTo>
                      <a:pt x="46" y="102"/>
                    </a:lnTo>
                    <a:lnTo>
                      <a:pt x="48" y="102"/>
                    </a:lnTo>
                    <a:lnTo>
                      <a:pt x="48" y="100"/>
                    </a:lnTo>
                    <a:lnTo>
                      <a:pt x="48" y="100"/>
                    </a:lnTo>
                    <a:lnTo>
                      <a:pt x="48" y="100"/>
                    </a:lnTo>
                    <a:lnTo>
                      <a:pt x="50" y="100"/>
                    </a:lnTo>
                    <a:lnTo>
                      <a:pt x="52" y="100"/>
                    </a:lnTo>
                    <a:lnTo>
                      <a:pt x="56" y="100"/>
                    </a:lnTo>
                    <a:lnTo>
                      <a:pt x="56" y="100"/>
                    </a:lnTo>
                    <a:lnTo>
                      <a:pt x="56" y="100"/>
                    </a:lnTo>
                    <a:lnTo>
                      <a:pt x="58" y="100"/>
                    </a:lnTo>
                    <a:lnTo>
                      <a:pt x="60" y="100"/>
                    </a:lnTo>
                    <a:lnTo>
                      <a:pt x="62" y="102"/>
                    </a:lnTo>
                    <a:lnTo>
                      <a:pt x="62" y="102"/>
                    </a:lnTo>
                    <a:lnTo>
                      <a:pt x="64" y="104"/>
                    </a:lnTo>
                    <a:lnTo>
                      <a:pt x="68" y="106"/>
                    </a:lnTo>
                    <a:lnTo>
                      <a:pt x="74" y="108"/>
                    </a:lnTo>
                    <a:lnTo>
                      <a:pt x="74" y="108"/>
                    </a:lnTo>
                    <a:lnTo>
                      <a:pt x="76" y="110"/>
                    </a:lnTo>
                    <a:lnTo>
                      <a:pt x="76" y="110"/>
                    </a:lnTo>
                    <a:lnTo>
                      <a:pt x="78" y="112"/>
                    </a:lnTo>
                    <a:lnTo>
                      <a:pt x="78" y="114"/>
                    </a:lnTo>
                    <a:lnTo>
                      <a:pt x="78" y="114"/>
                    </a:lnTo>
                    <a:lnTo>
                      <a:pt x="80" y="118"/>
                    </a:lnTo>
                    <a:lnTo>
                      <a:pt x="80" y="120"/>
                    </a:lnTo>
                    <a:lnTo>
                      <a:pt x="82" y="122"/>
                    </a:lnTo>
                    <a:lnTo>
                      <a:pt x="82" y="122"/>
                    </a:lnTo>
                    <a:lnTo>
                      <a:pt x="82" y="122"/>
                    </a:lnTo>
                    <a:lnTo>
                      <a:pt x="82" y="122"/>
                    </a:lnTo>
                    <a:lnTo>
                      <a:pt x="82" y="126"/>
                    </a:lnTo>
                    <a:lnTo>
                      <a:pt x="82" y="126"/>
                    </a:lnTo>
                    <a:lnTo>
                      <a:pt x="80" y="128"/>
                    </a:lnTo>
                    <a:lnTo>
                      <a:pt x="82" y="130"/>
                    </a:lnTo>
                    <a:lnTo>
                      <a:pt x="82" y="132"/>
                    </a:lnTo>
                    <a:lnTo>
                      <a:pt x="82" y="132"/>
                    </a:lnTo>
                    <a:lnTo>
                      <a:pt x="84" y="138"/>
                    </a:lnTo>
                    <a:lnTo>
                      <a:pt x="86" y="142"/>
                    </a:lnTo>
                    <a:lnTo>
                      <a:pt x="90" y="150"/>
                    </a:lnTo>
                    <a:lnTo>
                      <a:pt x="90" y="150"/>
                    </a:lnTo>
                    <a:lnTo>
                      <a:pt x="94" y="154"/>
                    </a:lnTo>
                    <a:lnTo>
                      <a:pt x="94" y="156"/>
                    </a:lnTo>
                    <a:lnTo>
                      <a:pt x="96" y="158"/>
                    </a:lnTo>
                    <a:lnTo>
                      <a:pt x="98" y="160"/>
                    </a:lnTo>
                    <a:lnTo>
                      <a:pt x="100" y="160"/>
                    </a:lnTo>
                    <a:lnTo>
                      <a:pt x="102" y="162"/>
                    </a:lnTo>
                    <a:lnTo>
                      <a:pt x="104" y="162"/>
                    </a:lnTo>
                    <a:lnTo>
                      <a:pt x="104" y="162"/>
                    </a:lnTo>
                    <a:lnTo>
                      <a:pt x="106" y="162"/>
                    </a:lnTo>
                    <a:lnTo>
                      <a:pt x="108" y="162"/>
                    </a:lnTo>
                    <a:lnTo>
                      <a:pt x="110" y="166"/>
                    </a:lnTo>
                    <a:lnTo>
                      <a:pt x="110" y="166"/>
                    </a:lnTo>
                    <a:lnTo>
                      <a:pt x="112" y="166"/>
                    </a:lnTo>
                    <a:lnTo>
                      <a:pt x="114" y="168"/>
                    </a:lnTo>
                    <a:lnTo>
                      <a:pt x="116" y="166"/>
                    </a:lnTo>
                    <a:lnTo>
                      <a:pt x="118" y="166"/>
                    </a:lnTo>
                    <a:lnTo>
                      <a:pt x="118" y="166"/>
                    </a:lnTo>
                    <a:lnTo>
                      <a:pt x="120" y="166"/>
                    </a:lnTo>
                    <a:lnTo>
                      <a:pt x="122" y="166"/>
                    </a:lnTo>
                    <a:lnTo>
                      <a:pt x="122" y="168"/>
                    </a:lnTo>
                    <a:lnTo>
                      <a:pt x="124" y="168"/>
                    </a:lnTo>
                    <a:lnTo>
                      <a:pt x="124" y="168"/>
                    </a:lnTo>
                    <a:lnTo>
                      <a:pt x="126" y="170"/>
                    </a:lnTo>
                    <a:lnTo>
                      <a:pt x="126" y="170"/>
                    </a:lnTo>
                    <a:lnTo>
                      <a:pt x="126" y="170"/>
                    </a:lnTo>
                    <a:lnTo>
                      <a:pt x="128" y="170"/>
                    </a:lnTo>
                    <a:lnTo>
                      <a:pt x="128" y="170"/>
                    </a:lnTo>
                    <a:lnTo>
                      <a:pt x="128" y="170"/>
                    </a:lnTo>
                    <a:lnTo>
                      <a:pt x="130" y="170"/>
                    </a:lnTo>
                    <a:lnTo>
                      <a:pt x="130" y="170"/>
                    </a:lnTo>
                    <a:lnTo>
                      <a:pt x="132" y="170"/>
                    </a:lnTo>
                    <a:lnTo>
                      <a:pt x="132" y="170"/>
                    </a:lnTo>
                    <a:lnTo>
                      <a:pt x="134" y="170"/>
                    </a:lnTo>
                    <a:lnTo>
                      <a:pt x="134" y="172"/>
                    </a:lnTo>
                    <a:lnTo>
                      <a:pt x="134" y="172"/>
                    </a:lnTo>
                    <a:lnTo>
                      <a:pt x="136" y="174"/>
                    </a:lnTo>
                    <a:lnTo>
                      <a:pt x="136" y="174"/>
                    </a:lnTo>
                    <a:lnTo>
                      <a:pt x="136" y="174"/>
                    </a:lnTo>
                    <a:lnTo>
                      <a:pt x="136" y="174"/>
                    </a:lnTo>
                    <a:lnTo>
                      <a:pt x="138" y="174"/>
                    </a:lnTo>
                    <a:lnTo>
                      <a:pt x="138" y="174"/>
                    </a:lnTo>
                    <a:lnTo>
                      <a:pt x="140" y="174"/>
                    </a:lnTo>
                    <a:lnTo>
                      <a:pt x="140" y="174"/>
                    </a:lnTo>
                    <a:lnTo>
                      <a:pt x="142" y="172"/>
                    </a:lnTo>
                    <a:lnTo>
                      <a:pt x="144" y="172"/>
                    </a:lnTo>
                    <a:lnTo>
                      <a:pt x="144" y="172"/>
                    </a:lnTo>
                    <a:lnTo>
                      <a:pt x="146" y="170"/>
                    </a:lnTo>
                    <a:lnTo>
                      <a:pt x="146" y="170"/>
                    </a:lnTo>
                    <a:lnTo>
                      <a:pt x="146" y="168"/>
                    </a:lnTo>
                    <a:lnTo>
                      <a:pt x="146" y="166"/>
                    </a:lnTo>
                    <a:lnTo>
                      <a:pt x="146" y="164"/>
                    </a:lnTo>
                    <a:lnTo>
                      <a:pt x="146" y="164"/>
                    </a:lnTo>
                    <a:lnTo>
                      <a:pt x="146" y="164"/>
                    </a:lnTo>
                    <a:lnTo>
                      <a:pt x="146" y="162"/>
                    </a:lnTo>
                    <a:lnTo>
                      <a:pt x="148" y="162"/>
                    </a:lnTo>
                    <a:lnTo>
                      <a:pt x="148" y="160"/>
                    </a:lnTo>
                    <a:lnTo>
                      <a:pt x="148" y="160"/>
                    </a:lnTo>
                    <a:lnTo>
                      <a:pt x="148" y="160"/>
                    </a:lnTo>
                    <a:lnTo>
                      <a:pt x="148" y="158"/>
                    </a:lnTo>
                    <a:lnTo>
                      <a:pt x="148" y="158"/>
                    </a:lnTo>
                    <a:lnTo>
                      <a:pt x="148" y="158"/>
                    </a:lnTo>
                    <a:lnTo>
                      <a:pt x="148" y="158"/>
                    </a:lnTo>
                    <a:lnTo>
                      <a:pt x="148" y="158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21" name="Freeform 853"/>
              <p:cNvSpPr>
                <a:spLocks/>
              </p:cNvSpPr>
              <p:nvPr/>
            </p:nvSpPr>
            <p:spPr bwMode="auto">
              <a:xfrm>
                <a:off x="5093" y="2926"/>
                <a:ext cx="58" cy="40"/>
              </a:xfrm>
              <a:custGeom>
                <a:avLst/>
                <a:gdLst>
                  <a:gd name="T0" fmla="*/ 40 w 58"/>
                  <a:gd name="T1" fmla="*/ 4 h 40"/>
                  <a:gd name="T2" fmla="*/ 40 w 58"/>
                  <a:gd name="T3" fmla="*/ 8 h 40"/>
                  <a:gd name="T4" fmla="*/ 42 w 58"/>
                  <a:gd name="T5" fmla="*/ 8 h 40"/>
                  <a:gd name="T6" fmla="*/ 44 w 58"/>
                  <a:gd name="T7" fmla="*/ 10 h 40"/>
                  <a:gd name="T8" fmla="*/ 46 w 58"/>
                  <a:gd name="T9" fmla="*/ 14 h 40"/>
                  <a:gd name="T10" fmla="*/ 42 w 58"/>
                  <a:gd name="T11" fmla="*/ 16 h 40"/>
                  <a:gd name="T12" fmla="*/ 40 w 58"/>
                  <a:gd name="T13" fmla="*/ 16 h 40"/>
                  <a:gd name="T14" fmla="*/ 36 w 58"/>
                  <a:gd name="T15" fmla="*/ 18 h 40"/>
                  <a:gd name="T16" fmla="*/ 32 w 58"/>
                  <a:gd name="T17" fmla="*/ 20 h 40"/>
                  <a:gd name="T18" fmla="*/ 30 w 58"/>
                  <a:gd name="T19" fmla="*/ 20 h 40"/>
                  <a:gd name="T20" fmla="*/ 22 w 58"/>
                  <a:gd name="T21" fmla="*/ 22 h 40"/>
                  <a:gd name="T22" fmla="*/ 18 w 58"/>
                  <a:gd name="T23" fmla="*/ 22 h 40"/>
                  <a:gd name="T24" fmla="*/ 16 w 58"/>
                  <a:gd name="T25" fmla="*/ 22 h 40"/>
                  <a:gd name="T26" fmla="*/ 8 w 58"/>
                  <a:gd name="T27" fmla="*/ 28 h 40"/>
                  <a:gd name="T28" fmla="*/ 6 w 58"/>
                  <a:gd name="T29" fmla="*/ 30 h 40"/>
                  <a:gd name="T30" fmla="*/ 4 w 58"/>
                  <a:gd name="T31" fmla="*/ 30 h 40"/>
                  <a:gd name="T32" fmla="*/ 2 w 58"/>
                  <a:gd name="T33" fmla="*/ 30 h 40"/>
                  <a:gd name="T34" fmla="*/ 2 w 58"/>
                  <a:gd name="T35" fmla="*/ 32 h 40"/>
                  <a:gd name="T36" fmla="*/ 2 w 58"/>
                  <a:gd name="T37" fmla="*/ 34 h 40"/>
                  <a:gd name="T38" fmla="*/ 2 w 58"/>
                  <a:gd name="T39" fmla="*/ 36 h 40"/>
                  <a:gd name="T40" fmla="*/ 6 w 58"/>
                  <a:gd name="T41" fmla="*/ 36 h 40"/>
                  <a:gd name="T42" fmla="*/ 10 w 58"/>
                  <a:gd name="T43" fmla="*/ 38 h 40"/>
                  <a:gd name="T44" fmla="*/ 16 w 58"/>
                  <a:gd name="T45" fmla="*/ 38 h 40"/>
                  <a:gd name="T46" fmla="*/ 20 w 58"/>
                  <a:gd name="T47" fmla="*/ 38 h 40"/>
                  <a:gd name="T48" fmla="*/ 24 w 58"/>
                  <a:gd name="T49" fmla="*/ 40 h 40"/>
                  <a:gd name="T50" fmla="*/ 26 w 58"/>
                  <a:gd name="T51" fmla="*/ 40 h 40"/>
                  <a:gd name="T52" fmla="*/ 30 w 58"/>
                  <a:gd name="T53" fmla="*/ 38 h 40"/>
                  <a:gd name="T54" fmla="*/ 36 w 58"/>
                  <a:gd name="T55" fmla="*/ 36 h 40"/>
                  <a:gd name="T56" fmla="*/ 38 w 58"/>
                  <a:gd name="T57" fmla="*/ 34 h 40"/>
                  <a:gd name="T58" fmla="*/ 42 w 58"/>
                  <a:gd name="T59" fmla="*/ 34 h 40"/>
                  <a:gd name="T60" fmla="*/ 44 w 58"/>
                  <a:gd name="T61" fmla="*/ 30 h 40"/>
                  <a:gd name="T62" fmla="*/ 44 w 58"/>
                  <a:gd name="T63" fmla="*/ 30 h 40"/>
                  <a:gd name="T64" fmla="*/ 46 w 58"/>
                  <a:gd name="T65" fmla="*/ 28 h 40"/>
                  <a:gd name="T66" fmla="*/ 48 w 58"/>
                  <a:gd name="T67" fmla="*/ 28 h 40"/>
                  <a:gd name="T68" fmla="*/ 50 w 58"/>
                  <a:gd name="T69" fmla="*/ 28 h 40"/>
                  <a:gd name="T70" fmla="*/ 50 w 58"/>
                  <a:gd name="T71" fmla="*/ 26 h 40"/>
                  <a:gd name="T72" fmla="*/ 48 w 58"/>
                  <a:gd name="T73" fmla="*/ 24 h 40"/>
                  <a:gd name="T74" fmla="*/ 48 w 58"/>
                  <a:gd name="T75" fmla="*/ 22 h 40"/>
                  <a:gd name="T76" fmla="*/ 50 w 58"/>
                  <a:gd name="T77" fmla="*/ 20 h 40"/>
                  <a:gd name="T78" fmla="*/ 52 w 58"/>
                  <a:gd name="T79" fmla="*/ 20 h 40"/>
                  <a:gd name="T80" fmla="*/ 56 w 58"/>
                  <a:gd name="T81" fmla="*/ 20 h 40"/>
                  <a:gd name="T82" fmla="*/ 56 w 58"/>
                  <a:gd name="T83" fmla="*/ 20 h 40"/>
                  <a:gd name="T84" fmla="*/ 58 w 58"/>
                  <a:gd name="T85" fmla="*/ 16 h 40"/>
                  <a:gd name="T86" fmla="*/ 58 w 58"/>
                  <a:gd name="T87" fmla="*/ 12 h 40"/>
                  <a:gd name="T88" fmla="*/ 56 w 58"/>
                  <a:gd name="T89" fmla="*/ 8 h 40"/>
                  <a:gd name="T90" fmla="*/ 54 w 58"/>
                  <a:gd name="T91" fmla="*/ 4 h 40"/>
                  <a:gd name="T92" fmla="*/ 52 w 58"/>
                  <a:gd name="T93" fmla="*/ 2 h 40"/>
                  <a:gd name="T94" fmla="*/ 50 w 58"/>
                  <a:gd name="T95" fmla="*/ 0 h 40"/>
                  <a:gd name="T96" fmla="*/ 48 w 58"/>
                  <a:gd name="T97" fmla="*/ 0 h 40"/>
                  <a:gd name="T98" fmla="*/ 44 w 58"/>
                  <a:gd name="T99" fmla="*/ 2 h 40"/>
                  <a:gd name="T100" fmla="*/ 40 w 58"/>
                  <a:gd name="T101" fmla="*/ 4 h 40"/>
                  <a:gd name="T102" fmla="*/ 40 w 58"/>
                  <a:gd name="T103" fmla="*/ 4 h 40"/>
                  <a:gd name="T104" fmla="*/ 40 w 58"/>
                  <a:gd name="T105" fmla="*/ 4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58" h="40">
                    <a:moveTo>
                      <a:pt x="40" y="4"/>
                    </a:moveTo>
                    <a:lnTo>
                      <a:pt x="40" y="4"/>
                    </a:lnTo>
                    <a:lnTo>
                      <a:pt x="40" y="6"/>
                    </a:lnTo>
                    <a:lnTo>
                      <a:pt x="40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6" y="12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2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38" y="16"/>
                    </a:lnTo>
                    <a:lnTo>
                      <a:pt x="36" y="18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30" y="20"/>
                    </a:lnTo>
                    <a:lnTo>
                      <a:pt x="26" y="22"/>
                    </a:lnTo>
                    <a:lnTo>
                      <a:pt x="22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2" y="26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2" y="30"/>
                    </a:lnTo>
                    <a:lnTo>
                      <a:pt x="2" y="32"/>
                    </a:lnTo>
                    <a:lnTo>
                      <a:pt x="2" y="32"/>
                    </a:lnTo>
                    <a:lnTo>
                      <a:pt x="0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6"/>
                    </a:lnTo>
                    <a:lnTo>
                      <a:pt x="4" y="36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10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8" y="38"/>
                    </a:lnTo>
                    <a:lnTo>
                      <a:pt x="20" y="38"/>
                    </a:lnTo>
                    <a:lnTo>
                      <a:pt x="22" y="40"/>
                    </a:lnTo>
                    <a:lnTo>
                      <a:pt x="24" y="40"/>
                    </a:lnTo>
                    <a:lnTo>
                      <a:pt x="24" y="40"/>
                    </a:lnTo>
                    <a:lnTo>
                      <a:pt x="26" y="40"/>
                    </a:lnTo>
                    <a:lnTo>
                      <a:pt x="28" y="40"/>
                    </a:lnTo>
                    <a:lnTo>
                      <a:pt x="30" y="38"/>
                    </a:lnTo>
                    <a:lnTo>
                      <a:pt x="34" y="36"/>
                    </a:lnTo>
                    <a:lnTo>
                      <a:pt x="36" y="36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42" y="34"/>
                    </a:lnTo>
                    <a:lnTo>
                      <a:pt x="42" y="34"/>
                    </a:lnTo>
                    <a:lnTo>
                      <a:pt x="42" y="32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6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50" y="28"/>
                    </a:lnTo>
                    <a:lnTo>
                      <a:pt x="50" y="28"/>
                    </a:lnTo>
                    <a:lnTo>
                      <a:pt x="50" y="28"/>
                    </a:lnTo>
                    <a:lnTo>
                      <a:pt x="50" y="26"/>
                    </a:lnTo>
                    <a:lnTo>
                      <a:pt x="50" y="26"/>
                    </a:lnTo>
                    <a:lnTo>
                      <a:pt x="48" y="24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50" y="20"/>
                    </a:lnTo>
                    <a:lnTo>
                      <a:pt x="50" y="20"/>
                    </a:lnTo>
                    <a:lnTo>
                      <a:pt x="52" y="20"/>
                    </a:lnTo>
                    <a:lnTo>
                      <a:pt x="54" y="20"/>
                    </a:lnTo>
                    <a:lnTo>
                      <a:pt x="56" y="20"/>
                    </a:lnTo>
                    <a:lnTo>
                      <a:pt x="56" y="20"/>
                    </a:lnTo>
                    <a:lnTo>
                      <a:pt x="56" y="20"/>
                    </a:lnTo>
                    <a:lnTo>
                      <a:pt x="58" y="18"/>
                    </a:lnTo>
                    <a:lnTo>
                      <a:pt x="58" y="16"/>
                    </a:lnTo>
                    <a:lnTo>
                      <a:pt x="58" y="16"/>
                    </a:lnTo>
                    <a:lnTo>
                      <a:pt x="58" y="12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6"/>
                    </a:lnTo>
                    <a:lnTo>
                      <a:pt x="54" y="4"/>
                    </a:lnTo>
                    <a:lnTo>
                      <a:pt x="54" y="2"/>
                    </a:lnTo>
                    <a:lnTo>
                      <a:pt x="52" y="2"/>
                    </a:lnTo>
                    <a:lnTo>
                      <a:pt x="52" y="2"/>
                    </a:lnTo>
                    <a:lnTo>
                      <a:pt x="50" y="0"/>
                    </a:lnTo>
                    <a:lnTo>
                      <a:pt x="50" y="0"/>
                    </a:lnTo>
                    <a:lnTo>
                      <a:pt x="48" y="0"/>
                    </a:lnTo>
                    <a:lnTo>
                      <a:pt x="44" y="2"/>
                    </a:lnTo>
                    <a:lnTo>
                      <a:pt x="44" y="2"/>
                    </a:lnTo>
                    <a:lnTo>
                      <a:pt x="42" y="2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22" name="Freeform 855"/>
              <p:cNvSpPr>
                <a:spLocks/>
              </p:cNvSpPr>
              <p:nvPr/>
            </p:nvSpPr>
            <p:spPr bwMode="auto">
              <a:xfrm>
                <a:off x="5125" y="2894"/>
                <a:ext cx="36" cy="46"/>
              </a:xfrm>
              <a:custGeom>
                <a:avLst/>
                <a:gdLst>
                  <a:gd name="T0" fmla="*/ 4 w 36"/>
                  <a:gd name="T1" fmla="*/ 8 h 46"/>
                  <a:gd name="T2" fmla="*/ 10 w 36"/>
                  <a:gd name="T3" fmla="*/ 10 h 46"/>
                  <a:gd name="T4" fmla="*/ 12 w 36"/>
                  <a:gd name="T5" fmla="*/ 12 h 46"/>
                  <a:gd name="T6" fmla="*/ 20 w 36"/>
                  <a:gd name="T7" fmla="*/ 18 h 46"/>
                  <a:gd name="T8" fmla="*/ 22 w 36"/>
                  <a:gd name="T9" fmla="*/ 22 h 46"/>
                  <a:gd name="T10" fmla="*/ 28 w 36"/>
                  <a:gd name="T11" fmla="*/ 26 h 46"/>
                  <a:gd name="T12" fmla="*/ 30 w 36"/>
                  <a:gd name="T13" fmla="*/ 30 h 46"/>
                  <a:gd name="T14" fmla="*/ 30 w 36"/>
                  <a:gd name="T15" fmla="*/ 32 h 46"/>
                  <a:gd name="T16" fmla="*/ 30 w 36"/>
                  <a:gd name="T17" fmla="*/ 40 h 46"/>
                  <a:gd name="T18" fmla="*/ 30 w 36"/>
                  <a:gd name="T19" fmla="*/ 42 h 46"/>
                  <a:gd name="T20" fmla="*/ 32 w 36"/>
                  <a:gd name="T21" fmla="*/ 44 h 46"/>
                  <a:gd name="T22" fmla="*/ 34 w 36"/>
                  <a:gd name="T23" fmla="*/ 46 h 46"/>
                  <a:gd name="T24" fmla="*/ 36 w 36"/>
                  <a:gd name="T25" fmla="*/ 46 h 46"/>
                  <a:gd name="T26" fmla="*/ 36 w 36"/>
                  <a:gd name="T27" fmla="*/ 44 h 46"/>
                  <a:gd name="T28" fmla="*/ 36 w 36"/>
                  <a:gd name="T29" fmla="*/ 40 h 46"/>
                  <a:gd name="T30" fmla="*/ 36 w 36"/>
                  <a:gd name="T31" fmla="*/ 34 h 46"/>
                  <a:gd name="T32" fmla="*/ 34 w 36"/>
                  <a:gd name="T33" fmla="*/ 30 h 46"/>
                  <a:gd name="T34" fmla="*/ 30 w 36"/>
                  <a:gd name="T35" fmla="*/ 24 h 46"/>
                  <a:gd name="T36" fmla="*/ 28 w 36"/>
                  <a:gd name="T37" fmla="*/ 22 h 46"/>
                  <a:gd name="T38" fmla="*/ 24 w 36"/>
                  <a:gd name="T39" fmla="*/ 18 h 46"/>
                  <a:gd name="T40" fmla="*/ 18 w 36"/>
                  <a:gd name="T41" fmla="*/ 14 h 46"/>
                  <a:gd name="T42" fmla="*/ 16 w 36"/>
                  <a:gd name="T43" fmla="*/ 12 h 46"/>
                  <a:gd name="T44" fmla="*/ 14 w 36"/>
                  <a:gd name="T45" fmla="*/ 8 h 46"/>
                  <a:gd name="T46" fmla="*/ 8 w 36"/>
                  <a:gd name="T47" fmla="*/ 4 h 46"/>
                  <a:gd name="T48" fmla="*/ 6 w 36"/>
                  <a:gd name="T49" fmla="*/ 2 h 46"/>
                  <a:gd name="T50" fmla="*/ 4 w 36"/>
                  <a:gd name="T51" fmla="*/ 0 h 46"/>
                  <a:gd name="T52" fmla="*/ 2 w 36"/>
                  <a:gd name="T53" fmla="*/ 0 h 46"/>
                  <a:gd name="T54" fmla="*/ 0 w 36"/>
                  <a:gd name="T55" fmla="*/ 0 h 46"/>
                  <a:gd name="T56" fmla="*/ 0 w 36"/>
                  <a:gd name="T57" fmla="*/ 2 h 46"/>
                  <a:gd name="T58" fmla="*/ 4 w 36"/>
                  <a:gd name="T59" fmla="*/ 6 h 46"/>
                  <a:gd name="T60" fmla="*/ 4 w 36"/>
                  <a:gd name="T61" fmla="*/ 8 h 46"/>
                  <a:gd name="T62" fmla="*/ 4 w 36"/>
                  <a:gd name="T63" fmla="*/ 8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6" h="46">
                    <a:moveTo>
                      <a:pt x="4" y="8"/>
                    </a:moveTo>
                    <a:lnTo>
                      <a:pt x="4" y="8"/>
                    </a:lnTo>
                    <a:lnTo>
                      <a:pt x="8" y="8"/>
                    </a:lnTo>
                    <a:lnTo>
                      <a:pt x="10" y="10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8" y="16"/>
                    </a:lnTo>
                    <a:lnTo>
                      <a:pt x="20" y="18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6" y="24"/>
                    </a:lnTo>
                    <a:lnTo>
                      <a:pt x="28" y="26"/>
                    </a:lnTo>
                    <a:lnTo>
                      <a:pt x="28" y="28"/>
                    </a:lnTo>
                    <a:lnTo>
                      <a:pt x="30" y="30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0" y="36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30" y="42"/>
                    </a:lnTo>
                    <a:lnTo>
                      <a:pt x="30" y="44"/>
                    </a:lnTo>
                    <a:lnTo>
                      <a:pt x="32" y="44"/>
                    </a:lnTo>
                    <a:lnTo>
                      <a:pt x="32" y="44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6" y="46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2"/>
                    </a:lnTo>
                    <a:lnTo>
                      <a:pt x="36" y="40"/>
                    </a:lnTo>
                    <a:lnTo>
                      <a:pt x="36" y="36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4" y="30"/>
                    </a:lnTo>
                    <a:lnTo>
                      <a:pt x="34" y="26"/>
                    </a:lnTo>
                    <a:lnTo>
                      <a:pt x="30" y="24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6" y="20"/>
                    </a:lnTo>
                    <a:lnTo>
                      <a:pt x="24" y="18"/>
                    </a:lnTo>
                    <a:lnTo>
                      <a:pt x="20" y="16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6" y="12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0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4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23" name="Freeform 857"/>
              <p:cNvSpPr>
                <a:spLocks/>
              </p:cNvSpPr>
              <p:nvPr/>
            </p:nvSpPr>
            <p:spPr bwMode="auto">
              <a:xfrm>
                <a:off x="5107" y="3032"/>
                <a:ext cx="8" cy="6"/>
              </a:xfrm>
              <a:custGeom>
                <a:avLst/>
                <a:gdLst>
                  <a:gd name="T0" fmla="*/ 2 w 8"/>
                  <a:gd name="T1" fmla="*/ 4 h 6"/>
                  <a:gd name="T2" fmla="*/ 2 w 8"/>
                  <a:gd name="T3" fmla="*/ 4 h 6"/>
                  <a:gd name="T4" fmla="*/ 2 w 8"/>
                  <a:gd name="T5" fmla="*/ 4 h 6"/>
                  <a:gd name="T6" fmla="*/ 2 w 8"/>
                  <a:gd name="T7" fmla="*/ 6 h 6"/>
                  <a:gd name="T8" fmla="*/ 4 w 8"/>
                  <a:gd name="T9" fmla="*/ 4 h 6"/>
                  <a:gd name="T10" fmla="*/ 4 w 8"/>
                  <a:gd name="T11" fmla="*/ 4 h 6"/>
                  <a:gd name="T12" fmla="*/ 6 w 8"/>
                  <a:gd name="T13" fmla="*/ 4 h 6"/>
                  <a:gd name="T14" fmla="*/ 6 w 8"/>
                  <a:gd name="T15" fmla="*/ 4 h 6"/>
                  <a:gd name="T16" fmla="*/ 6 w 8"/>
                  <a:gd name="T17" fmla="*/ 2 h 6"/>
                  <a:gd name="T18" fmla="*/ 8 w 8"/>
                  <a:gd name="T19" fmla="*/ 2 h 6"/>
                  <a:gd name="T20" fmla="*/ 8 w 8"/>
                  <a:gd name="T21" fmla="*/ 0 h 6"/>
                  <a:gd name="T22" fmla="*/ 6 w 8"/>
                  <a:gd name="T23" fmla="*/ 0 h 6"/>
                  <a:gd name="T24" fmla="*/ 6 w 8"/>
                  <a:gd name="T25" fmla="*/ 0 h 6"/>
                  <a:gd name="T26" fmla="*/ 4 w 8"/>
                  <a:gd name="T27" fmla="*/ 0 h 6"/>
                  <a:gd name="T28" fmla="*/ 4 w 8"/>
                  <a:gd name="T29" fmla="*/ 0 h 6"/>
                  <a:gd name="T30" fmla="*/ 4 w 8"/>
                  <a:gd name="T31" fmla="*/ 0 h 6"/>
                  <a:gd name="T32" fmla="*/ 2 w 8"/>
                  <a:gd name="T33" fmla="*/ 0 h 6"/>
                  <a:gd name="T34" fmla="*/ 2 w 8"/>
                  <a:gd name="T35" fmla="*/ 0 h 6"/>
                  <a:gd name="T36" fmla="*/ 0 w 8"/>
                  <a:gd name="T37" fmla="*/ 2 h 6"/>
                  <a:gd name="T38" fmla="*/ 0 w 8"/>
                  <a:gd name="T39" fmla="*/ 2 h 6"/>
                  <a:gd name="T40" fmla="*/ 0 w 8"/>
                  <a:gd name="T41" fmla="*/ 4 h 6"/>
                  <a:gd name="T42" fmla="*/ 2 w 8"/>
                  <a:gd name="T43" fmla="*/ 4 h 6"/>
                  <a:gd name="T44" fmla="*/ 2 w 8"/>
                  <a:gd name="T45" fmla="*/ 4 h 6"/>
                  <a:gd name="T46" fmla="*/ 2 w 8"/>
                  <a:gd name="T47" fmla="*/ 4 h 6"/>
                  <a:gd name="T48" fmla="*/ 2 w 8"/>
                  <a:gd name="T49" fmla="*/ 4 h 6"/>
                  <a:gd name="T50" fmla="*/ 2 w 8"/>
                  <a:gd name="T51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8" h="6">
                    <a:moveTo>
                      <a:pt x="2" y="4"/>
                    </a:moveTo>
                    <a:lnTo>
                      <a:pt x="2" y="4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8" y="2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24" name="Freeform 859"/>
              <p:cNvSpPr>
                <a:spLocks/>
              </p:cNvSpPr>
              <p:nvPr/>
            </p:nvSpPr>
            <p:spPr bwMode="auto">
              <a:xfrm>
                <a:off x="5145" y="3028"/>
                <a:ext cx="6" cy="8"/>
              </a:xfrm>
              <a:custGeom>
                <a:avLst/>
                <a:gdLst>
                  <a:gd name="T0" fmla="*/ 2 w 6"/>
                  <a:gd name="T1" fmla="*/ 8 h 8"/>
                  <a:gd name="T2" fmla="*/ 2 w 6"/>
                  <a:gd name="T3" fmla="*/ 8 h 8"/>
                  <a:gd name="T4" fmla="*/ 4 w 6"/>
                  <a:gd name="T5" fmla="*/ 8 h 8"/>
                  <a:gd name="T6" fmla="*/ 4 w 6"/>
                  <a:gd name="T7" fmla="*/ 8 h 8"/>
                  <a:gd name="T8" fmla="*/ 6 w 6"/>
                  <a:gd name="T9" fmla="*/ 6 h 8"/>
                  <a:gd name="T10" fmla="*/ 6 w 6"/>
                  <a:gd name="T11" fmla="*/ 6 h 8"/>
                  <a:gd name="T12" fmla="*/ 6 w 6"/>
                  <a:gd name="T13" fmla="*/ 4 h 8"/>
                  <a:gd name="T14" fmla="*/ 4 w 6"/>
                  <a:gd name="T15" fmla="*/ 4 h 8"/>
                  <a:gd name="T16" fmla="*/ 4 w 6"/>
                  <a:gd name="T17" fmla="*/ 2 h 8"/>
                  <a:gd name="T18" fmla="*/ 4 w 6"/>
                  <a:gd name="T19" fmla="*/ 2 h 8"/>
                  <a:gd name="T20" fmla="*/ 4 w 6"/>
                  <a:gd name="T21" fmla="*/ 2 h 8"/>
                  <a:gd name="T22" fmla="*/ 2 w 6"/>
                  <a:gd name="T23" fmla="*/ 2 h 8"/>
                  <a:gd name="T24" fmla="*/ 2 w 6"/>
                  <a:gd name="T25" fmla="*/ 0 h 8"/>
                  <a:gd name="T26" fmla="*/ 0 w 6"/>
                  <a:gd name="T27" fmla="*/ 2 h 8"/>
                  <a:gd name="T28" fmla="*/ 0 w 6"/>
                  <a:gd name="T29" fmla="*/ 2 h 8"/>
                  <a:gd name="T30" fmla="*/ 0 w 6"/>
                  <a:gd name="T31" fmla="*/ 4 h 8"/>
                  <a:gd name="T32" fmla="*/ 0 w 6"/>
                  <a:gd name="T33" fmla="*/ 6 h 8"/>
                  <a:gd name="T34" fmla="*/ 0 w 6"/>
                  <a:gd name="T35" fmla="*/ 6 h 8"/>
                  <a:gd name="T36" fmla="*/ 0 w 6"/>
                  <a:gd name="T37" fmla="*/ 8 h 8"/>
                  <a:gd name="T38" fmla="*/ 2 w 6"/>
                  <a:gd name="T39" fmla="*/ 8 h 8"/>
                  <a:gd name="T40" fmla="*/ 2 w 6"/>
                  <a:gd name="T41" fmla="*/ 8 h 8"/>
                  <a:gd name="T42" fmla="*/ 2 w 6"/>
                  <a:gd name="T43" fmla="*/ 8 h 8"/>
                  <a:gd name="T44" fmla="*/ 2 w 6"/>
                  <a:gd name="T45" fmla="*/ 8 h 8"/>
                  <a:gd name="T46" fmla="*/ 2 w 6"/>
                  <a:gd name="T47" fmla="*/ 8 h 8"/>
                  <a:gd name="T48" fmla="*/ 2 w 6"/>
                  <a:gd name="T4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6" h="8">
                    <a:moveTo>
                      <a:pt x="2" y="8"/>
                    </a:move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25" name="Freeform 861"/>
              <p:cNvSpPr>
                <a:spLocks/>
              </p:cNvSpPr>
              <p:nvPr/>
            </p:nvSpPr>
            <p:spPr bwMode="auto">
              <a:xfrm>
                <a:off x="5115" y="3036"/>
                <a:ext cx="8" cy="4"/>
              </a:xfrm>
              <a:custGeom>
                <a:avLst/>
                <a:gdLst>
                  <a:gd name="T0" fmla="*/ 0 w 8"/>
                  <a:gd name="T1" fmla="*/ 2 h 4"/>
                  <a:gd name="T2" fmla="*/ 0 w 8"/>
                  <a:gd name="T3" fmla="*/ 2 h 4"/>
                  <a:gd name="T4" fmla="*/ 0 w 8"/>
                  <a:gd name="T5" fmla="*/ 4 h 4"/>
                  <a:gd name="T6" fmla="*/ 2 w 8"/>
                  <a:gd name="T7" fmla="*/ 4 h 4"/>
                  <a:gd name="T8" fmla="*/ 2 w 8"/>
                  <a:gd name="T9" fmla="*/ 4 h 4"/>
                  <a:gd name="T10" fmla="*/ 4 w 8"/>
                  <a:gd name="T11" fmla="*/ 4 h 4"/>
                  <a:gd name="T12" fmla="*/ 6 w 8"/>
                  <a:gd name="T13" fmla="*/ 4 h 4"/>
                  <a:gd name="T14" fmla="*/ 8 w 8"/>
                  <a:gd name="T15" fmla="*/ 4 h 4"/>
                  <a:gd name="T16" fmla="*/ 8 w 8"/>
                  <a:gd name="T17" fmla="*/ 4 h 4"/>
                  <a:gd name="T18" fmla="*/ 8 w 8"/>
                  <a:gd name="T19" fmla="*/ 4 h 4"/>
                  <a:gd name="T20" fmla="*/ 8 w 8"/>
                  <a:gd name="T21" fmla="*/ 4 h 4"/>
                  <a:gd name="T22" fmla="*/ 8 w 8"/>
                  <a:gd name="T23" fmla="*/ 2 h 4"/>
                  <a:gd name="T24" fmla="*/ 6 w 8"/>
                  <a:gd name="T25" fmla="*/ 2 h 4"/>
                  <a:gd name="T26" fmla="*/ 6 w 8"/>
                  <a:gd name="T27" fmla="*/ 2 h 4"/>
                  <a:gd name="T28" fmla="*/ 6 w 8"/>
                  <a:gd name="T29" fmla="*/ 2 h 4"/>
                  <a:gd name="T30" fmla="*/ 4 w 8"/>
                  <a:gd name="T31" fmla="*/ 2 h 4"/>
                  <a:gd name="T32" fmla="*/ 4 w 8"/>
                  <a:gd name="T33" fmla="*/ 2 h 4"/>
                  <a:gd name="T34" fmla="*/ 2 w 8"/>
                  <a:gd name="T35" fmla="*/ 0 h 4"/>
                  <a:gd name="T36" fmla="*/ 2 w 8"/>
                  <a:gd name="T37" fmla="*/ 2 h 4"/>
                  <a:gd name="T38" fmla="*/ 0 w 8"/>
                  <a:gd name="T39" fmla="*/ 2 h 4"/>
                  <a:gd name="T40" fmla="*/ 0 w 8"/>
                  <a:gd name="T41" fmla="*/ 2 h 4"/>
                  <a:gd name="T42" fmla="*/ 0 w 8"/>
                  <a:gd name="T43" fmla="*/ 2 h 4"/>
                  <a:gd name="T44" fmla="*/ 0 w 8"/>
                  <a:gd name="T45" fmla="*/ 2 h 4"/>
                  <a:gd name="T46" fmla="*/ 0 w 8"/>
                  <a:gd name="T47" fmla="*/ 2 h 4"/>
                  <a:gd name="T48" fmla="*/ 0 w 8"/>
                  <a:gd name="T49" fmla="*/ 2 h 4"/>
                  <a:gd name="T50" fmla="*/ 0 w 8"/>
                  <a:gd name="T51" fmla="*/ 2 h 4"/>
                  <a:gd name="T52" fmla="*/ 0 w 8"/>
                  <a:gd name="T5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8" h="4">
                    <a:moveTo>
                      <a:pt x="0" y="2"/>
                    </a:moveTo>
                    <a:lnTo>
                      <a:pt x="0" y="2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26" name="Freeform 862"/>
              <p:cNvSpPr>
                <a:spLocks/>
              </p:cNvSpPr>
              <p:nvPr/>
            </p:nvSpPr>
            <p:spPr bwMode="auto">
              <a:xfrm>
                <a:off x="5115" y="3036"/>
                <a:ext cx="8" cy="4"/>
              </a:xfrm>
              <a:custGeom>
                <a:avLst/>
                <a:gdLst>
                  <a:gd name="T0" fmla="*/ 0 w 8"/>
                  <a:gd name="T1" fmla="*/ 2 h 4"/>
                  <a:gd name="T2" fmla="*/ 0 w 8"/>
                  <a:gd name="T3" fmla="*/ 2 h 4"/>
                  <a:gd name="T4" fmla="*/ 0 w 8"/>
                  <a:gd name="T5" fmla="*/ 4 h 4"/>
                  <a:gd name="T6" fmla="*/ 2 w 8"/>
                  <a:gd name="T7" fmla="*/ 4 h 4"/>
                  <a:gd name="T8" fmla="*/ 2 w 8"/>
                  <a:gd name="T9" fmla="*/ 4 h 4"/>
                  <a:gd name="T10" fmla="*/ 4 w 8"/>
                  <a:gd name="T11" fmla="*/ 4 h 4"/>
                  <a:gd name="T12" fmla="*/ 6 w 8"/>
                  <a:gd name="T13" fmla="*/ 4 h 4"/>
                  <a:gd name="T14" fmla="*/ 8 w 8"/>
                  <a:gd name="T15" fmla="*/ 4 h 4"/>
                  <a:gd name="T16" fmla="*/ 8 w 8"/>
                  <a:gd name="T17" fmla="*/ 4 h 4"/>
                  <a:gd name="T18" fmla="*/ 8 w 8"/>
                  <a:gd name="T19" fmla="*/ 4 h 4"/>
                  <a:gd name="T20" fmla="*/ 8 w 8"/>
                  <a:gd name="T21" fmla="*/ 4 h 4"/>
                  <a:gd name="T22" fmla="*/ 8 w 8"/>
                  <a:gd name="T23" fmla="*/ 2 h 4"/>
                  <a:gd name="T24" fmla="*/ 6 w 8"/>
                  <a:gd name="T25" fmla="*/ 2 h 4"/>
                  <a:gd name="T26" fmla="*/ 6 w 8"/>
                  <a:gd name="T27" fmla="*/ 2 h 4"/>
                  <a:gd name="T28" fmla="*/ 6 w 8"/>
                  <a:gd name="T29" fmla="*/ 2 h 4"/>
                  <a:gd name="T30" fmla="*/ 4 w 8"/>
                  <a:gd name="T31" fmla="*/ 2 h 4"/>
                  <a:gd name="T32" fmla="*/ 4 w 8"/>
                  <a:gd name="T33" fmla="*/ 2 h 4"/>
                  <a:gd name="T34" fmla="*/ 2 w 8"/>
                  <a:gd name="T35" fmla="*/ 0 h 4"/>
                  <a:gd name="T36" fmla="*/ 2 w 8"/>
                  <a:gd name="T37" fmla="*/ 2 h 4"/>
                  <a:gd name="T38" fmla="*/ 0 w 8"/>
                  <a:gd name="T39" fmla="*/ 2 h 4"/>
                  <a:gd name="T40" fmla="*/ 0 w 8"/>
                  <a:gd name="T41" fmla="*/ 2 h 4"/>
                  <a:gd name="T42" fmla="*/ 0 w 8"/>
                  <a:gd name="T43" fmla="*/ 2 h 4"/>
                  <a:gd name="T44" fmla="*/ 0 w 8"/>
                  <a:gd name="T45" fmla="*/ 2 h 4"/>
                  <a:gd name="T46" fmla="*/ 0 w 8"/>
                  <a:gd name="T47" fmla="*/ 2 h 4"/>
                  <a:gd name="T48" fmla="*/ 0 w 8"/>
                  <a:gd name="T49" fmla="*/ 2 h 4"/>
                  <a:gd name="T50" fmla="*/ 0 w 8"/>
                  <a:gd name="T51" fmla="*/ 2 h 4"/>
                  <a:gd name="T52" fmla="*/ 0 w 8"/>
                  <a:gd name="T5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8" h="4">
                    <a:moveTo>
                      <a:pt x="0" y="2"/>
                    </a:moveTo>
                    <a:lnTo>
                      <a:pt x="0" y="2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27" name="Freeform 863"/>
              <p:cNvSpPr>
                <a:spLocks/>
              </p:cNvSpPr>
              <p:nvPr/>
            </p:nvSpPr>
            <p:spPr bwMode="auto">
              <a:xfrm>
                <a:off x="5117" y="3042"/>
                <a:ext cx="6" cy="6"/>
              </a:xfrm>
              <a:custGeom>
                <a:avLst/>
                <a:gdLst>
                  <a:gd name="T0" fmla="*/ 4 w 6"/>
                  <a:gd name="T1" fmla="*/ 6 h 6"/>
                  <a:gd name="T2" fmla="*/ 4 w 6"/>
                  <a:gd name="T3" fmla="*/ 6 h 6"/>
                  <a:gd name="T4" fmla="*/ 6 w 6"/>
                  <a:gd name="T5" fmla="*/ 6 h 6"/>
                  <a:gd name="T6" fmla="*/ 6 w 6"/>
                  <a:gd name="T7" fmla="*/ 6 h 6"/>
                  <a:gd name="T8" fmla="*/ 6 w 6"/>
                  <a:gd name="T9" fmla="*/ 4 h 6"/>
                  <a:gd name="T10" fmla="*/ 6 w 6"/>
                  <a:gd name="T11" fmla="*/ 4 h 6"/>
                  <a:gd name="T12" fmla="*/ 4 w 6"/>
                  <a:gd name="T13" fmla="*/ 2 h 6"/>
                  <a:gd name="T14" fmla="*/ 4 w 6"/>
                  <a:gd name="T15" fmla="*/ 2 h 6"/>
                  <a:gd name="T16" fmla="*/ 2 w 6"/>
                  <a:gd name="T17" fmla="*/ 0 h 6"/>
                  <a:gd name="T18" fmla="*/ 2 w 6"/>
                  <a:gd name="T19" fmla="*/ 0 h 6"/>
                  <a:gd name="T20" fmla="*/ 2 w 6"/>
                  <a:gd name="T21" fmla="*/ 0 h 6"/>
                  <a:gd name="T22" fmla="*/ 0 w 6"/>
                  <a:gd name="T23" fmla="*/ 2 h 6"/>
                  <a:gd name="T24" fmla="*/ 0 w 6"/>
                  <a:gd name="T25" fmla="*/ 2 h 6"/>
                  <a:gd name="T26" fmla="*/ 0 w 6"/>
                  <a:gd name="T27" fmla="*/ 4 h 6"/>
                  <a:gd name="T28" fmla="*/ 0 w 6"/>
                  <a:gd name="T29" fmla="*/ 4 h 6"/>
                  <a:gd name="T30" fmla="*/ 2 w 6"/>
                  <a:gd name="T31" fmla="*/ 6 h 6"/>
                  <a:gd name="T32" fmla="*/ 2 w 6"/>
                  <a:gd name="T33" fmla="*/ 6 h 6"/>
                  <a:gd name="T34" fmla="*/ 4 w 6"/>
                  <a:gd name="T35" fmla="*/ 6 h 6"/>
                  <a:gd name="T36" fmla="*/ 4 w 6"/>
                  <a:gd name="T37" fmla="*/ 6 h 6"/>
                  <a:gd name="T38" fmla="*/ 4 w 6"/>
                  <a:gd name="T39" fmla="*/ 6 h 6"/>
                  <a:gd name="T40" fmla="*/ 4 w 6"/>
                  <a:gd name="T41" fmla="*/ 6 h 6"/>
                  <a:gd name="T42" fmla="*/ 4 w 6"/>
                  <a:gd name="T43" fmla="*/ 6 h 6"/>
                  <a:gd name="T44" fmla="*/ 4 w 6"/>
                  <a:gd name="T4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" h="6">
                    <a:moveTo>
                      <a:pt x="4" y="6"/>
                    </a:moveTo>
                    <a:lnTo>
                      <a:pt x="4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28" name="Freeform 865"/>
              <p:cNvSpPr>
                <a:spLocks/>
              </p:cNvSpPr>
              <p:nvPr/>
            </p:nvSpPr>
            <p:spPr bwMode="auto">
              <a:xfrm>
                <a:off x="5181" y="2948"/>
                <a:ext cx="22" cy="36"/>
              </a:xfrm>
              <a:custGeom>
                <a:avLst/>
                <a:gdLst>
                  <a:gd name="T0" fmla="*/ 2 w 22"/>
                  <a:gd name="T1" fmla="*/ 12 h 36"/>
                  <a:gd name="T2" fmla="*/ 2 w 22"/>
                  <a:gd name="T3" fmla="*/ 12 h 36"/>
                  <a:gd name="T4" fmla="*/ 6 w 22"/>
                  <a:gd name="T5" fmla="*/ 18 h 36"/>
                  <a:gd name="T6" fmla="*/ 10 w 22"/>
                  <a:gd name="T7" fmla="*/ 24 h 36"/>
                  <a:gd name="T8" fmla="*/ 10 w 22"/>
                  <a:gd name="T9" fmla="*/ 24 h 36"/>
                  <a:gd name="T10" fmla="*/ 12 w 22"/>
                  <a:gd name="T11" fmla="*/ 28 h 36"/>
                  <a:gd name="T12" fmla="*/ 14 w 22"/>
                  <a:gd name="T13" fmla="*/ 30 h 36"/>
                  <a:gd name="T14" fmla="*/ 14 w 22"/>
                  <a:gd name="T15" fmla="*/ 30 h 36"/>
                  <a:gd name="T16" fmla="*/ 18 w 22"/>
                  <a:gd name="T17" fmla="*/ 34 h 36"/>
                  <a:gd name="T18" fmla="*/ 20 w 22"/>
                  <a:gd name="T19" fmla="*/ 36 h 36"/>
                  <a:gd name="T20" fmla="*/ 20 w 22"/>
                  <a:gd name="T21" fmla="*/ 36 h 36"/>
                  <a:gd name="T22" fmla="*/ 20 w 22"/>
                  <a:gd name="T23" fmla="*/ 36 h 36"/>
                  <a:gd name="T24" fmla="*/ 20 w 22"/>
                  <a:gd name="T25" fmla="*/ 36 h 36"/>
                  <a:gd name="T26" fmla="*/ 20 w 22"/>
                  <a:gd name="T27" fmla="*/ 36 h 36"/>
                  <a:gd name="T28" fmla="*/ 22 w 22"/>
                  <a:gd name="T29" fmla="*/ 36 h 36"/>
                  <a:gd name="T30" fmla="*/ 22 w 22"/>
                  <a:gd name="T31" fmla="*/ 34 h 36"/>
                  <a:gd name="T32" fmla="*/ 22 w 22"/>
                  <a:gd name="T33" fmla="*/ 30 h 36"/>
                  <a:gd name="T34" fmla="*/ 22 w 22"/>
                  <a:gd name="T35" fmla="*/ 24 h 36"/>
                  <a:gd name="T36" fmla="*/ 22 w 22"/>
                  <a:gd name="T37" fmla="*/ 22 h 36"/>
                  <a:gd name="T38" fmla="*/ 22 w 22"/>
                  <a:gd name="T39" fmla="*/ 22 h 36"/>
                  <a:gd name="T40" fmla="*/ 20 w 22"/>
                  <a:gd name="T41" fmla="*/ 18 h 36"/>
                  <a:gd name="T42" fmla="*/ 18 w 22"/>
                  <a:gd name="T43" fmla="*/ 18 h 36"/>
                  <a:gd name="T44" fmla="*/ 16 w 22"/>
                  <a:gd name="T45" fmla="*/ 16 h 36"/>
                  <a:gd name="T46" fmla="*/ 16 w 22"/>
                  <a:gd name="T47" fmla="*/ 12 h 36"/>
                  <a:gd name="T48" fmla="*/ 16 w 22"/>
                  <a:gd name="T49" fmla="*/ 12 h 36"/>
                  <a:gd name="T50" fmla="*/ 14 w 22"/>
                  <a:gd name="T51" fmla="*/ 10 h 36"/>
                  <a:gd name="T52" fmla="*/ 12 w 22"/>
                  <a:gd name="T53" fmla="*/ 6 h 36"/>
                  <a:gd name="T54" fmla="*/ 12 w 22"/>
                  <a:gd name="T55" fmla="*/ 4 h 36"/>
                  <a:gd name="T56" fmla="*/ 10 w 22"/>
                  <a:gd name="T57" fmla="*/ 2 h 36"/>
                  <a:gd name="T58" fmla="*/ 10 w 22"/>
                  <a:gd name="T59" fmla="*/ 0 h 36"/>
                  <a:gd name="T60" fmla="*/ 8 w 22"/>
                  <a:gd name="T61" fmla="*/ 0 h 36"/>
                  <a:gd name="T62" fmla="*/ 8 w 22"/>
                  <a:gd name="T63" fmla="*/ 0 h 36"/>
                  <a:gd name="T64" fmla="*/ 6 w 22"/>
                  <a:gd name="T65" fmla="*/ 0 h 36"/>
                  <a:gd name="T66" fmla="*/ 4 w 22"/>
                  <a:gd name="T67" fmla="*/ 2 h 36"/>
                  <a:gd name="T68" fmla="*/ 2 w 22"/>
                  <a:gd name="T69" fmla="*/ 2 h 36"/>
                  <a:gd name="T70" fmla="*/ 0 w 22"/>
                  <a:gd name="T71" fmla="*/ 4 h 36"/>
                  <a:gd name="T72" fmla="*/ 0 w 22"/>
                  <a:gd name="T73" fmla="*/ 6 h 36"/>
                  <a:gd name="T74" fmla="*/ 0 w 22"/>
                  <a:gd name="T75" fmla="*/ 8 h 36"/>
                  <a:gd name="T76" fmla="*/ 0 w 22"/>
                  <a:gd name="T77" fmla="*/ 10 h 36"/>
                  <a:gd name="T78" fmla="*/ 2 w 22"/>
                  <a:gd name="T79" fmla="*/ 12 h 36"/>
                  <a:gd name="T80" fmla="*/ 2 w 22"/>
                  <a:gd name="T81" fmla="*/ 12 h 36"/>
                  <a:gd name="T82" fmla="*/ 2 w 22"/>
                  <a:gd name="T83" fmla="*/ 12 h 36"/>
                  <a:gd name="T84" fmla="*/ 2 w 22"/>
                  <a:gd name="T85" fmla="*/ 12 h 36"/>
                  <a:gd name="T86" fmla="*/ 2 w 22"/>
                  <a:gd name="T87" fmla="*/ 12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2" h="36">
                    <a:moveTo>
                      <a:pt x="2" y="12"/>
                    </a:moveTo>
                    <a:lnTo>
                      <a:pt x="2" y="12"/>
                    </a:lnTo>
                    <a:lnTo>
                      <a:pt x="6" y="18"/>
                    </a:lnTo>
                    <a:lnTo>
                      <a:pt x="10" y="24"/>
                    </a:lnTo>
                    <a:lnTo>
                      <a:pt x="10" y="24"/>
                    </a:lnTo>
                    <a:lnTo>
                      <a:pt x="12" y="28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8" y="34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2" y="36"/>
                    </a:lnTo>
                    <a:lnTo>
                      <a:pt x="22" y="34"/>
                    </a:lnTo>
                    <a:lnTo>
                      <a:pt x="22" y="30"/>
                    </a:lnTo>
                    <a:lnTo>
                      <a:pt x="22" y="24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0" y="18"/>
                    </a:lnTo>
                    <a:lnTo>
                      <a:pt x="18" y="18"/>
                    </a:lnTo>
                    <a:lnTo>
                      <a:pt x="16" y="16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4" y="10"/>
                    </a:lnTo>
                    <a:lnTo>
                      <a:pt x="12" y="6"/>
                    </a:lnTo>
                    <a:lnTo>
                      <a:pt x="12" y="4"/>
                    </a:lnTo>
                    <a:lnTo>
                      <a:pt x="10" y="2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29" name="Freeform 867"/>
              <p:cNvSpPr>
                <a:spLocks/>
              </p:cNvSpPr>
              <p:nvPr/>
            </p:nvSpPr>
            <p:spPr bwMode="auto">
              <a:xfrm>
                <a:off x="3995" y="2658"/>
                <a:ext cx="36" cy="66"/>
              </a:xfrm>
              <a:custGeom>
                <a:avLst/>
                <a:gdLst>
                  <a:gd name="T0" fmla="*/ 2 w 36"/>
                  <a:gd name="T1" fmla="*/ 2 h 66"/>
                  <a:gd name="T2" fmla="*/ 2 w 36"/>
                  <a:gd name="T3" fmla="*/ 4 h 66"/>
                  <a:gd name="T4" fmla="*/ 4 w 36"/>
                  <a:gd name="T5" fmla="*/ 6 h 66"/>
                  <a:gd name="T6" fmla="*/ 4 w 36"/>
                  <a:gd name="T7" fmla="*/ 8 h 66"/>
                  <a:gd name="T8" fmla="*/ 2 w 36"/>
                  <a:gd name="T9" fmla="*/ 8 h 66"/>
                  <a:gd name="T10" fmla="*/ 0 w 36"/>
                  <a:gd name="T11" fmla="*/ 8 h 66"/>
                  <a:gd name="T12" fmla="*/ 0 w 36"/>
                  <a:gd name="T13" fmla="*/ 10 h 66"/>
                  <a:gd name="T14" fmla="*/ 0 w 36"/>
                  <a:gd name="T15" fmla="*/ 10 h 66"/>
                  <a:gd name="T16" fmla="*/ 2 w 36"/>
                  <a:gd name="T17" fmla="*/ 12 h 66"/>
                  <a:gd name="T18" fmla="*/ 6 w 36"/>
                  <a:gd name="T19" fmla="*/ 14 h 66"/>
                  <a:gd name="T20" fmla="*/ 6 w 36"/>
                  <a:gd name="T21" fmla="*/ 14 h 66"/>
                  <a:gd name="T22" fmla="*/ 4 w 36"/>
                  <a:gd name="T23" fmla="*/ 18 h 66"/>
                  <a:gd name="T24" fmla="*/ 2 w 36"/>
                  <a:gd name="T25" fmla="*/ 20 h 66"/>
                  <a:gd name="T26" fmla="*/ 2 w 36"/>
                  <a:gd name="T27" fmla="*/ 22 h 66"/>
                  <a:gd name="T28" fmla="*/ 2 w 36"/>
                  <a:gd name="T29" fmla="*/ 26 h 66"/>
                  <a:gd name="T30" fmla="*/ 4 w 36"/>
                  <a:gd name="T31" fmla="*/ 28 h 66"/>
                  <a:gd name="T32" fmla="*/ 2 w 36"/>
                  <a:gd name="T33" fmla="*/ 32 h 66"/>
                  <a:gd name="T34" fmla="*/ 2 w 36"/>
                  <a:gd name="T35" fmla="*/ 34 h 66"/>
                  <a:gd name="T36" fmla="*/ 0 w 36"/>
                  <a:gd name="T37" fmla="*/ 42 h 66"/>
                  <a:gd name="T38" fmla="*/ 2 w 36"/>
                  <a:gd name="T39" fmla="*/ 46 h 66"/>
                  <a:gd name="T40" fmla="*/ 4 w 36"/>
                  <a:gd name="T41" fmla="*/ 50 h 66"/>
                  <a:gd name="T42" fmla="*/ 6 w 36"/>
                  <a:gd name="T43" fmla="*/ 56 h 66"/>
                  <a:gd name="T44" fmla="*/ 8 w 36"/>
                  <a:gd name="T45" fmla="*/ 58 h 66"/>
                  <a:gd name="T46" fmla="*/ 10 w 36"/>
                  <a:gd name="T47" fmla="*/ 64 h 66"/>
                  <a:gd name="T48" fmla="*/ 12 w 36"/>
                  <a:gd name="T49" fmla="*/ 64 h 66"/>
                  <a:gd name="T50" fmla="*/ 14 w 36"/>
                  <a:gd name="T51" fmla="*/ 66 h 66"/>
                  <a:gd name="T52" fmla="*/ 16 w 36"/>
                  <a:gd name="T53" fmla="*/ 64 h 66"/>
                  <a:gd name="T54" fmla="*/ 20 w 36"/>
                  <a:gd name="T55" fmla="*/ 62 h 66"/>
                  <a:gd name="T56" fmla="*/ 22 w 36"/>
                  <a:gd name="T57" fmla="*/ 62 h 66"/>
                  <a:gd name="T58" fmla="*/ 26 w 36"/>
                  <a:gd name="T59" fmla="*/ 60 h 66"/>
                  <a:gd name="T60" fmla="*/ 30 w 36"/>
                  <a:gd name="T61" fmla="*/ 58 h 66"/>
                  <a:gd name="T62" fmla="*/ 32 w 36"/>
                  <a:gd name="T63" fmla="*/ 56 h 66"/>
                  <a:gd name="T64" fmla="*/ 36 w 36"/>
                  <a:gd name="T65" fmla="*/ 48 h 66"/>
                  <a:gd name="T66" fmla="*/ 36 w 36"/>
                  <a:gd name="T67" fmla="*/ 46 h 66"/>
                  <a:gd name="T68" fmla="*/ 36 w 36"/>
                  <a:gd name="T69" fmla="*/ 44 h 66"/>
                  <a:gd name="T70" fmla="*/ 32 w 36"/>
                  <a:gd name="T71" fmla="*/ 36 h 66"/>
                  <a:gd name="T72" fmla="*/ 30 w 36"/>
                  <a:gd name="T73" fmla="*/ 34 h 66"/>
                  <a:gd name="T74" fmla="*/ 30 w 36"/>
                  <a:gd name="T75" fmla="*/ 30 h 66"/>
                  <a:gd name="T76" fmla="*/ 28 w 36"/>
                  <a:gd name="T77" fmla="*/ 24 h 66"/>
                  <a:gd name="T78" fmla="*/ 28 w 36"/>
                  <a:gd name="T79" fmla="*/ 22 h 66"/>
                  <a:gd name="T80" fmla="*/ 28 w 36"/>
                  <a:gd name="T81" fmla="*/ 20 h 66"/>
                  <a:gd name="T82" fmla="*/ 26 w 36"/>
                  <a:gd name="T83" fmla="*/ 18 h 66"/>
                  <a:gd name="T84" fmla="*/ 24 w 36"/>
                  <a:gd name="T85" fmla="*/ 16 h 66"/>
                  <a:gd name="T86" fmla="*/ 18 w 36"/>
                  <a:gd name="T87" fmla="*/ 6 h 66"/>
                  <a:gd name="T88" fmla="*/ 16 w 36"/>
                  <a:gd name="T89" fmla="*/ 4 h 66"/>
                  <a:gd name="T90" fmla="*/ 12 w 36"/>
                  <a:gd name="T91" fmla="*/ 2 h 66"/>
                  <a:gd name="T92" fmla="*/ 8 w 36"/>
                  <a:gd name="T93" fmla="*/ 0 h 66"/>
                  <a:gd name="T94" fmla="*/ 6 w 36"/>
                  <a:gd name="T95" fmla="*/ 0 h 66"/>
                  <a:gd name="T96" fmla="*/ 2 w 36"/>
                  <a:gd name="T97" fmla="*/ 0 h 66"/>
                  <a:gd name="T98" fmla="*/ 2 w 36"/>
                  <a:gd name="T99" fmla="*/ 2 h 66"/>
                  <a:gd name="T100" fmla="*/ 2 w 36"/>
                  <a:gd name="T101" fmla="*/ 2 h 66"/>
                  <a:gd name="T102" fmla="*/ 2 w 36"/>
                  <a:gd name="T103" fmla="*/ 2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6" h="66">
                    <a:moveTo>
                      <a:pt x="2" y="2"/>
                    </a:moveTo>
                    <a:lnTo>
                      <a:pt x="2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2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2" y="20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6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2" y="32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0" y="40"/>
                    </a:lnTo>
                    <a:lnTo>
                      <a:pt x="0" y="42"/>
                    </a:lnTo>
                    <a:lnTo>
                      <a:pt x="2" y="46"/>
                    </a:lnTo>
                    <a:lnTo>
                      <a:pt x="2" y="46"/>
                    </a:lnTo>
                    <a:lnTo>
                      <a:pt x="2" y="48"/>
                    </a:lnTo>
                    <a:lnTo>
                      <a:pt x="4" y="50"/>
                    </a:lnTo>
                    <a:lnTo>
                      <a:pt x="6" y="52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8" y="58"/>
                    </a:lnTo>
                    <a:lnTo>
                      <a:pt x="8" y="62"/>
                    </a:lnTo>
                    <a:lnTo>
                      <a:pt x="10" y="64"/>
                    </a:lnTo>
                    <a:lnTo>
                      <a:pt x="10" y="64"/>
                    </a:lnTo>
                    <a:lnTo>
                      <a:pt x="12" y="64"/>
                    </a:lnTo>
                    <a:lnTo>
                      <a:pt x="14" y="66"/>
                    </a:lnTo>
                    <a:lnTo>
                      <a:pt x="14" y="66"/>
                    </a:lnTo>
                    <a:lnTo>
                      <a:pt x="16" y="66"/>
                    </a:lnTo>
                    <a:lnTo>
                      <a:pt x="16" y="64"/>
                    </a:lnTo>
                    <a:lnTo>
                      <a:pt x="18" y="64"/>
                    </a:lnTo>
                    <a:lnTo>
                      <a:pt x="20" y="62"/>
                    </a:lnTo>
                    <a:lnTo>
                      <a:pt x="20" y="62"/>
                    </a:lnTo>
                    <a:lnTo>
                      <a:pt x="22" y="62"/>
                    </a:lnTo>
                    <a:lnTo>
                      <a:pt x="22" y="62"/>
                    </a:lnTo>
                    <a:lnTo>
                      <a:pt x="26" y="60"/>
                    </a:lnTo>
                    <a:lnTo>
                      <a:pt x="28" y="60"/>
                    </a:lnTo>
                    <a:lnTo>
                      <a:pt x="30" y="58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4" y="50"/>
                    </a:lnTo>
                    <a:lnTo>
                      <a:pt x="36" y="48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4"/>
                    </a:lnTo>
                    <a:lnTo>
                      <a:pt x="34" y="40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0" y="34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28"/>
                    </a:lnTo>
                    <a:lnTo>
                      <a:pt x="28" y="24"/>
                    </a:lnTo>
                    <a:lnTo>
                      <a:pt x="28" y="24"/>
                    </a:lnTo>
                    <a:lnTo>
                      <a:pt x="28" y="22"/>
                    </a:lnTo>
                    <a:lnTo>
                      <a:pt x="28" y="20"/>
                    </a:lnTo>
                    <a:lnTo>
                      <a:pt x="28" y="20"/>
                    </a:lnTo>
                    <a:lnTo>
                      <a:pt x="26" y="20"/>
                    </a:lnTo>
                    <a:lnTo>
                      <a:pt x="26" y="18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0" y="12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6" y="4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30" name="Freeform 869"/>
              <p:cNvSpPr>
                <a:spLocks/>
              </p:cNvSpPr>
              <p:nvPr/>
            </p:nvSpPr>
            <p:spPr bwMode="auto">
              <a:xfrm>
                <a:off x="5211" y="2974"/>
                <a:ext cx="16" cy="22"/>
              </a:xfrm>
              <a:custGeom>
                <a:avLst/>
                <a:gdLst>
                  <a:gd name="T0" fmla="*/ 2 w 16"/>
                  <a:gd name="T1" fmla="*/ 0 h 22"/>
                  <a:gd name="T2" fmla="*/ 2 w 16"/>
                  <a:gd name="T3" fmla="*/ 0 h 22"/>
                  <a:gd name="T4" fmla="*/ 0 w 16"/>
                  <a:gd name="T5" fmla="*/ 2 h 22"/>
                  <a:gd name="T6" fmla="*/ 0 w 16"/>
                  <a:gd name="T7" fmla="*/ 2 h 22"/>
                  <a:gd name="T8" fmla="*/ 2 w 16"/>
                  <a:gd name="T9" fmla="*/ 4 h 22"/>
                  <a:gd name="T10" fmla="*/ 4 w 16"/>
                  <a:gd name="T11" fmla="*/ 8 h 22"/>
                  <a:gd name="T12" fmla="*/ 4 w 16"/>
                  <a:gd name="T13" fmla="*/ 8 h 22"/>
                  <a:gd name="T14" fmla="*/ 6 w 16"/>
                  <a:gd name="T15" fmla="*/ 12 h 22"/>
                  <a:gd name="T16" fmla="*/ 6 w 16"/>
                  <a:gd name="T17" fmla="*/ 16 h 22"/>
                  <a:gd name="T18" fmla="*/ 8 w 16"/>
                  <a:gd name="T19" fmla="*/ 16 h 22"/>
                  <a:gd name="T20" fmla="*/ 8 w 16"/>
                  <a:gd name="T21" fmla="*/ 18 h 22"/>
                  <a:gd name="T22" fmla="*/ 10 w 16"/>
                  <a:gd name="T23" fmla="*/ 20 h 22"/>
                  <a:gd name="T24" fmla="*/ 12 w 16"/>
                  <a:gd name="T25" fmla="*/ 22 h 22"/>
                  <a:gd name="T26" fmla="*/ 12 w 16"/>
                  <a:gd name="T27" fmla="*/ 22 h 22"/>
                  <a:gd name="T28" fmla="*/ 12 w 16"/>
                  <a:gd name="T29" fmla="*/ 22 h 22"/>
                  <a:gd name="T30" fmla="*/ 14 w 16"/>
                  <a:gd name="T31" fmla="*/ 22 h 22"/>
                  <a:gd name="T32" fmla="*/ 14 w 16"/>
                  <a:gd name="T33" fmla="*/ 20 h 22"/>
                  <a:gd name="T34" fmla="*/ 16 w 16"/>
                  <a:gd name="T35" fmla="*/ 20 h 22"/>
                  <a:gd name="T36" fmla="*/ 16 w 16"/>
                  <a:gd name="T37" fmla="*/ 18 h 22"/>
                  <a:gd name="T38" fmla="*/ 16 w 16"/>
                  <a:gd name="T39" fmla="*/ 16 h 22"/>
                  <a:gd name="T40" fmla="*/ 16 w 16"/>
                  <a:gd name="T41" fmla="*/ 14 h 22"/>
                  <a:gd name="T42" fmla="*/ 16 w 16"/>
                  <a:gd name="T43" fmla="*/ 14 h 22"/>
                  <a:gd name="T44" fmla="*/ 16 w 16"/>
                  <a:gd name="T45" fmla="*/ 12 h 22"/>
                  <a:gd name="T46" fmla="*/ 14 w 16"/>
                  <a:gd name="T47" fmla="*/ 12 h 22"/>
                  <a:gd name="T48" fmla="*/ 12 w 16"/>
                  <a:gd name="T49" fmla="*/ 10 h 22"/>
                  <a:gd name="T50" fmla="*/ 12 w 16"/>
                  <a:gd name="T51" fmla="*/ 10 h 22"/>
                  <a:gd name="T52" fmla="*/ 12 w 16"/>
                  <a:gd name="T53" fmla="*/ 8 h 22"/>
                  <a:gd name="T54" fmla="*/ 10 w 16"/>
                  <a:gd name="T55" fmla="*/ 6 h 22"/>
                  <a:gd name="T56" fmla="*/ 8 w 16"/>
                  <a:gd name="T57" fmla="*/ 4 h 22"/>
                  <a:gd name="T58" fmla="*/ 6 w 16"/>
                  <a:gd name="T59" fmla="*/ 2 h 22"/>
                  <a:gd name="T60" fmla="*/ 6 w 16"/>
                  <a:gd name="T61" fmla="*/ 2 h 22"/>
                  <a:gd name="T62" fmla="*/ 6 w 16"/>
                  <a:gd name="T63" fmla="*/ 2 h 22"/>
                  <a:gd name="T64" fmla="*/ 4 w 16"/>
                  <a:gd name="T65" fmla="*/ 0 h 22"/>
                  <a:gd name="T66" fmla="*/ 2 w 16"/>
                  <a:gd name="T67" fmla="*/ 0 h 22"/>
                  <a:gd name="T68" fmla="*/ 2 w 16"/>
                  <a:gd name="T69" fmla="*/ 0 h 22"/>
                  <a:gd name="T70" fmla="*/ 2 w 16"/>
                  <a:gd name="T71" fmla="*/ 0 h 22"/>
                  <a:gd name="T72" fmla="*/ 2 w 16"/>
                  <a:gd name="T73" fmla="*/ 0 h 22"/>
                  <a:gd name="T74" fmla="*/ 2 w 16"/>
                  <a:gd name="T75" fmla="*/ 0 h 22"/>
                  <a:gd name="T76" fmla="*/ 2 w 16"/>
                  <a:gd name="T77" fmla="*/ 0 h 22"/>
                  <a:gd name="T78" fmla="*/ 2 w 16"/>
                  <a:gd name="T79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6" h="22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12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8"/>
                    </a:lnTo>
                    <a:lnTo>
                      <a:pt x="10" y="20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4" y="22"/>
                    </a:lnTo>
                    <a:lnTo>
                      <a:pt x="14" y="20"/>
                    </a:lnTo>
                    <a:lnTo>
                      <a:pt x="16" y="20"/>
                    </a:lnTo>
                    <a:lnTo>
                      <a:pt x="16" y="18"/>
                    </a:lnTo>
                    <a:lnTo>
                      <a:pt x="16" y="16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2"/>
                    </a:lnTo>
                    <a:lnTo>
                      <a:pt x="14" y="12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8"/>
                    </a:lnTo>
                    <a:lnTo>
                      <a:pt x="10" y="6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31" name="Freeform 871"/>
              <p:cNvSpPr>
                <a:spLocks/>
              </p:cNvSpPr>
              <p:nvPr/>
            </p:nvSpPr>
            <p:spPr bwMode="auto">
              <a:xfrm>
                <a:off x="5251" y="3088"/>
                <a:ext cx="12" cy="12"/>
              </a:xfrm>
              <a:custGeom>
                <a:avLst/>
                <a:gdLst>
                  <a:gd name="T0" fmla="*/ 0 w 12"/>
                  <a:gd name="T1" fmla="*/ 0 h 12"/>
                  <a:gd name="T2" fmla="*/ 0 w 12"/>
                  <a:gd name="T3" fmla="*/ 0 h 12"/>
                  <a:gd name="T4" fmla="*/ 0 w 12"/>
                  <a:gd name="T5" fmla="*/ 2 h 12"/>
                  <a:gd name="T6" fmla="*/ 2 w 12"/>
                  <a:gd name="T7" fmla="*/ 2 h 12"/>
                  <a:gd name="T8" fmla="*/ 2 w 12"/>
                  <a:gd name="T9" fmla="*/ 6 h 12"/>
                  <a:gd name="T10" fmla="*/ 4 w 12"/>
                  <a:gd name="T11" fmla="*/ 8 h 12"/>
                  <a:gd name="T12" fmla="*/ 6 w 12"/>
                  <a:gd name="T13" fmla="*/ 10 h 12"/>
                  <a:gd name="T14" fmla="*/ 6 w 12"/>
                  <a:gd name="T15" fmla="*/ 10 h 12"/>
                  <a:gd name="T16" fmla="*/ 8 w 12"/>
                  <a:gd name="T17" fmla="*/ 12 h 12"/>
                  <a:gd name="T18" fmla="*/ 8 w 12"/>
                  <a:gd name="T19" fmla="*/ 12 h 12"/>
                  <a:gd name="T20" fmla="*/ 10 w 12"/>
                  <a:gd name="T21" fmla="*/ 12 h 12"/>
                  <a:gd name="T22" fmla="*/ 10 w 12"/>
                  <a:gd name="T23" fmla="*/ 10 h 12"/>
                  <a:gd name="T24" fmla="*/ 10 w 12"/>
                  <a:gd name="T25" fmla="*/ 10 h 12"/>
                  <a:gd name="T26" fmla="*/ 10 w 12"/>
                  <a:gd name="T27" fmla="*/ 10 h 12"/>
                  <a:gd name="T28" fmla="*/ 12 w 12"/>
                  <a:gd name="T29" fmla="*/ 8 h 12"/>
                  <a:gd name="T30" fmla="*/ 10 w 12"/>
                  <a:gd name="T31" fmla="*/ 6 h 12"/>
                  <a:gd name="T32" fmla="*/ 10 w 12"/>
                  <a:gd name="T33" fmla="*/ 6 h 12"/>
                  <a:gd name="T34" fmla="*/ 10 w 12"/>
                  <a:gd name="T35" fmla="*/ 4 h 12"/>
                  <a:gd name="T36" fmla="*/ 10 w 12"/>
                  <a:gd name="T37" fmla="*/ 2 h 12"/>
                  <a:gd name="T38" fmla="*/ 10 w 12"/>
                  <a:gd name="T39" fmla="*/ 0 h 12"/>
                  <a:gd name="T40" fmla="*/ 8 w 12"/>
                  <a:gd name="T41" fmla="*/ 0 h 12"/>
                  <a:gd name="T42" fmla="*/ 6 w 12"/>
                  <a:gd name="T43" fmla="*/ 0 h 12"/>
                  <a:gd name="T44" fmla="*/ 6 w 12"/>
                  <a:gd name="T45" fmla="*/ 0 h 12"/>
                  <a:gd name="T46" fmla="*/ 4 w 12"/>
                  <a:gd name="T47" fmla="*/ 0 h 12"/>
                  <a:gd name="T48" fmla="*/ 0 w 12"/>
                  <a:gd name="T49" fmla="*/ 0 h 12"/>
                  <a:gd name="T50" fmla="*/ 0 w 12"/>
                  <a:gd name="T51" fmla="*/ 0 h 12"/>
                  <a:gd name="T52" fmla="*/ 0 w 12"/>
                  <a:gd name="T53" fmla="*/ 0 h 12"/>
                  <a:gd name="T54" fmla="*/ 0 w 12"/>
                  <a:gd name="T55" fmla="*/ 0 h 12"/>
                  <a:gd name="T56" fmla="*/ 0 w 12"/>
                  <a:gd name="T57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2" h="1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0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8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10" y="2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32" name="Freeform 873"/>
              <p:cNvSpPr>
                <a:spLocks/>
              </p:cNvSpPr>
              <p:nvPr/>
            </p:nvSpPr>
            <p:spPr bwMode="auto">
              <a:xfrm>
                <a:off x="5239" y="3000"/>
                <a:ext cx="22" cy="28"/>
              </a:xfrm>
              <a:custGeom>
                <a:avLst/>
                <a:gdLst>
                  <a:gd name="T0" fmla="*/ 0 w 22"/>
                  <a:gd name="T1" fmla="*/ 0 h 28"/>
                  <a:gd name="T2" fmla="*/ 0 w 22"/>
                  <a:gd name="T3" fmla="*/ 0 h 28"/>
                  <a:gd name="T4" fmla="*/ 0 w 22"/>
                  <a:gd name="T5" fmla="*/ 2 h 28"/>
                  <a:gd name="T6" fmla="*/ 0 w 22"/>
                  <a:gd name="T7" fmla="*/ 4 h 28"/>
                  <a:gd name="T8" fmla="*/ 2 w 22"/>
                  <a:gd name="T9" fmla="*/ 6 h 28"/>
                  <a:gd name="T10" fmla="*/ 2 w 22"/>
                  <a:gd name="T11" fmla="*/ 8 h 28"/>
                  <a:gd name="T12" fmla="*/ 4 w 22"/>
                  <a:gd name="T13" fmla="*/ 12 h 28"/>
                  <a:gd name="T14" fmla="*/ 8 w 22"/>
                  <a:gd name="T15" fmla="*/ 14 h 28"/>
                  <a:gd name="T16" fmla="*/ 8 w 22"/>
                  <a:gd name="T17" fmla="*/ 14 h 28"/>
                  <a:gd name="T18" fmla="*/ 10 w 22"/>
                  <a:gd name="T19" fmla="*/ 16 h 28"/>
                  <a:gd name="T20" fmla="*/ 12 w 22"/>
                  <a:gd name="T21" fmla="*/ 20 h 28"/>
                  <a:gd name="T22" fmla="*/ 12 w 22"/>
                  <a:gd name="T23" fmla="*/ 20 h 28"/>
                  <a:gd name="T24" fmla="*/ 14 w 22"/>
                  <a:gd name="T25" fmla="*/ 24 h 28"/>
                  <a:gd name="T26" fmla="*/ 16 w 22"/>
                  <a:gd name="T27" fmla="*/ 26 h 28"/>
                  <a:gd name="T28" fmla="*/ 16 w 22"/>
                  <a:gd name="T29" fmla="*/ 26 h 28"/>
                  <a:gd name="T30" fmla="*/ 16 w 22"/>
                  <a:gd name="T31" fmla="*/ 26 h 28"/>
                  <a:gd name="T32" fmla="*/ 18 w 22"/>
                  <a:gd name="T33" fmla="*/ 28 h 28"/>
                  <a:gd name="T34" fmla="*/ 20 w 22"/>
                  <a:gd name="T35" fmla="*/ 28 h 28"/>
                  <a:gd name="T36" fmla="*/ 20 w 22"/>
                  <a:gd name="T37" fmla="*/ 26 h 28"/>
                  <a:gd name="T38" fmla="*/ 22 w 22"/>
                  <a:gd name="T39" fmla="*/ 26 h 28"/>
                  <a:gd name="T40" fmla="*/ 22 w 22"/>
                  <a:gd name="T41" fmla="*/ 26 h 28"/>
                  <a:gd name="T42" fmla="*/ 22 w 22"/>
                  <a:gd name="T43" fmla="*/ 24 h 28"/>
                  <a:gd name="T44" fmla="*/ 22 w 22"/>
                  <a:gd name="T45" fmla="*/ 24 h 28"/>
                  <a:gd name="T46" fmla="*/ 22 w 22"/>
                  <a:gd name="T47" fmla="*/ 22 h 28"/>
                  <a:gd name="T48" fmla="*/ 20 w 22"/>
                  <a:gd name="T49" fmla="*/ 18 h 28"/>
                  <a:gd name="T50" fmla="*/ 20 w 22"/>
                  <a:gd name="T51" fmla="*/ 18 h 28"/>
                  <a:gd name="T52" fmla="*/ 20 w 22"/>
                  <a:gd name="T53" fmla="*/ 14 h 28"/>
                  <a:gd name="T54" fmla="*/ 20 w 22"/>
                  <a:gd name="T55" fmla="*/ 14 h 28"/>
                  <a:gd name="T56" fmla="*/ 18 w 22"/>
                  <a:gd name="T57" fmla="*/ 12 h 28"/>
                  <a:gd name="T58" fmla="*/ 18 w 22"/>
                  <a:gd name="T59" fmla="*/ 12 h 28"/>
                  <a:gd name="T60" fmla="*/ 14 w 22"/>
                  <a:gd name="T61" fmla="*/ 10 h 28"/>
                  <a:gd name="T62" fmla="*/ 10 w 22"/>
                  <a:gd name="T63" fmla="*/ 6 h 28"/>
                  <a:gd name="T64" fmla="*/ 4 w 22"/>
                  <a:gd name="T65" fmla="*/ 2 h 28"/>
                  <a:gd name="T66" fmla="*/ 2 w 22"/>
                  <a:gd name="T67" fmla="*/ 2 h 28"/>
                  <a:gd name="T68" fmla="*/ 0 w 22"/>
                  <a:gd name="T69" fmla="*/ 0 h 28"/>
                  <a:gd name="T70" fmla="*/ 0 w 22"/>
                  <a:gd name="T71" fmla="*/ 0 h 28"/>
                  <a:gd name="T72" fmla="*/ 0 w 22"/>
                  <a:gd name="T73" fmla="*/ 0 h 28"/>
                  <a:gd name="T74" fmla="*/ 0 w 22"/>
                  <a:gd name="T75" fmla="*/ 0 h 28"/>
                  <a:gd name="T76" fmla="*/ 0 w 22"/>
                  <a:gd name="T77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2" h="28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8"/>
                    </a:lnTo>
                    <a:lnTo>
                      <a:pt x="4" y="12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0" y="16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4" y="24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8" y="28"/>
                    </a:lnTo>
                    <a:lnTo>
                      <a:pt x="20" y="28"/>
                    </a:lnTo>
                    <a:lnTo>
                      <a:pt x="20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2" y="22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4" y="10"/>
                    </a:lnTo>
                    <a:lnTo>
                      <a:pt x="10" y="6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33" name="Freeform 875"/>
              <p:cNvSpPr>
                <a:spLocks/>
              </p:cNvSpPr>
              <p:nvPr/>
            </p:nvSpPr>
            <p:spPr bwMode="auto">
              <a:xfrm>
                <a:off x="5221" y="3010"/>
                <a:ext cx="10" cy="16"/>
              </a:xfrm>
              <a:custGeom>
                <a:avLst/>
                <a:gdLst>
                  <a:gd name="T0" fmla="*/ 0 w 10"/>
                  <a:gd name="T1" fmla="*/ 8 h 16"/>
                  <a:gd name="T2" fmla="*/ 0 w 10"/>
                  <a:gd name="T3" fmla="*/ 8 h 16"/>
                  <a:gd name="T4" fmla="*/ 2 w 10"/>
                  <a:gd name="T5" fmla="*/ 10 h 16"/>
                  <a:gd name="T6" fmla="*/ 2 w 10"/>
                  <a:gd name="T7" fmla="*/ 12 h 16"/>
                  <a:gd name="T8" fmla="*/ 4 w 10"/>
                  <a:gd name="T9" fmla="*/ 14 h 16"/>
                  <a:gd name="T10" fmla="*/ 6 w 10"/>
                  <a:gd name="T11" fmla="*/ 16 h 16"/>
                  <a:gd name="T12" fmla="*/ 6 w 10"/>
                  <a:gd name="T13" fmla="*/ 16 h 16"/>
                  <a:gd name="T14" fmla="*/ 8 w 10"/>
                  <a:gd name="T15" fmla="*/ 16 h 16"/>
                  <a:gd name="T16" fmla="*/ 10 w 10"/>
                  <a:gd name="T17" fmla="*/ 16 h 16"/>
                  <a:gd name="T18" fmla="*/ 10 w 10"/>
                  <a:gd name="T19" fmla="*/ 16 h 16"/>
                  <a:gd name="T20" fmla="*/ 10 w 10"/>
                  <a:gd name="T21" fmla="*/ 14 h 16"/>
                  <a:gd name="T22" fmla="*/ 10 w 10"/>
                  <a:gd name="T23" fmla="*/ 14 h 16"/>
                  <a:gd name="T24" fmla="*/ 10 w 10"/>
                  <a:gd name="T25" fmla="*/ 12 h 16"/>
                  <a:gd name="T26" fmla="*/ 10 w 10"/>
                  <a:gd name="T27" fmla="*/ 12 h 16"/>
                  <a:gd name="T28" fmla="*/ 6 w 10"/>
                  <a:gd name="T29" fmla="*/ 4 h 16"/>
                  <a:gd name="T30" fmla="*/ 6 w 10"/>
                  <a:gd name="T31" fmla="*/ 4 h 16"/>
                  <a:gd name="T32" fmla="*/ 4 w 10"/>
                  <a:gd name="T33" fmla="*/ 2 h 16"/>
                  <a:gd name="T34" fmla="*/ 4 w 10"/>
                  <a:gd name="T35" fmla="*/ 2 h 16"/>
                  <a:gd name="T36" fmla="*/ 2 w 10"/>
                  <a:gd name="T37" fmla="*/ 0 h 16"/>
                  <a:gd name="T38" fmla="*/ 2 w 10"/>
                  <a:gd name="T39" fmla="*/ 0 h 16"/>
                  <a:gd name="T40" fmla="*/ 2 w 10"/>
                  <a:gd name="T41" fmla="*/ 0 h 16"/>
                  <a:gd name="T42" fmla="*/ 0 w 10"/>
                  <a:gd name="T43" fmla="*/ 2 h 16"/>
                  <a:gd name="T44" fmla="*/ 0 w 10"/>
                  <a:gd name="T45" fmla="*/ 2 h 16"/>
                  <a:gd name="T46" fmla="*/ 0 w 10"/>
                  <a:gd name="T47" fmla="*/ 4 h 16"/>
                  <a:gd name="T48" fmla="*/ 0 w 10"/>
                  <a:gd name="T49" fmla="*/ 6 h 16"/>
                  <a:gd name="T50" fmla="*/ 0 w 10"/>
                  <a:gd name="T51" fmla="*/ 8 h 16"/>
                  <a:gd name="T52" fmla="*/ 0 w 10"/>
                  <a:gd name="T53" fmla="*/ 8 h 16"/>
                  <a:gd name="T54" fmla="*/ 0 w 10"/>
                  <a:gd name="T55" fmla="*/ 8 h 16"/>
                  <a:gd name="T56" fmla="*/ 0 w 10"/>
                  <a:gd name="T57" fmla="*/ 8 h 16"/>
                  <a:gd name="T58" fmla="*/ 0 w 10"/>
                  <a:gd name="T59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0" h="16">
                    <a:moveTo>
                      <a:pt x="0" y="8"/>
                    </a:moveTo>
                    <a:lnTo>
                      <a:pt x="0" y="8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34" name="Freeform 877"/>
              <p:cNvSpPr>
                <a:spLocks/>
              </p:cNvSpPr>
              <p:nvPr/>
            </p:nvSpPr>
            <p:spPr bwMode="auto">
              <a:xfrm>
                <a:off x="5247" y="3032"/>
                <a:ext cx="10" cy="16"/>
              </a:xfrm>
              <a:custGeom>
                <a:avLst/>
                <a:gdLst>
                  <a:gd name="T0" fmla="*/ 8 w 10"/>
                  <a:gd name="T1" fmla="*/ 16 h 16"/>
                  <a:gd name="T2" fmla="*/ 8 w 10"/>
                  <a:gd name="T3" fmla="*/ 16 h 16"/>
                  <a:gd name="T4" fmla="*/ 8 w 10"/>
                  <a:gd name="T5" fmla="*/ 16 h 16"/>
                  <a:gd name="T6" fmla="*/ 10 w 10"/>
                  <a:gd name="T7" fmla="*/ 16 h 16"/>
                  <a:gd name="T8" fmla="*/ 10 w 10"/>
                  <a:gd name="T9" fmla="*/ 16 h 16"/>
                  <a:gd name="T10" fmla="*/ 10 w 10"/>
                  <a:gd name="T11" fmla="*/ 14 h 16"/>
                  <a:gd name="T12" fmla="*/ 10 w 10"/>
                  <a:gd name="T13" fmla="*/ 12 h 16"/>
                  <a:gd name="T14" fmla="*/ 10 w 10"/>
                  <a:gd name="T15" fmla="*/ 10 h 16"/>
                  <a:gd name="T16" fmla="*/ 10 w 10"/>
                  <a:gd name="T17" fmla="*/ 10 h 16"/>
                  <a:gd name="T18" fmla="*/ 8 w 10"/>
                  <a:gd name="T19" fmla="*/ 6 h 16"/>
                  <a:gd name="T20" fmla="*/ 6 w 10"/>
                  <a:gd name="T21" fmla="*/ 2 h 16"/>
                  <a:gd name="T22" fmla="*/ 6 w 10"/>
                  <a:gd name="T23" fmla="*/ 0 h 16"/>
                  <a:gd name="T24" fmla="*/ 4 w 10"/>
                  <a:gd name="T25" fmla="*/ 0 h 16"/>
                  <a:gd name="T26" fmla="*/ 4 w 10"/>
                  <a:gd name="T27" fmla="*/ 0 h 16"/>
                  <a:gd name="T28" fmla="*/ 2 w 10"/>
                  <a:gd name="T29" fmla="*/ 0 h 16"/>
                  <a:gd name="T30" fmla="*/ 2 w 10"/>
                  <a:gd name="T31" fmla="*/ 0 h 16"/>
                  <a:gd name="T32" fmla="*/ 2 w 10"/>
                  <a:gd name="T33" fmla="*/ 2 h 16"/>
                  <a:gd name="T34" fmla="*/ 2 w 10"/>
                  <a:gd name="T35" fmla="*/ 2 h 16"/>
                  <a:gd name="T36" fmla="*/ 0 w 10"/>
                  <a:gd name="T37" fmla="*/ 4 h 16"/>
                  <a:gd name="T38" fmla="*/ 0 w 10"/>
                  <a:gd name="T39" fmla="*/ 6 h 16"/>
                  <a:gd name="T40" fmla="*/ 2 w 10"/>
                  <a:gd name="T41" fmla="*/ 6 h 16"/>
                  <a:gd name="T42" fmla="*/ 2 w 10"/>
                  <a:gd name="T43" fmla="*/ 10 h 16"/>
                  <a:gd name="T44" fmla="*/ 2 w 10"/>
                  <a:gd name="T45" fmla="*/ 12 h 16"/>
                  <a:gd name="T46" fmla="*/ 4 w 10"/>
                  <a:gd name="T47" fmla="*/ 14 h 16"/>
                  <a:gd name="T48" fmla="*/ 6 w 10"/>
                  <a:gd name="T49" fmla="*/ 16 h 16"/>
                  <a:gd name="T50" fmla="*/ 8 w 10"/>
                  <a:gd name="T51" fmla="*/ 16 h 16"/>
                  <a:gd name="T52" fmla="*/ 8 w 10"/>
                  <a:gd name="T53" fmla="*/ 16 h 16"/>
                  <a:gd name="T54" fmla="*/ 8 w 10"/>
                  <a:gd name="T55" fmla="*/ 16 h 16"/>
                  <a:gd name="T56" fmla="*/ 8 w 10"/>
                  <a:gd name="T57" fmla="*/ 16 h 16"/>
                  <a:gd name="T58" fmla="*/ 8 w 10"/>
                  <a:gd name="T59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0" h="16">
                    <a:moveTo>
                      <a:pt x="8" y="16"/>
                    </a:moveTo>
                    <a:lnTo>
                      <a:pt x="8" y="16"/>
                    </a:lnTo>
                    <a:lnTo>
                      <a:pt x="8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0" y="14"/>
                    </a:lnTo>
                    <a:lnTo>
                      <a:pt x="10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8" y="6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6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35" name="Freeform 879"/>
              <p:cNvSpPr>
                <a:spLocks/>
              </p:cNvSpPr>
              <p:nvPr/>
            </p:nvSpPr>
            <p:spPr bwMode="auto">
              <a:xfrm>
                <a:off x="5271" y="3026"/>
                <a:ext cx="10" cy="22"/>
              </a:xfrm>
              <a:custGeom>
                <a:avLst/>
                <a:gdLst>
                  <a:gd name="T0" fmla="*/ 2 w 10"/>
                  <a:gd name="T1" fmla="*/ 10 h 22"/>
                  <a:gd name="T2" fmla="*/ 2 w 10"/>
                  <a:gd name="T3" fmla="*/ 10 h 22"/>
                  <a:gd name="T4" fmla="*/ 2 w 10"/>
                  <a:gd name="T5" fmla="*/ 12 h 22"/>
                  <a:gd name="T6" fmla="*/ 4 w 10"/>
                  <a:gd name="T7" fmla="*/ 16 h 22"/>
                  <a:gd name="T8" fmla="*/ 4 w 10"/>
                  <a:gd name="T9" fmla="*/ 18 h 22"/>
                  <a:gd name="T10" fmla="*/ 6 w 10"/>
                  <a:gd name="T11" fmla="*/ 20 h 22"/>
                  <a:gd name="T12" fmla="*/ 6 w 10"/>
                  <a:gd name="T13" fmla="*/ 20 h 22"/>
                  <a:gd name="T14" fmla="*/ 6 w 10"/>
                  <a:gd name="T15" fmla="*/ 20 h 22"/>
                  <a:gd name="T16" fmla="*/ 8 w 10"/>
                  <a:gd name="T17" fmla="*/ 22 h 22"/>
                  <a:gd name="T18" fmla="*/ 8 w 10"/>
                  <a:gd name="T19" fmla="*/ 22 h 22"/>
                  <a:gd name="T20" fmla="*/ 10 w 10"/>
                  <a:gd name="T21" fmla="*/ 22 h 22"/>
                  <a:gd name="T22" fmla="*/ 10 w 10"/>
                  <a:gd name="T23" fmla="*/ 20 h 22"/>
                  <a:gd name="T24" fmla="*/ 10 w 10"/>
                  <a:gd name="T25" fmla="*/ 18 h 22"/>
                  <a:gd name="T26" fmla="*/ 10 w 10"/>
                  <a:gd name="T27" fmla="*/ 18 h 22"/>
                  <a:gd name="T28" fmla="*/ 10 w 10"/>
                  <a:gd name="T29" fmla="*/ 14 h 22"/>
                  <a:gd name="T30" fmla="*/ 10 w 10"/>
                  <a:gd name="T31" fmla="*/ 12 h 22"/>
                  <a:gd name="T32" fmla="*/ 10 w 10"/>
                  <a:gd name="T33" fmla="*/ 12 h 22"/>
                  <a:gd name="T34" fmla="*/ 10 w 10"/>
                  <a:gd name="T35" fmla="*/ 12 h 22"/>
                  <a:gd name="T36" fmla="*/ 8 w 10"/>
                  <a:gd name="T37" fmla="*/ 8 h 22"/>
                  <a:gd name="T38" fmla="*/ 6 w 10"/>
                  <a:gd name="T39" fmla="*/ 6 h 22"/>
                  <a:gd name="T40" fmla="*/ 6 w 10"/>
                  <a:gd name="T41" fmla="*/ 6 h 22"/>
                  <a:gd name="T42" fmla="*/ 4 w 10"/>
                  <a:gd name="T43" fmla="*/ 4 h 22"/>
                  <a:gd name="T44" fmla="*/ 2 w 10"/>
                  <a:gd name="T45" fmla="*/ 0 h 22"/>
                  <a:gd name="T46" fmla="*/ 2 w 10"/>
                  <a:gd name="T47" fmla="*/ 0 h 22"/>
                  <a:gd name="T48" fmla="*/ 0 w 10"/>
                  <a:gd name="T49" fmla="*/ 0 h 22"/>
                  <a:gd name="T50" fmla="*/ 0 w 10"/>
                  <a:gd name="T51" fmla="*/ 0 h 22"/>
                  <a:gd name="T52" fmla="*/ 0 w 10"/>
                  <a:gd name="T53" fmla="*/ 0 h 22"/>
                  <a:gd name="T54" fmla="*/ 0 w 10"/>
                  <a:gd name="T55" fmla="*/ 0 h 22"/>
                  <a:gd name="T56" fmla="*/ 0 w 10"/>
                  <a:gd name="T57" fmla="*/ 4 h 22"/>
                  <a:gd name="T58" fmla="*/ 0 w 10"/>
                  <a:gd name="T59" fmla="*/ 6 h 22"/>
                  <a:gd name="T60" fmla="*/ 2 w 10"/>
                  <a:gd name="T61" fmla="*/ 8 h 22"/>
                  <a:gd name="T62" fmla="*/ 2 w 10"/>
                  <a:gd name="T63" fmla="*/ 10 h 22"/>
                  <a:gd name="T64" fmla="*/ 2 w 10"/>
                  <a:gd name="T65" fmla="*/ 10 h 22"/>
                  <a:gd name="T66" fmla="*/ 2 w 10"/>
                  <a:gd name="T67" fmla="*/ 10 h 22"/>
                  <a:gd name="T68" fmla="*/ 2 w 10"/>
                  <a:gd name="T69" fmla="*/ 10 h 22"/>
                  <a:gd name="T70" fmla="*/ 2 w 10"/>
                  <a:gd name="T71" fmla="*/ 1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0" h="22">
                    <a:moveTo>
                      <a:pt x="2" y="10"/>
                    </a:moveTo>
                    <a:lnTo>
                      <a:pt x="2" y="10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4" y="18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10" y="22"/>
                    </a:lnTo>
                    <a:lnTo>
                      <a:pt x="10" y="20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4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8" y="8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4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1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36" name="Freeform 881"/>
              <p:cNvSpPr>
                <a:spLocks/>
              </p:cNvSpPr>
              <p:nvPr/>
            </p:nvSpPr>
            <p:spPr bwMode="auto">
              <a:xfrm>
                <a:off x="5277" y="3062"/>
                <a:ext cx="12" cy="14"/>
              </a:xfrm>
              <a:custGeom>
                <a:avLst/>
                <a:gdLst>
                  <a:gd name="T0" fmla="*/ 8 w 12"/>
                  <a:gd name="T1" fmla="*/ 0 h 14"/>
                  <a:gd name="T2" fmla="*/ 8 w 12"/>
                  <a:gd name="T3" fmla="*/ 0 h 14"/>
                  <a:gd name="T4" fmla="*/ 4 w 12"/>
                  <a:gd name="T5" fmla="*/ 0 h 14"/>
                  <a:gd name="T6" fmla="*/ 2 w 12"/>
                  <a:gd name="T7" fmla="*/ 0 h 14"/>
                  <a:gd name="T8" fmla="*/ 0 w 12"/>
                  <a:gd name="T9" fmla="*/ 0 h 14"/>
                  <a:gd name="T10" fmla="*/ 0 w 12"/>
                  <a:gd name="T11" fmla="*/ 0 h 14"/>
                  <a:gd name="T12" fmla="*/ 0 w 12"/>
                  <a:gd name="T13" fmla="*/ 0 h 14"/>
                  <a:gd name="T14" fmla="*/ 0 w 12"/>
                  <a:gd name="T15" fmla="*/ 2 h 14"/>
                  <a:gd name="T16" fmla="*/ 0 w 12"/>
                  <a:gd name="T17" fmla="*/ 2 h 14"/>
                  <a:gd name="T18" fmla="*/ 0 w 12"/>
                  <a:gd name="T19" fmla="*/ 4 h 14"/>
                  <a:gd name="T20" fmla="*/ 2 w 12"/>
                  <a:gd name="T21" fmla="*/ 6 h 14"/>
                  <a:gd name="T22" fmla="*/ 4 w 12"/>
                  <a:gd name="T23" fmla="*/ 8 h 14"/>
                  <a:gd name="T24" fmla="*/ 4 w 12"/>
                  <a:gd name="T25" fmla="*/ 8 h 14"/>
                  <a:gd name="T26" fmla="*/ 8 w 12"/>
                  <a:gd name="T27" fmla="*/ 12 h 14"/>
                  <a:gd name="T28" fmla="*/ 10 w 12"/>
                  <a:gd name="T29" fmla="*/ 14 h 14"/>
                  <a:gd name="T30" fmla="*/ 12 w 12"/>
                  <a:gd name="T31" fmla="*/ 14 h 14"/>
                  <a:gd name="T32" fmla="*/ 12 w 12"/>
                  <a:gd name="T33" fmla="*/ 14 h 14"/>
                  <a:gd name="T34" fmla="*/ 12 w 12"/>
                  <a:gd name="T35" fmla="*/ 12 h 14"/>
                  <a:gd name="T36" fmla="*/ 12 w 12"/>
                  <a:gd name="T37" fmla="*/ 10 h 14"/>
                  <a:gd name="T38" fmla="*/ 10 w 12"/>
                  <a:gd name="T39" fmla="*/ 6 h 14"/>
                  <a:gd name="T40" fmla="*/ 10 w 12"/>
                  <a:gd name="T41" fmla="*/ 2 h 14"/>
                  <a:gd name="T42" fmla="*/ 8 w 12"/>
                  <a:gd name="T43" fmla="*/ 0 h 14"/>
                  <a:gd name="T44" fmla="*/ 8 w 12"/>
                  <a:gd name="T45" fmla="*/ 0 h 14"/>
                  <a:gd name="T46" fmla="*/ 8 w 12"/>
                  <a:gd name="T47" fmla="*/ 0 h 14"/>
                  <a:gd name="T48" fmla="*/ 8 w 12"/>
                  <a:gd name="T4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2" h="14">
                    <a:moveTo>
                      <a:pt x="8" y="0"/>
                    </a:moveTo>
                    <a:lnTo>
                      <a:pt x="8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12"/>
                    </a:lnTo>
                    <a:lnTo>
                      <a:pt x="10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2"/>
                    </a:lnTo>
                    <a:lnTo>
                      <a:pt x="12" y="10"/>
                    </a:lnTo>
                    <a:lnTo>
                      <a:pt x="10" y="6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37" name="Freeform 883"/>
              <p:cNvSpPr>
                <a:spLocks/>
              </p:cNvSpPr>
              <p:nvPr/>
            </p:nvSpPr>
            <p:spPr bwMode="auto">
              <a:xfrm>
                <a:off x="5371" y="3272"/>
                <a:ext cx="4" cy="4"/>
              </a:xfrm>
              <a:custGeom>
                <a:avLst/>
                <a:gdLst>
                  <a:gd name="T0" fmla="*/ 2 w 4"/>
                  <a:gd name="T1" fmla="*/ 4 h 4"/>
                  <a:gd name="T2" fmla="*/ 2 w 4"/>
                  <a:gd name="T3" fmla="*/ 4 h 4"/>
                  <a:gd name="T4" fmla="*/ 2 w 4"/>
                  <a:gd name="T5" fmla="*/ 4 h 4"/>
                  <a:gd name="T6" fmla="*/ 4 w 4"/>
                  <a:gd name="T7" fmla="*/ 4 h 4"/>
                  <a:gd name="T8" fmla="*/ 4 w 4"/>
                  <a:gd name="T9" fmla="*/ 4 h 4"/>
                  <a:gd name="T10" fmla="*/ 4 w 4"/>
                  <a:gd name="T11" fmla="*/ 4 h 4"/>
                  <a:gd name="T12" fmla="*/ 4 w 4"/>
                  <a:gd name="T13" fmla="*/ 4 h 4"/>
                  <a:gd name="T14" fmla="*/ 4 w 4"/>
                  <a:gd name="T15" fmla="*/ 2 h 4"/>
                  <a:gd name="T16" fmla="*/ 4 w 4"/>
                  <a:gd name="T17" fmla="*/ 2 h 4"/>
                  <a:gd name="T18" fmla="*/ 4 w 4"/>
                  <a:gd name="T19" fmla="*/ 2 h 4"/>
                  <a:gd name="T20" fmla="*/ 2 w 4"/>
                  <a:gd name="T21" fmla="*/ 0 h 4"/>
                  <a:gd name="T22" fmla="*/ 2 w 4"/>
                  <a:gd name="T23" fmla="*/ 0 h 4"/>
                  <a:gd name="T24" fmla="*/ 2 w 4"/>
                  <a:gd name="T25" fmla="*/ 0 h 4"/>
                  <a:gd name="T26" fmla="*/ 0 w 4"/>
                  <a:gd name="T27" fmla="*/ 2 h 4"/>
                  <a:gd name="T28" fmla="*/ 0 w 4"/>
                  <a:gd name="T29" fmla="*/ 2 h 4"/>
                  <a:gd name="T30" fmla="*/ 0 w 4"/>
                  <a:gd name="T31" fmla="*/ 4 h 4"/>
                  <a:gd name="T32" fmla="*/ 0 w 4"/>
                  <a:gd name="T33" fmla="*/ 4 h 4"/>
                  <a:gd name="T34" fmla="*/ 2 w 4"/>
                  <a:gd name="T35" fmla="*/ 4 h 4"/>
                  <a:gd name="T36" fmla="*/ 2 w 4"/>
                  <a:gd name="T37" fmla="*/ 4 h 4"/>
                  <a:gd name="T38" fmla="*/ 2 w 4"/>
                  <a:gd name="T39" fmla="*/ 4 h 4"/>
                  <a:gd name="T40" fmla="*/ 2 w 4"/>
                  <a:gd name="T41" fmla="*/ 4 h 4"/>
                  <a:gd name="T42" fmla="*/ 2 w 4"/>
                  <a:gd name="T4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" h="4">
                    <a:moveTo>
                      <a:pt x="2" y="4"/>
                    </a:moveTo>
                    <a:lnTo>
                      <a:pt x="2" y="4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38" name="Freeform 885"/>
              <p:cNvSpPr>
                <a:spLocks/>
              </p:cNvSpPr>
              <p:nvPr/>
            </p:nvSpPr>
            <p:spPr bwMode="auto">
              <a:xfrm>
                <a:off x="5353" y="3160"/>
                <a:ext cx="10" cy="20"/>
              </a:xfrm>
              <a:custGeom>
                <a:avLst/>
                <a:gdLst>
                  <a:gd name="T0" fmla="*/ 0 w 10"/>
                  <a:gd name="T1" fmla="*/ 10 h 20"/>
                  <a:gd name="T2" fmla="*/ 0 w 10"/>
                  <a:gd name="T3" fmla="*/ 10 h 20"/>
                  <a:gd name="T4" fmla="*/ 2 w 10"/>
                  <a:gd name="T5" fmla="*/ 12 h 20"/>
                  <a:gd name="T6" fmla="*/ 2 w 10"/>
                  <a:gd name="T7" fmla="*/ 16 h 20"/>
                  <a:gd name="T8" fmla="*/ 2 w 10"/>
                  <a:gd name="T9" fmla="*/ 18 h 20"/>
                  <a:gd name="T10" fmla="*/ 2 w 10"/>
                  <a:gd name="T11" fmla="*/ 20 h 20"/>
                  <a:gd name="T12" fmla="*/ 4 w 10"/>
                  <a:gd name="T13" fmla="*/ 20 h 20"/>
                  <a:gd name="T14" fmla="*/ 4 w 10"/>
                  <a:gd name="T15" fmla="*/ 20 h 20"/>
                  <a:gd name="T16" fmla="*/ 4 w 10"/>
                  <a:gd name="T17" fmla="*/ 20 h 20"/>
                  <a:gd name="T18" fmla="*/ 6 w 10"/>
                  <a:gd name="T19" fmla="*/ 20 h 20"/>
                  <a:gd name="T20" fmla="*/ 6 w 10"/>
                  <a:gd name="T21" fmla="*/ 18 h 20"/>
                  <a:gd name="T22" fmla="*/ 8 w 10"/>
                  <a:gd name="T23" fmla="*/ 16 h 20"/>
                  <a:gd name="T24" fmla="*/ 10 w 10"/>
                  <a:gd name="T25" fmla="*/ 12 h 20"/>
                  <a:gd name="T26" fmla="*/ 10 w 10"/>
                  <a:gd name="T27" fmla="*/ 10 h 20"/>
                  <a:gd name="T28" fmla="*/ 10 w 10"/>
                  <a:gd name="T29" fmla="*/ 10 h 20"/>
                  <a:gd name="T30" fmla="*/ 10 w 10"/>
                  <a:gd name="T31" fmla="*/ 8 h 20"/>
                  <a:gd name="T32" fmla="*/ 8 w 10"/>
                  <a:gd name="T33" fmla="*/ 4 h 20"/>
                  <a:gd name="T34" fmla="*/ 6 w 10"/>
                  <a:gd name="T35" fmla="*/ 2 h 20"/>
                  <a:gd name="T36" fmla="*/ 6 w 10"/>
                  <a:gd name="T37" fmla="*/ 2 h 20"/>
                  <a:gd name="T38" fmla="*/ 4 w 10"/>
                  <a:gd name="T39" fmla="*/ 0 h 20"/>
                  <a:gd name="T40" fmla="*/ 4 w 10"/>
                  <a:gd name="T41" fmla="*/ 0 h 20"/>
                  <a:gd name="T42" fmla="*/ 4 w 10"/>
                  <a:gd name="T43" fmla="*/ 0 h 20"/>
                  <a:gd name="T44" fmla="*/ 2 w 10"/>
                  <a:gd name="T45" fmla="*/ 0 h 20"/>
                  <a:gd name="T46" fmla="*/ 2 w 10"/>
                  <a:gd name="T47" fmla="*/ 0 h 20"/>
                  <a:gd name="T48" fmla="*/ 2 w 10"/>
                  <a:gd name="T49" fmla="*/ 2 h 20"/>
                  <a:gd name="T50" fmla="*/ 0 w 10"/>
                  <a:gd name="T51" fmla="*/ 4 h 20"/>
                  <a:gd name="T52" fmla="*/ 0 w 10"/>
                  <a:gd name="T53" fmla="*/ 6 h 20"/>
                  <a:gd name="T54" fmla="*/ 0 w 10"/>
                  <a:gd name="T55" fmla="*/ 10 h 20"/>
                  <a:gd name="T56" fmla="*/ 0 w 10"/>
                  <a:gd name="T57" fmla="*/ 10 h 20"/>
                  <a:gd name="T58" fmla="*/ 0 w 10"/>
                  <a:gd name="T59" fmla="*/ 10 h 20"/>
                  <a:gd name="T60" fmla="*/ 0 w 10"/>
                  <a:gd name="T61" fmla="*/ 10 h 20"/>
                  <a:gd name="T62" fmla="*/ 0 w 10"/>
                  <a:gd name="T63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" h="20">
                    <a:moveTo>
                      <a:pt x="0" y="10"/>
                    </a:moveTo>
                    <a:lnTo>
                      <a:pt x="0" y="10"/>
                    </a:lnTo>
                    <a:lnTo>
                      <a:pt x="2" y="12"/>
                    </a:lnTo>
                    <a:lnTo>
                      <a:pt x="2" y="16"/>
                    </a:lnTo>
                    <a:lnTo>
                      <a:pt x="2" y="18"/>
                    </a:lnTo>
                    <a:lnTo>
                      <a:pt x="2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6" y="20"/>
                    </a:lnTo>
                    <a:lnTo>
                      <a:pt x="6" y="18"/>
                    </a:lnTo>
                    <a:lnTo>
                      <a:pt x="8" y="16"/>
                    </a:lnTo>
                    <a:lnTo>
                      <a:pt x="10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0" y="8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39" name="Freeform 887"/>
              <p:cNvSpPr>
                <a:spLocks/>
              </p:cNvSpPr>
              <p:nvPr/>
            </p:nvSpPr>
            <p:spPr bwMode="auto">
              <a:xfrm>
                <a:off x="5361" y="3186"/>
                <a:ext cx="8" cy="8"/>
              </a:xfrm>
              <a:custGeom>
                <a:avLst/>
                <a:gdLst>
                  <a:gd name="T0" fmla="*/ 0 w 8"/>
                  <a:gd name="T1" fmla="*/ 0 h 8"/>
                  <a:gd name="T2" fmla="*/ 0 w 8"/>
                  <a:gd name="T3" fmla="*/ 0 h 8"/>
                  <a:gd name="T4" fmla="*/ 0 w 8"/>
                  <a:gd name="T5" fmla="*/ 2 h 8"/>
                  <a:gd name="T6" fmla="*/ 2 w 8"/>
                  <a:gd name="T7" fmla="*/ 4 h 8"/>
                  <a:gd name="T8" fmla="*/ 2 w 8"/>
                  <a:gd name="T9" fmla="*/ 6 h 8"/>
                  <a:gd name="T10" fmla="*/ 2 w 8"/>
                  <a:gd name="T11" fmla="*/ 6 h 8"/>
                  <a:gd name="T12" fmla="*/ 4 w 8"/>
                  <a:gd name="T13" fmla="*/ 6 h 8"/>
                  <a:gd name="T14" fmla="*/ 6 w 8"/>
                  <a:gd name="T15" fmla="*/ 8 h 8"/>
                  <a:gd name="T16" fmla="*/ 6 w 8"/>
                  <a:gd name="T17" fmla="*/ 8 h 8"/>
                  <a:gd name="T18" fmla="*/ 6 w 8"/>
                  <a:gd name="T19" fmla="*/ 8 h 8"/>
                  <a:gd name="T20" fmla="*/ 8 w 8"/>
                  <a:gd name="T21" fmla="*/ 6 h 8"/>
                  <a:gd name="T22" fmla="*/ 8 w 8"/>
                  <a:gd name="T23" fmla="*/ 6 h 8"/>
                  <a:gd name="T24" fmla="*/ 8 w 8"/>
                  <a:gd name="T25" fmla="*/ 6 h 8"/>
                  <a:gd name="T26" fmla="*/ 8 w 8"/>
                  <a:gd name="T27" fmla="*/ 4 h 8"/>
                  <a:gd name="T28" fmla="*/ 6 w 8"/>
                  <a:gd name="T29" fmla="*/ 2 h 8"/>
                  <a:gd name="T30" fmla="*/ 6 w 8"/>
                  <a:gd name="T31" fmla="*/ 0 h 8"/>
                  <a:gd name="T32" fmla="*/ 4 w 8"/>
                  <a:gd name="T33" fmla="*/ 0 h 8"/>
                  <a:gd name="T34" fmla="*/ 2 w 8"/>
                  <a:gd name="T35" fmla="*/ 0 h 8"/>
                  <a:gd name="T36" fmla="*/ 2 w 8"/>
                  <a:gd name="T37" fmla="*/ 0 h 8"/>
                  <a:gd name="T38" fmla="*/ 0 w 8"/>
                  <a:gd name="T39" fmla="*/ 0 h 8"/>
                  <a:gd name="T40" fmla="*/ 0 w 8"/>
                  <a:gd name="T41" fmla="*/ 0 h 8"/>
                  <a:gd name="T42" fmla="*/ 0 w 8"/>
                  <a:gd name="T43" fmla="*/ 0 h 8"/>
                  <a:gd name="T44" fmla="*/ 0 w 8"/>
                  <a:gd name="T45" fmla="*/ 0 h 8"/>
                  <a:gd name="T46" fmla="*/ 0 w 8"/>
                  <a:gd name="T47" fmla="*/ 0 h 8"/>
                  <a:gd name="T48" fmla="*/ 0 w 8"/>
                  <a:gd name="T4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8" h="8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40" name="Freeform 889"/>
              <p:cNvSpPr>
                <a:spLocks/>
              </p:cNvSpPr>
              <p:nvPr/>
            </p:nvSpPr>
            <p:spPr bwMode="auto">
              <a:xfrm>
                <a:off x="5373" y="3198"/>
                <a:ext cx="6" cy="6"/>
              </a:xfrm>
              <a:custGeom>
                <a:avLst/>
                <a:gdLst>
                  <a:gd name="T0" fmla="*/ 2 w 6"/>
                  <a:gd name="T1" fmla="*/ 6 h 6"/>
                  <a:gd name="T2" fmla="*/ 2 w 6"/>
                  <a:gd name="T3" fmla="*/ 6 h 6"/>
                  <a:gd name="T4" fmla="*/ 2 w 6"/>
                  <a:gd name="T5" fmla="*/ 6 h 6"/>
                  <a:gd name="T6" fmla="*/ 4 w 6"/>
                  <a:gd name="T7" fmla="*/ 6 h 6"/>
                  <a:gd name="T8" fmla="*/ 4 w 6"/>
                  <a:gd name="T9" fmla="*/ 6 h 6"/>
                  <a:gd name="T10" fmla="*/ 6 w 6"/>
                  <a:gd name="T11" fmla="*/ 6 h 6"/>
                  <a:gd name="T12" fmla="*/ 6 w 6"/>
                  <a:gd name="T13" fmla="*/ 4 h 6"/>
                  <a:gd name="T14" fmla="*/ 6 w 6"/>
                  <a:gd name="T15" fmla="*/ 2 h 6"/>
                  <a:gd name="T16" fmla="*/ 4 w 6"/>
                  <a:gd name="T17" fmla="*/ 2 h 6"/>
                  <a:gd name="T18" fmla="*/ 4 w 6"/>
                  <a:gd name="T19" fmla="*/ 0 h 6"/>
                  <a:gd name="T20" fmla="*/ 4 w 6"/>
                  <a:gd name="T21" fmla="*/ 0 h 6"/>
                  <a:gd name="T22" fmla="*/ 2 w 6"/>
                  <a:gd name="T23" fmla="*/ 0 h 6"/>
                  <a:gd name="T24" fmla="*/ 2 w 6"/>
                  <a:gd name="T25" fmla="*/ 0 h 6"/>
                  <a:gd name="T26" fmla="*/ 2 w 6"/>
                  <a:gd name="T27" fmla="*/ 0 h 6"/>
                  <a:gd name="T28" fmla="*/ 0 w 6"/>
                  <a:gd name="T29" fmla="*/ 2 h 6"/>
                  <a:gd name="T30" fmla="*/ 0 w 6"/>
                  <a:gd name="T31" fmla="*/ 2 h 6"/>
                  <a:gd name="T32" fmla="*/ 0 w 6"/>
                  <a:gd name="T33" fmla="*/ 4 h 6"/>
                  <a:gd name="T34" fmla="*/ 0 w 6"/>
                  <a:gd name="T35" fmla="*/ 6 h 6"/>
                  <a:gd name="T36" fmla="*/ 2 w 6"/>
                  <a:gd name="T37" fmla="*/ 6 h 6"/>
                  <a:gd name="T38" fmla="*/ 2 w 6"/>
                  <a:gd name="T39" fmla="*/ 6 h 6"/>
                  <a:gd name="T40" fmla="*/ 2 w 6"/>
                  <a:gd name="T41" fmla="*/ 6 h 6"/>
                  <a:gd name="T42" fmla="*/ 2 w 6"/>
                  <a:gd name="T43" fmla="*/ 6 h 6"/>
                  <a:gd name="T44" fmla="*/ 2 w 6"/>
                  <a:gd name="T4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" h="6">
                    <a:moveTo>
                      <a:pt x="2" y="6"/>
                    </a:move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41" name="Freeform 891"/>
              <p:cNvSpPr>
                <a:spLocks/>
              </p:cNvSpPr>
              <p:nvPr/>
            </p:nvSpPr>
            <p:spPr bwMode="auto">
              <a:xfrm>
                <a:off x="5367" y="3240"/>
                <a:ext cx="8" cy="10"/>
              </a:xfrm>
              <a:custGeom>
                <a:avLst/>
                <a:gdLst>
                  <a:gd name="T0" fmla="*/ 4 w 8"/>
                  <a:gd name="T1" fmla="*/ 10 h 10"/>
                  <a:gd name="T2" fmla="*/ 4 w 8"/>
                  <a:gd name="T3" fmla="*/ 10 h 10"/>
                  <a:gd name="T4" fmla="*/ 6 w 8"/>
                  <a:gd name="T5" fmla="*/ 10 h 10"/>
                  <a:gd name="T6" fmla="*/ 6 w 8"/>
                  <a:gd name="T7" fmla="*/ 8 h 10"/>
                  <a:gd name="T8" fmla="*/ 8 w 8"/>
                  <a:gd name="T9" fmla="*/ 8 h 10"/>
                  <a:gd name="T10" fmla="*/ 8 w 8"/>
                  <a:gd name="T11" fmla="*/ 6 h 10"/>
                  <a:gd name="T12" fmla="*/ 8 w 8"/>
                  <a:gd name="T13" fmla="*/ 6 h 10"/>
                  <a:gd name="T14" fmla="*/ 8 w 8"/>
                  <a:gd name="T15" fmla="*/ 4 h 10"/>
                  <a:gd name="T16" fmla="*/ 6 w 8"/>
                  <a:gd name="T17" fmla="*/ 2 h 10"/>
                  <a:gd name="T18" fmla="*/ 6 w 8"/>
                  <a:gd name="T19" fmla="*/ 0 h 10"/>
                  <a:gd name="T20" fmla="*/ 4 w 8"/>
                  <a:gd name="T21" fmla="*/ 0 h 10"/>
                  <a:gd name="T22" fmla="*/ 4 w 8"/>
                  <a:gd name="T23" fmla="*/ 0 h 10"/>
                  <a:gd name="T24" fmla="*/ 2 w 8"/>
                  <a:gd name="T25" fmla="*/ 2 h 10"/>
                  <a:gd name="T26" fmla="*/ 2 w 8"/>
                  <a:gd name="T27" fmla="*/ 2 h 10"/>
                  <a:gd name="T28" fmla="*/ 2 w 8"/>
                  <a:gd name="T29" fmla="*/ 2 h 10"/>
                  <a:gd name="T30" fmla="*/ 2 w 8"/>
                  <a:gd name="T31" fmla="*/ 4 h 10"/>
                  <a:gd name="T32" fmla="*/ 0 w 8"/>
                  <a:gd name="T33" fmla="*/ 4 h 10"/>
                  <a:gd name="T34" fmla="*/ 0 w 8"/>
                  <a:gd name="T35" fmla="*/ 6 h 10"/>
                  <a:gd name="T36" fmla="*/ 2 w 8"/>
                  <a:gd name="T37" fmla="*/ 8 h 10"/>
                  <a:gd name="T38" fmla="*/ 2 w 8"/>
                  <a:gd name="T39" fmla="*/ 8 h 10"/>
                  <a:gd name="T40" fmla="*/ 2 w 8"/>
                  <a:gd name="T41" fmla="*/ 8 h 10"/>
                  <a:gd name="T42" fmla="*/ 4 w 8"/>
                  <a:gd name="T43" fmla="*/ 10 h 10"/>
                  <a:gd name="T44" fmla="*/ 4 w 8"/>
                  <a:gd name="T45" fmla="*/ 10 h 10"/>
                  <a:gd name="T46" fmla="*/ 4 w 8"/>
                  <a:gd name="T47" fmla="*/ 10 h 10"/>
                  <a:gd name="T48" fmla="*/ 4 w 8"/>
                  <a:gd name="T49" fmla="*/ 10 h 10"/>
                  <a:gd name="T50" fmla="*/ 4 w 8"/>
                  <a:gd name="T51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8" h="10">
                    <a:moveTo>
                      <a:pt x="4" y="10"/>
                    </a:moveTo>
                    <a:lnTo>
                      <a:pt x="4" y="10"/>
                    </a:lnTo>
                    <a:lnTo>
                      <a:pt x="6" y="10"/>
                    </a:lnTo>
                    <a:lnTo>
                      <a:pt x="6" y="8"/>
                    </a:lnTo>
                    <a:lnTo>
                      <a:pt x="8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42" name="Freeform 893"/>
              <p:cNvSpPr>
                <a:spLocks/>
              </p:cNvSpPr>
              <p:nvPr/>
            </p:nvSpPr>
            <p:spPr bwMode="auto">
              <a:xfrm>
                <a:off x="5371" y="3254"/>
                <a:ext cx="6" cy="10"/>
              </a:xfrm>
              <a:custGeom>
                <a:avLst/>
                <a:gdLst>
                  <a:gd name="T0" fmla="*/ 2 w 6"/>
                  <a:gd name="T1" fmla="*/ 8 h 10"/>
                  <a:gd name="T2" fmla="*/ 2 w 6"/>
                  <a:gd name="T3" fmla="*/ 8 h 10"/>
                  <a:gd name="T4" fmla="*/ 2 w 6"/>
                  <a:gd name="T5" fmla="*/ 10 h 10"/>
                  <a:gd name="T6" fmla="*/ 4 w 6"/>
                  <a:gd name="T7" fmla="*/ 10 h 10"/>
                  <a:gd name="T8" fmla="*/ 4 w 6"/>
                  <a:gd name="T9" fmla="*/ 10 h 10"/>
                  <a:gd name="T10" fmla="*/ 4 w 6"/>
                  <a:gd name="T11" fmla="*/ 8 h 10"/>
                  <a:gd name="T12" fmla="*/ 6 w 6"/>
                  <a:gd name="T13" fmla="*/ 6 h 10"/>
                  <a:gd name="T14" fmla="*/ 6 w 6"/>
                  <a:gd name="T15" fmla="*/ 4 h 10"/>
                  <a:gd name="T16" fmla="*/ 6 w 6"/>
                  <a:gd name="T17" fmla="*/ 4 h 10"/>
                  <a:gd name="T18" fmla="*/ 4 w 6"/>
                  <a:gd name="T19" fmla="*/ 2 h 10"/>
                  <a:gd name="T20" fmla="*/ 4 w 6"/>
                  <a:gd name="T21" fmla="*/ 0 h 10"/>
                  <a:gd name="T22" fmla="*/ 4 w 6"/>
                  <a:gd name="T23" fmla="*/ 0 h 10"/>
                  <a:gd name="T24" fmla="*/ 2 w 6"/>
                  <a:gd name="T25" fmla="*/ 0 h 10"/>
                  <a:gd name="T26" fmla="*/ 2 w 6"/>
                  <a:gd name="T27" fmla="*/ 0 h 10"/>
                  <a:gd name="T28" fmla="*/ 2 w 6"/>
                  <a:gd name="T29" fmla="*/ 2 h 10"/>
                  <a:gd name="T30" fmla="*/ 2 w 6"/>
                  <a:gd name="T31" fmla="*/ 2 h 10"/>
                  <a:gd name="T32" fmla="*/ 0 w 6"/>
                  <a:gd name="T33" fmla="*/ 2 h 10"/>
                  <a:gd name="T34" fmla="*/ 0 w 6"/>
                  <a:gd name="T35" fmla="*/ 2 h 10"/>
                  <a:gd name="T36" fmla="*/ 0 w 6"/>
                  <a:gd name="T37" fmla="*/ 4 h 10"/>
                  <a:gd name="T38" fmla="*/ 2 w 6"/>
                  <a:gd name="T39" fmla="*/ 6 h 10"/>
                  <a:gd name="T40" fmla="*/ 2 w 6"/>
                  <a:gd name="T41" fmla="*/ 8 h 10"/>
                  <a:gd name="T42" fmla="*/ 2 w 6"/>
                  <a:gd name="T43" fmla="*/ 8 h 10"/>
                  <a:gd name="T44" fmla="*/ 2 w 6"/>
                  <a:gd name="T45" fmla="*/ 8 h 10"/>
                  <a:gd name="T46" fmla="*/ 2 w 6"/>
                  <a:gd name="T47" fmla="*/ 8 h 10"/>
                  <a:gd name="T48" fmla="*/ 2 w 6"/>
                  <a:gd name="T49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6" h="10">
                    <a:moveTo>
                      <a:pt x="2" y="8"/>
                    </a:moveTo>
                    <a:lnTo>
                      <a:pt x="2" y="8"/>
                    </a:lnTo>
                    <a:lnTo>
                      <a:pt x="2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8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43" name="Freeform 896"/>
              <p:cNvSpPr>
                <a:spLocks/>
              </p:cNvSpPr>
              <p:nvPr/>
            </p:nvSpPr>
            <p:spPr bwMode="auto">
              <a:xfrm>
                <a:off x="5509" y="3248"/>
                <a:ext cx="24" cy="24"/>
              </a:xfrm>
              <a:custGeom>
                <a:avLst/>
                <a:gdLst>
                  <a:gd name="T0" fmla="*/ 2 w 24"/>
                  <a:gd name="T1" fmla="*/ 6 h 24"/>
                  <a:gd name="T2" fmla="*/ 2 w 24"/>
                  <a:gd name="T3" fmla="*/ 6 h 24"/>
                  <a:gd name="T4" fmla="*/ 2 w 24"/>
                  <a:gd name="T5" fmla="*/ 6 h 24"/>
                  <a:gd name="T6" fmla="*/ 0 w 24"/>
                  <a:gd name="T7" fmla="*/ 8 h 24"/>
                  <a:gd name="T8" fmla="*/ 0 w 24"/>
                  <a:gd name="T9" fmla="*/ 10 h 24"/>
                  <a:gd name="T10" fmla="*/ 0 w 24"/>
                  <a:gd name="T11" fmla="*/ 12 h 24"/>
                  <a:gd name="T12" fmla="*/ 0 w 24"/>
                  <a:gd name="T13" fmla="*/ 14 h 24"/>
                  <a:gd name="T14" fmla="*/ 0 w 24"/>
                  <a:gd name="T15" fmla="*/ 16 h 24"/>
                  <a:gd name="T16" fmla="*/ 2 w 24"/>
                  <a:gd name="T17" fmla="*/ 18 h 24"/>
                  <a:gd name="T18" fmla="*/ 2 w 24"/>
                  <a:gd name="T19" fmla="*/ 20 h 24"/>
                  <a:gd name="T20" fmla="*/ 2 w 24"/>
                  <a:gd name="T21" fmla="*/ 20 h 24"/>
                  <a:gd name="T22" fmla="*/ 4 w 24"/>
                  <a:gd name="T23" fmla="*/ 22 h 24"/>
                  <a:gd name="T24" fmla="*/ 8 w 24"/>
                  <a:gd name="T25" fmla="*/ 24 h 24"/>
                  <a:gd name="T26" fmla="*/ 12 w 24"/>
                  <a:gd name="T27" fmla="*/ 24 h 24"/>
                  <a:gd name="T28" fmla="*/ 14 w 24"/>
                  <a:gd name="T29" fmla="*/ 24 h 24"/>
                  <a:gd name="T30" fmla="*/ 14 w 24"/>
                  <a:gd name="T31" fmla="*/ 24 h 24"/>
                  <a:gd name="T32" fmla="*/ 14 w 24"/>
                  <a:gd name="T33" fmla="*/ 24 h 24"/>
                  <a:gd name="T34" fmla="*/ 16 w 24"/>
                  <a:gd name="T35" fmla="*/ 24 h 24"/>
                  <a:gd name="T36" fmla="*/ 18 w 24"/>
                  <a:gd name="T37" fmla="*/ 22 h 24"/>
                  <a:gd name="T38" fmla="*/ 18 w 24"/>
                  <a:gd name="T39" fmla="*/ 22 h 24"/>
                  <a:gd name="T40" fmla="*/ 20 w 24"/>
                  <a:gd name="T41" fmla="*/ 20 h 24"/>
                  <a:gd name="T42" fmla="*/ 20 w 24"/>
                  <a:gd name="T43" fmla="*/ 18 h 24"/>
                  <a:gd name="T44" fmla="*/ 22 w 24"/>
                  <a:gd name="T45" fmla="*/ 14 h 24"/>
                  <a:gd name="T46" fmla="*/ 22 w 24"/>
                  <a:gd name="T47" fmla="*/ 14 h 24"/>
                  <a:gd name="T48" fmla="*/ 22 w 24"/>
                  <a:gd name="T49" fmla="*/ 10 h 24"/>
                  <a:gd name="T50" fmla="*/ 24 w 24"/>
                  <a:gd name="T51" fmla="*/ 8 h 24"/>
                  <a:gd name="T52" fmla="*/ 24 w 24"/>
                  <a:gd name="T53" fmla="*/ 6 h 24"/>
                  <a:gd name="T54" fmla="*/ 24 w 24"/>
                  <a:gd name="T55" fmla="*/ 6 h 24"/>
                  <a:gd name="T56" fmla="*/ 22 w 24"/>
                  <a:gd name="T57" fmla="*/ 4 h 24"/>
                  <a:gd name="T58" fmla="*/ 22 w 24"/>
                  <a:gd name="T59" fmla="*/ 2 h 24"/>
                  <a:gd name="T60" fmla="*/ 22 w 24"/>
                  <a:gd name="T61" fmla="*/ 2 h 24"/>
                  <a:gd name="T62" fmla="*/ 20 w 24"/>
                  <a:gd name="T63" fmla="*/ 0 h 24"/>
                  <a:gd name="T64" fmla="*/ 18 w 24"/>
                  <a:gd name="T65" fmla="*/ 0 h 24"/>
                  <a:gd name="T66" fmla="*/ 18 w 24"/>
                  <a:gd name="T67" fmla="*/ 0 h 24"/>
                  <a:gd name="T68" fmla="*/ 16 w 24"/>
                  <a:gd name="T69" fmla="*/ 0 h 24"/>
                  <a:gd name="T70" fmla="*/ 14 w 24"/>
                  <a:gd name="T71" fmla="*/ 0 h 24"/>
                  <a:gd name="T72" fmla="*/ 10 w 24"/>
                  <a:gd name="T73" fmla="*/ 0 h 24"/>
                  <a:gd name="T74" fmla="*/ 8 w 24"/>
                  <a:gd name="T75" fmla="*/ 2 h 24"/>
                  <a:gd name="T76" fmla="*/ 4 w 24"/>
                  <a:gd name="T77" fmla="*/ 4 h 24"/>
                  <a:gd name="T78" fmla="*/ 2 w 24"/>
                  <a:gd name="T79" fmla="*/ 6 h 24"/>
                  <a:gd name="T80" fmla="*/ 2 w 24"/>
                  <a:gd name="T81" fmla="*/ 6 h 24"/>
                  <a:gd name="T82" fmla="*/ 2 w 24"/>
                  <a:gd name="T83" fmla="*/ 6 h 24"/>
                  <a:gd name="T84" fmla="*/ 2 w 24"/>
                  <a:gd name="T85" fmla="*/ 6 h 24"/>
                  <a:gd name="T86" fmla="*/ 2 w 24"/>
                  <a:gd name="T87" fmla="*/ 6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4" h="24">
                    <a:moveTo>
                      <a:pt x="2" y="6"/>
                    </a:moveTo>
                    <a:lnTo>
                      <a:pt x="2" y="6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2" y="18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4" y="22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4" y="24"/>
                    </a:lnTo>
                    <a:lnTo>
                      <a:pt x="14" y="24"/>
                    </a:lnTo>
                    <a:lnTo>
                      <a:pt x="14" y="24"/>
                    </a:lnTo>
                    <a:lnTo>
                      <a:pt x="16" y="24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20" y="20"/>
                    </a:lnTo>
                    <a:lnTo>
                      <a:pt x="20" y="18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4" y="8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2" y="4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44" name="Freeform 898"/>
              <p:cNvSpPr>
                <a:spLocks/>
              </p:cNvSpPr>
              <p:nvPr/>
            </p:nvSpPr>
            <p:spPr bwMode="auto">
              <a:xfrm>
                <a:off x="5507" y="3240"/>
                <a:ext cx="10" cy="8"/>
              </a:xfrm>
              <a:custGeom>
                <a:avLst/>
                <a:gdLst>
                  <a:gd name="T0" fmla="*/ 2 w 10"/>
                  <a:gd name="T1" fmla="*/ 2 h 8"/>
                  <a:gd name="T2" fmla="*/ 2 w 10"/>
                  <a:gd name="T3" fmla="*/ 2 h 8"/>
                  <a:gd name="T4" fmla="*/ 0 w 10"/>
                  <a:gd name="T5" fmla="*/ 6 h 8"/>
                  <a:gd name="T6" fmla="*/ 0 w 10"/>
                  <a:gd name="T7" fmla="*/ 6 h 8"/>
                  <a:gd name="T8" fmla="*/ 0 w 10"/>
                  <a:gd name="T9" fmla="*/ 8 h 8"/>
                  <a:gd name="T10" fmla="*/ 0 w 10"/>
                  <a:gd name="T11" fmla="*/ 8 h 8"/>
                  <a:gd name="T12" fmla="*/ 2 w 10"/>
                  <a:gd name="T13" fmla="*/ 8 h 8"/>
                  <a:gd name="T14" fmla="*/ 2 w 10"/>
                  <a:gd name="T15" fmla="*/ 8 h 8"/>
                  <a:gd name="T16" fmla="*/ 4 w 10"/>
                  <a:gd name="T17" fmla="*/ 8 h 8"/>
                  <a:gd name="T18" fmla="*/ 6 w 10"/>
                  <a:gd name="T19" fmla="*/ 8 h 8"/>
                  <a:gd name="T20" fmla="*/ 10 w 10"/>
                  <a:gd name="T21" fmla="*/ 4 h 8"/>
                  <a:gd name="T22" fmla="*/ 10 w 10"/>
                  <a:gd name="T23" fmla="*/ 4 h 8"/>
                  <a:gd name="T24" fmla="*/ 10 w 10"/>
                  <a:gd name="T25" fmla="*/ 4 h 8"/>
                  <a:gd name="T26" fmla="*/ 10 w 10"/>
                  <a:gd name="T27" fmla="*/ 4 h 8"/>
                  <a:gd name="T28" fmla="*/ 8 w 10"/>
                  <a:gd name="T29" fmla="*/ 2 h 8"/>
                  <a:gd name="T30" fmla="*/ 6 w 10"/>
                  <a:gd name="T31" fmla="*/ 2 h 8"/>
                  <a:gd name="T32" fmla="*/ 6 w 10"/>
                  <a:gd name="T33" fmla="*/ 2 h 8"/>
                  <a:gd name="T34" fmla="*/ 6 w 10"/>
                  <a:gd name="T35" fmla="*/ 0 h 8"/>
                  <a:gd name="T36" fmla="*/ 4 w 10"/>
                  <a:gd name="T37" fmla="*/ 0 h 8"/>
                  <a:gd name="T38" fmla="*/ 2 w 10"/>
                  <a:gd name="T39" fmla="*/ 2 h 8"/>
                  <a:gd name="T40" fmla="*/ 2 w 10"/>
                  <a:gd name="T41" fmla="*/ 2 h 8"/>
                  <a:gd name="T42" fmla="*/ 2 w 10"/>
                  <a:gd name="T43" fmla="*/ 2 h 8"/>
                  <a:gd name="T44" fmla="*/ 2 w 10"/>
                  <a:gd name="T45" fmla="*/ 2 h 8"/>
                  <a:gd name="T46" fmla="*/ 2 w 10"/>
                  <a:gd name="T47" fmla="*/ 2 h 8"/>
                  <a:gd name="T48" fmla="*/ 2 w 10"/>
                  <a:gd name="T49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0" h="8">
                    <a:moveTo>
                      <a:pt x="2" y="2"/>
                    </a:moveTo>
                    <a:lnTo>
                      <a:pt x="2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45" name="Freeform 899"/>
              <p:cNvSpPr>
                <a:spLocks/>
              </p:cNvSpPr>
              <p:nvPr/>
            </p:nvSpPr>
            <p:spPr bwMode="auto">
              <a:xfrm>
                <a:off x="5539" y="3230"/>
                <a:ext cx="16" cy="12"/>
              </a:xfrm>
              <a:custGeom>
                <a:avLst/>
                <a:gdLst>
                  <a:gd name="T0" fmla="*/ 12 w 16"/>
                  <a:gd name="T1" fmla="*/ 0 h 12"/>
                  <a:gd name="T2" fmla="*/ 12 w 16"/>
                  <a:gd name="T3" fmla="*/ 0 h 12"/>
                  <a:gd name="T4" fmla="*/ 10 w 16"/>
                  <a:gd name="T5" fmla="*/ 0 h 12"/>
                  <a:gd name="T6" fmla="*/ 8 w 16"/>
                  <a:gd name="T7" fmla="*/ 0 h 12"/>
                  <a:gd name="T8" fmla="*/ 8 w 16"/>
                  <a:gd name="T9" fmla="*/ 0 h 12"/>
                  <a:gd name="T10" fmla="*/ 6 w 16"/>
                  <a:gd name="T11" fmla="*/ 0 h 12"/>
                  <a:gd name="T12" fmla="*/ 6 w 16"/>
                  <a:gd name="T13" fmla="*/ 0 h 12"/>
                  <a:gd name="T14" fmla="*/ 4 w 16"/>
                  <a:gd name="T15" fmla="*/ 0 h 12"/>
                  <a:gd name="T16" fmla="*/ 4 w 16"/>
                  <a:gd name="T17" fmla="*/ 2 h 12"/>
                  <a:gd name="T18" fmla="*/ 4 w 16"/>
                  <a:gd name="T19" fmla="*/ 2 h 12"/>
                  <a:gd name="T20" fmla="*/ 4 w 16"/>
                  <a:gd name="T21" fmla="*/ 4 h 12"/>
                  <a:gd name="T22" fmla="*/ 4 w 16"/>
                  <a:gd name="T23" fmla="*/ 4 h 12"/>
                  <a:gd name="T24" fmla="*/ 2 w 16"/>
                  <a:gd name="T25" fmla="*/ 4 h 12"/>
                  <a:gd name="T26" fmla="*/ 2 w 16"/>
                  <a:gd name="T27" fmla="*/ 6 h 12"/>
                  <a:gd name="T28" fmla="*/ 0 w 16"/>
                  <a:gd name="T29" fmla="*/ 6 h 12"/>
                  <a:gd name="T30" fmla="*/ 0 w 16"/>
                  <a:gd name="T31" fmla="*/ 8 h 12"/>
                  <a:gd name="T32" fmla="*/ 0 w 16"/>
                  <a:gd name="T33" fmla="*/ 8 h 12"/>
                  <a:gd name="T34" fmla="*/ 0 w 16"/>
                  <a:gd name="T35" fmla="*/ 10 h 12"/>
                  <a:gd name="T36" fmla="*/ 2 w 16"/>
                  <a:gd name="T37" fmla="*/ 10 h 12"/>
                  <a:gd name="T38" fmla="*/ 2 w 16"/>
                  <a:gd name="T39" fmla="*/ 12 h 12"/>
                  <a:gd name="T40" fmla="*/ 4 w 16"/>
                  <a:gd name="T41" fmla="*/ 12 h 12"/>
                  <a:gd name="T42" fmla="*/ 4 w 16"/>
                  <a:gd name="T43" fmla="*/ 12 h 12"/>
                  <a:gd name="T44" fmla="*/ 6 w 16"/>
                  <a:gd name="T45" fmla="*/ 12 h 12"/>
                  <a:gd name="T46" fmla="*/ 8 w 16"/>
                  <a:gd name="T47" fmla="*/ 12 h 12"/>
                  <a:gd name="T48" fmla="*/ 8 w 16"/>
                  <a:gd name="T49" fmla="*/ 10 h 12"/>
                  <a:gd name="T50" fmla="*/ 10 w 16"/>
                  <a:gd name="T51" fmla="*/ 10 h 12"/>
                  <a:gd name="T52" fmla="*/ 10 w 16"/>
                  <a:gd name="T53" fmla="*/ 10 h 12"/>
                  <a:gd name="T54" fmla="*/ 12 w 16"/>
                  <a:gd name="T55" fmla="*/ 10 h 12"/>
                  <a:gd name="T56" fmla="*/ 12 w 16"/>
                  <a:gd name="T57" fmla="*/ 10 h 12"/>
                  <a:gd name="T58" fmla="*/ 14 w 16"/>
                  <a:gd name="T59" fmla="*/ 10 h 12"/>
                  <a:gd name="T60" fmla="*/ 14 w 16"/>
                  <a:gd name="T61" fmla="*/ 8 h 12"/>
                  <a:gd name="T62" fmla="*/ 14 w 16"/>
                  <a:gd name="T63" fmla="*/ 8 h 12"/>
                  <a:gd name="T64" fmla="*/ 16 w 16"/>
                  <a:gd name="T65" fmla="*/ 8 h 12"/>
                  <a:gd name="T66" fmla="*/ 16 w 16"/>
                  <a:gd name="T67" fmla="*/ 6 h 12"/>
                  <a:gd name="T68" fmla="*/ 16 w 16"/>
                  <a:gd name="T69" fmla="*/ 4 h 12"/>
                  <a:gd name="T70" fmla="*/ 16 w 16"/>
                  <a:gd name="T71" fmla="*/ 2 h 12"/>
                  <a:gd name="T72" fmla="*/ 16 w 16"/>
                  <a:gd name="T73" fmla="*/ 2 h 12"/>
                  <a:gd name="T74" fmla="*/ 16 w 16"/>
                  <a:gd name="T75" fmla="*/ 2 h 12"/>
                  <a:gd name="T76" fmla="*/ 14 w 16"/>
                  <a:gd name="T77" fmla="*/ 2 h 12"/>
                  <a:gd name="T78" fmla="*/ 14 w 16"/>
                  <a:gd name="T79" fmla="*/ 2 h 12"/>
                  <a:gd name="T80" fmla="*/ 14 w 16"/>
                  <a:gd name="T81" fmla="*/ 0 h 12"/>
                  <a:gd name="T82" fmla="*/ 14 w 16"/>
                  <a:gd name="T83" fmla="*/ 0 h 12"/>
                  <a:gd name="T84" fmla="*/ 14 w 16"/>
                  <a:gd name="T85" fmla="*/ 0 h 12"/>
                  <a:gd name="T86" fmla="*/ 12 w 16"/>
                  <a:gd name="T87" fmla="*/ 0 h 12"/>
                  <a:gd name="T88" fmla="*/ 10 w 16"/>
                  <a:gd name="T89" fmla="*/ 0 h 12"/>
                  <a:gd name="T90" fmla="*/ 12 w 16"/>
                  <a:gd name="T91" fmla="*/ 0 h 12"/>
                  <a:gd name="T92" fmla="*/ 12 w 16"/>
                  <a:gd name="T93" fmla="*/ 0 h 12"/>
                  <a:gd name="T94" fmla="*/ 12 w 16"/>
                  <a:gd name="T9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6" h="12"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4" y="10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6" y="8"/>
                    </a:lnTo>
                    <a:lnTo>
                      <a:pt x="16" y="6"/>
                    </a:lnTo>
                    <a:lnTo>
                      <a:pt x="16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46" name="Freeform 902"/>
              <p:cNvSpPr>
                <a:spLocks/>
              </p:cNvSpPr>
              <p:nvPr/>
            </p:nvSpPr>
            <p:spPr bwMode="auto">
              <a:xfrm>
                <a:off x="5335" y="3318"/>
                <a:ext cx="4" cy="4"/>
              </a:xfrm>
              <a:custGeom>
                <a:avLst/>
                <a:gdLst>
                  <a:gd name="T0" fmla="*/ 2 w 4"/>
                  <a:gd name="T1" fmla="*/ 4 h 4"/>
                  <a:gd name="T2" fmla="*/ 2 w 4"/>
                  <a:gd name="T3" fmla="*/ 4 h 4"/>
                  <a:gd name="T4" fmla="*/ 2 w 4"/>
                  <a:gd name="T5" fmla="*/ 4 h 4"/>
                  <a:gd name="T6" fmla="*/ 4 w 4"/>
                  <a:gd name="T7" fmla="*/ 4 h 4"/>
                  <a:gd name="T8" fmla="*/ 4 w 4"/>
                  <a:gd name="T9" fmla="*/ 4 h 4"/>
                  <a:gd name="T10" fmla="*/ 4 w 4"/>
                  <a:gd name="T11" fmla="*/ 4 h 4"/>
                  <a:gd name="T12" fmla="*/ 4 w 4"/>
                  <a:gd name="T13" fmla="*/ 2 h 4"/>
                  <a:gd name="T14" fmla="*/ 4 w 4"/>
                  <a:gd name="T15" fmla="*/ 2 h 4"/>
                  <a:gd name="T16" fmla="*/ 4 w 4"/>
                  <a:gd name="T17" fmla="*/ 2 h 4"/>
                  <a:gd name="T18" fmla="*/ 2 w 4"/>
                  <a:gd name="T19" fmla="*/ 0 h 4"/>
                  <a:gd name="T20" fmla="*/ 2 w 4"/>
                  <a:gd name="T21" fmla="*/ 0 h 4"/>
                  <a:gd name="T22" fmla="*/ 2 w 4"/>
                  <a:gd name="T23" fmla="*/ 2 h 4"/>
                  <a:gd name="T24" fmla="*/ 0 w 4"/>
                  <a:gd name="T25" fmla="*/ 2 h 4"/>
                  <a:gd name="T26" fmla="*/ 0 w 4"/>
                  <a:gd name="T27" fmla="*/ 2 h 4"/>
                  <a:gd name="T28" fmla="*/ 0 w 4"/>
                  <a:gd name="T29" fmla="*/ 4 h 4"/>
                  <a:gd name="T30" fmla="*/ 2 w 4"/>
                  <a:gd name="T31" fmla="*/ 4 h 4"/>
                  <a:gd name="T32" fmla="*/ 2 w 4"/>
                  <a:gd name="T33" fmla="*/ 4 h 4"/>
                  <a:gd name="T34" fmla="*/ 2 w 4"/>
                  <a:gd name="T35" fmla="*/ 4 h 4"/>
                  <a:gd name="T36" fmla="*/ 2 w 4"/>
                  <a:gd name="T37" fmla="*/ 4 h 4"/>
                  <a:gd name="T38" fmla="*/ 2 w 4"/>
                  <a:gd name="T39" fmla="*/ 4 h 4"/>
                  <a:gd name="T40" fmla="*/ 2 w 4"/>
                  <a:gd name="T4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" h="4">
                    <a:moveTo>
                      <a:pt x="2" y="4"/>
                    </a:moveTo>
                    <a:lnTo>
                      <a:pt x="2" y="4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47" name="Freeform 903"/>
              <p:cNvSpPr>
                <a:spLocks/>
              </p:cNvSpPr>
              <p:nvPr/>
            </p:nvSpPr>
            <p:spPr bwMode="auto">
              <a:xfrm>
                <a:off x="5275" y="3288"/>
                <a:ext cx="46" cy="54"/>
              </a:xfrm>
              <a:custGeom>
                <a:avLst/>
                <a:gdLst>
                  <a:gd name="T0" fmla="*/ 14 w 46"/>
                  <a:gd name="T1" fmla="*/ 8 h 54"/>
                  <a:gd name="T2" fmla="*/ 12 w 46"/>
                  <a:gd name="T3" fmla="*/ 6 h 54"/>
                  <a:gd name="T4" fmla="*/ 12 w 46"/>
                  <a:gd name="T5" fmla="*/ 6 h 54"/>
                  <a:gd name="T6" fmla="*/ 10 w 46"/>
                  <a:gd name="T7" fmla="*/ 6 h 54"/>
                  <a:gd name="T8" fmla="*/ 8 w 46"/>
                  <a:gd name="T9" fmla="*/ 4 h 54"/>
                  <a:gd name="T10" fmla="*/ 6 w 46"/>
                  <a:gd name="T11" fmla="*/ 2 h 54"/>
                  <a:gd name="T12" fmla="*/ 4 w 46"/>
                  <a:gd name="T13" fmla="*/ 2 h 54"/>
                  <a:gd name="T14" fmla="*/ 2 w 46"/>
                  <a:gd name="T15" fmla="*/ 0 h 54"/>
                  <a:gd name="T16" fmla="*/ 0 w 46"/>
                  <a:gd name="T17" fmla="*/ 2 h 54"/>
                  <a:gd name="T18" fmla="*/ 0 w 46"/>
                  <a:gd name="T19" fmla="*/ 4 h 54"/>
                  <a:gd name="T20" fmla="*/ 0 w 46"/>
                  <a:gd name="T21" fmla="*/ 6 h 54"/>
                  <a:gd name="T22" fmla="*/ 2 w 46"/>
                  <a:gd name="T23" fmla="*/ 12 h 54"/>
                  <a:gd name="T24" fmla="*/ 4 w 46"/>
                  <a:gd name="T25" fmla="*/ 12 h 54"/>
                  <a:gd name="T26" fmla="*/ 4 w 46"/>
                  <a:gd name="T27" fmla="*/ 14 h 54"/>
                  <a:gd name="T28" fmla="*/ 4 w 46"/>
                  <a:gd name="T29" fmla="*/ 16 h 54"/>
                  <a:gd name="T30" fmla="*/ 6 w 46"/>
                  <a:gd name="T31" fmla="*/ 18 h 54"/>
                  <a:gd name="T32" fmla="*/ 8 w 46"/>
                  <a:gd name="T33" fmla="*/ 20 h 54"/>
                  <a:gd name="T34" fmla="*/ 10 w 46"/>
                  <a:gd name="T35" fmla="*/ 20 h 54"/>
                  <a:gd name="T36" fmla="*/ 12 w 46"/>
                  <a:gd name="T37" fmla="*/ 20 h 54"/>
                  <a:gd name="T38" fmla="*/ 14 w 46"/>
                  <a:gd name="T39" fmla="*/ 24 h 54"/>
                  <a:gd name="T40" fmla="*/ 16 w 46"/>
                  <a:gd name="T41" fmla="*/ 28 h 54"/>
                  <a:gd name="T42" fmla="*/ 18 w 46"/>
                  <a:gd name="T43" fmla="*/ 30 h 54"/>
                  <a:gd name="T44" fmla="*/ 18 w 46"/>
                  <a:gd name="T45" fmla="*/ 30 h 54"/>
                  <a:gd name="T46" fmla="*/ 20 w 46"/>
                  <a:gd name="T47" fmla="*/ 32 h 54"/>
                  <a:gd name="T48" fmla="*/ 20 w 46"/>
                  <a:gd name="T49" fmla="*/ 34 h 54"/>
                  <a:gd name="T50" fmla="*/ 20 w 46"/>
                  <a:gd name="T51" fmla="*/ 34 h 54"/>
                  <a:gd name="T52" fmla="*/ 24 w 46"/>
                  <a:gd name="T53" fmla="*/ 36 h 54"/>
                  <a:gd name="T54" fmla="*/ 26 w 46"/>
                  <a:gd name="T55" fmla="*/ 38 h 54"/>
                  <a:gd name="T56" fmla="*/ 26 w 46"/>
                  <a:gd name="T57" fmla="*/ 42 h 54"/>
                  <a:gd name="T58" fmla="*/ 26 w 46"/>
                  <a:gd name="T59" fmla="*/ 44 h 54"/>
                  <a:gd name="T60" fmla="*/ 28 w 46"/>
                  <a:gd name="T61" fmla="*/ 46 h 54"/>
                  <a:gd name="T62" fmla="*/ 30 w 46"/>
                  <a:gd name="T63" fmla="*/ 48 h 54"/>
                  <a:gd name="T64" fmla="*/ 32 w 46"/>
                  <a:gd name="T65" fmla="*/ 50 h 54"/>
                  <a:gd name="T66" fmla="*/ 36 w 46"/>
                  <a:gd name="T67" fmla="*/ 52 h 54"/>
                  <a:gd name="T68" fmla="*/ 38 w 46"/>
                  <a:gd name="T69" fmla="*/ 50 h 54"/>
                  <a:gd name="T70" fmla="*/ 40 w 46"/>
                  <a:gd name="T71" fmla="*/ 50 h 54"/>
                  <a:gd name="T72" fmla="*/ 40 w 46"/>
                  <a:gd name="T73" fmla="*/ 52 h 54"/>
                  <a:gd name="T74" fmla="*/ 42 w 46"/>
                  <a:gd name="T75" fmla="*/ 52 h 54"/>
                  <a:gd name="T76" fmla="*/ 44 w 46"/>
                  <a:gd name="T77" fmla="*/ 54 h 54"/>
                  <a:gd name="T78" fmla="*/ 44 w 46"/>
                  <a:gd name="T79" fmla="*/ 54 h 54"/>
                  <a:gd name="T80" fmla="*/ 46 w 46"/>
                  <a:gd name="T81" fmla="*/ 54 h 54"/>
                  <a:gd name="T82" fmla="*/ 46 w 46"/>
                  <a:gd name="T83" fmla="*/ 48 h 54"/>
                  <a:gd name="T84" fmla="*/ 44 w 46"/>
                  <a:gd name="T85" fmla="*/ 48 h 54"/>
                  <a:gd name="T86" fmla="*/ 40 w 46"/>
                  <a:gd name="T87" fmla="*/ 42 h 54"/>
                  <a:gd name="T88" fmla="*/ 40 w 46"/>
                  <a:gd name="T89" fmla="*/ 40 h 54"/>
                  <a:gd name="T90" fmla="*/ 38 w 46"/>
                  <a:gd name="T91" fmla="*/ 36 h 54"/>
                  <a:gd name="T92" fmla="*/ 38 w 46"/>
                  <a:gd name="T93" fmla="*/ 34 h 54"/>
                  <a:gd name="T94" fmla="*/ 36 w 46"/>
                  <a:gd name="T95" fmla="*/ 30 h 54"/>
                  <a:gd name="T96" fmla="*/ 36 w 46"/>
                  <a:gd name="T97" fmla="*/ 28 h 54"/>
                  <a:gd name="T98" fmla="*/ 30 w 46"/>
                  <a:gd name="T99" fmla="*/ 24 h 54"/>
                  <a:gd name="T100" fmla="*/ 28 w 46"/>
                  <a:gd name="T101" fmla="*/ 24 h 54"/>
                  <a:gd name="T102" fmla="*/ 26 w 46"/>
                  <a:gd name="T103" fmla="*/ 20 h 54"/>
                  <a:gd name="T104" fmla="*/ 24 w 46"/>
                  <a:gd name="T105" fmla="*/ 14 h 54"/>
                  <a:gd name="T106" fmla="*/ 22 w 46"/>
                  <a:gd name="T107" fmla="*/ 12 h 54"/>
                  <a:gd name="T108" fmla="*/ 20 w 46"/>
                  <a:gd name="T109" fmla="*/ 10 h 54"/>
                  <a:gd name="T110" fmla="*/ 16 w 46"/>
                  <a:gd name="T111" fmla="*/ 10 h 54"/>
                  <a:gd name="T112" fmla="*/ 14 w 46"/>
                  <a:gd name="T113" fmla="*/ 8 h 54"/>
                  <a:gd name="T114" fmla="*/ 14 w 46"/>
                  <a:gd name="T115" fmla="*/ 8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46" h="54">
                    <a:moveTo>
                      <a:pt x="14" y="8"/>
                    </a:moveTo>
                    <a:lnTo>
                      <a:pt x="14" y="8"/>
                    </a:lnTo>
                    <a:lnTo>
                      <a:pt x="14" y="8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8"/>
                    </a:lnTo>
                    <a:lnTo>
                      <a:pt x="6" y="18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2"/>
                    </a:lnTo>
                    <a:lnTo>
                      <a:pt x="14" y="24"/>
                    </a:lnTo>
                    <a:lnTo>
                      <a:pt x="14" y="26"/>
                    </a:lnTo>
                    <a:lnTo>
                      <a:pt x="16" y="28"/>
                    </a:lnTo>
                    <a:lnTo>
                      <a:pt x="16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2" y="36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6" y="38"/>
                    </a:lnTo>
                    <a:lnTo>
                      <a:pt x="26" y="40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4"/>
                    </a:lnTo>
                    <a:lnTo>
                      <a:pt x="28" y="46"/>
                    </a:lnTo>
                    <a:lnTo>
                      <a:pt x="28" y="46"/>
                    </a:lnTo>
                    <a:lnTo>
                      <a:pt x="28" y="46"/>
                    </a:lnTo>
                    <a:lnTo>
                      <a:pt x="30" y="48"/>
                    </a:lnTo>
                    <a:lnTo>
                      <a:pt x="32" y="50"/>
                    </a:lnTo>
                    <a:lnTo>
                      <a:pt x="32" y="50"/>
                    </a:lnTo>
                    <a:lnTo>
                      <a:pt x="34" y="50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40" y="50"/>
                    </a:lnTo>
                    <a:lnTo>
                      <a:pt x="40" y="50"/>
                    </a:lnTo>
                    <a:lnTo>
                      <a:pt x="40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6" y="54"/>
                    </a:lnTo>
                    <a:lnTo>
                      <a:pt x="46" y="54"/>
                    </a:lnTo>
                    <a:lnTo>
                      <a:pt x="46" y="52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4" y="48"/>
                    </a:lnTo>
                    <a:lnTo>
                      <a:pt x="44" y="46"/>
                    </a:lnTo>
                    <a:lnTo>
                      <a:pt x="40" y="42"/>
                    </a:lnTo>
                    <a:lnTo>
                      <a:pt x="40" y="42"/>
                    </a:lnTo>
                    <a:lnTo>
                      <a:pt x="40" y="40"/>
                    </a:lnTo>
                    <a:lnTo>
                      <a:pt x="38" y="38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4"/>
                    </a:lnTo>
                    <a:lnTo>
                      <a:pt x="38" y="32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28"/>
                    </a:lnTo>
                    <a:lnTo>
                      <a:pt x="34" y="26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28" y="24"/>
                    </a:lnTo>
                    <a:lnTo>
                      <a:pt x="26" y="22"/>
                    </a:lnTo>
                    <a:lnTo>
                      <a:pt x="26" y="20"/>
                    </a:lnTo>
                    <a:lnTo>
                      <a:pt x="24" y="16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0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8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48" name="Freeform 905"/>
              <p:cNvSpPr>
                <a:spLocks/>
              </p:cNvSpPr>
              <p:nvPr/>
            </p:nvSpPr>
            <p:spPr bwMode="auto">
              <a:xfrm>
                <a:off x="5325" y="3304"/>
                <a:ext cx="8" cy="6"/>
              </a:xfrm>
              <a:custGeom>
                <a:avLst/>
                <a:gdLst>
                  <a:gd name="T0" fmla="*/ 0 w 8"/>
                  <a:gd name="T1" fmla="*/ 2 h 6"/>
                  <a:gd name="T2" fmla="*/ 0 w 8"/>
                  <a:gd name="T3" fmla="*/ 2 h 6"/>
                  <a:gd name="T4" fmla="*/ 2 w 8"/>
                  <a:gd name="T5" fmla="*/ 4 h 6"/>
                  <a:gd name="T6" fmla="*/ 4 w 8"/>
                  <a:gd name="T7" fmla="*/ 6 h 6"/>
                  <a:gd name="T8" fmla="*/ 4 w 8"/>
                  <a:gd name="T9" fmla="*/ 6 h 6"/>
                  <a:gd name="T10" fmla="*/ 4 w 8"/>
                  <a:gd name="T11" fmla="*/ 6 h 6"/>
                  <a:gd name="T12" fmla="*/ 6 w 8"/>
                  <a:gd name="T13" fmla="*/ 6 h 6"/>
                  <a:gd name="T14" fmla="*/ 6 w 8"/>
                  <a:gd name="T15" fmla="*/ 6 h 6"/>
                  <a:gd name="T16" fmla="*/ 8 w 8"/>
                  <a:gd name="T17" fmla="*/ 6 h 6"/>
                  <a:gd name="T18" fmla="*/ 8 w 8"/>
                  <a:gd name="T19" fmla="*/ 6 h 6"/>
                  <a:gd name="T20" fmla="*/ 8 w 8"/>
                  <a:gd name="T21" fmla="*/ 4 h 6"/>
                  <a:gd name="T22" fmla="*/ 8 w 8"/>
                  <a:gd name="T23" fmla="*/ 4 h 6"/>
                  <a:gd name="T24" fmla="*/ 8 w 8"/>
                  <a:gd name="T25" fmla="*/ 2 h 6"/>
                  <a:gd name="T26" fmla="*/ 6 w 8"/>
                  <a:gd name="T27" fmla="*/ 0 h 6"/>
                  <a:gd name="T28" fmla="*/ 4 w 8"/>
                  <a:gd name="T29" fmla="*/ 0 h 6"/>
                  <a:gd name="T30" fmla="*/ 2 w 8"/>
                  <a:gd name="T31" fmla="*/ 0 h 6"/>
                  <a:gd name="T32" fmla="*/ 2 w 8"/>
                  <a:gd name="T33" fmla="*/ 0 h 6"/>
                  <a:gd name="T34" fmla="*/ 0 w 8"/>
                  <a:gd name="T35" fmla="*/ 0 h 6"/>
                  <a:gd name="T36" fmla="*/ 0 w 8"/>
                  <a:gd name="T37" fmla="*/ 0 h 6"/>
                  <a:gd name="T38" fmla="*/ 0 w 8"/>
                  <a:gd name="T39" fmla="*/ 2 h 6"/>
                  <a:gd name="T40" fmla="*/ 0 w 8"/>
                  <a:gd name="T41" fmla="*/ 2 h 6"/>
                  <a:gd name="T42" fmla="*/ 0 w 8"/>
                  <a:gd name="T43" fmla="*/ 2 h 6"/>
                  <a:gd name="T44" fmla="*/ 0 w 8"/>
                  <a:gd name="T45" fmla="*/ 2 h 6"/>
                  <a:gd name="T46" fmla="*/ 0 w 8"/>
                  <a:gd name="T47" fmla="*/ 2 h 6"/>
                  <a:gd name="T48" fmla="*/ 0 w 8"/>
                  <a:gd name="T49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8" h="6">
                    <a:moveTo>
                      <a:pt x="0" y="2"/>
                    </a:moveTo>
                    <a:lnTo>
                      <a:pt x="0" y="2"/>
                    </a:lnTo>
                    <a:lnTo>
                      <a:pt x="2" y="4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49" name="Freeform 908"/>
              <p:cNvSpPr>
                <a:spLocks/>
              </p:cNvSpPr>
              <p:nvPr/>
            </p:nvSpPr>
            <p:spPr bwMode="auto">
              <a:xfrm>
                <a:off x="465" y="1096"/>
                <a:ext cx="570" cy="560"/>
              </a:xfrm>
              <a:custGeom>
                <a:avLst/>
                <a:gdLst>
                  <a:gd name="T0" fmla="*/ 494 w 570"/>
                  <a:gd name="T1" fmla="*/ 468 h 560"/>
                  <a:gd name="T2" fmla="*/ 454 w 570"/>
                  <a:gd name="T3" fmla="*/ 432 h 560"/>
                  <a:gd name="T4" fmla="*/ 422 w 570"/>
                  <a:gd name="T5" fmla="*/ 390 h 560"/>
                  <a:gd name="T6" fmla="*/ 522 w 570"/>
                  <a:gd name="T7" fmla="*/ 208 h 560"/>
                  <a:gd name="T8" fmla="*/ 554 w 570"/>
                  <a:gd name="T9" fmla="*/ 102 h 560"/>
                  <a:gd name="T10" fmla="*/ 518 w 570"/>
                  <a:gd name="T11" fmla="*/ 82 h 560"/>
                  <a:gd name="T12" fmla="*/ 478 w 570"/>
                  <a:gd name="T13" fmla="*/ 50 h 560"/>
                  <a:gd name="T14" fmla="*/ 450 w 570"/>
                  <a:gd name="T15" fmla="*/ 30 h 560"/>
                  <a:gd name="T16" fmla="*/ 426 w 570"/>
                  <a:gd name="T17" fmla="*/ 20 h 560"/>
                  <a:gd name="T18" fmla="*/ 426 w 570"/>
                  <a:gd name="T19" fmla="*/ 12 h 560"/>
                  <a:gd name="T20" fmla="*/ 386 w 570"/>
                  <a:gd name="T21" fmla="*/ 6 h 560"/>
                  <a:gd name="T22" fmla="*/ 364 w 570"/>
                  <a:gd name="T23" fmla="*/ 8 h 560"/>
                  <a:gd name="T24" fmla="*/ 344 w 570"/>
                  <a:gd name="T25" fmla="*/ 8 h 560"/>
                  <a:gd name="T26" fmla="*/ 310 w 570"/>
                  <a:gd name="T27" fmla="*/ 10 h 560"/>
                  <a:gd name="T28" fmla="*/ 262 w 570"/>
                  <a:gd name="T29" fmla="*/ 34 h 560"/>
                  <a:gd name="T30" fmla="*/ 230 w 570"/>
                  <a:gd name="T31" fmla="*/ 46 h 560"/>
                  <a:gd name="T32" fmla="*/ 246 w 570"/>
                  <a:gd name="T33" fmla="*/ 84 h 560"/>
                  <a:gd name="T34" fmla="*/ 272 w 570"/>
                  <a:gd name="T35" fmla="*/ 112 h 560"/>
                  <a:gd name="T36" fmla="*/ 254 w 570"/>
                  <a:gd name="T37" fmla="*/ 104 h 560"/>
                  <a:gd name="T38" fmla="*/ 254 w 570"/>
                  <a:gd name="T39" fmla="*/ 122 h 560"/>
                  <a:gd name="T40" fmla="*/ 232 w 570"/>
                  <a:gd name="T41" fmla="*/ 112 h 560"/>
                  <a:gd name="T42" fmla="*/ 210 w 570"/>
                  <a:gd name="T43" fmla="*/ 104 h 560"/>
                  <a:gd name="T44" fmla="*/ 166 w 570"/>
                  <a:gd name="T45" fmla="*/ 114 h 560"/>
                  <a:gd name="T46" fmla="*/ 166 w 570"/>
                  <a:gd name="T47" fmla="*/ 142 h 560"/>
                  <a:gd name="T48" fmla="*/ 178 w 570"/>
                  <a:gd name="T49" fmla="*/ 168 h 560"/>
                  <a:gd name="T50" fmla="*/ 224 w 570"/>
                  <a:gd name="T51" fmla="*/ 176 h 560"/>
                  <a:gd name="T52" fmla="*/ 224 w 570"/>
                  <a:gd name="T53" fmla="*/ 184 h 560"/>
                  <a:gd name="T54" fmla="*/ 182 w 570"/>
                  <a:gd name="T55" fmla="*/ 210 h 560"/>
                  <a:gd name="T56" fmla="*/ 134 w 570"/>
                  <a:gd name="T57" fmla="*/ 226 h 560"/>
                  <a:gd name="T58" fmla="*/ 112 w 570"/>
                  <a:gd name="T59" fmla="*/ 260 h 560"/>
                  <a:gd name="T60" fmla="*/ 130 w 570"/>
                  <a:gd name="T61" fmla="*/ 272 h 560"/>
                  <a:gd name="T62" fmla="*/ 118 w 570"/>
                  <a:gd name="T63" fmla="*/ 286 h 560"/>
                  <a:gd name="T64" fmla="*/ 104 w 570"/>
                  <a:gd name="T65" fmla="*/ 282 h 560"/>
                  <a:gd name="T66" fmla="*/ 114 w 570"/>
                  <a:gd name="T67" fmla="*/ 310 h 560"/>
                  <a:gd name="T68" fmla="*/ 134 w 570"/>
                  <a:gd name="T69" fmla="*/ 310 h 560"/>
                  <a:gd name="T70" fmla="*/ 122 w 570"/>
                  <a:gd name="T71" fmla="*/ 344 h 560"/>
                  <a:gd name="T72" fmla="*/ 146 w 570"/>
                  <a:gd name="T73" fmla="*/ 370 h 560"/>
                  <a:gd name="T74" fmla="*/ 166 w 570"/>
                  <a:gd name="T75" fmla="*/ 362 h 560"/>
                  <a:gd name="T76" fmla="*/ 170 w 570"/>
                  <a:gd name="T77" fmla="*/ 376 h 560"/>
                  <a:gd name="T78" fmla="*/ 110 w 570"/>
                  <a:gd name="T79" fmla="*/ 418 h 560"/>
                  <a:gd name="T80" fmla="*/ 78 w 570"/>
                  <a:gd name="T81" fmla="*/ 432 h 560"/>
                  <a:gd name="T82" fmla="*/ 32 w 570"/>
                  <a:gd name="T83" fmla="*/ 442 h 560"/>
                  <a:gd name="T84" fmla="*/ 14 w 570"/>
                  <a:gd name="T85" fmla="*/ 462 h 560"/>
                  <a:gd name="T86" fmla="*/ 54 w 570"/>
                  <a:gd name="T87" fmla="*/ 452 h 560"/>
                  <a:gd name="T88" fmla="*/ 104 w 570"/>
                  <a:gd name="T89" fmla="*/ 442 h 560"/>
                  <a:gd name="T90" fmla="*/ 144 w 570"/>
                  <a:gd name="T91" fmla="*/ 432 h 560"/>
                  <a:gd name="T92" fmla="*/ 190 w 570"/>
                  <a:gd name="T93" fmla="*/ 406 h 560"/>
                  <a:gd name="T94" fmla="*/ 242 w 570"/>
                  <a:gd name="T95" fmla="*/ 384 h 560"/>
                  <a:gd name="T96" fmla="*/ 240 w 570"/>
                  <a:gd name="T97" fmla="*/ 360 h 560"/>
                  <a:gd name="T98" fmla="*/ 290 w 570"/>
                  <a:gd name="T99" fmla="*/ 330 h 560"/>
                  <a:gd name="T100" fmla="*/ 302 w 570"/>
                  <a:gd name="T101" fmla="*/ 332 h 560"/>
                  <a:gd name="T102" fmla="*/ 274 w 570"/>
                  <a:gd name="T103" fmla="*/ 360 h 560"/>
                  <a:gd name="T104" fmla="*/ 288 w 570"/>
                  <a:gd name="T105" fmla="*/ 374 h 560"/>
                  <a:gd name="T106" fmla="*/ 332 w 570"/>
                  <a:gd name="T107" fmla="*/ 350 h 560"/>
                  <a:gd name="T108" fmla="*/ 362 w 570"/>
                  <a:gd name="T109" fmla="*/ 368 h 560"/>
                  <a:gd name="T110" fmla="*/ 392 w 570"/>
                  <a:gd name="T111" fmla="*/ 394 h 560"/>
                  <a:gd name="T112" fmla="*/ 424 w 570"/>
                  <a:gd name="T113" fmla="*/ 412 h 560"/>
                  <a:gd name="T114" fmla="*/ 452 w 570"/>
                  <a:gd name="T115" fmla="*/ 446 h 560"/>
                  <a:gd name="T116" fmla="*/ 472 w 570"/>
                  <a:gd name="T117" fmla="*/ 442 h 560"/>
                  <a:gd name="T118" fmla="*/ 476 w 570"/>
                  <a:gd name="T119" fmla="*/ 472 h 560"/>
                  <a:gd name="T120" fmla="*/ 472 w 570"/>
                  <a:gd name="T121" fmla="*/ 502 h 560"/>
                  <a:gd name="T122" fmla="*/ 476 w 570"/>
                  <a:gd name="T123" fmla="*/ 528 h 560"/>
                  <a:gd name="T124" fmla="*/ 496 w 570"/>
                  <a:gd name="T125" fmla="*/ 554 h 5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70" h="560">
                    <a:moveTo>
                      <a:pt x="500" y="532"/>
                    </a:moveTo>
                    <a:lnTo>
                      <a:pt x="500" y="532"/>
                    </a:lnTo>
                    <a:lnTo>
                      <a:pt x="500" y="530"/>
                    </a:lnTo>
                    <a:lnTo>
                      <a:pt x="498" y="526"/>
                    </a:lnTo>
                    <a:lnTo>
                      <a:pt x="494" y="522"/>
                    </a:lnTo>
                    <a:lnTo>
                      <a:pt x="490" y="518"/>
                    </a:lnTo>
                    <a:lnTo>
                      <a:pt x="488" y="516"/>
                    </a:lnTo>
                    <a:lnTo>
                      <a:pt x="488" y="512"/>
                    </a:lnTo>
                    <a:lnTo>
                      <a:pt x="488" y="512"/>
                    </a:lnTo>
                    <a:lnTo>
                      <a:pt x="488" y="508"/>
                    </a:lnTo>
                    <a:lnTo>
                      <a:pt x="488" y="504"/>
                    </a:lnTo>
                    <a:lnTo>
                      <a:pt x="488" y="500"/>
                    </a:lnTo>
                    <a:lnTo>
                      <a:pt x="488" y="496"/>
                    </a:lnTo>
                    <a:lnTo>
                      <a:pt x="490" y="492"/>
                    </a:lnTo>
                    <a:lnTo>
                      <a:pt x="492" y="490"/>
                    </a:lnTo>
                    <a:lnTo>
                      <a:pt x="496" y="482"/>
                    </a:lnTo>
                    <a:lnTo>
                      <a:pt x="496" y="482"/>
                    </a:lnTo>
                    <a:lnTo>
                      <a:pt x="496" y="480"/>
                    </a:lnTo>
                    <a:lnTo>
                      <a:pt x="496" y="478"/>
                    </a:lnTo>
                    <a:lnTo>
                      <a:pt x="496" y="474"/>
                    </a:lnTo>
                    <a:lnTo>
                      <a:pt x="496" y="472"/>
                    </a:lnTo>
                    <a:lnTo>
                      <a:pt x="494" y="468"/>
                    </a:lnTo>
                    <a:lnTo>
                      <a:pt x="494" y="468"/>
                    </a:lnTo>
                    <a:lnTo>
                      <a:pt x="490" y="462"/>
                    </a:lnTo>
                    <a:lnTo>
                      <a:pt x="488" y="456"/>
                    </a:lnTo>
                    <a:lnTo>
                      <a:pt x="484" y="442"/>
                    </a:lnTo>
                    <a:lnTo>
                      <a:pt x="484" y="442"/>
                    </a:lnTo>
                    <a:lnTo>
                      <a:pt x="484" y="438"/>
                    </a:lnTo>
                    <a:lnTo>
                      <a:pt x="482" y="436"/>
                    </a:lnTo>
                    <a:lnTo>
                      <a:pt x="482" y="428"/>
                    </a:lnTo>
                    <a:lnTo>
                      <a:pt x="482" y="428"/>
                    </a:lnTo>
                    <a:lnTo>
                      <a:pt x="482" y="426"/>
                    </a:lnTo>
                    <a:lnTo>
                      <a:pt x="482" y="426"/>
                    </a:lnTo>
                    <a:lnTo>
                      <a:pt x="482" y="424"/>
                    </a:lnTo>
                    <a:lnTo>
                      <a:pt x="480" y="424"/>
                    </a:lnTo>
                    <a:lnTo>
                      <a:pt x="478" y="424"/>
                    </a:lnTo>
                    <a:lnTo>
                      <a:pt x="478" y="424"/>
                    </a:lnTo>
                    <a:lnTo>
                      <a:pt x="472" y="424"/>
                    </a:lnTo>
                    <a:lnTo>
                      <a:pt x="472" y="424"/>
                    </a:lnTo>
                    <a:lnTo>
                      <a:pt x="466" y="426"/>
                    </a:lnTo>
                    <a:lnTo>
                      <a:pt x="464" y="426"/>
                    </a:lnTo>
                    <a:lnTo>
                      <a:pt x="462" y="428"/>
                    </a:lnTo>
                    <a:lnTo>
                      <a:pt x="462" y="428"/>
                    </a:lnTo>
                    <a:lnTo>
                      <a:pt x="456" y="430"/>
                    </a:lnTo>
                    <a:lnTo>
                      <a:pt x="454" y="430"/>
                    </a:lnTo>
                    <a:lnTo>
                      <a:pt x="454" y="432"/>
                    </a:lnTo>
                    <a:lnTo>
                      <a:pt x="452" y="432"/>
                    </a:lnTo>
                    <a:lnTo>
                      <a:pt x="450" y="432"/>
                    </a:lnTo>
                    <a:lnTo>
                      <a:pt x="448" y="432"/>
                    </a:lnTo>
                    <a:lnTo>
                      <a:pt x="448" y="432"/>
                    </a:lnTo>
                    <a:lnTo>
                      <a:pt x="446" y="430"/>
                    </a:lnTo>
                    <a:lnTo>
                      <a:pt x="444" y="428"/>
                    </a:lnTo>
                    <a:lnTo>
                      <a:pt x="442" y="426"/>
                    </a:lnTo>
                    <a:lnTo>
                      <a:pt x="440" y="424"/>
                    </a:lnTo>
                    <a:lnTo>
                      <a:pt x="440" y="420"/>
                    </a:lnTo>
                    <a:lnTo>
                      <a:pt x="440" y="418"/>
                    </a:lnTo>
                    <a:lnTo>
                      <a:pt x="440" y="410"/>
                    </a:lnTo>
                    <a:lnTo>
                      <a:pt x="440" y="404"/>
                    </a:lnTo>
                    <a:lnTo>
                      <a:pt x="440" y="400"/>
                    </a:lnTo>
                    <a:lnTo>
                      <a:pt x="440" y="396"/>
                    </a:lnTo>
                    <a:lnTo>
                      <a:pt x="438" y="394"/>
                    </a:lnTo>
                    <a:lnTo>
                      <a:pt x="438" y="394"/>
                    </a:lnTo>
                    <a:lnTo>
                      <a:pt x="436" y="392"/>
                    </a:lnTo>
                    <a:lnTo>
                      <a:pt x="434" y="392"/>
                    </a:lnTo>
                    <a:lnTo>
                      <a:pt x="434" y="392"/>
                    </a:lnTo>
                    <a:lnTo>
                      <a:pt x="430" y="390"/>
                    </a:lnTo>
                    <a:lnTo>
                      <a:pt x="426" y="390"/>
                    </a:lnTo>
                    <a:lnTo>
                      <a:pt x="424" y="390"/>
                    </a:lnTo>
                    <a:lnTo>
                      <a:pt x="422" y="390"/>
                    </a:lnTo>
                    <a:lnTo>
                      <a:pt x="420" y="390"/>
                    </a:lnTo>
                    <a:lnTo>
                      <a:pt x="420" y="390"/>
                    </a:lnTo>
                    <a:lnTo>
                      <a:pt x="418" y="390"/>
                    </a:lnTo>
                    <a:lnTo>
                      <a:pt x="418" y="388"/>
                    </a:lnTo>
                    <a:lnTo>
                      <a:pt x="418" y="386"/>
                    </a:lnTo>
                    <a:lnTo>
                      <a:pt x="418" y="386"/>
                    </a:lnTo>
                    <a:lnTo>
                      <a:pt x="420" y="380"/>
                    </a:lnTo>
                    <a:lnTo>
                      <a:pt x="420" y="380"/>
                    </a:lnTo>
                    <a:lnTo>
                      <a:pt x="422" y="374"/>
                    </a:lnTo>
                    <a:lnTo>
                      <a:pt x="426" y="370"/>
                    </a:lnTo>
                    <a:lnTo>
                      <a:pt x="432" y="356"/>
                    </a:lnTo>
                    <a:lnTo>
                      <a:pt x="432" y="356"/>
                    </a:lnTo>
                    <a:lnTo>
                      <a:pt x="446" y="332"/>
                    </a:lnTo>
                    <a:lnTo>
                      <a:pt x="454" y="320"/>
                    </a:lnTo>
                    <a:lnTo>
                      <a:pt x="464" y="306"/>
                    </a:lnTo>
                    <a:lnTo>
                      <a:pt x="464" y="306"/>
                    </a:lnTo>
                    <a:lnTo>
                      <a:pt x="472" y="296"/>
                    </a:lnTo>
                    <a:lnTo>
                      <a:pt x="478" y="282"/>
                    </a:lnTo>
                    <a:lnTo>
                      <a:pt x="492" y="258"/>
                    </a:lnTo>
                    <a:lnTo>
                      <a:pt x="508" y="232"/>
                    </a:lnTo>
                    <a:lnTo>
                      <a:pt x="514" y="222"/>
                    </a:lnTo>
                    <a:lnTo>
                      <a:pt x="522" y="208"/>
                    </a:lnTo>
                    <a:lnTo>
                      <a:pt x="522" y="208"/>
                    </a:lnTo>
                    <a:lnTo>
                      <a:pt x="530" y="198"/>
                    </a:lnTo>
                    <a:lnTo>
                      <a:pt x="536" y="184"/>
                    </a:lnTo>
                    <a:lnTo>
                      <a:pt x="550" y="160"/>
                    </a:lnTo>
                    <a:lnTo>
                      <a:pt x="550" y="160"/>
                    </a:lnTo>
                    <a:lnTo>
                      <a:pt x="556" y="150"/>
                    </a:lnTo>
                    <a:lnTo>
                      <a:pt x="560" y="140"/>
                    </a:lnTo>
                    <a:lnTo>
                      <a:pt x="560" y="140"/>
                    </a:lnTo>
                    <a:lnTo>
                      <a:pt x="564" y="132"/>
                    </a:lnTo>
                    <a:lnTo>
                      <a:pt x="566" y="126"/>
                    </a:lnTo>
                    <a:lnTo>
                      <a:pt x="568" y="124"/>
                    </a:lnTo>
                    <a:lnTo>
                      <a:pt x="570" y="122"/>
                    </a:lnTo>
                    <a:lnTo>
                      <a:pt x="570" y="122"/>
                    </a:lnTo>
                    <a:lnTo>
                      <a:pt x="568" y="120"/>
                    </a:lnTo>
                    <a:lnTo>
                      <a:pt x="566" y="118"/>
                    </a:lnTo>
                    <a:lnTo>
                      <a:pt x="564" y="116"/>
                    </a:lnTo>
                    <a:lnTo>
                      <a:pt x="562" y="114"/>
                    </a:lnTo>
                    <a:lnTo>
                      <a:pt x="562" y="114"/>
                    </a:lnTo>
                    <a:lnTo>
                      <a:pt x="560" y="108"/>
                    </a:lnTo>
                    <a:lnTo>
                      <a:pt x="556" y="106"/>
                    </a:lnTo>
                    <a:lnTo>
                      <a:pt x="556" y="106"/>
                    </a:lnTo>
                    <a:lnTo>
                      <a:pt x="554" y="104"/>
                    </a:lnTo>
                    <a:lnTo>
                      <a:pt x="554" y="104"/>
                    </a:lnTo>
                    <a:lnTo>
                      <a:pt x="554" y="102"/>
                    </a:lnTo>
                    <a:lnTo>
                      <a:pt x="554" y="102"/>
                    </a:lnTo>
                    <a:lnTo>
                      <a:pt x="554" y="98"/>
                    </a:lnTo>
                    <a:lnTo>
                      <a:pt x="554" y="96"/>
                    </a:lnTo>
                    <a:lnTo>
                      <a:pt x="554" y="96"/>
                    </a:lnTo>
                    <a:lnTo>
                      <a:pt x="554" y="94"/>
                    </a:lnTo>
                    <a:lnTo>
                      <a:pt x="552" y="94"/>
                    </a:lnTo>
                    <a:lnTo>
                      <a:pt x="552" y="92"/>
                    </a:lnTo>
                    <a:lnTo>
                      <a:pt x="550" y="92"/>
                    </a:lnTo>
                    <a:lnTo>
                      <a:pt x="548" y="92"/>
                    </a:lnTo>
                    <a:lnTo>
                      <a:pt x="546" y="92"/>
                    </a:lnTo>
                    <a:lnTo>
                      <a:pt x="546" y="92"/>
                    </a:lnTo>
                    <a:lnTo>
                      <a:pt x="544" y="90"/>
                    </a:lnTo>
                    <a:lnTo>
                      <a:pt x="540" y="90"/>
                    </a:lnTo>
                    <a:lnTo>
                      <a:pt x="536" y="90"/>
                    </a:lnTo>
                    <a:lnTo>
                      <a:pt x="534" y="90"/>
                    </a:lnTo>
                    <a:lnTo>
                      <a:pt x="532" y="90"/>
                    </a:lnTo>
                    <a:lnTo>
                      <a:pt x="528" y="88"/>
                    </a:lnTo>
                    <a:lnTo>
                      <a:pt x="526" y="88"/>
                    </a:lnTo>
                    <a:lnTo>
                      <a:pt x="526" y="88"/>
                    </a:lnTo>
                    <a:lnTo>
                      <a:pt x="522" y="84"/>
                    </a:lnTo>
                    <a:lnTo>
                      <a:pt x="520" y="84"/>
                    </a:lnTo>
                    <a:lnTo>
                      <a:pt x="518" y="82"/>
                    </a:lnTo>
                    <a:lnTo>
                      <a:pt x="518" y="82"/>
                    </a:lnTo>
                    <a:lnTo>
                      <a:pt x="516" y="78"/>
                    </a:lnTo>
                    <a:lnTo>
                      <a:pt x="514" y="74"/>
                    </a:lnTo>
                    <a:lnTo>
                      <a:pt x="514" y="74"/>
                    </a:lnTo>
                    <a:lnTo>
                      <a:pt x="512" y="70"/>
                    </a:lnTo>
                    <a:lnTo>
                      <a:pt x="512" y="68"/>
                    </a:lnTo>
                    <a:lnTo>
                      <a:pt x="510" y="68"/>
                    </a:lnTo>
                    <a:lnTo>
                      <a:pt x="506" y="66"/>
                    </a:lnTo>
                    <a:lnTo>
                      <a:pt x="506" y="66"/>
                    </a:lnTo>
                    <a:lnTo>
                      <a:pt x="500" y="62"/>
                    </a:lnTo>
                    <a:lnTo>
                      <a:pt x="498" y="62"/>
                    </a:lnTo>
                    <a:lnTo>
                      <a:pt x="494" y="60"/>
                    </a:lnTo>
                    <a:lnTo>
                      <a:pt x="494" y="60"/>
                    </a:lnTo>
                    <a:lnTo>
                      <a:pt x="492" y="58"/>
                    </a:lnTo>
                    <a:lnTo>
                      <a:pt x="490" y="56"/>
                    </a:lnTo>
                    <a:lnTo>
                      <a:pt x="488" y="54"/>
                    </a:lnTo>
                    <a:lnTo>
                      <a:pt x="488" y="54"/>
                    </a:lnTo>
                    <a:lnTo>
                      <a:pt x="488" y="54"/>
                    </a:lnTo>
                    <a:lnTo>
                      <a:pt x="486" y="52"/>
                    </a:lnTo>
                    <a:lnTo>
                      <a:pt x="482" y="50"/>
                    </a:lnTo>
                    <a:lnTo>
                      <a:pt x="480" y="50"/>
                    </a:lnTo>
                    <a:lnTo>
                      <a:pt x="480" y="50"/>
                    </a:lnTo>
                    <a:lnTo>
                      <a:pt x="478" y="50"/>
                    </a:lnTo>
                    <a:lnTo>
                      <a:pt x="478" y="50"/>
                    </a:lnTo>
                    <a:lnTo>
                      <a:pt x="476" y="50"/>
                    </a:lnTo>
                    <a:lnTo>
                      <a:pt x="474" y="52"/>
                    </a:lnTo>
                    <a:lnTo>
                      <a:pt x="472" y="52"/>
                    </a:lnTo>
                    <a:lnTo>
                      <a:pt x="470" y="54"/>
                    </a:lnTo>
                    <a:lnTo>
                      <a:pt x="470" y="54"/>
                    </a:lnTo>
                    <a:lnTo>
                      <a:pt x="468" y="54"/>
                    </a:lnTo>
                    <a:lnTo>
                      <a:pt x="468" y="54"/>
                    </a:lnTo>
                    <a:lnTo>
                      <a:pt x="466" y="52"/>
                    </a:lnTo>
                    <a:lnTo>
                      <a:pt x="464" y="50"/>
                    </a:lnTo>
                    <a:lnTo>
                      <a:pt x="464" y="50"/>
                    </a:lnTo>
                    <a:lnTo>
                      <a:pt x="464" y="50"/>
                    </a:lnTo>
                    <a:lnTo>
                      <a:pt x="462" y="48"/>
                    </a:lnTo>
                    <a:lnTo>
                      <a:pt x="458" y="46"/>
                    </a:lnTo>
                    <a:lnTo>
                      <a:pt x="458" y="44"/>
                    </a:lnTo>
                    <a:lnTo>
                      <a:pt x="456" y="42"/>
                    </a:lnTo>
                    <a:lnTo>
                      <a:pt x="456" y="42"/>
                    </a:lnTo>
                    <a:lnTo>
                      <a:pt x="456" y="38"/>
                    </a:lnTo>
                    <a:lnTo>
                      <a:pt x="454" y="36"/>
                    </a:lnTo>
                    <a:lnTo>
                      <a:pt x="454" y="34"/>
                    </a:lnTo>
                    <a:lnTo>
                      <a:pt x="452" y="32"/>
                    </a:lnTo>
                    <a:lnTo>
                      <a:pt x="452" y="32"/>
                    </a:lnTo>
                    <a:lnTo>
                      <a:pt x="450" y="30"/>
                    </a:lnTo>
                    <a:lnTo>
                      <a:pt x="450" y="30"/>
                    </a:lnTo>
                    <a:lnTo>
                      <a:pt x="448" y="28"/>
                    </a:lnTo>
                    <a:lnTo>
                      <a:pt x="448" y="28"/>
                    </a:lnTo>
                    <a:lnTo>
                      <a:pt x="446" y="28"/>
                    </a:lnTo>
                    <a:lnTo>
                      <a:pt x="444" y="30"/>
                    </a:lnTo>
                    <a:lnTo>
                      <a:pt x="444" y="30"/>
                    </a:lnTo>
                    <a:lnTo>
                      <a:pt x="442" y="30"/>
                    </a:lnTo>
                    <a:lnTo>
                      <a:pt x="440" y="30"/>
                    </a:lnTo>
                    <a:lnTo>
                      <a:pt x="438" y="30"/>
                    </a:lnTo>
                    <a:lnTo>
                      <a:pt x="438" y="30"/>
                    </a:lnTo>
                    <a:lnTo>
                      <a:pt x="438" y="28"/>
                    </a:lnTo>
                    <a:lnTo>
                      <a:pt x="436" y="26"/>
                    </a:lnTo>
                    <a:lnTo>
                      <a:pt x="436" y="26"/>
                    </a:lnTo>
                    <a:lnTo>
                      <a:pt x="436" y="26"/>
                    </a:lnTo>
                    <a:lnTo>
                      <a:pt x="436" y="24"/>
                    </a:lnTo>
                    <a:lnTo>
                      <a:pt x="436" y="24"/>
                    </a:lnTo>
                    <a:lnTo>
                      <a:pt x="434" y="22"/>
                    </a:lnTo>
                    <a:lnTo>
                      <a:pt x="434" y="22"/>
                    </a:lnTo>
                    <a:lnTo>
                      <a:pt x="434" y="22"/>
                    </a:lnTo>
                    <a:lnTo>
                      <a:pt x="432" y="22"/>
                    </a:lnTo>
                    <a:lnTo>
                      <a:pt x="430" y="22"/>
                    </a:lnTo>
                    <a:lnTo>
                      <a:pt x="430" y="22"/>
                    </a:lnTo>
                    <a:lnTo>
                      <a:pt x="428" y="20"/>
                    </a:lnTo>
                    <a:lnTo>
                      <a:pt x="426" y="20"/>
                    </a:lnTo>
                    <a:lnTo>
                      <a:pt x="424" y="22"/>
                    </a:lnTo>
                    <a:lnTo>
                      <a:pt x="424" y="22"/>
                    </a:lnTo>
                    <a:lnTo>
                      <a:pt x="424" y="22"/>
                    </a:lnTo>
                    <a:lnTo>
                      <a:pt x="422" y="24"/>
                    </a:lnTo>
                    <a:lnTo>
                      <a:pt x="422" y="26"/>
                    </a:lnTo>
                    <a:lnTo>
                      <a:pt x="422" y="26"/>
                    </a:lnTo>
                    <a:lnTo>
                      <a:pt x="422" y="26"/>
                    </a:lnTo>
                    <a:lnTo>
                      <a:pt x="422" y="28"/>
                    </a:lnTo>
                    <a:lnTo>
                      <a:pt x="420" y="28"/>
                    </a:lnTo>
                    <a:lnTo>
                      <a:pt x="420" y="28"/>
                    </a:lnTo>
                    <a:lnTo>
                      <a:pt x="418" y="26"/>
                    </a:lnTo>
                    <a:lnTo>
                      <a:pt x="418" y="24"/>
                    </a:lnTo>
                    <a:lnTo>
                      <a:pt x="416" y="22"/>
                    </a:lnTo>
                    <a:lnTo>
                      <a:pt x="416" y="22"/>
                    </a:lnTo>
                    <a:lnTo>
                      <a:pt x="416" y="20"/>
                    </a:lnTo>
                    <a:lnTo>
                      <a:pt x="418" y="18"/>
                    </a:lnTo>
                    <a:lnTo>
                      <a:pt x="420" y="16"/>
                    </a:lnTo>
                    <a:lnTo>
                      <a:pt x="420" y="14"/>
                    </a:lnTo>
                    <a:lnTo>
                      <a:pt x="420" y="14"/>
                    </a:lnTo>
                    <a:lnTo>
                      <a:pt x="422" y="12"/>
                    </a:lnTo>
                    <a:lnTo>
                      <a:pt x="424" y="12"/>
                    </a:lnTo>
                    <a:lnTo>
                      <a:pt x="426" y="12"/>
                    </a:lnTo>
                    <a:lnTo>
                      <a:pt x="426" y="12"/>
                    </a:lnTo>
                    <a:lnTo>
                      <a:pt x="426" y="10"/>
                    </a:lnTo>
                    <a:lnTo>
                      <a:pt x="426" y="10"/>
                    </a:lnTo>
                    <a:lnTo>
                      <a:pt x="426" y="10"/>
                    </a:lnTo>
                    <a:lnTo>
                      <a:pt x="424" y="8"/>
                    </a:lnTo>
                    <a:lnTo>
                      <a:pt x="422" y="6"/>
                    </a:lnTo>
                    <a:lnTo>
                      <a:pt x="416" y="2"/>
                    </a:lnTo>
                    <a:lnTo>
                      <a:pt x="416" y="2"/>
                    </a:lnTo>
                    <a:lnTo>
                      <a:pt x="414" y="0"/>
                    </a:lnTo>
                    <a:lnTo>
                      <a:pt x="412" y="0"/>
                    </a:lnTo>
                    <a:lnTo>
                      <a:pt x="412" y="0"/>
                    </a:lnTo>
                    <a:lnTo>
                      <a:pt x="410" y="0"/>
                    </a:lnTo>
                    <a:lnTo>
                      <a:pt x="408" y="0"/>
                    </a:lnTo>
                    <a:lnTo>
                      <a:pt x="408" y="0"/>
                    </a:lnTo>
                    <a:lnTo>
                      <a:pt x="408" y="0"/>
                    </a:lnTo>
                    <a:lnTo>
                      <a:pt x="404" y="2"/>
                    </a:lnTo>
                    <a:lnTo>
                      <a:pt x="400" y="4"/>
                    </a:lnTo>
                    <a:lnTo>
                      <a:pt x="398" y="4"/>
                    </a:lnTo>
                    <a:lnTo>
                      <a:pt x="398" y="4"/>
                    </a:lnTo>
                    <a:lnTo>
                      <a:pt x="396" y="4"/>
                    </a:lnTo>
                    <a:lnTo>
                      <a:pt x="392" y="4"/>
                    </a:lnTo>
                    <a:lnTo>
                      <a:pt x="388" y="4"/>
                    </a:lnTo>
                    <a:lnTo>
                      <a:pt x="388" y="4"/>
                    </a:lnTo>
                    <a:lnTo>
                      <a:pt x="386" y="6"/>
                    </a:lnTo>
                    <a:lnTo>
                      <a:pt x="384" y="6"/>
                    </a:lnTo>
                    <a:lnTo>
                      <a:pt x="384" y="4"/>
                    </a:lnTo>
                    <a:lnTo>
                      <a:pt x="384" y="4"/>
                    </a:lnTo>
                    <a:lnTo>
                      <a:pt x="382" y="4"/>
                    </a:lnTo>
                    <a:lnTo>
                      <a:pt x="382" y="4"/>
                    </a:lnTo>
                    <a:lnTo>
                      <a:pt x="382" y="4"/>
                    </a:lnTo>
                    <a:lnTo>
                      <a:pt x="384" y="2"/>
                    </a:lnTo>
                    <a:lnTo>
                      <a:pt x="384" y="2"/>
                    </a:lnTo>
                    <a:lnTo>
                      <a:pt x="384" y="2"/>
                    </a:lnTo>
                    <a:lnTo>
                      <a:pt x="384" y="0"/>
                    </a:lnTo>
                    <a:lnTo>
                      <a:pt x="382" y="0"/>
                    </a:lnTo>
                    <a:lnTo>
                      <a:pt x="380" y="0"/>
                    </a:lnTo>
                    <a:lnTo>
                      <a:pt x="378" y="0"/>
                    </a:lnTo>
                    <a:lnTo>
                      <a:pt x="374" y="0"/>
                    </a:lnTo>
                    <a:lnTo>
                      <a:pt x="370" y="0"/>
                    </a:lnTo>
                    <a:lnTo>
                      <a:pt x="368" y="0"/>
                    </a:lnTo>
                    <a:lnTo>
                      <a:pt x="366" y="2"/>
                    </a:lnTo>
                    <a:lnTo>
                      <a:pt x="364" y="2"/>
                    </a:lnTo>
                    <a:lnTo>
                      <a:pt x="364" y="2"/>
                    </a:lnTo>
                    <a:lnTo>
                      <a:pt x="364" y="4"/>
                    </a:lnTo>
                    <a:lnTo>
                      <a:pt x="364" y="6"/>
                    </a:lnTo>
                    <a:lnTo>
                      <a:pt x="364" y="8"/>
                    </a:lnTo>
                    <a:lnTo>
                      <a:pt x="364" y="8"/>
                    </a:lnTo>
                    <a:lnTo>
                      <a:pt x="364" y="8"/>
                    </a:lnTo>
                    <a:lnTo>
                      <a:pt x="364" y="10"/>
                    </a:lnTo>
                    <a:lnTo>
                      <a:pt x="366" y="12"/>
                    </a:lnTo>
                    <a:lnTo>
                      <a:pt x="366" y="12"/>
                    </a:lnTo>
                    <a:lnTo>
                      <a:pt x="366" y="12"/>
                    </a:lnTo>
                    <a:lnTo>
                      <a:pt x="366" y="14"/>
                    </a:lnTo>
                    <a:lnTo>
                      <a:pt x="366" y="14"/>
                    </a:lnTo>
                    <a:lnTo>
                      <a:pt x="364" y="14"/>
                    </a:lnTo>
                    <a:lnTo>
                      <a:pt x="364" y="14"/>
                    </a:lnTo>
                    <a:lnTo>
                      <a:pt x="362" y="14"/>
                    </a:lnTo>
                    <a:lnTo>
                      <a:pt x="362" y="14"/>
                    </a:lnTo>
                    <a:lnTo>
                      <a:pt x="360" y="14"/>
                    </a:lnTo>
                    <a:lnTo>
                      <a:pt x="360" y="14"/>
                    </a:lnTo>
                    <a:lnTo>
                      <a:pt x="358" y="12"/>
                    </a:lnTo>
                    <a:lnTo>
                      <a:pt x="356" y="12"/>
                    </a:lnTo>
                    <a:lnTo>
                      <a:pt x="356" y="8"/>
                    </a:lnTo>
                    <a:lnTo>
                      <a:pt x="354" y="8"/>
                    </a:lnTo>
                    <a:lnTo>
                      <a:pt x="354" y="8"/>
                    </a:lnTo>
                    <a:lnTo>
                      <a:pt x="350" y="6"/>
                    </a:lnTo>
                    <a:lnTo>
                      <a:pt x="348" y="6"/>
                    </a:lnTo>
                    <a:lnTo>
                      <a:pt x="346" y="6"/>
                    </a:lnTo>
                    <a:lnTo>
                      <a:pt x="344" y="8"/>
                    </a:lnTo>
                    <a:lnTo>
                      <a:pt x="344" y="8"/>
                    </a:lnTo>
                    <a:lnTo>
                      <a:pt x="342" y="8"/>
                    </a:lnTo>
                    <a:lnTo>
                      <a:pt x="342" y="8"/>
                    </a:lnTo>
                    <a:lnTo>
                      <a:pt x="340" y="6"/>
                    </a:lnTo>
                    <a:lnTo>
                      <a:pt x="338" y="6"/>
                    </a:lnTo>
                    <a:lnTo>
                      <a:pt x="338" y="6"/>
                    </a:lnTo>
                    <a:lnTo>
                      <a:pt x="338" y="4"/>
                    </a:lnTo>
                    <a:lnTo>
                      <a:pt x="336" y="4"/>
                    </a:lnTo>
                    <a:lnTo>
                      <a:pt x="334" y="4"/>
                    </a:lnTo>
                    <a:lnTo>
                      <a:pt x="334" y="4"/>
                    </a:lnTo>
                    <a:lnTo>
                      <a:pt x="332" y="4"/>
                    </a:lnTo>
                    <a:lnTo>
                      <a:pt x="328" y="4"/>
                    </a:lnTo>
                    <a:lnTo>
                      <a:pt x="326" y="6"/>
                    </a:lnTo>
                    <a:lnTo>
                      <a:pt x="324" y="6"/>
                    </a:lnTo>
                    <a:lnTo>
                      <a:pt x="324" y="6"/>
                    </a:lnTo>
                    <a:lnTo>
                      <a:pt x="320" y="10"/>
                    </a:lnTo>
                    <a:lnTo>
                      <a:pt x="318" y="12"/>
                    </a:lnTo>
                    <a:lnTo>
                      <a:pt x="318" y="12"/>
                    </a:lnTo>
                    <a:lnTo>
                      <a:pt x="316" y="12"/>
                    </a:lnTo>
                    <a:lnTo>
                      <a:pt x="316" y="12"/>
                    </a:lnTo>
                    <a:lnTo>
                      <a:pt x="314" y="12"/>
                    </a:lnTo>
                    <a:lnTo>
                      <a:pt x="314" y="10"/>
                    </a:lnTo>
                    <a:lnTo>
                      <a:pt x="312" y="10"/>
                    </a:lnTo>
                    <a:lnTo>
                      <a:pt x="310" y="10"/>
                    </a:lnTo>
                    <a:lnTo>
                      <a:pt x="310" y="10"/>
                    </a:lnTo>
                    <a:lnTo>
                      <a:pt x="308" y="10"/>
                    </a:lnTo>
                    <a:lnTo>
                      <a:pt x="308" y="12"/>
                    </a:lnTo>
                    <a:lnTo>
                      <a:pt x="306" y="12"/>
                    </a:lnTo>
                    <a:lnTo>
                      <a:pt x="306" y="12"/>
                    </a:lnTo>
                    <a:lnTo>
                      <a:pt x="302" y="16"/>
                    </a:lnTo>
                    <a:lnTo>
                      <a:pt x="298" y="20"/>
                    </a:lnTo>
                    <a:lnTo>
                      <a:pt x="298" y="20"/>
                    </a:lnTo>
                    <a:lnTo>
                      <a:pt x="296" y="26"/>
                    </a:lnTo>
                    <a:lnTo>
                      <a:pt x="292" y="28"/>
                    </a:lnTo>
                    <a:lnTo>
                      <a:pt x="292" y="28"/>
                    </a:lnTo>
                    <a:lnTo>
                      <a:pt x="288" y="32"/>
                    </a:lnTo>
                    <a:lnTo>
                      <a:pt x="286" y="34"/>
                    </a:lnTo>
                    <a:lnTo>
                      <a:pt x="284" y="34"/>
                    </a:lnTo>
                    <a:lnTo>
                      <a:pt x="284" y="34"/>
                    </a:lnTo>
                    <a:lnTo>
                      <a:pt x="280" y="34"/>
                    </a:lnTo>
                    <a:lnTo>
                      <a:pt x="278" y="34"/>
                    </a:lnTo>
                    <a:lnTo>
                      <a:pt x="272" y="34"/>
                    </a:lnTo>
                    <a:lnTo>
                      <a:pt x="272" y="34"/>
                    </a:lnTo>
                    <a:lnTo>
                      <a:pt x="268" y="34"/>
                    </a:lnTo>
                    <a:lnTo>
                      <a:pt x="264" y="34"/>
                    </a:lnTo>
                    <a:lnTo>
                      <a:pt x="262" y="34"/>
                    </a:lnTo>
                    <a:lnTo>
                      <a:pt x="262" y="34"/>
                    </a:lnTo>
                    <a:lnTo>
                      <a:pt x="260" y="32"/>
                    </a:lnTo>
                    <a:lnTo>
                      <a:pt x="258" y="30"/>
                    </a:lnTo>
                    <a:lnTo>
                      <a:pt x="254" y="30"/>
                    </a:lnTo>
                    <a:lnTo>
                      <a:pt x="254" y="28"/>
                    </a:lnTo>
                    <a:lnTo>
                      <a:pt x="252" y="28"/>
                    </a:lnTo>
                    <a:lnTo>
                      <a:pt x="252" y="28"/>
                    </a:lnTo>
                    <a:lnTo>
                      <a:pt x="252" y="30"/>
                    </a:lnTo>
                    <a:lnTo>
                      <a:pt x="250" y="30"/>
                    </a:lnTo>
                    <a:lnTo>
                      <a:pt x="250" y="32"/>
                    </a:lnTo>
                    <a:lnTo>
                      <a:pt x="250" y="32"/>
                    </a:lnTo>
                    <a:lnTo>
                      <a:pt x="248" y="34"/>
                    </a:lnTo>
                    <a:lnTo>
                      <a:pt x="246" y="36"/>
                    </a:lnTo>
                    <a:lnTo>
                      <a:pt x="246" y="36"/>
                    </a:lnTo>
                    <a:lnTo>
                      <a:pt x="242" y="38"/>
                    </a:lnTo>
                    <a:lnTo>
                      <a:pt x="236" y="40"/>
                    </a:lnTo>
                    <a:lnTo>
                      <a:pt x="236" y="40"/>
                    </a:lnTo>
                    <a:lnTo>
                      <a:pt x="234" y="40"/>
                    </a:lnTo>
                    <a:lnTo>
                      <a:pt x="232" y="42"/>
                    </a:lnTo>
                    <a:lnTo>
                      <a:pt x="230" y="44"/>
                    </a:lnTo>
                    <a:lnTo>
                      <a:pt x="230" y="44"/>
                    </a:lnTo>
                    <a:lnTo>
                      <a:pt x="228" y="46"/>
                    </a:lnTo>
                    <a:lnTo>
                      <a:pt x="230" y="46"/>
                    </a:lnTo>
                    <a:lnTo>
                      <a:pt x="230" y="46"/>
                    </a:lnTo>
                    <a:lnTo>
                      <a:pt x="230" y="48"/>
                    </a:lnTo>
                    <a:lnTo>
                      <a:pt x="232" y="48"/>
                    </a:lnTo>
                    <a:lnTo>
                      <a:pt x="232" y="50"/>
                    </a:lnTo>
                    <a:lnTo>
                      <a:pt x="234" y="50"/>
                    </a:lnTo>
                    <a:lnTo>
                      <a:pt x="234" y="50"/>
                    </a:lnTo>
                    <a:lnTo>
                      <a:pt x="238" y="54"/>
                    </a:lnTo>
                    <a:lnTo>
                      <a:pt x="238" y="56"/>
                    </a:lnTo>
                    <a:lnTo>
                      <a:pt x="240" y="58"/>
                    </a:lnTo>
                    <a:lnTo>
                      <a:pt x="240" y="58"/>
                    </a:lnTo>
                    <a:lnTo>
                      <a:pt x="240" y="60"/>
                    </a:lnTo>
                    <a:lnTo>
                      <a:pt x="240" y="64"/>
                    </a:lnTo>
                    <a:lnTo>
                      <a:pt x="240" y="64"/>
                    </a:lnTo>
                    <a:lnTo>
                      <a:pt x="240" y="66"/>
                    </a:lnTo>
                    <a:lnTo>
                      <a:pt x="242" y="68"/>
                    </a:lnTo>
                    <a:lnTo>
                      <a:pt x="242" y="70"/>
                    </a:lnTo>
                    <a:lnTo>
                      <a:pt x="244" y="72"/>
                    </a:lnTo>
                    <a:lnTo>
                      <a:pt x="244" y="72"/>
                    </a:lnTo>
                    <a:lnTo>
                      <a:pt x="246" y="74"/>
                    </a:lnTo>
                    <a:lnTo>
                      <a:pt x="246" y="76"/>
                    </a:lnTo>
                    <a:lnTo>
                      <a:pt x="246" y="78"/>
                    </a:lnTo>
                    <a:lnTo>
                      <a:pt x="246" y="82"/>
                    </a:lnTo>
                    <a:lnTo>
                      <a:pt x="246" y="82"/>
                    </a:lnTo>
                    <a:lnTo>
                      <a:pt x="246" y="84"/>
                    </a:lnTo>
                    <a:lnTo>
                      <a:pt x="246" y="86"/>
                    </a:lnTo>
                    <a:lnTo>
                      <a:pt x="244" y="92"/>
                    </a:lnTo>
                    <a:lnTo>
                      <a:pt x="244" y="92"/>
                    </a:lnTo>
                    <a:lnTo>
                      <a:pt x="244" y="92"/>
                    </a:lnTo>
                    <a:lnTo>
                      <a:pt x="244" y="94"/>
                    </a:lnTo>
                    <a:lnTo>
                      <a:pt x="244" y="96"/>
                    </a:lnTo>
                    <a:lnTo>
                      <a:pt x="246" y="96"/>
                    </a:lnTo>
                    <a:lnTo>
                      <a:pt x="248" y="98"/>
                    </a:lnTo>
                    <a:lnTo>
                      <a:pt x="248" y="100"/>
                    </a:lnTo>
                    <a:lnTo>
                      <a:pt x="254" y="100"/>
                    </a:lnTo>
                    <a:lnTo>
                      <a:pt x="256" y="102"/>
                    </a:lnTo>
                    <a:lnTo>
                      <a:pt x="260" y="102"/>
                    </a:lnTo>
                    <a:lnTo>
                      <a:pt x="260" y="102"/>
                    </a:lnTo>
                    <a:lnTo>
                      <a:pt x="260" y="108"/>
                    </a:lnTo>
                    <a:lnTo>
                      <a:pt x="260" y="110"/>
                    </a:lnTo>
                    <a:lnTo>
                      <a:pt x="260" y="112"/>
                    </a:lnTo>
                    <a:lnTo>
                      <a:pt x="260" y="112"/>
                    </a:lnTo>
                    <a:lnTo>
                      <a:pt x="260" y="112"/>
                    </a:lnTo>
                    <a:lnTo>
                      <a:pt x="262" y="112"/>
                    </a:lnTo>
                    <a:lnTo>
                      <a:pt x="264" y="112"/>
                    </a:lnTo>
                    <a:lnTo>
                      <a:pt x="266" y="112"/>
                    </a:lnTo>
                    <a:lnTo>
                      <a:pt x="270" y="112"/>
                    </a:lnTo>
                    <a:lnTo>
                      <a:pt x="272" y="112"/>
                    </a:lnTo>
                    <a:lnTo>
                      <a:pt x="272" y="112"/>
                    </a:lnTo>
                    <a:lnTo>
                      <a:pt x="272" y="112"/>
                    </a:lnTo>
                    <a:lnTo>
                      <a:pt x="274" y="114"/>
                    </a:lnTo>
                    <a:lnTo>
                      <a:pt x="272" y="114"/>
                    </a:lnTo>
                    <a:lnTo>
                      <a:pt x="272" y="116"/>
                    </a:lnTo>
                    <a:lnTo>
                      <a:pt x="272" y="118"/>
                    </a:lnTo>
                    <a:lnTo>
                      <a:pt x="270" y="120"/>
                    </a:lnTo>
                    <a:lnTo>
                      <a:pt x="270" y="120"/>
                    </a:lnTo>
                    <a:lnTo>
                      <a:pt x="266" y="120"/>
                    </a:lnTo>
                    <a:lnTo>
                      <a:pt x="264" y="120"/>
                    </a:lnTo>
                    <a:lnTo>
                      <a:pt x="262" y="118"/>
                    </a:lnTo>
                    <a:lnTo>
                      <a:pt x="260" y="118"/>
                    </a:lnTo>
                    <a:lnTo>
                      <a:pt x="260" y="118"/>
                    </a:lnTo>
                    <a:lnTo>
                      <a:pt x="258" y="116"/>
                    </a:lnTo>
                    <a:lnTo>
                      <a:pt x="256" y="114"/>
                    </a:lnTo>
                    <a:lnTo>
                      <a:pt x="256" y="112"/>
                    </a:lnTo>
                    <a:lnTo>
                      <a:pt x="256" y="110"/>
                    </a:lnTo>
                    <a:lnTo>
                      <a:pt x="256" y="110"/>
                    </a:lnTo>
                    <a:lnTo>
                      <a:pt x="256" y="108"/>
                    </a:lnTo>
                    <a:lnTo>
                      <a:pt x="256" y="106"/>
                    </a:lnTo>
                    <a:lnTo>
                      <a:pt x="256" y="106"/>
                    </a:lnTo>
                    <a:lnTo>
                      <a:pt x="254" y="104"/>
                    </a:lnTo>
                    <a:lnTo>
                      <a:pt x="254" y="104"/>
                    </a:lnTo>
                    <a:lnTo>
                      <a:pt x="252" y="106"/>
                    </a:lnTo>
                    <a:lnTo>
                      <a:pt x="252" y="106"/>
                    </a:lnTo>
                    <a:lnTo>
                      <a:pt x="252" y="106"/>
                    </a:lnTo>
                    <a:lnTo>
                      <a:pt x="252" y="108"/>
                    </a:lnTo>
                    <a:lnTo>
                      <a:pt x="252" y="108"/>
                    </a:lnTo>
                    <a:lnTo>
                      <a:pt x="252" y="112"/>
                    </a:lnTo>
                    <a:lnTo>
                      <a:pt x="250" y="114"/>
                    </a:lnTo>
                    <a:lnTo>
                      <a:pt x="250" y="114"/>
                    </a:lnTo>
                    <a:lnTo>
                      <a:pt x="250" y="116"/>
                    </a:lnTo>
                    <a:lnTo>
                      <a:pt x="248" y="116"/>
                    </a:lnTo>
                    <a:lnTo>
                      <a:pt x="248" y="118"/>
                    </a:lnTo>
                    <a:lnTo>
                      <a:pt x="248" y="120"/>
                    </a:lnTo>
                    <a:lnTo>
                      <a:pt x="248" y="120"/>
                    </a:lnTo>
                    <a:lnTo>
                      <a:pt x="248" y="120"/>
                    </a:lnTo>
                    <a:lnTo>
                      <a:pt x="248" y="122"/>
                    </a:lnTo>
                    <a:lnTo>
                      <a:pt x="248" y="122"/>
                    </a:lnTo>
                    <a:lnTo>
                      <a:pt x="252" y="120"/>
                    </a:lnTo>
                    <a:lnTo>
                      <a:pt x="252" y="120"/>
                    </a:lnTo>
                    <a:lnTo>
                      <a:pt x="252" y="120"/>
                    </a:lnTo>
                    <a:lnTo>
                      <a:pt x="254" y="120"/>
                    </a:lnTo>
                    <a:lnTo>
                      <a:pt x="254" y="120"/>
                    </a:lnTo>
                    <a:lnTo>
                      <a:pt x="254" y="122"/>
                    </a:lnTo>
                    <a:lnTo>
                      <a:pt x="254" y="122"/>
                    </a:lnTo>
                    <a:lnTo>
                      <a:pt x="256" y="124"/>
                    </a:lnTo>
                    <a:lnTo>
                      <a:pt x="256" y="126"/>
                    </a:lnTo>
                    <a:lnTo>
                      <a:pt x="256" y="128"/>
                    </a:lnTo>
                    <a:lnTo>
                      <a:pt x="256" y="128"/>
                    </a:lnTo>
                    <a:lnTo>
                      <a:pt x="254" y="128"/>
                    </a:lnTo>
                    <a:lnTo>
                      <a:pt x="254" y="128"/>
                    </a:lnTo>
                    <a:lnTo>
                      <a:pt x="254" y="128"/>
                    </a:lnTo>
                    <a:lnTo>
                      <a:pt x="250" y="126"/>
                    </a:lnTo>
                    <a:lnTo>
                      <a:pt x="248" y="126"/>
                    </a:lnTo>
                    <a:lnTo>
                      <a:pt x="244" y="124"/>
                    </a:lnTo>
                    <a:lnTo>
                      <a:pt x="244" y="124"/>
                    </a:lnTo>
                    <a:lnTo>
                      <a:pt x="240" y="124"/>
                    </a:lnTo>
                    <a:lnTo>
                      <a:pt x="238" y="122"/>
                    </a:lnTo>
                    <a:lnTo>
                      <a:pt x="236" y="122"/>
                    </a:lnTo>
                    <a:lnTo>
                      <a:pt x="232" y="120"/>
                    </a:lnTo>
                    <a:lnTo>
                      <a:pt x="232" y="120"/>
                    </a:lnTo>
                    <a:lnTo>
                      <a:pt x="232" y="118"/>
                    </a:lnTo>
                    <a:lnTo>
                      <a:pt x="230" y="118"/>
                    </a:lnTo>
                    <a:lnTo>
                      <a:pt x="230" y="116"/>
                    </a:lnTo>
                    <a:lnTo>
                      <a:pt x="230" y="114"/>
                    </a:lnTo>
                    <a:lnTo>
                      <a:pt x="230" y="114"/>
                    </a:lnTo>
                    <a:lnTo>
                      <a:pt x="230" y="112"/>
                    </a:lnTo>
                    <a:lnTo>
                      <a:pt x="232" y="112"/>
                    </a:lnTo>
                    <a:lnTo>
                      <a:pt x="232" y="112"/>
                    </a:lnTo>
                    <a:lnTo>
                      <a:pt x="234" y="110"/>
                    </a:lnTo>
                    <a:lnTo>
                      <a:pt x="236" y="110"/>
                    </a:lnTo>
                    <a:lnTo>
                      <a:pt x="238" y="108"/>
                    </a:lnTo>
                    <a:lnTo>
                      <a:pt x="238" y="108"/>
                    </a:lnTo>
                    <a:lnTo>
                      <a:pt x="240" y="108"/>
                    </a:lnTo>
                    <a:lnTo>
                      <a:pt x="238" y="106"/>
                    </a:lnTo>
                    <a:lnTo>
                      <a:pt x="238" y="106"/>
                    </a:lnTo>
                    <a:lnTo>
                      <a:pt x="238" y="106"/>
                    </a:lnTo>
                    <a:lnTo>
                      <a:pt x="236" y="106"/>
                    </a:lnTo>
                    <a:lnTo>
                      <a:pt x="232" y="106"/>
                    </a:lnTo>
                    <a:lnTo>
                      <a:pt x="228" y="106"/>
                    </a:lnTo>
                    <a:lnTo>
                      <a:pt x="228" y="106"/>
                    </a:lnTo>
                    <a:lnTo>
                      <a:pt x="224" y="106"/>
                    </a:lnTo>
                    <a:lnTo>
                      <a:pt x="224" y="104"/>
                    </a:lnTo>
                    <a:lnTo>
                      <a:pt x="224" y="104"/>
                    </a:lnTo>
                    <a:lnTo>
                      <a:pt x="218" y="104"/>
                    </a:lnTo>
                    <a:lnTo>
                      <a:pt x="216" y="102"/>
                    </a:lnTo>
                    <a:lnTo>
                      <a:pt x="216" y="102"/>
                    </a:lnTo>
                    <a:lnTo>
                      <a:pt x="216" y="102"/>
                    </a:lnTo>
                    <a:lnTo>
                      <a:pt x="214" y="102"/>
                    </a:lnTo>
                    <a:lnTo>
                      <a:pt x="212" y="104"/>
                    </a:lnTo>
                    <a:lnTo>
                      <a:pt x="210" y="104"/>
                    </a:lnTo>
                    <a:lnTo>
                      <a:pt x="208" y="106"/>
                    </a:lnTo>
                    <a:lnTo>
                      <a:pt x="206" y="106"/>
                    </a:lnTo>
                    <a:lnTo>
                      <a:pt x="206" y="106"/>
                    </a:lnTo>
                    <a:lnTo>
                      <a:pt x="204" y="106"/>
                    </a:lnTo>
                    <a:lnTo>
                      <a:pt x="200" y="106"/>
                    </a:lnTo>
                    <a:lnTo>
                      <a:pt x="196" y="106"/>
                    </a:lnTo>
                    <a:lnTo>
                      <a:pt x="196" y="106"/>
                    </a:lnTo>
                    <a:lnTo>
                      <a:pt x="192" y="106"/>
                    </a:lnTo>
                    <a:lnTo>
                      <a:pt x="190" y="108"/>
                    </a:lnTo>
                    <a:lnTo>
                      <a:pt x="186" y="108"/>
                    </a:lnTo>
                    <a:lnTo>
                      <a:pt x="184" y="108"/>
                    </a:lnTo>
                    <a:lnTo>
                      <a:pt x="184" y="108"/>
                    </a:lnTo>
                    <a:lnTo>
                      <a:pt x="180" y="112"/>
                    </a:lnTo>
                    <a:lnTo>
                      <a:pt x="178" y="112"/>
                    </a:lnTo>
                    <a:lnTo>
                      <a:pt x="176" y="114"/>
                    </a:lnTo>
                    <a:lnTo>
                      <a:pt x="176" y="114"/>
                    </a:lnTo>
                    <a:lnTo>
                      <a:pt x="174" y="112"/>
                    </a:lnTo>
                    <a:lnTo>
                      <a:pt x="170" y="114"/>
                    </a:lnTo>
                    <a:lnTo>
                      <a:pt x="170" y="114"/>
                    </a:lnTo>
                    <a:lnTo>
                      <a:pt x="168" y="114"/>
                    </a:lnTo>
                    <a:lnTo>
                      <a:pt x="168" y="114"/>
                    </a:lnTo>
                    <a:lnTo>
                      <a:pt x="166" y="114"/>
                    </a:lnTo>
                    <a:lnTo>
                      <a:pt x="166" y="114"/>
                    </a:lnTo>
                    <a:lnTo>
                      <a:pt x="164" y="114"/>
                    </a:lnTo>
                    <a:lnTo>
                      <a:pt x="162" y="112"/>
                    </a:lnTo>
                    <a:lnTo>
                      <a:pt x="160" y="114"/>
                    </a:lnTo>
                    <a:lnTo>
                      <a:pt x="160" y="114"/>
                    </a:lnTo>
                    <a:lnTo>
                      <a:pt x="160" y="114"/>
                    </a:lnTo>
                    <a:lnTo>
                      <a:pt x="160" y="116"/>
                    </a:lnTo>
                    <a:lnTo>
                      <a:pt x="160" y="116"/>
                    </a:lnTo>
                    <a:lnTo>
                      <a:pt x="160" y="118"/>
                    </a:lnTo>
                    <a:lnTo>
                      <a:pt x="160" y="118"/>
                    </a:lnTo>
                    <a:lnTo>
                      <a:pt x="160" y="120"/>
                    </a:lnTo>
                    <a:lnTo>
                      <a:pt x="160" y="120"/>
                    </a:lnTo>
                    <a:lnTo>
                      <a:pt x="162" y="122"/>
                    </a:lnTo>
                    <a:lnTo>
                      <a:pt x="166" y="126"/>
                    </a:lnTo>
                    <a:lnTo>
                      <a:pt x="166" y="126"/>
                    </a:lnTo>
                    <a:lnTo>
                      <a:pt x="168" y="128"/>
                    </a:lnTo>
                    <a:lnTo>
                      <a:pt x="168" y="130"/>
                    </a:lnTo>
                    <a:lnTo>
                      <a:pt x="168" y="132"/>
                    </a:lnTo>
                    <a:lnTo>
                      <a:pt x="168" y="134"/>
                    </a:lnTo>
                    <a:lnTo>
                      <a:pt x="168" y="134"/>
                    </a:lnTo>
                    <a:lnTo>
                      <a:pt x="168" y="136"/>
                    </a:lnTo>
                    <a:lnTo>
                      <a:pt x="166" y="138"/>
                    </a:lnTo>
                    <a:lnTo>
                      <a:pt x="166" y="140"/>
                    </a:lnTo>
                    <a:lnTo>
                      <a:pt x="166" y="142"/>
                    </a:lnTo>
                    <a:lnTo>
                      <a:pt x="166" y="142"/>
                    </a:lnTo>
                    <a:lnTo>
                      <a:pt x="166" y="144"/>
                    </a:lnTo>
                    <a:lnTo>
                      <a:pt x="166" y="146"/>
                    </a:lnTo>
                    <a:lnTo>
                      <a:pt x="168" y="148"/>
                    </a:lnTo>
                    <a:lnTo>
                      <a:pt x="168" y="148"/>
                    </a:lnTo>
                    <a:lnTo>
                      <a:pt x="168" y="150"/>
                    </a:lnTo>
                    <a:lnTo>
                      <a:pt x="170" y="152"/>
                    </a:lnTo>
                    <a:lnTo>
                      <a:pt x="170" y="152"/>
                    </a:lnTo>
                    <a:lnTo>
                      <a:pt x="170" y="154"/>
                    </a:lnTo>
                    <a:lnTo>
                      <a:pt x="172" y="156"/>
                    </a:lnTo>
                    <a:lnTo>
                      <a:pt x="172" y="156"/>
                    </a:lnTo>
                    <a:lnTo>
                      <a:pt x="172" y="156"/>
                    </a:lnTo>
                    <a:lnTo>
                      <a:pt x="172" y="158"/>
                    </a:lnTo>
                    <a:lnTo>
                      <a:pt x="174" y="160"/>
                    </a:lnTo>
                    <a:lnTo>
                      <a:pt x="174" y="160"/>
                    </a:lnTo>
                    <a:lnTo>
                      <a:pt x="174" y="162"/>
                    </a:lnTo>
                    <a:lnTo>
                      <a:pt x="174" y="164"/>
                    </a:lnTo>
                    <a:lnTo>
                      <a:pt x="174" y="164"/>
                    </a:lnTo>
                    <a:lnTo>
                      <a:pt x="174" y="164"/>
                    </a:lnTo>
                    <a:lnTo>
                      <a:pt x="174" y="166"/>
                    </a:lnTo>
                    <a:lnTo>
                      <a:pt x="174" y="166"/>
                    </a:lnTo>
                    <a:lnTo>
                      <a:pt x="178" y="168"/>
                    </a:lnTo>
                    <a:lnTo>
                      <a:pt x="178" y="168"/>
                    </a:lnTo>
                    <a:lnTo>
                      <a:pt x="180" y="168"/>
                    </a:lnTo>
                    <a:lnTo>
                      <a:pt x="182" y="168"/>
                    </a:lnTo>
                    <a:lnTo>
                      <a:pt x="188" y="170"/>
                    </a:lnTo>
                    <a:lnTo>
                      <a:pt x="188" y="170"/>
                    </a:lnTo>
                    <a:lnTo>
                      <a:pt x="194" y="172"/>
                    </a:lnTo>
                    <a:lnTo>
                      <a:pt x="198" y="172"/>
                    </a:lnTo>
                    <a:lnTo>
                      <a:pt x="198" y="172"/>
                    </a:lnTo>
                    <a:lnTo>
                      <a:pt x="200" y="172"/>
                    </a:lnTo>
                    <a:lnTo>
                      <a:pt x="204" y="174"/>
                    </a:lnTo>
                    <a:lnTo>
                      <a:pt x="206" y="174"/>
                    </a:lnTo>
                    <a:lnTo>
                      <a:pt x="208" y="176"/>
                    </a:lnTo>
                    <a:lnTo>
                      <a:pt x="208" y="176"/>
                    </a:lnTo>
                    <a:lnTo>
                      <a:pt x="210" y="178"/>
                    </a:lnTo>
                    <a:lnTo>
                      <a:pt x="212" y="180"/>
                    </a:lnTo>
                    <a:lnTo>
                      <a:pt x="214" y="180"/>
                    </a:lnTo>
                    <a:lnTo>
                      <a:pt x="214" y="180"/>
                    </a:lnTo>
                    <a:lnTo>
                      <a:pt x="216" y="180"/>
                    </a:lnTo>
                    <a:lnTo>
                      <a:pt x="216" y="180"/>
                    </a:lnTo>
                    <a:lnTo>
                      <a:pt x="216" y="180"/>
                    </a:lnTo>
                    <a:lnTo>
                      <a:pt x="218" y="180"/>
                    </a:lnTo>
                    <a:lnTo>
                      <a:pt x="222" y="178"/>
                    </a:lnTo>
                    <a:lnTo>
                      <a:pt x="224" y="176"/>
                    </a:lnTo>
                    <a:lnTo>
                      <a:pt x="224" y="176"/>
                    </a:lnTo>
                    <a:lnTo>
                      <a:pt x="224" y="176"/>
                    </a:lnTo>
                    <a:lnTo>
                      <a:pt x="226" y="174"/>
                    </a:lnTo>
                    <a:lnTo>
                      <a:pt x="228" y="174"/>
                    </a:lnTo>
                    <a:lnTo>
                      <a:pt x="234" y="174"/>
                    </a:lnTo>
                    <a:lnTo>
                      <a:pt x="234" y="174"/>
                    </a:lnTo>
                    <a:lnTo>
                      <a:pt x="236" y="174"/>
                    </a:lnTo>
                    <a:lnTo>
                      <a:pt x="238" y="174"/>
                    </a:lnTo>
                    <a:lnTo>
                      <a:pt x="238" y="174"/>
                    </a:lnTo>
                    <a:lnTo>
                      <a:pt x="238" y="174"/>
                    </a:lnTo>
                    <a:lnTo>
                      <a:pt x="238" y="174"/>
                    </a:lnTo>
                    <a:lnTo>
                      <a:pt x="238" y="176"/>
                    </a:lnTo>
                    <a:lnTo>
                      <a:pt x="236" y="176"/>
                    </a:lnTo>
                    <a:lnTo>
                      <a:pt x="236" y="178"/>
                    </a:lnTo>
                    <a:lnTo>
                      <a:pt x="236" y="178"/>
                    </a:lnTo>
                    <a:lnTo>
                      <a:pt x="234" y="180"/>
                    </a:lnTo>
                    <a:lnTo>
                      <a:pt x="232" y="180"/>
                    </a:lnTo>
                    <a:lnTo>
                      <a:pt x="230" y="180"/>
                    </a:lnTo>
                    <a:lnTo>
                      <a:pt x="228" y="180"/>
                    </a:lnTo>
                    <a:lnTo>
                      <a:pt x="226" y="182"/>
                    </a:lnTo>
                    <a:lnTo>
                      <a:pt x="226" y="182"/>
                    </a:lnTo>
                    <a:lnTo>
                      <a:pt x="226" y="182"/>
                    </a:lnTo>
                    <a:lnTo>
                      <a:pt x="226" y="182"/>
                    </a:lnTo>
                    <a:lnTo>
                      <a:pt x="224" y="184"/>
                    </a:lnTo>
                    <a:lnTo>
                      <a:pt x="224" y="186"/>
                    </a:lnTo>
                    <a:lnTo>
                      <a:pt x="224" y="188"/>
                    </a:lnTo>
                    <a:lnTo>
                      <a:pt x="224" y="192"/>
                    </a:lnTo>
                    <a:lnTo>
                      <a:pt x="224" y="192"/>
                    </a:lnTo>
                    <a:lnTo>
                      <a:pt x="222" y="196"/>
                    </a:lnTo>
                    <a:lnTo>
                      <a:pt x="216" y="200"/>
                    </a:lnTo>
                    <a:lnTo>
                      <a:pt x="216" y="200"/>
                    </a:lnTo>
                    <a:lnTo>
                      <a:pt x="214" y="202"/>
                    </a:lnTo>
                    <a:lnTo>
                      <a:pt x="210" y="204"/>
                    </a:lnTo>
                    <a:lnTo>
                      <a:pt x="206" y="206"/>
                    </a:lnTo>
                    <a:lnTo>
                      <a:pt x="204" y="208"/>
                    </a:lnTo>
                    <a:lnTo>
                      <a:pt x="202" y="208"/>
                    </a:lnTo>
                    <a:lnTo>
                      <a:pt x="200" y="208"/>
                    </a:lnTo>
                    <a:lnTo>
                      <a:pt x="200" y="208"/>
                    </a:lnTo>
                    <a:lnTo>
                      <a:pt x="196" y="206"/>
                    </a:lnTo>
                    <a:lnTo>
                      <a:pt x="194" y="206"/>
                    </a:lnTo>
                    <a:lnTo>
                      <a:pt x="194" y="206"/>
                    </a:lnTo>
                    <a:lnTo>
                      <a:pt x="192" y="206"/>
                    </a:lnTo>
                    <a:lnTo>
                      <a:pt x="192" y="206"/>
                    </a:lnTo>
                    <a:lnTo>
                      <a:pt x="186" y="208"/>
                    </a:lnTo>
                    <a:lnTo>
                      <a:pt x="184" y="210"/>
                    </a:lnTo>
                    <a:lnTo>
                      <a:pt x="182" y="210"/>
                    </a:lnTo>
                    <a:lnTo>
                      <a:pt x="182" y="210"/>
                    </a:lnTo>
                    <a:lnTo>
                      <a:pt x="176" y="210"/>
                    </a:lnTo>
                    <a:lnTo>
                      <a:pt x="174" y="210"/>
                    </a:lnTo>
                    <a:lnTo>
                      <a:pt x="172" y="208"/>
                    </a:lnTo>
                    <a:lnTo>
                      <a:pt x="172" y="208"/>
                    </a:lnTo>
                    <a:lnTo>
                      <a:pt x="166" y="208"/>
                    </a:lnTo>
                    <a:lnTo>
                      <a:pt x="164" y="206"/>
                    </a:lnTo>
                    <a:lnTo>
                      <a:pt x="162" y="206"/>
                    </a:lnTo>
                    <a:lnTo>
                      <a:pt x="162" y="206"/>
                    </a:lnTo>
                    <a:lnTo>
                      <a:pt x="158" y="206"/>
                    </a:lnTo>
                    <a:lnTo>
                      <a:pt x="156" y="208"/>
                    </a:lnTo>
                    <a:lnTo>
                      <a:pt x="154" y="208"/>
                    </a:lnTo>
                    <a:lnTo>
                      <a:pt x="152" y="210"/>
                    </a:lnTo>
                    <a:lnTo>
                      <a:pt x="150" y="214"/>
                    </a:lnTo>
                    <a:lnTo>
                      <a:pt x="148" y="218"/>
                    </a:lnTo>
                    <a:lnTo>
                      <a:pt x="148" y="218"/>
                    </a:lnTo>
                    <a:lnTo>
                      <a:pt x="146" y="220"/>
                    </a:lnTo>
                    <a:lnTo>
                      <a:pt x="144" y="222"/>
                    </a:lnTo>
                    <a:lnTo>
                      <a:pt x="140" y="224"/>
                    </a:lnTo>
                    <a:lnTo>
                      <a:pt x="140" y="224"/>
                    </a:lnTo>
                    <a:lnTo>
                      <a:pt x="138" y="224"/>
                    </a:lnTo>
                    <a:lnTo>
                      <a:pt x="134" y="226"/>
                    </a:lnTo>
                    <a:lnTo>
                      <a:pt x="134" y="226"/>
                    </a:lnTo>
                    <a:lnTo>
                      <a:pt x="134" y="226"/>
                    </a:lnTo>
                    <a:lnTo>
                      <a:pt x="134" y="228"/>
                    </a:lnTo>
                    <a:lnTo>
                      <a:pt x="132" y="230"/>
                    </a:lnTo>
                    <a:lnTo>
                      <a:pt x="132" y="230"/>
                    </a:lnTo>
                    <a:lnTo>
                      <a:pt x="130" y="232"/>
                    </a:lnTo>
                    <a:lnTo>
                      <a:pt x="128" y="234"/>
                    </a:lnTo>
                    <a:lnTo>
                      <a:pt x="126" y="238"/>
                    </a:lnTo>
                    <a:lnTo>
                      <a:pt x="126" y="238"/>
                    </a:lnTo>
                    <a:lnTo>
                      <a:pt x="122" y="242"/>
                    </a:lnTo>
                    <a:lnTo>
                      <a:pt x="120" y="244"/>
                    </a:lnTo>
                    <a:lnTo>
                      <a:pt x="118" y="244"/>
                    </a:lnTo>
                    <a:lnTo>
                      <a:pt x="118" y="244"/>
                    </a:lnTo>
                    <a:lnTo>
                      <a:pt x="114" y="246"/>
                    </a:lnTo>
                    <a:lnTo>
                      <a:pt x="114" y="246"/>
                    </a:lnTo>
                    <a:lnTo>
                      <a:pt x="114" y="248"/>
                    </a:lnTo>
                    <a:lnTo>
                      <a:pt x="114" y="248"/>
                    </a:lnTo>
                    <a:lnTo>
                      <a:pt x="114" y="250"/>
                    </a:lnTo>
                    <a:lnTo>
                      <a:pt x="114" y="250"/>
                    </a:lnTo>
                    <a:lnTo>
                      <a:pt x="114" y="254"/>
                    </a:lnTo>
                    <a:lnTo>
                      <a:pt x="114" y="254"/>
                    </a:lnTo>
                    <a:lnTo>
                      <a:pt x="112" y="256"/>
                    </a:lnTo>
                    <a:lnTo>
                      <a:pt x="112" y="260"/>
                    </a:lnTo>
                    <a:lnTo>
                      <a:pt x="112" y="260"/>
                    </a:lnTo>
                    <a:lnTo>
                      <a:pt x="112" y="260"/>
                    </a:lnTo>
                    <a:lnTo>
                      <a:pt x="114" y="260"/>
                    </a:lnTo>
                    <a:lnTo>
                      <a:pt x="116" y="262"/>
                    </a:lnTo>
                    <a:lnTo>
                      <a:pt x="116" y="262"/>
                    </a:lnTo>
                    <a:lnTo>
                      <a:pt x="118" y="264"/>
                    </a:lnTo>
                    <a:lnTo>
                      <a:pt x="118" y="264"/>
                    </a:lnTo>
                    <a:lnTo>
                      <a:pt x="118" y="266"/>
                    </a:lnTo>
                    <a:lnTo>
                      <a:pt x="120" y="268"/>
                    </a:lnTo>
                    <a:lnTo>
                      <a:pt x="120" y="268"/>
                    </a:lnTo>
                    <a:lnTo>
                      <a:pt x="120" y="272"/>
                    </a:lnTo>
                    <a:lnTo>
                      <a:pt x="122" y="272"/>
                    </a:lnTo>
                    <a:lnTo>
                      <a:pt x="122" y="274"/>
                    </a:lnTo>
                    <a:lnTo>
                      <a:pt x="122" y="274"/>
                    </a:lnTo>
                    <a:lnTo>
                      <a:pt x="122" y="274"/>
                    </a:lnTo>
                    <a:lnTo>
                      <a:pt x="124" y="272"/>
                    </a:lnTo>
                    <a:lnTo>
                      <a:pt x="126" y="272"/>
                    </a:lnTo>
                    <a:lnTo>
                      <a:pt x="126" y="272"/>
                    </a:lnTo>
                    <a:lnTo>
                      <a:pt x="128" y="270"/>
                    </a:lnTo>
                    <a:lnTo>
                      <a:pt x="128" y="270"/>
                    </a:lnTo>
                    <a:lnTo>
                      <a:pt x="128" y="270"/>
                    </a:lnTo>
                    <a:lnTo>
                      <a:pt x="128" y="270"/>
                    </a:lnTo>
                    <a:lnTo>
                      <a:pt x="130" y="272"/>
                    </a:lnTo>
                    <a:lnTo>
                      <a:pt x="130" y="272"/>
                    </a:lnTo>
                    <a:lnTo>
                      <a:pt x="130" y="272"/>
                    </a:lnTo>
                    <a:lnTo>
                      <a:pt x="130" y="272"/>
                    </a:lnTo>
                    <a:lnTo>
                      <a:pt x="130" y="274"/>
                    </a:lnTo>
                    <a:lnTo>
                      <a:pt x="130" y="274"/>
                    </a:lnTo>
                    <a:lnTo>
                      <a:pt x="128" y="276"/>
                    </a:lnTo>
                    <a:lnTo>
                      <a:pt x="128" y="278"/>
                    </a:lnTo>
                    <a:lnTo>
                      <a:pt x="126" y="280"/>
                    </a:lnTo>
                    <a:lnTo>
                      <a:pt x="126" y="282"/>
                    </a:lnTo>
                    <a:lnTo>
                      <a:pt x="126" y="282"/>
                    </a:lnTo>
                    <a:lnTo>
                      <a:pt x="126" y="284"/>
                    </a:lnTo>
                    <a:lnTo>
                      <a:pt x="126" y="286"/>
                    </a:lnTo>
                    <a:lnTo>
                      <a:pt x="126" y="288"/>
                    </a:lnTo>
                    <a:lnTo>
                      <a:pt x="126" y="290"/>
                    </a:lnTo>
                    <a:lnTo>
                      <a:pt x="126" y="290"/>
                    </a:lnTo>
                    <a:lnTo>
                      <a:pt x="126" y="290"/>
                    </a:lnTo>
                    <a:lnTo>
                      <a:pt x="124" y="292"/>
                    </a:lnTo>
                    <a:lnTo>
                      <a:pt x="124" y="292"/>
                    </a:lnTo>
                    <a:lnTo>
                      <a:pt x="124" y="290"/>
                    </a:lnTo>
                    <a:lnTo>
                      <a:pt x="124" y="290"/>
                    </a:lnTo>
                    <a:lnTo>
                      <a:pt x="122" y="288"/>
                    </a:lnTo>
                    <a:lnTo>
                      <a:pt x="120" y="288"/>
                    </a:lnTo>
                    <a:lnTo>
                      <a:pt x="120" y="288"/>
                    </a:lnTo>
                    <a:lnTo>
                      <a:pt x="120" y="286"/>
                    </a:lnTo>
                    <a:lnTo>
                      <a:pt x="118" y="286"/>
                    </a:lnTo>
                    <a:lnTo>
                      <a:pt x="118" y="286"/>
                    </a:lnTo>
                    <a:lnTo>
                      <a:pt x="118" y="284"/>
                    </a:lnTo>
                    <a:lnTo>
                      <a:pt x="118" y="284"/>
                    </a:lnTo>
                    <a:lnTo>
                      <a:pt x="120" y="282"/>
                    </a:lnTo>
                    <a:lnTo>
                      <a:pt x="120" y="282"/>
                    </a:lnTo>
                    <a:lnTo>
                      <a:pt x="120" y="282"/>
                    </a:lnTo>
                    <a:lnTo>
                      <a:pt x="122" y="280"/>
                    </a:lnTo>
                    <a:lnTo>
                      <a:pt x="122" y="278"/>
                    </a:lnTo>
                    <a:lnTo>
                      <a:pt x="122" y="278"/>
                    </a:lnTo>
                    <a:lnTo>
                      <a:pt x="120" y="278"/>
                    </a:lnTo>
                    <a:lnTo>
                      <a:pt x="120" y="278"/>
                    </a:lnTo>
                    <a:lnTo>
                      <a:pt x="120" y="278"/>
                    </a:lnTo>
                    <a:lnTo>
                      <a:pt x="118" y="278"/>
                    </a:lnTo>
                    <a:lnTo>
                      <a:pt x="116" y="278"/>
                    </a:lnTo>
                    <a:lnTo>
                      <a:pt x="112" y="278"/>
                    </a:lnTo>
                    <a:lnTo>
                      <a:pt x="112" y="278"/>
                    </a:lnTo>
                    <a:lnTo>
                      <a:pt x="110" y="278"/>
                    </a:lnTo>
                    <a:lnTo>
                      <a:pt x="108" y="278"/>
                    </a:lnTo>
                    <a:lnTo>
                      <a:pt x="108" y="278"/>
                    </a:lnTo>
                    <a:lnTo>
                      <a:pt x="106" y="280"/>
                    </a:lnTo>
                    <a:lnTo>
                      <a:pt x="106" y="280"/>
                    </a:lnTo>
                    <a:lnTo>
                      <a:pt x="104" y="280"/>
                    </a:lnTo>
                    <a:lnTo>
                      <a:pt x="104" y="282"/>
                    </a:lnTo>
                    <a:lnTo>
                      <a:pt x="102" y="284"/>
                    </a:lnTo>
                    <a:lnTo>
                      <a:pt x="102" y="284"/>
                    </a:lnTo>
                    <a:lnTo>
                      <a:pt x="102" y="284"/>
                    </a:lnTo>
                    <a:lnTo>
                      <a:pt x="104" y="286"/>
                    </a:lnTo>
                    <a:lnTo>
                      <a:pt x="106" y="290"/>
                    </a:lnTo>
                    <a:lnTo>
                      <a:pt x="106" y="290"/>
                    </a:lnTo>
                    <a:lnTo>
                      <a:pt x="106" y="292"/>
                    </a:lnTo>
                    <a:lnTo>
                      <a:pt x="106" y="294"/>
                    </a:lnTo>
                    <a:lnTo>
                      <a:pt x="106" y="296"/>
                    </a:lnTo>
                    <a:lnTo>
                      <a:pt x="106" y="296"/>
                    </a:lnTo>
                    <a:lnTo>
                      <a:pt x="106" y="298"/>
                    </a:lnTo>
                    <a:lnTo>
                      <a:pt x="106" y="298"/>
                    </a:lnTo>
                    <a:lnTo>
                      <a:pt x="106" y="298"/>
                    </a:lnTo>
                    <a:lnTo>
                      <a:pt x="106" y="300"/>
                    </a:lnTo>
                    <a:lnTo>
                      <a:pt x="106" y="302"/>
                    </a:lnTo>
                    <a:lnTo>
                      <a:pt x="106" y="302"/>
                    </a:lnTo>
                    <a:lnTo>
                      <a:pt x="106" y="304"/>
                    </a:lnTo>
                    <a:lnTo>
                      <a:pt x="106" y="306"/>
                    </a:lnTo>
                    <a:lnTo>
                      <a:pt x="106" y="306"/>
                    </a:lnTo>
                    <a:lnTo>
                      <a:pt x="108" y="308"/>
                    </a:lnTo>
                    <a:lnTo>
                      <a:pt x="108" y="308"/>
                    </a:lnTo>
                    <a:lnTo>
                      <a:pt x="110" y="310"/>
                    </a:lnTo>
                    <a:lnTo>
                      <a:pt x="114" y="310"/>
                    </a:lnTo>
                    <a:lnTo>
                      <a:pt x="114" y="310"/>
                    </a:lnTo>
                    <a:lnTo>
                      <a:pt x="116" y="312"/>
                    </a:lnTo>
                    <a:lnTo>
                      <a:pt x="118" y="312"/>
                    </a:lnTo>
                    <a:lnTo>
                      <a:pt x="120" y="312"/>
                    </a:lnTo>
                    <a:lnTo>
                      <a:pt x="120" y="312"/>
                    </a:lnTo>
                    <a:lnTo>
                      <a:pt x="122" y="312"/>
                    </a:lnTo>
                    <a:lnTo>
                      <a:pt x="124" y="310"/>
                    </a:lnTo>
                    <a:lnTo>
                      <a:pt x="126" y="310"/>
                    </a:lnTo>
                    <a:lnTo>
                      <a:pt x="126" y="308"/>
                    </a:lnTo>
                    <a:lnTo>
                      <a:pt x="126" y="308"/>
                    </a:lnTo>
                    <a:lnTo>
                      <a:pt x="130" y="302"/>
                    </a:lnTo>
                    <a:lnTo>
                      <a:pt x="130" y="302"/>
                    </a:lnTo>
                    <a:lnTo>
                      <a:pt x="132" y="300"/>
                    </a:lnTo>
                    <a:lnTo>
                      <a:pt x="132" y="300"/>
                    </a:lnTo>
                    <a:lnTo>
                      <a:pt x="132" y="300"/>
                    </a:lnTo>
                    <a:lnTo>
                      <a:pt x="132" y="300"/>
                    </a:lnTo>
                    <a:lnTo>
                      <a:pt x="132" y="300"/>
                    </a:lnTo>
                    <a:lnTo>
                      <a:pt x="134" y="302"/>
                    </a:lnTo>
                    <a:lnTo>
                      <a:pt x="134" y="304"/>
                    </a:lnTo>
                    <a:lnTo>
                      <a:pt x="134" y="304"/>
                    </a:lnTo>
                    <a:lnTo>
                      <a:pt x="134" y="308"/>
                    </a:lnTo>
                    <a:lnTo>
                      <a:pt x="134" y="308"/>
                    </a:lnTo>
                    <a:lnTo>
                      <a:pt x="134" y="310"/>
                    </a:lnTo>
                    <a:lnTo>
                      <a:pt x="134" y="310"/>
                    </a:lnTo>
                    <a:lnTo>
                      <a:pt x="132" y="314"/>
                    </a:lnTo>
                    <a:lnTo>
                      <a:pt x="130" y="314"/>
                    </a:lnTo>
                    <a:lnTo>
                      <a:pt x="130" y="316"/>
                    </a:lnTo>
                    <a:lnTo>
                      <a:pt x="130" y="316"/>
                    </a:lnTo>
                    <a:lnTo>
                      <a:pt x="130" y="320"/>
                    </a:lnTo>
                    <a:lnTo>
                      <a:pt x="130" y="322"/>
                    </a:lnTo>
                    <a:lnTo>
                      <a:pt x="130" y="322"/>
                    </a:lnTo>
                    <a:lnTo>
                      <a:pt x="130" y="324"/>
                    </a:lnTo>
                    <a:lnTo>
                      <a:pt x="130" y="326"/>
                    </a:lnTo>
                    <a:lnTo>
                      <a:pt x="128" y="328"/>
                    </a:lnTo>
                    <a:lnTo>
                      <a:pt x="128" y="328"/>
                    </a:lnTo>
                    <a:lnTo>
                      <a:pt x="126" y="330"/>
                    </a:lnTo>
                    <a:lnTo>
                      <a:pt x="126" y="332"/>
                    </a:lnTo>
                    <a:lnTo>
                      <a:pt x="124" y="332"/>
                    </a:lnTo>
                    <a:lnTo>
                      <a:pt x="124" y="332"/>
                    </a:lnTo>
                    <a:lnTo>
                      <a:pt x="122" y="336"/>
                    </a:lnTo>
                    <a:lnTo>
                      <a:pt x="122" y="336"/>
                    </a:lnTo>
                    <a:lnTo>
                      <a:pt x="122" y="338"/>
                    </a:lnTo>
                    <a:lnTo>
                      <a:pt x="122" y="338"/>
                    </a:lnTo>
                    <a:lnTo>
                      <a:pt x="122" y="342"/>
                    </a:lnTo>
                    <a:lnTo>
                      <a:pt x="122" y="344"/>
                    </a:lnTo>
                    <a:lnTo>
                      <a:pt x="122" y="344"/>
                    </a:lnTo>
                    <a:lnTo>
                      <a:pt x="122" y="344"/>
                    </a:lnTo>
                    <a:lnTo>
                      <a:pt x="122" y="346"/>
                    </a:lnTo>
                    <a:lnTo>
                      <a:pt x="122" y="348"/>
                    </a:lnTo>
                    <a:lnTo>
                      <a:pt x="120" y="350"/>
                    </a:lnTo>
                    <a:lnTo>
                      <a:pt x="120" y="352"/>
                    </a:lnTo>
                    <a:lnTo>
                      <a:pt x="120" y="352"/>
                    </a:lnTo>
                    <a:lnTo>
                      <a:pt x="122" y="354"/>
                    </a:lnTo>
                    <a:lnTo>
                      <a:pt x="126" y="354"/>
                    </a:lnTo>
                    <a:lnTo>
                      <a:pt x="126" y="354"/>
                    </a:lnTo>
                    <a:lnTo>
                      <a:pt x="126" y="356"/>
                    </a:lnTo>
                    <a:lnTo>
                      <a:pt x="128" y="356"/>
                    </a:lnTo>
                    <a:lnTo>
                      <a:pt x="128" y="356"/>
                    </a:lnTo>
                    <a:lnTo>
                      <a:pt x="128" y="356"/>
                    </a:lnTo>
                    <a:lnTo>
                      <a:pt x="130" y="356"/>
                    </a:lnTo>
                    <a:lnTo>
                      <a:pt x="132" y="356"/>
                    </a:lnTo>
                    <a:lnTo>
                      <a:pt x="132" y="356"/>
                    </a:lnTo>
                    <a:lnTo>
                      <a:pt x="136" y="356"/>
                    </a:lnTo>
                    <a:lnTo>
                      <a:pt x="138" y="356"/>
                    </a:lnTo>
                    <a:lnTo>
                      <a:pt x="140" y="358"/>
                    </a:lnTo>
                    <a:lnTo>
                      <a:pt x="142" y="360"/>
                    </a:lnTo>
                    <a:lnTo>
                      <a:pt x="142" y="360"/>
                    </a:lnTo>
                    <a:lnTo>
                      <a:pt x="144" y="364"/>
                    </a:lnTo>
                    <a:lnTo>
                      <a:pt x="146" y="370"/>
                    </a:lnTo>
                    <a:lnTo>
                      <a:pt x="148" y="370"/>
                    </a:lnTo>
                    <a:lnTo>
                      <a:pt x="150" y="372"/>
                    </a:lnTo>
                    <a:lnTo>
                      <a:pt x="150" y="374"/>
                    </a:lnTo>
                    <a:lnTo>
                      <a:pt x="152" y="374"/>
                    </a:lnTo>
                    <a:lnTo>
                      <a:pt x="152" y="374"/>
                    </a:lnTo>
                    <a:lnTo>
                      <a:pt x="154" y="374"/>
                    </a:lnTo>
                    <a:lnTo>
                      <a:pt x="156" y="374"/>
                    </a:lnTo>
                    <a:lnTo>
                      <a:pt x="156" y="374"/>
                    </a:lnTo>
                    <a:lnTo>
                      <a:pt x="156" y="372"/>
                    </a:lnTo>
                    <a:lnTo>
                      <a:pt x="156" y="372"/>
                    </a:lnTo>
                    <a:lnTo>
                      <a:pt x="156" y="370"/>
                    </a:lnTo>
                    <a:lnTo>
                      <a:pt x="156" y="368"/>
                    </a:lnTo>
                    <a:lnTo>
                      <a:pt x="156" y="368"/>
                    </a:lnTo>
                    <a:lnTo>
                      <a:pt x="156" y="368"/>
                    </a:lnTo>
                    <a:lnTo>
                      <a:pt x="156" y="366"/>
                    </a:lnTo>
                    <a:lnTo>
                      <a:pt x="158" y="364"/>
                    </a:lnTo>
                    <a:lnTo>
                      <a:pt x="162" y="360"/>
                    </a:lnTo>
                    <a:lnTo>
                      <a:pt x="162" y="360"/>
                    </a:lnTo>
                    <a:lnTo>
                      <a:pt x="164" y="358"/>
                    </a:lnTo>
                    <a:lnTo>
                      <a:pt x="164" y="358"/>
                    </a:lnTo>
                    <a:lnTo>
                      <a:pt x="164" y="358"/>
                    </a:lnTo>
                    <a:lnTo>
                      <a:pt x="166" y="360"/>
                    </a:lnTo>
                    <a:lnTo>
                      <a:pt x="166" y="362"/>
                    </a:lnTo>
                    <a:lnTo>
                      <a:pt x="166" y="364"/>
                    </a:lnTo>
                    <a:lnTo>
                      <a:pt x="166" y="364"/>
                    </a:lnTo>
                    <a:lnTo>
                      <a:pt x="166" y="366"/>
                    </a:lnTo>
                    <a:lnTo>
                      <a:pt x="166" y="366"/>
                    </a:lnTo>
                    <a:lnTo>
                      <a:pt x="166" y="368"/>
                    </a:lnTo>
                    <a:lnTo>
                      <a:pt x="166" y="368"/>
                    </a:lnTo>
                    <a:lnTo>
                      <a:pt x="170" y="368"/>
                    </a:lnTo>
                    <a:lnTo>
                      <a:pt x="172" y="368"/>
                    </a:lnTo>
                    <a:lnTo>
                      <a:pt x="172" y="368"/>
                    </a:lnTo>
                    <a:lnTo>
                      <a:pt x="174" y="368"/>
                    </a:lnTo>
                    <a:lnTo>
                      <a:pt x="178" y="368"/>
                    </a:lnTo>
                    <a:lnTo>
                      <a:pt x="178" y="368"/>
                    </a:lnTo>
                    <a:lnTo>
                      <a:pt x="178" y="370"/>
                    </a:lnTo>
                    <a:lnTo>
                      <a:pt x="178" y="370"/>
                    </a:lnTo>
                    <a:lnTo>
                      <a:pt x="178" y="370"/>
                    </a:lnTo>
                    <a:lnTo>
                      <a:pt x="176" y="372"/>
                    </a:lnTo>
                    <a:lnTo>
                      <a:pt x="174" y="374"/>
                    </a:lnTo>
                    <a:lnTo>
                      <a:pt x="174" y="374"/>
                    </a:lnTo>
                    <a:lnTo>
                      <a:pt x="174" y="374"/>
                    </a:lnTo>
                    <a:lnTo>
                      <a:pt x="172" y="376"/>
                    </a:lnTo>
                    <a:lnTo>
                      <a:pt x="170" y="376"/>
                    </a:lnTo>
                    <a:lnTo>
                      <a:pt x="170" y="376"/>
                    </a:lnTo>
                    <a:lnTo>
                      <a:pt x="170" y="376"/>
                    </a:lnTo>
                    <a:lnTo>
                      <a:pt x="168" y="378"/>
                    </a:lnTo>
                    <a:lnTo>
                      <a:pt x="166" y="378"/>
                    </a:lnTo>
                    <a:lnTo>
                      <a:pt x="166" y="378"/>
                    </a:lnTo>
                    <a:lnTo>
                      <a:pt x="164" y="384"/>
                    </a:lnTo>
                    <a:lnTo>
                      <a:pt x="160" y="388"/>
                    </a:lnTo>
                    <a:lnTo>
                      <a:pt x="156" y="396"/>
                    </a:lnTo>
                    <a:lnTo>
                      <a:pt x="156" y="396"/>
                    </a:lnTo>
                    <a:lnTo>
                      <a:pt x="152" y="400"/>
                    </a:lnTo>
                    <a:lnTo>
                      <a:pt x="152" y="402"/>
                    </a:lnTo>
                    <a:lnTo>
                      <a:pt x="150" y="404"/>
                    </a:lnTo>
                    <a:lnTo>
                      <a:pt x="150" y="404"/>
                    </a:lnTo>
                    <a:lnTo>
                      <a:pt x="148" y="406"/>
                    </a:lnTo>
                    <a:lnTo>
                      <a:pt x="146" y="408"/>
                    </a:lnTo>
                    <a:lnTo>
                      <a:pt x="140" y="410"/>
                    </a:lnTo>
                    <a:lnTo>
                      <a:pt x="140" y="410"/>
                    </a:lnTo>
                    <a:lnTo>
                      <a:pt x="134" y="414"/>
                    </a:lnTo>
                    <a:lnTo>
                      <a:pt x="128" y="416"/>
                    </a:lnTo>
                    <a:lnTo>
                      <a:pt x="124" y="416"/>
                    </a:lnTo>
                    <a:lnTo>
                      <a:pt x="122" y="416"/>
                    </a:lnTo>
                    <a:lnTo>
                      <a:pt x="118" y="418"/>
                    </a:lnTo>
                    <a:lnTo>
                      <a:pt x="118" y="418"/>
                    </a:lnTo>
                    <a:lnTo>
                      <a:pt x="112" y="418"/>
                    </a:lnTo>
                    <a:lnTo>
                      <a:pt x="110" y="418"/>
                    </a:lnTo>
                    <a:lnTo>
                      <a:pt x="106" y="418"/>
                    </a:lnTo>
                    <a:lnTo>
                      <a:pt x="106" y="418"/>
                    </a:lnTo>
                    <a:lnTo>
                      <a:pt x="104" y="418"/>
                    </a:lnTo>
                    <a:lnTo>
                      <a:pt x="102" y="420"/>
                    </a:lnTo>
                    <a:lnTo>
                      <a:pt x="100" y="424"/>
                    </a:lnTo>
                    <a:lnTo>
                      <a:pt x="100" y="424"/>
                    </a:lnTo>
                    <a:lnTo>
                      <a:pt x="96" y="426"/>
                    </a:lnTo>
                    <a:lnTo>
                      <a:pt x="94" y="428"/>
                    </a:lnTo>
                    <a:lnTo>
                      <a:pt x="94" y="428"/>
                    </a:lnTo>
                    <a:lnTo>
                      <a:pt x="92" y="430"/>
                    </a:lnTo>
                    <a:lnTo>
                      <a:pt x="92" y="432"/>
                    </a:lnTo>
                    <a:lnTo>
                      <a:pt x="92" y="432"/>
                    </a:lnTo>
                    <a:lnTo>
                      <a:pt x="90" y="434"/>
                    </a:lnTo>
                    <a:lnTo>
                      <a:pt x="88" y="436"/>
                    </a:lnTo>
                    <a:lnTo>
                      <a:pt x="86" y="438"/>
                    </a:lnTo>
                    <a:lnTo>
                      <a:pt x="86" y="438"/>
                    </a:lnTo>
                    <a:lnTo>
                      <a:pt x="84" y="438"/>
                    </a:lnTo>
                    <a:lnTo>
                      <a:pt x="84" y="436"/>
                    </a:lnTo>
                    <a:lnTo>
                      <a:pt x="84" y="436"/>
                    </a:lnTo>
                    <a:lnTo>
                      <a:pt x="82" y="436"/>
                    </a:lnTo>
                    <a:lnTo>
                      <a:pt x="80" y="434"/>
                    </a:lnTo>
                    <a:lnTo>
                      <a:pt x="78" y="432"/>
                    </a:lnTo>
                    <a:lnTo>
                      <a:pt x="78" y="432"/>
                    </a:lnTo>
                    <a:lnTo>
                      <a:pt x="76" y="432"/>
                    </a:lnTo>
                    <a:lnTo>
                      <a:pt x="76" y="432"/>
                    </a:lnTo>
                    <a:lnTo>
                      <a:pt x="74" y="432"/>
                    </a:lnTo>
                    <a:lnTo>
                      <a:pt x="72" y="434"/>
                    </a:lnTo>
                    <a:lnTo>
                      <a:pt x="70" y="436"/>
                    </a:lnTo>
                    <a:lnTo>
                      <a:pt x="68" y="436"/>
                    </a:lnTo>
                    <a:lnTo>
                      <a:pt x="68" y="436"/>
                    </a:lnTo>
                    <a:lnTo>
                      <a:pt x="66" y="436"/>
                    </a:lnTo>
                    <a:lnTo>
                      <a:pt x="62" y="436"/>
                    </a:lnTo>
                    <a:lnTo>
                      <a:pt x="60" y="436"/>
                    </a:lnTo>
                    <a:lnTo>
                      <a:pt x="58" y="436"/>
                    </a:lnTo>
                    <a:lnTo>
                      <a:pt x="56" y="436"/>
                    </a:lnTo>
                    <a:lnTo>
                      <a:pt x="56" y="436"/>
                    </a:lnTo>
                    <a:lnTo>
                      <a:pt x="54" y="438"/>
                    </a:lnTo>
                    <a:lnTo>
                      <a:pt x="54" y="440"/>
                    </a:lnTo>
                    <a:lnTo>
                      <a:pt x="50" y="440"/>
                    </a:lnTo>
                    <a:lnTo>
                      <a:pt x="48" y="442"/>
                    </a:lnTo>
                    <a:lnTo>
                      <a:pt x="48" y="442"/>
                    </a:lnTo>
                    <a:lnTo>
                      <a:pt x="42" y="442"/>
                    </a:lnTo>
                    <a:lnTo>
                      <a:pt x="38" y="442"/>
                    </a:lnTo>
                    <a:lnTo>
                      <a:pt x="38" y="442"/>
                    </a:lnTo>
                    <a:lnTo>
                      <a:pt x="36" y="442"/>
                    </a:lnTo>
                    <a:lnTo>
                      <a:pt x="32" y="442"/>
                    </a:lnTo>
                    <a:lnTo>
                      <a:pt x="30" y="444"/>
                    </a:lnTo>
                    <a:lnTo>
                      <a:pt x="30" y="444"/>
                    </a:lnTo>
                    <a:lnTo>
                      <a:pt x="26" y="448"/>
                    </a:lnTo>
                    <a:lnTo>
                      <a:pt x="22" y="450"/>
                    </a:lnTo>
                    <a:lnTo>
                      <a:pt x="22" y="450"/>
                    </a:lnTo>
                    <a:lnTo>
                      <a:pt x="16" y="452"/>
                    </a:lnTo>
                    <a:lnTo>
                      <a:pt x="12" y="454"/>
                    </a:lnTo>
                    <a:lnTo>
                      <a:pt x="6" y="456"/>
                    </a:lnTo>
                    <a:lnTo>
                      <a:pt x="6" y="456"/>
                    </a:lnTo>
                    <a:lnTo>
                      <a:pt x="4" y="458"/>
                    </a:lnTo>
                    <a:lnTo>
                      <a:pt x="4" y="458"/>
                    </a:lnTo>
                    <a:lnTo>
                      <a:pt x="2" y="460"/>
                    </a:lnTo>
                    <a:lnTo>
                      <a:pt x="0" y="462"/>
                    </a:lnTo>
                    <a:lnTo>
                      <a:pt x="0" y="462"/>
                    </a:lnTo>
                    <a:lnTo>
                      <a:pt x="0" y="462"/>
                    </a:lnTo>
                    <a:lnTo>
                      <a:pt x="2" y="464"/>
                    </a:lnTo>
                    <a:lnTo>
                      <a:pt x="2" y="464"/>
                    </a:lnTo>
                    <a:lnTo>
                      <a:pt x="6" y="464"/>
                    </a:lnTo>
                    <a:lnTo>
                      <a:pt x="6" y="464"/>
                    </a:lnTo>
                    <a:lnTo>
                      <a:pt x="8" y="464"/>
                    </a:lnTo>
                    <a:lnTo>
                      <a:pt x="10" y="462"/>
                    </a:lnTo>
                    <a:lnTo>
                      <a:pt x="12" y="462"/>
                    </a:lnTo>
                    <a:lnTo>
                      <a:pt x="14" y="462"/>
                    </a:lnTo>
                    <a:lnTo>
                      <a:pt x="14" y="462"/>
                    </a:lnTo>
                    <a:lnTo>
                      <a:pt x="16" y="460"/>
                    </a:lnTo>
                    <a:lnTo>
                      <a:pt x="18" y="460"/>
                    </a:lnTo>
                    <a:lnTo>
                      <a:pt x="18" y="460"/>
                    </a:lnTo>
                    <a:lnTo>
                      <a:pt x="20" y="458"/>
                    </a:lnTo>
                    <a:lnTo>
                      <a:pt x="22" y="458"/>
                    </a:lnTo>
                    <a:lnTo>
                      <a:pt x="24" y="458"/>
                    </a:lnTo>
                    <a:lnTo>
                      <a:pt x="24" y="458"/>
                    </a:lnTo>
                    <a:lnTo>
                      <a:pt x="26" y="458"/>
                    </a:lnTo>
                    <a:lnTo>
                      <a:pt x="30" y="456"/>
                    </a:lnTo>
                    <a:lnTo>
                      <a:pt x="32" y="454"/>
                    </a:lnTo>
                    <a:lnTo>
                      <a:pt x="32" y="454"/>
                    </a:lnTo>
                    <a:lnTo>
                      <a:pt x="36" y="450"/>
                    </a:lnTo>
                    <a:lnTo>
                      <a:pt x="38" y="450"/>
                    </a:lnTo>
                    <a:lnTo>
                      <a:pt x="40" y="448"/>
                    </a:lnTo>
                    <a:lnTo>
                      <a:pt x="40" y="448"/>
                    </a:lnTo>
                    <a:lnTo>
                      <a:pt x="42" y="450"/>
                    </a:lnTo>
                    <a:lnTo>
                      <a:pt x="46" y="450"/>
                    </a:lnTo>
                    <a:lnTo>
                      <a:pt x="48" y="450"/>
                    </a:lnTo>
                    <a:lnTo>
                      <a:pt x="50" y="452"/>
                    </a:lnTo>
                    <a:lnTo>
                      <a:pt x="50" y="452"/>
                    </a:lnTo>
                    <a:lnTo>
                      <a:pt x="52" y="452"/>
                    </a:lnTo>
                    <a:lnTo>
                      <a:pt x="54" y="452"/>
                    </a:lnTo>
                    <a:lnTo>
                      <a:pt x="56" y="450"/>
                    </a:lnTo>
                    <a:lnTo>
                      <a:pt x="58" y="448"/>
                    </a:lnTo>
                    <a:lnTo>
                      <a:pt x="58" y="448"/>
                    </a:lnTo>
                    <a:lnTo>
                      <a:pt x="60" y="448"/>
                    </a:lnTo>
                    <a:lnTo>
                      <a:pt x="62" y="446"/>
                    </a:lnTo>
                    <a:lnTo>
                      <a:pt x="64" y="444"/>
                    </a:lnTo>
                    <a:lnTo>
                      <a:pt x="66" y="444"/>
                    </a:lnTo>
                    <a:lnTo>
                      <a:pt x="66" y="444"/>
                    </a:lnTo>
                    <a:lnTo>
                      <a:pt x="66" y="444"/>
                    </a:lnTo>
                    <a:lnTo>
                      <a:pt x="68" y="444"/>
                    </a:lnTo>
                    <a:lnTo>
                      <a:pt x="70" y="444"/>
                    </a:lnTo>
                    <a:lnTo>
                      <a:pt x="72" y="446"/>
                    </a:lnTo>
                    <a:lnTo>
                      <a:pt x="72" y="446"/>
                    </a:lnTo>
                    <a:lnTo>
                      <a:pt x="74" y="446"/>
                    </a:lnTo>
                    <a:lnTo>
                      <a:pt x="78" y="446"/>
                    </a:lnTo>
                    <a:lnTo>
                      <a:pt x="78" y="446"/>
                    </a:lnTo>
                    <a:lnTo>
                      <a:pt x="84" y="446"/>
                    </a:lnTo>
                    <a:lnTo>
                      <a:pt x="90" y="446"/>
                    </a:lnTo>
                    <a:lnTo>
                      <a:pt x="90" y="446"/>
                    </a:lnTo>
                    <a:lnTo>
                      <a:pt x="92" y="446"/>
                    </a:lnTo>
                    <a:lnTo>
                      <a:pt x="96" y="446"/>
                    </a:lnTo>
                    <a:lnTo>
                      <a:pt x="100" y="444"/>
                    </a:lnTo>
                    <a:lnTo>
                      <a:pt x="104" y="442"/>
                    </a:lnTo>
                    <a:lnTo>
                      <a:pt x="108" y="440"/>
                    </a:lnTo>
                    <a:lnTo>
                      <a:pt x="108" y="440"/>
                    </a:lnTo>
                    <a:lnTo>
                      <a:pt x="112" y="440"/>
                    </a:lnTo>
                    <a:lnTo>
                      <a:pt x="114" y="440"/>
                    </a:lnTo>
                    <a:lnTo>
                      <a:pt x="120" y="440"/>
                    </a:lnTo>
                    <a:lnTo>
                      <a:pt x="120" y="440"/>
                    </a:lnTo>
                    <a:lnTo>
                      <a:pt x="122" y="440"/>
                    </a:lnTo>
                    <a:lnTo>
                      <a:pt x="124" y="440"/>
                    </a:lnTo>
                    <a:lnTo>
                      <a:pt x="126" y="438"/>
                    </a:lnTo>
                    <a:lnTo>
                      <a:pt x="128" y="436"/>
                    </a:lnTo>
                    <a:lnTo>
                      <a:pt x="128" y="436"/>
                    </a:lnTo>
                    <a:lnTo>
                      <a:pt x="130" y="434"/>
                    </a:lnTo>
                    <a:lnTo>
                      <a:pt x="132" y="432"/>
                    </a:lnTo>
                    <a:lnTo>
                      <a:pt x="134" y="432"/>
                    </a:lnTo>
                    <a:lnTo>
                      <a:pt x="134" y="432"/>
                    </a:lnTo>
                    <a:lnTo>
                      <a:pt x="136" y="430"/>
                    </a:lnTo>
                    <a:lnTo>
                      <a:pt x="138" y="430"/>
                    </a:lnTo>
                    <a:lnTo>
                      <a:pt x="140" y="430"/>
                    </a:lnTo>
                    <a:lnTo>
                      <a:pt x="140" y="430"/>
                    </a:lnTo>
                    <a:lnTo>
                      <a:pt x="140" y="430"/>
                    </a:lnTo>
                    <a:lnTo>
                      <a:pt x="142" y="430"/>
                    </a:lnTo>
                    <a:lnTo>
                      <a:pt x="142" y="430"/>
                    </a:lnTo>
                    <a:lnTo>
                      <a:pt x="144" y="432"/>
                    </a:lnTo>
                    <a:lnTo>
                      <a:pt x="146" y="432"/>
                    </a:lnTo>
                    <a:lnTo>
                      <a:pt x="146" y="432"/>
                    </a:lnTo>
                    <a:lnTo>
                      <a:pt x="146" y="432"/>
                    </a:lnTo>
                    <a:lnTo>
                      <a:pt x="148" y="430"/>
                    </a:lnTo>
                    <a:lnTo>
                      <a:pt x="150" y="430"/>
                    </a:lnTo>
                    <a:lnTo>
                      <a:pt x="150" y="430"/>
                    </a:lnTo>
                    <a:lnTo>
                      <a:pt x="152" y="426"/>
                    </a:lnTo>
                    <a:lnTo>
                      <a:pt x="154" y="424"/>
                    </a:lnTo>
                    <a:lnTo>
                      <a:pt x="156" y="422"/>
                    </a:lnTo>
                    <a:lnTo>
                      <a:pt x="156" y="422"/>
                    </a:lnTo>
                    <a:lnTo>
                      <a:pt x="160" y="420"/>
                    </a:lnTo>
                    <a:lnTo>
                      <a:pt x="166" y="418"/>
                    </a:lnTo>
                    <a:lnTo>
                      <a:pt x="170" y="418"/>
                    </a:lnTo>
                    <a:lnTo>
                      <a:pt x="172" y="416"/>
                    </a:lnTo>
                    <a:lnTo>
                      <a:pt x="174" y="414"/>
                    </a:lnTo>
                    <a:lnTo>
                      <a:pt x="174" y="414"/>
                    </a:lnTo>
                    <a:lnTo>
                      <a:pt x="176" y="412"/>
                    </a:lnTo>
                    <a:lnTo>
                      <a:pt x="180" y="408"/>
                    </a:lnTo>
                    <a:lnTo>
                      <a:pt x="180" y="408"/>
                    </a:lnTo>
                    <a:lnTo>
                      <a:pt x="182" y="406"/>
                    </a:lnTo>
                    <a:lnTo>
                      <a:pt x="184" y="406"/>
                    </a:lnTo>
                    <a:lnTo>
                      <a:pt x="188" y="406"/>
                    </a:lnTo>
                    <a:lnTo>
                      <a:pt x="190" y="406"/>
                    </a:lnTo>
                    <a:lnTo>
                      <a:pt x="190" y="406"/>
                    </a:lnTo>
                    <a:lnTo>
                      <a:pt x="196" y="406"/>
                    </a:lnTo>
                    <a:lnTo>
                      <a:pt x="198" y="406"/>
                    </a:lnTo>
                    <a:lnTo>
                      <a:pt x="200" y="406"/>
                    </a:lnTo>
                    <a:lnTo>
                      <a:pt x="200" y="406"/>
                    </a:lnTo>
                    <a:lnTo>
                      <a:pt x="202" y="406"/>
                    </a:lnTo>
                    <a:lnTo>
                      <a:pt x="204" y="404"/>
                    </a:lnTo>
                    <a:lnTo>
                      <a:pt x="208" y="402"/>
                    </a:lnTo>
                    <a:lnTo>
                      <a:pt x="208" y="402"/>
                    </a:lnTo>
                    <a:lnTo>
                      <a:pt x="216" y="394"/>
                    </a:lnTo>
                    <a:lnTo>
                      <a:pt x="222" y="394"/>
                    </a:lnTo>
                    <a:lnTo>
                      <a:pt x="224" y="392"/>
                    </a:lnTo>
                    <a:lnTo>
                      <a:pt x="224" y="392"/>
                    </a:lnTo>
                    <a:lnTo>
                      <a:pt x="228" y="392"/>
                    </a:lnTo>
                    <a:lnTo>
                      <a:pt x="228" y="392"/>
                    </a:lnTo>
                    <a:lnTo>
                      <a:pt x="230" y="392"/>
                    </a:lnTo>
                    <a:lnTo>
                      <a:pt x="232" y="392"/>
                    </a:lnTo>
                    <a:lnTo>
                      <a:pt x="236" y="392"/>
                    </a:lnTo>
                    <a:lnTo>
                      <a:pt x="238" y="390"/>
                    </a:lnTo>
                    <a:lnTo>
                      <a:pt x="238" y="390"/>
                    </a:lnTo>
                    <a:lnTo>
                      <a:pt x="240" y="390"/>
                    </a:lnTo>
                    <a:lnTo>
                      <a:pt x="240" y="388"/>
                    </a:lnTo>
                    <a:lnTo>
                      <a:pt x="242" y="384"/>
                    </a:lnTo>
                    <a:lnTo>
                      <a:pt x="242" y="384"/>
                    </a:lnTo>
                    <a:lnTo>
                      <a:pt x="244" y="382"/>
                    </a:lnTo>
                    <a:lnTo>
                      <a:pt x="244" y="378"/>
                    </a:lnTo>
                    <a:lnTo>
                      <a:pt x="244" y="378"/>
                    </a:lnTo>
                    <a:lnTo>
                      <a:pt x="244" y="376"/>
                    </a:lnTo>
                    <a:lnTo>
                      <a:pt x="242" y="376"/>
                    </a:lnTo>
                    <a:lnTo>
                      <a:pt x="242" y="376"/>
                    </a:lnTo>
                    <a:lnTo>
                      <a:pt x="242" y="376"/>
                    </a:lnTo>
                    <a:lnTo>
                      <a:pt x="242" y="376"/>
                    </a:lnTo>
                    <a:lnTo>
                      <a:pt x="238" y="376"/>
                    </a:lnTo>
                    <a:lnTo>
                      <a:pt x="238" y="374"/>
                    </a:lnTo>
                    <a:lnTo>
                      <a:pt x="236" y="374"/>
                    </a:lnTo>
                    <a:lnTo>
                      <a:pt x="236" y="372"/>
                    </a:lnTo>
                    <a:lnTo>
                      <a:pt x="234" y="372"/>
                    </a:lnTo>
                    <a:lnTo>
                      <a:pt x="234" y="372"/>
                    </a:lnTo>
                    <a:lnTo>
                      <a:pt x="234" y="370"/>
                    </a:lnTo>
                    <a:lnTo>
                      <a:pt x="236" y="368"/>
                    </a:lnTo>
                    <a:lnTo>
                      <a:pt x="236" y="364"/>
                    </a:lnTo>
                    <a:lnTo>
                      <a:pt x="238" y="362"/>
                    </a:lnTo>
                    <a:lnTo>
                      <a:pt x="238" y="362"/>
                    </a:lnTo>
                    <a:lnTo>
                      <a:pt x="238" y="362"/>
                    </a:lnTo>
                    <a:lnTo>
                      <a:pt x="240" y="362"/>
                    </a:lnTo>
                    <a:lnTo>
                      <a:pt x="240" y="360"/>
                    </a:lnTo>
                    <a:lnTo>
                      <a:pt x="242" y="360"/>
                    </a:lnTo>
                    <a:lnTo>
                      <a:pt x="248" y="362"/>
                    </a:lnTo>
                    <a:lnTo>
                      <a:pt x="248" y="362"/>
                    </a:lnTo>
                    <a:lnTo>
                      <a:pt x="248" y="362"/>
                    </a:lnTo>
                    <a:lnTo>
                      <a:pt x="250" y="360"/>
                    </a:lnTo>
                    <a:lnTo>
                      <a:pt x="252" y="360"/>
                    </a:lnTo>
                    <a:lnTo>
                      <a:pt x="254" y="358"/>
                    </a:lnTo>
                    <a:lnTo>
                      <a:pt x="258" y="356"/>
                    </a:lnTo>
                    <a:lnTo>
                      <a:pt x="262" y="352"/>
                    </a:lnTo>
                    <a:lnTo>
                      <a:pt x="262" y="352"/>
                    </a:lnTo>
                    <a:lnTo>
                      <a:pt x="266" y="350"/>
                    </a:lnTo>
                    <a:lnTo>
                      <a:pt x="268" y="348"/>
                    </a:lnTo>
                    <a:lnTo>
                      <a:pt x="268" y="348"/>
                    </a:lnTo>
                    <a:lnTo>
                      <a:pt x="268" y="348"/>
                    </a:lnTo>
                    <a:lnTo>
                      <a:pt x="270" y="346"/>
                    </a:lnTo>
                    <a:lnTo>
                      <a:pt x="272" y="344"/>
                    </a:lnTo>
                    <a:lnTo>
                      <a:pt x="274" y="342"/>
                    </a:lnTo>
                    <a:lnTo>
                      <a:pt x="278" y="340"/>
                    </a:lnTo>
                    <a:lnTo>
                      <a:pt x="280" y="338"/>
                    </a:lnTo>
                    <a:lnTo>
                      <a:pt x="280" y="338"/>
                    </a:lnTo>
                    <a:lnTo>
                      <a:pt x="286" y="334"/>
                    </a:lnTo>
                    <a:lnTo>
                      <a:pt x="290" y="330"/>
                    </a:lnTo>
                    <a:lnTo>
                      <a:pt x="290" y="330"/>
                    </a:lnTo>
                    <a:lnTo>
                      <a:pt x="292" y="330"/>
                    </a:lnTo>
                    <a:lnTo>
                      <a:pt x="294" y="328"/>
                    </a:lnTo>
                    <a:lnTo>
                      <a:pt x="298" y="326"/>
                    </a:lnTo>
                    <a:lnTo>
                      <a:pt x="298" y="326"/>
                    </a:lnTo>
                    <a:lnTo>
                      <a:pt x="302" y="322"/>
                    </a:lnTo>
                    <a:lnTo>
                      <a:pt x="304" y="322"/>
                    </a:lnTo>
                    <a:lnTo>
                      <a:pt x="306" y="322"/>
                    </a:lnTo>
                    <a:lnTo>
                      <a:pt x="308" y="322"/>
                    </a:lnTo>
                    <a:lnTo>
                      <a:pt x="308" y="322"/>
                    </a:lnTo>
                    <a:lnTo>
                      <a:pt x="308" y="322"/>
                    </a:lnTo>
                    <a:lnTo>
                      <a:pt x="310" y="324"/>
                    </a:lnTo>
                    <a:lnTo>
                      <a:pt x="312" y="330"/>
                    </a:lnTo>
                    <a:lnTo>
                      <a:pt x="312" y="330"/>
                    </a:lnTo>
                    <a:lnTo>
                      <a:pt x="312" y="330"/>
                    </a:lnTo>
                    <a:lnTo>
                      <a:pt x="312" y="330"/>
                    </a:lnTo>
                    <a:lnTo>
                      <a:pt x="312" y="332"/>
                    </a:lnTo>
                    <a:lnTo>
                      <a:pt x="310" y="330"/>
                    </a:lnTo>
                    <a:lnTo>
                      <a:pt x="308" y="330"/>
                    </a:lnTo>
                    <a:lnTo>
                      <a:pt x="306" y="330"/>
                    </a:lnTo>
                    <a:lnTo>
                      <a:pt x="306" y="330"/>
                    </a:lnTo>
                    <a:lnTo>
                      <a:pt x="304" y="330"/>
                    </a:lnTo>
                    <a:lnTo>
                      <a:pt x="304" y="330"/>
                    </a:lnTo>
                    <a:lnTo>
                      <a:pt x="302" y="332"/>
                    </a:lnTo>
                    <a:lnTo>
                      <a:pt x="302" y="332"/>
                    </a:lnTo>
                    <a:lnTo>
                      <a:pt x="298" y="332"/>
                    </a:lnTo>
                    <a:lnTo>
                      <a:pt x="298" y="332"/>
                    </a:lnTo>
                    <a:lnTo>
                      <a:pt x="296" y="334"/>
                    </a:lnTo>
                    <a:lnTo>
                      <a:pt x="296" y="334"/>
                    </a:lnTo>
                    <a:lnTo>
                      <a:pt x="296" y="334"/>
                    </a:lnTo>
                    <a:lnTo>
                      <a:pt x="292" y="336"/>
                    </a:lnTo>
                    <a:lnTo>
                      <a:pt x="290" y="342"/>
                    </a:lnTo>
                    <a:lnTo>
                      <a:pt x="290" y="342"/>
                    </a:lnTo>
                    <a:lnTo>
                      <a:pt x="288" y="344"/>
                    </a:lnTo>
                    <a:lnTo>
                      <a:pt x="286" y="346"/>
                    </a:lnTo>
                    <a:lnTo>
                      <a:pt x="280" y="346"/>
                    </a:lnTo>
                    <a:lnTo>
                      <a:pt x="280" y="346"/>
                    </a:lnTo>
                    <a:lnTo>
                      <a:pt x="278" y="348"/>
                    </a:lnTo>
                    <a:lnTo>
                      <a:pt x="276" y="350"/>
                    </a:lnTo>
                    <a:lnTo>
                      <a:pt x="276" y="350"/>
                    </a:lnTo>
                    <a:lnTo>
                      <a:pt x="274" y="350"/>
                    </a:lnTo>
                    <a:lnTo>
                      <a:pt x="274" y="352"/>
                    </a:lnTo>
                    <a:lnTo>
                      <a:pt x="274" y="354"/>
                    </a:lnTo>
                    <a:lnTo>
                      <a:pt x="274" y="354"/>
                    </a:lnTo>
                    <a:lnTo>
                      <a:pt x="274" y="358"/>
                    </a:lnTo>
                    <a:lnTo>
                      <a:pt x="274" y="360"/>
                    </a:lnTo>
                    <a:lnTo>
                      <a:pt x="274" y="360"/>
                    </a:lnTo>
                    <a:lnTo>
                      <a:pt x="274" y="360"/>
                    </a:lnTo>
                    <a:lnTo>
                      <a:pt x="272" y="362"/>
                    </a:lnTo>
                    <a:lnTo>
                      <a:pt x="272" y="364"/>
                    </a:lnTo>
                    <a:lnTo>
                      <a:pt x="272" y="364"/>
                    </a:lnTo>
                    <a:lnTo>
                      <a:pt x="272" y="366"/>
                    </a:lnTo>
                    <a:lnTo>
                      <a:pt x="270" y="368"/>
                    </a:lnTo>
                    <a:lnTo>
                      <a:pt x="270" y="368"/>
                    </a:lnTo>
                    <a:lnTo>
                      <a:pt x="270" y="370"/>
                    </a:lnTo>
                    <a:lnTo>
                      <a:pt x="270" y="370"/>
                    </a:lnTo>
                    <a:lnTo>
                      <a:pt x="270" y="372"/>
                    </a:lnTo>
                    <a:lnTo>
                      <a:pt x="270" y="372"/>
                    </a:lnTo>
                    <a:lnTo>
                      <a:pt x="270" y="372"/>
                    </a:lnTo>
                    <a:lnTo>
                      <a:pt x="270" y="374"/>
                    </a:lnTo>
                    <a:lnTo>
                      <a:pt x="272" y="374"/>
                    </a:lnTo>
                    <a:lnTo>
                      <a:pt x="272" y="374"/>
                    </a:lnTo>
                    <a:lnTo>
                      <a:pt x="274" y="374"/>
                    </a:lnTo>
                    <a:lnTo>
                      <a:pt x="274" y="374"/>
                    </a:lnTo>
                    <a:lnTo>
                      <a:pt x="276" y="374"/>
                    </a:lnTo>
                    <a:lnTo>
                      <a:pt x="280" y="376"/>
                    </a:lnTo>
                    <a:lnTo>
                      <a:pt x="280" y="376"/>
                    </a:lnTo>
                    <a:lnTo>
                      <a:pt x="282" y="376"/>
                    </a:lnTo>
                    <a:lnTo>
                      <a:pt x="286" y="374"/>
                    </a:lnTo>
                    <a:lnTo>
                      <a:pt x="288" y="374"/>
                    </a:lnTo>
                    <a:lnTo>
                      <a:pt x="292" y="374"/>
                    </a:lnTo>
                    <a:lnTo>
                      <a:pt x="292" y="374"/>
                    </a:lnTo>
                    <a:lnTo>
                      <a:pt x="294" y="372"/>
                    </a:lnTo>
                    <a:lnTo>
                      <a:pt x="296" y="372"/>
                    </a:lnTo>
                    <a:lnTo>
                      <a:pt x="298" y="372"/>
                    </a:lnTo>
                    <a:lnTo>
                      <a:pt x="300" y="370"/>
                    </a:lnTo>
                    <a:lnTo>
                      <a:pt x="302" y="370"/>
                    </a:lnTo>
                    <a:lnTo>
                      <a:pt x="302" y="370"/>
                    </a:lnTo>
                    <a:lnTo>
                      <a:pt x="304" y="368"/>
                    </a:lnTo>
                    <a:lnTo>
                      <a:pt x="306" y="366"/>
                    </a:lnTo>
                    <a:lnTo>
                      <a:pt x="308" y="366"/>
                    </a:lnTo>
                    <a:lnTo>
                      <a:pt x="310" y="364"/>
                    </a:lnTo>
                    <a:lnTo>
                      <a:pt x="310" y="364"/>
                    </a:lnTo>
                    <a:lnTo>
                      <a:pt x="322" y="362"/>
                    </a:lnTo>
                    <a:lnTo>
                      <a:pt x="322" y="362"/>
                    </a:lnTo>
                    <a:lnTo>
                      <a:pt x="324" y="362"/>
                    </a:lnTo>
                    <a:lnTo>
                      <a:pt x="326" y="360"/>
                    </a:lnTo>
                    <a:lnTo>
                      <a:pt x="326" y="360"/>
                    </a:lnTo>
                    <a:lnTo>
                      <a:pt x="328" y="358"/>
                    </a:lnTo>
                    <a:lnTo>
                      <a:pt x="328" y="356"/>
                    </a:lnTo>
                    <a:lnTo>
                      <a:pt x="328" y="356"/>
                    </a:lnTo>
                    <a:lnTo>
                      <a:pt x="330" y="352"/>
                    </a:lnTo>
                    <a:lnTo>
                      <a:pt x="332" y="350"/>
                    </a:lnTo>
                    <a:lnTo>
                      <a:pt x="334" y="350"/>
                    </a:lnTo>
                    <a:lnTo>
                      <a:pt x="336" y="348"/>
                    </a:lnTo>
                    <a:lnTo>
                      <a:pt x="338" y="348"/>
                    </a:lnTo>
                    <a:lnTo>
                      <a:pt x="340" y="348"/>
                    </a:lnTo>
                    <a:lnTo>
                      <a:pt x="344" y="348"/>
                    </a:lnTo>
                    <a:lnTo>
                      <a:pt x="346" y="348"/>
                    </a:lnTo>
                    <a:lnTo>
                      <a:pt x="346" y="348"/>
                    </a:lnTo>
                    <a:lnTo>
                      <a:pt x="348" y="348"/>
                    </a:lnTo>
                    <a:lnTo>
                      <a:pt x="352" y="348"/>
                    </a:lnTo>
                    <a:lnTo>
                      <a:pt x="352" y="348"/>
                    </a:lnTo>
                    <a:lnTo>
                      <a:pt x="352" y="350"/>
                    </a:lnTo>
                    <a:lnTo>
                      <a:pt x="354" y="350"/>
                    </a:lnTo>
                    <a:lnTo>
                      <a:pt x="354" y="354"/>
                    </a:lnTo>
                    <a:lnTo>
                      <a:pt x="354" y="354"/>
                    </a:lnTo>
                    <a:lnTo>
                      <a:pt x="354" y="356"/>
                    </a:lnTo>
                    <a:lnTo>
                      <a:pt x="354" y="360"/>
                    </a:lnTo>
                    <a:lnTo>
                      <a:pt x="354" y="362"/>
                    </a:lnTo>
                    <a:lnTo>
                      <a:pt x="356" y="364"/>
                    </a:lnTo>
                    <a:lnTo>
                      <a:pt x="356" y="364"/>
                    </a:lnTo>
                    <a:lnTo>
                      <a:pt x="356" y="364"/>
                    </a:lnTo>
                    <a:lnTo>
                      <a:pt x="358" y="366"/>
                    </a:lnTo>
                    <a:lnTo>
                      <a:pt x="362" y="368"/>
                    </a:lnTo>
                    <a:lnTo>
                      <a:pt x="362" y="368"/>
                    </a:lnTo>
                    <a:lnTo>
                      <a:pt x="364" y="368"/>
                    </a:lnTo>
                    <a:lnTo>
                      <a:pt x="366" y="368"/>
                    </a:lnTo>
                    <a:lnTo>
                      <a:pt x="368" y="370"/>
                    </a:lnTo>
                    <a:lnTo>
                      <a:pt x="368" y="370"/>
                    </a:lnTo>
                    <a:lnTo>
                      <a:pt x="368" y="370"/>
                    </a:lnTo>
                    <a:lnTo>
                      <a:pt x="366" y="370"/>
                    </a:lnTo>
                    <a:lnTo>
                      <a:pt x="366" y="372"/>
                    </a:lnTo>
                    <a:lnTo>
                      <a:pt x="366" y="372"/>
                    </a:lnTo>
                    <a:lnTo>
                      <a:pt x="364" y="374"/>
                    </a:lnTo>
                    <a:lnTo>
                      <a:pt x="364" y="376"/>
                    </a:lnTo>
                    <a:lnTo>
                      <a:pt x="364" y="378"/>
                    </a:lnTo>
                    <a:lnTo>
                      <a:pt x="364" y="378"/>
                    </a:lnTo>
                    <a:lnTo>
                      <a:pt x="366" y="382"/>
                    </a:lnTo>
                    <a:lnTo>
                      <a:pt x="368" y="384"/>
                    </a:lnTo>
                    <a:lnTo>
                      <a:pt x="368" y="386"/>
                    </a:lnTo>
                    <a:lnTo>
                      <a:pt x="370" y="388"/>
                    </a:lnTo>
                    <a:lnTo>
                      <a:pt x="374" y="388"/>
                    </a:lnTo>
                    <a:lnTo>
                      <a:pt x="376" y="390"/>
                    </a:lnTo>
                    <a:lnTo>
                      <a:pt x="382" y="390"/>
                    </a:lnTo>
                    <a:lnTo>
                      <a:pt x="382" y="390"/>
                    </a:lnTo>
                    <a:lnTo>
                      <a:pt x="388" y="392"/>
                    </a:lnTo>
                    <a:lnTo>
                      <a:pt x="390" y="394"/>
                    </a:lnTo>
                    <a:lnTo>
                      <a:pt x="392" y="394"/>
                    </a:lnTo>
                    <a:lnTo>
                      <a:pt x="392" y="394"/>
                    </a:lnTo>
                    <a:lnTo>
                      <a:pt x="398" y="396"/>
                    </a:lnTo>
                    <a:lnTo>
                      <a:pt x="404" y="400"/>
                    </a:lnTo>
                    <a:lnTo>
                      <a:pt x="404" y="400"/>
                    </a:lnTo>
                    <a:lnTo>
                      <a:pt x="410" y="402"/>
                    </a:lnTo>
                    <a:lnTo>
                      <a:pt x="414" y="402"/>
                    </a:lnTo>
                    <a:lnTo>
                      <a:pt x="416" y="402"/>
                    </a:lnTo>
                    <a:lnTo>
                      <a:pt x="416" y="402"/>
                    </a:lnTo>
                    <a:lnTo>
                      <a:pt x="418" y="402"/>
                    </a:lnTo>
                    <a:lnTo>
                      <a:pt x="420" y="402"/>
                    </a:lnTo>
                    <a:lnTo>
                      <a:pt x="424" y="400"/>
                    </a:lnTo>
                    <a:lnTo>
                      <a:pt x="424" y="400"/>
                    </a:lnTo>
                    <a:lnTo>
                      <a:pt x="426" y="400"/>
                    </a:lnTo>
                    <a:lnTo>
                      <a:pt x="426" y="400"/>
                    </a:lnTo>
                    <a:lnTo>
                      <a:pt x="426" y="402"/>
                    </a:lnTo>
                    <a:lnTo>
                      <a:pt x="426" y="402"/>
                    </a:lnTo>
                    <a:lnTo>
                      <a:pt x="424" y="404"/>
                    </a:lnTo>
                    <a:lnTo>
                      <a:pt x="424" y="406"/>
                    </a:lnTo>
                    <a:lnTo>
                      <a:pt x="424" y="408"/>
                    </a:lnTo>
                    <a:lnTo>
                      <a:pt x="424" y="408"/>
                    </a:lnTo>
                    <a:lnTo>
                      <a:pt x="424" y="408"/>
                    </a:lnTo>
                    <a:lnTo>
                      <a:pt x="424" y="410"/>
                    </a:lnTo>
                    <a:lnTo>
                      <a:pt x="424" y="412"/>
                    </a:lnTo>
                    <a:lnTo>
                      <a:pt x="426" y="414"/>
                    </a:lnTo>
                    <a:lnTo>
                      <a:pt x="428" y="416"/>
                    </a:lnTo>
                    <a:lnTo>
                      <a:pt x="428" y="416"/>
                    </a:lnTo>
                    <a:lnTo>
                      <a:pt x="432" y="418"/>
                    </a:lnTo>
                    <a:lnTo>
                      <a:pt x="434" y="422"/>
                    </a:lnTo>
                    <a:lnTo>
                      <a:pt x="434" y="422"/>
                    </a:lnTo>
                    <a:lnTo>
                      <a:pt x="436" y="424"/>
                    </a:lnTo>
                    <a:lnTo>
                      <a:pt x="436" y="426"/>
                    </a:lnTo>
                    <a:lnTo>
                      <a:pt x="436" y="428"/>
                    </a:lnTo>
                    <a:lnTo>
                      <a:pt x="438" y="432"/>
                    </a:lnTo>
                    <a:lnTo>
                      <a:pt x="438" y="436"/>
                    </a:lnTo>
                    <a:lnTo>
                      <a:pt x="438" y="436"/>
                    </a:lnTo>
                    <a:lnTo>
                      <a:pt x="438" y="438"/>
                    </a:lnTo>
                    <a:lnTo>
                      <a:pt x="440" y="442"/>
                    </a:lnTo>
                    <a:lnTo>
                      <a:pt x="440" y="442"/>
                    </a:lnTo>
                    <a:lnTo>
                      <a:pt x="442" y="442"/>
                    </a:lnTo>
                    <a:lnTo>
                      <a:pt x="442" y="444"/>
                    </a:lnTo>
                    <a:lnTo>
                      <a:pt x="444" y="446"/>
                    </a:lnTo>
                    <a:lnTo>
                      <a:pt x="446" y="446"/>
                    </a:lnTo>
                    <a:lnTo>
                      <a:pt x="446" y="446"/>
                    </a:lnTo>
                    <a:lnTo>
                      <a:pt x="448" y="448"/>
                    </a:lnTo>
                    <a:lnTo>
                      <a:pt x="450" y="446"/>
                    </a:lnTo>
                    <a:lnTo>
                      <a:pt x="452" y="446"/>
                    </a:lnTo>
                    <a:lnTo>
                      <a:pt x="452" y="446"/>
                    </a:lnTo>
                    <a:lnTo>
                      <a:pt x="452" y="444"/>
                    </a:lnTo>
                    <a:lnTo>
                      <a:pt x="452" y="444"/>
                    </a:lnTo>
                    <a:lnTo>
                      <a:pt x="452" y="442"/>
                    </a:lnTo>
                    <a:lnTo>
                      <a:pt x="452" y="440"/>
                    </a:lnTo>
                    <a:lnTo>
                      <a:pt x="452" y="438"/>
                    </a:lnTo>
                    <a:lnTo>
                      <a:pt x="452" y="438"/>
                    </a:lnTo>
                    <a:lnTo>
                      <a:pt x="452" y="436"/>
                    </a:lnTo>
                    <a:lnTo>
                      <a:pt x="452" y="436"/>
                    </a:lnTo>
                    <a:lnTo>
                      <a:pt x="454" y="440"/>
                    </a:lnTo>
                    <a:lnTo>
                      <a:pt x="456" y="442"/>
                    </a:lnTo>
                    <a:lnTo>
                      <a:pt x="456" y="444"/>
                    </a:lnTo>
                    <a:lnTo>
                      <a:pt x="458" y="444"/>
                    </a:lnTo>
                    <a:lnTo>
                      <a:pt x="462" y="446"/>
                    </a:lnTo>
                    <a:lnTo>
                      <a:pt x="464" y="446"/>
                    </a:lnTo>
                    <a:lnTo>
                      <a:pt x="464" y="446"/>
                    </a:lnTo>
                    <a:lnTo>
                      <a:pt x="464" y="446"/>
                    </a:lnTo>
                    <a:lnTo>
                      <a:pt x="466" y="446"/>
                    </a:lnTo>
                    <a:lnTo>
                      <a:pt x="466" y="444"/>
                    </a:lnTo>
                    <a:lnTo>
                      <a:pt x="468" y="444"/>
                    </a:lnTo>
                    <a:lnTo>
                      <a:pt x="470" y="442"/>
                    </a:lnTo>
                    <a:lnTo>
                      <a:pt x="472" y="442"/>
                    </a:lnTo>
                    <a:lnTo>
                      <a:pt x="472" y="442"/>
                    </a:lnTo>
                    <a:lnTo>
                      <a:pt x="472" y="442"/>
                    </a:lnTo>
                    <a:lnTo>
                      <a:pt x="472" y="442"/>
                    </a:lnTo>
                    <a:lnTo>
                      <a:pt x="472" y="442"/>
                    </a:lnTo>
                    <a:lnTo>
                      <a:pt x="472" y="446"/>
                    </a:lnTo>
                    <a:lnTo>
                      <a:pt x="468" y="450"/>
                    </a:lnTo>
                    <a:lnTo>
                      <a:pt x="468" y="450"/>
                    </a:lnTo>
                    <a:lnTo>
                      <a:pt x="466" y="454"/>
                    </a:lnTo>
                    <a:lnTo>
                      <a:pt x="464" y="456"/>
                    </a:lnTo>
                    <a:lnTo>
                      <a:pt x="464" y="458"/>
                    </a:lnTo>
                    <a:lnTo>
                      <a:pt x="464" y="458"/>
                    </a:lnTo>
                    <a:lnTo>
                      <a:pt x="464" y="458"/>
                    </a:lnTo>
                    <a:lnTo>
                      <a:pt x="464" y="460"/>
                    </a:lnTo>
                    <a:lnTo>
                      <a:pt x="466" y="460"/>
                    </a:lnTo>
                    <a:lnTo>
                      <a:pt x="468" y="462"/>
                    </a:lnTo>
                    <a:lnTo>
                      <a:pt x="468" y="462"/>
                    </a:lnTo>
                    <a:lnTo>
                      <a:pt x="472" y="464"/>
                    </a:lnTo>
                    <a:lnTo>
                      <a:pt x="472" y="464"/>
                    </a:lnTo>
                    <a:lnTo>
                      <a:pt x="474" y="464"/>
                    </a:lnTo>
                    <a:lnTo>
                      <a:pt x="476" y="466"/>
                    </a:lnTo>
                    <a:lnTo>
                      <a:pt x="476" y="466"/>
                    </a:lnTo>
                    <a:lnTo>
                      <a:pt x="476" y="466"/>
                    </a:lnTo>
                    <a:lnTo>
                      <a:pt x="476" y="470"/>
                    </a:lnTo>
                    <a:lnTo>
                      <a:pt x="476" y="472"/>
                    </a:lnTo>
                    <a:lnTo>
                      <a:pt x="476" y="472"/>
                    </a:lnTo>
                    <a:lnTo>
                      <a:pt x="474" y="474"/>
                    </a:lnTo>
                    <a:lnTo>
                      <a:pt x="472" y="476"/>
                    </a:lnTo>
                    <a:lnTo>
                      <a:pt x="470" y="478"/>
                    </a:lnTo>
                    <a:lnTo>
                      <a:pt x="470" y="478"/>
                    </a:lnTo>
                    <a:lnTo>
                      <a:pt x="470" y="480"/>
                    </a:lnTo>
                    <a:lnTo>
                      <a:pt x="470" y="480"/>
                    </a:lnTo>
                    <a:lnTo>
                      <a:pt x="470" y="480"/>
                    </a:lnTo>
                    <a:lnTo>
                      <a:pt x="470" y="482"/>
                    </a:lnTo>
                    <a:lnTo>
                      <a:pt x="472" y="486"/>
                    </a:lnTo>
                    <a:lnTo>
                      <a:pt x="472" y="488"/>
                    </a:lnTo>
                    <a:lnTo>
                      <a:pt x="474" y="490"/>
                    </a:lnTo>
                    <a:lnTo>
                      <a:pt x="474" y="490"/>
                    </a:lnTo>
                    <a:lnTo>
                      <a:pt x="474" y="492"/>
                    </a:lnTo>
                    <a:lnTo>
                      <a:pt x="474" y="496"/>
                    </a:lnTo>
                    <a:lnTo>
                      <a:pt x="474" y="496"/>
                    </a:lnTo>
                    <a:lnTo>
                      <a:pt x="474" y="496"/>
                    </a:lnTo>
                    <a:lnTo>
                      <a:pt x="474" y="498"/>
                    </a:lnTo>
                    <a:lnTo>
                      <a:pt x="472" y="500"/>
                    </a:lnTo>
                    <a:lnTo>
                      <a:pt x="472" y="500"/>
                    </a:lnTo>
                    <a:lnTo>
                      <a:pt x="472" y="500"/>
                    </a:lnTo>
                    <a:lnTo>
                      <a:pt x="472" y="502"/>
                    </a:lnTo>
                    <a:lnTo>
                      <a:pt x="472" y="502"/>
                    </a:lnTo>
                    <a:lnTo>
                      <a:pt x="472" y="504"/>
                    </a:lnTo>
                    <a:lnTo>
                      <a:pt x="474" y="506"/>
                    </a:lnTo>
                    <a:lnTo>
                      <a:pt x="474" y="506"/>
                    </a:lnTo>
                    <a:lnTo>
                      <a:pt x="476" y="508"/>
                    </a:lnTo>
                    <a:lnTo>
                      <a:pt x="476" y="508"/>
                    </a:lnTo>
                    <a:lnTo>
                      <a:pt x="476" y="508"/>
                    </a:lnTo>
                    <a:lnTo>
                      <a:pt x="478" y="508"/>
                    </a:lnTo>
                    <a:lnTo>
                      <a:pt x="482" y="508"/>
                    </a:lnTo>
                    <a:lnTo>
                      <a:pt x="484" y="508"/>
                    </a:lnTo>
                    <a:lnTo>
                      <a:pt x="484" y="508"/>
                    </a:lnTo>
                    <a:lnTo>
                      <a:pt x="484" y="510"/>
                    </a:lnTo>
                    <a:lnTo>
                      <a:pt x="484" y="512"/>
                    </a:lnTo>
                    <a:lnTo>
                      <a:pt x="484" y="512"/>
                    </a:lnTo>
                    <a:lnTo>
                      <a:pt x="484" y="512"/>
                    </a:lnTo>
                    <a:lnTo>
                      <a:pt x="484" y="512"/>
                    </a:lnTo>
                    <a:lnTo>
                      <a:pt x="482" y="514"/>
                    </a:lnTo>
                    <a:lnTo>
                      <a:pt x="482" y="514"/>
                    </a:lnTo>
                    <a:lnTo>
                      <a:pt x="480" y="516"/>
                    </a:lnTo>
                    <a:lnTo>
                      <a:pt x="478" y="520"/>
                    </a:lnTo>
                    <a:lnTo>
                      <a:pt x="478" y="520"/>
                    </a:lnTo>
                    <a:lnTo>
                      <a:pt x="478" y="522"/>
                    </a:lnTo>
                    <a:lnTo>
                      <a:pt x="476" y="524"/>
                    </a:lnTo>
                    <a:lnTo>
                      <a:pt x="476" y="528"/>
                    </a:lnTo>
                    <a:lnTo>
                      <a:pt x="476" y="532"/>
                    </a:lnTo>
                    <a:lnTo>
                      <a:pt x="476" y="532"/>
                    </a:lnTo>
                    <a:lnTo>
                      <a:pt x="476" y="534"/>
                    </a:lnTo>
                    <a:lnTo>
                      <a:pt x="476" y="536"/>
                    </a:lnTo>
                    <a:lnTo>
                      <a:pt x="476" y="536"/>
                    </a:lnTo>
                    <a:lnTo>
                      <a:pt x="476" y="536"/>
                    </a:lnTo>
                    <a:lnTo>
                      <a:pt x="476" y="538"/>
                    </a:lnTo>
                    <a:lnTo>
                      <a:pt x="474" y="542"/>
                    </a:lnTo>
                    <a:lnTo>
                      <a:pt x="474" y="542"/>
                    </a:lnTo>
                    <a:lnTo>
                      <a:pt x="474" y="544"/>
                    </a:lnTo>
                    <a:lnTo>
                      <a:pt x="474" y="546"/>
                    </a:lnTo>
                    <a:lnTo>
                      <a:pt x="474" y="548"/>
                    </a:lnTo>
                    <a:lnTo>
                      <a:pt x="476" y="550"/>
                    </a:lnTo>
                    <a:lnTo>
                      <a:pt x="478" y="552"/>
                    </a:lnTo>
                    <a:lnTo>
                      <a:pt x="480" y="556"/>
                    </a:lnTo>
                    <a:lnTo>
                      <a:pt x="480" y="556"/>
                    </a:lnTo>
                    <a:lnTo>
                      <a:pt x="482" y="558"/>
                    </a:lnTo>
                    <a:lnTo>
                      <a:pt x="482" y="560"/>
                    </a:lnTo>
                    <a:lnTo>
                      <a:pt x="482" y="560"/>
                    </a:lnTo>
                    <a:lnTo>
                      <a:pt x="486" y="560"/>
                    </a:lnTo>
                    <a:lnTo>
                      <a:pt x="488" y="558"/>
                    </a:lnTo>
                    <a:lnTo>
                      <a:pt x="492" y="556"/>
                    </a:lnTo>
                    <a:lnTo>
                      <a:pt x="496" y="554"/>
                    </a:lnTo>
                    <a:lnTo>
                      <a:pt x="496" y="554"/>
                    </a:lnTo>
                    <a:lnTo>
                      <a:pt x="498" y="552"/>
                    </a:lnTo>
                    <a:lnTo>
                      <a:pt x="498" y="548"/>
                    </a:lnTo>
                    <a:lnTo>
                      <a:pt x="500" y="546"/>
                    </a:lnTo>
                    <a:lnTo>
                      <a:pt x="500" y="542"/>
                    </a:lnTo>
                    <a:lnTo>
                      <a:pt x="502" y="540"/>
                    </a:lnTo>
                    <a:lnTo>
                      <a:pt x="502" y="536"/>
                    </a:lnTo>
                    <a:lnTo>
                      <a:pt x="502" y="534"/>
                    </a:lnTo>
                    <a:lnTo>
                      <a:pt x="500" y="532"/>
                    </a:lnTo>
                    <a:lnTo>
                      <a:pt x="500" y="532"/>
                    </a:lnTo>
                    <a:lnTo>
                      <a:pt x="500" y="532"/>
                    </a:lnTo>
                    <a:lnTo>
                      <a:pt x="500" y="532"/>
                    </a:lnTo>
                    <a:lnTo>
                      <a:pt x="500" y="53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50" name="Freeform 909"/>
              <p:cNvSpPr>
                <a:spLocks/>
              </p:cNvSpPr>
              <p:nvPr/>
            </p:nvSpPr>
            <p:spPr bwMode="auto">
              <a:xfrm>
                <a:off x="883" y="1822"/>
                <a:ext cx="878" cy="566"/>
              </a:xfrm>
              <a:custGeom>
                <a:avLst/>
                <a:gdLst>
                  <a:gd name="T0" fmla="*/ 132 w 878"/>
                  <a:gd name="T1" fmla="*/ 406 h 566"/>
                  <a:gd name="T2" fmla="*/ 212 w 878"/>
                  <a:gd name="T3" fmla="*/ 412 h 566"/>
                  <a:gd name="T4" fmla="*/ 248 w 878"/>
                  <a:gd name="T5" fmla="*/ 468 h 566"/>
                  <a:gd name="T6" fmla="*/ 284 w 878"/>
                  <a:gd name="T7" fmla="*/ 458 h 566"/>
                  <a:gd name="T8" fmla="*/ 294 w 878"/>
                  <a:gd name="T9" fmla="*/ 520 h 566"/>
                  <a:gd name="T10" fmla="*/ 332 w 878"/>
                  <a:gd name="T11" fmla="*/ 520 h 566"/>
                  <a:gd name="T12" fmla="*/ 372 w 878"/>
                  <a:gd name="T13" fmla="*/ 478 h 566"/>
                  <a:gd name="T14" fmla="*/ 404 w 878"/>
                  <a:gd name="T15" fmla="*/ 464 h 566"/>
                  <a:gd name="T16" fmla="*/ 432 w 878"/>
                  <a:gd name="T17" fmla="*/ 476 h 566"/>
                  <a:gd name="T18" fmla="*/ 452 w 878"/>
                  <a:gd name="T19" fmla="*/ 478 h 566"/>
                  <a:gd name="T20" fmla="*/ 468 w 878"/>
                  <a:gd name="T21" fmla="*/ 468 h 566"/>
                  <a:gd name="T22" fmla="*/ 482 w 878"/>
                  <a:gd name="T23" fmla="*/ 458 h 566"/>
                  <a:gd name="T24" fmla="*/ 524 w 878"/>
                  <a:gd name="T25" fmla="*/ 464 h 566"/>
                  <a:gd name="T26" fmla="*/ 548 w 878"/>
                  <a:gd name="T27" fmla="*/ 468 h 566"/>
                  <a:gd name="T28" fmla="*/ 566 w 878"/>
                  <a:gd name="T29" fmla="*/ 496 h 566"/>
                  <a:gd name="T30" fmla="*/ 568 w 878"/>
                  <a:gd name="T31" fmla="*/ 538 h 566"/>
                  <a:gd name="T32" fmla="*/ 576 w 878"/>
                  <a:gd name="T33" fmla="*/ 566 h 566"/>
                  <a:gd name="T34" fmla="*/ 598 w 878"/>
                  <a:gd name="T35" fmla="*/ 524 h 566"/>
                  <a:gd name="T36" fmla="*/ 596 w 878"/>
                  <a:gd name="T37" fmla="*/ 474 h 566"/>
                  <a:gd name="T38" fmla="*/ 636 w 878"/>
                  <a:gd name="T39" fmla="*/ 414 h 566"/>
                  <a:gd name="T40" fmla="*/ 694 w 878"/>
                  <a:gd name="T41" fmla="*/ 380 h 566"/>
                  <a:gd name="T42" fmla="*/ 704 w 878"/>
                  <a:gd name="T43" fmla="*/ 362 h 566"/>
                  <a:gd name="T44" fmla="*/ 698 w 878"/>
                  <a:gd name="T45" fmla="*/ 340 h 566"/>
                  <a:gd name="T46" fmla="*/ 704 w 878"/>
                  <a:gd name="T47" fmla="*/ 326 h 566"/>
                  <a:gd name="T48" fmla="*/ 722 w 878"/>
                  <a:gd name="T49" fmla="*/ 326 h 566"/>
                  <a:gd name="T50" fmla="*/ 730 w 878"/>
                  <a:gd name="T51" fmla="*/ 312 h 566"/>
                  <a:gd name="T52" fmla="*/ 758 w 878"/>
                  <a:gd name="T53" fmla="*/ 276 h 566"/>
                  <a:gd name="T54" fmla="*/ 800 w 878"/>
                  <a:gd name="T55" fmla="*/ 266 h 566"/>
                  <a:gd name="T56" fmla="*/ 810 w 878"/>
                  <a:gd name="T57" fmla="*/ 240 h 566"/>
                  <a:gd name="T58" fmla="*/ 846 w 878"/>
                  <a:gd name="T59" fmla="*/ 212 h 566"/>
                  <a:gd name="T60" fmla="*/ 872 w 878"/>
                  <a:gd name="T61" fmla="*/ 200 h 566"/>
                  <a:gd name="T62" fmla="*/ 878 w 878"/>
                  <a:gd name="T63" fmla="*/ 154 h 566"/>
                  <a:gd name="T64" fmla="*/ 838 w 878"/>
                  <a:gd name="T65" fmla="*/ 168 h 566"/>
                  <a:gd name="T66" fmla="*/ 788 w 878"/>
                  <a:gd name="T67" fmla="*/ 184 h 566"/>
                  <a:gd name="T68" fmla="*/ 730 w 878"/>
                  <a:gd name="T69" fmla="*/ 204 h 566"/>
                  <a:gd name="T70" fmla="*/ 678 w 878"/>
                  <a:gd name="T71" fmla="*/ 222 h 566"/>
                  <a:gd name="T72" fmla="*/ 644 w 878"/>
                  <a:gd name="T73" fmla="*/ 236 h 566"/>
                  <a:gd name="T74" fmla="*/ 634 w 878"/>
                  <a:gd name="T75" fmla="*/ 228 h 566"/>
                  <a:gd name="T76" fmla="*/ 658 w 878"/>
                  <a:gd name="T77" fmla="*/ 202 h 566"/>
                  <a:gd name="T78" fmla="*/ 662 w 878"/>
                  <a:gd name="T79" fmla="*/ 170 h 566"/>
                  <a:gd name="T80" fmla="*/ 682 w 878"/>
                  <a:gd name="T81" fmla="*/ 196 h 566"/>
                  <a:gd name="T82" fmla="*/ 678 w 878"/>
                  <a:gd name="T83" fmla="*/ 162 h 566"/>
                  <a:gd name="T84" fmla="*/ 644 w 878"/>
                  <a:gd name="T85" fmla="*/ 152 h 566"/>
                  <a:gd name="T86" fmla="*/ 620 w 878"/>
                  <a:gd name="T87" fmla="*/ 136 h 566"/>
                  <a:gd name="T88" fmla="*/ 590 w 878"/>
                  <a:gd name="T89" fmla="*/ 136 h 566"/>
                  <a:gd name="T90" fmla="*/ 592 w 878"/>
                  <a:gd name="T91" fmla="*/ 118 h 566"/>
                  <a:gd name="T92" fmla="*/ 554 w 878"/>
                  <a:gd name="T93" fmla="*/ 128 h 566"/>
                  <a:gd name="T94" fmla="*/ 532 w 878"/>
                  <a:gd name="T95" fmla="*/ 124 h 566"/>
                  <a:gd name="T96" fmla="*/ 560 w 878"/>
                  <a:gd name="T97" fmla="*/ 102 h 566"/>
                  <a:gd name="T98" fmla="*/ 532 w 878"/>
                  <a:gd name="T99" fmla="*/ 90 h 566"/>
                  <a:gd name="T100" fmla="*/ 498 w 878"/>
                  <a:gd name="T101" fmla="*/ 62 h 566"/>
                  <a:gd name="T102" fmla="*/ 306 w 878"/>
                  <a:gd name="T103" fmla="*/ 32 h 566"/>
                  <a:gd name="T104" fmla="*/ 112 w 878"/>
                  <a:gd name="T105" fmla="*/ 0 h 566"/>
                  <a:gd name="T106" fmla="*/ 96 w 878"/>
                  <a:gd name="T107" fmla="*/ 30 h 566"/>
                  <a:gd name="T108" fmla="*/ 86 w 878"/>
                  <a:gd name="T109" fmla="*/ 14 h 566"/>
                  <a:gd name="T110" fmla="*/ 70 w 878"/>
                  <a:gd name="T111" fmla="*/ 56 h 566"/>
                  <a:gd name="T112" fmla="*/ 46 w 878"/>
                  <a:gd name="T113" fmla="*/ 100 h 566"/>
                  <a:gd name="T114" fmla="*/ 8 w 878"/>
                  <a:gd name="T115" fmla="*/ 178 h 566"/>
                  <a:gd name="T116" fmla="*/ 0 w 878"/>
                  <a:gd name="T117" fmla="*/ 232 h 566"/>
                  <a:gd name="T118" fmla="*/ 8 w 878"/>
                  <a:gd name="T119" fmla="*/ 276 h 566"/>
                  <a:gd name="T120" fmla="*/ 30 w 878"/>
                  <a:gd name="T121" fmla="*/ 334 h 566"/>
                  <a:gd name="T122" fmla="*/ 62 w 878"/>
                  <a:gd name="T123" fmla="*/ 378 h 5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878" h="566">
                    <a:moveTo>
                      <a:pt x="76" y="376"/>
                    </a:moveTo>
                    <a:lnTo>
                      <a:pt x="76" y="376"/>
                    </a:lnTo>
                    <a:lnTo>
                      <a:pt x="80" y="376"/>
                    </a:lnTo>
                    <a:lnTo>
                      <a:pt x="84" y="376"/>
                    </a:lnTo>
                    <a:lnTo>
                      <a:pt x="88" y="376"/>
                    </a:lnTo>
                    <a:lnTo>
                      <a:pt x="92" y="378"/>
                    </a:lnTo>
                    <a:lnTo>
                      <a:pt x="92" y="378"/>
                    </a:lnTo>
                    <a:lnTo>
                      <a:pt x="94" y="378"/>
                    </a:lnTo>
                    <a:lnTo>
                      <a:pt x="96" y="378"/>
                    </a:lnTo>
                    <a:lnTo>
                      <a:pt x="98" y="382"/>
                    </a:lnTo>
                    <a:lnTo>
                      <a:pt x="98" y="382"/>
                    </a:lnTo>
                    <a:lnTo>
                      <a:pt x="102" y="382"/>
                    </a:lnTo>
                    <a:lnTo>
                      <a:pt x="106" y="386"/>
                    </a:lnTo>
                    <a:lnTo>
                      <a:pt x="106" y="386"/>
                    </a:lnTo>
                    <a:lnTo>
                      <a:pt x="112" y="392"/>
                    </a:lnTo>
                    <a:lnTo>
                      <a:pt x="120" y="396"/>
                    </a:lnTo>
                    <a:lnTo>
                      <a:pt x="120" y="396"/>
                    </a:lnTo>
                    <a:lnTo>
                      <a:pt x="124" y="398"/>
                    </a:lnTo>
                    <a:lnTo>
                      <a:pt x="126" y="400"/>
                    </a:lnTo>
                    <a:lnTo>
                      <a:pt x="128" y="402"/>
                    </a:lnTo>
                    <a:lnTo>
                      <a:pt x="128" y="402"/>
                    </a:lnTo>
                    <a:lnTo>
                      <a:pt x="130" y="404"/>
                    </a:lnTo>
                    <a:lnTo>
                      <a:pt x="132" y="406"/>
                    </a:lnTo>
                    <a:lnTo>
                      <a:pt x="132" y="406"/>
                    </a:lnTo>
                    <a:lnTo>
                      <a:pt x="132" y="406"/>
                    </a:lnTo>
                    <a:lnTo>
                      <a:pt x="136" y="408"/>
                    </a:lnTo>
                    <a:lnTo>
                      <a:pt x="140" y="408"/>
                    </a:lnTo>
                    <a:lnTo>
                      <a:pt x="142" y="410"/>
                    </a:lnTo>
                    <a:lnTo>
                      <a:pt x="146" y="410"/>
                    </a:lnTo>
                    <a:lnTo>
                      <a:pt x="156" y="410"/>
                    </a:lnTo>
                    <a:lnTo>
                      <a:pt x="162" y="412"/>
                    </a:lnTo>
                    <a:lnTo>
                      <a:pt x="162" y="412"/>
                    </a:lnTo>
                    <a:lnTo>
                      <a:pt x="168" y="412"/>
                    </a:lnTo>
                    <a:lnTo>
                      <a:pt x="176" y="412"/>
                    </a:lnTo>
                    <a:lnTo>
                      <a:pt x="176" y="412"/>
                    </a:lnTo>
                    <a:lnTo>
                      <a:pt x="176" y="412"/>
                    </a:lnTo>
                    <a:lnTo>
                      <a:pt x="178" y="412"/>
                    </a:lnTo>
                    <a:lnTo>
                      <a:pt x="182" y="412"/>
                    </a:lnTo>
                    <a:lnTo>
                      <a:pt x="184" y="410"/>
                    </a:lnTo>
                    <a:lnTo>
                      <a:pt x="188" y="410"/>
                    </a:lnTo>
                    <a:lnTo>
                      <a:pt x="188" y="410"/>
                    </a:lnTo>
                    <a:lnTo>
                      <a:pt x="194" y="408"/>
                    </a:lnTo>
                    <a:lnTo>
                      <a:pt x="198" y="408"/>
                    </a:lnTo>
                    <a:lnTo>
                      <a:pt x="202" y="410"/>
                    </a:lnTo>
                    <a:lnTo>
                      <a:pt x="202" y="410"/>
                    </a:lnTo>
                    <a:lnTo>
                      <a:pt x="204" y="410"/>
                    </a:lnTo>
                    <a:lnTo>
                      <a:pt x="208" y="410"/>
                    </a:lnTo>
                    <a:lnTo>
                      <a:pt x="210" y="410"/>
                    </a:lnTo>
                    <a:lnTo>
                      <a:pt x="210" y="412"/>
                    </a:lnTo>
                    <a:lnTo>
                      <a:pt x="212" y="412"/>
                    </a:lnTo>
                    <a:lnTo>
                      <a:pt x="214" y="414"/>
                    </a:lnTo>
                    <a:lnTo>
                      <a:pt x="214" y="414"/>
                    </a:lnTo>
                    <a:lnTo>
                      <a:pt x="214" y="416"/>
                    </a:lnTo>
                    <a:lnTo>
                      <a:pt x="216" y="418"/>
                    </a:lnTo>
                    <a:lnTo>
                      <a:pt x="222" y="422"/>
                    </a:lnTo>
                    <a:lnTo>
                      <a:pt x="222" y="422"/>
                    </a:lnTo>
                    <a:lnTo>
                      <a:pt x="224" y="424"/>
                    </a:lnTo>
                    <a:lnTo>
                      <a:pt x="226" y="426"/>
                    </a:lnTo>
                    <a:lnTo>
                      <a:pt x="226" y="428"/>
                    </a:lnTo>
                    <a:lnTo>
                      <a:pt x="228" y="430"/>
                    </a:lnTo>
                    <a:lnTo>
                      <a:pt x="228" y="430"/>
                    </a:lnTo>
                    <a:lnTo>
                      <a:pt x="228" y="432"/>
                    </a:lnTo>
                    <a:lnTo>
                      <a:pt x="230" y="436"/>
                    </a:lnTo>
                    <a:lnTo>
                      <a:pt x="230" y="444"/>
                    </a:lnTo>
                    <a:lnTo>
                      <a:pt x="230" y="448"/>
                    </a:lnTo>
                    <a:lnTo>
                      <a:pt x="230" y="450"/>
                    </a:lnTo>
                    <a:lnTo>
                      <a:pt x="230" y="454"/>
                    </a:lnTo>
                    <a:lnTo>
                      <a:pt x="232" y="456"/>
                    </a:lnTo>
                    <a:lnTo>
                      <a:pt x="232" y="456"/>
                    </a:lnTo>
                    <a:lnTo>
                      <a:pt x="236" y="462"/>
                    </a:lnTo>
                    <a:lnTo>
                      <a:pt x="238" y="464"/>
                    </a:lnTo>
                    <a:lnTo>
                      <a:pt x="240" y="466"/>
                    </a:lnTo>
                    <a:lnTo>
                      <a:pt x="242" y="468"/>
                    </a:lnTo>
                    <a:lnTo>
                      <a:pt x="246" y="468"/>
                    </a:lnTo>
                    <a:lnTo>
                      <a:pt x="248" y="468"/>
                    </a:lnTo>
                    <a:lnTo>
                      <a:pt x="248" y="468"/>
                    </a:lnTo>
                    <a:lnTo>
                      <a:pt x="250" y="468"/>
                    </a:lnTo>
                    <a:lnTo>
                      <a:pt x="252" y="468"/>
                    </a:lnTo>
                    <a:lnTo>
                      <a:pt x="252" y="468"/>
                    </a:lnTo>
                    <a:lnTo>
                      <a:pt x="254" y="466"/>
                    </a:lnTo>
                    <a:lnTo>
                      <a:pt x="254" y="466"/>
                    </a:lnTo>
                    <a:lnTo>
                      <a:pt x="254" y="464"/>
                    </a:lnTo>
                    <a:lnTo>
                      <a:pt x="254" y="462"/>
                    </a:lnTo>
                    <a:lnTo>
                      <a:pt x="254" y="460"/>
                    </a:lnTo>
                    <a:lnTo>
                      <a:pt x="256" y="458"/>
                    </a:lnTo>
                    <a:lnTo>
                      <a:pt x="256" y="456"/>
                    </a:lnTo>
                    <a:lnTo>
                      <a:pt x="256" y="456"/>
                    </a:lnTo>
                    <a:lnTo>
                      <a:pt x="258" y="454"/>
                    </a:lnTo>
                    <a:lnTo>
                      <a:pt x="258" y="454"/>
                    </a:lnTo>
                    <a:lnTo>
                      <a:pt x="260" y="454"/>
                    </a:lnTo>
                    <a:lnTo>
                      <a:pt x="262" y="452"/>
                    </a:lnTo>
                    <a:lnTo>
                      <a:pt x="264" y="452"/>
                    </a:lnTo>
                    <a:lnTo>
                      <a:pt x="268" y="452"/>
                    </a:lnTo>
                    <a:lnTo>
                      <a:pt x="268" y="452"/>
                    </a:lnTo>
                    <a:lnTo>
                      <a:pt x="272" y="452"/>
                    </a:lnTo>
                    <a:lnTo>
                      <a:pt x="274" y="452"/>
                    </a:lnTo>
                    <a:lnTo>
                      <a:pt x="278" y="454"/>
                    </a:lnTo>
                    <a:lnTo>
                      <a:pt x="280" y="456"/>
                    </a:lnTo>
                    <a:lnTo>
                      <a:pt x="280" y="456"/>
                    </a:lnTo>
                    <a:lnTo>
                      <a:pt x="284" y="458"/>
                    </a:lnTo>
                    <a:lnTo>
                      <a:pt x="286" y="460"/>
                    </a:lnTo>
                    <a:lnTo>
                      <a:pt x="288" y="462"/>
                    </a:lnTo>
                    <a:lnTo>
                      <a:pt x="288" y="462"/>
                    </a:lnTo>
                    <a:lnTo>
                      <a:pt x="288" y="466"/>
                    </a:lnTo>
                    <a:lnTo>
                      <a:pt x="288" y="466"/>
                    </a:lnTo>
                    <a:lnTo>
                      <a:pt x="288" y="470"/>
                    </a:lnTo>
                    <a:lnTo>
                      <a:pt x="288" y="474"/>
                    </a:lnTo>
                    <a:lnTo>
                      <a:pt x="288" y="478"/>
                    </a:lnTo>
                    <a:lnTo>
                      <a:pt x="288" y="478"/>
                    </a:lnTo>
                    <a:lnTo>
                      <a:pt x="290" y="480"/>
                    </a:lnTo>
                    <a:lnTo>
                      <a:pt x="290" y="480"/>
                    </a:lnTo>
                    <a:lnTo>
                      <a:pt x="290" y="482"/>
                    </a:lnTo>
                    <a:lnTo>
                      <a:pt x="292" y="484"/>
                    </a:lnTo>
                    <a:lnTo>
                      <a:pt x="296" y="488"/>
                    </a:lnTo>
                    <a:lnTo>
                      <a:pt x="296" y="488"/>
                    </a:lnTo>
                    <a:lnTo>
                      <a:pt x="296" y="488"/>
                    </a:lnTo>
                    <a:lnTo>
                      <a:pt x="298" y="490"/>
                    </a:lnTo>
                    <a:lnTo>
                      <a:pt x="298" y="492"/>
                    </a:lnTo>
                    <a:lnTo>
                      <a:pt x="296" y="494"/>
                    </a:lnTo>
                    <a:lnTo>
                      <a:pt x="296" y="494"/>
                    </a:lnTo>
                    <a:lnTo>
                      <a:pt x="296" y="504"/>
                    </a:lnTo>
                    <a:lnTo>
                      <a:pt x="294" y="510"/>
                    </a:lnTo>
                    <a:lnTo>
                      <a:pt x="294" y="516"/>
                    </a:lnTo>
                    <a:lnTo>
                      <a:pt x="294" y="516"/>
                    </a:lnTo>
                    <a:lnTo>
                      <a:pt x="294" y="520"/>
                    </a:lnTo>
                    <a:lnTo>
                      <a:pt x="296" y="522"/>
                    </a:lnTo>
                    <a:lnTo>
                      <a:pt x="296" y="524"/>
                    </a:lnTo>
                    <a:lnTo>
                      <a:pt x="296" y="524"/>
                    </a:lnTo>
                    <a:lnTo>
                      <a:pt x="298" y="524"/>
                    </a:lnTo>
                    <a:lnTo>
                      <a:pt x="300" y="526"/>
                    </a:lnTo>
                    <a:lnTo>
                      <a:pt x="300" y="526"/>
                    </a:lnTo>
                    <a:lnTo>
                      <a:pt x="302" y="526"/>
                    </a:lnTo>
                    <a:lnTo>
                      <a:pt x="306" y="528"/>
                    </a:lnTo>
                    <a:lnTo>
                      <a:pt x="310" y="528"/>
                    </a:lnTo>
                    <a:lnTo>
                      <a:pt x="312" y="528"/>
                    </a:lnTo>
                    <a:lnTo>
                      <a:pt x="312" y="528"/>
                    </a:lnTo>
                    <a:lnTo>
                      <a:pt x="316" y="532"/>
                    </a:lnTo>
                    <a:lnTo>
                      <a:pt x="322" y="536"/>
                    </a:lnTo>
                    <a:lnTo>
                      <a:pt x="322" y="536"/>
                    </a:lnTo>
                    <a:lnTo>
                      <a:pt x="326" y="538"/>
                    </a:lnTo>
                    <a:lnTo>
                      <a:pt x="326" y="538"/>
                    </a:lnTo>
                    <a:lnTo>
                      <a:pt x="326" y="536"/>
                    </a:lnTo>
                    <a:lnTo>
                      <a:pt x="326" y="532"/>
                    </a:lnTo>
                    <a:lnTo>
                      <a:pt x="326" y="532"/>
                    </a:lnTo>
                    <a:lnTo>
                      <a:pt x="326" y="530"/>
                    </a:lnTo>
                    <a:lnTo>
                      <a:pt x="326" y="530"/>
                    </a:lnTo>
                    <a:lnTo>
                      <a:pt x="328" y="526"/>
                    </a:lnTo>
                    <a:lnTo>
                      <a:pt x="330" y="522"/>
                    </a:lnTo>
                    <a:lnTo>
                      <a:pt x="330" y="522"/>
                    </a:lnTo>
                    <a:lnTo>
                      <a:pt x="332" y="520"/>
                    </a:lnTo>
                    <a:lnTo>
                      <a:pt x="332" y="518"/>
                    </a:lnTo>
                    <a:lnTo>
                      <a:pt x="332" y="518"/>
                    </a:lnTo>
                    <a:lnTo>
                      <a:pt x="332" y="516"/>
                    </a:lnTo>
                    <a:lnTo>
                      <a:pt x="332" y="516"/>
                    </a:lnTo>
                    <a:lnTo>
                      <a:pt x="332" y="512"/>
                    </a:lnTo>
                    <a:lnTo>
                      <a:pt x="332" y="512"/>
                    </a:lnTo>
                    <a:lnTo>
                      <a:pt x="330" y="510"/>
                    </a:lnTo>
                    <a:lnTo>
                      <a:pt x="330" y="510"/>
                    </a:lnTo>
                    <a:lnTo>
                      <a:pt x="332" y="508"/>
                    </a:lnTo>
                    <a:lnTo>
                      <a:pt x="332" y="506"/>
                    </a:lnTo>
                    <a:lnTo>
                      <a:pt x="334" y="504"/>
                    </a:lnTo>
                    <a:lnTo>
                      <a:pt x="336" y="502"/>
                    </a:lnTo>
                    <a:lnTo>
                      <a:pt x="336" y="502"/>
                    </a:lnTo>
                    <a:lnTo>
                      <a:pt x="338" y="496"/>
                    </a:lnTo>
                    <a:lnTo>
                      <a:pt x="344" y="492"/>
                    </a:lnTo>
                    <a:lnTo>
                      <a:pt x="346" y="488"/>
                    </a:lnTo>
                    <a:lnTo>
                      <a:pt x="348" y="486"/>
                    </a:lnTo>
                    <a:lnTo>
                      <a:pt x="350" y="484"/>
                    </a:lnTo>
                    <a:lnTo>
                      <a:pt x="354" y="484"/>
                    </a:lnTo>
                    <a:lnTo>
                      <a:pt x="354" y="484"/>
                    </a:lnTo>
                    <a:lnTo>
                      <a:pt x="356" y="482"/>
                    </a:lnTo>
                    <a:lnTo>
                      <a:pt x="360" y="480"/>
                    </a:lnTo>
                    <a:lnTo>
                      <a:pt x="366" y="480"/>
                    </a:lnTo>
                    <a:lnTo>
                      <a:pt x="370" y="478"/>
                    </a:lnTo>
                    <a:lnTo>
                      <a:pt x="372" y="478"/>
                    </a:lnTo>
                    <a:lnTo>
                      <a:pt x="376" y="476"/>
                    </a:lnTo>
                    <a:lnTo>
                      <a:pt x="378" y="474"/>
                    </a:lnTo>
                    <a:lnTo>
                      <a:pt x="378" y="474"/>
                    </a:lnTo>
                    <a:lnTo>
                      <a:pt x="380" y="472"/>
                    </a:lnTo>
                    <a:lnTo>
                      <a:pt x="382" y="468"/>
                    </a:lnTo>
                    <a:lnTo>
                      <a:pt x="384" y="466"/>
                    </a:lnTo>
                    <a:lnTo>
                      <a:pt x="384" y="466"/>
                    </a:lnTo>
                    <a:lnTo>
                      <a:pt x="386" y="464"/>
                    </a:lnTo>
                    <a:lnTo>
                      <a:pt x="386" y="464"/>
                    </a:lnTo>
                    <a:lnTo>
                      <a:pt x="388" y="464"/>
                    </a:lnTo>
                    <a:lnTo>
                      <a:pt x="388" y="464"/>
                    </a:lnTo>
                    <a:lnTo>
                      <a:pt x="390" y="464"/>
                    </a:lnTo>
                    <a:lnTo>
                      <a:pt x="392" y="464"/>
                    </a:lnTo>
                    <a:lnTo>
                      <a:pt x="392" y="464"/>
                    </a:lnTo>
                    <a:lnTo>
                      <a:pt x="394" y="464"/>
                    </a:lnTo>
                    <a:lnTo>
                      <a:pt x="394" y="462"/>
                    </a:lnTo>
                    <a:lnTo>
                      <a:pt x="396" y="462"/>
                    </a:lnTo>
                    <a:lnTo>
                      <a:pt x="396" y="462"/>
                    </a:lnTo>
                    <a:lnTo>
                      <a:pt x="398" y="462"/>
                    </a:lnTo>
                    <a:lnTo>
                      <a:pt x="398" y="464"/>
                    </a:lnTo>
                    <a:lnTo>
                      <a:pt x="400" y="464"/>
                    </a:lnTo>
                    <a:lnTo>
                      <a:pt x="402" y="464"/>
                    </a:lnTo>
                    <a:lnTo>
                      <a:pt x="402" y="464"/>
                    </a:lnTo>
                    <a:lnTo>
                      <a:pt x="404" y="464"/>
                    </a:lnTo>
                    <a:lnTo>
                      <a:pt x="404" y="464"/>
                    </a:lnTo>
                    <a:lnTo>
                      <a:pt x="408" y="466"/>
                    </a:lnTo>
                    <a:lnTo>
                      <a:pt x="408" y="466"/>
                    </a:lnTo>
                    <a:lnTo>
                      <a:pt x="410" y="468"/>
                    </a:lnTo>
                    <a:lnTo>
                      <a:pt x="414" y="468"/>
                    </a:lnTo>
                    <a:lnTo>
                      <a:pt x="416" y="470"/>
                    </a:lnTo>
                    <a:lnTo>
                      <a:pt x="416" y="470"/>
                    </a:lnTo>
                    <a:lnTo>
                      <a:pt x="418" y="470"/>
                    </a:lnTo>
                    <a:lnTo>
                      <a:pt x="420" y="470"/>
                    </a:lnTo>
                    <a:lnTo>
                      <a:pt x="420" y="470"/>
                    </a:lnTo>
                    <a:lnTo>
                      <a:pt x="422" y="468"/>
                    </a:lnTo>
                    <a:lnTo>
                      <a:pt x="424" y="468"/>
                    </a:lnTo>
                    <a:lnTo>
                      <a:pt x="424" y="468"/>
                    </a:lnTo>
                    <a:lnTo>
                      <a:pt x="424" y="468"/>
                    </a:lnTo>
                    <a:lnTo>
                      <a:pt x="424" y="470"/>
                    </a:lnTo>
                    <a:lnTo>
                      <a:pt x="426" y="470"/>
                    </a:lnTo>
                    <a:lnTo>
                      <a:pt x="426" y="470"/>
                    </a:lnTo>
                    <a:lnTo>
                      <a:pt x="426" y="470"/>
                    </a:lnTo>
                    <a:lnTo>
                      <a:pt x="428" y="470"/>
                    </a:lnTo>
                    <a:lnTo>
                      <a:pt x="428" y="470"/>
                    </a:lnTo>
                    <a:lnTo>
                      <a:pt x="432" y="470"/>
                    </a:lnTo>
                    <a:lnTo>
                      <a:pt x="432" y="470"/>
                    </a:lnTo>
                    <a:lnTo>
                      <a:pt x="432" y="470"/>
                    </a:lnTo>
                    <a:lnTo>
                      <a:pt x="432" y="472"/>
                    </a:lnTo>
                    <a:lnTo>
                      <a:pt x="432" y="474"/>
                    </a:lnTo>
                    <a:lnTo>
                      <a:pt x="432" y="476"/>
                    </a:lnTo>
                    <a:lnTo>
                      <a:pt x="432" y="476"/>
                    </a:lnTo>
                    <a:lnTo>
                      <a:pt x="432" y="478"/>
                    </a:lnTo>
                    <a:lnTo>
                      <a:pt x="432" y="478"/>
                    </a:lnTo>
                    <a:lnTo>
                      <a:pt x="434" y="478"/>
                    </a:lnTo>
                    <a:lnTo>
                      <a:pt x="436" y="478"/>
                    </a:lnTo>
                    <a:lnTo>
                      <a:pt x="436" y="478"/>
                    </a:lnTo>
                    <a:lnTo>
                      <a:pt x="440" y="482"/>
                    </a:lnTo>
                    <a:lnTo>
                      <a:pt x="440" y="482"/>
                    </a:lnTo>
                    <a:lnTo>
                      <a:pt x="442" y="482"/>
                    </a:lnTo>
                    <a:lnTo>
                      <a:pt x="442" y="482"/>
                    </a:lnTo>
                    <a:lnTo>
                      <a:pt x="444" y="480"/>
                    </a:lnTo>
                    <a:lnTo>
                      <a:pt x="444" y="480"/>
                    </a:lnTo>
                    <a:lnTo>
                      <a:pt x="444" y="480"/>
                    </a:lnTo>
                    <a:lnTo>
                      <a:pt x="446" y="480"/>
                    </a:lnTo>
                    <a:lnTo>
                      <a:pt x="446" y="478"/>
                    </a:lnTo>
                    <a:lnTo>
                      <a:pt x="446" y="478"/>
                    </a:lnTo>
                    <a:lnTo>
                      <a:pt x="448" y="480"/>
                    </a:lnTo>
                    <a:lnTo>
                      <a:pt x="448" y="480"/>
                    </a:lnTo>
                    <a:lnTo>
                      <a:pt x="448" y="480"/>
                    </a:lnTo>
                    <a:lnTo>
                      <a:pt x="450" y="482"/>
                    </a:lnTo>
                    <a:lnTo>
                      <a:pt x="450" y="482"/>
                    </a:lnTo>
                    <a:lnTo>
                      <a:pt x="450" y="482"/>
                    </a:lnTo>
                    <a:lnTo>
                      <a:pt x="452" y="480"/>
                    </a:lnTo>
                    <a:lnTo>
                      <a:pt x="452" y="480"/>
                    </a:lnTo>
                    <a:lnTo>
                      <a:pt x="452" y="478"/>
                    </a:lnTo>
                    <a:lnTo>
                      <a:pt x="452" y="478"/>
                    </a:lnTo>
                    <a:lnTo>
                      <a:pt x="452" y="478"/>
                    </a:lnTo>
                    <a:lnTo>
                      <a:pt x="454" y="474"/>
                    </a:lnTo>
                    <a:lnTo>
                      <a:pt x="454" y="474"/>
                    </a:lnTo>
                    <a:lnTo>
                      <a:pt x="454" y="472"/>
                    </a:lnTo>
                    <a:lnTo>
                      <a:pt x="456" y="472"/>
                    </a:lnTo>
                    <a:lnTo>
                      <a:pt x="456" y="474"/>
                    </a:lnTo>
                    <a:lnTo>
                      <a:pt x="456" y="474"/>
                    </a:lnTo>
                    <a:lnTo>
                      <a:pt x="458" y="476"/>
                    </a:lnTo>
                    <a:lnTo>
                      <a:pt x="458" y="478"/>
                    </a:lnTo>
                    <a:lnTo>
                      <a:pt x="458" y="480"/>
                    </a:lnTo>
                    <a:lnTo>
                      <a:pt x="460" y="480"/>
                    </a:lnTo>
                    <a:lnTo>
                      <a:pt x="460" y="480"/>
                    </a:lnTo>
                    <a:lnTo>
                      <a:pt x="460" y="480"/>
                    </a:lnTo>
                    <a:lnTo>
                      <a:pt x="460" y="480"/>
                    </a:lnTo>
                    <a:lnTo>
                      <a:pt x="462" y="480"/>
                    </a:lnTo>
                    <a:lnTo>
                      <a:pt x="462" y="478"/>
                    </a:lnTo>
                    <a:lnTo>
                      <a:pt x="462" y="478"/>
                    </a:lnTo>
                    <a:lnTo>
                      <a:pt x="464" y="474"/>
                    </a:lnTo>
                    <a:lnTo>
                      <a:pt x="464" y="474"/>
                    </a:lnTo>
                    <a:lnTo>
                      <a:pt x="464" y="474"/>
                    </a:lnTo>
                    <a:lnTo>
                      <a:pt x="464" y="472"/>
                    </a:lnTo>
                    <a:lnTo>
                      <a:pt x="466" y="472"/>
                    </a:lnTo>
                    <a:lnTo>
                      <a:pt x="468" y="470"/>
                    </a:lnTo>
                    <a:lnTo>
                      <a:pt x="468" y="468"/>
                    </a:lnTo>
                    <a:lnTo>
                      <a:pt x="468" y="468"/>
                    </a:lnTo>
                    <a:lnTo>
                      <a:pt x="468" y="468"/>
                    </a:lnTo>
                    <a:lnTo>
                      <a:pt x="468" y="468"/>
                    </a:lnTo>
                    <a:lnTo>
                      <a:pt x="466" y="466"/>
                    </a:lnTo>
                    <a:lnTo>
                      <a:pt x="466" y="466"/>
                    </a:lnTo>
                    <a:lnTo>
                      <a:pt x="466" y="464"/>
                    </a:lnTo>
                    <a:lnTo>
                      <a:pt x="466" y="464"/>
                    </a:lnTo>
                    <a:lnTo>
                      <a:pt x="466" y="464"/>
                    </a:lnTo>
                    <a:lnTo>
                      <a:pt x="466" y="462"/>
                    </a:lnTo>
                    <a:lnTo>
                      <a:pt x="468" y="460"/>
                    </a:lnTo>
                    <a:lnTo>
                      <a:pt x="468" y="460"/>
                    </a:lnTo>
                    <a:lnTo>
                      <a:pt x="472" y="460"/>
                    </a:lnTo>
                    <a:lnTo>
                      <a:pt x="474" y="458"/>
                    </a:lnTo>
                    <a:lnTo>
                      <a:pt x="474" y="458"/>
                    </a:lnTo>
                    <a:lnTo>
                      <a:pt x="476" y="458"/>
                    </a:lnTo>
                    <a:lnTo>
                      <a:pt x="478" y="456"/>
                    </a:lnTo>
                    <a:lnTo>
                      <a:pt x="478" y="456"/>
                    </a:lnTo>
                    <a:lnTo>
                      <a:pt x="478" y="456"/>
                    </a:lnTo>
                    <a:lnTo>
                      <a:pt x="478" y="456"/>
                    </a:lnTo>
                    <a:lnTo>
                      <a:pt x="478" y="458"/>
                    </a:lnTo>
                    <a:lnTo>
                      <a:pt x="480" y="458"/>
                    </a:lnTo>
                    <a:lnTo>
                      <a:pt x="480" y="458"/>
                    </a:lnTo>
                    <a:lnTo>
                      <a:pt x="480" y="458"/>
                    </a:lnTo>
                    <a:lnTo>
                      <a:pt x="482" y="458"/>
                    </a:lnTo>
                    <a:lnTo>
                      <a:pt x="482" y="458"/>
                    </a:lnTo>
                    <a:lnTo>
                      <a:pt x="484" y="456"/>
                    </a:lnTo>
                    <a:lnTo>
                      <a:pt x="486" y="456"/>
                    </a:lnTo>
                    <a:lnTo>
                      <a:pt x="486" y="456"/>
                    </a:lnTo>
                    <a:lnTo>
                      <a:pt x="486" y="458"/>
                    </a:lnTo>
                    <a:lnTo>
                      <a:pt x="486" y="458"/>
                    </a:lnTo>
                    <a:lnTo>
                      <a:pt x="486" y="460"/>
                    </a:lnTo>
                    <a:lnTo>
                      <a:pt x="486" y="460"/>
                    </a:lnTo>
                    <a:lnTo>
                      <a:pt x="486" y="460"/>
                    </a:lnTo>
                    <a:lnTo>
                      <a:pt x="488" y="462"/>
                    </a:lnTo>
                    <a:lnTo>
                      <a:pt x="492" y="462"/>
                    </a:lnTo>
                    <a:lnTo>
                      <a:pt x="492" y="462"/>
                    </a:lnTo>
                    <a:lnTo>
                      <a:pt x="492" y="462"/>
                    </a:lnTo>
                    <a:lnTo>
                      <a:pt x="494" y="462"/>
                    </a:lnTo>
                    <a:lnTo>
                      <a:pt x="496" y="462"/>
                    </a:lnTo>
                    <a:lnTo>
                      <a:pt x="496" y="460"/>
                    </a:lnTo>
                    <a:lnTo>
                      <a:pt x="496" y="460"/>
                    </a:lnTo>
                    <a:lnTo>
                      <a:pt x="504" y="462"/>
                    </a:lnTo>
                    <a:lnTo>
                      <a:pt x="504" y="462"/>
                    </a:lnTo>
                    <a:lnTo>
                      <a:pt x="510" y="462"/>
                    </a:lnTo>
                    <a:lnTo>
                      <a:pt x="516" y="462"/>
                    </a:lnTo>
                    <a:lnTo>
                      <a:pt x="516" y="462"/>
                    </a:lnTo>
                    <a:lnTo>
                      <a:pt x="518" y="462"/>
                    </a:lnTo>
                    <a:lnTo>
                      <a:pt x="520" y="462"/>
                    </a:lnTo>
                    <a:lnTo>
                      <a:pt x="520" y="462"/>
                    </a:lnTo>
                    <a:lnTo>
                      <a:pt x="524" y="464"/>
                    </a:lnTo>
                    <a:lnTo>
                      <a:pt x="524" y="466"/>
                    </a:lnTo>
                    <a:lnTo>
                      <a:pt x="526" y="470"/>
                    </a:lnTo>
                    <a:lnTo>
                      <a:pt x="526" y="470"/>
                    </a:lnTo>
                    <a:lnTo>
                      <a:pt x="526" y="470"/>
                    </a:lnTo>
                    <a:lnTo>
                      <a:pt x="526" y="472"/>
                    </a:lnTo>
                    <a:lnTo>
                      <a:pt x="528" y="474"/>
                    </a:lnTo>
                    <a:lnTo>
                      <a:pt x="528" y="474"/>
                    </a:lnTo>
                    <a:lnTo>
                      <a:pt x="528" y="474"/>
                    </a:lnTo>
                    <a:lnTo>
                      <a:pt x="528" y="474"/>
                    </a:lnTo>
                    <a:lnTo>
                      <a:pt x="528" y="476"/>
                    </a:lnTo>
                    <a:lnTo>
                      <a:pt x="528" y="476"/>
                    </a:lnTo>
                    <a:lnTo>
                      <a:pt x="528" y="476"/>
                    </a:lnTo>
                    <a:lnTo>
                      <a:pt x="528" y="476"/>
                    </a:lnTo>
                    <a:lnTo>
                      <a:pt x="530" y="476"/>
                    </a:lnTo>
                    <a:lnTo>
                      <a:pt x="532" y="476"/>
                    </a:lnTo>
                    <a:lnTo>
                      <a:pt x="532" y="476"/>
                    </a:lnTo>
                    <a:lnTo>
                      <a:pt x="534" y="474"/>
                    </a:lnTo>
                    <a:lnTo>
                      <a:pt x="538" y="474"/>
                    </a:lnTo>
                    <a:lnTo>
                      <a:pt x="542" y="472"/>
                    </a:lnTo>
                    <a:lnTo>
                      <a:pt x="542" y="472"/>
                    </a:lnTo>
                    <a:lnTo>
                      <a:pt x="544" y="472"/>
                    </a:lnTo>
                    <a:lnTo>
                      <a:pt x="544" y="472"/>
                    </a:lnTo>
                    <a:lnTo>
                      <a:pt x="546" y="470"/>
                    </a:lnTo>
                    <a:lnTo>
                      <a:pt x="546" y="470"/>
                    </a:lnTo>
                    <a:lnTo>
                      <a:pt x="548" y="468"/>
                    </a:lnTo>
                    <a:lnTo>
                      <a:pt x="550" y="468"/>
                    </a:lnTo>
                    <a:lnTo>
                      <a:pt x="552" y="468"/>
                    </a:lnTo>
                    <a:lnTo>
                      <a:pt x="552" y="470"/>
                    </a:lnTo>
                    <a:lnTo>
                      <a:pt x="554" y="472"/>
                    </a:lnTo>
                    <a:lnTo>
                      <a:pt x="554" y="472"/>
                    </a:lnTo>
                    <a:lnTo>
                      <a:pt x="556" y="472"/>
                    </a:lnTo>
                    <a:lnTo>
                      <a:pt x="556" y="474"/>
                    </a:lnTo>
                    <a:lnTo>
                      <a:pt x="558" y="474"/>
                    </a:lnTo>
                    <a:lnTo>
                      <a:pt x="558" y="476"/>
                    </a:lnTo>
                    <a:lnTo>
                      <a:pt x="558" y="476"/>
                    </a:lnTo>
                    <a:lnTo>
                      <a:pt x="558" y="478"/>
                    </a:lnTo>
                    <a:lnTo>
                      <a:pt x="558" y="480"/>
                    </a:lnTo>
                    <a:lnTo>
                      <a:pt x="558" y="482"/>
                    </a:lnTo>
                    <a:lnTo>
                      <a:pt x="558" y="482"/>
                    </a:lnTo>
                    <a:lnTo>
                      <a:pt x="558" y="482"/>
                    </a:lnTo>
                    <a:lnTo>
                      <a:pt x="558" y="484"/>
                    </a:lnTo>
                    <a:lnTo>
                      <a:pt x="560" y="486"/>
                    </a:lnTo>
                    <a:lnTo>
                      <a:pt x="562" y="488"/>
                    </a:lnTo>
                    <a:lnTo>
                      <a:pt x="562" y="488"/>
                    </a:lnTo>
                    <a:lnTo>
                      <a:pt x="564" y="490"/>
                    </a:lnTo>
                    <a:lnTo>
                      <a:pt x="566" y="492"/>
                    </a:lnTo>
                    <a:lnTo>
                      <a:pt x="566" y="494"/>
                    </a:lnTo>
                    <a:lnTo>
                      <a:pt x="566" y="496"/>
                    </a:lnTo>
                    <a:lnTo>
                      <a:pt x="566" y="496"/>
                    </a:lnTo>
                    <a:lnTo>
                      <a:pt x="566" y="496"/>
                    </a:lnTo>
                    <a:lnTo>
                      <a:pt x="564" y="500"/>
                    </a:lnTo>
                    <a:lnTo>
                      <a:pt x="564" y="502"/>
                    </a:lnTo>
                    <a:lnTo>
                      <a:pt x="562" y="504"/>
                    </a:lnTo>
                    <a:lnTo>
                      <a:pt x="560" y="506"/>
                    </a:lnTo>
                    <a:lnTo>
                      <a:pt x="560" y="506"/>
                    </a:lnTo>
                    <a:lnTo>
                      <a:pt x="560" y="510"/>
                    </a:lnTo>
                    <a:lnTo>
                      <a:pt x="560" y="514"/>
                    </a:lnTo>
                    <a:lnTo>
                      <a:pt x="560" y="514"/>
                    </a:lnTo>
                    <a:lnTo>
                      <a:pt x="560" y="518"/>
                    </a:lnTo>
                    <a:lnTo>
                      <a:pt x="560" y="520"/>
                    </a:lnTo>
                    <a:lnTo>
                      <a:pt x="560" y="520"/>
                    </a:lnTo>
                    <a:lnTo>
                      <a:pt x="558" y="524"/>
                    </a:lnTo>
                    <a:lnTo>
                      <a:pt x="560" y="524"/>
                    </a:lnTo>
                    <a:lnTo>
                      <a:pt x="560" y="526"/>
                    </a:lnTo>
                    <a:lnTo>
                      <a:pt x="560" y="526"/>
                    </a:lnTo>
                    <a:lnTo>
                      <a:pt x="560" y="528"/>
                    </a:lnTo>
                    <a:lnTo>
                      <a:pt x="562" y="528"/>
                    </a:lnTo>
                    <a:lnTo>
                      <a:pt x="564" y="530"/>
                    </a:lnTo>
                    <a:lnTo>
                      <a:pt x="564" y="530"/>
                    </a:lnTo>
                    <a:lnTo>
                      <a:pt x="566" y="534"/>
                    </a:lnTo>
                    <a:lnTo>
                      <a:pt x="568" y="534"/>
                    </a:lnTo>
                    <a:lnTo>
                      <a:pt x="568" y="536"/>
                    </a:lnTo>
                    <a:lnTo>
                      <a:pt x="568" y="536"/>
                    </a:lnTo>
                    <a:lnTo>
                      <a:pt x="568" y="538"/>
                    </a:lnTo>
                    <a:lnTo>
                      <a:pt x="568" y="538"/>
                    </a:lnTo>
                    <a:lnTo>
                      <a:pt x="568" y="542"/>
                    </a:lnTo>
                    <a:lnTo>
                      <a:pt x="568" y="542"/>
                    </a:lnTo>
                    <a:lnTo>
                      <a:pt x="568" y="542"/>
                    </a:lnTo>
                    <a:lnTo>
                      <a:pt x="566" y="544"/>
                    </a:lnTo>
                    <a:lnTo>
                      <a:pt x="568" y="546"/>
                    </a:lnTo>
                    <a:lnTo>
                      <a:pt x="568" y="548"/>
                    </a:lnTo>
                    <a:lnTo>
                      <a:pt x="568" y="548"/>
                    </a:lnTo>
                    <a:lnTo>
                      <a:pt x="570" y="552"/>
                    </a:lnTo>
                    <a:lnTo>
                      <a:pt x="570" y="552"/>
                    </a:lnTo>
                    <a:lnTo>
                      <a:pt x="572" y="554"/>
                    </a:lnTo>
                    <a:lnTo>
                      <a:pt x="572" y="554"/>
                    </a:lnTo>
                    <a:lnTo>
                      <a:pt x="572" y="556"/>
                    </a:lnTo>
                    <a:lnTo>
                      <a:pt x="572" y="556"/>
                    </a:lnTo>
                    <a:lnTo>
                      <a:pt x="572" y="558"/>
                    </a:lnTo>
                    <a:lnTo>
                      <a:pt x="572" y="560"/>
                    </a:lnTo>
                    <a:lnTo>
                      <a:pt x="572" y="560"/>
                    </a:lnTo>
                    <a:lnTo>
                      <a:pt x="572" y="560"/>
                    </a:lnTo>
                    <a:lnTo>
                      <a:pt x="574" y="562"/>
                    </a:lnTo>
                    <a:lnTo>
                      <a:pt x="574" y="562"/>
                    </a:lnTo>
                    <a:lnTo>
                      <a:pt x="576" y="562"/>
                    </a:lnTo>
                    <a:lnTo>
                      <a:pt x="576" y="562"/>
                    </a:lnTo>
                    <a:lnTo>
                      <a:pt x="576" y="564"/>
                    </a:lnTo>
                    <a:lnTo>
                      <a:pt x="576" y="566"/>
                    </a:lnTo>
                    <a:lnTo>
                      <a:pt x="576" y="566"/>
                    </a:lnTo>
                    <a:lnTo>
                      <a:pt x="576" y="566"/>
                    </a:lnTo>
                    <a:lnTo>
                      <a:pt x="578" y="566"/>
                    </a:lnTo>
                    <a:lnTo>
                      <a:pt x="578" y="566"/>
                    </a:lnTo>
                    <a:lnTo>
                      <a:pt x="580" y="566"/>
                    </a:lnTo>
                    <a:lnTo>
                      <a:pt x="580" y="566"/>
                    </a:lnTo>
                    <a:lnTo>
                      <a:pt x="582" y="566"/>
                    </a:lnTo>
                    <a:lnTo>
                      <a:pt x="586" y="564"/>
                    </a:lnTo>
                    <a:lnTo>
                      <a:pt x="588" y="564"/>
                    </a:lnTo>
                    <a:lnTo>
                      <a:pt x="590" y="562"/>
                    </a:lnTo>
                    <a:lnTo>
                      <a:pt x="590" y="560"/>
                    </a:lnTo>
                    <a:lnTo>
                      <a:pt x="592" y="558"/>
                    </a:lnTo>
                    <a:lnTo>
                      <a:pt x="594" y="554"/>
                    </a:lnTo>
                    <a:lnTo>
                      <a:pt x="594" y="552"/>
                    </a:lnTo>
                    <a:lnTo>
                      <a:pt x="594" y="552"/>
                    </a:lnTo>
                    <a:lnTo>
                      <a:pt x="594" y="550"/>
                    </a:lnTo>
                    <a:lnTo>
                      <a:pt x="594" y="548"/>
                    </a:lnTo>
                    <a:lnTo>
                      <a:pt x="594" y="548"/>
                    </a:lnTo>
                    <a:lnTo>
                      <a:pt x="596" y="544"/>
                    </a:lnTo>
                    <a:lnTo>
                      <a:pt x="596" y="542"/>
                    </a:lnTo>
                    <a:lnTo>
                      <a:pt x="596" y="542"/>
                    </a:lnTo>
                    <a:lnTo>
                      <a:pt x="598" y="536"/>
                    </a:lnTo>
                    <a:lnTo>
                      <a:pt x="598" y="528"/>
                    </a:lnTo>
                    <a:lnTo>
                      <a:pt x="598" y="528"/>
                    </a:lnTo>
                    <a:lnTo>
                      <a:pt x="598" y="526"/>
                    </a:lnTo>
                    <a:lnTo>
                      <a:pt x="598" y="524"/>
                    </a:lnTo>
                    <a:lnTo>
                      <a:pt x="598" y="524"/>
                    </a:lnTo>
                    <a:lnTo>
                      <a:pt x="598" y="524"/>
                    </a:lnTo>
                    <a:lnTo>
                      <a:pt x="596" y="522"/>
                    </a:lnTo>
                    <a:lnTo>
                      <a:pt x="594" y="520"/>
                    </a:lnTo>
                    <a:lnTo>
                      <a:pt x="594" y="518"/>
                    </a:lnTo>
                    <a:lnTo>
                      <a:pt x="594" y="518"/>
                    </a:lnTo>
                    <a:lnTo>
                      <a:pt x="594" y="514"/>
                    </a:lnTo>
                    <a:lnTo>
                      <a:pt x="594" y="510"/>
                    </a:lnTo>
                    <a:lnTo>
                      <a:pt x="594" y="504"/>
                    </a:lnTo>
                    <a:lnTo>
                      <a:pt x="594" y="504"/>
                    </a:lnTo>
                    <a:lnTo>
                      <a:pt x="594" y="502"/>
                    </a:lnTo>
                    <a:lnTo>
                      <a:pt x="594" y="498"/>
                    </a:lnTo>
                    <a:lnTo>
                      <a:pt x="594" y="494"/>
                    </a:lnTo>
                    <a:lnTo>
                      <a:pt x="594" y="492"/>
                    </a:lnTo>
                    <a:lnTo>
                      <a:pt x="594" y="492"/>
                    </a:lnTo>
                    <a:lnTo>
                      <a:pt x="594" y="492"/>
                    </a:lnTo>
                    <a:lnTo>
                      <a:pt x="592" y="488"/>
                    </a:lnTo>
                    <a:lnTo>
                      <a:pt x="592" y="486"/>
                    </a:lnTo>
                    <a:lnTo>
                      <a:pt x="592" y="484"/>
                    </a:lnTo>
                    <a:lnTo>
                      <a:pt x="592" y="482"/>
                    </a:lnTo>
                    <a:lnTo>
                      <a:pt x="592" y="480"/>
                    </a:lnTo>
                    <a:lnTo>
                      <a:pt x="592" y="480"/>
                    </a:lnTo>
                    <a:lnTo>
                      <a:pt x="592" y="480"/>
                    </a:lnTo>
                    <a:lnTo>
                      <a:pt x="594" y="478"/>
                    </a:lnTo>
                    <a:lnTo>
                      <a:pt x="596" y="476"/>
                    </a:lnTo>
                    <a:lnTo>
                      <a:pt x="596" y="474"/>
                    </a:lnTo>
                    <a:lnTo>
                      <a:pt x="598" y="470"/>
                    </a:lnTo>
                    <a:lnTo>
                      <a:pt x="598" y="470"/>
                    </a:lnTo>
                    <a:lnTo>
                      <a:pt x="598" y="464"/>
                    </a:lnTo>
                    <a:lnTo>
                      <a:pt x="598" y="462"/>
                    </a:lnTo>
                    <a:lnTo>
                      <a:pt x="600" y="458"/>
                    </a:lnTo>
                    <a:lnTo>
                      <a:pt x="600" y="458"/>
                    </a:lnTo>
                    <a:lnTo>
                      <a:pt x="600" y="452"/>
                    </a:lnTo>
                    <a:lnTo>
                      <a:pt x="600" y="452"/>
                    </a:lnTo>
                    <a:lnTo>
                      <a:pt x="602" y="450"/>
                    </a:lnTo>
                    <a:lnTo>
                      <a:pt x="602" y="446"/>
                    </a:lnTo>
                    <a:lnTo>
                      <a:pt x="602" y="446"/>
                    </a:lnTo>
                    <a:lnTo>
                      <a:pt x="604" y="442"/>
                    </a:lnTo>
                    <a:lnTo>
                      <a:pt x="604" y="440"/>
                    </a:lnTo>
                    <a:lnTo>
                      <a:pt x="606" y="438"/>
                    </a:lnTo>
                    <a:lnTo>
                      <a:pt x="606" y="436"/>
                    </a:lnTo>
                    <a:lnTo>
                      <a:pt x="606" y="436"/>
                    </a:lnTo>
                    <a:lnTo>
                      <a:pt x="610" y="432"/>
                    </a:lnTo>
                    <a:lnTo>
                      <a:pt x="610" y="430"/>
                    </a:lnTo>
                    <a:lnTo>
                      <a:pt x="612" y="430"/>
                    </a:lnTo>
                    <a:lnTo>
                      <a:pt x="612" y="430"/>
                    </a:lnTo>
                    <a:lnTo>
                      <a:pt x="622" y="424"/>
                    </a:lnTo>
                    <a:lnTo>
                      <a:pt x="632" y="418"/>
                    </a:lnTo>
                    <a:lnTo>
                      <a:pt x="632" y="418"/>
                    </a:lnTo>
                    <a:lnTo>
                      <a:pt x="634" y="416"/>
                    </a:lnTo>
                    <a:lnTo>
                      <a:pt x="636" y="414"/>
                    </a:lnTo>
                    <a:lnTo>
                      <a:pt x="638" y="408"/>
                    </a:lnTo>
                    <a:lnTo>
                      <a:pt x="638" y="408"/>
                    </a:lnTo>
                    <a:lnTo>
                      <a:pt x="642" y="406"/>
                    </a:lnTo>
                    <a:lnTo>
                      <a:pt x="644" y="406"/>
                    </a:lnTo>
                    <a:lnTo>
                      <a:pt x="646" y="404"/>
                    </a:lnTo>
                    <a:lnTo>
                      <a:pt x="648" y="402"/>
                    </a:lnTo>
                    <a:lnTo>
                      <a:pt x="648" y="402"/>
                    </a:lnTo>
                    <a:lnTo>
                      <a:pt x="652" y="402"/>
                    </a:lnTo>
                    <a:lnTo>
                      <a:pt x="654" y="402"/>
                    </a:lnTo>
                    <a:lnTo>
                      <a:pt x="658" y="402"/>
                    </a:lnTo>
                    <a:lnTo>
                      <a:pt x="660" y="402"/>
                    </a:lnTo>
                    <a:lnTo>
                      <a:pt x="660" y="402"/>
                    </a:lnTo>
                    <a:lnTo>
                      <a:pt x="664" y="400"/>
                    </a:lnTo>
                    <a:lnTo>
                      <a:pt x="666" y="398"/>
                    </a:lnTo>
                    <a:lnTo>
                      <a:pt x="668" y="396"/>
                    </a:lnTo>
                    <a:lnTo>
                      <a:pt x="670" y="394"/>
                    </a:lnTo>
                    <a:lnTo>
                      <a:pt x="670" y="394"/>
                    </a:lnTo>
                    <a:lnTo>
                      <a:pt x="672" y="392"/>
                    </a:lnTo>
                    <a:lnTo>
                      <a:pt x="674" y="390"/>
                    </a:lnTo>
                    <a:lnTo>
                      <a:pt x="680" y="388"/>
                    </a:lnTo>
                    <a:lnTo>
                      <a:pt x="680" y="388"/>
                    </a:lnTo>
                    <a:lnTo>
                      <a:pt x="684" y="384"/>
                    </a:lnTo>
                    <a:lnTo>
                      <a:pt x="690" y="382"/>
                    </a:lnTo>
                    <a:lnTo>
                      <a:pt x="690" y="382"/>
                    </a:lnTo>
                    <a:lnTo>
                      <a:pt x="694" y="380"/>
                    </a:lnTo>
                    <a:lnTo>
                      <a:pt x="696" y="380"/>
                    </a:lnTo>
                    <a:lnTo>
                      <a:pt x="696" y="380"/>
                    </a:lnTo>
                    <a:lnTo>
                      <a:pt x="698" y="378"/>
                    </a:lnTo>
                    <a:lnTo>
                      <a:pt x="698" y="378"/>
                    </a:lnTo>
                    <a:lnTo>
                      <a:pt x="698" y="376"/>
                    </a:lnTo>
                    <a:lnTo>
                      <a:pt x="698" y="376"/>
                    </a:lnTo>
                    <a:lnTo>
                      <a:pt x="698" y="376"/>
                    </a:lnTo>
                    <a:lnTo>
                      <a:pt x="698" y="374"/>
                    </a:lnTo>
                    <a:lnTo>
                      <a:pt x="696" y="372"/>
                    </a:lnTo>
                    <a:lnTo>
                      <a:pt x="696" y="372"/>
                    </a:lnTo>
                    <a:lnTo>
                      <a:pt x="696" y="370"/>
                    </a:lnTo>
                    <a:lnTo>
                      <a:pt x="696" y="370"/>
                    </a:lnTo>
                    <a:lnTo>
                      <a:pt x="696" y="368"/>
                    </a:lnTo>
                    <a:lnTo>
                      <a:pt x="696" y="368"/>
                    </a:lnTo>
                    <a:lnTo>
                      <a:pt x="698" y="368"/>
                    </a:lnTo>
                    <a:lnTo>
                      <a:pt x="698" y="368"/>
                    </a:lnTo>
                    <a:lnTo>
                      <a:pt x="700" y="370"/>
                    </a:lnTo>
                    <a:lnTo>
                      <a:pt x="702" y="370"/>
                    </a:lnTo>
                    <a:lnTo>
                      <a:pt x="702" y="370"/>
                    </a:lnTo>
                    <a:lnTo>
                      <a:pt x="704" y="370"/>
                    </a:lnTo>
                    <a:lnTo>
                      <a:pt x="704" y="368"/>
                    </a:lnTo>
                    <a:lnTo>
                      <a:pt x="704" y="368"/>
                    </a:lnTo>
                    <a:lnTo>
                      <a:pt x="704" y="366"/>
                    </a:lnTo>
                    <a:lnTo>
                      <a:pt x="704" y="364"/>
                    </a:lnTo>
                    <a:lnTo>
                      <a:pt x="704" y="362"/>
                    </a:lnTo>
                    <a:lnTo>
                      <a:pt x="702" y="360"/>
                    </a:lnTo>
                    <a:lnTo>
                      <a:pt x="700" y="358"/>
                    </a:lnTo>
                    <a:lnTo>
                      <a:pt x="700" y="358"/>
                    </a:lnTo>
                    <a:lnTo>
                      <a:pt x="696" y="356"/>
                    </a:lnTo>
                    <a:lnTo>
                      <a:pt x="696" y="356"/>
                    </a:lnTo>
                    <a:lnTo>
                      <a:pt x="696" y="354"/>
                    </a:lnTo>
                    <a:lnTo>
                      <a:pt x="696" y="354"/>
                    </a:lnTo>
                    <a:lnTo>
                      <a:pt x="696" y="352"/>
                    </a:lnTo>
                    <a:lnTo>
                      <a:pt x="696" y="352"/>
                    </a:lnTo>
                    <a:lnTo>
                      <a:pt x="696" y="350"/>
                    </a:lnTo>
                    <a:lnTo>
                      <a:pt x="696" y="350"/>
                    </a:lnTo>
                    <a:lnTo>
                      <a:pt x="698" y="350"/>
                    </a:lnTo>
                    <a:lnTo>
                      <a:pt x="698" y="352"/>
                    </a:lnTo>
                    <a:lnTo>
                      <a:pt x="698" y="352"/>
                    </a:lnTo>
                    <a:lnTo>
                      <a:pt x="698" y="352"/>
                    </a:lnTo>
                    <a:lnTo>
                      <a:pt x="698" y="352"/>
                    </a:lnTo>
                    <a:lnTo>
                      <a:pt x="700" y="352"/>
                    </a:lnTo>
                    <a:lnTo>
                      <a:pt x="700" y="352"/>
                    </a:lnTo>
                    <a:lnTo>
                      <a:pt x="700" y="350"/>
                    </a:lnTo>
                    <a:lnTo>
                      <a:pt x="700" y="348"/>
                    </a:lnTo>
                    <a:lnTo>
                      <a:pt x="698" y="344"/>
                    </a:lnTo>
                    <a:lnTo>
                      <a:pt x="698" y="344"/>
                    </a:lnTo>
                    <a:lnTo>
                      <a:pt x="698" y="344"/>
                    </a:lnTo>
                    <a:lnTo>
                      <a:pt x="698" y="342"/>
                    </a:lnTo>
                    <a:lnTo>
                      <a:pt x="698" y="340"/>
                    </a:lnTo>
                    <a:lnTo>
                      <a:pt x="698" y="340"/>
                    </a:lnTo>
                    <a:lnTo>
                      <a:pt x="698" y="340"/>
                    </a:lnTo>
                    <a:lnTo>
                      <a:pt x="700" y="336"/>
                    </a:lnTo>
                    <a:lnTo>
                      <a:pt x="700" y="334"/>
                    </a:lnTo>
                    <a:lnTo>
                      <a:pt x="700" y="332"/>
                    </a:lnTo>
                    <a:lnTo>
                      <a:pt x="700" y="330"/>
                    </a:lnTo>
                    <a:lnTo>
                      <a:pt x="700" y="330"/>
                    </a:lnTo>
                    <a:lnTo>
                      <a:pt x="700" y="326"/>
                    </a:lnTo>
                    <a:lnTo>
                      <a:pt x="698" y="324"/>
                    </a:lnTo>
                    <a:lnTo>
                      <a:pt x="700" y="320"/>
                    </a:lnTo>
                    <a:lnTo>
                      <a:pt x="700" y="318"/>
                    </a:lnTo>
                    <a:lnTo>
                      <a:pt x="700" y="318"/>
                    </a:lnTo>
                    <a:lnTo>
                      <a:pt x="702" y="314"/>
                    </a:lnTo>
                    <a:lnTo>
                      <a:pt x="704" y="312"/>
                    </a:lnTo>
                    <a:lnTo>
                      <a:pt x="704" y="312"/>
                    </a:lnTo>
                    <a:lnTo>
                      <a:pt x="704" y="310"/>
                    </a:lnTo>
                    <a:lnTo>
                      <a:pt x="706" y="310"/>
                    </a:lnTo>
                    <a:lnTo>
                      <a:pt x="706" y="310"/>
                    </a:lnTo>
                    <a:lnTo>
                      <a:pt x="706" y="310"/>
                    </a:lnTo>
                    <a:lnTo>
                      <a:pt x="706" y="310"/>
                    </a:lnTo>
                    <a:lnTo>
                      <a:pt x="708" y="312"/>
                    </a:lnTo>
                    <a:lnTo>
                      <a:pt x="706" y="318"/>
                    </a:lnTo>
                    <a:lnTo>
                      <a:pt x="706" y="322"/>
                    </a:lnTo>
                    <a:lnTo>
                      <a:pt x="704" y="326"/>
                    </a:lnTo>
                    <a:lnTo>
                      <a:pt x="704" y="326"/>
                    </a:lnTo>
                    <a:lnTo>
                      <a:pt x="704" y="328"/>
                    </a:lnTo>
                    <a:lnTo>
                      <a:pt x="704" y="328"/>
                    </a:lnTo>
                    <a:lnTo>
                      <a:pt x="704" y="330"/>
                    </a:lnTo>
                    <a:lnTo>
                      <a:pt x="704" y="330"/>
                    </a:lnTo>
                    <a:lnTo>
                      <a:pt x="704" y="334"/>
                    </a:lnTo>
                    <a:lnTo>
                      <a:pt x="704" y="334"/>
                    </a:lnTo>
                    <a:lnTo>
                      <a:pt x="704" y="336"/>
                    </a:lnTo>
                    <a:lnTo>
                      <a:pt x="704" y="336"/>
                    </a:lnTo>
                    <a:lnTo>
                      <a:pt x="704" y="338"/>
                    </a:lnTo>
                    <a:lnTo>
                      <a:pt x="704" y="342"/>
                    </a:lnTo>
                    <a:lnTo>
                      <a:pt x="704" y="342"/>
                    </a:lnTo>
                    <a:lnTo>
                      <a:pt x="704" y="344"/>
                    </a:lnTo>
                    <a:lnTo>
                      <a:pt x="706" y="344"/>
                    </a:lnTo>
                    <a:lnTo>
                      <a:pt x="706" y="342"/>
                    </a:lnTo>
                    <a:lnTo>
                      <a:pt x="706" y="342"/>
                    </a:lnTo>
                    <a:lnTo>
                      <a:pt x="708" y="342"/>
                    </a:lnTo>
                    <a:lnTo>
                      <a:pt x="708" y="340"/>
                    </a:lnTo>
                    <a:lnTo>
                      <a:pt x="710" y="338"/>
                    </a:lnTo>
                    <a:lnTo>
                      <a:pt x="710" y="338"/>
                    </a:lnTo>
                    <a:lnTo>
                      <a:pt x="712" y="336"/>
                    </a:lnTo>
                    <a:lnTo>
                      <a:pt x="714" y="334"/>
                    </a:lnTo>
                    <a:lnTo>
                      <a:pt x="714" y="334"/>
                    </a:lnTo>
                    <a:lnTo>
                      <a:pt x="718" y="330"/>
                    </a:lnTo>
                    <a:lnTo>
                      <a:pt x="722" y="326"/>
                    </a:lnTo>
                    <a:lnTo>
                      <a:pt x="722" y="326"/>
                    </a:lnTo>
                    <a:lnTo>
                      <a:pt x="722" y="326"/>
                    </a:lnTo>
                    <a:lnTo>
                      <a:pt x="724" y="324"/>
                    </a:lnTo>
                    <a:lnTo>
                      <a:pt x="724" y="322"/>
                    </a:lnTo>
                    <a:lnTo>
                      <a:pt x="724" y="320"/>
                    </a:lnTo>
                    <a:lnTo>
                      <a:pt x="724" y="320"/>
                    </a:lnTo>
                    <a:lnTo>
                      <a:pt x="724" y="316"/>
                    </a:lnTo>
                    <a:lnTo>
                      <a:pt x="722" y="310"/>
                    </a:lnTo>
                    <a:lnTo>
                      <a:pt x="722" y="308"/>
                    </a:lnTo>
                    <a:lnTo>
                      <a:pt x="722" y="306"/>
                    </a:lnTo>
                    <a:lnTo>
                      <a:pt x="722" y="306"/>
                    </a:lnTo>
                    <a:lnTo>
                      <a:pt x="724" y="304"/>
                    </a:lnTo>
                    <a:lnTo>
                      <a:pt x="724" y="304"/>
                    </a:lnTo>
                    <a:lnTo>
                      <a:pt x="724" y="304"/>
                    </a:lnTo>
                    <a:lnTo>
                      <a:pt x="724" y="304"/>
                    </a:lnTo>
                    <a:lnTo>
                      <a:pt x="726" y="306"/>
                    </a:lnTo>
                    <a:lnTo>
                      <a:pt x="726" y="308"/>
                    </a:lnTo>
                    <a:lnTo>
                      <a:pt x="726" y="308"/>
                    </a:lnTo>
                    <a:lnTo>
                      <a:pt x="728" y="310"/>
                    </a:lnTo>
                    <a:lnTo>
                      <a:pt x="728" y="310"/>
                    </a:lnTo>
                    <a:lnTo>
                      <a:pt x="728" y="312"/>
                    </a:lnTo>
                    <a:lnTo>
                      <a:pt x="728" y="312"/>
                    </a:lnTo>
                    <a:lnTo>
                      <a:pt x="728" y="312"/>
                    </a:lnTo>
                    <a:lnTo>
                      <a:pt x="730" y="312"/>
                    </a:lnTo>
                    <a:lnTo>
                      <a:pt x="730" y="312"/>
                    </a:lnTo>
                    <a:lnTo>
                      <a:pt x="730" y="312"/>
                    </a:lnTo>
                    <a:lnTo>
                      <a:pt x="732" y="310"/>
                    </a:lnTo>
                    <a:lnTo>
                      <a:pt x="732" y="308"/>
                    </a:lnTo>
                    <a:lnTo>
                      <a:pt x="732" y="308"/>
                    </a:lnTo>
                    <a:lnTo>
                      <a:pt x="734" y="306"/>
                    </a:lnTo>
                    <a:lnTo>
                      <a:pt x="734" y="304"/>
                    </a:lnTo>
                    <a:lnTo>
                      <a:pt x="738" y="302"/>
                    </a:lnTo>
                    <a:lnTo>
                      <a:pt x="738" y="302"/>
                    </a:lnTo>
                    <a:lnTo>
                      <a:pt x="740" y="298"/>
                    </a:lnTo>
                    <a:lnTo>
                      <a:pt x="744" y="296"/>
                    </a:lnTo>
                    <a:lnTo>
                      <a:pt x="744" y="292"/>
                    </a:lnTo>
                    <a:lnTo>
                      <a:pt x="746" y="288"/>
                    </a:lnTo>
                    <a:lnTo>
                      <a:pt x="746" y="288"/>
                    </a:lnTo>
                    <a:lnTo>
                      <a:pt x="748" y="286"/>
                    </a:lnTo>
                    <a:lnTo>
                      <a:pt x="748" y="286"/>
                    </a:lnTo>
                    <a:lnTo>
                      <a:pt x="748" y="282"/>
                    </a:lnTo>
                    <a:lnTo>
                      <a:pt x="748" y="280"/>
                    </a:lnTo>
                    <a:lnTo>
                      <a:pt x="748" y="278"/>
                    </a:lnTo>
                    <a:lnTo>
                      <a:pt x="750" y="278"/>
                    </a:lnTo>
                    <a:lnTo>
                      <a:pt x="750" y="278"/>
                    </a:lnTo>
                    <a:lnTo>
                      <a:pt x="752" y="276"/>
                    </a:lnTo>
                    <a:lnTo>
                      <a:pt x="752" y="276"/>
                    </a:lnTo>
                    <a:lnTo>
                      <a:pt x="754" y="276"/>
                    </a:lnTo>
                    <a:lnTo>
                      <a:pt x="756" y="276"/>
                    </a:lnTo>
                    <a:lnTo>
                      <a:pt x="756" y="276"/>
                    </a:lnTo>
                    <a:lnTo>
                      <a:pt x="758" y="276"/>
                    </a:lnTo>
                    <a:lnTo>
                      <a:pt x="758" y="276"/>
                    </a:lnTo>
                    <a:lnTo>
                      <a:pt x="760" y="274"/>
                    </a:lnTo>
                    <a:lnTo>
                      <a:pt x="764" y="274"/>
                    </a:lnTo>
                    <a:lnTo>
                      <a:pt x="764" y="274"/>
                    </a:lnTo>
                    <a:lnTo>
                      <a:pt x="768" y="272"/>
                    </a:lnTo>
                    <a:lnTo>
                      <a:pt x="770" y="272"/>
                    </a:lnTo>
                    <a:lnTo>
                      <a:pt x="772" y="272"/>
                    </a:lnTo>
                    <a:lnTo>
                      <a:pt x="772" y="272"/>
                    </a:lnTo>
                    <a:lnTo>
                      <a:pt x="774" y="272"/>
                    </a:lnTo>
                    <a:lnTo>
                      <a:pt x="776" y="272"/>
                    </a:lnTo>
                    <a:lnTo>
                      <a:pt x="778" y="272"/>
                    </a:lnTo>
                    <a:lnTo>
                      <a:pt x="780" y="274"/>
                    </a:lnTo>
                    <a:lnTo>
                      <a:pt x="782" y="274"/>
                    </a:lnTo>
                    <a:lnTo>
                      <a:pt x="782" y="274"/>
                    </a:lnTo>
                    <a:lnTo>
                      <a:pt x="782" y="274"/>
                    </a:lnTo>
                    <a:lnTo>
                      <a:pt x="784" y="272"/>
                    </a:lnTo>
                    <a:lnTo>
                      <a:pt x="786" y="272"/>
                    </a:lnTo>
                    <a:lnTo>
                      <a:pt x="788" y="270"/>
                    </a:lnTo>
                    <a:lnTo>
                      <a:pt x="790" y="268"/>
                    </a:lnTo>
                    <a:lnTo>
                      <a:pt x="790" y="266"/>
                    </a:lnTo>
                    <a:lnTo>
                      <a:pt x="792" y="266"/>
                    </a:lnTo>
                    <a:lnTo>
                      <a:pt x="792" y="266"/>
                    </a:lnTo>
                    <a:lnTo>
                      <a:pt x="794" y="266"/>
                    </a:lnTo>
                    <a:lnTo>
                      <a:pt x="798" y="266"/>
                    </a:lnTo>
                    <a:lnTo>
                      <a:pt x="800" y="266"/>
                    </a:lnTo>
                    <a:lnTo>
                      <a:pt x="802" y="266"/>
                    </a:lnTo>
                    <a:lnTo>
                      <a:pt x="804" y="264"/>
                    </a:lnTo>
                    <a:lnTo>
                      <a:pt x="804" y="264"/>
                    </a:lnTo>
                    <a:lnTo>
                      <a:pt x="808" y="264"/>
                    </a:lnTo>
                    <a:lnTo>
                      <a:pt x="810" y="262"/>
                    </a:lnTo>
                    <a:lnTo>
                      <a:pt x="810" y="262"/>
                    </a:lnTo>
                    <a:lnTo>
                      <a:pt x="814" y="262"/>
                    </a:lnTo>
                    <a:lnTo>
                      <a:pt x="814" y="262"/>
                    </a:lnTo>
                    <a:lnTo>
                      <a:pt x="816" y="260"/>
                    </a:lnTo>
                    <a:lnTo>
                      <a:pt x="816" y="260"/>
                    </a:lnTo>
                    <a:lnTo>
                      <a:pt x="816" y="260"/>
                    </a:lnTo>
                    <a:lnTo>
                      <a:pt x="816" y="258"/>
                    </a:lnTo>
                    <a:lnTo>
                      <a:pt x="816" y="258"/>
                    </a:lnTo>
                    <a:lnTo>
                      <a:pt x="816" y="256"/>
                    </a:lnTo>
                    <a:lnTo>
                      <a:pt x="816" y="256"/>
                    </a:lnTo>
                    <a:lnTo>
                      <a:pt x="814" y="256"/>
                    </a:lnTo>
                    <a:lnTo>
                      <a:pt x="812" y="256"/>
                    </a:lnTo>
                    <a:lnTo>
                      <a:pt x="810" y="256"/>
                    </a:lnTo>
                    <a:lnTo>
                      <a:pt x="810" y="256"/>
                    </a:lnTo>
                    <a:lnTo>
                      <a:pt x="810" y="254"/>
                    </a:lnTo>
                    <a:lnTo>
                      <a:pt x="810" y="254"/>
                    </a:lnTo>
                    <a:lnTo>
                      <a:pt x="808" y="252"/>
                    </a:lnTo>
                    <a:lnTo>
                      <a:pt x="808" y="248"/>
                    </a:lnTo>
                    <a:lnTo>
                      <a:pt x="808" y="244"/>
                    </a:lnTo>
                    <a:lnTo>
                      <a:pt x="810" y="240"/>
                    </a:lnTo>
                    <a:lnTo>
                      <a:pt x="810" y="240"/>
                    </a:lnTo>
                    <a:lnTo>
                      <a:pt x="810" y="240"/>
                    </a:lnTo>
                    <a:lnTo>
                      <a:pt x="810" y="238"/>
                    </a:lnTo>
                    <a:lnTo>
                      <a:pt x="812" y="234"/>
                    </a:lnTo>
                    <a:lnTo>
                      <a:pt x="818" y="230"/>
                    </a:lnTo>
                    <a:lnTo>
                      <a:pt x="818" y="230"/>
                    </a:lnTo>
                    <a:lnTo>
                      <a:pt x="822" y="224"/>
                    </a:lnTo>
                    <a:lnTo>
                      <a:pt x="822" y="224"/>
                    </a:lnTo>
                    <a:lnTo>
                      <a:pt x="824" y="222"/>
                    </a:lnTo>
                    <a:lnTo>
                      <a:pt x="826" y="222"/>
                    </a:lnTo>
                    <a:lnTo>
                      <a:pt x="826" y="222"/>
                    </a:lnTo>
                    <a:lnTo>
                      <a:pt x="828" y="222"/>
                    </a:lnTo>
                    <a:lnTo>
                      <a:pt x="828" y="222"/>
                    </a:lnTo>
                    <a:lnTo>
                      <a:pt x="830" y="222"/>
                    </a:lnTo>
                    <a:lnTo>
                      <a:pt x="830" y="222"/>
                    </a:lnTo>
                    <a:lnTo>
                      <a:pt x="834" y="220"/>
                    </a:lnTo>
                    <a:lnTo>
                      <a:pt x="838" y="218"/>
                    </a:lnTo>
                    <a:lnTo>
                      <a:pt x="840" y="216"/>
                    </a:lnTo>
                    <a:lnTo>
                      <a:pt x="840" y="216"/>
                    </a:lnTo>
                    <a:lnTo>
                      <a:pt x="842" y="214"/>
                    </a:lnTo>
                    <a:lnTo>
                      <a:pt x="842" y="212"/>
                    </a:lnTo>
                    <a:lnTo>
                      <a:pt x="844" y="212"/>
                    </a:lnTo>
                    <a:lnTo>
                      <a:pt x="844" y="212"/>
                    </a:lnTo>
                    <a:lnTo>
                      <a:pt x="846" y="212"/>
                    </a:lnTo>
                    <a:lnTo>
                      <a:pt x="846" y="212"/>
                    </a:lnTo>
                    <a:lnTo>
                      <a:pt x="850" y="214"/>
                    </a:lnTo>
                    <a:lnTo>
                      <a:pt x="850" y="214"/>
                    </a:lnTo>
                    <a:lnTo>
                      <a:pt x="850" y="214"/>
                    </a:lnTo>
                    <a:lnTo>
                      <a:pt x="852" y="214"/>
                    </a:lnTo>
                    <a:lnTo>
                      <a:pt x="856" y="212"/>
                    </a:lnTo>
                    <a:lnTo>
                      <a:pt x="856" y="212"/>
                    </a:lnTo>
                    <a:lnTo>
                      <a:pt x="858" y="212"/>
                    </a:lnTo>
                    <a:lnTo>
                      <a:pt x="860" y="212"/>
                    </a:lnTo>
                    <a:lnTo>
                      <a:pt x="860" y="210"/>
                    </a:lnTo>
                    <a:lnTo>
                      <a:pt x="862" y="210"/>
                    </a:lnTo>
                    <a:lnTo>
                      <a:pt x="862" y="210"/>
                    </a:lnTo>
                    <a:lnTo>
                      <a:pt x="864" y="210"/>
                    </a:lnTo>
                    <a:lnTo>
                      <a:pt x="864" y="210"/>
                    </a:lnTo>
                    <a:lnTo>
                      <a:pt x="866" y="210"/>
                    </a:lnTo>
                    <a:lnTo>
                      <a:pt x="868" y="212"/>
                    </a:lnTo>
                    <a:lnTo>
                      <a:pt x="870" y="212"/>
                    </a:lnTo>
                    <a:lnTo>
                      <a:pt x="870" y="212"/>
                    </a:lnTo>
                    <a:lnTo>
                      <a:pt x="872" y="210"/>
                    </a:lnTo>
                    <a:lnTo>
                      <a:pt x="872" y="210"/>
                    </a:lnTo>
                    <a:lnTo>
                      <a:pt x="872" y="210"/>
                    </a:lnTo>
                    <a:lnTo>
                      <a:pt x="872" y="208"/>
                    </a:lnTo>
                    <a:lnTo>
                      <a:pt x="872" y="206"/>
                    </a:lnTo>
                    <a:lnTo>
                      <a:pt x="872" y="202"/>
                    </a:lnTo>
                    <a:lnTo>
                      <a:pt x="872" y="202"/>
                    </a:lnTo>
                    <a:lnTo>
                      <a:pt x="872" y="200"/>
                    </a:lnTo>
                    <a:lnTo>
                      <a:pt x="872" y="200"/>
                    </a:lnTo>
                    <a:lnTo>
                      <a:pt x="872" y="200"/>
                    </a:lnTo>
                    <a:lnTo>
                      <a:pt x="872" y="198"/>
                    </a:lnTo>
                    <a:lnTo>
                      <a:pt x="872" y="198"/>
                    </a:lnTo>
                    <a:lnTo>
                      <a:pt x="872" y="196"/>
                    </a:lnTo>
                    <a:lnTo>
                      <a:pt x="872" y="196"/>
                    </a:lnTo>
                    <a:lnTo>
                      <a:pt x="872" y="194"/>
                    </a:lnTo>
                    <a:lnTo>
                      <a:pt x="870" y="192"/>
                    </a:lnTo>
                    <a:lnTo>
                      <a:pt x="870" y="188"/>
                    </a:lnTo>
                    <a:lnTo>
                      <a:pt x="870" y="188"/>
                    </a:lnTo>
                    <a:lnTo>
                      <a:pt x="870" y="184"/>
                    </a:lnTo>
                    <a:lnTo>
                      <a:pt x="868" y="180"/>
                    </a:lnTo>
                    <a:lnTo>
                      <a:pt x="868" y="176"/>
                    </a:lnTo>
                    <a:lnTo>
                      <a:pt x="868" y="174"/>
                    </a:lnTo>
                    <a:lnTo>
                      <a:pt x="868" y="172"/>
                    </a:lnTo>
                    <a:lnTo>
                      <a:pt x="870" y="170"/>
                    </a:lnTo>
                    <a:lnTo>
                      <a:pt x="870" y="170"/>
                    </a:lnTo>
                    <a:lnTo>
                      <a:pt x="872" y="168"/>
                    </a:lnTo>
                    <a:lnTo>
                      <a:pt x="874" y="166"/>
                    </a:lnTo>
                    <a:lnTo>
                      <a:pt x="876" y="164"/>
                    </a:lnTo>
                    <a:lnTo>
                      <a:pt x="878" y="160"/>
                    </a:lnTo>
                    <a:lnTo>
                      <a:pt x="878" y="160"/>
                    </a:lnTo>
                    <a:lnTo>
                      <a:pt x="878" y="158"/>
                    </a:lnTo>
                    <a:lnTo>
                      <a:pt x="878" y="158"/>
                    </a:lnTo>
                    <a:lnTo>
                      <a:pt x="878" y="154"/>
                    </a:lnTo>
                    <a:lnTo>
                      <a:pt x="876" y="150"/>
                    </a:lnTo>
                    <a:lnTo>
                      <a:pt x="876" y="150"/>
                    </a:lnTo>
                    <a:lnTo>
                      <a:pt x="874" y="148"/>
                    </a:lnTo>
                    <a:lnTo>
                      <a:pt x="874" y="148"/>
                    </a:lnTo>
                    <a:lnTo>
                      <a:pt x="872" y="148"/>
                    </a:lnTo>
                    <a:lnTo>
                      <a:pt x="872" y="146"/>
                    </a:lnTo>
                    <a:lnTo>
                      <a:pt x="870" y="146"/>
                    </a:lnTo>
                    <a:lnTo>
                      <a:pt x="868" y="148"/>
                    </a:lnTo>
                    <a:lnTo>
                      <a:pt x="866" y="148"/>
                    </a:lnTo>
                    <a:lnTo>
                      <a:pt x="864" y="148"/>
                    </a:lnTo>
                    <a:lnTo>
                      <a:pt x="862" y="148"/>
                    </a:lnTo>
                    <a:lnTo>
                      <a:pt x="862" y="148"/>
                    </a:lnTo>
                    <a:lnTo>
                      <a:pt x="862" y="148"/>
                    </a:lnTo>
                    <a:lnTo>
                      <a:pt x="860" y="148"/>
                    </a:lnTo>
                    <a:lnTo>
                      <a:pt x="858" y="148"/>
                    </a:lnTo>
                    <a:lnTo>
                      <a:pt x="856" y="148"/>
                    </a:lnTo>
                    <a:lnTo>
                      <a:pt x="856" y="148"/>
                    </a:lnTo>
                    <a:lnTo>
                      <a:pt x="854" y="150"/>
                    </a:lnTo>
                    <a:lnTo>
                      <a:pt x="850" y="152"/>
                    </a:lnTo>
                    <a:lnTo>
                      <a:pt x="846" y="154"/>
                    </a:lnTo>
                    <a:lnTo>
                      <a:pt x="844" y="156"/>
                    </a:lnTo>
                    <a:lnTo>
                      <a:pt x="844" y="156"/>
                    </a:lnTo>
                    <a:lnTo>
                      <a:pt x="842" y="160"/>
                    </a:lnTo>
                    <a:lnTo>
                      <a:pt x="840" y="164"/>
                    </a:lnTo>
                    <a:lnTo>
                      <a:pt x="838" y="168"/>
                    </a:lnTo>
                    <a:lnTo>
                      <a:pt x="836" y="170"/>
                    </a:lnTo>
                    <a:lnTo>
                      <a:pt x="836" y="170"/>
                    </a:lnTo>
                    <a:lnTo>
                      <a:pt x="836" y="174"/>
                    </a:lnTo>
                    <a:lnTo>
                      <a:pt x="836" y="176"/>
                    </a:lnTo>
                    <a:lnTo>
                      <a:pt x="834" y="178"/>
                    </a:lnTo>
                    <a:lnTo>
                      <a:pt x="834" y="180"/>
                    </a:lnTo>
                    <a:lnTo>
                      <a:pt x="832" y="180"/>
                    </a:lnTo>
                    <a:lnTo>
                      <a:pt x="830" y="182"/>
                    </a:lnTo>
                    <a:lnTo>
                      <a:pt x="830" y="182"/>
                    </a:lnTo>
                    <a:lnTo>
                      <a:pt x="828" y="182"/>
                    </a:lnTo>
                    <a:lnTo>
                      <a:pt x="824" y="184"/>
                    </a:lnTo>
                    <a:lnTo>
                      <a:pt x="818" y="186"/>
                    </a:lnTo>
                    <a:lnTo>
                      <a:pt x="818" y="186"/>
                    </a:lnTo>
                    <a:lnTo>
                      <a:pt x="814" y="188"/>
                    </a:lnTo>
                    <a:lnTo>
                      <a:pt x="810" y="188"/>
                    </a:lnTo>
                    <a:lnTo>
                      <a:pt x="806" y="190"/>
                    </a:lnTo>
                    <a:lnTo>
                      <a:pt x="804" y="190"/>
                    </a:lnTo>
                    <a:lnTo>
                      <a:pt x="802" y="190"/>
                    </a:lnTo>
                    <a:lnTo>
                      <a:pt x="802" y="190"/>
                    </a:lnTo>
                    <a:lnTo>
                      <a:pt x="800" y="190"/>
                    </a:lnTo>
                    <a:lnTo>
                      <a:pt x="798" y="188"/>
                    </a:lnTo>
                    <a:lnTo>
                      <a:pt x="794" y="186"/>
                    </a:lnTo>
                    <a:lnTo>
                      <a:pt x="794" y="186"/>
                    </a:lnTo>
                    <a:lnTo>
                      <a:pt x="792" y="186"/>
                    </a:lnTo>
                    <a:lnTo>
                      <a:pt x="788" y="184"/>
                    </a:lnTo>
                    <a:lnTo>
                      <a:pt x="788" y="184"/>
                    </a:lnTo>
                    <a:lnTo>
                      <a:pt x="784" y="184"/>
                    </a:lnTo>
                    <a:lnTo>
                      <a:pt x="780" y="184"/>
                    </a:lnTo>
                    <a:lnTo>
                      <a:pt x="780" y="184"/>
                    </a:lnTo>
                    <a:lnTo>
                      <a:pt x="778" y="184"/>
                    </a:lnTo>
                    <a:lnTo>
                      <a:pt x="776" y="186"/>
                    </a:lnTo>
                    <a:lnTo>
                      <a:pt x="772" y="186"/>
                    </a:lnTo>
                    <a:lnTo>
                      <a:pt x="772" y="186"/>
                    </a:lnTo>
                    <a:lnTo>
                      <a:pt x="768" y="188"/>
                    </a:lnTo>
                    <a:lnTo>
                      <a:pt x="764" y="188"/>
                    </a:lnTo>
                    <a:lnTo>
                      <a:pt x="758" y="188"/>
                    </a:lnTo>
                    <a:lnTo>
                      <a:pt x="752" y="190"/>
                    </a:lnTo>
                    <a:lnTo>
                      <a:pt x="752" y="190"/>
                    </a:lnTo>
                    <a:lnTo>
                      <a:pt x="748" y="192"/>
                    </a:lnTo>
                    <a:lnTo>
                      <a:pt x="746" y="192"/>
                    </a:lnTo>
                    <a:lnTo>
                      <a:pt x="742" y="196"/>
                    </a:lnTo>
                    <a:lnTo>
                      <a:pt x="740" y="198"/>
                    </a:lnTo>
                    <a:lnTo>
                      <a:pt x="740" y="198"/>
                    </a:lnTo>
                    <a:lnTo>
                      <a:pt x="738" y="202"/>
                    </a:lnTo>
                    <a:lnTo>
                      <a:pt x="736" y="202"/>
                    </a:lnTo>
                    <a:lnTo>
                      <a:pt x="734" y="204"/>
                    </a:lnTo>
                    <a:lnTo>
                      <a:pt x="734" y="204"/>
                    </a:lnTo>
                    <a:lnTo>
                      <a:pt x="734" y="204"/>
                    </a:lnTo>
                    <a:lnTo>
                      <a:pt x="732" y="204"/>
                    </a:lnTo>
                    <a:lnTo>
                      <a:pt x="730" y="204"/>
                    </a:lnTo>
                    <a:lnTo>
                      <a:pt x="728" y="204"/>
                    </a:lnTo>
                    <a:lnTo>
                      <a:pt x="728" y="204"/>
                    </a:lnTo>
                    <a:lnTo>
                      <a:pt x="726" y="206"/>
                    </a:lnTo>
                    <a:lnTo>
                      <a:pt x="724" y="206"/>
                    </a:lnTo>
                    <a:lnTo>
                      <a:pt x="722" y="208"/>
                    </a:lnTo>
                    <a:lnTo>
                      <a:pt x="720" y="210"/>
                    </a:lnTo>
                    <a:lnTo>
                      <a:pt x="720" y="210"/>
                    </a:lnTo>
                    <a:lnTo>
                      <a:pt x="720" y="210"/>
                    </a:lnTo>
                    <a:lnTo>
                      <a:pt x="718" y="210"/>
                    </a:lnTo>
                    <a:lnTo>
                      <a:pt x="718" y="210"/>
                    </a:lnTo>
                    <a:lnTo>
                      <a:pt x="710" y="210"/>
                    </a:lnTo>
                    <a:lnTo>
                      <a:pt x="706" y="210"/>
                    </a:lnTo>
                    <a:lnTo>
                      <a:pt x="702" y="210"/>
                    </a:lnTo>
                    <a:lnTo>
                      <a:pt x="702" y="210"/>
                    </a:lnTo>
                    <a:lnTo>
                      <a:pt x="700" y="210"/>
                    </a:lnTo>
                    <a:lnTo>
                      <a:pt x="700" y="210"/>
                    </a:lnTo>
                    <a:lnTo>
                      <a:pt x="696" y="210"/>
                    </a:lnTo>
                    <a:lnTo>
                      <a:pt x="696" y="210"/>
                    </a:lnTo>
                    <a:lnTo>
                      <a:pt x="694" y="212"/>
                    </a:lnTo>
                    <a:lnTo>
                      <a:pt x="690" y="212"/>
                    </a:lnTo>
                    <a:lnTo>
                      <a:pt x="690" y="212"/>
                    </a:lnTo>
                    <a:lnTo>
                      <a:pt x="688" y="214"/>
                    </a:lnTo>
                    <a:lnTo>
                      <a:pt x="684" y="216"/>
                    </a:lnTo>
                    <a:lnTo>
                      <a:pt x="680" y="220"/>
                    </a:lnTo>
                    <a:lnTo>
                      <a:pt x="678" y="222"/>
                    </a:lnTo>
                    <a:lnTo>
                      <a:pt x="678" y="222"/>
                    </a:lnTo>
                    <a:lnTo>
                      <a:pt x="676" y="226"/>
                    </a:lnTo>
                    <a:lnTo>
                      <a:pt x="676" y="226"/>
                    </a:lnTo>
                    <a:lnTo>
                      <a:pt x="674" y="228"/>
                    </a:lnTo>
                    <a:lnTo>
                      <a:pt x="674" y="228"/>
                    </a:lnTo>
                    <a:lnTo>
                      <a:pt x="674" y="230"/>
                    </a:lnTo>
                    <a:lnTo>
                      <a:pt x="674" y="230"/>
                    </a:lnTo>
                    <a:lnTo>
                      <a:pt x="674" y="232"/>
                    </a:lnTo>
                    <a:lnTo>
                      <a:pt x="672" y="234"/>
                    </a:lnTo>
                    <a:lnTo>
                      <a:pt x="672" y="234"/>
                    </a:lnTo>
                    <a:lnTo>
                      <a:pt x="672" y="234"/>
                    </a:lnTo>
                    <a:lnTo>
                      <a:pt x="670" y="234"/>
                    </a:lnTo>
                    <a:lnTo>
                      <a:pt x="666" y="234"/>
                    </a:lnTo>
                    <a:lnTo>
                      <a:pt x="664" y="234"/>
                    </a:lnTo>
                    <a:lnTo>
                      <a:pt x="660" y="232"/>
                    </a:lnTo>
                    <a:lnTo>
                      <a:pt x="660" y="232"/>
                    </a:lnTo>
                    <a:lnTo>
                      <a:pt x="658" y="232"/>
                    </a:lnTo>
                    <a:lnTo>
                      <a:pt x="654" y="232"/>
                    </a:lnTo>
                    <a:lnTo>
                      <a:pt x="652" y="232"/>
                    </a:lnTo>
                    <a:lnTo>
                      <a:pt x="648" y="234"/>
                    </a:lnTo>
                    <a:lnTo>
                      <a:pt x="648" y="234"/>
                    </a:lnTo>
                    <a:lnTo>
                      <a:pt x="648" y="236"/>
                    </a:lnTo>
                    <a:lnTo>
                      <a:pt x="646" y="236"/>
                    </a:lnTo>
                    <a:lnTo>
                      <a:pt x="644" y="236"/>
                    </a:lnTo>
                    <a:lnTo>
                      <a:pt x="644" y="236"/>
                    </a:lnTo>
                    <a:lnTo>
                      <a:pt x="642" y="236"/>
                    </a:lnTo>
                    <a:lnTo>
                      <a:pt x="640" y="234"/>
                    </a:lnTo>
                    <a:lnTo>
                      <a:pt x="638" y="234"/>
                    </a:lnTo>
                    <a:lnTo>
                      <a:pt x="638" y="234"/>
                    </a:lnTo>
                    <a:lnTo>
                      <a:pt x="634" y="236"/>
                    </a:lnTo>
                    <a:lnTo>
                      <a:pt x="632" y="236"/>
                    </a:lnTo>
                    <a:lnTo>
                      <a:pt x="630" y="238"/>
                    </a:lnTo>
                    <a:lnTo>
                      <a:pt x="628" y="238"/>
                    </a:lnTo>
                    <a:lnTo>
                      <a:pt x="628" y="238"/>
                    </a:lnTo>
                    <a:lnTo>
                      <a:pt x="626" y="240"/>
                    </a:lnTo>
                    <a:lnTo>
                      <a:pt x="624" y="240"/>
                    </a:lnTo>
                    <a:lnTo>
                      <a:pt x="624" y="238"/>
                    </a:lnTo>
                    <a:lnTo>
                      <a:pt x="624" y="238"/>
                    </a:lnTo>
                    <a:lnTo>
                      <a:pt x="624" y="236"/>
                    </a:lnTo>
                    <a:lnTo>
                      <a:pt x="624" y="236"/>
                    </a:lnTo>
                    <a:lnTo>
                      <a:pt x="626" y="232"/>
                    </a:lnTo>
                    <a:lnTo>
                      <a:pt x="626" y="232"/>
                    </a:lnTo>
                    <a:lnTo>
                      <a:pt x="626" y="230"/>
                    </a:lnTo>
                    <a:lnTo>
                      <a:pt x="628" y="230"/>
                    </a:lnTo>
                    <a:lnTo>
                      <a:pt x="628" y="228"/>
                    </a:lnTo>
                    <a:lnTo>
                      <a:pt x="628" y="228"/>
                    </a:lnTo>
                    <a:lnTo>
                      <a:pt x="630" y="228"/>
                    </a:lnTo>
                    <a:lnTo>
                      <a:pt x="632" y="228"/>
                    </a:lnTo>
                    <a:lnTo>
                      <a:pt x="632" y="228"/>
                    </a:lnTo>
                    <a:lnTo>
                      <a:pt x="634" y="228"/>
                    </a:lnTo>
                    <a:lnTo>
                      <a:pt x="634" y="226"/>
                    </a:lnTo>
                    <a:lnTo>
                      <a:pt x="634" y="226"/>
                    </a:lnTo>
                    <a:lnTo>
                      <a:pt x="634" y="226"/>
                    </a:lnTo>
                    <a:lnTo>
                      <a:pt x="634" y="224"/>
                    </a:lnTo>
                    <a:lnTo>
                      <a:pt x="632" y="224"/>
                    </a:lnTo>
                    <a:lnTo>
                      <a:pt x="632" y="222"/>
                    </a:lnTo>
                    <a:lnTo>
                      <a:pt x="632" y="222"/>
                    </a:lnTo>
                    <a:lnTo>
                      <a:pt x="634" y="220"/>
                    </a:lnTo>
                    <a:lnTo>
                      <a:pt x="634" y="220"/>
                    </a:lnTo>
                    <a:lnTo>
                      <a:pt x="636" y="220"/>
                    </a:lnTo>
                    <a:lnTo>
                      <a:pt x="638" y="220"/>
                    </a:lnTo>
                    <a:lnTo>
                      <a:pt x="644" y="218"/>
                    </a:lnTo>
                    <a:lnTo>
                      <a:pt x="644" y="218"/>
                    </a:lnTo>
                    <a:lnTo>
                      <a:pt x="646" y="218"/>
                    </a:lnTo>
                    <a:lnTo>
                      <a:pt x="648" y="216"/>
                    </a:lnTo>
                    <a:lnTo>
                      <a:pt x="650" y="216"/>
                    </a:lnTo>
                    <a:lnTo>
                      <a:pt x="652" y="214"/>
                    </a:lnTo>
                    <a:lnTo>
                      <a:pt x="652" y="214"/>
                    </a:lnTo>
                    <a:lnTo>
                      <a:pt x="654" y="212"/>
                    </a:lnTo>
                    <a:lnTo>
                      <a:pt x="654" y="210"/>
                    </a:lnTo>
                    <a:lnTo>
                      <a:pt x="654" y="210"/>
                    </a:lnTo>
                    <a:lnTo>
                      <a:pt x="656" y="208"/>
                    </a:lnTo>
                    <a:lnTo>
                      <a:pt x="658" y="204"/>
                    </a:lnTo>
                    <a:lnTo>
                      <a:pt x="658" y="204"/>
                    </a:lnTo>
                    <a:lnTo>
                      <a:pt x="658" y="202"/>
                    </a:lnTo>
                    <a:lnTo>
                      <a:pt x="658" y="200"/>
                    </a:lnTo>
                    <a:lnTo>
                      <a:pt x="660" y="196"/>
                    </a:lnTo>
                    <a:lnTo>
                      <a:pt x="660" y="196"/>
                    </a:lnTo>
                    <a:lnTo>
                      <a:pt x="660" y="194"/>
                    </a:lnTo>
                    <a:lnTo>
                      <a:pt x="660" y="194"/>
                    </a:lnTo>
                    <a:lnTo>
                      <a:pt x="662" y="194"/>
                    </a:lnTo>
                    <a:lnTo>
                      <a:pt x="662" y="192"/>
                    </a:lnTo>
                    <a:lnTo>
                      <a:pt x="664" y="192"/>
                    </a:lnTo>
                    <a:lnTo>
                      <a:pt x="664" y="192"/>
                    </a:lnTo>
                    <a:lnTo>
                      <a:pt x="664" y="192"/>
                    </a:lnTo>
                    <a:lnTo>
                      <a:pt x="666" y="190"/>
                    </a:lnTo>
                    <a:lnTo>
                      <a:pt x="666" y="188"/>
                    </a:lnTo>
                    <a:lnTo>
                      <a:pt x="666" y="186"/>
                    </a:lnTo>
                    <a:lnTo>
                      <a:pt x="666" y="186"/>
                    </a:lnTo>
                    <a:lnTo>
                      <a:pt x="664" y="182"/>
                    </a:lnTo>
                    <a:lnTo>
                      <a:pt x="664" y="180"/>
                    </a:lnTo>
                    <a:lnTo>
                      <a:pt x="664" y="178"/>
                    </a:lnTo>
                    <a:lnTo>
                      <a:pt x="664" y="178"/>
                    </a:lnTo>
                    <a:lnTo>
                      <a:pt x="662" y="176"/>
                    </a:lnTo>
                    <a:lnTo>
                      <a:pt x="660" y="174"/>
                    </a:lnTo>
                    <a:lnTo>
                      <a:pt x="660" y="172"/>
                    </a:lnTo>
                    <a:lnTo>
                      <a:pt x="660" y="172"/>
                    </a:lnTo>
                    <a:lnTo>
                      <a:pt x="660" y="170"/>
                    </a:lnTo>
                    <a:lnTo>
                      <a:pt x="662" y="170"/>
                    </a:lnTo>
                    <a:lnTo>
                      <a:pt x="662" y="170"/>
                    </a:lnTo>
                    <a:lnTo>
                      <a:pt x="664" y="172"/>
                    </a:lnTo>
                    <a:lnTo>
                      <a:pt x="664" y="172"/>
                    </a:lnTo>
                    <a:lnTo>
                      <a:pt x="666" y="174"/>
                    </a:lnTo>
                    <a:lnTo>
                      <a:pt x="668" y="178"/>
                    </a:lnTo>
                    <a:lnTo>
                      <a:pt x="670" y="180"/>
                    </a:lnTo>
                    <a:lnTo>
                      <a:pt x="670" y="180"/>
                    </a:lnTo>
                    <a:lnTo>
                      <a:pt x="672" y="182"/>
                    </a:lnTo>
                    <a:lnTo>
                      <a:pt x="672" y="182"/>
                    </a:lnTo>
                    <a:lnTo>
                      <a:pt x="672" y="184"/>
                    </a:lnTo>
                    <a:lnTo>
                      <a:pt x="672" y="184"/>
                    </a:lnTo>
                    <a:lnTo>
                      <a:pt x="672" y="186"/>
                    </a:lnTo>
                    <a:lnTo>
                      <a:pt x="672" y="188"/>
                    </a:lnTo>
                    <a:lnTo>
                      <a:pt x="672" y="188"/>
                    </a:lnTo>
                    <a:lnTo>
                      <a:pt x="674" y="188"/>
                    </a:lnTo>
                    <a:lnTo>
                      <a:pt x="674" y="188"/>
                    </a:lnTo>
                    <a:lnTo>
                      <a:pt x="676" y="190"/>
                    </a:lnTo>
                    <a:lnTo>
                      <a:pt x="678" y="190"/>
                    </a:lnTo>
                    <a:lnTo>
                      <a:pt x="678" y="192"/>
                    </a:lnTo>
                    <a:lnTo>
                      <a:pt x="678" y="192"/>
                    </a:lnTo>
                    <a:lnTo>
                      <a:pt x="678" y="192"/>
                    </a:lnTo>
                    <a:lnTo>
                      <a:pt x="678" y="194"/>
                    </a:lnTo>
                    <a:lnTo>
                      <a:pt x="678" y="196"/>
                    </a:lnTo>
                    <a:lnTo>
                      <a:pt x="678" y="196"/>
                    </a:lnTo>
                    <a:lnTo>
                      <a:pt x="680" y="196"/>
                    </a:lnTo>
                    <a:lnTo>
                      <a:pt x="682" y="196"/>
                    </a:lnTo>
                    <a:lnTo>
                      <a:pt x="684" y="194"/>
                    </a:lnTo>
                    <a:lnTo>
                      <a:pt x="686" y="194"/>
                    </a:lnTo>
                    <a:lnTo>
                      <a:pt x="686" y="192"/>
                    </a:lnTo>
                    <a:lnTo>
                      <a:pt x="686" y="192"/>
                    </a:lnTo>
                    <a:lnTo>
                      <a:pt x="688" y="192"/>
                    </a:lnTo>
                    <a:lnTo>
                      <a:pt x="688" y="190"/>
                    </a:lnTo>
                    <a:lnTo>
                      <a:pt x="688" y="188"/>
                    </a:lnTo>
                    <a:lnTo>
                      <a:pt x="688" y="188"/>
                    </a:lnTo>
                    <a:lnTo>
                      <a:pt x="688" y="186"/>
                    </a:lnTo>
                    <a:lnTo>
                      <a:pt x="686" y="184"/>
                    </a:lnTo>
                    <a:lnTo>
                      <a:pt x="686" y="184"/>
                    </a:lnTo>
                    <a:lnTo>
                      <a:pt x="686" y="180"/>
                    </a:lnTo>
                    <a:lnTo>
                      <a:pt x="686" y="178"/>
                    </a:lnTo>
                    <a:lnTo>
                      <a:pt x="686" y="176"/>
                    </a:lnTo>
                    <a:lnTo>
                      <a:pt x="686" y="176"/>
                    </a:lnTo>
                    <a:lnTo>
                      <a:pt x="684" y="174"/>
                    </a:lnTo>
                    <a:lnTo>
                      <a:pt x="684" y="172"/>
                    </a:lnTo>
                    <a:lnTo>
                      <a:pt x="682" y="172"/>
                    </a:lnTo>
                    <a:lnTo>
                      <a:pt x="682" y="172"/>
                    </a:lnTo>
                    <a:lnTo>
                      <a:pt x="680" y="168"/>
                    </a:lnTo>
                    <a:lnTo>
                      <a:pt x="678" y="168"/>
                    </a:lnTo>
                    <a:lnTo>
                      <a:pt x="678" y="166"/>
                    </a:lnTo>
                    <a:lnTo>
                      <a:pt x="678" y="166"/>
                    </a:lnTo>
                    <a:lnTo>
                      <a:pt x="678" y="162"/>
                    </a:lnTo>
                    <a:lnTo>
                      <a:pt x="678" y="162"/>
                    </a:lnTo>
                    <a:lnTo>
                      <a:pt x="676" y="160"/>
                    </a:lnTo>
                    <a:lnTo>
                      <a:pt x="676" y="160"/>
                    </a:lnTo>
                    <a:lnTo>
                      <a:pt x="676" y="158"/>
                    </a:lnTo>
                    <a:lnTo>
                      <a:pt x="674" y="156"/>
                    </a:lnTo>
                    <a:lnTo>
                      <a:pt x="672" y="154"/>
                    </a:lnTo>
                    <a:lnTo>
                      <a:pt x="672" y="154"/>
                    </a:lnTo>
                    <a:lnTo>
                      <a:pt x="670" y="154"/>
                    </a:lnTo>
                    <a:lnTo>
                      <a:pt x="668" y="154"/>
                    </a:lnTo>
                    <a:lnTo>
                      <a:pt x="666" y="154"/>
                    </a:lnTo>
                    <a:lnTo>
                      <a:pt x="666" y="154"/>
                    </a:lnTo>
                    <a:lnTo>
                      <a:pt x="662" y="154"/>
                    </a:lnTo>
                    <a:lnTo>
                      <a:pt x="660" y="154"/>
                    </a:lnTo>
                    <a:lnTo>
                      <a:pt x="660" y="154"/>
                    </a:lnTo>
                    <a:lnTo>
                      <a:pt x="658" y="154"/>
                    </a:lnTo>
                    <a:lnTo>
                      <a:pt x="656" y="154"/>
                    </a:lnTo>
                    <a:lnTo>
                      <a:pt x="654" y="154"/>
                    </a:lnTo>
                    <a:lnTo>
                      <a:pt x="654" y="152"/>
                    </a:lnTo>
                    <a:lnTo>
                      <a:pt x="652" y="152"/>
                    </a:lnTo>
                    <a:lnTo>
                      <a:pt x="652" y="152"/>
                    </a:lnTo>
                    <a:lnTo>
                      <a:pt x="650" y="152"/>
                    </a:lnTo>
                    <a:lnTo>
                      <a:pt x="648" y="152"/>
                    </a:lnTo>
                    <a:lnTo>
                      <a:pt x="648" y="152"/>
                    </a:lnTo>
                    <a:lnTo>
                      <a:pt x="648" y="152"/>
                    </a:lnTo>
                    <a:lnTo>
                      <a:pt x="646" y="152"/>
                    </a:lnTo>
                    <a:lnTo>
                      <a:pt x="644" y="152"/>
                    </a:lnTo>
                    <a:lnTo>
                      <a:pt x="644" y="152"/>
                    </a:lnTo>
                    <a:lnTo>
                      <a:pt x="644" y="152"/>
                    </a:lnTo>
                    <a:lnTo>
                      <a:pt x="644" y="152"/>
                    </a:lnTo>
                    <a:lnTo>
                      <a:pt x="642" y="150"/>
                    </a:lnTo>
                    <a:lnTo>
                      <a:pt x="642" y="150"/>
                    </a:lnTo>
                    <a:lnTo>
                      <a:pt x="642" y="150"/>
                    </a:lnTo>
                    <a:lnTo>
                      <a:pt x="640" y="150"/>
                    </a:lnTo>
                    <a:lnTo>
                      <a:pt x="640" y="150"/>
                    </a:lnTo>
                    <a:lnTo>
                      <a:pt x="638" y="150"/>
                    </a:lnTo>
                    <a:lnTo>
                      <a:pt x="638" y="150"/>
                    </a:lnTo>
                    <a:lnTo>
                      <a:pt x="634" y="150"/>
                    </a:lnTo>
                    <a:lnTo>
                      <a:pt x="634" y="150"/>
                    </a:lnTo>
                    <a:lnTo>
                      <a:pt x="630" y="148"/>
                    </a:lnTo>
                    <a:lnTo>
                      <a:pt x="630" y="148"/>
                    </a:lnTo>
                    <a:lnTo>
                      <a:pt x="628" y="144"/>
                    </a:lnTo>
                    <a:lnTo>
                      <a:pt x="626" y="144"/>
                    </a:lnTo>
                    <a:lnTo>
                      <a:pt x="626" y="144"/>
                    </a:lnTo>
                    <a:lnTo>
                      <a:pt x="624" y="142"/>
                    </a:lnTo>
                    <a:lnTo>
                      <a:pt x="622" y="142"/>
                    </a:lnTo>
                    <a:lnTo>
                      <a:pt x="622" y="142"/>
                    </a:lnTo>
                    <a:lnTo>
                      <a:pt x="622" y="142"/>
                    </a:lnTo>
                    <a:lnTo>
                      <a:pt x="620" y="140"/>
                    </a:lnTo>
                    <a:lnTo>
                      <a:pt x="620" y="138"/>
                    </a:lnTo>
                    <a:lnTo>
                      <a:pt x="620" y="138"/>
                    </a:lnTo>
                    <a:lnTo>
                      <a:pt x="620" y="136"/>
                    </a:lnTo>
                    <a:lnTo>
                      <a:pt x="620" y="136"/>
                    </a:lnTo>
                    <a:lnTo>
                      <a:pt x="618" y="136"/>
                    </a:lnTo>
                    <a:lnTo>
                      <a:pt x="616" y="134"/>
                    </a:lnTo>
                    <a:lnTo>
                      <a:pt x="614" y="134"/>
                    </a:lnTo>
                    <a:lnTo>
                      <a:pt x="614" y="134"/>
                    </a:lnTo>
                    <a:lnTo>
                      <a:pt x="610" y="134"/>
                    </a:lnTo>
                    <a:lnTo>
                      <a:pt x="606" y="134"/>
                    </a:lnTo>
                    <a:lnTo>
                      <a:pt x="606" y="134"/>
                    </a:lnTo>
                    <a:lnTo>
                      <a:pt x="604" y="136"/>
                    </a:lnTo>
                    <a:lnTo>
                      <a:pt x="602" y="138"/>
                    </a:lnTo>
                    <a:lnTo>
                      <a:pt x="600" y="140"/>
                    </a:lnTo>
                    <a:lnTo>
                      <a:pt x="600" y="140"/>
                    </a:lnTo>
                    <a:lnTo>
                      <a:pt x="598" y="140"/>
                    </a:lnTo>
                    <a:lnTo>
                      <a:pt x="598" y="140"/>
                    </a:lnTo>
                    <a:lnTo>
                      <a:pt x="596" y="142"/>
                    </a:lnTo>
                    <a:lnTo>
                      <a:pt x="592" y="142"/>
                    </a:lnTo>
                    <a:lnTo>
                      <a:pt x="590" y="140"/>
                    </a:lnTo>
                    <a:lnTo>
                      <a:pt x="588" y="140"/>
                    </a:lnTo>
                    <a:lnTo>
                      <a:pt x="588" y="140"/>
                    </a:lnTo>
                    <a:lnTo>
                      <a:pt x="588" y="138"/>
                    </a:lnTo>
                    <a:lnTo>
                      <a:pt x="588" y="138"/>
                    </a:lnTo>
                    <a:lnTo>
                      <a:pt x="588" y="136"/>
                    </a:lnTo>
                    <a:lnTo>
                      <a:pt x="588" y="136"/>
                    </a:lnTo>
                    <a:lnTo>
                      <a:pt x="590" y="136"/>
                    </a:lnTo>
                    <a:lnTo>
                      <a:pt x="590" y="136"/>
                    </a:lnTo>
                    <a:lnTo>
                      <a:pt x="592" y="134"/>
                    </a:lnTo>
                    <a:lnTo>
                      <a:pt x="592" y="134"/>
                    </a:lnTo>
                    <a:lnTo>
                      <a:pt x="592" y="132"/>
                    </a:lnTo>
                    <a:lnTo>
                      <a:pt x="592" y="132"/>
                    </a:lnTo>
                    <a:lnTo>
                      <a:pt x="592" y="132"/>
                    </a:lnTo>
                    <a:lnTo>
                      <a:pt x="592" y="130"/>
                    </a:lnTo>
                    <a:lnTo>
                      <a:pt x="592" y="130"/>
                    </a:lnTo>
                    <a:lnTo>
                      <a:pt x="590" y="128"/>
                    </a:lnTo>
                    <a:lnTo>
                      <a:pt x="588" y="128"/>
                    </a:lnTo>
                    <a:lnTo>
                      <a:pt x="588" y="128"/>
                    </a:lnTo>
                    <a:lnTo>
                      <a:pt x="586" y="128"/>
                    </a:lnTo>
                    <a:lnTo>
                      <a:pt x="582" y="128"/>
                    </a:lnTo>
                    <a:lnTo>
                      <a:pt x="580" y="128"/>
                    </a:lnTo>
                    <a:lnTo>
                      <a:pt x="580" y="128"/>
                    </a:lnTo>
                    <a:lnTo>
                      <a:pt x="580" y="126"/>
                    </a:lnTo>
                    <a:lnTo>
                      <a:pt x="580" y="126"/>
                    </a:lnTo>
                    <a:lnTo>
                      <a:pt x="580" y="126"/>
                    </a:lnTo>
                    <a:lnTo>
                      <a:pt x="582" y="124"/>
                    </a:lnTo>
                    <a:lnTo>
                      <a:pt x="586" y="122"/>
                    </a:lnTo>
                    <a:lnTo>
                      <a:pt x="590" y="120"/>
                    </a:lnTo>
                    <a:lnTo>
                      <a:pt x="590" y="120"/>
                    </a:lnTo>
                    <a:lnTo>
                      <a:pt x="592" y="120"/>
                    </a:lnTo>
                    <a:lnTo>
                      <a:pt x="592" y="118"/>
                    </a:lnTo>
                    <a:lnTo>
                      <a:pt x="592" y="118"/>
                    </a:lnTo>
                    <a:lnTo>
                      <a:pt x="592" y="118"/>
                    </a:lnTo>
                    <a:lnTo>
                      <a:pt x="592" y="116"/>
                    </a:lnTo>
                    <a:lnTo>
                      <a:pt x="592" y="116"/>
                    </a:lnTo>
                    <a:lnTo>
                      <a:pt x="590" y="116"/>
                    </a:lnTo>
                    <a:lnTo>
                      <a:pt x="590" y="116"/>
                    </a:lnTo>
                    <a:lnTo>
                      <a:pt x="586" y="118"/>
                    </a:lnTo>
                    <a:lnTo>
                      <a:pt x="586" y="118"/>
                    </a:lnTo>
                    <a:lnTo>
                      <a:pt x="586" y="118"/>
                    </a:lnTo>
                    <a:lnTo>
                      <a:pt x="584" y="118"/>
                    </a:lnTo>
                    <a:lnTo>
                      <a:pt x="582" y="118"/>
                    </a:lnTo>
                    <a:lnTo>
                      <a:pt x="580" y="118"/>
                    </a:lnTo>
                    <a:lnTo>
                      <a:pt x="580" y="118"/>
                    </a:lnTo>
                    <a:lnTo>
                      <a:pt x="578" y="120"/>
                    </a:lnTo>
                    <a:lnTo>
                      <a:pt x="576" y="120"/>
                    </a:lnTo>
                    <a:lnTo>
                      <a:pt x="576" y="120"/>
                    </a:lnTo>
                    <a:lnTo>
                      <a:pt x="572" y="120"/>
                    </a:lnTo>
                    <a:lnTo>
                      <a:pt x="570" y="122"/>
                    </a:lnTo>
                    <a:lnTo>
                      <a:pt x="566" y="122"/>
                    </a:lnTo>
                    <a:lnTo>
                      <a:pt x="564" y="124"/>
                    </a:lnTo>
                    <a:lnTo>
                      <a:pt x="564" y="124"/>
                    </a:lnTo>
                    <a:lnTo>
                      <a:pt x="560" y="124"/>
                    </a:lnTo>
                    <a:lnTo>
                      <a:pt x="558" y="126"/>
                    </a:lnTo>
                    <a:lnTo>
                      <a:pt x="558" y="126"/>
                    </a:lnTo>
                    <a:lnTo>
                      <a:pt x="556" y="126"/>
                    </a:lnTo>
                    <a:lnTo>
                      <a:pt x="556" y="126"/>
                    </a:lnTo>
                    <a:lnTo>
                      <a:pt x="554" y="128"/>
                    </a:lnTo>
                    <a:lnTo>
                      <a:pt x="554" y="128"/>
                    </a:lnTo>
                    <a:lnTo>
                      <a:pt x="554" y="128"/>
                    </a:lnTo>
                    <a:lnTo>
                      <a:pt x="552" y="128"/>
                    </a:lnTo>
                    <a:lnTo>
                      <a:pt x="552" y="128"/>
                    </a:lnTo>
                    <a:lnTo>
                      <a:pt x="550" y="128"/>
                    </a:lnTo>
                    <a:lnTo>
                      <a:pt x="550" y="128"/>
                    </a:lnTo>
                    <a:lnTo>
                      <a:pt x="548" y="126"/>
                    </a:lnTo>
                    <a:lnTo>
                      <a:pt x="546" y="126"/>
                    </a:lnTo>
                    <a:lnTo>
                      <a:pt x="546" y="126"/>
                    </a:lnTo>
                    <a:lnTo>
                      <a:pt x="546" y="126"/>
                    </a:lnTo>
                    <a:lnTo>
                      <a:pt x="544" y="126"/>
                    </a:lnTo>
                    <a:lnTo>
                      <a:pt x="544" y="126"/>
                    </a:lnTo>
                    <a:lnTo>
                      <a:pt x="544" y="126"/>
                    </a:lnTo>
                    <a:lnTo>
                      <a:pt x="546" y="124"/>
                    </a:lnTo>
                    <a:lnTo>
                      <a:pt x="546" y="124"/>
                    </a:lnTo>
                    <a:lnTo>
                      <a:pt x="548" y="122"/>
                    </a:lnTo>
                    <a:lnTo>
                      <a:pt x="546" y="122"/>
                    </a:lnTo>
                    <a:lnTo>
                      <a:pt x="546" y="122"/>
                    </a:lnTo>
                    <a:lnTo>
                      <a:pt x="544" y="122"/>
                    </a:lnTo>
                    <a:lnTo>
                      <a:pt x="544" y="122"/>
                    </a:lnTo>
                    <a:lnTo>
                      <a:pt x="544" y="122"/>
                    </a:lnTo>
                    <a:lnTo>
                      <a:pt x="542" y="122"/>
                    </a:lnTo>
                    <a:lnTo>
                      <a:pt x="538" y="122"/>
                    </a:lnTo>
                    <a:lnTo>
                      <a:pt x="538" y="122"/>
                    </a:lnTo>
                    <a:lnTo>
                      <a:pt x="532" y="124"/>
                    </a:lnTo>
                    <a:lnTo>
                      <a:pt x="530" y="124"/>
                    </a:lnTo>
                    <a:lnTo>
                      <a:pt x="528" y="124"/>
                    </a:lnTo>
                    <a:lnTo>
                      <a:pt x="528" y="124"/>
                    </a:lnTo>
                    <a:lnTo>
                      <a:pt x="526" y="124"/>
                    </a:lnTo>
                    <a:lnTo>
                      <a:pt x="526" y="124"/>
                    </a:lnTo>
                    <a:lnTo>
                      <a:pt x="526" y="122"/>
                    </a:lnTo>
                    <a:lnTo>
                      <a:pt x="526" y="122"/>
                    </a:lnTo>
                    <a:lnTo>
                      <a:pt x="526" y="120"/>
                    </a:lnTo>
                    <a:lnTo>
                      <a:pt x="528" y="120"/>
                    </a:lnTo>
                    <a:lnTo>
                      <a:pt x="528" y="120"/>
                    </a:lnTo>
                    <a:lnTo>
                      <a:pt x="530" y="118"/>
                    </a:lnTo>
                    <a:lnTo>
                      <a:pt x="532" y="116"/>
                    </a:lnTo>
                    <a:lnTo>
                      <a:pt x="540" y="112"/>
                    </a:lnTo>
                    <a:lnTo>
                      <a:pt x="540" y="112"/>
                    </a:lnTo>
                    <a:lnTo>
                      <a:pt x="542" y="110"/>
                    </a:lnTo>
                    <a:lnTo>
                      <a:pt x="544" y="110"/>
                    </a:lnTo>
                    <a:lnTo>
                      <a:pt x="548" y="108"/>
                    </a:lnTo>
                    <a:lnTo>
                      <a:pt x="552" y="108"/>
                    </a:lnTo>
                    <a:lnTo>
                      <a:pt x="552" y="108"/>
                    </a:lnTo>
                    <a:lnTo>
                      <a:pt x="552" y="108"/>
                    </a:lnTo>
                    <a:lnTo>
                      <a:pt x="552" y="108"/>
                    </a:lnTo>
                    <a:lnTo>
                      <a:pt x="554" y="106"/>
                    </a:lnTo>
                    <a:lnTo>
                      <a:pt x="554" y="106"/>
                    </a:lnTo>
                    <a:lnTo>
                      <a:pt x="556" y="104"/>
                    </a:lnTo>
                    <a:lnTo>
                      <a:pt x="560" y="102"/>
                    </a:lnTo>
                    <a:lnTo>
                      <a:pt x="560" y="102"/>
                    </a:lnTo>
                    <a:lnTo>
                      <a:pt x="560" y="102"/>
                    </a:lnTo>
                    <a:lnTo>
                      <a:pt x="562" y="102"/>
                    </a:lnTo>
                    <a:lnTo>
                      <a:pt x="562" y="102"/>
                    </a:lnTo>
                    <a:lnTo>
                      <a:pt x="564" y="102"/>
                    </a:lnTo>
                    <a:lnTo>
                      <a:pt x="564" y="102"/>
                    </a:lnTo>
                    <a:lnTo>
                      <a:pt x="566" y="102"/>
                    </a:lnTo>
                    <a:lnTo>
                      <a:pt x="566" y="102"/>
                    </a:lnTo>
                    <a:lnTo>
                      <a:pt x="566" y="102"/>
                    </a:lnTo>
                    <a:lnTo>
                      <a:pt x="566" y="100"/>
                    </a:lnTo>
                    <a:lnTo>
                      <a:pt x="564" y="100"/>
                    </a:lnTo>
                    <a:lnTo>
                      <a:pt x="564" y="100"/>
                    </a:lnTo>
                    <a:lnTo>
                      <a:pt x="562" y="98"/>
                    </a:lnTo>
                    <a:lnTo>
                      <a:pt x="558" y="98"/>
                    </a:lnTo>
                    <a:lnTo>
                      <a:pt x="552" y="98"/>
                    </a:lnTo>
                    <a:lnTo>
                      <a:pt x="550" y="96"/>
                    </a:lnTo>
                    <a:lnTo>
                      <a:pt x="550" y="96"/>
                    </a:lnTo>
                    <a:lnTo>
                      <a:pt x="542" y="96"/>
                    </a:lnTo>
                    <a:lnTo>
                      <a:pt x="540" y="96"/>
                    </a:lnTo>
                    <a:lnTo>
                      <a:pt x="536" y="94"/>
                    </a:lnTo>
                    <a:lnTo>
                      <a:pt x="536" y="94"/>
                    </a:lnTo>
                    <a:lnTo>
                      <a:pt x="536" y="94"/>
                    </a:lnTo>
                    <a:lnTo>
                      <a:pt x="534" y="92"/>
                    </a:lnTo>
                    <a:lnTo>
                      <a:pt x="532" y="90"/>
                    </a:lnTo>
                    <a:lnTo>
                      <a:pt x="532" y="90"/>
                    </a:lnTo>
                    <a:lnTo>
                      <a:pt x="532" y="88"/>
                    </a:lnTo>
                    <a:lnTo>
                      <a:pt x="530" y="84"/>
                    </a:lnTo>
                    <a:lnTo>
                      <a:pt x="530" y="84"/>
                    </a:lnTo>
                    <a:lnTo>
                      <a:pt x="526" y="80"/>
                    </a:lnTo>
                    <a:lnTo>
                      <a:pt x="524" y="78"/>
                    </a:lnTo>
                    <a:lnTo>
                      <a:pt x="520" y="76"/>
                    </a:lnTo>
                    <a:lnTo>
                      <a:pt x="518" y="74"/>
                    </a:lnTo>
                    <a:lnTo>
                      <a:pt x="516" y="72"/>
                    </a:lnTo>
                    <a:lnTo>
                      <a:pt x="512" y="72"/>
                    </a:lnTo>
                    <a:lnTo>
                      <a:pt x="510" y="72"/>
                    </a:lnTo>
                    <a:lnTo>
                      <a:pt x="510" y="72"/>
                    </a:lnTo>
                    <a:lnTo>
                      <a:pt x="508" y="72"/>
                    </a:lnTo>
                    <a:lnTo>
                      <a:pt x="508" y="72"/>
                    </a:lnTo>
                    <a:lnTo>
                      <a:pt x="504" y="74"/>
                    </a:lnTo>
                    <a:lnTo>
                      <a:pt x="504" y="74"/>
                    </a:lnTo>
                    <a:lnTo>
                      <a:pt x="502" y="74"/>
                    </a:lnTo>
                    <a:lnTo>
                      <a:pt x="502" y="72"/>
                    </a:lnTo>
                    <a:lnTo>
                      <a:pt x="500" y="72"/>
                    </a:lnTo>
                    <a:lnTo>
                      <a:pt x="500" y="72"/>
                    </a:lnTo>
                    <a:lnTo>
                      <a:pt x="500" y="70"/>
                    </a:lnTo>
                    <a:lnTo>
                      <a:pt x="500" y="70"/>
                    </a:lnTo>
                    <a:lnTo>
                      <a:pt x="500" y="66"/>
                    </a:lnTo>
                    <a:lnTo>
                      <a:pt x="500" y="66"/>
                    </a:lnTo>
                    <a:lnTo>
                      <a:pt x="500" y="64"/>
                    </a:lnTo>
                    <a:lnTo>
                      <a:pt x="498" y="62"/>
                    </a:lnTo>
                    <a:lnTo>
                      <a:pt x="498" y="62"/>
                    </a:lnTo>
                    <a:lnTo>
                      <a:pt x="496" y="60"/>
                    </a:lnTo>
                    <a:lnTo>
                      <a:pt x="496" y="60"/>
                    </a:lnTo>
                    <a:lnTo>
                      <a:pt x="490" y="60"/>
                    </a:lnTo>
                    <a:lnTo>
                      <a:pt x="486" y="60"/>
                    </a:lnTo>
                    <a:lnTo>
                      <a:pt x="486" y="60"/>
                    </a:lnTo>
                    <a:lnTo>
                      <a:pt x="476" y="58"/>
                    </a:lnTo>
                    <a:lnTo>
                      <a:pt x="472" y="58"/>
                    </a:lnTo>
                    <a:lnTo>
                      <a:pt x="466" y="58"/>
                    </a:lnTo>
                    <a:lnTo>
                      <a:pt x="466" y="58"/>
                    </a:lnTo>
                    <a:lnTo>
                      <a:pt x="462" y="56"/>
                    </a:lnTo>
                    <a:lnTo>
                      <a:pt x="456" y="54"/>
                    </a:lnTo>
                    <a:lnTo>
                      <a:pt x="446" y="52"/>
                    </a:lnTo>
                    <a:lnTo>
                      <a:pt x="446" y="52"/>
                    </a:lnTo>
                    <a:lnTo>
                      <a:pt x="442" y="52"/>
                    </a:lnTo>
                    <a:lnTo>
                      <a:pt x="436" y="50"/>
                    </a:lnTo>
                    <a:lnTo>
                      <a:pt x="426" y="50"/>
                    </a:lnTo>
                    <a:lnTo>
                      <a:pt x="426" y="50"/>
                    </a:lnTo>
                    <a:lnTo>
                      <a:pt x="410" y="48"/>
                    </a:lnTo>
                    <a:lnTo>
                      <a:pt x="396" y="46"/>
                    </a:lnTo>
                    <a:lnTo>
                      <a:pt x="380" y="44"/>
                    </a:lnTo>
                    <a:lnTo>
                      <a:pt x="364" y="42"/>
                    </a:lnTo>
                    <a:lnTo>
                      <a:pt x="364" y="42"/>
                    </a:lnTo>
                    <a:lnTo>
                      <a:pt x="336" y="36"/>
                    </a:lnTo>
                    <a:lnTo>
                      <a:pt x="306" y="32"/>
                    </a:lnTo>
                    <a:lnTo>
                      <a:pt x="306" y="32"/>
                    </a:lnTo>
                    <a:lnTo>
                      <a:pt x="290" y="28"/>
                    </a:lnTo>
                    <a:lnTo>
                      <a:pt x="284" y="28"/>
                    </a:lnTo>
                    <a:lnTo>
                      <a:pt x="274" y="26"/>
                    </a:lnTo>
                    <a:lnTo>
                      <a:pt x="274" y="26"/>
                    </a:lnTo>
                    <a:lnTo>
                      <a:pt x="246" y="24"/>
                    </a:lnTo>
                    <a:lnTo>
                      <a:pt x="246" y="24"/>
                    </a:lnTo>
                    <a:lnTo>
                      <a:pt x="234" y="22"/>
                    </a:lnTo>
                    <a:lnTo>
                      <a:pt x="220" y="18"/>
                    </a:lnTo>
                    <a:lnTo>
                      <a:pt x="206" y="16"/>
                    </a:lnTo>
                    <a:lnTo>
                      <a:pt x="192" y="14"/>
                    </a:lnTo>
                    <a:lnTo>
                      <a:pt x="192" y="14"/>
                    </a:lnTo>
                    <a:lnTo>
                      <a:pt x="180" y="12"/>
                    </a:lnTo>
                    <a:lnTo>
                      <a:pt x="168" y="10"/>
                    </a:lnTo>
                    <a:lnTo>
                      <a:pt x="168" y="10"/>
                    </a:lnTo>
                    <a:lnTo>
                      <a:pt x="164" y="8"/>
                    </a:lnTo>
                    <a:lnTo>
                      <a:pt x="158" y="8"/>
                    </a:lnTo>
                    <a:lnTo>
                      <a:pt x="152" y="6"/>
                    </a:lnTo>
                    <a:lnTo>
                      <a:pt x="146" y="6"/>
                    </a:lnTo>
                    <a:lnTo>
                      <a:pt x="146" y="6"/>
                    </a:lnTo>
                    <a:lnTo>
                      <a:pt x="136" y="4"/>
                    </a:lnTo>
                    <a:lnTo>
                      <a:pt x="124" y="2"/>
                    </a:lnTo>
                    <a:lnTo>
                      <a:pt x="124" y="2"/>
                    </a:lnTo>
                    <a:lnTo>
                      <a:pt x="112" y="0"/>
                    </a:lnTo>
                    <a:lnTo>
                      <a:pt x="112" y="0"/>
                    </a:lnTo>
                    <a:lnTo>
                      <a:pt x="106" y="0"/>
                    </a:lnTo>
                    <a:lnTo>
                      <a:pt x="104" y="0"/>
                    </a:lnTo>
                    <a:lnTo>
                      <a:pt x="102" y="0"/>
                    </a:lnTo>
                    <a:lnTo>
                      <a:pt x="102" y="0"/>
                    </a:lnTo>
                    <a:lnTo>
                      <a:pt x="102" y="2"/>
                    </a:lnTo>
                    <a:lnTo>
                      <a:pt x="102" y="2"/>
                    </a:lnTo>
                    <a:lnTo>
                      <a:pt x="104" y="2"/>
                    </a:lnTo>
                    <a:lnTo>
                      <a:pt x="106" y="4"/>
                    </a:lnTo>
                    <a:lnTo>
                      <a:pt x="106" y="4"/>
                    </a:lnTo>
                    <a:lnTo>
                      <a:pt x="106" y="4"/>
                    </a:lnTo>
                    <a:lnTo>
                      <a:pt x="106" y="8"/>
                    </a:lnTo>
                    <a:lnTo>
                      <a:pt x="106" y="10"/>
                    </a:lnTo>
                    <a:lnTo>
                      <a:pt x="106" y="14"/>
                    </a:lnTo>
                    <a:lnTo>
                      <a:pt x="106" y="16"/>
                    </a:lnTo>
                    <a:lnTo>
                      <a:pt x="106" y="16"/>
                    </a:lnTo>
                    <a:lnTo>
                      <a:pt x="106" y="18"/>
                    </a:lnTo>
                    <a:lnTo>
                      <a:pt x="104" y="20"/>
                    </a:lnTo>
                    <a:lnTo>
                      <a:pt x="104" y="20"/>
                    </a:lnTo>
                    <a:lnTo>
                      <a:pt x="102" y="22"/>
                    </a:lnTo>
                    <a:lnTo>
                      <a:pt x="100" y="24"/>
                    </a:lnTo>
                    <a:lnTo>
                      <a:pt x="100" y="24"/>
                    </a:lnTo>
                    <a:lnTo>
                      <a:pt x="98" y="26"/>
                    </a:lnTo>
                    <a:lnTo>
                      <a:pt x="98" y="28"/>
                    </a:lnTo>
                    <a:lnTo>
                      <a:pt x="98" y="28"/>
                    </a:lnTo>
                    <a:lnTo>
                      <a:pt x="96" y="30"/>
                    </a:lnTo>
                    <a:lnTo>
                      <a:pt x="94" y="32"/>
                    </a:lnTo>
                    <a:lnTo>
                      <a:pt x="94" y="32"/>
                    </a:lnTo>
                    <a:lnTo>
                      <a:pt x="94" y="34"/>
                    </a:lnTo>
                    <a:lnTo>
                      <a:pt x="92" y="34"/>
                    </a:lnTo>
                    <a:lnTo>
                      <a:pt x="92" y="32"/>
                    </a:lnTo>
                    <a:lnTo>
                      <a:pt x="92" y="32"/>
                    </a:lnTo>
                    <a:lnTo>
                      <a:pt x="92" y="32"/>
                    </a:lnTo>
                    <a:lnTo>
                      <a:pt x="92" y="30"/>
                    </a:lnTo>
                    <a:lnTo>
                      <a:pt x="92" y="28"/>
                    </a:lnTo>
                    <a:lnTo>
                      <a:pt x="94" y="26"/>
                    </a:lnTo>
                    <a:lnTo>
                      <a:pt x="94" y="26"/>
                    </a:lnTo>
                    <a:lnTo>
                      <a:pt x="96" y="22"/>
                    </a:lnTo>
                    <a:lnTo>
                      <a:pt x="98" y="20"/>
                    </a:lnTo>
                    <a:lnTo>
                      <a:pt x="98" y="18"/>
                    </a:lnTo>
                    <a:lnTo>
                      <a:pt x="98" y="18"/>
                    </a:lnTo>
                    <a:lnTo>
                      <a:pt x="98" y="18"/>
                    </a:lnTo>
                    <a:lnTo>
                      <a:pt x="98" y="16"/>
                    </a:lnTo>
                    <a:lnTo>
                      <a:pt x="96" y="16"/>
                    </a:lnTo>
                    <a:lnTo>
                      <a:pt x="96" y="16"/>
                    </a:lnTo>
                    <a:lnTo>
                      <a:pt x="94" y="16"/>
                    </a:lnTo>
                    <a:lnTo>
                      <a:pt x="90" y="16"/>
                    </a:lnTo>
                    <a:lnTo>
                      <a:pt x="90" y="16"/>
                    </a:lnTo>
                    <a:lnTo>
                      <a:pt x="88" y="14"/>
                    </a:lnTo>
                    <a:lnTo>
                      <a:pt x="86" y="14"/>
                    </a:lnTo>
                    <a:lnTo>
                      <a:pt x="86" y="14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0" y="12"/>
                    </a:lnTo>
                    <a:lnTo>
                      <a:pt x="80" y="12"/>
                    </a:lnTo>
                    <a:lnTo>
                      <a:pt x="80" y="12"/>
                    </a:lnTo>
                    <a:lnTo>
                      <a:pt x="78" y="12"/>
                    </a:lnTo>
                    <a:lnTo>
                      <a:pt x="78" y="14"/>
                    </a:lnTo>
                    <a:lnTo>
                      <a:pt x="76" y="14"/>
                    </a:lnTo>
                    <a:lnTo>
                      <a:pt x="76" y="18"/>
                    </a:lnTo>
                    <a:lnTo>
                      <a:pt x="74" y="20"/>
                    </a:lnTo>
                    <a:lnTo>
                      <a:pt x="74" y="20"/>
                    </a:lnTo>
                    <a:lnTo>
                      <a:pt x="74" y="24"/>
                    </a:lnTo>
                    <a:lnTo>
                      <a:pt x="74" y="26"/>
                    </a:lnTo>
                    <a:lnTo>
                      <a:pt x="74" y="32"/>
                    </a:lnTo>
                    <a:lnTo>
                      <a:pt x="74" y="32"/>
                    </a:lnTo>
                    <a:lnTo>
                      <a:pt x="74" y="36"/>
                    </a:lnTo>
                    <a:lnTo>
                      <a:pt x="72" y="38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48"/>
                    </a:lnTo>
                    <a:lnTo>
                      <a:pt x="70" y="50"/>
                    </a:lnTo>
                    <a:lnTo>
                      <a:pt x="70" y="52"/>
                    </a:lnTo>
                    <a:lnTo>
                      <a:pt x="70" y="54"/>
                    </a:lnTo>
                    <a:lnTo>
                      <a:pt x="70" y="56"/>
                    </a:lnTo>
                    <a:lnTo>
                      <a:pt x="70" y="56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74" y="62"/>
                    </a:lnTo>
                    <a:lnTo>
                      <a:pt x="74" y="62"/>
                    </a:lnTo>
                    <a:lnTo>
                      <a:pt x="74" y="64"/>
                    </a:lnTo>
                    <a:lnTo>
                      <a:pt x="74" y="64"/>
                    </a:lnTo>
                    <a:lnTo>
                      <a:pt x="74" y="64"/>
                    </a:lnTo>
                    <a:lnTo>
                      <a:pt x="72" y="64"/>
                    </a:lnTo>
                    <a:lnTo>
                      <a:pt x="70" y="64"/>
                    </a:lnTo>
                    <a:lnTo>
                      <a:pt x="70" y="64"/>
                    </a:lnTo>
                    <a:lnTo>
                      <a:pt x="68" y="64"/>
                    </a:lnTo>
                    <a:lnTo>
                      <a:pt x="66" y="66"/>
                    </a:lnTo>
                    <a:lnTo>
                      <a:pt x="64" y="68"/>
                    </a:lnTo>
                    <a:lnTo>
                      <a:pt x="64" y="70"/>
                    </a:lnTo>
                    <a:lnTo>
                      <a:pt x="64" y="70"/>
                    </a:lnTo>
                    <a:lnTo>
                      <a:pt x="62" y="74"/>
                    </a:lnTo>
                    <a:lnTo>
                      <a:pt x="60" y="78"/>
                    </a:lnTo>
                    <a:lnTo>
                      <a:pt x="60" y="80"/>
                    </a:lnTo>
                    <a:lnTo>
                      <a:pt x="60" y="80"/>
                    </a:lnTo>
                    <a:lnTo>
                      <a:pt x="56" y="86"/>
                    </a:lnTo>
                    <a:lnTo>
                      <a:pt x="54" y="90"/>
                    </a:lnTo>
                    <a:lnTo>
                      <a:pt x="52" y="92"/>
                    </a:lnTo>
                    <a:lnTo>
                      <a:pt x="52" y="92"/>
                    </a:lnTo>
                    <a:lnTo>
                      <a:pt x="48" y="98"/>
                    </a:lnTo>
                    <a:lnTo>
                      <a:pt x="46" y="100"/>
                    </a:lnTo>
                    <a:lnTo>
                      <a:pt x="46" y="102"/>
                    </a:lnTo>
                    <a:lnTo>
                      <a:pt x="46" y="102"/>
                    </a:lnTo>
                    <a:lnTo>
                      <a:pt x="38" y="106"/>
                    </a:lnTo>
                    <a:lnTo>
                      <a:pt x="36" y="108"/>
                    </a:lnTo>
                    <a:lnTo>
                      <a:pt x="36" y="112"/>
                    </a:lnTo>
                    <a:lnTo>
                      <a:pt x="36" y="112"/>
                    </a:lnTo>
                    <a:lnTo>
                      <a:pt x="32" y="118"/>
                    </a:lnTo>
                    <a:lnTo>
                      <a:pt x="30" y="124"/>
                    </a:lnTo>
                    <a:lnTo>
                      <a:pt x="30" y="124"/>
                    </a:lnTo>
                    <a:lnTo>
                      <a:pt x="28" y="128"/>
                    </a:lnTo>
                    <a:lnTo>
                      <a:pt x="26" y="130"/>
                    </a:lnTo>
                    <a:lnTo>
                      <a:pt x="22" y="138"/>
                    </a:lnTo>
                    <a:lnTo>
                      <a:pt x="22" y="138"/>
                    </a:lnTo>
                    <a:lnTo>
                      <a:pt x="22" y="140"/>
                    </a:lnTo>
                    <a:lnTo>
                      <a:pt x="20" y="144"/>
                    </a:lnTo>
                    <a:lnTo>
                      <a:pt x="20" y="146"/>
                    </a:lnTo>
                    <a:lnTo>
                      <a:pt x="20" y="150"/>
                    </a:lnTo>
                    <a:lnTo>
                      <a:pt x="20" y="150"/>
                    </a:lnTo>
                    <a:lnTo>
                      <a:pt x="20" y="154"/>
                    </a:lnTo>
                    <a:lnTo>
                      <a:pt x="20" y="156"/>
                    </a:lnTo>
                    <a:lnTo>
                      <a:pt x="18" y="160"/>
                    </a:lnTo>
                    <a:lnTo>
                      <a:pt x="16" y="164"/>
                    </a:lnTo>
                    <a:lnTo>
                      <a:pt x="16" y="164"/>
                    </a:lnTo>
                    <a:lnTo>
                      <a:pt x="10" y="172"/>
                    </a:lnTo>
                    <a:lnTo>
                      <a:pt x="8" y="178"/>
                    </a:lnTo>
                    <a:lnTo>
                      <a:pt x="6" y="184"/>
                    </a:lnTo>
                    <a:lnTo>
                      <a:pt x="6" y="184"/>
                    </a:lnTo>
                    <a:lnTo>
                      <a:pt x="6" y="186"/>
                    </a:lnTo>
                    <a:lnTo>
                      <a:pt x="4" y="188"/>
                    </a:lnTo>
                    <a:lnTo>
                      <a:pt x="4" y="190"/>
                    </a:lnTo>
                    <a:lnTo>
                      <a:pt x="2" y="192"/>
                    </a:lnTo>
                    <a:lnTo>
                      <a:pt x="2" y="192"/>
                    </a:lnTo>
                    <a:lnTo>
                      <a:pt x="2" y="196"/>
                    </a:lnTo>
                    <a:lnTo>
                      <a:pt x="2" y="202"/>
                    </a:lnTo>
                    <a:lnTo>
                      <a:pt x="2" y="202"/>
                    </a:lnTo>
                    <a:lnTo>
                      <a:pt x="4" y="204"/>
                    </a:lnTo>
                    <a:lnTo>
                      <a:pt x="4" y="206"/>
                    </a:lnTo>
                    <a:lnTo>
                      <a:pt x="6" y="208"/>
                    </a:lnTo>
                    <a:lnTo>
                      <a:pt x="6" y="212"/>
                    </a:lnTo>
                    <a:lnTo>
                      <a:pt x="6" y="212"/>
                    </a:lnTo>
                    <a:lnTo>
                      <a:pt x="6" y="212"/>
                    </a:lnTo>
                    <a:lnTo>
                      <a:pt x="6" y="214"/>
                    </a:lnTo>
                    <a:lnTo>
                      <a:pt x="4" y="216"/>
                    </a:lnTo>
                    <a:lnTo>
                      <a:pt x="4" y="218"/>
                    </a:lnTo>
                    <a:lnTo>
                      <a:pt x="2" y="220"/>
                    </a:lnTo>
                    <a:lnTo>
                      <a:pt x="2" y="220"/>
                    </a:lnTo>
                    <a:lnTo>
                      <a:pt x="2" y="222"/>
                    </a:lnTo>
                    <a:lnTo>
                      <a:pt x="0" y="226"/>
                    </a:lnTo>
                    <a:lnTo>
                      <a:pt x="0" y="232"/>
                    </a:lnTo>
                    <a:lnTo>
                      <a:pt x="0" y="232"/>
                    </a:lnTo>
                    <a:lnTo>
                      <a:pt x="0" y="238"/>
                    </a:lnTo>
                    <a:lnTo>
                      <a:pt x="0" y="240"/>
                    </a:lnTo>
                    <a:lnTo>
                      <a:pt x="0" y="242"/>
                    </a:lnTo>
                    <a:lnTo>
                      <a:pt x="0" y="242"/>
                    </a:lnTo>
                    <a:lnTo>
                      <a:pt x="0" y="242"/>
                    </a:lnTo>
                    <a:lnTo>
                      <a:pt x="2" y="244"/>
                    </a:lnTo>
                    <a:lnTo>
                      <a:pt x="2" y="246"/>
                    </a:lnTo>
                    <a:lnTo>
                      <a:pt x="2" y="246"/>
                    </a:lnTo>
                    <a:lnTo>
                      <a:pt x="4" y="250"/>
                    </a:lnTo>
                    <a:lnTo>
                      <a:pt x="6" y="252"/>
                    </a:lnTo>
                    <a:lnTo>
                      <a:pt x="6" y="252"/>
                    </a:lnTo>
                    <a:lnTo>
                      <a:pt x="8" y="254"/>
                    </a:lnTo>
                    <a:lnTo>
                      <a:pt x="10" y="256"/>
                    </a:lnTo>
                    <a:lnTo>
                      <a:pt x="12" y="258"/>
                    </a:lnTo>
                    <a:lnTo>
                      <a:pt x="12" y="258"/>
                    </a:lnTo>
                    <a:lnTo>
                      <a:pt x="14" y="260"/>
                    </a:lnTo>
                    <a:lnTo>
                      <a:pt x="14" y="260"/>
                    </a:lnTo>
                    <a:lnTo>
                      <a:pt x="14" y="260"/>
                    </a:lnTo>
                    <a:lnTo>
                      <a:pt x="14" y="262"/>
                    </a:lnTo>
                    <a:lnTo>
                      <a:pt x="12" y="264"/>
                    </a:lnTo>
                    <a:lnTo>
                      <a:pt x="12" y="266"/>
                    </a:lnTo>
                    <a:lnTo>
                      <a:pt x="10" y="270"/>
                    </a:lnTo>
                    <a:lnTo>
                      <a:pt x="10" y="270"/>
                    </a:lnTo>
                    <a:lnTo>
                      <a:pt x="10" y="272"/>
                    </a:lnTo>
                    <a:lnTo>
                      <a:pt x="8" y="276"/>
                    </a:lnTo>
                    <a:lnTo>
                      <a:pt x="8" y="278"/>
                    </a:lnTo>
                    <a:lnTo>
                      <a:pt x="8" y="282"/>
                    </a:lnTo>
                    <a:lnTo>
                      <a:pt x="8" y="282"/>
                    </a:lnTo>
                    <a:lnTo>
                      <a:pt x="10" y="288"/>
                    </a:lnTo>
                    <a:lnTo>
                      <a:pt x="10" y="288"/>
                    </a:lnTo>
                    <a:lnTo>
                      <a:pt x="10" y="290"/>
                    </a:lnTo>
                    <a:lnTo>
                      <a:pt x="10" y="294"/>
                    </a:lnTo>
                    <a:lnTo>
                      <a:pt x="10" y="294"/>
                    </a:lnTo>
                    <a:lnTo>
                      <a:pt x="12" y="300"/>
                    </a:lnTo>
                    <a:lnTo>
                      <a:pt x="16" y="306"/>
                    </a:lnTo>
                    <a:lnTo>
                      <a:pt x="18" y="312"/>
                    </a:lnTo>
                    <a:lnTo>
                      <a:pt x="20" y="316"/>
                    </a:lnTo>
                    <a:lnTo>
                      <a:pt x="20" y="318"/>
                    </a:lnTo>
                    <a:lnTo>
                      <a:pt x="20" y="318"/>
                    </a:lnTo>
                    <a:lnTo>
                      <a:pt x="20" y="322"/>
                    </a:lnTo>
                    <a:lnTo>
                      <a:pt x="20" y="324"/>
                    </a:lnTo>
                    <a:lnTo>
                      <a:pt x="20" y="326"/>
                    </a:lnTo>
                    <a:lnTo>
                      <a:pt x="20" y="328"/>
                    </a:lnTo>
                    <a:lnTo>
                      <a:pt x="22" y="330"/>
                    </a:lnTo>
                    <a:lnTo>
                      <a:pt x="22" y="330"/>
                    </a:lnTo>
                    <a:lnTo>
                      <a:pt x="24" y="330"/>
                    </a:lnTo>
                    <a:lnTo>
                      <a:pt x="24" y="332"/>
                    </a:lnTo>
                    <a:lnTo>
                      <a:pt x="28" y="332"/>
                    </a:lnTo>
                    <a:lnTo>
                      <a:pt x="28" y="332"/>
                    </a:lnTo>
                    <a:lnTo>
                      <a:pt x="30" y="334"/>
                    </a:lnTo>
                    <a:lnTo>
                      <a:pt x="32" y="334"/>
                    </a:lnTo>
                    <a:lnTo>
                      <a:pt x="34" y="336"/>
                    </a:lnTo>
                    <a:lnTo>
                      <a:pt x="34" y="336"/>
                    </a:lnTo>
                    <a:lnTo>
                      <a:pt x="34" y="338"/>
                    </a:lnTo>
                    <a:lnTo>
                      <a:pt x="36" y="338"/>
                    </a:lnTo>
                    <a:lnTo>
                      <a:pt x="36" y="340"/>
                    </a:lnTo>
                    <a:lnTo>
                      <a:pt x="38" y="340"/>
                    </a:lnTo>
                    <a:lnTo>
                      <a:pt x="38" y="340"/>
                    </a:lnTo>
                    <a:lnTo>
                      <a:pt x="44" y="346"/>
                    </a:lnTo>
                    <a:lnTo>
                      <a:pt x="44" y="346"/>
                    </a:lnTo>
                    <a:lnTo>
                      <a:pt x="46" y="348"/>
                    </a:lnTo>
                    <a:lnTo>
                      <a:pt x="48" y="350"/>
                    </a:lnTo>
                    <a:lnTo>
                      <a:pt x="48" y="350"/>
                    </a:lnTo>
                    <a:lnTo>
                      <a:pt x="48" y="352"/>
                    </a:lnTo>
                    <a:lnTo>
                      <a:pt x="50" y="352"/>
                    </a:lnTo>
                    <a:lnTo>
                      <a:pt x="50" y="356"/>
                    </a:lnTo>
                    <a:lnTo>
                      <a:pt x="50" y="358"/>
                    </a:lnTo>
                    <a:lnTo>
                      <a:pt x="50" y="362"/>
                    </a:lnTo>
                    <a:lnTo>
                      <a:pt x="50" y="362"/>
                    </a:lnTo>
                    <a:lnTo>
                      <a:pt x="52" y="374"/>
                    </a:lnTo>
                    <a:lnTo>
                      <a:pt x="52" y="374"/>
                    </a:lnTo>
                    <a:lnTo>
                      <a:pt x="52" y="376"/>
                    </a:lnTo>
                    <a:lnTo>
                      <a:pt x="52" y="376"/>
                    </a:lnTo>
                    <a:lnTo>
                      <a:pt x="56" y="378"/>
                    </a:lnTo>
                    <a:lnTo>
                      <a:pt x="62" y="378"/>
                    </a:lnTo>
                    <a:lnTo>
                      <a:pt x="62" y="378"/>
                    </a:lnTo>
                    <a:lnTo>
                      <a:pt x="70" y="378"/>
                    </a:lnTo>
                    <a:lnTo>
                      <a:pt x="76" y="376"/>
                    </a:lnTo>
                    <a:lnTo>
                      <a:pt x="76" y="376"/>
                    </a:lnTo>
                    <a:lnTo>
                      <a:pt x="76" y="376"/>
                    </a:lnTo>
                    <a:lnTo>
                      <a:pt x="76" y="376"/>
                    </a:lnTo>
                    <a:lnTo>
                      <a:pt x="76" y="37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51" name="Freeform 911"/>
              <p:cNvSpPr>
                <a:spLocks/>
              </p:cNvSpPr>
              <p:nvPr/>
            </p:nvSpPr>
            <p:spPr bwMode="auto">
              <a:xfrm>
                <a:off x="923" y="1546"/>
                <a:ext cx="6" cy="6"/>
              </a:xfrm>
              <a:custGeom>
                <a:avLst/>
                <a:gdLst>
                  <a:gd name="T0" fmla="*/ 0 w 6"/>
                  <a:gd name="T1" fmla="*/ 6 h 6"/>
                  <a:gd name="T2" fmla="*/ 0 w 6"/>
                  <a:gd name="T3" fmla="*/ 6 h 6"/>
                  <a:gd name="T4" fmla="*/ 4 w 6"/>
                  <a:gd name="T5" fmla="*/ 6 h 6"/>
                  <a:gd name="T6" fmla="*/ 4 w 6"/>
                  <a:gd name="T7" fmla="*/ 6 h 6"/>
                  <a:gd name="T8" fmla="*/ 6 w 6"/>
                  <a:gd name="T9" fmla="*/ 6 h 6"/>
                  <a:gd name="T10" fmla="*/ 6 w 6"/>
                  <a:gd name="T11" fmla="*/ 6 h 6"/>
                  <a:gd name="T12" fmla="*/ 6 w 6"/>
                  <a:gd name="T13" fmla="*/ 4 h 6"/>
                  <a:gd name="T14" fmla="*/ 6 w 6"/>
                  <a:gd name="T15" fmla="*/ 2 h 6"/>
                  <a:gd name="T16" fmla="*/ 6 w 6"/>
                  <a:gd name="T17" fmla="*/ 2 h 6"/>
                  <a:gd name="T18" fmla="*/ 6 w 6"/>
                  <a:gd name="T19" fmla="*/ 2 h 6"/>
                  <a:gd name="T20" fmla="*/ 6 w 6"/>
                  <a:gd name="T21" fmla="*/ 0 h 6"/>
                  <a:gd name="T22" fmla="*/ 6 w 6"/>
                  <a:gd name="T23" fmla="*/ 0 h 6"/>
                  <a:gd name="T24" fmla="*/ 6 w 6"/>
                  <a:gd name="T25" fmla="*/ 0 h 6"/>
                  <a:gd name="T26" fmla="*/ 4 w 6"/>
                  <a:gd name="T27" fmla="*/ 0 h 6"/>
                  <a:gd name="T28" fmla="*/ 0 w 6"/>
                  <a:gd name="T29" fmla="*/ 2 h 6"/>
                  <a:gd name="T30" fmla="*/ 0 w 6"/>
                  <a:gd name="T31" fmla="*/ 4 h 6"/>
                  <a:gd name="T32" fmla="*/ 0 w 6"/>
                  <a:gd name="T33" fmla="*/ 4 h 6"/>
                  <a:gd name="T34" fmla="*/ 0 w 6"/>
                  <a:gd name="T35" fmla="*/ 6 h 6"/>
                  <a:gd name="T36" fmla="*/ 0 w 6"/>
                  <a:gd name="T37" fmla="*/ 6 h 6"/>
                  <a:gd name="T38" fmla="*/ 0 w 6"/>
                  <a:gd name="T39" fmla="*/ 6 h 6"/>
                  <a:gd name="T40" fmla="*/ 0 w 6"/>
                  <a:gd name="T41" fmla="*/ 6 h 6"/>
                  <a:gd name="T42" fmla="*/ 0 w 6"/>
                  <a:gd name="T4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" h="6">
                    <a:moveTo>
                      <a:pt x="0" y="6"/>
                    </a:moveTo>
                    <a:lnTo>
                      <a:pt x="0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52" name="Freeform 913"/>
              <p:cNvSpPr>
                <a:spLocks/>
              </p:cNvSpPr>
              <p:nvPr/>
            </p:nvSpPr>
            <p:spPr bwMode="auto">
              <a:xfrm>
                <a:off x="921" y="1556"/>
                <a:ext cx="10" cy="16"/>
              </a:xfrm>
              <a:custGeom>
                <a:avLst/>
                <a:gdLst>
                  <a:gd name="T0" fmla="*/ 6 w 10"/>
                  <a:gd name="T1" fmla="*/ 4 h 16"/>
                  <a:gd name="T2" fmla="*/ 6 w 10"/>
                  <a:gd name="T3" fmla="*/ 4 h 16"/>
                  <a:gd name="T4" fmla="*/ 6 w 10"/>
                  <a:gd name="T5" fmla="*/ 6 h 16"/>
                  <a:gd name="T6" fmla="*/ 6 w 10"/>
                  <a:gd name="T7" fmla="*/ 6 h 16"/>
                  <a:gd name="T8" fmla="*/ 2 w 10"/>
                  <a:gd name="T9" fmla="*/ 6 h 16"/>
                  <a:gd name="T10" fmla="*/ 2 w 10"/>
                  <a:gd name="T11" fmla="*/ 6 h 16"/>
                  <a:gd name="T12" fmla="*/ 0 w 10"/>
                  <a:gd name="T13" fmla="*/ 8 h 16"/>
                  <a:gd name="T14" fmla="*/ 0 w 10"/>
                  <a:gd name="T15" fmla="*/ 10 h 16"/>
                  <a:gd name="T16" fmla="*/ 2 w 10"/>
                  <a:gd name="T17" fmla="*/ 12 h 16"/>
                  <a:gd name="T18" fmla="*/ 2 w 10"/>
                  <a:gd name="T19" fmla="*/ 14 h 16"/>
                  <a:gd name="T20" fmla="*/ 2 w 10"/>
                  <a:gd name="T21" fmla="*/ 14 h 16"/>
                  <a:gd name="T22" fmla="*/ 2 w 10"/>
                  <a:gd name="T23" fmla="*/ 14 h 16"/>
                  <a:gd name="T24" fmla="*/ 6 w 10"/>
                  <a:gd name="T25" fmla="*/ 16 h 16"/>
                  <a:gd name="T26" fmla="*/ 8 w 10"/>
                  <a:gd name="T27" fmla="*/ 14 h 16"/>
                  <a:gd name="T28" fmla="*/ 8 w 10"/>
                  <a:gd name="T29" fmla="*/ 14 h 16"/>
                  <a:gd name="T30" fmla="*/ 8 w 10"/>
                  <a:gd name="T31" fmla="*/ 14 h 16"/>
                  <a:gd name="T32" fmla="*/ 10 w 10"/>
                  <a:gd name="T33" fmla="*/ 12 h 16"/>
                  <a:gd name="T34" fmla="*/ 10 w 10"/>
                  <a:gd name="T35" fmla="*/ 10 h 16"/>
                  <a:gd name="T36" fmla="*/ 10 w 10"/>
                  <a:gd name="T37" fmla="*/ 10 h 16"/>
                  <a:gd name="T38" fmla="*/ 10 w 10"/>
                  <a:gd name="T39" fmla="*/ 8 h 16"/>
                  <a:gd name="T40" fmla="*/ 10 w 10"/>
                  <a:gd name="T41" fmla="*/ 6 h 16"/>
                  <a:gd name="T42" fmla="*/ 10 w 10"/>
                  <a:gd name="T43" fmla="*/ 4 h 16"/>
                  <a:gd name="T44" fmla="*/ 8 w 10"/>
                  <a:gd name="T45" fmla="*/ 2 h 16"/>
                  <a:gd name="T46" fmla="*/ 8 w 10"/>
                  <a:gd name="T47" fmla="*/ 2 h 16"/>
                  <a:gd name="T48" fmla="*/ 8 w 10"/>
                  <a:gd name="T49" fmla="*/ 0 h 16"/>
                  <a:gd name="T50" fmla="*/ 8 w 10"/>
                  <a:gd name="T51" fmla="*/ 0 h 16"/>
                  <a:gd name="T52" fmla="*/ 6 w 10"/>
                  <a:gd name="T53" fmla="*/ 0 h 16"/>
                  <a:gd name="T54" fmla="*/ 6 w 10"/>
                  <a:gd name="T55" fmla="*/ 0 h 16"/>
                  <a:gd name="T56" fmla="*/ 6 w 10"/>
                  <a:gd name="T57" fmla="*/ 2 h 16"/>
                  <a:gd name="T58" fmla="*/ 2 w 10"/>
                  <a:gd name="T59" fmla="*/ 2 h 16"/>
                  <a:gd name="T60" fmla="*/ 6 w 10"/>
                  <a:gd name="T61" fmla="*/ 4 h 16"/>
                  <a:gd name="T62" fmla="*/ 6 w 10"/>
                  <a:gd name="T63" fmla="*/ 4 h 16"/>
                  <a:gd name="T64" fmla="*/ 6 w 10"/>
                  <a:gd name="T65" fmla="*/ 4 h 16"/>
                  <a:gd name="T66" fmla="*/ 6 w 10"/>
                  <a:gd name="T67" fmla="*/ 4 h 16"/>
                  <a:gd name="T68" fmla="*/ 6 w 10"/>
                  <a:gd name="T69" fmla="*/ 4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" h="16">
                    <a:moveTo>
                      <a:pt x="6" y="4"/>
                    </a:moveTo>
                    <a:lnTo>
                      <a:pt x="6" y="4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6" y="16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0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0" y="8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2"/>
                    </a:lnTo>
                    <a:lnTo>
                      <a:pt x="2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53" name="Freeform 915"/>
              <p:cNvSpPr>
                <a:spLocks/>
              </p:cNvSpPr>
              <p:nvPr/>
            </p:nvSpPr>
            <p:spPr bwMode="auto">
              <a:xfrm>
                <a:off x="935" y="1562"/>
                <a:ext cx="4" cy="6"/>
              </a:xfrm>
              <a:custGeom>
                <a:avLst/>
                <a:gdLst>
                  <a:gd name="T0" fmla="*/ 0 w 4"/>
                  <a:gd name="T1" fmla="*/ 6 h 6"/>
                  <a:gd name="T2" fmla="*/ 0 w 4"/>
                  <a:gd name="T3" fmla="*/ 6 h 6"/>
                  <a:gd name="T4" fmla="*/ 0 w 4"/>
                  <a:gd name="T5" fmla="*/ 6 h 6"/>
                  <a:gd name="T6" fmla="*/ 0 w 4"/>
                  <a:gd name="T7" fmla="*/ 6 h 6"/>
                  <a:gd name="T8" fmla="*/ 2 w 4"/>
                  <a:gd name="T9" fmla="*/ 4 h 6"/>
                  <a:gd name="T10" fmla="*/ 4 w 4"/>
                  <a:gd name="T11" fmla="*/ 4 h 6"/>
                  <a:gd name="T12" fmla="*/ 4 w 4"/>
                  <a:gd name="T13" fmla="*/ 4 h 6"/>
                  <a:gd name="T14" fmla="*/ 4 w 4"/>
                  <a:gd name="T15" fmla="*/ 2 h 6"/>
                  <a:gd name="T16" fmla="*/ 2 w 4"/>
                  <a:gd name="T17" fmla="*/ 2 h 6"/>
                  <a:gd name="T18" fmla="*/ 2 w 4"/>
                  <a:gd name="T19" fmla="*/ 0 h 6"/>
                  <a:gd name="T20" fmla="*/ 0 w 4"/>
                  <a:gd name="T21" fmla="*/ 0 h 6"/>
                  <a:gd name="T22" fmla="*/ 0 w 4"/>
                  <a:gd name="T23" fmla="*/ 0 h 6"/>
                  <a:gd name="T24" fmla="*/ 0 w 4"/>
                  <a:gd name="T25" fmla="*/ 0 h 6"/>
                  <a:gd name="T26" fmla="*/ 0 w 4"/>
                  <a:gd name="T27" fmla="*/ 0 h 6"/>
                  <a:gd name="T28" fmla="*/ 0 w 4"/>
                  <a:gd name="T29" fmla="*/ 2 h 6"/>
                  <a:gd name="T30" fmla="*/ 0 w 4"/>
                  <a:gd name="T31" fmla="*/ 6 h 6"/>
                  <a:gd name="T32" fmla="*/ 0 w 4"/>
                  <a:gd name="T33" fmla="*/ 6 h 6"/>
                  <a:gd name="T34" fmla="*/ 0 w 4"/>
                  <a:gd name="T35" fmla="*/ 6 h 6"/>
                  <a:gd name="T36" fmla="*/ 0 w 4"/>
                  <a:gd name="T37" fmla="*/ 6 h 6"/>
                  <a:gd name="T38" fmla="*/ 0 w 4"/>
                  <a:gd name="T3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" h="6">
                    <a:moveTo>
                      <a:pt x="0" y="6"/>
                    </a:move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54" name="Freeform 916"/>
              <p:cNvSpPr>
                <a:spLocks/>
              </p:cNvSpPr>
              <p:nvPr/>
            </p:nvSpPr>
            <p:spPr bwMode="auto">
              <a:xfrm>
                <a:off x="935" y="1562"/>
                <a:ext cx="4" cy="6"/>
              </a:xfrm>
              <a:custGeom>
                <a:avLst/>
                <a:gdLst>
                  <a:gd name="T0" fmla="*/ 0 w 4"/>
                  <a:gd name="T1" fmla="*/ 6 h 6"/>
                  <a:gd name="T2" fmla="*/ 0 w 4"/>
                  <a:gd name="T3" fmla="*/ 6 h 6"/>
                  <a:gd name="T4" fmla="*/ 0 w 4"/>
                  <a:gd name="T5" fmla="*/ 6 h 6"/>
                  <a:gd name="T6" fmla="*/ 0 w 4"/>
                  <a:gd name="T7" fmla="*/ 6 h 6"/>
                  <a:gd name="T8" fmla="*/ 2 w 4"/>
                  <a:gd name="T9" fmla="*/ 4 h 6"/>
                  <a:gd name="T10" fmla="*/ 4 w 4"/>
                  <a:gd name="T11" fmla="*/ 4 h 6"/>
                  <a:gd name="T12" fmla="*/ 4 w 4"/>
                  <a:gd name="T13" fmla="*/ 4 h 6"/>
                  <a:gd name="T14" fmla="*/ 4 w 4"/>
                  <a:gd name="T15" fmla="*/ 2 h 6"/>
                  <a:gd name="T16" fmla="*/ 2 w 4"/>
                  <a:gd name="T17" fmla="*/ 2 h 6"/>
                  <a:gd name="T18" fmla="*/ 2 w 4"/>
                  <a:gd name="T19" fmla="*/ 0 h 6"/>
                  <a:gd name="T20" fmla="*/ 0 w 4"/>
                  <a:gd name="T21" fmla="*/ 0 h 6"/>
                  <a:gd name="T22" fmla="*/ 0 w 4"/>
                  <a:gd name="T23" fmla="*/ 0 h 6"/>
                  <a:gd name="T24" fmla="*/ 0 w 4"/>
                  <a:gd name="T25" fmla="*/ 0 h 6"/>
                  <a:gd name="T26" fmla="*/ 0 w 4"/>
                  <a:gd name="T27" fmla="*/ 0 h 6"/>
                  <a:gd name="T28" fmla="*/ 0 w 4"/>
                  <a:gd name="T29" fmla="*/ 2 h 6"/>
                  <a:gd name="T30" fmla="*/ 0 w 4"/>
                  <a:gd name="T31" fmla="*/ 6 h 6"/>
                  <a:gd name="T32" fmla="*/ 0 w 4"/>
                  <a:gd name="T33" fmla="*/ 6 h 6"/>
                  <a:gd name="T34" fmla="*/ 0 w 4"/>
                  <a:gd name="T35" fmla="*/ 6 h 6"/>
                  <a:gd name="T36" fmla="*/ 0 w 4"/>
                  <a:gd name="T37" fmla="*/ 6 h 6"/>
                  <a:gd name="T38" fmla="*/ 0 w 4"/>
                  <a:gd name="T3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" h="6">
                    <a:moveTo>
                      <a:pt x="0" y="6"/>
                    </a:move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55" name="Freeform 917"/>
              <p:cNvSpPr>
                <a:spLocks/>
              </p:cNvSpPr>
              <p:nvPr/>
            </p:nvSpPr>
            <p:spPr bwMode="auto">
              <a:xfrm>
                <a:off x="911" y="1570"/>
                <a:ext cx="8" cy="20"/>
              </a:xfrm>
              <a:custGeom>
                <a:avLst/>
                <a:gdLst>
                  <a:gd name="T0" fmla="*/ 2 w 8"/>
                  <a:gd name="T1" fmla="*/ 6 h 20"/>
                  <a:gd name="T2" fmla="*/ 2 w 8"/>
                  <a:gd name="T3" fmla="*/ 6 h 20"/>
                  <a:gd name="T4" fmla="*/ 4 w 8"/>
                  <a:gd name="T5" fmla="*/ 8 h 20"/>
                  <a:gd name="T6" fmla="*/ 4 w 8"/>
                  <a:gd name="T7" fmla="*/ 8 h 20"/>
                  <a:gd name="T8" fmla="*/ 4 w 8"/>
                  <a:gd name="T9" fmla="*/ 10 h 20"/>
                  <a:gd name="T10" fmla="*/ 2 w 8"/>
                  <a:gd name="T11" fmla="*/ 10 h 20"/>
                  <a:gd name="T12" fmla="*/ 2 w 8"/>
                  <a:gd name="T13" fmla="*/ 10 h 20"/>
                  <a:gd name="T14" fmla="*/ 2 w 8"/>
                  <a:gd name="T15" fmla="*/ 12 h 20"/>
                  <a:gd name="T16" fmla="*/ 2 w 8"/>
                  <a:gd name="T17" fmla="*/ 12 h 20"/>
                  <a:gd name="T18" fmla="*/ 0 w 8"/>
                  <a:gd name="T19" fmla="*/ 16 h 20"/>
                  <a:gd name="T20" fmla="*/ 0 w 8"/>
                  <a:gd name="T21" fmla="*/ 16 h 20"/>
                  <a:gd name="T22" fmla="*/ 0 w 8"/>
                  <a:gd name="T23" fmla="*/ 16 h 20"/>
                  <a:gd name="T24" fmla="*/ 0 w 8"/>
                  <a:gd name="T25" fmla="*/ 18 h 20"/>
                  <a:gd name="T26" fmla="*/ 0 w 8"/>
                  <a:gd name="T27" fmla="*/ 20 h 20"/>
                  <a:gd name="T28" fmla="*/ 0 w 8"/>
                  <a:gd name="T29" fmla="*/ 20 h 20"/>
                  <a:gd name="T30" fmla="*/ 0 w 8"/>
                  <a:gd name="T31" fmla="*/ 20 h 20"/>
                  <a:gd name="T32" fmla="*/ 2 w 8"/>
                  <a:gd name="T33" fmla="*/ 20 h 20"/>
                  <a:gd name="T34" fmla="*/ 2 w 8"/>
                  <a:gd name="T35" fmla="*/ 20 h 20"/>
                  <a:gd name="T36" fmla="*/ 4 w 8"/>
                  <a:gd name="T37" fmla="*/ 20 h 20"/>
                  <a:gd name="T38" fmla="*/ 4 w 8"/>
                  <a:gd name="T39" fmla="*/ 20 h 20"/>
                  <a:gd name="T40" fmla="*/ 4 w 8"/>
                  <a:gd name="T41" fmla="*/ 20 h 20"/>
                  <a:gd name="T42" fmla="*/ 6 w 8"/>
                  <a:gd name="T43" fmla="*/ 18 h 20"/>
                  <a:gd name="T44" fmla="*/ 6 w 8"/>
                  <a:gd name="T45" fmla="*/ 16 h 20"/>
                  <a:gd name="T46" fmla="*/ 8 w 8"/>
                  <a:gd name="T47" fmla="*/ 14 h 20"/>
                  <a:gd name="T48" fmla="*/ 8 w 8"/>
                  <a:gd name="T49" fmla="*/ 12 h 20"/>
                  <a:gd name="T50" fmla="*/ 8 w 8"/>
                  <a:gd name="T51" fmla="*/ 12 h 20"/>
                  <a:gd name="T52" fmla="*/ 8 w 8"/>
                  <a:gd name="T53" fmla="*/ 8 h 20"/>
                  <a:gd name="T54" fmla="*/ 8 w 8"/>
                  <a:gd name="T55" fmla="*/ 6 h 20"/>
                  <a:gd name="T56" fmla="*/ 8 w 8"/>
                  <a:gd name="T57" fmla="*/ 6 h 20"/>
                  <a:gd name="T58" fmla="*/ 8 w 8"/>
                  <a:gd name="T59" fmla="*/ 2 h 20"/>
                  <a:gd name="T60" fmla="*/ 8 w 8"/>
                  <a:gd name="T61" fmla="*/ 0 h 20"/>
                  <a:gd name="T62" fmla="*/ 8 w 8"/>
                  <a:gd name="T63" fmla="*/ 0 h 20"/>
                  <a:gd name="T64" fmla="*/ 6 w 8"/>
                  <a:gd name="T65" fmla="*/ 0 h 20"/>
                  <a:gd name="T66" fmla="*/ 6 w 8"/>
                  <a:gd name="T67" fmla="*/ 0 h 20"/>
                  <a:gd name="T68" fmla="*/ 6 w 8"/>
                  <a:gd name="T69" fmla="*/ 0 h 20"/>
                  <a:gd name="T70" fmla="*/ 4 w 8"/>
                  <a:gd name="T71" fmla="*/ 0 h 20"/>
                  <a:gd name="T72" fmla="*/ 4 w 8"/>
                  <a:gd name="T73" fmla="*/ 0 h 20"/>
                  <a:gd name="T74" fmla="*/ 2 w 8"/>
                  <a:gd name="T75" fmla="*/ 2 h 20"/>
                  <a:gd name="T76" fmla="*/ 2 w 8"/>
                  <a:gd name="T77" fmla="*/ 2 h 20"/>
                  <a:gd name="T78" fmla="*/ 2 w 8"/>
                  <a:gd name="T79" fmla="*/ 4 h 20"/>
                  <a:gd name="T80" fmla="*/ 2 w 8"/>
                  <a:gd name="T81" fmla="*/ 6 h 20"/>
                  <a:gd name="T82" fmla="*/ 2 w 8"/>
                  <a:gd name="T83" fmla="*/ 6 h 20"/>
                  <a:gd name="T84" fmla="*/ 2 w 8"/>
                  <a:gd name="T85" fmla="*/ 6 h 20"/>
                  <a:gd name="T86" fmla="*/ 2 w 8"/>
                  <a:gd name="T87" fmla="*/ 6 h 20"/>
                  <a:gd name="T88" fmla="*/ 2 w 8"/>
                  <a:gd name="T89" fmla="*/ 6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8" h="20">
                    <a:moveTo>
                      <a:pt x="2" y="6"/>
                    </a:moveTo>
                    <a:lnTo>
                      <a:pt x="2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10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8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6" y="18"/>
                    </a:lnTo>
                    <a:lnTo>
                      <a:pt x="6" y="16"/>
                    </a:lnTo>
                    <a:lnTo>
                      <a:pt x="8" y="14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56" name="Freeform 919"/>
              <p:cNvSpPr>
                <a:spLocks/>
              </p:cNvSpPr>
              <p:nvPr/>
            </p:nvSpPr>
            <p:spPr bwMode="auto">
              <a:xfrm>
                <a:off x="923" y="1574"/>
                <a:ext cx="6" cy="12"/>
              </a:xfrm>
              <a:custGeom>
                <a:avLst/>
                <a:gdLst>
                  <a:gd name="T0" fmla="*/ 0 w 6"/>
                  <a:gd name="T1" fmla="*/ 4 h 12"/>
                  <a:gd name="T2" fmla="*/ 0 w 6"/>
                  <a:gd name="T3" fmla="*/ 4 h 12"/>
                  <a:gd name="T4" fmla="*/ 0 w 6"/>
                  <a:gd name="T5" fmla="*/ 6 h 12"/>
                  <a:gd name="T6" fmla="*/ 0 w 6"/>
                  <a:gd name="T7" fmla="*/ 6 h 12"/>
                  <a:gd name="T8" fmla="*/ 0 w 6"/>
                  <a:gd name="T9" fmla="*/ 8 h 12"/>
                  <a:gd name="T10" fmla="*/ 0 w 6"/>
                  <a:gd name="T11" fmla="*/ 10 h 12"/>
                  <a:gd name="T12" fmla="*/ 0 w 6"/>
                  <a:gd name="T13" fmla="*/ 10 h 12"/>
                  <a:gd name="T14" fmla="*/ 0 w 6"/>
                  <a:gd name="T15" fmla="*/ 12 h 12"/>
                  <a:gd name="T16" fmla="*/ 0 w 6"/>
                  <a:gd name="T17" fmla="*/ 12 h 12"/>
                  <a:gd name="T18" fmla="*/ 4 w 6"/>
                  <a:gd name="T19" fmla="*/ 10 h 12"/>
                  <a:gd name="T20" fmla="*/ 6 w 6"/>
                  <a:gd name="T21" fmla="*/ 10 h 12"/>
                  <a:gd name="T22" fmla="*/ 6 w 6"/>
                  <a:gd name="T23" fmla="*/ 8 h 12"/>
                  <a:gd name="T24" fmla="*/ 6 w 6"/>
                  <a:gd name="T25" fmla="*/ 8 h 12"/>
                  <a:gd name="T26" fmla="*/ 6 w 6"/>
                  <a:gd name="T27" fmla="*/ 8 h 12"/>
                  <a:gd name="T28" fmla="*/ 6 w 6"/>
                  <a:gd name="T29" fmla="*/ 6 h 12"/>
                  <a:gd name="T30" fmla="*/ 6 w 6"/>
                  <a:gd name="T31" fmla="*/ 4 h 12"/>
                  <a:gd name="T32" fmla="*/ 6 w 6"/>
                  <a:gd name="T33" fmla="*/ 2 h 12"/>
                  <a:gd name="T34" fmla="*/ 6 w 6"/>
                  <a:gd name="T35" fmla="*/ 2 h 12"/>
                  <a:gd name="T36" fmla="*/ 6 w 6"/>
                  <a:gd name="T37" fmla="*/ 2 h 12"/>
                  <a:gd name="T38" fmla="*/ 6 w 6"/>
                  <a:gd name="T39" fmla="*/ 0 h 12"/>
                  <a:gd name="T40" fmla="*/ 6 w 6"/>
                  <a:gd name="T41" fmla="*/ 0 h 12"/>
                  <a:gd name="T42" fmla="*/ 6 w 6"/>
                  <a:gd name="T43" fmla="*/ 0 h 12"/>
                  <a:gd name="T44" fmla="*/ 4 w 6"/>
                  <a:gd name="T45" fmla="*/ 2 h 12"/>
                  <a:gd name="T46" fmla="*/ 0 w 6"/>
                  <a:gd name="T47" fmla="*/ 4 h 12"/>
                  <a:gd name="T48" fmla="*/ 0 w 6"/>
                  <a:gd name="T49" fmla="*/ 4 h 12"/>
                  <a:gd name="T50" fmla="*/ 0 w 6"/>
                  <a:gd name="T51" fmla="*/ 4 h 12"/>
                  <a:gd name="T52" fmla="*/ 0 w 6"/>
                  <a:gd name="T53" fmla="*/ 4 h 12"/>
                  <a:gd name="T54" fmla="*/ 0 w 6"/>
                  <a:gd name="T55" fmla="*/ 4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6" h="12">
                    <a:moveTo>
                      <a:pt x="0" y="4"/>
                    </a:move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57" name="Freeform 921"/>
              <p:cNvSpPr>
                <a:spLocks/>
              </p:cNvSpPr>
              <p:nvPr/>
            </p:nvSpPr>
            <p:spPr bwMode="auto">
              <a:xfrm>
                <a:off x="917" y="1596"/>
                <a:ext cx="12" cy="12"/>
              </a:xfrm>
              <a:custGeom>
                <a:avLst/>
                <a:gdLst>
                  <a:gd name="T0" fmla="*/ 4 w 12"/>
                  <a:gd name="T1" fmla="*/ 2 h 12"/>
                  <a:gd name="T2" fmla="*/ 4 w 12"/>
                  <a:gd name="T3" fmla="*/ 2 h 12"/>
                  <a:gd name="T4" fmla="*/ 4 w 12"/>
                  <a:gd name="T5" fmla="*/ 4 h 12"/>
                  <a:gd name="T6" fmla="*/ 4 w 12"/>
                  <a:gd name="T7" fmla="*/ 4 h 12"/>
                  <a:gd name="T8" fmla="*/ 2 w 12"/>
                  <a:gd name="T9" fmla="*/ 4 h 12"/>
                  <a:gd name="T10" fmla="*/ 2 w 12"/>
                  <a:gd name="T11" fmla="*/ 2 h 12"/>
                  <a:gd name="T12" fmla="*/ 2 w 12"/>
                  <a:gd name="T13" fmla="*/ 2 h 12"/>
                  <a:gd name="T14" fmla="*/ 0 w 12"/>
                  <a:gd name="T15" fmla="*/ 2 h 12"/>
                  <a:gd name="T16" fmla="*/ 0 w 12"/>
                  <a:gd name="T17" fmla="*/ 2 h 12"/>
                  <a:gd name="T18" fmla="*/ 0 w 12"/>
                  <a:gd name="T19" fmla="*/ 2 h 12"/>
                  <a:gd name="T20" fmla="*/ 0 w 12"/>
                  <a:gd name="T21" fmla="*/ 4 h 12"/>
                  <a:gd name="T22" fmla="*/ 0 w 12"/>
                  <a:gd name="T23" fmla="*/ 6 h 12"/>
                  <a:gd name="T24" fmla="*/ 2 w 12"/>
                  <a:gd name="T25" fmla="*/ 8 h 12"/>
                  <a:gd name="T26" fmla="*/ 2 w 12"/>
                  <a:gd name="T27" fmla="*/ 8 h 12"/>
                  <a:gd name="T28" fmla="*/ 2 w 12"/>
                  <a:gd name="T29" fmla="*/ 10 h 12"/>
                  <a:gd name="T30" fmla="*/ 4 w 12"/>
                  <a:gd name="T31" fmla="*/ 10 h 12"/>
                  <a:gd name="T32" fmla="*/ 4 w 12"/>
                  <a:gd name="T33" fmla="*/ 10 h 12"/>
                  <a:gd name="T34" fmla="*/ 4 w 12"/>
                  <a:gd name="T35" fmla="*/ 12 h 12"/>
                  <a:gd name="T36" fmla="*/ 4 w 12"/>
                  <a:gd name="T37" fmla="*/ 12 h 12"/>
                  <a:gd name="T38" fmla="*/ 4 w 12"/>
                  <a:gd name="T39" fmla="*/ 12 h 12"/>
                  <a:gd name="T40" fmla="*/ 4 w 12"/>
                  <a:gd name="T41" fmla="*/ 12 h 12"/>
                  <a:gd name="T42" fmla="*/ 6 w 12"/>
                  <a:gd name="T43" fmla="*/ 12 h 12"/>
                  <a:gd name="T44" fmla="*/ 6 w 12"/>
                  <a:gd name="T45" fmla="*/ 12 h 12"/>
                  <a:gd name="T46" fmla="*/ 10 w 12"/>
                  <a:gd name="T47" fmla="*/ 12 h 12"/>
                  <a:gd name="T48" fmla="*/ 10 w 12"/>
                  <a:gd name="T49" fmla="*/ 10 h 12"/>
                  <a:gd name="T50" fmla="*/ 10 w 12"/>
                  <a:gd name="T51" fmla="*/ 10 h 12"/>
                  <a:gd name="T52" fmla="*/ 10 w 12"/>
                  <a:gd name="T53" fmla="*/ 8 h 12"/>
                  <a:gd name="T54" fmla="*/ 12 w 12"/>
                  <a:gd name="T55" fmla="*/ 6 h 12"/>
                  <a:gd name="T56" fmla="*/ 10 w 12"/>
                  <a:gd name="T57" fmla="*/ 4 h 12"/>
                  <a:gd name="T58" fmla="*/ 10 w 12"/>
                  <a:gd name="T59" fmla="*/ 2 h 12"/>
                  <a:gd name="T60" fmla="*/ 10 w 12"/>
                  <a:gd name="T61" fmla="*/ 2 h 12"/>
                  <a:gd name="T62" fmla="*/ 6 w 12"/>
                  <a:gd name="T63" fmla="*/ 0 h 12"/>
                  <a:gd name="T64" fmla="*/ 6 w 12"/>
                  <a:gd name="T65" fmla="*/ 0 h 12"/>
                  <a:gd name="T66" fmla="*/ 6 w 12"/>
                  <a:gd name="T67" fmla="*/ 0 h 12"/>
                  <a:gd name="T68" fmla="*/ 6 w 12"/>
                  <a:gd name="T69" fmla="*/ 0 h 12"/>
                  <a:gd name="T70" fmla="*/ 4 w 12"/>
                  <a:gd name="T71" fmla="*/ 0 h 12"/>
                  <a:gd name="T72" fmla="*/ 4 w 12"/>
                  <a:gd name="T73" fmla="*/ 2 h 12"/>
                  <a:gd name="T74" fmla="*/ 4 w 12"/>
                  <a:gd name="T75" fmla="*/ 2 h 12"/>
                  <a:gd name="T76" fmla="*/ 4 w 12"/>
                  <a:gd name="T77" fmla="*/ 2 h 12"/>
                  <a:gd name="T78" fmla="*/ 4 w 12"/>
                  <a:gd name="T79" fmla="*/ 2 h 12"/>
                  <a:gd name="T80" fmla="*/ 4 w 12"/>
                  <a:gd name="T81" fmla="*/ 2 h 12"/>
                  <a:gd name="T82" fmla="*/ 4 w 12"/>
                  <a:gd name="T83" fmla="*/ 2 h 12"/>
                  <a:gd name="T84" fmla="*/ 4 w 12"/>
                  <a:gd name="T85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" h="12">
                    <a:moveTo>
                      <a:pt x="4" y="2"/>
                    </a:moveTo>
                    <a:lnTo>
                      <a:pt x="4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4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0" y="8"/>
                    </a:lnTo>
                    <a:lnTo>
                      <a:pt x="12" y="6"/>
                    </a:lnTo>
                    <a:lnTo>
                      <a:pt x="10" y="4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58" name="Freeform 922"/>
              <p:cNvSpPr>
                <a:spLocks/>
              </p:cNvSpPr>
              <p:nvPr/>
            </p:nvSpPr>
            <p:spPr bwMode="auto">
              <a:xfrm>
                <a:off x="917" y="1596"/>
                <a:ext cx="12" cy="12"/>
              </a:xfrm>
              <a:custGeom>
                <a:avLst/>
                <a:gdLst>
                  <a:gd name="T0" fmla="*/ 4 w 12"/>
                  <a:gd name="T1" fmla="*/ 2 h 12"/>
                  <a:gd name="T2" fmla="*/ 4 w 12"/>
                  <a:gd name="T3" fmla="*/ 2 h 12"/>
                  <a:gd name="T4" fmla="*/ 4 w 12"/>
                  <a:gd name="T5" fmla="*/ 4 h 12"/>
                  <a:gd name="T6" fmla="*/ 4 w 12"/>
                  <a:gd name="T7" fmla="*/ 4 h 12"/>
                  <a:gd name="T8" fmla="*/ 2 w 12"/>
                  <a:gd name="T9" fmla="*/ 4 h 12"/>
                  <a:gd name="T10" fmla="*/ 2 w 12"/>
                  <a:gd name="T11" fmla="*/ 2 h 12"/>
                  <a:gd name="T12" fmla="*/ 2 w 12"/>
                  <a:gd name="T13" fmla="*/ 2 h 12"/>
                  <a:gd name="T14" fmla="*/ 0 w 12"/>
                  <a:gd name="T15" fmla="*/ 2 h 12"/>
                  <a:gd name="T16" fmla="*/ 0 w 12"/>
                  <a:gd name="T17" fmla="*/ 2 h 12"/>
                  <a:gd name="T18" fmla="*/ 0 w 12"/>
                  <a:gd name="T19" fmla="*/ 2 h 12"/>
                  <a:gd name="T20" fmla="*/ 0 w 12"/>
                  <a:gd name="T21" fmla="*/ 4 h 12"/>
                  <a:gd name="T22" fmla="*/ 0 w 12"/>
                  <a:gd name="T23" fmla="*/ 6 h 12"/>
                  <a:gd name="T24" fmla="*/ 2 w 12"/>
                  <a:gd name="T25" fmla="*/ 8 h 12"/>
                  <a:gd name="T26" fmla="*/ 2 w 12"/>
                  <a:gd name="T27" fmla="*/ 8 h 12"/>
                  <a:gd name="T28" fmla="*/ 2 w 12"/>
                  <a:gd name="T29" fmla="*/ 10 h 12"/>
                  <a:gd name="T30" fmla="*/ 4 w 12"/>
                  <a:gd name="T31" fmla="*/ 10 h 12"/>
                  <a:gd name="T32" fmla="*/ 4 w 12"/>
                  <a:gd name="T33" fmla="*/ 10 h 12"/>
                  <a:gd name="T34" fmla="*/ 4 w 12"/>
                  <a:gd name="T35" fmla="*/ 12 h 12"/>
                  <a:gd name="T36" fmla="*/ 4 w 12"/>
                  <a:gd name="T37" fmla="*/ 12 h 12"/>
                  <a:gd name="T38" fmla="*/ 4 w 12"/>
                  <a:gd name="T39" fmla="*/ 12 h 12"/>
                  <a:gd name="T40" fmla="*/ 4 w 12"/>
                  <a:gd name="T41" fmla="*/ 12 h 12"/>
                  <a:gd name="T42" fmla="*/ 6 w 12"/>
                  <a:gd name="T43" fmla="*/ 12 h 12"/>
                  <a:gd name="T44" fmla="*/ 6 w 12"/>
                  <a:gd name="T45" fmla="*/ 12 h 12"/>
                  <a:gd name="T46" fmla="*/ 10 w 12"/>
                  <a:gd name="T47" fmla="*/ 12 h 12"/>
                  <a:gd name="T48" fmla="*/ 10 w 12"/>
                  <a:gd name="T49" fmla="*/ 10 h 12"/>
                  <a:gd name="T50" fmla="*/ 10 w 12"/>
                  <a:gd name="T51" fmla="*/ 10 h 12"/>
                  <a:gd name="T52" fmla="*/ 10 w 12"/>
                  <a:gd name="T53" fmla="*/ 8 h 12"/>
                  <a:gd name="T54" fmla="*/ 12 w 12"/>
                  <a:gd name="T55" fmla="*/ 6 h 12"/>
                  <a:gd name="T56" fmla="*/ 10 w 12"/>
                  <a:gd name="T57" fmla="*/ 4 h 12"/>
                  <a:gd name="T58" fmla="*/ 10 w 12"/>
                  <a:gd name="T59" fmla="*/ 2 h 12"/>
                  <a:gd name="T60" fmla="*/ 10 w 12"/>
                  <a:gd name="T61" fmla="*/ 2 h 12"/>
                  <a:gd name="T62" fmla="*/ 6 w 12"/>
                  <a:gd name="T63" fmla="*/ 0 h 12"/>
                  <a:gd name="T64" fmla="*/ 6 w 12"/>
                  <a:gd name="T65" fmla="*/ 0 h 12"/>
                  <a:gd name="T66" fmla="*/ 6 w 12"/>
                  <a:gd name="T67" fmla="*/ 0 h 12"/>
                  <a:gd name="T68" fmla="*/ 6 w 12"/>
                  <a:gd name="T69" fmla="*/ 0 h 12"/>
                  <a:gd name="T70" fmla="*/ 4 w 12"/>
                  <a:gd name="T71" fmla="*/ 0 h 12"/>
                  <a:gd name="T72" fmla="*/ 4 w 12"/>
                  <a:gd name="T73" fmla="*/ 2 h 12"/>
                  <a:gd name="T74" fmla="*/ 4 w 12"/>
                  <a:gd name="T75" fmla="*/ 2 h 12"/>
                  <a:gd name="T76" fmla="*/ 4 w 12"/>
                  <a:gd name="T77" fmla="*/ 2 h 12"/>
                  <a:gd name="T78" fmla="*/ 4 w 12"/>
                  <a:gd name="T79" fmla="*/ 2 h 12"/>
                  <a:gd name="T80" fmla="*/ 4 w 12"/>
                  <a:gd name="T81" fmla="*/ 2 h 12"/>
                  <a:gd name="T82" fmla="*/ 4 w 12"/>
                  <a:gd name="T83" fmla="*/ 2 h 12"/>
                  <a:gd name="T84" fmla="*/ 4 w 12"/>
                  <a:gd name="T85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" h="12">
                    <a:moveTo>
                      <a:pt x="4" y="2"/>
                    </a:moveTo>
                    <a:lnTo>
                      <a:pt x="4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4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0" y="8"/>
                    </a:lnTo>
                    <a:lnTo>
                      <a:pt x="12" y="6"/>
                    </a:lnTo>
                    <a:lnTo>
                      <a:pt x="10" y="4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59" name="Freeform 923"/>
              <p:cNvSpPr>
                <a:spLocks/>
              </p:cNvSpPr>
              <p:nvPr/>
            </p:nvSpPr>
            <p:spPr bwMode="auto">
              <a:xfrm>
                <a:off x="929" y="1588"/>
                <a:ext cx="6" cy="18"/>
              </a:xfrm>
              <a:custGeom>
                <a:avLst/>
                <a:gdLst>
                  <a:gd name="T0" fmla="*/ 0 w 6"/>
                  <a:gd name="T1" fmla="*/ 0 h 18"/>
                  <a:gd name="T2" fmla="*/ 0 w 6"/>
                  <a:gd name="T3" fmla="*/ 0 h 18"/>
                  <a:gd name="T4" fmla="*/ 0 w 6"/>
                  <a:gd name="T5" fmla="*/ 2 h 18"/>
                  <a:gd name="T6" fmla="*/ 0 w 6"/>
                  <a:gd name="T7" fmla="*/ 2 h 18"/>
                  <a:gd name="T8" fmla="*/ 0 w 6"/>
                  <a:gd name="T9" fmla="*/ 6 h 18"/>
                  <a:gd name="T10" fmla="*/ 0 w 6"/>
                  <a:gd name="T11" fmla="*/ 6 h 18"/>
                  <a:gd name="T12" fmla="*/ 2 w 6"/>
                  <a:gd name="T13" fmla="*/ 12 h 18"/>
                  <a:gd name="T14" fmla="*/ 2 w 6"/>
                  <a:gd name="T15" fmla="*/ 18 h 18"/>
                  <a:gd name="T16" fmla="*/ 2 w 6"/>
                  <a:gd name="T17" fmla="*/ 18 h 18"/>
                  <a:gd name="T18" fmla="*/ 2 w 6"/>
                  <a:gd name="T19" fmla="*/ 18 h 18"/>
                  <a:gd name="T20" fmla="*/ 4 w 6"/>
                  <a:gd name="T21" fmla="*/ 18 h 18"/>
                  <a:gd name="T22" fmla="*/ 4 w 6"/>
                  <a:gd name="T23" fmla="*/ 16 h 18"/>
                  <a:gd name="T24" fmla="*/ 4 w 6"/>
                  <a:gd name="T25" fmla="*/ 16 h 18"/>
                  <a:gd name="T26" fmla="*/ 4 w 6"/>
                  <a:gd name="T27" fmla="*/ 14 h 18"/>
                  <a:gd name="T28" fmla="*/ 4 w 6"/>
                  <a:gd name="T29" fmla="*/ 12 h 18"/>
                  <a:gd name="T30" fmla="*/ 4 w 6"/>
                  <a:gd name="T31" fmla="*/ 12 h 18"/>
                  <a:gd name="T32" fmla="*/ 4 w 6"/>
                  <a:gd name="T33" fmla="*/ 8 h 18"/>
                  <a:gd name="T34" fmla="*/ 4 w 6"/>
                  <a:gd name="T35" fmla="*/ 6 h 18"/>
                  <a:gd name="T36" fmla="*/ 6 w 6"/>
                  <a:gd name="T37" fmla="*/ 6 h 18"/>
                  <a:gd name="T38" fmla="*/ 6 w 6"/>
                  <a:gd name="T39" fmla="*/ 6 h 18"/>
                  <a:gd name="T40" fmla="*/ 6 w 6"/>
                  <a:gd name="T41" fmla="*/ 4 h 18"/>
                  <a:gd name="T42" fmla="*/ 6 w 6"/>
                  <a:gd name="T43" fmla="*/ 2 h 18"/>
                  <a:gd name="T44" fmla="*/ 6 w 6"/>
                  <a:gd name="T45" fmla="*/ 2 h 18"/>
                  <a:gd name="T46" fmla="*/ 6 w 6"/>
                  <a:gd name="T47" fmla="*/ 2 h 18"/>
                  <a:gd name="T48" fmla="*/ 6 w 6"/>
                  <a:gd name="T49" fmla="*/ 0 h 18"/>
                  <a:gd name="T50" fmla="*/ 4 w 6"/>
                  <a:gd name="T51" fmla="*/ 0 h 18"/>
                  <a:gd name="T52" fmla="*/ 2 w 6"/>
                  <a:gd name="T53" fmla="*/ 0 h 18"/>
                  <a:gd name="T54" fmla="*/ 0 w 6"/>
                  <a:gd name="T55" fmla="*/ 0 h 18"/>
                  <a:gd name="T56" fmla="*/ 0 w 6"/>
                  <a:gd name="T57" fmla="*/ 0 h 18"/>
                  <a:gd name="T58" fmla="*/ 0 w 6"/>
                  <a:gd name="T59" fmla="*/ 0 h 18"/>
                  <a:gd name="T60" fmla="*/ 0 w 6"/>
                  <a:gd name="T61" fmla="*/ 0 h 18"/>
                  <a:gd name="T62" fmla="*/ 0 w 6"/>
                  <a:gd name="T6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6" h="18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4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60" name="Freeform 924"/>
              <p:cNvSpPr>
                <a:spLocks/>
              </p:cNvSpPr>
              <p:nvPr/>
            </p:nvSpPr>
            <p:spPr bwMode="auto">
              <a:xfrm>
                <a:off x="929" y="1588"/>
                <a:ext cx="6" cy="18"/>
              </a:xfrm>
              <a:custGeom>
                <a:avLst/>
                <a:gdLst>
                  <a:gd name="T0" fmla="*/ 0 w 6"/>
                  <a:gd name="T1" fmla="*/ 0 h 18"/>
                  <a:gd name="T2" fmla="*/ 0 w 6"/>
                  <a:gd name="T3" fmla="*/ 0 h 18"/>
                  <a:gd name="T4" fmla="*/ 0 w 6"/>
                  <a:gd name="T5" fmla="*/ 2 h 18"/>
                  <a:gd name="T6" fmla="*/ 0 w 6"/>
                  <a:gd name="T7" fmla="*/ 2 h 18"/>
                  <a:gd name="T8" fmla="*/ 0 w 6"/>
                  <a:gd name="T9" fmla="*/ 6 h 18"/>
                  <a:gd name="T10" fmla="*/ 0 w 6"/>
                  <a:gd name="T11" fmla="*/ 6 h 18"/>
                  <a:gd name="T12" fmla="*/ 2 w 6"/>
                  <a:gd name="T13" fmla="*/ 12 h 18"/>
                  <a:gd name="T14" fmla="*/ 2 w 6"/>
                  <a:gd name="T15" fmla="*/ 18 h 18"/>
                  <a:gd name="T16" fmla="*/ 2 w 6"/>
                  <a:gd name="T17" fmla="*/ 18 h 18"/>
                  <a:gd name="T18" fmla="*/ 2 w 6"/>
                  <a:gd name="T19" fmla="*/ 18 h 18"/>
                  <a:gd name="T20" fmla="*/ 4 w 6"/>
                  <a:gd name="T21" fmla="*/ 18 h 18"/>
                  <a:gd name="T22" fmla="*/ 4 w 6"/>
                  <a:gd name="T23" fmla="*/ 16 h 18"/>
                  <a:gd name="T24" fmla="*/ 4 w 6"/>
                  <a:gd name="T25" fmla="*/ 16 h 18"/>
                  <a:gd name="T26" fmla="*/ 4 w 6"/>
                  <a:gd name="T27" fmla="*/ 14 h 18"/>
                  <a:gd name="T28" fmla="*/ 4 w 6"/>
                  <a:gd name="T29" fmla="*/ 12 h 18"/>
                  <a:gd name="T30" fmla="*/ 4 w 6"/>
                  <a:gd name="T31" fmla="*/ 12 h 18"/>
                  <a:gd name="T32" fmla="*/ 4 w 6"/>
                  <a:gd name="T33" fmla="*/ 8 h 18"/>
                  <a:gd name="T34" fmla="*/ 4 w 6"/>
                  <a:gd name="T35" fmla="*/ 6 h 18"/>
                  <a:gd name="T36" fmla="*/ 6 w 6"/>
                  <a:gd name="T37" fmla="*/ 6 h 18"/>
                  <a:gd name="T38" fmla="*/ 6 w 6"/>
                  <a:gd name="T39" fmla="*/ 6 h 18"/>
                  <a:gd name="T40" fmla="*/ 6 w 6"/>
                  <a:gd name="T41" fmla="*/ 4 h 18"/>
                  <a:gd name="T42" fmla="*/ 6 w 6"/>
                  <a:gd name="T43" fmla="*/ 2 h 18"/>
                  <a:gd name="T44" fmla="*/ 6 w 6"/>
                  <a:gd name="T45" fmla="*/ 2 h 18"/>
                  <a:gd name="T46" fmla="*/ 6 w 6"/>
                  <a:gd name="T47" fmla="*/ 2 h 18"/>
                  <a:gd name="T48" fmla="*/ 6 w 6"/>
                  <a:gd name="T49" fmla="*/ 0 h 18"/>
                  <a:gd name="T50" fmla="*/ 4 w 6"/>
                  <a:gd name="T51" fmla="*/ 0 h 18"/>
                  <a:gd name="T52" fmla="*/ 2 w 6"/>
                  <a:gd name="T53" fmla="*/ 0 h 18"/>
                  <a:gd name="T54" fmla="*/ 0 w 6"/>
                  <a:gd name="T55" fmla="*/ 0 h 18"/>
                  <a:gd name="T56" fmla="*/ 0 w 6"/>
                  <a:gd name="T57" fmla="*/ 0 h 18"/>
                  <a:gd name="T58" fmla="*/ 0 w 6"/>
                  <a:gd name="T59" fmla="*/ 0 h 18"/>
                  <a:gd name="T60" fmla="*/ 0 w 6"/>
                  <a:gd name="T61" fmla="*/ 0 h 18"/>
                  <a:gd name="T62" fmla="*/ 0 w 6"/>
                  <a:gd name="T6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6" h="18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4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61" name="Freeform 925"/>
              <p:cNvSpPr>
                <a:spLocks/>
              </p:cNvSpPr>
              <p:nvPr/>
            </p:nvSpPr>
            <p:spPr bwMode="auto">
              <a:xfrm>
                <a:off x="921" y="1610"/>
                <a:ext cx="14" cy="32"/>
              </a:xfrm>
              <a:custGeom>
                <a:avLst/>
                <a:gdLst>
                  <a:gd name="T0" fmla="*/ 0 w 14"/>
                  <a:gd name="T1" fmla="*/ 2 h 32"/>
                  <a:gd name="T2" fmla="*/ 0 w 14"/>
                  <a:gd name="T3" fmla="*/ 2 h 32"/>
                  <a:gd name="T4" fmla="*/ 0 w 14"/>
                  <a:gd name="T5" fmla="*/ 2 h 32"/>
                  <a:gd name="T6" fmla="*/ 0 w 14"/>
                  <a:gd name="T7" fmla="*/ 2 h 32"/>
                  <a:gd name="T8" fmla="*/ 0 w 14"/>
                  <a:gd name="T9" fmla="*/ 4 h 32"/>
                  <a:gd name="T10" fmla="*/ 0 w 14"/>
                  <a:gd name="T11" fmla="*/ 4 h 32"/>
                  <a:gd name="T12" fmla="*/ 2 w 14"/>
                  <a:gd name="T13" fmla="*/ 6 h 32"/>
                  <a:gd name="T14" fmla="*/ 6 w 14"/>
                  <a:gd name="T15" fmla="*/ 6 h 32"/>
                  <a:gd name="T16" fmla="*/ 6 w 14"/>
                  <a:gd name="T17" fmla="*/ 6 h 32"/>
                  <a:gd name="T18" fmla="*/ 6 w 14"/>
                  <a:gd name="T19" fmla="*/ 10 h 32"/>
                  <a:gd name="T20" fmla="*/ 6 w 14"/>
                  <a:gd name="T21" fmla="*/ 12 h 32"/>
                  <a:gd name="T22" fmla="*/ 2 w 14"/>
                  <a:gd name="T23" fmla="*/ 16 h 32"/>
                  <a:gd name="T24" fmla="*/ 2 w 14"/>
                  <a:gd name="T25" fmla="*/ 16 h 32"/>
                  <a:gd name="T26" fmla="*/ 2 w 14"/>
                  <a:gd name="T27" fmla="*/ 20 h 32"/>
                  <a:gd name="T28" fmla="*/ 2 w 14"/>
                  <a:gd name="T29" fmla="*/ 22 h 32"/>
                  <a:gd name="T30" fmla="*/ 2 w 14"/>
                  <a:gd name="T31" fmla="*/ 22 h 32"/>
                  <a:gd name="T32" fmla="*/ 2 w 14"/>
                  <a:gd name="T33" fmla="*/ 24 h 32"/>
                  <a:gd name="T34" fmla="*/ 6 w 14"/>
                  <a:gd name="T35" fmla="*/ 26 h 32"/>
                  <a:gd name="T36" fmla="*/ 6 w 14"/>
                  <a:gd name="T37" fmla="*/ 26 h 32"/>
                  <a:gd name="T38" fmla="*/ 8 w 14"/>
                  <a:gd name="T39" fmla="*/ 30 h 32"/>
                  <a:gd name="T40" fmla="*/ 8 w 14"/>
                  <a:gd name="T41" fmla="*/ 30 h 32"/>
                  <a:gd name="T42" fmla="*/ 8 w 14"/>
                  <a:gd name="T43" fmla="*/ 32 h 32"/>
                  <a:gd name="T44" fmla="*/ 8 w 14"/>
                  <a:gd name="T45" fmla="*/ 32 h 32"/>
                  <a:gd name="T46" fmla="*/ 8 w 14"/>
                  <a:gd name="T47" fmla="*/ 30 h 32"/>
                  <a:gd name="T48" fmla="*/ 10 w 14"/>
                  <a:gd name="T49" fmla="*/ 30 h 32"/>
                  <a:gd name="T50" fmla="*/ 10 w 14"/>
                  <a:gd name="T51" fmla="*/ 30 h 32"/>
                  <a:gd name="T52" fmla="*/ 12 w 14"/>
                  <a:gd name="T53" fmla="*/ 28 h 32"/>
                  <a:gd name="T54" fmla="*/ 12 w 14"/>
                  <a:gd name="T55" fmla="*/ 28 h 32"/>
                  <a:gd name="T56" fmla="*/ 12 w 14"/>
                  <a:gd name="T57" fmla="*/ 26 h 32"/>
                  <a:gd name="T58" fmla="*/ 12 w 14"/>
                  <a:gd name="T59" fmla="*/ 24 h 32"/>
                  <a:gd name="T60" fmla="*/ 12 w 14"/>
                  <a:gd name="T61" fmla="*/ 24 h 32"/>
                  <a:gd name="T62" fmla="*/ 12 w 14"/>
                  <a:gd name="T63" fmla="*/ 24 h 32"/>
                  <a:gd name="T64" fmla="*/ 12 w 14"/>
                  <a:gd name="T65" fmla="*/ 22 h 32"/>
                  <a:gd name="T66" fmla="*/ 12 w 14"/>
                  <a:gd name="T67" fmla="*/ 22 h 32"/>
                  <a:gd name="T68" fmla="*/ 12 w 14"/>
                  <a:gd name="T69" fmla="*/ 22 h 32"/>
                  <a:gd name="T70" fmla="*/ 12 w 14"/>
                  <a:gd name="T71" fmla="*/ 22 h 32"/>
                  <a:gd name="T72" fmla="*/ 12 w 14"/>
                  <a:gd name="T73" fmla="*/ 22 h 32"/>
                  <a:gd name="T74" fmla="*/ 14 w 14"/>
                  <a:gd name="T75" fmla="*/ 20 h 32"/>
                  <a:gd name="T76" fmla="*/ 14 w 14"/>
                  <a:gd name="T77" fmla="*/ 20 h 32"/>
                  <a:gd name="T78" fmla="*/ 14 w 14"/>
                  <a:gd name="T79" fmla="*/ 18 h 32"/>
                  <a:gd name="T80" fmla="*/ 14 w 14"/>
                  <a:gd name="T81" fmla="*/ 18 h 32"/>
                  <a:gd name="T82" fmla="*/ 12 w 14"/>
                  <a:gd name="T83" fmla="*/ 16 h 32"/>
                  <a:gd name="T84" fmla="*/ 12 w 14"/>
                  <a:gd name="T85" fmla="*/ 16 h 32"/>
                  <a:gd name="T86" fmla="*/ 10 w 14"/>
                  <a:gd name="T87" fmla="*/ 14 h 32"/>
                  <a:gd name="T88" fmla="*/ 10 w 14"/>
                  <a:gd name="T89" fmla="*/ 14 h 32"/>
                  <a:gd name="T90" fmla="*/ 10 w 14"/>
                  <a:gd name="T91" fmla="*/ 14 h 32"/>
                  <a:gd name="T92" fmla="*/ 12 w 14"/>
                  <a:gd name="T93" fmla="*/ 12 h 32"/>
                  <a:gd name="T94" fmla="*/ 12 w 14"/>
                  <a:gd name="T95" fmla="*/ 10 h 32"/>
                  <a:gd name="T96" fmla="*/ 12 w 14"/>
                  <a:gd name="T97" fmla="*/ 8 h 32"/>
                  <a:gd name="T98" fmla="*/ 12 w 14"/>
                  <a:gd name="T99" fmla="*/ 8 h 32"/>
                  <a:gd name="T100" fmla="*/ 12 w 14"/>
                  <a:gd name="T101" fmla="*/ 6 h 32"/>
                  <a:gd name="T102" fmla="*/ 10 w 14"/>
                  <a:gd name="T103" fmla="*/ 4 h 32"/>
                  <a:gd name="T104" fmla="*/ 10 w 14"/>
                  <a:gd name="T105" fmla="*/ 4 h 32"/>
                  <a:gd name="T106" fmla="*/ 8 w 14"/>
                  <a:gd name="T107" fmla="*/ 2 h 32"/>
                  <a:gd name="T108" fmla="*/ 8 w 14"/>
                  <a:gd name="T109" fmla="*/ 0 h 32"/>
                  <a:gd name="T110" fmla="*/ 6 w 14"/>
                  <a:gd name="T111" fmla="*/ 0 h 32"/>
                  <a:gd name="T112" fmla="*/ 2 w 14"/>
                  <a:gd name="T113" fmla="*/ 0 h 32"/>
                  <a:gd name="T114" fmla="*/ 0 w 14"/>
                  <a:gd name="T115" fmla="*/ 2 h 32"/>
                  <a:gd name="T116" fmla="*/ 0 w 14"/>
                  <a:gd name="T117" fmla="*/ 2 h 32"/>
                  <a:gd name="T118" fmla="*/ 0 w 14"/>
                  <a:gd name="T119" fmla="*/ 2 h 32"/>
                  <a:gd name="T120" fmla="*/ 0 w 14"/>
                  <a:gd name="T121" fmla="*/ 2 h 32"/>
                  <a:gd name="T122" fmla="*/ 0 w 14"/>
                  <a:gd name="T123" fmla="*/ 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4" h="32">
                    <a:moveTo>
                      <a:pt x="0" y="2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10"/>
                    </a:lnTo>
                    <a:lnTo>
                      <a:pt x="6" y="12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20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4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6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2" y="12"/>
                    </a:lnTo>
                    <a:lnTo>
                      <a:pt x="12" y="10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6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8" y="2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62" name="Freeform 926"/>
              <p:cNvSpPr>
                <a:spLocks/>
              </p:cNvSpPr>
              <p:nvPr/>
            </p:nvSpPr>
            <p:spPr bwMode="auto">
              <a:xfrm>
                <a:off x="921" y="1610"/>
                <a:ext cx="14" cy="32"/>
              </a:xfrm>
              <a:custGeom>
                <a:avLst/>
                <a:gdLst>
                  <a:gd name="T0" fmla="*/ 0 w 14"/>
                  <a:gd name="T1" fmla="*/ 2 h 32"/>
                  <a:gd name="T2" fmla="*/ 0 w 14"/>
                  <a:gd name="T3" fmla="*/ 2 h 32"/>
                  <a:gd name="T4" fmla="*/ 0 w 14"/>
                  <a:gd name="T5" fmla="*/ 2 h 32"/>
                  <a:gd name="T6" fmla="*/ 0 w 14"/>
                  <a:gd name="T7" fmla="*/ 2 h 32"/>
                  <a:gd name="T8" fmla="*/ 0 w 14"/>
                  <a:gd name="T9" fmla="*/ 4 h 32"/>
                  <a:gd name="T10" fmla="*/ 0 w 14"/>
                  <a:gd name="T11" fmla="*/ 4 h 32"/>
                  <a:gd name="T12" fmla="*/ 2 w 14"/>
                  <a:gd name="T13" fmla="*/ 6 h 32"/>
                  <a:gd name="T14" fmla="*/ 6 w 14"/>
                  <a:gd name="T15" fmla="*/ 6 h 32"/>
                  <a:gd name="T16" fmla="*/ 6 w 14"/>
                  <a:gd name="T17" fmla="*/ 6 h 32"/>
                  <a:gd name="T18" fmla="*/ 6 w 14"/>
                  <a:gd name="T19" fmla="*/ 10 h 32"/>
                  <a:gd name="T20" fmla="*/ 6 w 14"/>
                  <a:gd name="T21" fmla="*/ 12 h 32"/>
                  <a:gd name="T22" fmla="*/ 2 w 14"/>
                  <a:gd name="T23" fmla="*/ 16 h 32"/>
                  <a:gd name="T24" fmla="*/ 2 w 14"/>
                  <a:gd name="T25" fmla="*/ 16 h 32"/>
                  <a:gd name="T26" fmla="*/ 2 w 14"/>
                  <a:gd name="T27" fmla="*/ 20 h 32"/>
                  <a:gd name="T28" fmla="*/ 2 w 14"/>
                  <a:gd name="T29" fmla="*/ 22 h 32"/>
                  <a:gd name="T30" fmla="*/ 2 w 14"/>
                  <a:gd name="T31" fmla="*/ 22 h 32"/>
                  <a:gd name="T32" fmla="*/ 2 w 14"/>
                  <a:gd name="T33" fmla="*/ 24 h 32"/>
                  <a:gd name="T34" fmla="*/ 6 w 14"/>
                  <a:gd name="T35" fmla="*/ 26 h 32"/>
                  <a:gd name="T36" fmla="*/ 6 w 14"/>
                  <a:gd name="T37" fmla="*/ 26 h 32"/>
                  <a:gd name="T38" fmla="*/ 8 w 14"/>
                  <a:gd name="T39" fmla="*/ 30 h 32"/>
                  <a:gd name="T40" fmla="*/ 8 w 14"/>
                  <a:gd name="T41" fmla="*/ 30 h 32"/>
                  <a:gd name="T42" fmla="*/ 8 w 14"/>
                  <a:gd name="T43" fmla="*/ 32 h 32"/>
                  <a:gd name="T44" fmla="*/ 8 w 14"/>
                  <a:gd name="T45" fmla="*/ 32 h 32"/>
                  <a:gd name="T46" fmla="*/ 8 w 14"/>
                  <a:gd name="T47" fmla="*/ 30 h 32"/>
                  <a:gd name="T48" fmla="*/ 10 w 14"/>
                  <a:gd name="T49" fmla="*/ 30 h 32"/>
                  <a:gd name="T50" fmla="*/ 10 w 14"/>
                  <a:gd name="T51" fmla="*/ 30 h 32"/>
                  <a:gd name="T52" fmla="*/ 12 w 14"/>
                  <a:gd name="T53" fmla="*/ 28 h 32"/>
                  <a:gd name="T54" fmla="*/ 12 w 14"/>
                  <a:gd name="T55" fmla="*/ 28 h 32"/>
                  <a:gd name="T56" fmla="*/ 12 w 14"/>
                  <a:gd name="T57" fmla="*/ 26 h 32"/>
                  <a:gd name="T58" fmla="*/ 12 w 14"/>
                  <a:gd name="T59" fmla="*/ 24 h 32"/>
                  <a:gd name="T60" fmla="*/ 12 w 14"/>
                  <a:gd name="T61" fmla="*/ 24 h 32"/>
                  <a:gd name="T62" fmla="*/ 12 w 14"/>
                  <a:gd name="T63" fmla="*/ 24 h 32"/>
                  <a:gd name="T64" fmla="*/ 12 w 14"/>
                  <a:gd name="T65" fmla="*/ 22 h 32"/>
                  <a:gd name="T66" fmla="*/ 12 w 14"/>
                  <a:gd name="T67" fmla="*/ 22 h 32"/>
                  <a:gd name="T68" fmla="*/ 12 w 14"/>
                  <a:gd name="T69" fmla="*/ 22 h 32"/>
                  <a:gd name="T70" fmla="*/ 12 w 14"/>
                  <a:gd name="T71" fmla="*/ 22 h 32"/>
                  <a:gd name="T72" fmla="*/ 12 w 14"/>
                  <a:gd name="T73" fmla="*/ 22 h 32"/>
                  <a:gd name="T74" fmla="*/ 14 w 14"/>
                  <a:gd name="T75" fmla="*/ 20 h 32"/>
                  <a:gd name="T76" fmla="*/ 14 w 14"/>
                  <a:gd name="T77" fmla="*/ 20 h 32"/>
                  <a:gd name="T78" fmla="*/ 14 w 14"/>
                  <a:gd name="T79" fmla="*/ 18 h 32"/>
                  <a:gd name="T80" fmla="*/ 14 w 14"/>
                  <a:gd name="T81" fmla="*/ 18 h 32"/>
                  <a:gd name="T82" fmla="*/ 12 w 14"/>
                  <a:gd name="T83" fmla="*/ 16 h 32"/>
                  <a:gd name="T84" fmla="*/ 12 w 14"/>
                  <a:gd name="T85" fmla="*/ 16 h 32"/>
                  <a:gd name="T86" fmla="*/ 10 w 14"/>
                  <a:gd name="T87" fmla="*/ 14 h 32"/>
                  <a:gd name="T88" fmla="*/ 10 w 14"/>
                  <a:gd name="T89" fmla="*/ 14 h 32"/>
                  <a:gd name="T90" fmla="*/ 10 w 14"/>
                  <a:gd name="T91" fmla="*/ 14 h 32"/>
                  <a:gd name="T92" fmla="*/ 12 w 14"/>
                  <a:gd name="T93" fmla="*/ 12 h 32"/>
                  <a:gd name="T94" fmla="*/ 12 w 14"/>
                  <a:gd name="T95" fmla="*/ 10 h 32"/>
                  <a:gd name="T96" fmla="*/ 12 w 14"/>
                  <a:gd name="T97" fmla="*/ 8 h 32"/>
                  <a:gd name="T98" fmla="*/ 12 w 14"/>
                  <a:gd name="T99" fmla="*/ 8 h 32"/>
                  <a:gd name="T100" fmla="*/ 12 w 14"/>
                  <a:gd name="T101" fmla="*/ 6 h 32"/>
                  <a:gd name="T102" fmla="*/ 10 w 14"/>
                  <a:gd name="T103" fmla="*/ 4 h 32"/>
                  <a:gd name="T104" fmla="*/ 10 w 14"/>
                  <a:gd name="T105" fmla="*/ 4 h 32"/>
                  <a:gd name="T106" fmla="*/ 8 w 14"/>
                  <a:gd name="T107" fmla="*/ 2 h 32"/>
                  <a:gd name="T108" fmla="*/ 8 w 14"/>
                  <a:gd name="T109" fmla="*/ 0 h 32"/>
                  <a:gd name="T110" fmla="*/ 6 w 14"/>
                  <a:gd name="T111" fmla="*/ 0 h 32"/>
                  <a:gd name="T112" fmla="*/ 2 w 14"/>
                  <a:gd name="T113" fmla="*/ 0 h 32"/>
                  <a:gd name="T114" fmla="*/ 0 w 14"/>
                  <a:gd name="T115" fmla="*/ 2 h 32"/>
                  <a:gd name="T116" fmla="*/ 0 w 14"/>
                  <a:gd name="T117" fmla="*/ 2 h 32"/>
                  <a:gd name="T118" fmla="*/ 0 w 14"/>
                  <a:gd name="T119" fmla="*/ 2 h 32"/>
                  <a:gd name="T120" fmla="*/ 0 w 14"/>
                  <a:gd name="T121" fmla="*/ 2 h 32"/>
                  <a:gd name="T122" fmla="*/ 0 w 14"/>
                  <a:gd name="T123" fmla="*/ 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4" h="32">
                    <a:moveTo>
                      <a:pt x="0" y="2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10"/>
                    </a:lnTo>
                    <a:lnTo>
                      <a:pt x="6" y="12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20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4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6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2" y="12"/>
                    </a:lnTo>
                    <a:lnTo>
                      <a:pt x="12" y="10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6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8" y="2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63" name="Freeform 927"/>
              <p:cNvSpPr>
                <a:spLocks/>
              </p:cNvSpPr>
              <p:nvPr/>
            </p:nvSpPr>
            <p:spPr bwMode="auto">
              <a:xfrm>
                <a:off x="939" y="1606"/>
                <a:ext cx="6" cy="8"/>
              </a:xfrm>
              <a:custGeom>
                <a:avLst/>
                <a:gdLst>
                  <a:gd name="T0" fmla="*/ 0 w 6"/>
                  <a:gd name="T1" fmla="*/ 8 h 8"/>
                  <a:gd name="T2" fmla="*/ 0 w 6"/>
                  <a:gd name="T3" fmla="*/ 8 h 8"/>
                  <a:gd name="T4" fmla="*/ 2 w 6"/>
                  <a:gd name="T5" fmla="*/ 8 h 8"/>
                  <a:gd name="T6" fmla="*/ 2 w 6"/>
                  <a:gd name="T7" fmla="*/ 6 h 8"/>
                  <a:gd name="T8" fmla="*/ 6 w 6"/>
                  <a:gd name="T9" fmla="*/ 4 h 8"/>
                  <a:gd name="T10" fmla="*/ 6 w 6"/>
                  <a:gd name="T11" fmla="*/ 4 h 8"/>
                  <a:gd name="T12" fmla="*/ 6 w 6"/>
                  <a:gd name="T13" fmla="*/ 4 h 8"/>
                  <a:gd name="T14" fmla="*/ 6 w 6"/>
                  <a:gd name="T15" fmla="*/ 2 h 8"/>
                  <a:gd name="T16" fmla="*/ 6 w 6"/>
                  <a:gd name="T17" fmla="*/ 2 h 8"/>
                  <a:gd name="T18" fmla="*/ 6 w 6"/>
                  <a:gd name="T19" fmla="*/ 2 h 8"/>
                  <a:gd name="T20" fmla="*/ 6 w 6"/>
                  <a:gd name="T21" fmla="*/ 0 h 8"/>
                  <a:gd name="T22" fmla="*/ 4 w 6"/>
                  <a:gd name="T23" fmla="*/ 0 h 8"/>
                  <a:gd name="T24" fmla="*/ 4 w 6"/>
                  <a:gd name="T25" fmla="*/ 0 h 8"/>
                  <a:gd name="T26" fmla="*/ 2 w 6"/>
                  <a:gd name="T27" fmla="*/ 0 h 8"/>
                  <a:gd name="T28" fmla="*/ 2 w 6"/>
                  <a:gd name="T29" fmla="*/ 0 h 8"/>
                  <a:gd name="T30" fmla="*/ 2 w 6"/>
                  <a:gd name="T31" fmla="*/ 2 h 8"/>
                  <a:gd name="T32" fmla="*/ 0 w 6"/>
                  <a:gd name="T33" fmla="*/ 2 h 8"/>
                  <a:gd name="T34" fmla="*/ 0 w 6"/>
                  <a:gd name="T35" fmla="*/ 2 h 8"/>
                  <a:gd name="T36" fmla="*/ 0 w 6"/>
                  <a:gd name="T37" fmla="*/ 4 h 8"/>
                  <a:gd name="T38" fmla="*/ 0 w 6"/>
                  <a:gd name="T39" fmla="*/ 6 h 8"/>
                  <a:gd name="T40" fmla="*/ 0 w 6"/>
                  <a:gd name="T41" fmla="*/ 8 h 8"/>
                  <a:gd name="T42" fmla="*/ 0 w 6"/>
                  <a:gd name="T43" fmla="*/ 8 h 8"/>
                  <a:gd name="T44" fmla="*/ 0 w 6"/>
                  <a:gd name="T45" fmla="*/ 8 h 8"/>
                  <a:gd name="T46" fmla="*/ 0 w 6"/>
                  <a:gd name="T47" fmla="*/ 8 h 8"/>
                  <a:gd name="T48" fmla="*/ 0 w 6"/>
                  <a:gd name="T4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6" h="8">
                    <a:moveTo>
                      <a:pt x="0" y="8"/>
                    </a:moveTo>
                    <a:lnTo>
                      <a:pt x="0" y="8"/>
                    </a:lnTo>
                    <a:lnTo>
                      <a:pt x="2" y="8"/>
                    </a:lnTo>
                    <a:lnTo>
                      <a:pt x="2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64" name="Freeform 928"/>
              <p:cNvSpPr>
                <a:spLocks/>
              </p:cNvSpPr>
              <p:nvPr/>
            </p:nvSpPr>
            <p:spPr bwMode="auto">
              <a:xfrm>
                <a:off x="939" y="1606"/>
                <a:ext cx="6" cy="8"/>
              </a:xfrm>
              <a:custGeom>
                <a:avLst/>
                <a:gdLst>
                  <a:gd name="T0" fmla="*/ 0 w 6"/>
                  <a:gd name="T1" fmla="*/ 8 h 8"/>
                  <a:gd name="T2" fmla="*/ 0 w 6"/>
                  <a:gd name="T3" fmla="*/ 8 h 8"/>
                  <a:gd name="T4" fmla="*/ 2 w 6"/>
                  <a:gd name="T5" fmla="*/ 8 h 8"/>
                  <a:gd name="T6" fmla="*/ 2 w 6"/>
                  <a:gd name="T7" fmla="*/ 6 h 8"/>
                  <a:gd name="T8" fmla="*/ 6 w 6"/>
                  <a:gd name="T9" fmla="*/ 4 h 8"/>
                  <a:gd name="T10" fmla="*/ 6 w 6"/>
                  <a:gd name="T11" fmla="*/ 4 h 8"/>
                  <a:gd name="T12" fmla="*/ 6 w 6"/>
                  <a:gd name="T13" fmla="*/ 4 h 8"/>
                  <a:gd name="T14" fmla="*/ 6 w 6"/>
                  <a:gd name="T15" fmla="*/ 2 h 8"/>
                  <a:gd name="T16" fmla="*/ 6 w 6"/>
                  <a:gd name="T17" fmla="*/ 2 h 8"/>
                  <a:gd name="T18" fmla="*/ 6 w 6"/>
                  <a:gd name="T19" fmla="*/ 2 h 8"/>
                  <a:gd name="T20" fmla="*/ 6 w 6"/>
                  <a:gd name="T21" fmla="*/ 0 h 8"/>
                  <a:gd name="T22" fmla="*/ 4 w 6"/>
                  <a:gd name="T23" fmla="*/ 0 h 8"/>
                  <a:gd name="T24" fmla="*/ 4 w 6"/>
                  <a:gd name="T25" fmla="*/ 0 h 8"/>
                  <a:gd name="T26" fmla="*/ 2 w 6"/>
                  <a:gd name="T27" fmla="*/ 0 h 8"/>
                  <a:gd name="T28" fmla="*/ 2 w 6"/>
                  <a:gd name="T29" fmla="*/ 0 h 8"/>
                  <a:gd name="T30" fmla="*/ 2 w 6"/>
                  <a:gd name="T31" fmla="*/ 2 h 8"/>
                  <a:gd name="T32" fmla="*/ 0 w 6"/>
                  <a:gd name="T33" fmla="*/ 2 h 8"/>
                  <a:gd name="T34" fmla="*/ 0 w 6"/>
                  <a:gd name="T35" fmla="*/ 2 h 8"/>
                  <a:gd name="T36" fmla="*/ 0 w 6"/>
                  <a:gd name="T37" fmla="*/ 4 h 8"/>
                  <a:gd name="T38" fmla="*/ 0 w 6"/>
                  <a:gd name="T39" fmla="*/ 6 h 8"/>
                  <a:gd name="T40" fmla="*/ 0 w 6"/>
                  <a:gd name="T41" fmla="*/ 8 h 8"/>
                  <a:gd name="T42" fmla="*/ 0 w 6"/>
                  <a:gd name="T43" fmla="*/ 8 h 8"/>
                  <a:gd name="T44" fmla="*/ 0 w 6"/>
                  <a:gd name="T45" fmla="*/ 8 h 8"/>
                  <a:gd name="T46" fmla="*/ 0 w 6"/>
                  <a:gd name="T47" fmla="*/ 8 h 8"/>
                  <a:gd name="T48" fmla="*/ 0 w 6"/>
                  <a:gd name="T4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6" h="8">
                    <a:moveTo>
                      <a:pt x="0" y="8"/>
                    </a:moveTo>
                    <a:lnTo>
                      <a:pt x="0" y="8"/>
                    </a:lnTo>
                    <a:lnTo>
                      <a:pt x="2" y="8"/>
                    </a:lnTo>
                    <a:lnTo>
                      <a:pt x="2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65" name="Freeform 929"/>
              <p:cNvSpPr>
                <a:spLocks/>
              </p:cNvSpPr>
              <p:nvPr/>
            </p:nvSpPr>
            <p:spPr bwMode="auto">
              <a:xfrm>
                <a:off x="919" y="1642"/>
                <a:ext cx="10" cy="14"/>
              </a:xfrm>
              <a:custGeom>
                <a:avLst/>
                <a:gdLst>
                  <a:gd name="T0" fmla="*/ 0 w 10"/>
                  <a:gd name="T1" fmla="*/ 0 h 14"/>
                  <a:gd name="T2" fmla="*/ 0 w 10"/>
                  <a:gd name="T3" fmla="*/ 0 h 14"/>
                  <a:gd name="T4" fmla="*/ 0 w 10"/>
                  <a:gd name="T5" fmla="*/ 4 h 14"/>
                  <a:gd name="T6" fmla="*/ 0 w 10"/>
                  <a:gd name="T7" fmla="*/ 6 h 14"/>
                  <a:gd name="T8" fmla="*/ 0 w 10"/>
                  <a:gd name="T9" fmla="*/ 6 h 14"/>
                  <a:gd name="T10" fmla="*/ 0 w 10"/>
                  <a:gd name="T11" fmla="*/ 8 h 14"/>
                  <a:gd name="T12" fmla="*/ 0 w 10"/>
                  <a:gd name="T13" fmla="*/ 8 h 14"/>
                  <a:gd name="T14" fmla="*/ 0 w 10"/>
                  <a:gd name="T15" fmla="*/ 12 h 14"/>
                  <a:gd name="T16" fmla="*/ 0 w 10"/>
                  <a:gd name="T17" fmla="*/ 12 h 14"/>
                  <a:gd name="T18" fmla="*/ 0 w 10"/>
                  <a:gd name="T19" fmla="*/ 12 h 14"/>
                  <a:gd name="T20" fmla="*/ 0 w 10"/>
                  <a:gd name="T21" fmla="*/ 14 h 14"/>
                  <a:gd name="T22" fmla="*/ 0 w 10"/>
                  <a:gd name="T23" fmla="*/ 14 h 14"/>
                  <a:gd name="T24" fmla="*/ 0 w 10"/>
                  <a:gd name="T25" fmla="*/ 14 h 14"/>
                  <a:gd name="T26" fmla="*/ 0 w 10"/>
                  <a:gd name="T27" fmla="*/ 14 h 14"/>
                  <a:gd name="T28" fmla="*/ 0 w 10"/>
                  <a:gd name="T29" fmla="*/ 14 h 14"/>
                  <a:gd name="T30" fmla="*/ 0 w 10"/>
                  <a:gd name="T31" fmla="*/ 14 h 14"/>
                  <a:gd name="T32" fmla="*/ 2 w 10"/>
                  <a:gd name="T33" fmla="*/ 14 h 14"/>
                  <a:gd name="T34" fmla="*/ 2 w 10"/>
                  <a:gd name="T35" fmla="*/ 14 h 14"/>
                  <a:gd name="T36" fmla="*/ 4 w 10"/>
                  <a:gd name="T37" fmla="*/ 14 h 14"/>
                  <a:gd name="T38" fmla="*/ 4 w 10"/>
                  <a:gd name="T39" fmla="*/ 14 h 14"/>
                  <a:gd name="T40" fmla="*/ 4 w 10"/>
                  <a:gd name="T41" fmla="*/ 14 h 14"/>
                  <a:gd name="T42" fmla="*/ 8 w 10"/>
                  <a:gd name="T43" fmla="*/ 10 h 14"/>
                  <a:gd name="T44" fmla="*/ 10 w 10"/>
                  <a:gd name="T45" fmla="*/ 8 h 14"/>
                  <a:gd name="T46" fmla="*/ 10 w 10"/>
                  <a:gd name="T47" fmla="*/ 8 h 14"/>
                  <a:gd name="T48" fmla="*/ 10 w 10"/>
                  <a:gd name="T49" fmla="*/ 6 h 14"/>
                  <a:gd name="T50" fmla="*/ 10 w 10"/>
                  <a:gd name="T51" fmla="*/ 4 h 14"/>
                  <a:gd name="T52" fmla="*/ 8 w 10"/>
                  <a:gd name="T53" fmla="*/ 2 h 14"/>
                  <a:gd name="T54" fmla="*/ 8 w 10"/>
                  <a:gd name="T55" fmla="*/ 0 h 14"/>
                  <a:gd name="T56" fmla="*/ 4 w 10"/>
                  <a:gd name="T57" fmla="*/ 0 h 14"/>
                  <a:gd name="T58" fmla="*/ 2 w 10"/>
                  <a:gd name="T59" fmla="*/ 0 h 14"/>
                  <a:gd name="T60" fmla="*/ 2 w 10"/>
                  <a:gd name="T61" fmla="*/ 0 h 14"/>
                  <a:gd name="T62" fmla="*/ 0 w 10"/>
                  <a:gd name="T63" fmla="*/ 0 h 14"/>
                  <a:gd name="T64" fmla="*/ 0 w 10"/>
                  <a:gd name="T65" fmla="*/ 0 h 14"/>
                  <a:gd name="T66" fmla="*/ 0 w 10"/>
                  <a:gd name="T67" fmla="*/ 0 h 14"/>
                  <a:gd name="T68" fmla="*/ 0 w 10"/>
                  <a:gd name="T69" fmla="*/ 0 h 14"/>
                  <a:gd name="T70" fmla="*/ 0 w 10"/>
                  <a:gd name="T71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0" h="14">
                    <a:moveTo>
                      <a:pt x="0" y="0"/>
                    </a:moveTo>
                    <a:lnTo>
                      <a:pt x="0" y="0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8" y="10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8" y="2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66" name="Freeform 931"/>
              <p:cNvSpPr>
                <a:spLocks/>
              </p:cNvSpPr>
              <p:nvPr/>
            </p:nvSpPr>
            <p:spPr bwMode="auto">
              <a:xfrm>
                <a:off x="907" y="1544"/>
                <a:ext cx="14" cy="24"/>
              </a:xfrm>
              <a:custGeom>
                <a:avLst/>
                <a:gdLst>
                  <a:gd name="T0" fmla="*/ 6 w 14"/>
                  <a:gd name="T1" fmla="*/ 6 h 24"/>
                  <a:gd name="T2" fmla="*/ 2 w 14"/>
                  <a:gd name="T3" fmla="*/ 10 h 24"/>
                  <a:gd name="T4" fmla="*/ 0 w 14"/>
                  <a:gd name="T5" fmla="*/ 12 h 24"/>
                  <a:gd name="T6" fmla="*/ 0 w 14"/>
                  <a:gd name="T7" fmla="*/ 14 h 24"/>
                  <a:gd name="T8" fmla="*/ 0 w 14"/>
                  <a:gd name="T9" fmla="*/ 18 h 24"/>
                  <a:gd name="T10" fmla="*/ 0 w 14"/>
                  <a:gd name="T11" fmla="*/ 22 h 24"/>
                  <a:gd name="T12" fmla="*/ 0 w 14"/>
                  <a:gd name="T13" fmla="*/ 24 h 24"/>
                  <a:gd name="T14" fmla="*/ 2 w 14"/>
                  <a:gd name="T15" fmla="*/ 24 h 24"/>
                  <a:gd name="T16" fmla="*/ 4 w 14"/>
                  <a:gd name="T17" fmla="*/ 24 h 24"/>
                  <a:gd name="T18" fmla="*/ 6 w 14"/>
                  <a:gd name="T19" fmla="*/ 22 h 24"/>
                  <a:gd name="T20" fmla="*/ 6 w 14"/>
                  <a:gd name="T21" fmla="*/ 20 h 24"/>
                  <a:gd name="T22" fmla="*/ 8 w 14"/>
                  <a:gd name="T23" fmla="*/ 22 h 24"/>
                  <a:gd name="T24" fmla="*/ 10 w 14"/>
                  <a:gd name="T25" fmla="*/ 20 h 24"/>
                  <a:gd name="T26" fmla="*/ 10 w 14"/>
                  <a:gd name="T27" fmla="*/ 20 h 24"/>
                  <a:gd name="T28" fmla="*/ 8 w 14"/>
                  <a:gd name="T29" fmla="*/ 18 h 24"/>
                  <a:gd name="T30" fmla="*/ 8 w 14"/>
                  <a:gd name="T31" fmla="*/ 16 h 24"/>
                  <a:gd name="T32" fmla="*/ 8 w 14"/>
                  <a:gd name="T33" fmla="*/ 14 h 24"/>
                  <a:gd name="T34" fmla="*/ 8 w 14"/>
                  <a:gd name="T35" fmla="*/ 14 h 24"/>
                  <a:gd name="T36" fmla="*/ 8 w 14"/>
                  <a:gd name="T37" fmla="*/ 14 h 24"/>
                  <a:gd name="T38" fmla="*/ 10 w 14"/>
                  <a:gd name="T39" fmla="*/ 16 h 24"/>
                  <a:gd name="T40" fmla="*/ 12 w 14"/>
                  <a:gd name="T41" fmla="*/ 18 h 24"/>
                  <a:gd name="T42" fmla="*/ 12 w 14"/>
                  <a:gd name="T43" fmla="*/ 16 h 24"/>
                  <a:gd name="T44" fmla="*/ 14 w 14"/>
                  <a:gd name="T45" fmla="*/ 14 h 24"/>
                  <a:gd name="T46" fmla="*/ 12 w 14"/>
                  <a:gd name="T47" fmla="*/ 12 h 24"/>
                  <a:gd name="T48" fmla="*/ 12 w 14"/>
                  <a:gd name="T49" fmla="*/ 8 h 24"/>
                  <a:gd name="T50" fmla="*/ 12 w 14"/>
                  <a:gd name="T51" fmla="*/ 6 h 24"/>
                  <a:gd name="T52" fmla="*/ 12 w 14"/>
                  <a:gd name="T53" fmla="*/ 2 h 24"/>
                  <a:gd name="T54" fmla="*/ 12 w 14"/>
                  <a:gd name="T55" fmla="*/ 2 h 24"/>
                  <a:gd name="T56" fmla="*/ 12 w 14"/>
                  <a:gd name="T57" fmla="*/ 0 h 24"/>
                  <a:gd name="T58" fmla="*/ 10 w 14"/>
                  <a:gd name="T59" fmla="*/ 2 h 24"/>
                  <a:gd name="T60" fmla="*/ 6 w 14"/>
                  <a:gd name="T61" fmla="*/ 6 h 24"/>
                  <a:gd name="T62" fmla="*/ 6 w 14"/>
                  <a:gd name="T63" fmla="*/ 6 h 24"/>
                  <a:gd name="T64" fmla="*/ 6 w 14"/>
                  <a:gd name="T65" fmla="*/ 6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4" h="24">
                    <a:moveTo>
                      <a:pt x="6" y="6"/>
                    </a:moveTo>
                    <a:lnTo>
                      <a:pt x="6" y="6"/>
                    </a:lnTo>
                    <a:lnTo>
                      <a:pt x="4" y="8"/>
                    </a:lnTo>
                    <a:lnTo>
                      <a:pt x="2" y="10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0" y="18"/>
                    </a:lnTo>
                    <a:lnTo>
                      <a:pt x="0" y="20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2"/>
                    </a:lnTo>
                    <a:lnTo>
                      <a:pt x="6" y="22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0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0" y="14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4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0"/>
                    </a:lnTo>
                    <a:lnTo>
                      <a:pt x="12" y="8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4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10" y="2"/>
                    </a:lnTo>
                    <a:lnTo>
                      <a:pt x="8" y="4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67" name="Freeform 933"/>
              <p:cNvSpPr>
                <a:spLocks/>
              </p:cNvSpPr>
              <p:nvPr/>
            </p:nvSpPr>
            <p:spPr bwMode="auto">
              <a:xfrm>
                <a:off x="931" y="1642"/>
                <a:ext cx="4" cy="6"/>
              </a:xfrm>
              <a:custGeom>
                <a:avLst/>
                <a:gdLst>
                  <a:gd name="T0" fmla="*/ 2 w 4"/>
                  <a:gd name="T1" fmla="*/ 6 h 6"/>
                  <a:gd name="T2" fmla="*/ 2 w 4"/>
                  <a:gd name="T3" fmla="*/ 6 h 6"/>
                  <a:gd name="T4" fmla="*/ 2 w 4"/>
                  <a:gd name="T5" fmla="*/ 6 h 6"/>
                  <a:gd name="T6" fmla="*/ 2 w 4"/>
                  <a:gd name="T7" fmla="*/ 6 h 6"/>
                  <a:gd name="T8" fmla="*/ 4 w 4"/>
                  <a:gd name="T9" fmla="*/ 6 h 6"/>
                  <a:gd name="T10" fmla="*/ 4 w 4"/>
                  <a:gd name="T11" fmla="*/ 4 h 6"/>
                  <a:gd name="T12" fmla="*/ 4 w 4"/>
                  <a:gd name="T13" fmla="*/ 2 h 6"/>
                  <a:gd name="T14" fmla="*/ 4 w 4"/>
                  <a:gd name="T15" fmla="*/ 0 h 6"/>
                  <a:gd name="T16" fmla="*/ 4 w 4"/>
                  <a:gd name="T17" fmla="*/ 0 h 6"/>
                  <a:gd name="T18" fmla="*/ 4 w 4"/>
                  <a:gd name="T19" fmla="*/ 0 h 6"/>
                  <a:gd name="T20" fmla="*/ 2 w 4"/>
                  <a:gd name="T21" fmla="*/ 0 h 6"/>
                  <a:gd name="T22" fmla="*/ 2 w 4"/>
                  <a:gd name="T23" fmla="*/ 0 h 6"/>
                  <a:gd name="T24" fmla="*/ 2 w 4"/>
                  <a:gd name="T25" fmla="*/ 0 h 6"/>
                  <a:gd name="T26" fmla="*/ 0 w 4"/>
                  <a:gd name="T27" fmla="*/ 2 h 6"/>
                  <a:gd name="T28" fmla="*/ 0 w 4"/>
                  <a:gd name="T29" fmla="*/ 2 h 6"/>
                  <a:gd name="T30" fmla="*/ 0 w 4"/>
                  <a:gd name="T31" fmla="*/ 4 h 6"/>
                  <a:gd name="T32" fmla="*/ 2 w 4"/>
                  <a:gd name="T33" fmla="*/ 6 h 6"/>
                  <a:gd name="T34" fmla="*/ 2 w 4"/>
                  <a:gd name="T35" fmla="*/ 6 h 6"/>
                  <a:gd name="T36" fmla="*/ 2 w 4"/>
                  <a:gd name="T37" fmla="*/ 6 h 6"/>
                  <a:gd name="T38" fmla="*/ 2 w 4"/>
                  <a:gd name="T39" fmla="*/ 6 h 6"/>
                  <a:gd name="T40" fmla="*/ 2 w 4"/>
                  <a:gd name="T4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" h="6">
                    <a:moveTo>
                      <a:pt x="2" y="6"/>
                    </a:move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68" name="Freeform 934"/>
              <p:cNvSpPr>
                <a:spLocks/>
              </p:cNvSpPr>
              <p:nvPr/>
            </p:nvSpPr>
            <p:spPr bwMode="auto">
              <a:xfrm>
                <a:off x="931" y="1642"/>
                <a:ext cx="4" cy="6"/>
              </a:xfrm>
              <a:custGeom>
                <a:avLst/>
                <a:gdLst>
                  <a:gd name="T0" fmla="*/ 2 w 4"/>
                  <a:gd name="T1" fmla="*/ 6 h 6"/>
                  <a:gd name="T2" fmla="*/ 2 w 4"/>
                  <a:gd name="T3" fmla="*/ 6 h 6"/>
                  <a:gd name="T4" fmla="*/ 2 w 4"/>
                  <a:gd name="T5" fmla="*/ 6 h 6"/>
                  <a:gd name="T6" fmla="*/ 2 w 4"/>
                  <a:gd name="T7" fmla="*/ 6 h 6"/>
                  <a:gd name="T8" fmla="*/ 4 w 4"/>
                  <a:gd name="T9" fmla="*/ 6 h 6"/>
                  <a:gd name="T10" fmla="*/ 4 w 4"/>
                  <a:gd name="T11" fmla="*/ 4 h 6"/>
                  <a:gd name="T12" fmla="*/ 4 w 4"/>
                  <a:gd name="T13" fmla="*/ 2 h 6"/>
                  <a:gd name="T14" fmla="*/ 4 w 4"/>
                  <a:gd name="T15" fmla="*/ 0 h 6"/>
                  <a:gd name="T16" fmla="*/ 4 w 4"/>
                  <a:gd name="T17" fmla="*/ 0 h 6"/>
                  <a:gd name="T18" fmla="*/ 4 w 4"/>
                  <a:gd name="T19" fmla="*/ 0 h 6"/>
                  <a:gd name="T20" fmla="*/ 2 w 4"/>
                  <a:gd name="T21" fmla="*/ 0 h 6"/>
                  <a:gd name="T22" fmla="*/ 2 w 4"/>
                  <a:gd name="T23" fmla="*/ 0 h 6"/>
                  <a:gd name="T24" fmla="*/ 2 w 4"/>
                  <a:gd name="T25" fmla="*/ 0 h 6"/>
                  <a:gd name="T26" fmla="*/ 0 w 4"/>
                  <a:gd name="T27" fmla="*/ 2 h 6"/>
                  <a:gd name="T28" fmla="*/ 0 w 4"/>
                  <a:gd name="T29" fmla="*/ 2 h 6"/>
                  <a:gd name="T30" fmla="*/ 0 w 4"/>
                  <a:gd name="T31" fmla="*/ 4 h 6"/>
                  <a:gd name="T32" fmla="*/ 2 w 4"/>
                  <a:gd name="T33" fmla="*/ 6 h 6"/>
                  <a:gd name="T34" fmla="*/ 2 w 4"/>
                  <a:gd name="T35" fmla="*/ 6 h 6"/>
                  <a:gd name="T36" fmla="*/ 2 w 4"/>
                  <a:gd name="T37" fmla="*/ 6 h 6"/>
                  <a:gd name="T38" fmla="*/ 2 w 4"/>
                  <a:gd name="T39" fmla="*/ 6 h 6"/>
                  <a:gd name="T40" fmla="*/ 2 w 4"/>
                  <a:gd name="T4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" h="6">
                    <a:moveTo>
                      <a:pt x="2" y="6"/>
                    </a:move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69" name="Freeform 935"/>
              <p:cNvSpPr>
                <a:spLocks/>
              </p:cNvSpPr>
              <p:nvPr/>
            </p:nvSpPr>
            <p:spPr bwMode="auto">
              <a:xfrm>
                <a:off x="911" y="1650"/>
                <a:ext cx="6" cy="6"/>
              </a:xfrm>
              <a:custGeom>
                <a:avLst/>
                <a:gdLst>
                  <a:gd name="T0" fmla="*/ 4 w 6"/>
                  <a:gd name="T1" fmla="*/ 6 h 6"/>
                  <a:gd name="T2" fmla="*/ 4 w 6"/>
                  <a:gd name="T3" fmla="*/ 6 h 6"/>
                  <a:gd name="T4" fmla="*/ 6 w 6"/>
                  <a:gd name="T5" fmla="*/ 6 h 6"/>
                  <a:gd name="T6" fmla="*/ 6 w 6"/>
                  <a:gd name="T7" fmla="*/ 6 h 6"/>
                  <a:gd name="T8" fmla="*/ 6 w 6"/>
                  <a:gd name="T9" fmla="*/ 6 h 6"/>
                  <a:gd name="T10" fmla="*/ 6 w 6"/>
                  <a:gd name="T11" fmla="*/ 4 h 6"/>
                  <a:gd name="T12" fmla="*/ 6 w 6"/>
                  <a:gd name="T13" fmla="*/ 4 h 6"/>
                  <a:gd name="T14" fmla="*/ 6 w 6"/>
                  <a:gd name="T15" fmla="*/ 4 h 6"/>
                  <a:gd name="T16" fmla="*/ 4 w 6"/>
                  <a:gd name="T17" fmla="*/ 0 h 6"/>
                  <a:gd name="T18" fmla="*/ 4 w 6"/>
                  <a:gd name="T19" fmla="*/ 0 h 6"/>
                  <a:gd name="T20" fmla="*/ 2 w 6"/>
                  <a:gd name="T21" fmla="*/ 0 h 6"/>
                  <a:gd name="T22" fmla="*/ 2 w 6"/>
                  <a:gd name="T23" fmla="*/ 0 h 6"/>
                  <a:gd name="T24" fmla="*/ 2 w 6"/>
                  <a:gd name="T25" fmla="*/ 0 h 6"/>
                  <a:gd name="T26" fmla="*/ 0 w 6"/>
                  <a:gd name="T27" fmla="*/ 2 h 6"/>
                  <a:gd name="T28" fmla="*/ 0 w 6"/>
                  <a:gd name="T29" fmla="*/ 2 h 6"/>
                  <a:gd name="T30" fmla="*/ 0 w 6"/>
                  <a:gd name="T31" fmla="*/ 4 h 6"/>
                  <a:gd name="T32" fmla="*/ 2 w 6"/>
                  <a:gd name="T33" fmla="*/ 6 h 6"/>
                  <a:gd name="T34" fmla="*/ 2 w 6"/>
                  <a:gd name="T35" fmla="*/ 6 h 6"/>
                  <a:gd name="T36" fmla="*/ 4 w 6"/>
                  <a:gd name="T37" fmla="*/ 6 h 6"/>
                  <a:gd name="T38" fmla="*/ 4 w 6"/>
                  <a:gd name="T39" fmla="*/ 6 h 6"/>
                  <a:gd name="T40" fmla="*/ 4 w 6"/>
                  <a:gd name="T41" fmla="*/ 6 h 6"/>
                  <a:gd name="T42" fmla="*/ 4 w 6"/>
                  <a:gd name="T43" fmla="*/ 6 h 6"/>
                  <a:gd name="T44" fmla="*/ 4 w 6"/>
                  <a:gd name="T4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" h="6">
                    <a:moveTo>
                      <a:pt x="4" y="6"/>
                    </a:moveTo>
                    <a:lnTo>
                      <a:pt x="4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70" name="Freeform 936"/>
              <p:cNvSpPr>
                <a:spLocks/>
              </p:cNvSpPr>
              <p:nvPr/>
            </p:nvSpPr>
            <p:spPr bwMode="auto">
              <a:xfrm>
                <a:off x="911" y="1650"/>
                <a:ext cx="6" cy="6"/>
              </a:xfrm>
              <a:custGeom>
                <a:avLst/>
                <a:gdLst>
                  <a:gd name="T0" fmla="*/ 4 w 6"/>
                  <a:gd name="T1" fmla="*/ 6 h 6"/>
                  <a:gd name="T2" fmla="*/ 4 w 6"/>
                  <a:gd name="T3" fmla="*/ 6 h 6"/>
                  <a:gd name="T4" fmla="*/ 6 w 6"/>
                  <a:gd name="T5" fmla="*/ 6 h 6"/>
                  <a:gd name="T6" fmla="*/ 6 w 6"/>
                  <a:gd name="T7" fmla="*/ 6 h 6"/>
                  <a:gd name="T8" fmla="*/ 6 w 6"/>
                  <a:gd name="T9" fmla="*/ 6 h 6"/>
                  <a:gd name="T10" fmla="*/ 6 w 6"/>
                  <a:gd name="T11" fmla="*/ 4 h 6"/>
                  <a:gd name="T12" fmla="*/ 6 w 6"/>
                  <a:gd name="T13" fmla="*/ 4 h 6"/>
                  <a:gd name="T14" fmla="*/ 6 w 6"/>
                  <a:gd name="T15" fmla="*/ 4 h 6"/>
                  <a:gd name="T16" fmla="*/ 4 w 6"/>
                  <a:gd name="T17" fmla="*/ 0 h 6"/>
                  <a:gd name="T18" fmla="*/ 4 w 6"/>
                  <a:gd name="T19" fmla="*/ 0 h 6"/>
                  <a:gd name="T20" fmla="*/ 2 w 6"/>
                  <a:gd name="T21" fmla="*/ 0 h 6"/>
                  <a:gd name="T22" fmla="*/ 2 w 6"/>
                  <a:gd name="T23" fmla="*/ 0 h 6"/>
                  <a:gd name="T24" fmla="*/ 2 w 6"/>
                  <a:gd name="T25" fmla="*/ 0 h 6"/>
                  <a:gd name="T26" fmla="*/ 0 w 6"/>
                  <a:gd name="T27" fmla="*/ 2 h 6"/>
                  <a:gd name="T28" fmla="*/ 0 w 6"/>
                  <a:gd name="T29" fmla="*/ 2 h 6"/>
                  <a:gd name="T30" fmla="*/ 0 w 6"/>
                  <a:gd name="T31" fmla="*/ 4 h 6"/>
                  <a:gd name="T32" fmla="*/ 2 w 6"/>
                  <a:gd name="T33" fmla="*/ 6 h 6"/>
                  <a:gd name="T34" fmla="*/ 2 w 6"/>
                  <a:gd name="T35" fmla="*/ 6 h 6"/>
                  <a:gd name="T36" fmla="*/ 4 w 6"/>
                  <a:gd name="T37" fmla="*/ 6 h 6"/>
                  <a:gd name="T38" fmla="*/ 4 w 6"/>
                  <a:gd name="T39" fmla="*/ 6 h 6"/>
                  <a:gd name="T40" fmla="*/ 4 w 6"/>
                  <a:gd name="T41" fmla="*/ 6 h 6"/>
                  <a:gd name="T42" fmla="*/ 4 w 6"/>
                  <a:gd name="T43" fmla="*/ 6 h 6"/>
                  <a:gd name="T44" fmla="*/ 4 w 6"/>
                  <a:gd name="T4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" h="6">
                    <a:moveTo>
                      <a:pt x="4" y="6"/>
                    </a:moveTo>
                    <a:lnTo>
                      <a:pt x="4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71" name="Freeform 937"/>
              <p:cNvSpPr>
                <a:spLocks/>
              </p:cNvSpPr>
              <p:nvPr/>
            </p:nvSpPr>
            <p:spPr bwMode="auto">
              <a:xfrm>
                <a:off x="657" y="1514"/>
                <a:ext cx="38" cy="22"/>
              </a:xfrm>
              <a:custGeom>
                <a:avLst/>
                <a:gdLst>
                  <a:gd name="T0" fmla="*/ 10 w 38"/>
                  <a:gd name="T1" fmla="*/ 8 h 22"/>
                  <a:gd name="T2" fmla="*/ 10 w 38"/>
                  <a:gd name="T3" fmla="*/ 4 h 22"/>
                  <a:gd name="T4" fmla="*/ 8 w 38"/>
                  <a:gd name="T5" fmla="*/ 2 h 22"/>
                  <a:gd name="T6" fmla="*/ 8 w 38"/>
                  <a:gd name="T7" fmla="*/ 2 h 22"/>
                  <a:gd name="T8" fmla="*/ 4 w 38"/>
                  <a:gd name="T9" fmla="*/ 4 h 22"/>
                  <a:gd name="T10" fmla="*/ 4 w 38"/>
                  <a:gd name="T11" fmla="*/ 4 h 22"/>
                  <a:gd name="T12" fmla="*/ 2 w 38"/>
                  <a:gd name="T13" fmla="*/ 8 h 22"/>
                  <a:gd name="T14" fmla="*/ 0 w 38"/>
                  <a:gd name="T15" fmla="*/ 10 h 22"/>
                  <a:gd name="T16" fmla="*/ 0 w 38"/>
                  <a:gd name="T17" fmla="*/ 14 h 22"/>
                  <a:gd name="T18" fmla="*/ 2 w 38"/>
                  <a:gd name="T19" fmla="*/ 18 h 22"/>
                  <a:gd name="T20" fmla="*/ 4 w 38"/>
                  <a:gd name="T21" fmla="*/ 20 h 22"/>
                  <a:gd name="T22" fmla="*/ 6 w 38"/>
                  <a:gd name="T23" fmla="*/ 22 h 22"/>
                  <a:gd name="T24" fmla="*/ 12 w 38"/>
                  <a:gd name="T25" fmla="*/ 20 h 22"/>
                  <a:gd name="T26" fmla="*/ 16 w 38"/>
                  <a:gd name="T27" fmla="*/ 20 h 22"/>
                  <a:gd name="T28" fmla="*/ 18 w 38"/>
                  <a:gd name="T29" fmla="*/ 18 h 22"/>
                  <a:gd name="T30" fmla="*/ 22 w 38"/>
                  <a:gd name="T31" fmla="*/ 18 h 22"/>
                  <a:gd name="T32" fmla="*/ 24 w 38"/>
                  <a:gd name="T33" fmla="*/ 16 h 22"/>
                  <a:gd name="T34" fmla="*/ 32 w 38"/>
                  <a:gd name="T35" fmla="*/ 14 h 22"/>
                  <a:gd name="T36" fmla="*/ 34 w 38"/>
                  <a:gd name="T37" fmla="*/ 10 h 22"/>
                  <a:gd name="T38" fmla="*/ 36 w 38"/>
                  <a:gd name="T39" fmla="*/ 6 h 22"/>
                  <a:gd name="T40" fmla="*/ 38 w 38"/>
                  <a:gd name="T41" fmla="*/ 0 h 22"/>
                  <a:gd name="T42" fmla="*/ 36 w 38"/>
                  <a:gd name="T43" fmla="*/ 0 h 22"/>
                  <a:gd name="T44" fmla="*/ 34 w 38"/>
                  <a:gd name="T45" fmla="*/ 0 h 22"/>
                  <a:gd name="T46" fmla="*/ 32 w 38"/>
                  <a:gd name="T47" fmla="*/ 2 h 22"/>
                  <a:gd name="T48" fmla="*/ 30 w 38"/>
                  <a:gd name="T49" fmla="*/ 2 h 22"/>
                  <a:gd name="T50" fmla="*/ 24 w 38"/>
                  <a:gd name="T51" fmla="*/ 0 h 22"/>
                  <a:gd name="T52" fmla="*/ 22 w 38"/>
                  <a:gd name="T53" fmla="*/ 0 h 22"/>
                  <a:gd name="T54" fmla="*/ 22 w 38"/>
                  <a:gd name="T55" fmla="*/ 0 h 22"/>
                  <a:gd name="T56" fmla="*/ 20 w 38"/>
                  <a:gd name="T57" fmla="*/ 2 h 22"/>
                  <a:gd name="T58" fmla="*/ 14 w 38"/>
                  <a:gd name="T59" fmla="*/ 8 h 22"/>
                  <a:gd name="T60" fmla="*/ 10 w 38"/>
                  <a:gd name="T61" fmla="*/ 8 h 22"/>
                  <a:gd name="T62" fmla="*/ 10 w 38"/>
                  <a:gd name="T63" fmla="*/ 8 h 22"/>
                  <a:gd name="T64" fmla="*/ 10 w 38"/>
                  <a:gd name="T65" fmla="*/ 8 h 22"/>
                  <a:gd name="T66" fmla="*/ 10 w 38"/>
                  <a:gd name="T67" fmla="*/ 8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38" h="22">
                    <a:moveTo>
                      <a:pt x="10" y="8"/>
                    </a:moveTo>
                    <a:lnTo>
                      <a:pt x="10" y="8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2" y="8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4" y="20"/>
                    </a:lnTo>
                    <a:lnTo>
                      <a:pt x="6" y="20"/>
                    </a:lnTo>
                    <a:lnTo>
                      <a:pt x="6" y="22"/>
                    </a:lnTo>
                    <a:lnTo>
                      <a:pt x="10" y="22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22" y="18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30" y="16"/>
                    </a:lnTo>
                    <a:lnTo>
                      <a:pt x="32" y="14"/>
                    </a:lnTo>
                    <a:lnTo>
                      <a:pt x="32" y="12"/>
                    </a:lnTo>
                    <a:lnTo>
                      <a:pt x="34" y="10"/>
                    </a:lnTo>
                    <a:lnTo>
                      <a:pt x="36" y="8"/>
                    </a:lnTo>
                    <a:lnTo>
                      <a:pt x="36" y="6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6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30" y="2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0" y="2"/>
                    </a:lnTo>
                    <a:lnTo>
                      <a:pt x="16" y="6"/>
                    </a:lnTo>
                    <a:lnTo>
                      <a:pt x="14" y="8"/>
                    </a:lnTo>
                    <a:lnTo>
                      <a:pt x="12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72" name="Freeform 938"/>
              <p:cNvSpPr>
                <a:spLocks/>
              </p:cNvSpPr>
              <p:nvPr/>
            </p:nvSpPr>
            <p:spPr bwMode="auto">
              <a:xfrm>
                <a:off x="657" y="1514"/>
                <a:ext cx="38" cy="22"/>
              </a:xfrm>
              <a:custGeom>
                <a:avLst/>
                <a:gdLst>
                  <a:gd name="T0" fmla="*/ 10 w 38"/>
                  <a:gd name="T1" fmla="*/ 8 h 22"/>
                  <a:gd name="T2" fmla="*/ 10 w 38"/>
                  <a:gd name="T3" fmla="*/ 4 h 22"/>
                  <a:gd name="T4" fmla="*/ 8 w 38"/>
                  <a:gd name="T5" fmla="*/ 2 h 22"/>
                  <a:gd name="T6" fmla="*/ 8 w 38"/>
                  <a:gd name="T7" fmla="*/ 2 h 22"/>
                  <a:gd name="T8" fmla="*/ 4 w 38"/>
                  <a:gd name="T9" fmla="*/ 4 h 22"/>
                  <a:gd name="T10" fmla="*/ 4 w 38"/>
                  <a:gd name="T11" fmla="*/ 4 h 22"/>
                  <a:gd name="T12" fmla="*/ 2 w 38"/>
                  <a:gd name="T13" fmla="*/ 8 h 22"/>
                  <a:gd name="T14" fmla="*/ 0 w 38"/>
                  <a:gd name="T15" fmla="*/ 10 h 22"/>
                  <a:gd name="T16" fmla="*/ 0 w 38"/>
                  <a:gd name="T17" fmla="*/ 14 h 22"/>
                  <a:gd name="T18" fmla="*/ 2 w 38"/>
                  <a:gd name="T19" fmla="*/ 18 h 22"/>
                  <a:gd name="T20" fmla="*/ 4 w 38"/>
                  <a:gd name="T21" fmla="*/ 20 h 22"/>
                  <a:gd name="T22" fmla="*/ 6 w 38"/>
                  <a:gd name="T23" fmla="*/ 22 h 22"/>
                  <a:gd name="T24" fmla="*/ 12 w 38"/>
                  <a:gd name="T25" fmla="*/ 20 h 22"/>
                  <a:gd name="T26" fmla="*/ 16 w 38"/>
                  <a:gd name="T27" fmla="*/ 20 h 22"/>
                  <a:gd name="T28" fmla="*/ 18 w 38"/>
                  <a:gd name="T29" fmla="*/ 18 h 22"/>
                  <a:gd name="T30" fmla="*/ 22 w 38"/>
                  <a:gd name="T31" fmla="*/ 18 h 22"/>
                  <a:gd name="T32" fmla="*/ 24 w 38"/>
                  <a:gd name="T33" fmla="*/ 16 h 22"/>
                  <a:gd name="T34" fmla="*/ 32 w 38"/>
                  <a:gd name="T35" fmla="*/ 14 h 22"/>
                  <a:gd name="T36" fmla="*/ 34 w 38"/>
                  <a:gd name="T37" fmla="*/ 10 h 22"/>
                  <a:gd name="T38" fmla="*/ 36 w 38"/>
                  <a:gd name="T39" fmla="*/ 6 h 22"/>
                  <a:gd name="T40" fmla="*/ 38 w 38"/>
                  <a:gd name="T41" fmla="*/ 0 h 22"/>
                  <a:gd name="T42" fmla="*/ 36 w 38"/>
                  <a:gd name="T43" fmla="*/ 0 h 22"/>
                  <a:gd name="T44" fmla="*/ 34 w 38"/>
                  <a:gd name="T45" fmla="*/ 0 h 22"/>
                  <a:gd name="T46" fmla="*/ 32 w 38"/>
                  <a:gd name="T47" fmla="*/ 2 h 22"/>
                  <a:gd name="T48" fmla="*/ 30 w 38"/>
                  <a:gd name="T49" fmla="*/ 2 h 22"/>
                  <a:gd name="T50" fmla="*/ 24 w 38"/>
                  <a:gd name="T51" fmla="*/ 0 h 22"/>
                  <a:gd name="T52" fmla="*/ 22 w 38"/>
                  <a:gd name="T53" fmla="*/ 0 h 22"/>
                  <a:gd name="T54" fmla="*/ 22 w 38"/>
                  <a:gd name="T55" fmla="*/ 0 h 22"/>
                  <a:gd name="T56" fmla="*/ 20 w 38"/>
                  <a:gd name="T57" fmla="*/ 2 h 22"/>
                  <a:gd name="T58" fmla="*/ 14 w 38"/>
                  <a:gd name="T59" fmla="*/ 8 h 22"/>
                  <a:gd name="T60" fmla="*/ 10 w 38"/>
                  <a:gd name="T61" fmla="*/ 8 h 22"/>
                  <a:gd name="T62" fmla="*/ 10 w 38"/>
                  <a:gd name="T63" fmla="*/ 8 h 22"/>
                  <a:gd name="T64" fmla="*/ 10 w 38"/>
                  <a:gd name="T65" fmla="*/ 8 h 22"/>
                  <a:gd name="T66" fmla="*/ 10 w 38"/>
                  <a:gd name="T67" fmla="*/ 8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38" h="22">
                    <a:moveTo>
                      <a:pt x="10" y="8"/>
                    </a:moveTo>
                    <a:lnTo>
                      <a:pt x="10" y="8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2" y="8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4" y="20"/>
                    </a:lnTo>
                    <a:lnTo>
                      <a:pt x="6" y="20"/>
                    </a:lnTo>
                    <a:lnTo>
                      <a:pt x="6" y="22"/>
                    </a:lnTo>
                    <a:lnTo>
                      <a:pt x="10" y="22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22" y="18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30" y="16"/>
                    </a:lnTo>
                    <a:lnTo>
                      <a:pt x="32" y="14"/>
                    </a:lnTo>
                    <a:lnTo>
                      <a:pt x="32" y="12"/>
                    </a:lnTo>
                    <a:lnTo>
                      <a:pt x="34" y="10"/>
                    </a:lnTo>
                    <a:lnTo>
                      <a:pt x="36" y="8"/>
                    </a:lnTo>
                    <a:lnTo>
                      <a:pt x="36" y="6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6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30" y="2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0" y="2"/>
                    </a:lnTo>
                    <a:lnTo>
                      <a:pt x="16" y="6"/>
                    </a:lnTo>
                    <a:lnTo>
                      <a:pt x="14" y="8"/>
                    </a:lnTo>
                    <a:lnTo>
                      <a:pt x="12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73" name="Freeform 939"/>
              <p:cNvSpPr>
                <a:spLocks/>
              </p:cNvSpPr>
              <p:nvPr/>
            </p:nvSpPr>
            <p:spPr bwMode="auto">
              <a:xfrm>
                <a:off x="649" y="1532"/>
                <a:ext cx="8" cy="10"/>
              </a:xfrm>
              <a:custGeom>
                <a:avLst/>
                <a:gdLst>
                  <a:gd name="T0" fmla="*/ 4 w 8"/>
                  <a:gd name="T1" fmla="*/ 2 h 10"/>
                  <a:gd name="T2" fmla="*/ 4 w 8"/>
                  <a:gd name="T3" fmla="*/ 2 h 10"/>
                  <a:gd name="T4" fmla="*/ 2 w 8"/>
                  <a:gd name="T5" fmla="*/ 2 h 10"/>
                  <a:gd name="T6" fmla="*/ 2 w 8"/>
                  <a:gd name="T7" fmla="*/ 2 h 10"/>
                  <a:gd name="T8" fmla="*/ 0 w 8"/>
                  <a:gd name="T9" fmla="*/ 4 h 10"/>
                  <a:gd name="T10" fmla="*/ 0 w 8"/>
                  <a:gd name="T11" fmla="*/ 4 h 10"/>
                  <a:gd name="T12" fmla="*/ 0 w 8"/>
                  <a:gd name="T13" fmla="*/ 4 h 10"/>
                  <a:gd name="T14" fmla="*/ 2 w 8"/>
                  <a:gd name="T15" fmla="*/ 4 h 10"/>
                  <a:gd name="T16" fmla="*/ 2 w 8"/>
                  <a:gd name="T17" fmla="*/ 6 h 10"/>
                  <a:gd name="T18" fmla="*/ 2 w 8"/>
                  <a:gd name="T19" fmla="*/ 6 h 10"/>
                  <a:gd name="T20" fmla="*/ 4 w 8"/>
                  <a:gd name="T21" fmla="*/ 6 h 10"/>
                  <a:gd name="T22" fmla="*/ 4 w 8"/>
                  <a:gd name="T23" fmla="*/ 8 h 10"/>
                  <a:gd name="T24" fmla="*/ 4 w 8"/>
                  <a:gd name="T25" fmla="*/ 8 h 10"/>
                  <a:gd name="T26" fmla="*/ 4 w 8"/>
                  <a:gd name="T27" fmla="*/ 8 h 10"/>
                  <a:gd name="T28" fmla="*/ 6 w 8"/>
                  <a:gd name="T29" fmla="*/ 10 h 10"/>
                  <a:gd name="T30" fmla="*/ 6 w 8"/>
                  <a:gd name="T31" fmla="*/ 10 h 10"/>
                  <a:gd name="T32" fmla="*/ 6 w 8"/>
                  <a:gd name="T33" fmla="*/ 10 h 10"/>
                  <a:gd name="T34" fmla="*/ 6 w 8"/>
                  <a:gd name="T35" fmla="*/ 10 h 10"/>
                  <a:gd name="T36" fmla="*/ 6 w 8"/>
                  <a:gd name="T37" fmla="*/ 8 h 10"/>
                  <a:gd name="T38" fmla="*/ 6 w 8"/>
                  <a:gd name="T39" fmla="*/ 8 h 10"/>
                  <a:gd name="T40" fmla="*/ 8 w 8"/>
                  <a:gd name="T41" fmla="*/ 6 h 10"/>
                  <a:gd name="T42" fmla="*/ 8 w 8"/>
                  <a:gd name="T43" fmla="*/ 4 h 10"/>
                  <a:gd name="T44" fmla="*/ 8 w 8"/>
                  <a:gd name="T45" fmla="*/ 2 h 10"/>
                  <a:gd name="T46" fmla="*/ 8 w 8"/>
                  <a:gd name="T47" fmla="*/ 2 h 10"/>
                  <a:gd name="T48" fmla="*/ 8 w 8"/>
                  <a:gd name="T49" fmla="*/ 2 h 10"/>
                  <a:gd name="T50" fmla="*/ 8 w 8"/>
                  <a:gd name="T51" fmla="*/ 0 h 10"/>
                  <a:gd name="T52" fmla="*/ 8 w 8"/>
                  <a:gd name="T53" fmla="*/ 0 h 10"/>
                  <a:gd name="T54" fmla="*/ 8 w 8"/>
                  <a:gd name="T55" fmla="*/ 0 h 10"/>
                  <a:gd name="T56" fmla="*/ 6 w 8"/>
                  <a:gd name="T57" fmla="*/ 0 h 10"/>
                  <a:gd name="T58" fmla="*/ 6 w 8"/>
                  <a:gd name="T59" fmla="*/ 2 h 10"/>
                  <a:gd name="T60" fmla="*/ 4 w 8"/>
                  <a:gd name="T61" fmla="*/ 2 h 10"/>
                  <a:gd name="T62" fmla="*/ 4 w 8"/>
                  <a:gd name="T63" fmla="*/ 2 h 10"/>
                  <a:gd name="T64" fmla="*/ 4 w 8"/>
                  <a:gd name="T65" fmla="*/ 2 h 10"/>
                  <a:gd name="T66" fmla="*/ 4 w 8"/>
                  <a:gd name="T67" fmla="*/ 2 h 10"/>
                  <a:gd name="T68" fmla="*/ 4 w 8"/>
                  <a:gd name="T69" fmla="*/ 2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8" h="10">
                    <a:moveTo>
                      <a:pt x="4" y="2"/>
                    </a:moveTo>
                    <a:lnTo>
                      <a:pt x="4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74" name="Freeform 940"/>
              <p:cNvSpPr>
                <a:spLocks/>
              </p:cNvSpPr>
              <p:nvPr/>
            </p:nvSpPr>
            <p:spPr bwMode="auto">
              <a:xfrm>
                <a:off x="649" y="1532"/>
                <a:ext cx="8" cy="10"/>
              </a:xfrm>
              <a:custGeom>
                <a:avLst/>
                <a:gdLst>
                  <a:gd name="T0" fmla="*/ 4 w 8"/>
                  <a:gd name="T1" fmla="*/ 2 h 10"/>
                  <a:gd name="T2" fmla="*/ 4 w 8"/>
                  <a:gd name="T3" fmla="*/ 2 h 10"/>
                  <a:gd name="T4" fmla="*/ 2 w 8"/>
                  <a:gd name="T5" fmla="*/ 2 h 10"/>
                  <a:gd name="T6" fmla="*/ 2 w 8"/>
                  <a:gd name="T7" fmla="*/ 2 h 10"/>
                  <a:gd name="T8" fmla="*/ 0 w 8"/>
                  <a:gd name="T9" fmla="*/ 4 h 10"/>
                  <a:gd name="T10" fmla="*/ 0 w 8"/>
                  <a:gd name="T11" fmla="*/ 4 h 10"/>
                  <a:gd name="T12" fmla="*/ 0 w 8"/>
                  <a:gd name="T13" fmla="*/ 4 h 10"/>
                  <a:gd name="T14" fmla="*/ 2 w 8"/>
                  <a:gd name="T15" fmla="*/ 4 h 10"/>
                  <a:gd name="T16" fmla="*/ 2 w 8"/>
                  <a:gd name="T17" fmla="*/ 6 h 10"/>
                  <a:gd name="T18" fmla="*/ 2 w 8"/>
                  <a:gd name="T19" fmla="*/ 6 h 10"/>
                  <a:gd name="T20" fmla="*/ 4 w 8"/>
                  <a:gd name="T21" fmla="*/ 6 h 10"/>
                  <a:gd name="T22" fmla="*/ 4 w 8"/>
                  <a:gd name="T23" fmla="*/ 8 h 10"/>
                  <a:gd name="T24" fmla="*/ 4 w 8"/>
                  <a:gd name="T25" fmla="*/ 8 h 10"/>
                  <a:gd name="T26" fmla="*/ 4 w 8"/>
                  <a:gd name="T27" fmla="*/ 8 h 10"/>
                  <a:gd name="T28" fmla="*/ 6 w 8"/>
                  <a:gd name="T29" fmla="*/ 10 h 10"/>
                  <a:gd name="T30" fmla="*/ 6 w 8"/>
                  <a:gd name="T31" fmla="*/ 10 h 10"/>
                  <a:gd name="T32" fmla="*/ 6 w 8"/>
                  <a:gd name="T33" fmla="*/ 10 h 10"/>
                  <a:gd name="T34" fmla="*/ 6 w 8"/>
                  <a:gd name="T35" fmla="*/ 10 h 10"/>
                  <a:gd name="T36" fmla="*/ 6 w 8"/>
                  <a:gd name="T37" fmla="*/ 8 h 10"/>
                  <a:gd name="T38" fmla="*/ 6 w 8"/>
                  <a:gd name="T39" fmla="*/ 8 h 10"/>
                  <a:gd name="T40" fmla="*/ 8 w 8"/>
                  <a:gd name="T41" fmla="*/ 6 h 10"/>
                  <a:gd name="T42" fmla="*/ 8 w 8"/>
                  <a:gd name="T43" fmla="*/ 4 h 10"/>
                  <a:gd name="T44" fmla="*/ 8 w 8"/>
                  <a:gd name="T45" fmla="*/ 2 h 10"/>
                  <a:gd name="T46" fmla="*/ 8 w 8"/>
                  <a:gd name="T47" fmla="*/ 2 h 10"/>
                  <a:gd name="T48" fmla="*/ 8 w 8"/>
                  <a:gd name="T49" fmla="*/ 2 h 10"/>
                  <a:gd name="T50" fmla="*/ 8 w 8"/>
                  <a:gd name="T51" fmla="*/ 0 h 10"/>
                  <a:gd name="T52" fmla="*/ 8 w 8"/>
                  <a:gd name="T53" fmla="*/ 0 h 10"/>
                  <a:gd name="T54" fmla="*/ 8 w 8"/>
                  <a:gd name="T55" fmla="*/ 0 h 10"/>
                  <a:gd name="T56" fmla="*/ 6 w 8"/>
                  <a:gd name="T57" fmla="*/ 0 h 10"/>
                  <a:gd name="T58" fmla="*/ 6 w 8"/>
                  <a:gd name="T59" fmla="*/ 2 h 10"/>
                  <a:gd name="T60" fmla="*/ 4 w 8"/>
                  <a:gd name="T61" fmla="*/ 2 h 10"/>
                  <a:gd name="T62" fmla="*/ 4 w 8"/>
                  <a:gd name="T63" fmla="*/ 2 h 10"/>
                  <a:gd name="T64" fmla="*/ 4 w 8"/>
                  <a:gd name="T65" fmla="*/ 2 h 10"/>
                  <a:gd name="T66" fmla="*/ 4 w 8"/>
                  <a:gd name="T67" fmla="*/ 2 h 10"/>
                  <a:gd name="T68" fmla="*/ 4 w 8"/>
                  <a:gd name="T69" fmla="*/ 2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8" h="10">
                    <a:moveTo>
                      <a:pt x="4" y="2"/>
                    </a:moveTo>
                    <a:lnTo>
                      <a:pt x="4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75" name="Freeform 941"/>
              <p:cNvSpPr>
                <a:spLocks/>
              </p:cNvSpPr>
              <p:nvPr/>
            </p:nvSpPr>
            <p:spPr bwMode="auto">
              <a:xfrm>
                <a:off x="695" y="1520"/>
                <a:ext cx="4" cy="6"/>
              </a:xfrm>
              <a:custGeom>
                <a:avLst/>
                <a:gdLst>
                  <a:gd name="T0" fmla="*/ 0 w 4"/>
                  <a:gd name="T1" fmla="*/ 2 h 6"/>
                  <a:gd name="T2" fmla="*/ 0 w 4"/>
                  <a:gd name="T3" fmla="*/ 2 h 6"/>
                  <a:gd name="T4" fmla="*/ 0 w 4"/>
                  <a:gd name="T5" fmla="*/ 4 h 6"/>
                  <a:gd name="T6" fmla="*/ 2 w 4"/>
                  <a:gd name="T7" fmla="*/ 6 h 6"/>
                  <a:gd name="T8" fmla="*/ 2 w 4"/>
                  <a:gd name="T9" fmla="*/ 6 h 6"/>
                  <a:gd name="T10" fmla="*/ 2 w 4"/>
                  <a:gd name="T11" fmla="*/ 6 h 6"/>
                  <a:gd name="T12" fmla="*/ 2 w 4"/>
                  <a:gd name="T13" fmla="*/ 6 h 6"/>
                  <a:gd name="T14" fmla="*/ 4 w 4"/>
                  <a:gd name="T15" fmla="*/ 6 h 6"/>
                  <a:gd name="T16" fmla="*/ 4 w 4"/>
                  <a:gd name="T17" fmla="*/ 4 h 6"/>
                  <a:gd name="T18" fmla="*/ 4 w 4"/>
                  <a:gd name="T19" fmla="*/ 4 h 6"/>
                  <a:gd name="T20" fmla="*/ 4 w 4"/>
                  <a:gd name="T21" fmla="*/ 4 h 6"/>
                  <a:gd name="T22" fmla="*/ 4 w 4"/>
                  <a:gd name="T23" fmla="*/ 2 h 6"/>
                  <a:gd name="T24" fmla="*/ 4 w 4"/>
                  <a:gd name="T25" fmla="*/ 2 h 6"/>
                  <a:gd name="T26" fmla="*/ 4 w 4"/>
                  <a:gd name="T27" fmla="*/ 0 h 6"/>
                  <a:gd name="T28" fmla="*/ 4 w 4"/>
                  <a:gd name="T29" fmla="*/ 0 h 6"/>
                  <a:gd name="T30" fmla="*/ 2 w 4"/>
                  <a:gd name="T31" fmla="*/ 0 h 6"/>
                  <a:gd name="T32" fmla="*/ 2 w 4"/>
                  <a:gd name="T33" fmla="*/ 0 h 6"/>
                  <a:gd name="T34" fmla="*/ 2 w 4"/>
                  <a:gd name="T35" fmla="*/ 0 h 6"/>
                  <a:gd name="T36" fmla="*/ 2 w 4"/>
                  <a:gd name="T37" fmla="*/ 2 h 6"/>
                  <a:gd name="T38" fmla="*/ 0 w 4"/>
                  <a:gd name="T39" fmla="*/ 2 h 6"/>
                  <a:gd name="T40" fmla="*/ 0 w 4"/>
                  <a:gd name="T41" fmla="*/ 2 h 6"/>
                  <a:gd name="T42" fmla="*/ 0 w 4"/>
                  <a:gd name="T43" fmla="*/ 2 h 6"/>
                  <a:gd name="T44" fmla="*/ 0 w 4"/>
                  <a:gd name="T45" fmla="*/ 2 h 6"/>
                  <a:gd name="T46" fmla="*/ 0 w 4"/>
                  <a:gd name="T47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" h="6">
                    <a:moveTo>
                      <a:pt x="0" y="2"/>
                    </a:move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76" name="Freeform 942"/>
              <p:cNvSpPr>
                <a:spLocks/>
              </p:cNvSpPr>
              <p:nvPr/>
            </p:nvSpPr>
            <p:spPr bwMode="auto">
              <a:xfrm>
                <a:off x="695" y="1520"/>
                <a:ext cx="4" cy="6"/>
              </a:xfrm>
              <a:custGeom>
                <a:avLst/>
                <a:gdLst>
                  <a:gd name="T0" fmla="*/ 0 w 4"/>
                  <a:gd name="T1" fmla="*/ 2 h 6"/>
                  <a:gd name="T2" fmla="*/ 0 w 4"/>
                  <a:gd name="T3" fmla="*/ 2 h 6"/>
                  <a:gd name="T4" fmla="*/ 0 w 4"/>
                  <a:gd name="T5" fmla="*/ 4 h 6"/>
                  <a:gd name="T6" fmla="*/ 2 w 4"/>
                  <a:gd name="T7" fmla="*/ 6 h 6"/>
                  <a:gd name="T8" fmla="*/ 2 w 4"/>
                  <a:gd name="T9" fmla="*/ 6 h 6"/>
                  <a:gd name="T10" fmla="*/ 2 w 4"/>
                  <a:gd name="T11" fmla="*/ 6 h 6"/>
                  <a:gd name="T12" fmla="*/ 2 w 4"/>
                  <a:gd name="T13" fmla="*/ 6 h 6"/>
                  <a:gd name="T14" fmla="*/ 4 w 4"/>
                  <a:gd name="T15" fmla="*/ 6 h 6"/>
                  <a:gd name="T16" fmla="*/ 4 w 4"/>
                  <a:gd name="T17" fmla="*/ 4 h 6"/>
                  <a:gd name="T18" fmla="*/ 4 w 4"/>
                  <a:gd name="T19" fmla="*/ 4 h 6"/>
                  <a:gd name="T20" fmla="*/ 4 w 4"/>
                  <a:gd name="T21" fmla="*/ 4 h 6"/>
                  <a:gd name="T22" fmla="*/ 4 w 4"/>
                  <a:gd name="T23" fmla="*/ 2 h 6"/>
                  <a:gd name="T24" fmla="*/ 4 w 4"/>
                  <a:gd name="T25" fmla="*/ 2 h 6"/>
                  <a:gd name="T26" fmla="*/ 4 w 4"/>
                  <a:gd name="T27" fmla="*/ 0 h 6"/>
                  <a:gd name="T28" fmla="*/ 4 w 4"/>
                  <a:gd name="T29" fmla="*/ 0 h 6"/>
                  <a:gd name="T30" fmla="*/ 2 w 4"/>
                  <a:gd name="T31" fmla="*/ 0 h 6"/>
                  <a:gd name="T32" fmla="*/ 2 w 4"/>
                  <a:gd name="T33" fmla="*/ 0 h 6"/>
                  <a:gd name="T34" fmla="*/ 2 w 4"/>
                  <a:gd name="T35" fmla="*/ 0 h 6"/>
                  <a:gd name="T36" fmla="*/ 2 w 4"/>
                  <a:gd name="T37" fmla="*/ 2 h 6"/>
                  <a:gd name="T38" fmla="*/ 0 w 4"/>
                  <a:gd name="T39" fmla="*/ 2 h 6"/>
                  <a:gd name="T40" fmla="*/ 0 w 4"/>
                  <a:gd name="T41" fmla="*/ 2 h 6"/>
                  <a:gd name="T42" fmla="*/ 0 w 4"/>
                  <a:gd name="T43" fmla="*/ 2 h 6"/>
                  <a:gd name="T44" fmla="*/ 0 w 4"/>
                  <a:gd name="T45" fmla="*/ 2 h 6"/>
                  <a:gd name="T46" fmla="*/ 0 w 4"/>
                  <a:gd name="T47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" h="6">
                    <a:moveTo>
                      <a:pt x="0" y="2"/>
                    </a:move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77" name="Freeform 943"/>
              <p:cNvSpPr>
                <a:spLocks/>
              </p:cNvSpPr>
              <p:nvPr/>
            </p:nvSpPr>
            <p:spPr bwMode="auto">
              <a:xfrm>
                <a:off x="691" y="1496"/>
                <a:ext cx="22" cy="12"/>
              </a:xfrm>
              <a:custGeom>
                <a:avLst/>
                <a:gdLst>
                  <a:gd name="T0" fmla="*/ 12 w 22"/>
                  <a:gd name="T1" fmla="*/ 2 h 12"/>
                  <a:gd name="T2" fmla="*/ 12 w 22"/>
                  <a:gd name="T3" fmla="*/ 2 h 12"/>
                  <a:gd name="T4" fmla="*/ 10 w 22"/>
                  <a:gd name="T5" fmla="*/ 4 h 12"/>
                  <a:gd name="T6" fmla="*/ 10 w 22"/>
                  <a:gd name="T7" fmla="*/ 4 h 12"/>
                  <a:gd name="T8" fmla="*/ 6 w 22"/>
                  <a:gd name="T9" fmla="*/ 6 h 12"/>
                  <a:gd name="T10" fmla="*/ 6 w 22"/>
                  <a:gd name="T11" fmla="*/ 6 h 12"/>
                  <a:gd name="T12" fmla="*/ 4 w 22"/>
                  <a:gd name="T13" fmla="*/ 6 h 12"/>
                  <a:gd name="T14" fmla="*/ 2 w 22"/>
                  <a:gd name="T15" fmla="*/ 8 h 12"/>
                  <a:gd name="T16" fmla="*/ 2 w 22"/>
                  <a:gd name="T17" fmla="*/ 8 h 12"/>
                  <a:gd name="T18" fmla="*/ 2 w 22"/>
                  <a:gd name="T19" fmla="*/ 8 h 12"/>
                  <a:gd name="T20" fmla="*/ 0 w 22"/>
                  <a:gd name="T21" fmla="*/ 8 h 12"/>
                  <a:gd name="T22" fmla="*/ 0 w 22"/>
                  <a:gd name="T23" fmla="*/ 8 h 12"/>
                  <a:gd name="T24" fmla="*/ 0 w 22"/>
                  <a:gd name="T25" fmla="*/ 10 h 12"/>
                  <a:gd name="T26" fmla="*/ 0 w 22"/>
                  <a:gd name="T27" fmla="*/ 10 h 12"/>
                  <a:gd name="T28" fmla="*/ 2 w 22"/>
                  <a:gd name="T29" fmla="*/ 12 h 12"/>
                  <a:gd name="T30" fmla="*/ 4 w 22"/>
                  <a:gd name="T31" fmla="*/ 12 h 12"/>
                  <a:gd name="T32" fmla="*/ 6 w 22"/>
                  <a:gd name="T33" fmla="*/ 12 h 12"/>
                  <a:gd name="T34" fmla="*/ 8 w 22"/>
                  <a:gd name="T35" fmla="*/ 12 h 12"/>
                  <a:gd name="T36" fmla="*/ 8 w 22"/>
                  <a:gd name="T37" fmla="*/ 12 h 12"/>
                  <a:gd name="T38" fmla="*/ 10 w 22"/>
                  <a:gd name="T39" fmla="*/ 12 h 12"/>
                  <a:gd name="T40" fmla="*/ 10 w 22"/>
                  <a:gd name="T41" fmla="*/ 10 h 12"/>
                  <a:gd name="T42" fmla="*/ 14 w 22"/>
                  <a:gd name="T43" fmla="*/ 10 h 12"/>
                  <a:gd name="T44" fmla="*/ 14 w 22"/>
                  <a:gd name="T45" fmla="*/ 10 h 12"/>
                  <a:gd name="T46" fmla="*/ 16 w 22"/>
                  <a:gd name="T47" fmla="*/ 8 h 12"/>
                  <a:gd name="T48" fmla="*/ 18 w 22"/>
                  <a:gd name="T49" fmla="*/ 6 h 12"/>
                  <a:gd name="T50" fmla="*/ 18 w 22"/>
                  <a:gd name="T51" fmla="*/ 6 h 12"/>
                  <a:gd name="T52" fmla="*/ 20 w 22"/>
                  <a:gd name="T53" fmla="*/ 4 h 12"/>
                  <a:gd name="T54" fmla="*/ 22 w 22"/>
                  <a:gd name="T55" fmla="*/ 2 h 12"/>
                  <a:gd name="T56" fmla="*/ 22 w 22"/>
                  <a:gd name="T57" fmla="*/ 2 h 12"/>
                  <a:gd name="T58" fmla="*/ 22 w 22"/>
                  <a:gd name="T59" fmla="*/ 2 h 12"/>
                  <a:gd name="T60" fmla="*/ 22 w 22"/>
                  <a:gd name="T61" fmla="*/ 2 h 12"/>
                  <a:gd name="T62" fmla="*/ 22 w 22"/>
                  <a:gd name="T63" fmla="*/ 0 h 12"/>
                  <a:gd name="T64" fmla="*/ 22 w 22"/>
                  <a:gd name="T65" fmla="*/ 0 h 12"/>
                  <a:gd name="T66" fmla="*/ 22 w 22"/>
                  <a:gd name="T67" fmla="*/ 0 h 12"/>
                  <a:gd name="T68" fmla="*/ 22 w 22"/>
                  <a:gd name="T69" fmla="*/ 0 h 12"/>
                  <a:gd name="T70" fmla="*/ 20 w 22"/>
                  <a:gd name="T71" fmla="*/ 0 h 12"/>
                  <a:gd name="T72" fmla="*/ 20 w 22"/>
                  <a:gd name="T73" fmla="*/ 0 h 12"/>
                  <a:gd name="T74" fmla="*/ 18 w 22"/>
                  <a:gd name="T75" fmla="*/ 0 h 12"/>
                  <a:gd name="T76" fmla="*/ 16 w 22"/>
                  <a:gd name="T77" fmla="*/ 0 h 12"/>
                  <a:gd name="T78" fmla="*/ 14 w 22"/>
                  <a:gd name="T79" fmla="*/ 0 h 12"/>
                  <a:gd name="T80" fmla="*/ 14 w 22"/>
                  <a:gd name="T81" fmla="*/ 0 h 12"/>
                  <a:gd name="T82" fmla="*/ 12 w 22"/>
                  <a:gd name="T83" fmla="*/ 0 h 12"/>
                  <a:gd name="T84" fmla="*/ 12 w 22"/>
                  <a:gd name="T85" fmla="*/ 0 h 12"/>
                  <a:gd name="T86" fmla="*/ 12 w 22"/>
                  <a:gd name="T87" fmla="*/ 2 h 12"/>
                  <a:gd name="T88" fmla="*/ 12 w 22"/>
                  <a:gd name="T89" fmla="*/ 2 h 12"/>
                  <a:gd name="T90" fmla="*/ 12 w 22"/>
                  <a:gd name="T91" fmla="*/ 2 h 12"/>
                  <a:gd name="T92" fmla="*/ 12 w 22"/>
                  <a:gd name="T93" fmla="*/ 2 h 12"/>
                  <a:gd name="T94" fmla="*/ 12 w 22"/>
                  <a:gd name="T95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" h="12">
                    <a:moveTo>
                      <a:pt x="12" y="2"/>
                    </a:moveTo>
                    <a:lnTo>
                      <a:pt x="12" y="2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4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0" y="12"/>
                    </a:lnTo>
                    <a:lnTo>
                      <a:pt x="10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6" y="8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20" y="4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78" name="Freeform 944"/>
              <p:cNvSpPr>
                <a:spLocks/>
              </p:cNvSpPr>
              <p:nvPr/>
            </p:nvSpPr>
            <p:spPr bwMode="auto">
              <a:xfrm>
                <a:off x="691" y="1496"/>
                <a:ext cx="22" cy="12"/>
              </a:xfrm>
              <a:custGeom>
                <a:avLst/>
                <a:gdLst>
                  <a:gd name="T0" fmla="*/ 12 w 22"/>
                  <a:gd name="T1" fmla="*/ 2 h 12"/>
                  <a:gd name="T2" fmla="*/ 12 w 22"/>
                  <a:gd name="T3" fmla="*/ 2 h 12"/>
                  <a:gd name="T4" fmla="*/ 10 w 22"/>
                  <a:gd name="T5" fmla="*/ 4 h 12"/>
                  <a:gd name="T6" fmla="*/ 10 w 22"/>
                  <a:gd name="T7" fmla="*/ 4 h 12"/>
                  <a:gd name="T8" fmla="*/ 6 w 22"/>
                  <a:gd name="T9" fmla="*/ 6 h 12"/>
                  <a:gd name="T10" fmla="*/ 6 w 22"/>
                  <a:gd name="T11" fmla="*/ 6 h 12"/>
                  <a:gd name="T12" fmla="*/ 4 w 22"/>
                  <a:gd name="T13" fmla="*/ 6 h 12"/>
                  <a:gd name="T14" fmla="*/ 2 w 22"/>
                  <a:gd name="T15" fmla="*/ 8 h 12"/>
                  <a:gd name="T16" fmla="*/ 2 w 22"/>
                  <a:gd name="T17" fmla="*/ 8 h 12"/>
                  <a:gd name="T18" fmla="*/ 2 w 22"/>
                  <a:gd name="T19" fmla="*/ 8 h 12"/>
                  <a:gd name="T20" fmla="*/ 0 w 22"/>
                  <a:gd name="T21" fmla="*/ 8 h 12"/>
                  <a:gd name="T22" fmla="*/ 0 w 22"/>
                  <a:gd name="T23" fmla="*/ 8 h 12"/>
                  <a:gd name="T24" fmla="*/ 0 w 22"/>
                  <a:gd name="T25" fmla="*/ 10 h 12"/>
                  <a:gd name="T26" fmla="*/ 0 w 22"/>
                  <a:gd name="T27" fmla="*/ 10 h 12"/>
                  <a:gd name="T28" fmla="*/ 2 w 22"/>
                  <a:gd name="T29" fmla="*/ 12 h 12"/>
                  <a:gd name="T30" fmla="*/ 4 w 22"/>
                  <a:gd name="T31" fmla="*/ 12 h 12"/>
                  <a:gd name="T32" fmla="*/ 6 w 22"/>
                  <a:gd name="T33" fmla="*/ 12 h 12"/>
                  <a:gd name="T34" fmla="*/ 8 w 22"/>
                  <a:gd name="T35" fmla="*/ 12 h 12"/>
                  <a:gd name="T36" fmla="*/ 8 w 22"/>
                  <a:gd name="T37" fmla="*/ 12 h 12"/>
                  <a:gd name="T38" fmla="*/ 10 w 22"/>
                  <a:gd name="T39" fmla="*/ 12 h 12"/>
                  <a:gd name="T40" fmla="*/ 10 w 22"/>
                  <a:gd name="T41" fmla="*/ 10 h 12"/>
                  <a:gd name="T42" fmla="*/ 14 w 22"/>
                  <a:gd name="T43" fmla="*/ 10 h 12"/>
                  <a:gd name="T44" fmla="*/ 14 w 22"/>
                  <a:gd name="T45" fmla="*/ 10 h 12"/>
                  <a:gd name="T46" fmla="*/ 16 w 22"/>
                  <a:gd name="T47" fmla="*/ 8 h 12"/>
                  <a:gd name="T48" fmla="*/ 18 w 22"/>
                  <a:gd name="T49" fmla="*/ 6 h 12"/>
                  <a:gd name="T50" fmla="*/ 18 w 22"/>
                  <a:gd name="T51" fmla="*/ 6 h 12"/>
                  <a:gd name="T52" fmla="*/ 20 w 22"/>
                  <a:gd name="T53" fmla="*/ 4 h 12"/>
                  <a:gd name="T54" fmla="*/ 22 w 22"/>
                  <a:gd name="T55" fmla="*/ 2 h 12"/>
                  <a:gd name="T56" fmla="*/ 22 w 22"/>
                  <a:gd name="T57" fmla="*/ 2 h 12"/>
                  <a:gd name="T58" fmla="*/ 22 w 22"/>
                  <a:gd name="T59" fmla="*/ 2 h 12"/>
                  <a:gd name="T60" fmla="*/ 22 w 22"/>
                  <a:gd name="T61" fmla="*/ 2 h 12"/>
                  <a:gd name="T62" fmla="*/ 22 w 22"/>
                  <a:gd name="T63" fmla="*/ 0 h 12"/>
                  <a:gd name="T64" fmla="*/ 22 w 22"/>
                  <a:gd name="T65" fmla="*/ 0 h 12"/>
                  <a:gd name="T66" fmla="*/ 22 w 22"/>
                  <a:gd name="T67" fmla="*/ 0 h 12"/>
                  <a:gd name="T68" fmla="*/ 22 w 22"/>
                  <a:gd name="T69" fmla="*/ 0 h 12"/>
                  <a:gd name="T70" fmla="*/ 20 w 22"/>
                  <a:gd name="T71" fmla="*/ 0 h 12"/>
                  <a:gd name="T72" fmla="*/ 20 w 22"/>
                  <a:gd name="T73" fmla="*/ 0 h 12"/>
                  <a:gd name="T74" fmla="*/ 18 w 22"/>
                  <a:gd name="T75" fmla="*/ 0 h 12"/>
                  <a:gd name="T76" fmla="*/ 16 w 22"/>
                  <a:gd name="T77" fmla="*/ 0 h 12"/>
                  <a:gd name="T78" fmla="*/ 14 w 22"/>
                  <a:gd name="T79" fmla="*/ 0 h 12"/>
                  <a:gd name="T80" fmla="*/ 14 w 22"/>
                  <a:gd name="T81" fmla="*/ 0 h 12"/>
                  <a:gd name="T82" fmla="*/ 12 w 22"/>
                  <a:gd name="T83" fmla="*/ 0 h 12"/>
                  <a:gd name="T84" fmla="*/ 12 w 22"/>
                  <a:gd name="T85" fmla="*/ 0 h 12"/>
                  <a:gd name="T86" fmla="*/ 12 w 22"/>
                  <a:gd name="T87" fmla="*/ 2 h 12"/>
                  <a:gd name="T88" fmla="*/ 12 w 22"/>
                  <a:gd name="T89" fmla="*/ 2 h 12"/>
                  <a:gd name="T90" fmla="*/ 12 w 22"/>
                  <a:gd name="T91" fmla="*/ 2 h 12"/>
                  <a:gd name="T92" fmla="*/ 12 w 22"/>
                  <a:gd name="T93" fmla="*/ 2 h 12"/>
                  <a:gd name="T94" fmla="*/ 12 w 22"/>
                  <a:gd name="T95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2" h="12">
                    <a:moveTo>
                      <a:pt x="12" y="2"/>
                    </a:moveTo>
                    <a:lnTo>
                      <a:pt x="12" y="2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4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0" y="12"/>
                    </a:lnTo>
                    <a:lnTo>
                      <a:pt x="10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6" y="8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20" y="4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79" name="Freeform 945"/>
              <p:cNvSpPr>
                <a:spLocks/>
              </p:cNvSpPr>
              <p:nvPr/>
            </p:nvSpPr>
            <p:spPr bwMode="auto">
              <a:xfrm>
                <a:off x="449" y="1560"/>
                <a:ext cx="10" cy="6"/>
              </a:xfrm>
              <a:custGeom>
                <a:avLst/>
                <a:gdLst>
                  <a:gd name="T0" fmla="*/ 2 w 10"/>
                  <a:gd name="T1" fmla="*/ 2 h 6"/>
                  <a:gd name="T2" fmla="*/ 2 w 10"/>
                  <a:gd name="T3" fmla="*/ 2 h 6"/>
                  <a:gd name="T4" fmla="*/ 0 w 10"/>
                  <a:gd name="T5" fmla="*/ 4 h 6"/>
                  <a:gd name="T6" fmla="*/ 0 w 10"/>
                  <a:gd name="T7" fmla="*/ 4 h 6"/>
                  <a:gd name="T8" fmla="*/ 0 w 10"/>
                  <a:gd name="T9" fmla="*/ 6 h 6"/>
                  <a:gd name="T10" fmla="*/ 0 w 10"/>
                  <a:gd name="T11" fmla="*/ 6 h 6"/>
                  <a:gd name="T12" fmla="*/ 2 w 10"/>
                  <a:gd name="T13" fmla="*/ 4 h 6"/>
                  <a:gd name="T14" fmla="*/ 4 w 10"/>
                  <a:gd name="T15" fmla="*/ 4 h 6"/>
                  <a:gd name="T16" fmla="*/ 6 w 10"/>
                  <a:gd name="T17" fmla="*/ 4 h 6"/>
                  <a:gd name="T18" fmla="*/ 6 w 10"/>
                  <a:gd name="T19" fmla="*/ 4 h 6"/>
                  <a:gd name="T20" fmla="*/ 8 w 10"/>
                  <a:gd name="T21" fmla="*/ 2 h 6"/>
                  <a:gd name="T22" fmla="*/ 10 w 10"/>
                  <a:gd name="T23" fmla="*/ 2 h 6"/>
                  <a:gd name="T24" fmla="*/ 10 w 10"/>
                  <a:gd name="T25" fmla="*/ 2 h 6"/>
                  <a:gd name="T26" fmla="*/ 10 w 10"/>
                  <a:gd name="T27" fmla="*/ 0 h 6"/>
                  <a:gd name="T28" fmla="*/ 10 w 10"/>
                  <a:gd name="T29" fmla="*/ 0 h 6"/>
                  <a:gd name="T30" fmla="*/ 8 w 10"/>
                  <a:gd name="T31" fmla="*/ 0 h 6"/>
                  <a:gd name="T32" fmla="*/ 8 w 10"/>
                  <a:gd name="T33" fmla="*/ 0 h 6"/>
                  <a:gd name="T34" fmla="*/ 8 w 10"/>
                  <a:gd name="T35" fmla="*/ 0 h 6"/>
                  <a:gd name="T36" fmla="*/ 6 w 10"/>
                  <a:gd name="T37" fmla="*/ 0 h 6"/>
                  <a:gd name="T38" fmla="*/ 4 w 10"/>
                  <a:gd name="T39" fmla="*/ 0 h 6"/>
                  <a:gd name="T40" fmla="*/ 2 w 10"/>
                  <a:gd name="T41" fmla="*/ 2 h 6"/>
                  <a:gd name="T42" fmla="*/ 2 w 10"/>
                  <a:gd name="T43" fmla="*/ 2 h 6"/>
                  <a:gd name="T44" fmla="*/ 2 w 10"/>
                  <a:gd name="T45" fmla="*/ 2 h 6"/>
                  <a:gd name="T46" fmla="*/ 2 w 10"/>
                  <a:gd name="T47" fmla="*/ 2 h 6"/>
                  <a:gd name="T48" fmla="*/ 2 w 10"/>
                  <a:gd name="T49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0" h="6">
                    <a:moveTo>
                      <a:pt x="2" y="2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8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80" name="Freeform 946"/>
              <p:cNvSpPr>
                <a:spLocks/>
              </p:cNvSpPr>
              <p:nvPr/>
            </p:nvSpPr>
            <p:spPr bwMode="auto">
              <a:xfrm>
                <a:off x="449" y="1560"/>
                <a:ext cx="10" cy="6"/>
              </a:xfrm>
              <a:custGeom>
                <a:avLst/>
                <a:gdLst>
                  <a:gd name="T0" fmla="*/ 2 w 10"/>
                  <a:gd name="T1" fmla="*/ 2 h 6"/>
                  <a:gd name="T2" fmla="*/ 2 w 10"/>
                  <a:gd name="T3" fmla="*/ 2 h 6"/>
                  <a:gd name="T4" fmla="*/ 0 w 10"/>
                  <a:gd name="T5" fmla="*/ 4 h 6"/>
                  <a:gd name="T6" fmla="*/ 0 w 10"/>
                  <a:gd name="T7" fmla="*/ 4 h 6"/>
                  <a:gd name="T8" fmla="*/ 0 w 10"/>
                  <a:gd name="T9" fmla="*/ 6 h 6"/>
                  <a:gd name="T10" fmla="*/ 0 w 10"/>
                  <a:gd name="T11" fmla="*/ 6 h 6"/>
                  <a:gd name="T12" fmla="*/ 2 w 10"/>
                  <a:gd name="T13" fmla="*/ 4 h 6"/>
                  <a:gd name="T14" fmla="*/ 4 w 10"/>
                  <a:gd name="T15" fmla="*/ 4 h 6"/>
                  <a:gd name="T16" fmla="*/ 6 w 10"/>
                  <a:gd name="T17" fmla="*/ 4 h 6"/>
                  <a:gd name="T18" fmla="*/ 6 w 10"/>
                  <a:gd name="T19" fmla="*/ 4 h 6"/>
                  <a:gd name="T20" fmla="*/ 8 w 10"/>
                  <a:gd name="T21" fmla="*/ 2 h 6"/>
                  <a:gd name="T22" fmla="*/ 10 w 10"/>
                  <a:gd name="T23" fmla="*/ 2 h 6"/>
                  <a:gd name="T24" fmla="*/ 10 w 10"/>
                  <a:gd name="T25" fmla="*/ 2 h 6"/>
                  <a:gd name="T26" fmla="*/ 10 w 10"/>
                  <a:gd name="T27" fmla="*/ 0 h 6"/>
                  <a:gd name="T28" fmla="*/ 10 w 10"/>
                  <a:gd name="T29" fmla="*/ 0 h 6"/>
                  <a:gd name="T30" fmla="*/ 8 w 10"/>
                  <a:gd name="T31" fmla="*/ 0 h 6"/>
                  <a:gd name="T32" fmla="*/ 8 w 10"/>
                  <a:gd name="T33" fmla="*/ 0 h 6"/>
                  <a:gd name="T34" fmla="*/ 8 w 10"/>
                  <a:gd name="T35" fmla="*/ 0 h 6"/>
                  <a:gd name="T36" fmla="*/ 6 w 10"/>
                  <a:gd name="T37" fmla="*/ 0 h 6"/>
                  <a:gd name="T38" fmla="*/ 4 w 10"/>
                  <a:gd name="T39" fmla="*/ 0 h 6"/>
                  <a:gd name="T40" fmla="*/ 2 w 10"/>
                  <a:gd name="T41" fmla="*/ 2 h 6"/>
                  <a:gd name="T42" fmla="*/ 2 w 10"/>
                  <a:gd name="T43" fmla="*/ 2 h 6"/>
                  <a:gd name="T44" fmla="*/ 2 w 10"/>
                  <a:gd name="T45" fmla="*/ 2 h 6"/>
                  <a:gd name="T46" fmla="*/ 2 w 10"/>
                  <a:gd name="T47" fmla="*/ 2 h 6"/>
                  <a:gd name="T48" fmla="*/ 2 w 10"/>
                  <a:gd name="T49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0" h="6">
                    <a:moveTo>
                      <a:pt x="2" y="2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8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81" name="Freeform 947"/>
              <p:cNvSpPr>
                <a:spLocks/>
              </p:cNvSpPr>
              <p:nvPr/>
            </p:nvSpPr>
            <p:spPr bwMode="auto">
              <a:xfrm>
                <a:off x="427" y="1562"/>
                <a:ext cx="14" cy="8"/>
              </a:xfrm>
              <a:custGeom>
                <a:avLst/>
                <a:gdLst>
                  <a:gd name="T0" fmla="*/ 6 w 14"/>
                  <a:gd name="T1" fmla="*/ 2 h 8"/>
                  <a:gd name="T2" fmla="*/ 6 w 14"/>
                  <a:gd name="T3" fmla="*/ 2 h 8"/>
                  <a:gd name="T4" fmla="*/ 4 w 14"/>
                  <a:gd name="T5" fmla="*/ 4 h 8"/>
                  <a:gd name="T6" fmla="*/ 2 w 14"/>
                  <a:gd name="T7" fmla="*/ 4 h 8"/>
                  <a:gd name="T8" fmla="*/ 2 w 14"/>
                  <a:gd name="T9" fmla="*/ 4 h 8"/>
                  <a:gd name="T10" fmla="*/ 0 w 14"/>
                  <a:gd name="T11" fmla="*/ 6 h 8"/>
                  <a:gd name="T12" fmla="*/ 0 w 14"/>
                  <a:gd name="T13" fmla="*/ 6 h 8"/>
                  <a:gd name="T14" fmla="*/ 0 w 14"/>
                  <a:gd name="T15" fmla="*/ 6 h 8"/>
                  <a:gd name="T16" fmla="*/ 2 w 14"/>
                  <a:gd name="T17" fmla="*/ 8 h 8"/>
                  <a:gd name="T18" fmla="*/ 2 w 14"/>
                  <a:gd name="T19" fmla="*/ 8 h 8"/>
                  <a:gd name="T20" fmla="*/ 2 w 14"/>
                  <a:gd name="T21" fmla="*/ 8 h 8"/>
                  <a:gd name="T22" fmla="*/ 2 w 14"/>
                  <a:gd name="T23" fmla="*/ 8 h 8"/>
                  <a:gd name="T24" fmla="*/ 4 w 14"/>
                  <a:gd name="T25" fmla="*/ 8 h 8"/>
                  <a:gd name="T26" fmla="*/ 6 w 14"/>
                  <a:gd name="T27" fmla="*/ 8 h 8"/>
                  <a:gd name="T28" fmla="*/ 6 w 14"/>
                  <a:gd name="T29" fmla="*/ 8 h 8"/>
                  <a:gd name="T30" fmla="*/ 10 w 14"/>
                  <a:gd name="T31" fmla="*/ 8 h 8"/>
                  <a:gd name="T32" fmla="*/ 12 w 14"/>
                  <a:gd name="T33" fmla="*/ 8 h 8"/>
                  <a:gd name="T34" fmla="*/ 12 w 14"/>
                  <a:gd name="T35" fmla="*/ 6 h 8"/>
                  <a:gd name="T36" fmla="*/ 14 w 14"/>
                  <a:gd name="T37" fmla="*/ 6 h 8"/>
                  <a:gd name="T38" fmla="*/ 14 w 14"/>
                  <a:gd name="T39" fmla="*/ 6 h 8"/>
                  <a:gd name="T40" fmla="*/ 14 w 14"/>
                  <a:gd name="T41" fmla="*/ 6 h 8"/>
                  <a:gd name="T42" fmla="*/ 14 w 14"/>
                  <a:gd name="T43" fmla="*/ 4 h 8"/>
                  <a:gd name="T44" fmla="*/ 14 w 14"/>
                  <a:gd name="T45" fmla="*/ 2 h 8"/>
                  <a:gd name="T46" fmla="*/ 14 w 14"/>
                  <a:gd name="T47" fmla="*/ 2 h 8"/>
                  <a:gd name="T48" fmla="*/ 14 w 14"/>
                  <a:gd name="T49" fmla="*/ 2 h 8"/>
                  <a:gd name="T50" fmla="*/ 12 w 14"/>
                  <a:gd name="T51" fmla="*/ 0 h 8"/>
                  <a:gd name="T52" fmla="*/ 12 w 14"/>
                  <a:gd name="T53" fmla="*/ 0 h 8"/>
                  <a:gd name="T54" fmla="*/ 10 w 14"/>
                  <a:gd name="T55" fmla="*/ 2 h 8"/>
                  <a:gd name="T56" fmla="*/ 8 w 14"/>
                  <a:gd name="T57" fmla="*/ 2 h 8"/>
                  <a:gd name="T58" fmla="*/ 6 w 14"/>
                  <a:gd name="T59" fmla="*/ 2 h 8"/>
                  <a:gd name="T60" fmla="*/ 6 w 14"/>
                  <a:gd name="T61" fmla="*/ 2 h 8"/>
                  <a:gd name="T62" fmla="*/ 6 w 14"/>
                  <a:gd name="T63" fmla="*/ 2 h 8"/>
                  <a:gd name="T64" fmla="*/ 6 w 14"/>
                  <a:gd name="T65" fmla="*/ 2 h 8"/>
                  <a:gd name="T66" fmla="*/ 6 w 14"/>
                  <a:gd name="T67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4" h="8">
                    <a:moveTo>
                      <a:pt x="6" y="2"/>
                    </a:moveTo>
                    <a:lnTo>
                      <a:pt x="6" y="2"/>
                    </a:lnTo>
                    <a:lnTo>
                      <a:pt x="4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10" y="8"/>
                    </a:lnTo>
                    <a:lnTo>
                      <a:pt x="12" y="8"/>
                    </a:lnTo>
                    <a:lnTo>
                      <a:pt x="12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4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2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82" name="Freeform 948"/>
              <p:cNvSpPr>
                <a:spLocks/>
              </p:cNvSpPr>
              <p:nvPr/>
            </p:nvSpPr>
            <p:spPr bwMode="auto">
              <a:xfrm>
                <a:off x="427" y="1562"/>
                <a:ext cx="14" cy="8"/>
              </a:xfrm>
              <a:custGeom>
                <a:avLst/>
                <a:gdLst>
                  <a:gd name="T0" fmla="*/ 6 w 14"/>
                  <a:gd name="T1" fmla="*/ 2 h 8"/>
                  <a:gd name="T2" fmla="*/ 6 w 14"/>
                  <a:gd name="T3" fmla="*/ 2 h 8"/>
                  <a:gd name="T4" fmla="*/ 4 w 14"/>
                  <a:gd name="T5" fmla="*/ 4 h 8"/>
                  <a:gd name="T6" fmla="*/ 2 w 14"/>
                  <a:gd name="T7" fmla="*/ 4 h 8"/>
                  <a:gd name="T8" fmla="*/ 2 w 14"/>
                  <a:gd name="T9" fmla="*/ 4 h 8"/>
                  <a:gd name="T10" fmla="*/ 0 w 14"/>
                  <a:gd name="T11" fmla="*/ 6 h 8"/>
                  <a:gd name="T12" fmla="*/ 0 w 14"/>
                  <a:gd name="T13" fmla="*/ 6 h 8"/>
                  <a:gd name="T14" fmla="*/ 0 w 14"/>
                  <a:gd name="T15" fmla="*/ 6 h 8"/>
                  <a:gd name="T16" fmla="*/ 2 w 14"/>
                  <a:gd name="T17" fmla="*/ 8 h 8"/>
                  <a:gd name="T18" fmla="*/ 2 w 14"/>
                  <a:gd name="T19" fmla="*/ 8 h 8"/>
                  <a:gd name="T20" fmla="*/ 2 w 14"/>
                  <a:gd name="T21" fmla="*/ 8 h 8"/>
                  <a:gd name="T22" fmla="*/ 2 w 14"/>
                  <a:gd name="T23" fmla="*/ 8 h 8"/>
                  <a:gd name="T24" fmla="*/ 4 w 14"/>
                  <a:gd name="T25" fmla="*/ 8 h 8"/>
                  <a:gd name="T26" fmla="*/ 6 w 14"/>
                  <a:gd name="T27" fmla="*/ 8 h 8"/>
                  <a:gd name="T28" fmla="*/ 6 w 14"/>
                  <a:gd name="T29" fmla="*/ 8 h 8"/>
                  <a:gd name="T30" fmla="*/ 10 w 14"/>
                  <a:gd name="T31" fmla="*/ 8 h 8"/>
                  <a:gd name="T32" fmla="*/ 12 w 14"/>
                  <a:gd name="T33" fmla="*/ 8 h 8"/>
                  <a:gd name="T34" fmla="*/ 12 w 14"/>
                  <a:gd name="T35" fmla="*/ 6 h 8"/>
                  <a:gd name="T36" fmla="*/ 14 w 14"/>
                  <a:gd name="T37" fmla="*/ 6 h 8"/>
                  <a:gd name="T38" fmla="*/ 14 w 14"/>
                  <a:gd name="T39" fmla="*/ 6 h 8"/>
                  <a:gd name="T40" fmla="*/ 14 w 14"/>
                  <a:gd name="T41" fmla="*/ 6 h 8"/>
                  <a:gd name="T42" fmla="*/ 14 w 14"/>
                  <a:gd name="T43" fmla="*/ 4 h 8"/>
                  <a:gd name="T44" fmla="*/ 14 w 14"/>
                  <a:gd name="T45" fmla="*/ 2 h 8"/>
                  <a:gd name="T46" fmla="*/ 14 w 14"/>
                  <a:gd name="T47" fmla="*/ 2 h 8"/>
                  <a:gd name="T48" fmla="*/ 14 w 14"/>
                  <a:gd name="T49" fmla="*/ 2 h 8"/>
                  <a:gd name="T50" fmla="*/ 12 w 14"/>
                  <a:gd name="T51" fmla="*/ 0 h 8"/>
                  <a:gd name="T52" fmla="*/ 12 w 14"/>
                  <a:gd name="T53" fmla="*/ 0 h 8"/>
                  <a:gd name="T54" fmla="*/ 10 w 14"/>
                  <a:gd name="T55" fmla="*/ 2 h 8"/>
                  <a:gd name="T56" fmla="*/ 8 w 14"/>
                  <a:gd name="T57" fmla="*/ 2 h 8"/>
                  <a:gd name="T58" fmla="*/ 6 w 14"/>
                  <a:gd name="T59" fmla="*/ 2 h 8"/>
                  <a:gd name="T60" fmla="*/ 6 w 14"/>
                  <a:gd name="T61" fmla="*/ 2 h 8"/>
                  <a:gd name="T62" fmla="*/ 6 w 14"/>
                  <a:gd name="T63" fmla="*/ 2 h 8"/>
                  <a:gd name="T64" fmla="*/ 6 w 14"/>
                  <a:gd name="T65" fmla="*/ 2 h 8"/>
                  <a:gd name="T66" fmla="*/ 6 w 14"/>
                  <a:gd name="T67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4" h="8">
                    <a:moveTo>
                      <a:pt x="6" y="2"/>
                    </a:moveTo>
                    <a:lnTo>
                      <a:pt x="6" y="2"/>
                    </a:lnTo>
                    <a:lnTo>
                      <a:pt x="4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10" y="8"/>
                    </a:lnTo>
                    <a:lnTo>
                      <a:pt x="12" y="8"/>
                    </a:lnTo>
                    <a:lnTo>
                      <a:pt x="12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4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2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83" name="Freeform 949"/>
              <p:cNvSpPr>
                <a:spLocks/>
              </p:cNvSpPr>
              <p:nvPr/>
            </p:nvSpPr>
            <p:spPr bwMode="auto">
              <a:xfrm>
                <a:off x="419" y="1572"/>
                <a:ext cx="22" cy="12"/>
              </a:xfrm>
              <a:custGeom>
                <a:avLst/>
                <a:gdLst>
                  <a:gd name="T0" fmla="*/ 10 w 22"/>
                  <a:gd name="T1" fmla="*/ 0 h 12"/>
                  <a:gd name="T2" fmla="*/ 10 w 22"/>
                  <a:gd name="T3" fmla="*/ 0 h 12"/>
                  <a:gd name="T4" fmla="*/ 6 w 22"/>
                  <a:gd name="T5" fmla="*/ 2 h 12"/>
                  <a:gd name="T6" fmla="*/ 4 w 22"/>
                  <a:gd name="T7" fmla="*/ 4 h 12"/>
                  <a:gd name="T8" fmla="*/ 4 w 22"/>
                  <a:gd name="T9" fmla="*/ 4 h 12"/>
                  <a:gd name="T10" fmla="*/ 2 w 22"/>
                  <a:gd name="T11" fmla="*/ 6 h 12"/>
                  <a:gd name="T12" fmla="*/ 0 w 22"/>
                  <a:gd name="T13" fmla="*/ 8 h 12"/>
                  <a:gd name="T14" fmla="*/ 0 w 22"/>
                  <a:gd name="T15" fmla="*/ 8 h 12"/>
                  <a:gd name="T16" fmla="*/ 0 w 22"/>
                  <a:gd name="T17" fmla="*/ 10 h 12"/>
                  <a:gd name="T18" fmla="*/ 0 w 22"/>
                  <a:gd name="T19" fmla="*/ 12 h 12"/>
                  <a:gd name="T20" fmla="*/ 0 w 22"/>
                  <a:gd name="T21" fmla="*/ 12 h 12"/>
                  <a:gd name="T22" fmla="*/ 0 w 22"/>
                  <a:gd name="T23" fmla="*/ 12 h 12"/>
                  <a:gd name="T24" fmla="*/ 2 w 22"/>
                  <a:gd name="T25" fmla="*/ 12 h 12"/>
                  <a:gd name="T26" fmla="*/ 2 w 22"/>
                  <a:gd name="T27" fmla="*/ 12 h 12"/>
                  <a:gd name="T28" fmla="*/ 4 w 22"/>
                  <a:gd name="T29" fmla="*/ 10 h 12"/>
                  <a:gd name="T30" fmla="*/ 6 w 22"/>
                  <a:gd name="T31" fmla="*/ 10 h 12"/>
                  <a:gd name="T32" fmla="*/ 6 w 22"/>
                  <a:gd name="T33" fmla="*/ 10 h 12"/>
                  <a:gd name="T34" fmla="*/ 10 w 22"/>
                  <a:gd name="T35" fmla="*/ 10 h 12"/>
                  <a:gd name="T36" fmla="*/ 10 w 22"/>
                  <a:gd name="T37" fmla="*/ 10 h 12"/>
                  <a:gd name="T38" fmla="*/ 10 w 22"/>
                  <a:gd name="T39" fmla="*/ 8 h 12"/>
                  <a:gd name="T40" fmla="*/ 12 w 22"/>
                  <a:gd name="T41" fmla="*/ 8 h 12"/>
                  <a:gd name="T42" fmla="*/ 12 w 22"/>
                  <a:gd name="T43" fmla="*/ 8 h 12"/>
                  <a:gd name="T44" fmla="*/ 14 w 22"/>
                  <a:gd name="T45" fmla="*/ 8 h 12"/>
                  <a:gd name="T46" fmla="*/ 16 w 22"/>
                  <a:gd name="T47" fmla="*/ 8 h 12"/>
                  <a:gd name="T48" fmla="*/ 16 w 22"/>
                  <a:gd name="T49" fmla="*/ 8 h 12"/>
                  <a:gd name="T50" fmla="*/ 16 w 22"/>
                  <a:gd name="T51" fmla="*/ 8 h 12"/>
                  <a:gd name="T52" fmla="*/ 18 w 22"/>
                  <a:gd name="T53" fmla="*/ 6 h 12"/>
                  <a:gd name="T54" fmla="*/ 18 w 22"/>
                  <a:gd name="T55" fmla="*/ 6 h 12"/>
                  <a:gd name="T56" fmla="*/ 18 w 22"/>
                  <a:gd name="T57" fmla="*/ 6 h 12"/>
                  <a:gd name="T58" fmla="*/ 20 w 22"/>
                  <a:gd name="T59" fmla="*/ 4 h 12"/>
                  <a:gd name="T60" fmla="*/ 22 w 22"/>
                  <a:gd name="T61" fmla="*/ 2 h 12"/>
                  <a:gd name="T62" fmla="*/ 22 w 22"/>
                  <a:gd name="T63" fmla="*/ 2 h 12"/>
                  <a:gd name="T64" fmla="*/ 22 w 22"/>
                  <a:gd name="T65" fmla="*/ 2 h 12"/>
                  <a:gd name="T66" fmla="*/ 22 w 22"/>
                  <a:gd name="T67" fmla="*/ 2 h 12"/>
                  <a:gd name="T68" fmla="*/ 20 w 22"/>
                  <a:gd name="T69" fmla="*/ 0 h 12"/>
                  <a:gd name="T70" fmla="*/ 18 w 22"/>
                  <a:gd name="T71" fmla="*/ 0 h 12"/>
                  <a:gd name="T72" fmla="*/ 16 w 22"/>
                  <a:gd name="T73" fmla="*/ 0 h 12"/>
                  <a:gd name="T74" fmla="*/ 16 w 22"/>
                  <a:gd name="T75" fmla="*/ 0 h 12"/>
                  <a:gd name="T76" fmla="*/ 14 w 22"/>
                  <a:gd name="T77" fmla="*/ 0 h 12"/>
                  <a:gd name="T78" fmla="*/ 12 w 22"/>
                  <a:gd name="T79" fmla="*/ 0 h 12"/>
                  <a:gd name="T80" fmla="*/ 10 w 22"/>
                  <a:gd name="T81" fmla="*/ 0 h 12"/>
                  <a:gd name="T82" fmla="*/ 10 w 22"/>
                  <a:gd name="T83" fmla="*/ 0 h 12"/>
                  <a:gd name="T84" fmla="*/ 10 w 22"/>
                  <a:gd name="T85" fmla="*/ 0 h 12"/>
                  <a:gd name="T86" fmla="*/ 10 w 22"/>
                  <a:gd name="T87" fmla="*/ 0 h 12"/>
                  <a:gd name="T88" fmla="*/ 10 w 22"/>
                  <a:gd name="T8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2" h="12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0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4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20" y="4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84" name="Freeform 950"/>
              <p:cNvSpPr>
                <a:spLocks/>
              </p:cNvSpPr>
              <p:nvPr/>
            </p:nvSpPr>
            <p:spPr bwMode="auto">
              <a:xfrm>
                <a:off x="419" y="1572"/>
                <a:ext cx="22" cy="12"/>
              </a:xfrm>
              <a:custGeom>
                <a:avLst/>
                <a:gdLst>
                  <a:gd name="T0" fmla="*/ 10 w 22"/>
                  <a:gd name="T1" fmla="*/ 0 h 12"/>
                  <a:gd name="T2" fmla="*/ 10 w 22"/>
                  <a:gd name="T3" fmla="*/ 0 h 12"/>
                  <a:gd name="T4" fmla="*/ 6 w 22"/>
                  <a:gd name="T5" fmla="*/ 2 h 12"/>
                  <a:gd name="T6" fmla="*/ 4 w 22"/>
                  <a:gd name="T7" fmla="*/ 4 h 12"/>
                  <a:gd name="T8" fmla="*/ 4 w 22"/>
                  <a:gd name="T9" fmla="*/ 4 h 12"/>
                  <a:gd name="T10" fmla="*/ 2 w 22"/>
                  <a:gd name="T11" fmla="*/ 6 h 12"/>
                  <a:gd name="T12" fmla="*/ 0 w 22"/>
                  <a:gd name="T13" fmla="*/ 8 h 12"/>
                  <a:gd name="T14" fmla="*/ 0 w 22"/>
                  <a:gd name="T15" fmla="*/ 8 h 12"/>
                  <a:gd name="T16" fmla="*/ 0 w 22"/>
                  <a:gd name="T17" fmla="*/ 10 h 12"/>
                  <a:gd name="T18" fmla="*/ 0 w 22"/>
                  <a:gd name="T19" fmla="*/ 12 h 12"/>
                  <a:gd name="T20" fmla="*/ 0 w 22"/>
                  <a:gd name="T21" fmla="*/ 12 h 12"/>
                  <a:gd name="T22" fmla="*/ 0 w 22"/>
                  <a:gd name="T23" fmla="*/ 12 h 12"/>
                  <a:gd name="T24" fmla="*/ 2 w 22"/>
                  <a:gd name="T25" fmla="*/ 12 h 12"/>
                  <a:gd name="T26" fmla="*/ 2 w 22"/>
                  <a:gd name="T27" fmla="*/ 12 h 12"/>
                  <a:gd name="T28" fmla="*/ 4 w 22"/>
                  <a:gd name="T29" fmla="*/ 10 h 12"/>
                  <a:gd name="T30" fmla="*/ 6 w 22"/>
                  <a:gd name="T31" fmla="*/ 10 h 12"/>
                  <a:gd name="T32" fmla="*/ 6 w 22"/>
                  <a:gd name="T33" fmla="*/ 10 h 12"/>
                  <a:gd name="T34" fmla="*/ 10 w 22"/>
                  <a:gd name="T35" fmla="*/ 10 h 12"/>
                  <a:gd name="T36" fmla="*/ 10 w 22"/>
                  <a:gd name="T37" fmla="*/ 10 h 12"/>
                  <a:gd name="T38" fmla="*/ 10 w 22"/>
                  <a:gd name="T39" fmla="*/ 8 h 12"/>
                  <a:gd name="T40" fmla="*/ 12 w 22"/>
                  <a:gd name="T41" fmla="*/ 8 h 12"/>
                  <a:gd name="T42" fmla="*/ 12 w 22"/>
                  <a:gd name="T43" fmla="*/ 8 h 12"/>
                  <a:gd name="T44" fmla="*/ 14 w 22"/>
                  <a:gd name="T45" fmla="*/ 8 h 12"/>
                  <a:gd name="T46" fmla="*/ 16 w 22"/>
                  <a:gd name="T47" fmla="*/ 8 h 12"/>
                  <a:gd name="T48" fmla="*/ 16 w 22"/>
                  <a:gd name="T49" fmla="*/ 8 h 12"/>
                  <a:gd name="T50" fmla="*/ 16 w 22"/>
                  <a:gd name="T51" fmla="*/ 8 h 12"/>
                  <a:gd name="T52" fmla="*/ 18 w 22"/>
                  <a:gd name="T53" fmla="*/ 6 h 12"/>
                  <a:gd name="T54" fmla="*/ 18 w 22"/>
                  <a:gd name="T55" fmla="*/ 6 h 12"/>
                  <a:gd name="T56" fmla="*/ 18 w 22"/>
                  <a:gd name="T57" fmla="*/ 6 h 12"/>
                  <a:gd name="T58" fmla="*/ 20 w 22"/>
                  <a:gd name="T59" fmla="*/ 4 h 12"/>
                  <a:gd name="T60" fmla="*/ 22 w 22"/>
                  <a:gd name="T61" fmla="*/ 2 h 12"/>
                  <a:gd name="T62" fmla="*/ 22 w 22"/>
                  <a:gd name="T63" fmla="*/ 2 h 12"/>
                  <a:gd name="T64" fmla="*/ 22 w 22"/>
                  <a:gd name="T65" fmla="*/ 2 h 12"/>
                  <a:gd name="T66" fmla="*/ 22 w 22"/>
                  <a:gd name="T67" fmla="*/ 2 h 12"/>
                  <a:gd name="T68" fmla="*/ 20 w 22"/>
                  <a:gd name="T69" fmla="*/ 0 h 12"/>
                  <a:gd name="T70" fmla="*/ 18 w 22"/>
                  <a:gd name="T71" fmla="*/ 0 h 12"/>
                  <a:gd name="T72" fmla="*/ 16 w 22"/>
                  <a:gd name="T73" fmla="*/ 0 h 12"/>
                  <a:gd name="T74" fmla="*/ 16 w 22"/>
                  <a:gd name="T75" fmla="*/ 0 h 12"/>
                  <a:gd name="T76" fmla="*/ 14 w 22"/>
                  <a:gd name="T77" fmla="*/ 0 h 12"/>
                  <a:gd name="T78" fmla="*/ 12 w 22"/>
                  <a:gd name="T79" fmla="*/ 0 h 12"/>
                  <a:gd name="T80" fmla="*/ 10 w 22"/>
                  <a:gd name="T81" fmla="*/ 0 h 12"/>
                  <a:gd name="T82" fmla="*/ 10 w 22"/>
                  <a:gd name="T83" fmla="*/ 0 h 12"/>
                  <a:gd name="T84" fmla="*/ 10 w 22"/>
                  <a:gd name="T85" fmla="*/ 0 h 12"/>
                  <a:gd name="T86" fmla="*/ 10 w 22"/>
                  <a:gd name="T87" fmla="*/ 0 h 12"/>
                  <a:gd name="T88" fmla="*/ 10 w 22"/>
                  <a:gd name="T8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2" h="12">
                    <a:moveTo>
                      <a:pt x="10" y="0"/>
                    </a:moveTo>
                    <a:lnTo>
                      <a:pt x="10" y="0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0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4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20" y="4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85" name="Freeform 951"/>
              <p:cNvSpPr>
                <a:spLocks/>
              </p:cNvSpPr>
              <p:nvPr/>
            </p:nvSpPr>
            <p:spPr bwMode="auto">
              <a:xfrm>
                <a:off x="393" y="1568"/>
                <a:ext cx="26" cy="20"/>
              </a:xfrm>
              <a:custGeom>
                <a:avLst/>
                <a:gdLst>
                  <a:gd name="T0" fmla="*/ 20 w 26"/>
                  <a:gd name="T1" fmla="*/ 2 h 20"/>
                  <a:gd name="T2" fmla="*/ 20 w 26"/>
                  <a:gd name="T3" fmla="*/ 2 h 20"/>
                  <a:gd name="T4" fmla="*/ 20 w 26"/>
                  <a:gd name="T5" fmla="*/ 0 h 20"/>
                  <a:gd name="T6" fmla="*/ 18 w 26"/>
                  <a:gd name="T7" fmla="*/ 0 h 20"/>
                  <a:gd name="T8" fmla="*/ 18 w 26"/>
                  <a:gd name="T9" fmla="*/ 0 h 20"/>
                  <a:gd name="T10" fmla="*/ 18 w 26"/>
                  <a:gd name="T11" fmla="*/ 2 h 20"/>
                  <a:gd name="T12" fmla="*/ 16 w 26"/>
                  <a:gd name="T13" fmla="*/ 4 h 20"/>
                  <a:gd name="T14" fmla="*/ 16 w 26"/>
                  <a:gd name="T15" fmla="*/ 4 h 20"/>
                  <a:gd name="T16" fmla="*/ 12 w 26"/>
                  <a:gd name="T17" fmla="*/ 6 h 20"/>
                  <a:gd name="T18" fmla="*/ 12 w 26"/>
                  <a:gd name="T19" fmla="*/ 8 h 20"/>
                  <a:gd name="T20" fmla="*/ 10 w 26"/>
                  <a:gd name="T21" fmla="*/ 8 h 20"/>
                  <a:gd name="T22" fmla="*/ 10 w 26"/>
                  <a:gd name="T23" fmla="*/ 8 h 20"/>
                  <a:gd name="T24" fmla="*/ 8 w 26"/>
                  <a:gd name="T25" fmla="*/ 8 h 20"/>
                  <a:gd name="T26" fmla="*/ 6 w 26"/>
                  <a:gd name="T27" fmla="*/ 8 h 20"/>
                  <a:gd name="T28" fmla="*/ 6 w 26"/>
                  <a:gd name="T29" fmla="*/ 8 h 20"/>
                  <a:gd name="T30" fmla="*/ 6 w 26"/>
                  <a:gd name="T31" fmla="*/ 10 h 20"/>
                  <a:gd name="T32" fmla="*/ 4 w 26"/>
                  <a:gd name="T33" fmla="*/ 10 h 20"/>
                  <a:gd name="T34" fmla="*/ 4 w 26"/>
                  <a:gd name="T35" fmla="*/ 10 h 20"/>
                  <a:gd name="T36" fmla="*/ 2 w 26"/>
                  <a:gd name="T37" fmla="*/ 12 h 20"/>
                  <a:gd name="T38" fmla="*/ 2 w 26"/>
                  <a:gd name="T39" fmla="*/ 14 h 20"/>
                  <a:gd name="T40" fmla="*/ 0 w 26"/>
                  <a:gd name="T41" fmla="*/ 14 h 20"/>
                  <a:gd name="T42" fmla="*/ 0 w 26"/>
                  <a:gd name="T43" fmla="*/ 16 h 20"/>
                  <a:gd name="T44" fmla="*/ 0 w 26"/>
                  <a:gd name="T45" fmla="*/ 16 h 20"/>
                  <a:gd name="T46" fmla="*/ 0 w 26"/>
                  <a:gd name="T47" fmla="*/ 18 h 20"/>
                  <a:gd name="T48" fmla="*/ 0 w 26"/>
                  <a:gd name="T49" fmla="*/ 18 h 20"/>
                  <a:gd name="T50" fmla="*/ 2 w 26"/>
                  <a:gd name="T51" fmla="*/ 20 h 20"/>
                  <a:gd name="T52" fmla="*/ 2 w 26"/>
                  <a:gd name="T53" fmla="*/ 20 h 20"/>
                  <a:gd name="T54" fmla="*/ 2 w 26"/>
                  <a:gd name="T55" fmla="*/ 20 h 20"/>
                  <a:gd name="T56" fmla="*/ 4 w 26"/>
                  <a:gd name="T57" fmla="*/ 18 h 20"/>
                  <a:gd name="T58" fmla="*/ 6 w 26"/>
                  <a:gd name="T59" fmla="*/ 18 h 20"/>
                  <a:gd name="T60" fmla="*/ 6 w 26"/>
                  <a:gd name="T61" fmla="*/ 16 h 20"/>
                  <a:gd name="T62" fmla="*/ 8 w 26"/>
                  <a:gd name="T63" fmla="*/ 16 h 20"/>
                  <a:gd name="T64" fmla="*/ 8 w 26"/>
                  <a:gd name="T65" fmla="*/ 16 h 20"/>
                  <a:gd name="T66" fmla="*/ 12 w 26"/>
                  <a:gd name="T67" fmla="*/ 14 h 20"/>
                  <a:gd name="T68" fmla="*/ 12 w 26"/>
                  <a:gd name="T69" fmla="*/ 14 h 20"/>
                  <a:gd name="T70" fmla="*/ 14 w 26"/>
                  <a:gd name="T71" fmla="*/ 14 h 20"/>
                  <a:gd name="T72" fmla="*/ 14 w 26"/>
                  <a:gd name="T73" fmla="*/ 14 h 20"/>
                  <a:gd name="T74" fmla="*/ 20 w 26"/>
                  <a:gd name="T75" fmla="*/ 12 h 20"/>
                  <a:gd name="T76" fmla="*/ 24 w 26"/>
                  <a:gd name="T77" fmla="*/ 10 h 20"/>
                  <a:gd name="T78" fmla="*/ 24 w 26"/>
                  <a:gd name="T79" fmla="*/ 10 h 20"/>
                  <a:gd name="T80" fmla="*/ 26 w 26"/>
                  <a:gd name="T81" fmla="*/ 10 h 20"/>
                  <a:gd name="T82" fmla="*/ 26 w 26"/>
                  <a:gd name="T83" fmla="*/ 8 h 20"/>
                  <a:gd name="T84" fmla="*/ 26 w 26"/>
                  <a:gd name="T85" fmla="*/ 8 h 20"/>
                  <a:gd name="T86" fmla="*/ 26 w 26"/>
                  <a:gd name="T87" fmla="*/ 6 h 20"/>
                  <a:gd name="T88" fmla="*/ 26 w 26"/>
                  <a:gd name="T89" fmla="*/ 6 h 20"/>
                  <a:gd name="T90" fmla="*/ 26 w 26"/>
                  <a:gd name="T91" fmla="*/ 6 h 20"/>
                  <a:gd name="T92" fmla="*/ 26 w 26"/>
                  <a:gd name="T93" fmla="*/ 4 h 20"/>
                  <a:gd name="T94" fmla="*/ 24 w 26"/>
                  <a:gd name="T95" fmla="*/ 4 h 20"/>
                  <a:gd name="T96" fmla="*/ 24 w 26"/>
                  <a:gd name="T97" fmla="*/ 4 h 20"/>
                  <a:gd name="T98" fmla="*/ 24 w 26"/>
                  <a:gd name="T99" fmla="*/ 4 h 20"/>
                  <a:gd name="T100" fmla="*/ 22 w 26"/>
                  <a:gd name="T101" fmla="*/ 4 h 20"/>
                  <a:gd name="T102" fmla="*/ 22 w 26"/>
                  <a:gd name="T103" fmla="*/ 4 h 20"/>
                  <a:gd name="T104" fmla="*/ 20 w 26"/>
                  <a:gd name="T105" fmla="*/ 2 h 20"/>
                  <a:gd name="T106" fmla="*/ 20 w 26"/>
                  <a:gd name="T107" fmla="*/ 2 h 20"/>
                  <a:gd name="T108" fmla="*/ 20 w 26"/>
                  <a:gd name="T109" fmla="*/ 2 h 20"/>
                  <a:gd name="T110" fmla="*/ 20 w 26"/>
                  <a:gd name="T111" fmla="*/ 2 h 20"/>
                  <a:gd name="T112" fmla="*/ 20 w 26"/>
                  <a:gd name="T113" fmla="*/ 2 h 20"/>
                  <a:gd name="T114" fmla="*/ 20 w 26"/>
                  <a:gd name="T115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6" h="20">
                    <a:moveTo>
                      <a:pt x="20" y="2"/>
                    </a:moveTo>
                    <a:lnTo>
                      <a:pt x="20" y="2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2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6"/>
                    </a:lnTo>
                    <a:lnTo>
                      <a:pt x="12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8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2" y="12"/>
                    </a:lnTo>
                    <a:lnTo>
                      <a:pt x="2" y="14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4" y="18"/>
                    </a:lnTo>
                    <a:lnTo>
                      <a:pt x="6" y="18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20" y="12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6" y="10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86" name="Freeform 952"/>
              <p:cNvSpPr>
                <a:spLocks/>
              </p:cNvSpPr>
              <p:nvPr/>
            </p:nvSpPr>
            <p:spPr bwMode="auto">
              <a:xfrm>
                <a:off x="393" y="1568"/>
                <a:ext cx="26" cy="20"/>
              </a:xfrm>
              <a:custGeom>
                <a:avLst/>
                <a:gdLst>
                  <a:gd name="T0" fmla="*/ 20 w 26"/>
                  <a:gd name="T1" fmla="*/ 2 h 20"/>
                  <a:gd name="T2" fmla="*/ 20 w 26"/>
                  <a:gd name="T3" fmla="*/ 2 h 20"/>
                  <a:gd name="T4" fmla="*/ 20 w 26"/>
                  <a:gd name="T5" fmla="*/ 0 h 20"/>
                  <a:gd name="T6" fmla="*/ 18 w 26"/>
                  <a:gd name="T7" fmla="*/ 0 h 20"/>
                  <a:gd name="T8" fmla="*/ 18 w 26"/>
                  <a:gd name="T9" fmla="*/ 0 h 20"/>
                  <a:gd name="T10" fmla="*/ 18 w 26"/>
                  <a:gd name="T11" fmla="*/ 2 h 20"/>
                  <a:gd name="T12" fmla="*/ 16 w 26"/>
                  <a:gd name="T13" fmla="*/ 4 h 20"/>
                  <a:gd name="T14" fmla="*/ 16 w 26"/>
                  <a:gd name="T15" fmla="*/ 4 h 20"/>
                  <a:gd name="T16" fmla="*/ 12 w 26"/>
                  <a:gd name="T17" fmla="*/ 6 h 20"/>
                  <a:gd name="T18" fmla="*/ 12 w 26"/>
                  <a:gd name="T19" fmla="*/ 8 h 20"/>
                  <a:gd name="T20" fmla="*/ 10 w 26"/>
                  <a:gd name="T21" fmla="*/ 8 h 20"/>
                  <a:gd name="T22" fmla="*/ 10 w 26"/>
                  <a:gd name="T23" fmla="*/ 8 h 20"/>
                  <a:gd name="T24" fmla="*/ 8 w 26"/>
                  <a:gd name="T25" fmla="*/ 8 h 20"/>
                  <a:gd name="T26" fmla="*/ 6 w 26"/>
                  <a:gd name="T27" fmla="*/ 8 h 20"/>
                  <a:gd name="T28" fmla="*/ 6 w 26"/>
                  <a:gd name="T29" fmla="*/ 8 h 20"/>
                  <a:gd name="T30" fmla="*/ 6 w 26"/>
                  <a:gd name="T31" fmla="*/ 10 h 20"/>
                  <a:gd name="T32" fmla="*/ 4 w 26"/>
                  <a:gd name="T33" fmla="*/ 10 h 20"/>
                  <a:gd name="T34" fmla="*/ 4 w 26"/>
                  <a:gd name="T35" fmla="*/ 10 h 20"/>
                  <a:gd name="T36" fmla="*/ 2 w 26"/>
                  <a:gd name="T37" fmla="*/ 12 h 20"/>
                  <a:gd name="T38" fmla="*/ 2 w 26"/>
                  <a:gd name="T39" fmla="*/ 14 h 20"/>
                  <a:gd name="T40" fmla="*/ 0 w 26"/>
                  <a:gd name="T41" fmla="*/ 14 h 20"/>
                  <a:gd name="T42" fmla="*/ 0 w 26"/>
                  <a:gd name="T43" fmla="*/ 16 h 20"/>
                  <a:gd name="T44" fmla="*/ 0 w 26"/>
                  <a:gd name="T45" fmla="*/ 16 h 20"/>
                  <a:gd name="T46" fmla="*/ 0 w 26"/>
                  <a:gd name="T47" fmla="*/ 18 h 20"/>
                  <a:gd name="T48" fmla="*/ 0 w 26"/>
                  <a:gd name="T49" fmla="*/ 18 h 20"/>
                  <a:gd name="T50" fmla="*/ 2 w 26"/>
                  <a:gd name="T51" fmla="*/ 20 h 20"/>
                  <a:gd name="T52" fmla="*/ 2 w 26"/>
                  <a:gd name="T53" fmla="*/ 20 h 20"/>
                  <a:gd name="T54" fmla="*/ 2 w 26"/>
                  <a:gd name="T55" fmla="*/ 20 h 20"/>
                  <a:gd name="T56" fmla="*/ 4 w 26"/>
                  <a:gd name="T57" fmla="*/ 18 h 20"/>
                  <a:gd name="T58" fmla="*/ 6 w 26"/>
                  <a:gd name="T59" fmla="*/ 18 h 20"/>
                  <a:gd name="T60" fmla="*/ 6 w 26"/>
                  <a:gd name="T61" fmla="*/ 16 h 20"/>
                  <a:gd name="T62" fmla="*/ 8 w 26"/>
                  <a:gd name="T63" fmla="*/ 16 h 20"/>
                  <a:gd name="T64" fmla="*/ 8 w 26"/>
                  <a:gd name="T65" fmla="*/ 16 h 20"/>
                  <a:gd name="T66" fmla="*/ 12 w 26"/>
                  <a:gd name="T67" fmla="*/ 14 h 20"/>
                  <a:gd name="T68" fmla="*/ 12 w 26"/>
                  <a:gd name="T69" fmla="*/ 14 h 20"/>
                  <a:gd name="T70" fmla="*/ 14 w 26"/>
                  <a:gd name="T71" fmla="*/ 14 h 20"/>
                  <a:gd name="T72" fmla="*/ 14 w 26"/>
                  <a:gd name="T73" fmla="*/ 14 h 20"/>
                  <a:gd name="T74" fmla="*/ 20 w 26"/>
                  <a:gd name="T75" fmla="*/ 12 h 20"/>
                  <a:gd name="T76" fmla="*/ 24 w 26"/>
                  <a:gd name="T77" fmla="*/ 10 h 20"/>
                  <a:gd name="T78" fmla="*/ 24 w 26"/>
                  <a:gd name="T79" fmla="*/ 10 h 20"/>
                  <a:gd name="T80" fmla="*/ 26 w 26"/>
                  <a:gd name="T81" fmla="*/ 10 h 20"/>
                  <a:gd name="T82" fmla="*/ 26 w 26"/>
                  <a:gd name="T83" fmla="*/ 8 h 20"/>
                  <a:gd name="T84" fmla="*/ 26 w 26"/>
                  <a:gd name="T85" fmla="*/ 8 h 20"/>
                  <a:gd name="T86" fmla="*/ 26 w 26"/>
                  <a:gd name="T87" fmla="*/ 6 h 20"/>
                  <a:gd name="T88" fmla="*/ 26 w 26"/>
                  <a:gd name="T89" fmla="*/ 6 h 20"/>
                  <a:gd name="T90" fmla="*/ 26 w 26"/>
                  <a:gd name="T91" fmla="*/ 6 h 20"/>
                  <a:gd name="T92" fmla="*/ 26 w 26"/>
                  <a:gd name="T93" fmla="*/ 4 h 20"/>
                  <a:gd name="T94" fmla="*/ 24 w 26"/>
                  <a:gd name="T95" fmla="*/ 4 h 20"/>
                  <a:gd name="T96" fmla="*/ 24 w 26"/>
                  <a:gd name="T97" fmla="*/ 4 h 20"/>
                  <a:gd name="T98" fmla="*/ 24 w 26"/>
                  <a:gd name="T99" fmla="*/ 4 h 20"/>
                  <a:gd name="T100" fmla="*/ 22 w 26"/>
                  <a:gd name="T101" fmla="*/ 4 h 20"/>
                  <a:gd name="T102" fmla="*/ 22 w 26"/>
                  <a:gd name="T103" fmla="*/ 4 h 20"/>
                  <a:gd name="T104" fmla="*/ 20 w 26"/>
                  <a:gd name="T105" fmla="*/ 2 h 20"/>
                  <a:gd name="T106" fmla="*/ 20 w 26"/>
                  <a:gd name="T107" fmla="*/ 2 h 20"/>
                  <a:gd name="T108" fmla="*/ 20 w 26"/>
                  <a:gd name="T109" fmla="*/ 2 h 20"/>
                  <a:gd name="T110" fmla="*/ 20 w 26"/>
                  <a:gd name="T111" fmla="*/ 2 h 20"/>
                  <a:gd name="T112" fmla="*/ 20 w 26"/>
                  <a:gd name="T113" fmla="*/ 2 h 20"/>
                  <a:gd name="T114" fmla="*/ 20 w 26"/>
                  <a:gd name="T115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6" h="20">
                    <a:moveTo>
                      <a:pt x="20" y="2"/>
                    </a:moveTo>
                    <a:lnTo>
                      <a:pt x="20" y="2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2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6"/>
                    </a:lnTo>
                    <a:lnTo>
                      <a:pt x="12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8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2" y="12"/>
                    </a:lnTo>
                    <a:lnTo>
                      <a:pt x="2" y="14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4" y="18"/>
                    </a:lnTo>
                    <a:lnTo>
                      <a:pt x="6" y="18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20" y="12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6" y="10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87" name="Freeform 953"/>
              <p:cNvSpPr>
                <a:spLocks/>
              </p:cNvSpPr>
              <p:nvPr/>
            </p:nvSpPr>
            <p:spPr bwMode="auto">
              <a:xfrm>
                <a:off x="291" y="1586"/>
                <a:ext cx="20" cy="8"/>
              </a:xfrm>
              <a:custGeom>
                <a:avLst/>
                <a:gdLst>
                  <a:gd name="T0" fmla="*/ 6 w 20"/>
                  <a:gd name="T1" fmla="*/ 0 h 8"/>
                  <a:gd name="T2" fmla="*/ 6 w 20"/>
                  <a:gd name="T3" fmla="*/ 0 h 8"/>
                  <a:gd name="T4" fmla="*/ 4 w 20"/>
                  <a:gd name="T5" fmla="*/ 0 h 8"/>
                  <a:gd name="T6" fmla="*/ 2 w 20"/>
                  <a:gd name="T7" fmla="*/ 0 h 8"/>
                  <a:gd name="T8" fmla="*/ 0 w 20"/>
                  <a:gd name="T9" fmla="*/ 0 h 8"/>
                  <a:gd name="T10" fmla="*/ 0 w 20"/>
                  <a:gd name="T11" fmla="*/ 2 h 8"/>
                  <a:gd name="T12" fmla="*/ 0 w 20"/>
                  <a:gd name="T13" fmla="*/ 2 h 8"/>
                  <a:gd name="T14" fmla="*/ 0 w 20"/>
                  <a:gd name="T15" fmla="*/ 2 h 8"/>
                  <a:gd name="T16" fmla="*/ 0 w 20"/>
                  <a:gd name="T17" fmla="*/ 4 h 8"/>
                  <a:gd name="T18" fmla="*/ 0 w 20"/>
                  <a:gd name="T19" fmla="*/ 4 h 8"/>
                  <a:gd name="T20" fmla="*/ 2 w 20"/>
                  <a:gd name="T21" fmla="*/ 6 h 8"/>
                  <a:gd name="T22" fmla="*/ 6 w 20"/>
                  <a:gd name="T23" fmla="*/ 8 h 8"/>
                  <a:gd name="T24" fmla="*/ 8 w 20"/>
                  <a:gd name="T25" fmla="*/ 8 h 8"/>
                  <a:gd name="T26" fmla="*/ 8 w 20"/>
                  <a:gd name="T27" fmla="*/ 8 h 8"/>
                  <a:gd name="T28" fmla="*/ 10 w 20"/>
                  <a:gd name="T29" fmla="*/ 8 h 8"/>
                  <a:gd name="T30" fmla="*/ 10 w 20"/>
                  <a:gd name="T31" fmla="*/ 8 h 8"/>
                  <a:gd name="T32" fmla="*/ 12 w 20"/>
                  <a:gd name="T33" fmla="*/ 8 h 8"/>
                  <a:gd name="T34" fmla="*/ 12 w 20"/>
                  <a:gd name="T35" fmla="*/ 8 h 8"/>
                  <a:gd name="T36" fmla="*/ 16 w 20"/>
                  <a:gd name="T37" fmla="*/ 6 h 8"/>
                  <a:gd name="T38" fmla="*/ 18 w 20"/>
                  <a:gd name="T39" fmla="*/ 4 h 8"/>
                  <a:gd name="T40" fmla="*/ 18 w 20"/>
                  <a:gd name="T41" fmla="*/ 4 h 8"/>
                  <a:gd name="T42" fmla="*/ 20 w 20"/>
                  <a:gd name="T43" fmla="*/ 2 h 8"/>
                  <a:gd name="T44" fmla="*/ 20 w 20"/>
                  <a:gd name="T45" fmla="*/ 2 h 8"/>
                  <a:gd name="T46" fmla="*/ 20 w 20"/>
                  <a:gd name="T47" fmla="*/ 0 h 8"/>
                  <a:gd name="T48" fmla="*/ 20 w 20"/>
                  <a:gd name="T49" fmla="*/ 0 h 8"/>
                  <a:gd name="T50" fmla="*/ 20 w 20"/>
                  <a:gd name="T51" fmla="*/ 0 h 8"/>
                  <a:gd name="T52" fmla="*/ 20 w 20"/>
                  <a:gd name="T53" fmla="*/ 0 h 8"/>
                  <a:gd name="T54" fmla="*/ 18 w 20"/>
                  <a:gd name="T55" fmla="*/ 0 h 8"/>
                  <a:gd name="T56" fmla="*/ 16 w 20"/>
                  <a:gd name="T57" fmla="*/ 0 h 8"/>
                  <a:gd name="T58" fmla="*/ 16 w 20"/>
                  <a:gd name="T59" fmla="*/ 0 h 8"/>
                  <a:gd name="T60" fmla="*/ 14 w 20"/>
                  <a:gd name="T61" fmla="*/ 0 h 8"/>
                  <a:gd name="T62" fmla="*/ 12 w 20"/>
                  <a:gd name="T63" fmla="*/ 0 h 8"/>
                  <a:gd name="T64" fmla="*/ 12 w 20"/>
                  <a:gd name="T65" fmla="*/ 0 h 8"/>
                  <a:gd name="T66" fmla="*/ 12 w 20"/>
                  <a:gd name="T67" fmla="*/ 0 h 8"/>
                  <a:gd name="T68" fmla="*/ 8 w 20"/>
                  <a:gd name="T69" fmla="*/ 0 h 8"/>
                  <a:gd name="T70" fmla="*/ 6 w 20"/>
                  <a:gd name="T71" fmla="*/ 0 h 8"/>
                  <a:gd name="T72" fmla="*/ 6 w 20"/>
                  <a:gd name="T73" fmla="*/ 0 h 8"/>
                  <a:gd name="T74" fmla="*/ 6 w 20"/>
                  <a:gd name="T75" fmla="*/ 0 h 8"/>
                  <a:gd name="T76" fmla="*/ 6 w 20"/>
                  <a:gd name="T77" fmla="*/ 0 h 8"/>
                  <a:gd name="T78" fmla="*/ 6 w 20"/>
                  <a:gd name="T7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0" h="8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6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6" y="6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88" name="Freeform 955"/>
              <p:cNvSpPr>
                <a:spLocks/>
              </p:cNvSpPr>
              <p:nvPr/>
            </p:nvSpPr>
            <p:spPr bwMode="auto">
              <a:xfrm>
                <a:off x="263" y="1584"/>
                <a:ext cx="16" cy="8"/>
              </a:xfrm>
              <a:custGeom>
                <a:avLst/>
                <a:gdLst>
                  <a:gd name="T0" fmla="*/ 4 w 16"/>
                  <a:gd name="T1" fmla="*/ 0 h 8"/>
                  <a:gd name="T2" fmla="*/ 4 w 16"/>
                  <a:gd name="T3" fmla="*/ 0 h 8"/>
                  <a:gd name="T4" fmla="*/ 4 w 16"/>
                  <a:gd name="T5" fmla="*/ 0 h 8"/>
                  <a:gd name="T6" fmla="*/ 2 w 16"/>
                  <a:gd name="T7" fmla="*/ 0 h 8"/>
                  <a:gd name="T8" fmla="*/ 2 w 16"/>
                  <a:gd name="T9" fmla="*/ 0 h 8"/>
                  <a:gd name="T10" fmla="*/ 0 w 16"/>
                  <a:gd name="T11" fmla="*/ 2 h 8"/>
                  <a:gd name="T12" fmla="*/ 0 w 16"/>
                  <a:gd name="T13" fmla="*/ 2 h 8"/>
                  <a:gd name="T14" fmla="*/ 0 w 16"/>
                  <a:gd name="T15" fmla="*/ 2 h 8"/>
                  <a:gd name="T16" fmla="*/ 0 w 16"/>
                  <a:gd name="T17" fmla="*/ 4 h 8"/>
                  <a:gd name="T18" fmla="*/ 0 w 16"/>
                  <a:gd name="T19" fmla="*/ 6 h 8"/>
                  <a:gd name="T20" fmla="*/ 0 w 16"/>
                  <a:gd name="T21" fmla="*/ 8 h 8"/>
                  <a:gd name="T22" fmla="*/ 2 w 16"/>
                  <a:gd name="T23" fmla="*/ 8 h 8"/>
                  <a:gd name="T24" fmla="*/ 2 w 16"/>
                  <a:gd name="T25" fmla="*/ 8 h 8"/>
                  <a:gd name="T26" fmla="*/ 4 w 16"/>
                  <a:gd name="T27" fmla="*/ 8 h 8"/>
                  <a:gd name="T28" fmla="*/ 8 w 16"/>
                  <a:gd name="T29" fmla="*/ 6 h 8"/>
                  <a:gd name="T30" fmla="*/ 10 w 16"/>
                  <a:gd name="T31" fmla="*/ 4 h 8"/>
                  <a:gd name="T32" fmla="*/ 10 w 16"/>
                  <a:gd name="T33" fmla="*/ 4 h 8"/>
                  <a:gd name="T34" fmla="*/ 14 w 16"/>
                  <a:gd name="T35" fmla="*/ 4 h 8"/>
                  <a:gd name="T36" fmla="*/ 16 w 16"/>
                  <a:gd name="T37" fmla="*/ 2 h 8"/>
                  <a:gd name="T38" fmla="*/ 16 w 16"/>
                  <a:gd name="T39" fmla="*/ 2 h 8"/>
                  <a:gd name="T40" fmla="*/ 16 w 16"/>
                  <a:gd name="T41" fmla="*/ 2 h 8"/>
                  <a:gd name="T42" fmla="*/ 16 w 16"/>
                  <a:gd name="T43" fmla="*/ 2 h 8"/>
                  <a:gd name="T44" fmla="*/ 16 w 16"/>
                  <a:gd name="T45" fmla="*/ 2 h 8"/>
                  <a:gd name="T46" fmla="*/ 16 w 16"/>
                  <a:gd name="T47" fmla="*/ 2 h 8"/>
                  <a:gd name="T48" fmla="*/ 14 w 16"/>
                  <a:gd name="T49" fmla="*/ 2 h 8"/>
                  <a:gd name="T50" fmla="*/ 12 w 16"/>
                  <a:gd name="T51" fmla="*/ 0 h 8"/>
                  <a:gd name="T52" fmla="*/ 12 w 16"/>
                  <a:gd name="T53" fmla="*/ 0 h 8"/>
                  <a:gd name="T54" fmla="*/ 8 w 16"/>
                  <a:gd name="T55" fmla="*/ 0 h 8"/>
                  <a:gd name="T56" fmla="*/ 4 w 16"/>
                  <a:gd name="T57" fmla="*/ 0 h 8"/>
                  <a:gd name="T58" fmla="*/ 4 w 16"/>
                  <a:gd name="T59" fmla="*/ 0 h 8"/>
                  <a:gd name="T60" fmla="*/ 4 w 16"/>
                  <a:gd name="T61" fmla="*/ 0 h 8"/>
                  <a:gd name="T62" fmla="*/ 4 w 16"/>
                  <a:gd name="T63" fmla="*/ 0 h 8"/>
                  <a:gd name="T64" fmla="*/ 4 w 16"/>
                  <a:gd name="T6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6" h="8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8" y="6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89" name="Freeform 957"/>
              <p:cNvSpPr>
                <a:spLocks/>
              </p:cNvSpPr>
              <p:nvPr/>
            </p:nvSpPr>
            <p:spPr bwMode="auto">
              <a:xfrm>
                <a:off x="205" y="1562"/>
                <a:ext cx="12" cy="16"/>
              </a:xfrm>
              <a:custGeom>
                <a:avLst/>
                <a:gdLst>
                  <a:gd name="T0" fmla="*/ 4 w 12"/>
                  <a:gd name="T1" fmla="*/ 0 h 16"/>
                  <a:gd name="T2" fmla="*/ 4 w 12"/>
                  <a:gd name="T3" fmla="*/ 0 h 16"/>
                  <a:gd name="T4" fmla="*/ 0 w 12"/>
                  <a:gd name="T5" fmla="*/ 2 h 16"/>
                  <a:gd name="T6" fmla="*/ 0 w 12"/>
                  <a:gd name="T7" fmla="*/ 2 h 16"/>
                  <a:gd name="T8" fmla="*/ 0 w 12"/>
                  <a:gd name="T9" fmla="*/ 4 h 16"/>
                  <a:gd name="T10" fmla="*/ 0 w 12"/>
                  <a:gd name="T11" fmla="*/ 6 h 16"/>
                  <a:gd name="T12" fmla="*/ 0 w 12"/>
                  <a:gd name="T13" fmla="*/ 8 h 16"/>
                  <a:gd name="T14" fmla="*/ 0 w 12"/>
                  <a:gd name="T15" fmla="*/ 8 h 16"/>
                  <a:gd name="T16" fmla="*/ 4 w 12"/>
                  <a:gd name="T17" fmla="*/ 12 h 16"/>
                  <a:gd name="T18" fmla="*/ 6 w 12"/>
                  <a:gd name="T19" fmla="*/ 14 h 16"/>
                  <a:gd name="T20" fmla="*/ 8 w 12"/>
                  <a:gd name="T21" fmla="*/ 14 h 16"/>
                  <a:gd name="T22" fmla="*/ 8 w 12"/>
                  <a:gd name="T23" fmla="*/ 14 h 16"/>
                  <a:gd name="T24" fmla="*/ 8 w 12"/>
                  <a:gd name="T25" fmla="*/ 16 h 16"/>
                  <a:gd name="T26" fmla="*/ 8 w 12"/>
                  <a:gd name="T27" fmla="*/ 16 h 16"/>
                  <a:gd name="T28" fmla="*/ 10 w 12"/>
                  <a:gd name="T29" fmla="*/ 16 h 16"/>
                  <a:gd name="T30" fmla="*/ 10 w 12"/>
                  <a:gd name="T31" fmla="*/ 16 h 16"/>
                  <a:gd name="T32" fmla="*/ 12 w 12"/>
                  <a:gd name="T33" fmla="*/ 14 h 16"/>
                  <a:gd name="T34" fmla="*/ 12 w 12"/>
                  <a:gd name="T35" fmla="*/ 12 h 16"/>
                  <a:gd name="T36" fmla="*/ 12 w 12"/>
                  <a:gd name="T37" fmla="*/ 12 h 16"/>
                  <a:gd name="T38" fmla="*/ 12 w 12"/>
                  <a:gd name="T39" fmla="*/ 12 h 16"/>
                  <a:gd name="T40" fmla="*/ 12 w 12"/>
                  <a:gd name="T41" fmla="*/ 10 h 16"/>
                  <a:gd name="T42" fmla="*/ 12 w 12"/>
                  <a:gd name="T43" fmla="*/ 8 h 16"/>
                  <a:gd name="T44" fmla="*/ 8 w 12"/>
                  <a:gd name="T45" fmla="*/ 6 h 16"/>
                  <a:gd name="T46" fmla="*/ 8 w 12"/>
                  <a:gd name="T47" fmla="*/ 6 h 16"/>
                  <a:gd name="T48" fmla="*/ 6 w 12"/>
                  <a:gd name="T49" fmla="*/ 4 h 16"/>
                  <a:gd name="T50" fmla="*/ 6 w 12"/>
                  <a:gd name="T51" fmla="*/ 4 h 16"/>
                  <a:gd name="T52" fmla="*/ 6 w 12"/>
                  <a:gd name="T53" fmla="*/ 4 h 16"/>
                  <a:gd name="T54" fmla="*/ 6 w 12"/>
                  <a:gd name="T55" fmla="*/ 2 h 16"/>
                  <a:gd name="T56" fmla="*/ 4 w 12"/>
                  <a:gd name="T57" fmla="*/ 0 h 16"/>
                  <a:gd name="T58" fmla="*/ 4 w 12"/>
                  <a:gd name="T59" fmla="*/ 0 h 16"/>
                  <a:gd name="T60" fmla="*/ 4 w 12"/>
                  <a:gd name="T61" fmla="*/ 0 h 16"/>
                  <a:gd name="T62" fmla="*/ 4 w 12"/>
                  <a:gd name="T63" fmla="*/ 0 h 16"/>
                  <a:gd name="T64" fmla="*/ 4 w 12"/>
                  <a:gd name="T65" fmla="*/ 0 h 16"/>
                  <a:gd name="T66" fmla="*/ 4 w 12"/>
                  <a:gd name="T67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2" h="16">
                    <a:moveTo>
                      <a:pt x="4" y="0"/>
                    </a:moveTo>
                    <a:lnTo>
                      <a:pt x="4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12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2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0"/>
                    </a:lnTo>
                    <a:lnTo>
                      <a:pt x="12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90" name="Freeform 959"/>
              <p:cNvSpPr>
                <a:spLocks/>
              </p:cNvSpPr>
              <p:nvPr/>
            </p:nvSpPr>
            <p:spPr bwMode="auto">
              <a:xfrm>
                <a:off x="539" y="1374"/>
                <a:ext cx="24" cy="28"/>
              </a:xfrm>
              <a:custGeom>
                <a:avLst/>
                <a:gdLst>
                  <a:gd name="T0" fmla="*/ 14 w 24"/>
                  <a:gd name="T1" fmla="*/ 4 h 28"/>
                  <a:gd name="T2" fmla="*/ 14 w 24"/>
                  <a:gd name="T3" fmla="*/ 4 h 28"/>
                  <a:gd name="T4" fmla="*/ 14 w 24"/>
                  <a:gd name="T5" fmla="*/ 6 h 28"/>
                  <a:gd name="T6" fmla="*/ 12 w 24"/>
                  <a:gd name="T7" fmla="*/ 6 h 28"/>
                  <a:gd name="T8" fmla="*/ 12 w 24"/>
                  <a:gd name="T9" fmla="*/ 6 h 28"/>
                  <a:gd name="T10" fmla="*/ 10 w 24"/>
                  <a:gd name="T11" fmla="*/ 6 h 28"/>
                  <a:gd name="T12" fmla="*/ 8 w 24"/>
                  <a:gd name="T13" fmla="*/ 4 h 28"/>
                  <a:gd name="T14" fmla="*/ 8 w 24"/>
                  <a:gd name="T15" fmla="*/ 4 h 28"/>
                  <a:gd name="T16" fmla="*/ 6 w 24"/>
                  <a:gd name="T17" fmla="*/ 4 h 28"/>
                  <a:gd name="T18" fmla="*/ 4 w 24"/>
                  <a:gd name="T19" fmla="*/ 6 h 28"/>
                  <a:gd name="T20" fmla="*/ 4 w 24"/>
                  <a:gd name="T21" fmla="*/ 8 h 28"/>
                  <a:gd name="T22" fmla="*/ 4 w 24"/>
                  <a:gd name="T23" fmla="*/ 8 h 28"/>
                  <a:gd name="T24" fmla="*/ 2 w 24"/>
                  <a:gd name="T25" fmla="*/ 8 h 28"/>
                  <a:gd name="T26" fmla="*/ 0 w 24"/>
                  <a:gd name="T27" fmla="*/ 10 h 28"/>
                  <a:gd name="T28" fmla="*/ 0 w 24"/>
                  <a:gd name="T29" fmla="*/ 12 h 28"/>
                  <a:gd name="T30" fmla="*/ 0 w 24"/>
                  <a:gd name="T31" fmla="*/ 14 h 28"/>
                  <a:gd name="T32" fmla="*/ 0 w 24"/>
                  <a:gd name="T33" fmla="*/ 14 h 28"/>
                  <a:gd name="T34" fmla="*/ 0 w 24"/>
                  <a:gd name="T35" fmla="*/ 16 h 28"/>
                  <a:gd name="T36" fmla="*/ 0 w 24"/>
                  <a:gd name="T37" fmla="*/ 18 h 28"/>
                  <a:gd name="T38" fmla="*/ 0 w 24"/>
                  <a:gd name="T39" fmla="*/ 18 h 28"/>
                  <a:gd name="T40" fmla="*/ 2 w 24"/>
                  <a:gd name="T41" fmla="*/ 20 h 28"/>
                  <a:gd name="T42" fmla="*/ 2 w 24"/>
                  <a:gd name="T43" fmla="*/ 20 h 28"/>
                  <a:gd name="T44" fmla="*/ 4 w 24"/>
                  <a:gd name="T45" fmla="*/ 22 h 28"/>
                  <a:gd name="T46" fmla="*/ 4 w 24"/>
                  <a:gd name="T47" fmla="*/ 24 h 28"/>
                  <a:gd name="T48" fmla="*/ 6 w 24"/>
                  <a:gd name="T49" fmla="*/ 26 h 28"/>
                  <a:gd name="T50" fmla="*/ 6 w 24"/>
                  <a:gd name="T51" fmla="*/ 26 h 28"/>
                  <a:gd name="T52" fmla="*/ 8 w 24"/>
                  <a:gd name="T53" fmla="*/ 26 h 28"/>
                  <a:gd name="T54" fmla="*/ 10 w 24"/>
                  <a:gd name="T55" fmla="*/ 28 h 28"/>
                  <a:gd name="T56" fmla="*/ 12 w 24"/>
                  <a:gd name="T57" fmla="*/ 28 h 28"/>
                  <a:gd name="T58" fmla="*/ 12 w 24"/>
                  <a:gd name="T59" fmla="*/ 28 h 28"/>
                  <a:gd name="T60" fmla="*/ 12 w 24"/>
                  <a:gd name="T61" fmla="*/ 28 h 28"/>
                  <a:gd name="T62" fmla="*/ 12 w 24"/>
                  <a:gd name="T63" fmla="*/ 28 h 28"/>
                  <a:gd name="T64" fmla="*/ 14 w 24"/>
                  <a:gd name="T65" fmla="*/ 26 h 28"/>
                  <a:gd name="T66" fmla="*/ 16 w 24"/>
                  <a:gd name="T67" fmla="*/ 24 h 28"/>
                  <a:gd name="T68" fmla="*/ 16 w 24"/>
                  <a:gd name="T69" fmla="*/ 24 h 28"/>
                  <a:gd name="T70" fmla="*/ 16 w 24"/>
                  <a:gd name="T71" fmla="*/ 24 h 28"/>
                  <a:gd name="T72" fmla="*/ 18 w 24"/>
                  <a:gd name="T73" fmla="*/ 22 h 28"/>
                  <a:gd name="T74" fmla="*/ 18 w 24"/>
                  <a:gd name="T75" fmla="*/ 22 h 28"/>
                  <a:gd name="T76" fmla="*/ 20 w 24"/>
                  <a:gd name="T77" fmla="*/ 20 h 28"/>
                  <a:gd name="T78" fmla="*/ 22 w 24"/>
                  <a:gd name="T79" fmla="*/ 20 h 28"/>
                  <a:gd name="T80" fmla="*/ 24 w 24"/>
                  <a:gd name="T81" fmla="*/ 16 h 28"/>
                  <a:gd name="T82" fmla="*/ 24 w 24"/>
                  <a:gd name="T83" fmla="*/ 14 h 28"/>
                  <a:gd name="T84" fmla="*/ 24 w 24"/>
                  <a:gd name="T85" fmla="*/ 14 h 28"/>
                  <a:gd name="T86" fmla="*/ 24 w 24"/>
                  <a:gd name="T87" fmla="*/ 8 h 28"/>
                  <a:gd name="T88" fmla="*/ 24 w 24"/>
                  <a:gd name="T89" fmla="*/ 6 h 28"/>
                  <a:gd name="T90" fmla="*/ 24 w 24"/>
                  <a:gd name="T91" fmla="*/ 4 h 28"/>
                  <a:gd name="T92" fmla="*/ 24 w 24"/>
                  <a:gd name="T93" fmla="*/ 4 h 28"/>
                  <a:gd name="T94" fmla="*/ 22 w 24"/>
                  <a:gd name="T95" fmla="*/ 2 h 28"/>
                  <a:gd name="T96" fmla="*/ 20 w 24"/>
                  <a:gd name="T97" fmla="*/ 0 h 28"/>
                  <a:gd name="T98" fmla="*/ 20 w 24"/>
                  <a:gd name="T99" fmla="*/ 0 h 28"/>
                  <a:gd name="T100" fmla="*/ 18 w 24"/>
                  <a:gd name="T101" fmla="*/ 2 h 28"/>
                  <a:gd name="T102" fmla="*/ 16 w 24"/>
                  <a:gd name="T103" fmla="*/ 2 h 28"/>
                  <a:gd name="T104" fmla="*/ 14 w 24"/>
                  <a:gd name="T105" fmla="*/ 4 h 28"/>
                  <a:gd name="T106" fmla="*/ 14 w 24"/>
                  <a:gd name="T107" fmla="*/ 4 h 28"/>
                  <a:gd name="T108" fmla="*/ 14 w 24"/>
                  <a:gd name="T109" fmla="*/ 4 h 28"/>
                  <a:gd name="T110" fmla="*/ 14 w 24"/>
                  <a:gd name="T111" fmla="*/ 4 h 28"/>
                  <a:gd name="T112" fmla="*/ 14 w 24"/>
                  <a:gd name="T113" fmla="*/ 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4" h="28">
                    <a:moveTo>
                      <a:pt x="14" y="4"/>
                    </a:moveTo>
                    <a:lnTo>
                      <a:pt x="14" y="4"/>
                    </a:lnTo>
                    <a:lnTo>
                      <a:pt x="14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0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4"/>
                    </a:lnTo>
                    <a:lnTo>
                      <a:pt x="4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2" y="8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4" y="22"/>
                    </a:lnTo>
                    <a:lnTo>
                      <a:pt x="4" y="24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8" y="26"/>
                    </a:lnTo>
                    <a:lnTo>
                      <a:pt x="10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4" y="26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20" y="20"/>
                    </a:lnTo>
                    <a:lnTo>
                      <a:pt x="22" y="20"/>
                    </a:lnTo>
                    <a:lnTo>
                      <a:pt x="24" y="16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8"/>
                    </a:lnTo>
                    <a:lnTo>
                      <a:pt x="24" y="6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2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8" y="2"/>
                    </a:lnTo>
                    <a:lnTo>
                      <a:pt x="16" y="2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91" name="Freeform 961"/>
              <p:cNvSpPr>
                <a:spLocks/>
              </p:cNvSpPr>
              <p:nvPr/>
            </p:nvSpPr>
            <p:spPr bwMode="auto">
              <a:xfrm>
                <a:off x="545" y="1250"/>
                <a:ext cx="30" cy="36"/>
              </a:xfrm>
              <a:custGeom>
                <a:avLst/>
                <a:gdLst>
                  <a:gd name="T0" fmla="*/ 0 w 30"/>
                  <a:gd name="T1" fmla="*/ 2 h 36"/>
                  <a:gd name="T2" fmla="*/ 0 w 30"/>
                  <a:gd name="T3" fmla="*/ 4 h 36"/>
                  <a:gd name="T4" fmla="*/ 0 w 30"/>
                  <a:gd name="T5" fmla="*/ 10 h 36"/>
                  <a:gd name="T6" fmla="*/ 0 w 30"/>
                  <a:gd name="T7" fmla="*/ 12 h 36"/>
                  <a:gd name="T8" fmla="*/ 0 w 30"/>
                  <a:gd name="T9" fmla="*/ 12 h 36"/>
                  <a:gd name="T10" fmla="*/ 2 w 30"/>
                  <a:gd name="T11" fmla="*/ 12 h 36"/>
                  <a:gd name="T12" fmla="*/ 4 w 30"/>
                  <a:gd name="T13" fmla="*/ 12 h 36"/>
                  <a:gd name="T14" fmla="*/ 6 w 30"/>
                  <a:gd name="T15" fmla="*/ 12 h 36"/>
                  <a:gd name="T16" fmla="*/ 8 w 30"/>
                  <a:gd name="T17" fmla="*/ 14 h 36"/>
                  <a:gd name="T18" fmla="*/ 8 w 30"/>
                  <a:gd name="T19" fmla="*/ 16 h 36"/>
                  <a:gd name="T20" fmla="*/ 10 w 30"/>
                  <a:gd name="T21" fmla="*/ 22 h 36"/>
                  <a:gd name="T22" fmla="*/ 12 w 30"/>
                  <a:gd name="T23" fmla="*/ 26 h 36"/>
                  <a:gd name="T24" fmla="*/ 14 w 30"/>
                  <a:gd name="T25" fmla="*/ 30 h 36"/>
                  <a:gd name="T26" fmla="*/ 16 w 30"/>
                  <a:gd name="T27" fmla="*/ 34 h 36"/>
                  <a:gd name="T28" fmla="*/ 20 w 30"/>
                  <a:gd name="T29" fmla="*/ 36 h 36"/>
                  <a:gd name="T30" fmla="*/ 20 w 30"/>
                  <a:gd name="T31" fmla="*/ 36 h 36"/>
                  <a:gd name="T32" fmla="*/ 22 w 30"/>
                  <a:gd name="T33" fmla="*/ 34 h 36"/>
                  <a:gd name="T34" fmla="*/ 22 w 30"/>
                  <a:gd name="T35" fmla="*/ 32 h 36"/>
                  <a:gd name="T36" fmla="*/ 22 w 30"/>
                  <a:gd name="T37" fmla="*/ 30 h 36"/>
                  <a:gd name="T38" fmla="*/ 24 w 30"/>
                  <a:gd name="T39" fmla="*/ 28 h 36"/>
                  <a:gd name="T40" fmla="*/ 26 w 30"/>
                  <a:gd name="T41" fmla="*/ 28 h 36"/>
                  <a:gd name="T42" fmla="*/ 28 w 30"/>
                  <a:gd name="T43" fmla="*/ 28 h 36"/>
                  <a:gd name="T44" fmla="*/ 30 w 30"/>
                  <a:gd name="T45" fmla="*/ 28 h 36"/>
                  <a:gd name="T46" fmla="*/ 30 w 30"/>
                  <a:gd name="T47" fmla="*/ 24 h 36"/>
                  <a:gd name="T48" fmla="*/ 30 w 30"/>
                  <a:gd name="T49" fmla="*/ 22 h 36"/>
                  <a:gd name="T50" fmla="*/ 28 w 30"/>
                  <a:gd name="T51" fmla="*/ 20 h 36"/>
                  <a:gd name="T52" fmla="*/ 24 w 30"/>
                  <a:gd name="T53" fmla="*/ 20 h 36"/>
                  <a:gd name="T54" fmla="*/ 24 w 30"/>
                  <a:gd name="T55" fmla="*/ 18 h 36"/>
                  <a:gd name="T56" fmla="*/ 22 w 30"/>
                  <a:gd name="T57" fmla="*/ 18 h 36"/>
                  <a:gd name="T58" fmla="*/ 22 w 30"/>
                  <a:gd name="T59" fmla="*/ 16 h 36"/>
                  <a:gd name="T60" fmla="*/ 22 w 30"/>
                  <a:gd name="T61" fmla="*/ 16 h 36"/>
                  <a:gd name="T62" fmla="*/ 24 w 30"/>
                  <a:gd name="T63" fmla="*/ 14 h 36"/>
                  <a:gd name="T64" fmla="*/ 24 w 30"/>
                  <a:gd name="T65" fmla="*/ 12 h 36"/>
                  <a:gd name="T66" fmla="*/ 24 w 30"/>
                  <a:gd name="T67" fmla="*/ 10 h 36"/>
                  <a:gd name="T68" fmla="*/ 22 w 30"/>
                  <a:gd name="T69" fmla="*/ 8 h 36"/>
                  <a:gd name="T70" fmla="*/ 20 w 30"/>
                  <a:gd name="T71" fmla="*/ 8 h 36"/>
                  <a:gd name="T72" fmla="*/ 16 w 30"/>
                  <a:gd name="T73" fmla="*/ 8 h 36"/>
                  <a:gd name="T74" fmla="*/ 12 w 30"/>
                  <a:gd name="T75" fmla="*/ 8 h 36"/>
                  <a:gd name="T76" fmla="*/ 12 w 30"/>
                  <a:gd name="T77" fmla="*/ 6 h 36"/>
                  <a:gd name="T78" fmla="*/ 10 w 30"/>
                  <a:gd name="T79" fmla="*/ 4 h 36"/>
                  <a:gd name="T80" fmla="*/ 6 w 30"/>
                  <a:gd name="T81" fmla="*/ 0 h 36"/>
                  <a:gd name="T82" fmla="*/ 2 w 30"/>
                  <a:gd name="T83" fmla="*/ 0 h 36"/>
                  <a:gd name="T84" fmla="*/ 0 w 30"/>
                  <a:gd name="T85" fmla="*/ 2 h 36"/>
                  <a:gd name="T86" fmla="*/ 0 w 30"/>
                  <a:gd name="T87" fmla="*/ 2 h 36"/>
                  <a:gd name="T88" fmla="*/ 0 w 30"/>
                  <a:gd name="T89" fmla="*/ 2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30" h="36">
                    <a:moveTo>
                      <a:pt x="0" y="2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8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0" y="18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2" y="26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6" y="32"/>
                    </a:lnTo>
                    <a:lnTo>
                      <a:pt x="16" y="34"/>
                    </a:lnTo>
                    <a:lnTo>
                      <a:pt x="18" y="34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4"/>
                    </a:lnTo>
                    <a:lnTo>
                      <a:pt x="22" y="34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6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6"/>
                    </a:lnTo>
                    <a:lnTo>
                      <a:pt x="30" y="24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28" y="22"/>
                    </a:lnTo>
                    <a:lnTo>
                      <a:pt x="28" y="20"/>
                    </a:lnTo>
                    <a:lnTo>
                      <a:pt x="26" y="20"/>
                    </a:lnTo>
                    <a:lnTo>
                      <a:pt x="24" y="20"/>
                    </a:lnTo>
                    <a:lnTo>
                      <a:pt x="24" y="20"/>
                    </a:lnTo>
                    <a:lnTo>
                      <a:pt x="24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4"/>
                    </a:lnTo>
                    <a:lnTo>
                      <a:pt x="24" y="14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2" y="10"/>
                    </a:lnTo>
                    <a:lnTo>
                      <a:pt x="22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16" y="8"/>
                    </a:lnTo>
                    <a:lnTo>
                      <a:pt x="14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6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92" name="Freeform 971"/>
              <p:cNvSpPr>
                <a:spLocks/>
              </p:cNvSpPr>
              <p:nvPr/>
            </p:nvSpPr>
            <p:spPr bwMode="auto">
              <a:xfrm>
                <a:off x="2625" y="1776"/>
                <a:ext cx="114" cy="188"/>
              </a:xfrm>
              <a:custGeom>
                <a:avLst/>
                <a:gdLst>
                  <a:gd name="T0" fmla="*/ 28 w 114"/>
                  <a:gd name="T1" fmla="*/ 4 h 188"/>
                  <a:gd name="T2" fmla="*/ 20 w 114"/>
                  <a:gd name="T3" fmla="*/ 10 h 188"/>
                  <a:gd name="T4" fmla="*/ 14 w 114"/>
                  <a:gd name="T5" fmla="*/ 18 h 188"/>
                  <a:gd name="T6" fmla="*/ 10 w 114"/>
                  <a:gd name="T7" fmla="*/ 26 h 188"/>
                  <a:gd name="T8" fmla="*/ 0 w 114"/>
                  <a:gd name="T9" fmla="*/ 28 h 188"/>
                  <a:gd name="T10" fmla="*/ 14 w 114"/>
                  <a:gd name="T11" fmla="*/ 38 h 188"/>
                  <a:gd name="T12" fmla="*/ 10 w 114"/>
                  <a:gd name="T13" fmla="*/ 48 h 188"/>
                  <a:gd name="T14" fmla="*/ 10 w 114"/>
                  <a:gd name="T15" fmla="*/ 62 h 188"/>
                  <a:gd name="T16" fmla="*/ 20 w 114"/>
                  <a:gd name="T17" fmla="*/ 52 h 188"/>
                  <a:gd name="T18" fmla="*/ 18 w 114"/>
                  <a:gd name="T19" fmla="*/ 64 h 188"/>
                  <a:gd name="T20" fmla="*/ 16 w 114"/>
                  <a:gd name="T21" fmla="*/ 76 h 188"/>
                  <a:gd name="T22" fmla="*/ 24 w 114"/>
                  <a:gd name="T23" fmla="*/ 84 h 188"/>
                  <a:gd name="T24" fmla="*/ 40 w 114"/>
                  <a:gd name="T25" fmla="*/ 82 h 188"/>
                  <a:gd name="T26" fmla="*/ 38 w 114"/>
                  <a:gd name="T27" fmla="*/ 88 h 188"/>
                  <a:gd name="T28" fmla="*/ 42 w 114"/>
                  <a:gd name="T29" fmla="*/ 104 h 188"/>
                  <a:gd name="T30" fmla="*/ 42 w 114"/>
                  <a:gd name="T31" fmla="*/ 116 h 188"/>
                  <a:gd name="T32" fmla="*/ 24 w 114"/>
                  <a:gd name="T33" fmla="*/ 124 h 188"/>
                  <a:gd name="T34" fmla="*/ 30 w 114"/>
                  <a:gd name="T35" fmla="*/ 132 h 188"/>
                  <a:gd name="T36" fmla="*/ 28 w 114"/>
                  <a:gd name="T37" fmla="*/ 140 h 188"/>
                  <a:gd name="T38" fmla="*/ 16 w 114"/>
                  <a:gd name="T39" fmla="*/ 152 h 188"/>
                  <a:gd name="T40" fmla="*/ 20 w 114"/>
                  <a:gd name="T41" fmla="*/ 154 h 188"/>
                  <a:gd name="T42" fmla="*/ 30 w 114"/>
                  <a:gd name="T43" fmla="*/ 158 h 188"/>
                  <a:gd name="T44" fmla="*/ 36 w 114"/>
                  <a:gd name="T45" fmla="*/ 160 h 188"/>
                  <a:gd name="T46" fmla="*/ 50 w 114"/>
                  <a:gd name="T47" fmla="*/ 162 h 188"/>
                  <a:gd name="T48" fmla="*/ 28 w 114"/>
                  <a:gd name="T49" fmla="*/ 164 h 188"/>
                  <a:gd name="T50" fmla="*/ 20 w 114"/>
                  <a:gd name="T51" fmla="*/ 172 h 188"/>
                  <a:gd name="T52" fmla="*/ 12 w 114"/>
                  <a:gd name="T53" fmla="*/ 178 h 188"/>
                  <a:gd name="T54" fmla="*/ 4 w 114"/>
                  <a:gd name="T55" fmla="*/ 186 h 188"/>
                  <a:gd name="T56" fmla="*/ 12 w 114"/>
                  <a:gd name="T57" fmla="*/ 186 h 188"/>
                  <a:gd name="T58" fmla="*/ 24 w 114"/>
                  <a:gd name="T59" fmla="*/ 184 h 188"/>
                  <a:gd name="T60" fmla="*/ 34 w 114"/>
                  <a:gd name="T61" fmla="*/ 186 h 188"/>
                  <a:gd name="T62" fmla="*/ 44 w 114"/>
                  <a:gd name="T63" fmla="*/ 180 h 188"/>
                  <a:gd name="T64" fmla="*/ 52 w 114"/>
                  <a:gd name="T65" fmla="*/ 172 h 188"/>
                  <a:gd name="T66" fmla="*/ 60 w 114"/>
                  <a:gd name="T67" fmla="*/ 176 h 188"/>
                  <a:gd name="T68" fmla="*/ 86 w 114"/>
                  <a:gd name="T69" fmla="*/ 172 h 188"/>
                  <a:gd name="T70" fmla="*/ 102 w 114"/>
                  <a:gd name="T71" fmla="*/ 166 h 188"/>
                  <a:gd name="T72" fmla="*/ 108 w 114"/>
                  <a:gd name="T73" fmla="*/ 158 h 188"/>
                  <a:gd name="T74" fmla="*/ 100 w 114"/>
                  <a:gd name="T75" fmla="*/ 150 h 188"/>
                  <a:gd name="T76" fmla="*/ 108 w 114"/>
                  <a:gd name="T77" fmla="*/ 148 h 188"/>
                  <a:gd name="T78" fmla="*/ 110 w 114"/>
                  <a:gd name="T79" fmla="*/ 140 h 188"/>
                  <a:gd name="T80" fmla="*/ 112 w 114"/>
                  <a:gd name="T81" fmla="*/ 126 h 188"/>
                  <a:gd name="T82" fmla="*/ 96 w 114"/>
                  <a:gd name="T83" fmla="*/ 118 h 188"/>
                  <a:gd name="T84" fmla="*/ 90 w 114"/>
                  <a:gd name="T85" fmla="*/ 118 h 188"/>
                  <a:gd name="T86" fmla="*/ 86 w 114"/>
                  <a:gd name="T87" fmla="*/ 100 h 188"/>
                  <a:gd name="T88" fmla="*/ 78 w 114"/>
                  <a:gd name="T89" fmla="*/ 90 h 188"/>
                  <a:gd name="T90" fmla="*/ 70 w 114"/>
                  <a:gd name="T91" fmla="*/ 74 h 188"/>
                  <a:gd name="T92" fmla="*/ 60 w 114"/>
                  <a:gd name="T93" fmla="*/ 62 h 188"/>
                  <a:gd name="T94" fmla="*/ 52 w 114"/>
                  <a:gd name="T95" fmla="*/ 62 h 188"/>
                  <a:gd name="T96" fmla="*/ 58 w 114"/>
                  <a:gd name="T97" fmla="*/ 52 h 188"/>
                  <a:gd name="T98" fmla="*/ 62 w 114"/>
                  <a:gd name="T99" fmla="*/ 42 h 188"/>
                  <a:gd name="T100" fmla="*/ 66 w 114"/>
                  <a:gd name="T101" fmla="*/ 28 h 188"/>
                  <a:gd name="T102" fmla="*/ 60 w 114"/>
                  <a:gd name="T103" fmla="*/ 20 h 188"/>
                  <a:gd name="T104" fmla="*/ 46 w 114"/>
                  <a:gd name="T105" fmla="*/ 22 h 188"/>
                  <a:gd name="T106" fmla="*/ 40 w 114"/>
                  <a:gd name="T107" fmla="*/ 28 h 188"/>
                  <a:gd name="T108" fmla="*/ 40 w 114"/>
                  <a:gd name="T109" fmla="*/ 18 h 188"/>
                  <a:gd name="T110" fmla="*/ 50 w 114"/>
                  <a:gd name="T111" fmla="*/ 10 h 188"/>
                  <a:gd name="T112" fmla="*/ 50 w 114"/>
                  <a:gd name="T113" fmla="*/ 0 h 188"/>
                  <a:gd name="T114" fmla="*/ 36 w 114"/>
                  <a:gd name="T115" fmla="*/ 4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14" h="188">
                    <a:moveTo>
                      <a:pt x="36" y="4"/>
                    </a:moveTo>
                    <a:lnTo>
                      <a:pt x="36" y="4"/>
                    </a:lnTo>
                    <a:lnTo>
                      <a:pt x="34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8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4" y="4"/>
                    </a:lnTo>
                    <a:lnTo>
                      <a:pt x="22" y="6"/>
                    </a:lnTo>
                    <a:lnTo>
                      <a:pt x="20" y="6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4" y="18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2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0" y="24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8" y="24"/>
                    </a:lnTo>
                    <a:lnTo>
                      <a:pt x="6" y="24"/>
                    </a:lnTo>
                    <a:lnTo>
                      <a:pt x="4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0" y="24"/>
                    </a:lnTo>
                    <a:lnTo>
                      <a:pt x="0" y="26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2" y="28"/>
                    </a:lnTo>
                    <a:lnTo>
                      <a:pt x="4" y="30"/>
                    </a:lnTo>
                    <a:lnTo>
                      <a:pt x="8" y="32"/>
                    </a:lnTo>
                    <a:lnTo>
                      <a:pt x="10" y="32"/>
                    </a:lnTo>
                    <a:lnTo>
                      <a:pt x="10" y="32"/>
                    </a:lnTo>
                    <a:lnTo>
                      <a:pt x="12" y="34"/>
                    </a:lnTo>
                    <a:lnTo>
                      <a:pt x="12" y="36"/>
                    </a:lnTo>
                    <a:lnTo>
                      <a:pt x="14" y="38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4"/>
                    </a:lnTo>
                    <a:lnTo>
                      <a:pt x="12" y="46"/>
                    </a:lnTo>
                    <a:lnTo>
                      <a:pt x="12" y="46"/>
                    </a:lnTo>
                    <a:lnTo>
                      <a:pt x="12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52"/>
                    </a:lnTo>
                    <a:lnTo>
                      <a:pt x="10" y="54"/>
                    </a:lnTo>
                    <a:lnTo>
                      <a:pt x="10" y="54"/>
                    </a:lnTo>
                    <a:lnTo>
                      <a:pt x="10" y="56"/>
                    </a:lnTo>
                    <a:lnTo>
                      <a:pt x="10" y="60"/>
                    </a:lnTo>
                    <a:lnTo>
                      <a:pt x="10" y="60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2" y="60"/>
                    </a:lnTo>
                    <a:lnTo>
                      <a:pt x="14" y="58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6" y="54"/>
                    </a:lnTo>
                    <a:lnTo>
                      <a:pt x="18" y="52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4"/>
                    </a:lnTo>
                    <a:lnTo>
                      <a:pt x="20" y="56"/>
                    </a:lnTo>
                    <a:lnTo>
                      <a:pt x="18" y="58"/>
                    </a:lnTo>
                    <a:lnTo>
                      <a:pt x="18" y="58"/>
                    </a:lnTo>
                    <a:lnTo>
                      <a:pt x="18" y="60"/>
                    </a:lnTo>
                    <a:lnTo>
                      <a:pt x="18" y="62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8" y="66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6" y="70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6"/>
                    </a:lnTo>
                    <a:lnTo>
                      <a:pt x="16" y="78"/>
                    </a:lnTo>
                    <a:lnTo>
                      <a:pt x="18" y="82"/>
                    </a:lnTo>
                    <a:lnTo>
                      <a:pt x="18" y="82"/>
                    </a:lnTo>
                    <a:lnTo>
                      <a:pt x="18" y="84"/>
                    </a:lnTo>
                    <a:lnTo>
                      <a:pt x="18" y="84"/>
                    </a:lnTo>
                    <a:lnTo>
                      <a:pt x="20" y="84"/>
                    </a:lnTo>
                    <a:lnTo>
                      <a:pt x="22" y="84"/>
                    </a:lnTo>
                    <a:lnTo>
                      <a:pt x="24" y="84"/>
                    </a:lnTo>
                    <a:lnTo>
                      <a:pt x="24" y="84"/>
                    </a:lnTo>
                    <a:lnTo>
                      <a:pt x="26" y="84"/>
                    </a:lnTo>
                    <a:lnTo>
                      <a:pt x="28" y="84"/>
                    </a:lnTo>
                    <a:lnTo>
                      <a:pt x="28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4" y="82"/>
                    </a:lnTo>
                    <a:lnTo>
                      <a:pt x="36" y="82"/>
                    </a:lnTo>
                    <a:lnTo>
                      <a:pt x="40" y="82"/>
                    </a:lnTo>
                    <a:lnTo>
                      <a:pt x="40" y="82"/>
                    </a:lnTo>
                    <a:lnTo>
                      <a:pt x="40" y="82"/>
                    </a:lnTo>
                    <a:lnTo>
                      <a:pt x="40" y="82"/>
                    </a:lnTo>
                    <a:lnTo>
                      <a:pt x="40" y="82"/>
                    </a:lnTo>
                    <a:lnTo>
                      <a:pt x="40" y="84"/>
                    </a:lnTo>
                    <a:lnTo>
                      <a:pt x="40" y="84"/>
                    </a:lnTo>
                    <a:lnTo>
                      <a:pt x="40" y="86"/>
                    </a:lnTo>
                    <a:lnTo>
                      <a:pt x="40" y="88"/>
                    </a:lnTo>
                    <a:lnTo>
                      <a:pt x="40" y="88"/>
                    </a:lnTo>
                    <a:lnTo>
                      <a:pt x="38" y="88"/>
                    </a:lnTo>
                    <a:lnTo>
                      <a:pt x="38" y="90"/>
                    </a:lnTo>
                    <a:lnTo>
                      <a:pt x="38" y="92"/>
                    </a:lnTo>
                    <a:lnTo>
                      <a:pt x="38" y="92"/>
                    </a:lnTo>
                    <a:lnTo>
                      <a:pt x="38" y="94"/>
                    </a:lnTo>
                    <a:lnTo>
                      <a:pt x="38" y="96"/>
                    </a:lnTo>
                    <a:lnTo>
                      <a:pt x="38" y="96"/>
                    </a:lnTo>
                    <a:lnTo>
                      <a:pt x="40" y="98"/>
                    </a:lnTo>
                    <a:lnTo>
                      <a:pt x="40" y="100"/>
                    </a:lnTo>
                    <a:lnTo>
                      <a:pt x="42" y="104"/>
                    </a:lnTo>
                    <a:lnTo>
                      <a:pt x="42" y="104"/>
                    </a:lnTo>
                    <a:lnTo>
                      <a:pt x="44" y="106"/>
                    </a:lnTo>
                    <a:lnTo>
                      <a:pt x="44" y="108"/>
                    </a:lnTo>
                    <a:lnTo>
                      <a:pt x="46" y="110"/>
                    </a:lnTo>
                    <a:lnTo>
                      <a:pt x="44" y="114"/>
                    </a:lnTo>
                    <a:lnTo>
                      <a:pt x="44" y="114"/>
                    </a:lnTo>
                    <a:lnTo>
                      <a:pt x="44" y="116"/>
                    </a:lnTo>
                    <a:lnTo>
                      <a:pt x="42" y="116"/>
                    </a:lnTo>
                    <a:lnTo>
                      <a:pt x="42" y="116"/>
                    </a:lnTo>
                    <a:lnTo>
                      <a:pt x="40" y="118"/>
                    </a:lnTo>
                    <a:lnTo>
                      <a:pt x="38" y="118"/>
                    </a:lnTo>
                    <a:lnTo>
                      <a:pt x="38" y="118"/>
                    </a:lnTo>
                    <a:lnTo>
                      <a:pt x="32" y="118"/>
                    </a:lnTo>
                    <a:lnTo>
                      <a:pt x="30" y="118"/>
                    </a:lnTo>
                    <a:lnTo>
                      <a:pt x="28" y="120"/>
                    </a:lnTo>
                    <a:lnTo>
                      <a:pt x="28" y="120"/>
                    </a:lnTo>
                    <a:lnTo>
                      <a:pt x="26" y="122"/>
                    </a:lnTo>
                    <a:lnTo>
                      <a:pt x="24" y="124"/>
                    </a:lnTo>
                    <a:lnTo>
                      <a:pt x="24" y="126"/>
                    </a:lnTo>
                    <a:lnTo>
                      <a:pt x="24" y="128"/>
                    </a:lnTo>
                    <a:lnTo>
                      <a:pt x="24" y="128"/>
                    </a:lnTo>
                    <a:lnTo>
                      <a:pt x="24" y="128"/>
                    </a:lnTo>
                    <a:lnTo>
                      <a:pt x="24" y="130"/>
                    </a:lnTo>
                    <a:lnTo>
                      <a:pt x="26" y="130"/>
                    </a:lnTo>
                    <a:lnTo>
                      <a:pt x="28" y="130"/>
                    </a:lnTo>
                    <a:lnTo>
                      <a:pt x="28" y="130"/>
                    </a:lnTo>
                    <a:lnTo>
                      <a:pt x="30" y="132"/>
                    </a:lnTo>
                    <a:lnTo>
                      <a:pt x="30" y="132"/>
                    </a:lnTo>
                    <a:lnTo>
                      <a:pt x="30" y="134"/>
                    </a:lnTo>
                    <a:lnTo>
                      <a:pt x="30" y="134"/>
                    </a:lnTo>
                    <a:lnTo>
                      <a:pt x="30" y="136"/>
                    </a:lnTo>
                    <a:lnTo>
                      <a:pt x="30" y="138"/>
                    </a:lnTo>
                    <a:lnTo>
                      <a:pt x="28" y="140"/>
                    </a:lnTo>
                    <a:lnTo>
                      <a:pt x="28" y="140"/>
                    </a:lnTo>
                    <a:lnTo>
                      <a:pt x="28" y="140"/>
                    </a:lnTo>
                    <a:lnTo>
                      <a:pt x="28" y="140"/>
                    </a:lnTo>
                    <a:lnTo>
                      <a:pt x="24" y="142"/>
                    </a:lnTo>
                    <a:lnTo>
                      <a:pt x="22" y="142"/>
                    </a:lnTo>
                    <a:lnTo>
                      <a:pt x="20" y="142"/>
                    </a:lnTo>
                    <a:lnTo>
                      <a:pt x="20" y="142"/>
                    </a:lnTo>
                    <a:lnTo>
                      <a:pt x="18" y="144"/>
                    </a:lnTo>
                    <a:lnTo>
                      <a:pt x="16" y="146"/>
                    </a:lnTo>
                    <a:lnTo>
                      <a:pt x="16" y="148"/>
                    </a:lnTo>
                    <a:lnTo>
                      <a:pt x="16" y="152"/>
                    </a:lnTo>
                    <a:lnTo>
                      <a:pt x="16" y="152"/>
                    </a:lnTo>
                    <a:lnTo>
                      <a:pt x="16" y="154"/>
                    </a:lnTo>
                    <a:lnTo>
                      <a:pt x="16" y="154"/>
                    </a:lnTo>
                    <a:lnTo>
                      <a:pt x="16" y="156"/>
                    </a:lnTo>
                    <a:lnTo>
                      <a:pt x="16" y="156"/>
                    </a:lnTo>
                    <a:lnTo>
                      <a:pt x="16" y="156"/>
                    </a:lnTo>
                    <a:lnTo>
                      <a:pt x="18" y="156"/>
                    </a:lnTo>
                    <a:lnTo>
                      <a:pt x="18" y="156"/>
                    </a:lnTo>
                    <a:lnTo>
                      <a:pt x="18" y="156"/>
                    </a:lnTo>
                    <a:lnTo>
                      <a:pt x="20" y="154"/>
                    </a:lnTo>
                    <a:lnTo>
                      <a:pt x="22" y="154"/>
                    </a:lnTo>
                    <a:lnTo>
                      <a:pt x="24" y="152"/>
                    </a:lnTo>
                    <a:lnTo>
                      <a:pt x="26" y="152"/>
                    </a:lnTo>
                    <a:lnTo>
                      <a:pt x="26" y="152"/>
                    </a:lnTo>
                    <a:lnTo>
                      <a:pt x="26" y="152"/>
                    </a:lnTo>
                    <a:lnTo>
                      <a:pt x="28" y="154"/>
                    </a:lnTo>
                    <a:lnTo>
                      <a:pt x="28" y="156"/>
                    </a:lnTo>
                    <a:lnTo>
                      <a:pt x="28" y="158"/>
                    </a:lnTo>
                    <a:lnTo>
                      <a:pt x="30" y="158"/>
                    </a:lnTo>
                    <a:lnTo>
                      <a:pt x="30" y="158"/>
                    </a:lnTo>
                    <a:lnTo>
                      <a:pt x="30" y="158"/>
                    </a:lnTo>
                    <a:lnTo>
                      <a:pt x="32" y="158"/>
                    </a:lnTo>
                    <a:lnTo>
                      <a:pt x="34" y="158"/>
                    </a:lnTo>
                    <a:lnTo>
                      <a:pt x="34" y="158"/>
                    </a:lnTo>
                    <a:lnTo>
                      <a:pt x="34" y="158"/>
                    </a:lnTo>
                    <a:lnTo>
                      <a:pt x="36" y="158"/>
                    </a:lnTo>
                    <a:lnTo>
                      <a:pt x="36" y="160"/>
                    </a:lnTo>
                    <a:lnTo>
                      <a:pt x="36" y="160"/>
                    </a:lnTo>
                    <a:lnTo>
                      <a:pt x="40" y="160"/>
                    </a:lnTo>
                    <a:lnTo>
                      <a:pt x="40" y="160"/>
                    </a:lnTo>
                    <a:lnTo>
                      <a:pt x="42" y="158"/>
                    </a:lnTo>
                    <a:lnTo>
                      <a:pt x="44" y="158"/>
                    </a:lnTo>
                    <a:lnTo>
                      <a:pt x="44" y="158"/>
                    </a:lnTo>
                    <a:lnTo>
                      <a:pt x="46" y="158"/>
                    </a:lnTo>
                    <a:lnTo>
                      <a:pt x="48" y="160"/>
                    </a:lnTo>
                    <a:lnTo>
                      <a:pt x="50" y="160"/>
                    </a:lnTo>
                    <a:lnTo>
                      <a:pt x="50" y="162"/>
                    </a:lnTo>
                    <a:lnTo>
                      <a:pt x="50" y="162"/>
                    </a:lnTo>
                    <a:lnTo>
                      <a:pt x="50" y="162"/>
                    </a:lnTo>
                    <a:lnTo>
                      <a:pt x="48" y="164"/>
                    </a:lnTo>
                    <a:lnTo>
                      <a:pt x="44" y="164"/>
                    </a:lnTo>
                    <a:lnTo>
                      <a:pt x="38" y="162"/>
                    </a:lnTo>
                    <a:lnTo>
                      <a:pt x="38" y="162"/>
                    </a:lnTo>
                    <a:lnTo>
                      <a:pt x="36" y="162"/>
                    </a:lnTo>
                    <a:lnTo>
                      <a:pt x="32" y="164"/>
                    </a:lnTo>
                    <a:lnTo>
                      <a:pt x="28" y="164"/>
                    </a:lnTo>
                    <a:lnTo>
                      <a:pt x="28" y="164"/>
                    </a:lnTo>
                    <a:lnTo>
                      <a:pt x="26" y="166"/>
                    </a:lnTo>
                    <a:lnTo>
                      <a:pt x="24" y="166"/>
                    </a:lnTo>
                    <a:lnTo>
                      <a:pt x="24" y="166"/>
                    </a:lnTo>
                    <a:lnTo>
                      <a:pt x="24" y="166"/>
                    </a:lnTo>
                    <a:lnTo>
                      <a:pt x="22" y="168"/>
                    </a:lnTo>
                    <a:lnTo>
                      <a:pt x="22" y="170"/>
                    </a:lnTo>
                    <a:lnTo>
                      <a:pt x="22" y="170"/>
                    </a:lnTo>
                    <a:lnTo>
                      <a:pt x="20" y="172"/>
                    </a:lnTo>
                    <a:lnTo>
                      <a:pt x="20" y="172"/>
                    </a:lnTo>
                    <a:lnTo>
                      <a:pt x="20" y="172"/>
                    </a:lnTo>
                    <a:lnTo>
                      <a:pt x="18" y="172"/>
                    </a:lnTo>
                    <a:lnTo>
                      <a:pt x="16" y="172"/>
                    </a:lnTo>
                    <a:lnTo>
                      <a:pt x="16" y="174"/>
                    </a:lnTo>
                    <a:lnTo>
                      <a:pt x="16" y="174"/>
                    </a:lnTo>
                    <a:lnTo>
                      <a:pt x="16" y="174"/>
                    </a:lnTo>
                    <a:lnTo>
                      <a:pt x="14" y="176"/>
                    </a:lnTo>
                    <a:lnTo>
                      <a:pt x="12" y="178"/>
                    </a:lnTo>
                    <a:lnTo>
                      <a:pt x="12" y="178"/>
                    </a:lnTo>
                    <a:lnTo>
                      <a:pt x="10" y="178"/>
                    </a:lnTo>
                    <a:lnTo>
                      <a:pt x="10" y="180"/>
                    </a:lnTo>
                    <a:lnTo>
                      <a:pt x="6" y="182"/>
                    </a:lnTo>
                    <a:lnTo>
                      <a:pt x="6" y="182"/>
                    </a:lnTo>
                    <a:lnTo>
                      <a:pt x="6" y="182"/>
                    </a:lnTo>
                    <a:lnTo>
                      <a:pt x="4" y="184"/>
                    </a:lnTo>
                    <a:lnTo>
                      <a:pt x="4" y="186"/>
                    </a:lnTo>
                    <a:lnTo>
                      <a:pt x="4" y="186"/>
                    </a:lnTo>
                    <a:lnTo>
                      <a:pt x="4" y="186"/>
                    </a:lnTo>
                    <a:lnTo>
                      <a:pt x="4" y="186"/>
                    </a:lnTo>
                    <a:lnTo>
                      <a:pt x="4" y="188"/>
                    </a:lnTo>
                    <a:lnTo>
                      <a:pt x="6" y="188"/>
                    </a:lnTo>
                    <a:lnTo>
                      <a:pt x="8" y="188"/>
                    </a:lnTo>
                    <a:lnTo>
                      <a:pt x="10" y="188"/>
                    </a:lnTo>
                    <a:lnTo>
                      <a:pt x="10" y="188"/>
                    </a:lnTo>
                    <a:lnTo>
                      <a:pt x="10" y="188"/>
                    </a:lnTo>
                    <a:lnTo>
                      <a:pt x="12" y="186"/>
                    </a:lnTo>
                    <a:lnTo>
                      <a:pt x="12" y="186"/>
                    </a:lnTo>
                    <a:lnTo>
                      <a:pt x="14" y="186"/>
                    </a:lnTo>
                    <a:lnTo>
                      <a:pt x="14" y="186"/>
                    </a:lnTo>
                    <a:lnTo>
                      <a:pt x="16" y="184"/>
                    </a:lnTo>
                    <a:lnTo>
                      <a:pt x="16" y="184"/>
                    </a:lnTo>
                    <a:lnTo>
                      <a:pt x="18" y="184"/>
                    </a:lnTo>
                    <a:lnTo>
                      <a:pt x="22" y="184"/>
                    </a:lnTo>
                    <a:lnTo>
                      <a:pt x="24" y="184"/>
                    </a:lnTo>
                    <a:lnTo>
                      <a:pt x="24" y="184"/>
                    </a:lnTo>
                    <a:lnTo>
                      <a:pt x="24" y="184"/>
                    </a:lnTo>
                    <a:lnTo>
                      <a:pt x="26" y="182"/>
                    </a:lnTo>
                    <a:lnTo>
                      <a:pt x="26" y="182"/>
                    </a:lnTo>
                    <a:lnTo>
                      <a:pt x="28" y="182"/>
                    </a:lnTo>
                    <a:lnTo>
                      <a:pt x="30" y="182"/>
                    </a:lnTo>
                    <a:lnTo>
                      <a:pt x="30" y="182"/>
                    </a:lnTo>
                    <a:lnTo>
                      <a:pt x="32" y="184"/>
                    </a:lnTo>
                    <a:lnTo>
                      <a:pt x="32" y="184"/>
                    </a:lnTo>
                    <a:lnTo>
                      <a:pt x="34" y="186"/>
                    </a:lnTo>
                    <a:lnTo>
                      <a:pt x="34" y="186"/>
                    </a:lnTo>
                    <a:lnTo>
                      <a:pt x="36" y="186"/>
                    </a:lnTo>
                    <a:lnTo>
                      <a:pt x="38" y="186"/>
                    </a:lnTo>
                    <a:lnTo>
                      <a:pt x="40" y="184"/>
                    </a:lnTo>
                    <a:lnTo>
                      <a:pt x="40" y="184"/>
                    </a:lnTo>
                    <a:lnTo>
                      <a:pt x="40" y="184"/>
                    </a:lnTo>
                    <a:lnTo>
                      <a:pt x="42" y="182"/>
                    </a:lnTo>
                    <a:lnTo>
                      <a:pt x="44" y="180"/>
                    </a:lnTo>
                    <a:lnTo>
                      <a:pt x="44" y="180"/>
                    </a:lnTo>
                    <a:lnTo>
                      <a:pt x="44" y="180"/>
                    </a:lnTo>
                    <a:lnTo>
                      <a:pt x="44" y="178"/>
                    </a:lnTo>
                    <a:lnTo>
                      <a:pt x="44" y="176"/>
                    </a:lnTo>
                    <a:lnTo>
                      <a:pt x="46" y="176"/>
                    </a:lnTo>
                    <a:lnTo>
                      <a:pt x="46" y="174"/>
                    </a:lnTo>
                    <a:lnTo>
                      <a:pt x="46" y="174"/>
                    </a:lnTo>
                    <a:lnTo>
                      <a:pt x="50" y="172"/>
                    </a:lnTo>
                    <a:lnTo>
                      <a:pt x="50" y="172"/>
                    </a:lnTo>
                    <a:lnTo>
                      <a:pt x="52" y="172"/>
                    </a:lnTo>
                    <a:lnTo>
                      <a:pt x="52" y="172"/>
                    </a:lnTo>
                    <a:lnTo>
                      <a:pt x="54" y="172"/>
                    </a:lnTo>
                    <a:lnTo>
                      <a:pt x="56" y="172"/>
                    </a:lnTo>
                    <a:lnTo>
                      <a:pt x="56" y="174"/>
                    </a:lnTo>
                    <a:lnTo>
                      <a:pt x="58" y="176"/>
                    </a:lnTo>
                    <a:lnTo>
                      <a:pt x="58" y="176"/>
                    </a:lnTo>
                    <a:lnTo>
                      <a:pt x="58" y="176"/>
                    </a:lnTo>
                    <a:lnTo>
                      <a:pt x="60" y="176"/>
                    </a:lnTo>
                    <a:lnTo>
                      <a:pt x="60" y="176"/>
                    </a:lnTo>
                    <a:lnTo>
                      <a:pt x="62" y="176"/>
                    </a:lnTo>
                    <a:lnTo>
                      <a:pt x="62" y="176"/>
                    </a:lnTo>
                    <a:lnTo>
                      <a:pt x="68" y="174"/>
                    </a:lnTo>
                    <a:lnTo>
                      <a:pt x="70" y="174"/>
                    </a:lnTo>
                    <a:lnTo>
                      <a:pt x="74" y="172"/>
                    </a:lnTo>
                    <a:lnTo>
                      <a:pt x="74" y="172"/>
                    </a:lnTo>
                    <a:lnTo>
                      <a:pt x="76" y="172"/>
                    </a:lnTo>
                    <a:lnTo>
                      <a:pt x="80" y="172"/>
                    </a:lnTo>
                    <a:lnTo>
                      <a:pt x="86" y="172"/>
                    </a:lnTo>
                    <a:lnTo>
                      <a:pt x="86" y="172"/>
                    </a:lnTo>
                    <a:lnTo>
                      <a:pt x="88" y="172"/>
                    </a:lnTo>
                    <a:lnTo>
                      <a:pt x="90" y="172"/>
                    </a:lnTo>
                    <a:lnTo>
                      <a:pt x="90" y="172"/>
                    </a:lnTo>
                    <a:lnTo>
                      <a:pt x="90" y="172"/>
                    </a:lnTo>
                    <a:lnTo>
                      <a:pt x="94" y="170"/>
                    </a:lnTo>
                    <a:lnTo>
                      <a:pt x="96" y="168"/>
                    </a:lnTo>
                    <a:lnTo>
                      <a:pt x="96" y="168"/>
                    </a:lnTo>
                    <a:lnTo>
                      <a:pt x="102" y="166"/>
                    </a:lnTo>
                    <a:lnTo>
                      <a:pt x="108" y="164"/>
                    </a:lnTo>
                    <a:lnTo>
                      <a:pt x="108" y="164"/>
                    </a:lnTo>
                    <a:lnTo>
                      <a:pt x="110" y="162"/>
                    </a:lnTo>
                    <a:lnTo>
                      <a:pt x="110" y="162"/>
                    </a:lnTo>
                    <a:lnTo>
                      <a:pt x="110" y="160"/>
                    </a:lnTo>
                    <a:lnTo>
                      <a:pt x="110" y="160"/>
                    </a:lnTo>
                    <a:lnTo>
                      <a:pt x="110" y="158"/>
                    </a:lnTo>
                    <a:lnTo>
                      <a:pt x="110" y="158"/>
                    </a:lnTo>
                    <a:lnTo>
                      <a:pt x="108" y="158"/>
                    </a:lnTo>
                    <a:lnTo>
                      <a:pt x="108" y="158"/>
                    </a:lnTo>
                    <a:lnTo>
                      <a:pt x="106" y="158"/>
                    </a:lnTo>
                    <a:lnTo>
                      <a:pt x="104" y="156"/>
                    </a:lnTo>
                    <a:lnTo>
                      <a:pt x="102" y="156"/>
                    </a:lnTo>
                    <a:lnTo>
                      <a:pt x="100" y="154"/>
                    </a:lnTo>
                    <a:lnTo>
                      <a:pt x="100" y="154"/>
                    </a:lnTo>
                    <a:lnTo>
                      <a:pt x="100" y="154"/>
                    </a:lnTo>
                    <a:lnTo>
                      <a:pt x="100" y="152"/>
                    </a:lnTo>
                    <a:lnTo>
                      <a:pt x="100" y="150"/>
                    </a:lnTo>
                    <a:lnTo>
                      <a:pt x="100" y="150"/>
                    </a:lnTo>
                    <a:lnTo>
                      <a:pt x="100" y="148"/>
                    </a:lnTo>
                    <a:lnTo>
                      <a:pt x="102" y="148"/>
                    </a:lnTo>
                    <a:lnTo>
                      <a:pt x="102" y="148"/>
                    </a:lnTo>
                    <a:lnTo>
                      <a:pt x="104" y="148"/>
                    </a:lnTo>
                    <a:lnTo>
                      <a:pt x="104" y="148"/>
                    </a:lnTo>
                    <a:lnTo>
                      <a:pt x="106" y="148"/>
                    </a:lnTo>
                    <a:lnTo>
                      <a:pt x="108" y="148"/>
                    </a:lnTo>
                    <a:lnTo>
                      <a:pt x="108" y="148"/>
                    </a:lnTo>
                    <a:lnTo>
                      <a:pt x="108" y="148"/>
                    </a:lnTo>
                    <a:lnTo>
                      <a:pt x="110" y="146"/>
                    </a:lnTo>
                    <a:lnTo>
                      <a:pt x="110" y="146"/>
                    </a:lnTo>
                    <a:lnTo>
                      <a:pt x="110" y="142"/>
                    </a:lnTo>
                    <a:lnTo>
                      <a:pt x="110" y="142"/>
                    </a:lnTo>
                    <a:lnTo>
                      <a:pt x="110" y="142"/>
                    </a:lnTo>
                    <a:lnTo>
                      <a:pt x="110" y="142"/>
                    </a:lnTo>
                    <a:lnTo>
                      <a:pt x="110" y="142"/>
                    </a:lnTo>
                    <a:lnTo>
                      <a:pt x="110" y="140"/>
                    </a:lnTo>
                    <a:lnTo>
                      <a:pt x="110" y="140"/>
                    </a:lnTo>
                    <a:lnTo>
                      <a:pt x="112" y="138"/>
                    </a:lnTo>
                    <a:lnTo>
                      <a:pt x="112" y="138"/>
                    </a:lnTo>
                    <a:lnTo>
                      <a:pt x="112" y="136"/>
                    </a:lnTo>
                    <a:lnTo>
                      <a:pt x="112" y="134"/>
                    </a:lnTo>
                    <a:lnTo>
                      <a:pt x="114" y="130"/>
                    </a:lnTo>
                    <a:lnTo>
                      <a:pt x="112" y="128"/>
                    </a:lnTo>
                    <a:lnTo>
                      <a:pt x="112" y="128"/>
                    </a:lnTo>
                    <a:lnTo>
                      <a:pt x="112" y="126"/>
                    </a:lnTo>
                    <a:lnTo>
                      <a:pt x="110" y="124"/>
                    </a:lnTo>
                    <a:lnTo>
                      <a:pt x="108" y="124"/>
                    </a:lnTo>
                    <a:lnTo>
                      <a:pt x="106" y="122"/>
                    </a:lnTo>
                    <a:lnTo>
                      <a:pt x="106" y="122"/>
                    </a:lnTo>
                    <a:lnTo>
                      <a:pt x="102" y="120"/>
                    </a:lnTo>
                    <a:lnTo>
                      <a:pt x="102" y="120"/>
                    </a:lnTo>
                    <a:lnTo>
                      <a:pt x="100" y="118"/>
                    </a:lnTo>
                    <a:lnTo>
                      <a:pt x="98" y="118"/>
                    </a:lnTo>
                    <a:lnTo>
                      <a:pt x="96" y="118"/>
                    </a:lnTo>
                    <a:lnTo>
                      <a:pt x="96" y="118"/>
                    </a:lnTo>
                    <a:lnTo>
                      <a:pt x="96" y="118"/>
                    </a:lnTo>
                    <a:lnTo>
                      <a:pt x="94" y="118"/>
                    </a:lnTo>
                    <a:lnTo>
                      <a:pt x="94" y="120"/>
                    </a:lnTo>
                    <a:lnTo>
                      <a:pt x="92" y="120"/>
                    </a:lnTo>
                    <a:lnTo>
                      <a:pt x="92" y="120"/>
                    </a:lnTo>
                    <a:lnTo>
                      <a:pt x="92" y="120"/>
                    </a:lnTo>
                    <a:lnTo>
                      <a:pt x="92" y="120"/>
                    </a:lnTo>
                    <a:lnTo>
                      <a:pt x="90" y="118"/>
                    </a:lnTo>
                    <a:lnTo>
                      <a:pt x="90" y="116"/>
                    </a:lnTo>
                    <a:lnTo>
                      <a:pt x="90" y="116"/>
                    </a:lnTo>
                    <a:lnTo>
                      <a:pt x="90" y="110"/>
                    </a:lnTo>
                    <a:lnTo>
                      <a:pt x="90" y="108"/>
                    </a:lnTo>
                    <a:lnTo>
                      <a:pt x="90" y="104"/>
                    </a:lnTo>
                    <a:lnTo>
                      <a:pt x="90" y="104"/>
                    </a:lnTo>
                    <a:lnTo>
                      <a:pt x="88" y="104"/>
                    </a:lnTo>
                    <a:lnTo>
                      <a:pt x="88" y="102"/>
                    </a:lnTo>
                    <a:lnTo>
                      <a:pt x="86" y="100"/>
                    </a:lnTo>
                    <a:lnTo>
                      <a:pt x="86" y="100"/>
                    </a:lnTo>
                    <a:lnTo>
                      <a:pt x="86" y="100"/>
                    </a:lnTo>
                    <a:lnTo>
                      <a:pt x="86" y="98"/>
                    </a:lnTo>
                    <a:lnTo>
                      <a:pt x="86" y="96"/>
                    </a:lnTo>
                    <a:lnTo>
                      <a:pt x="86" y="96"/>
                    </a:lnTo>
                    <a:lnTo>
                      <a:pt x="84" y="94"/>
                    </a:lnTo>
                    <a:lnTo>
                      <a:pt x="84" y="94"/>
                    </a:lnTo>
                    <a:lnTo>
                      <a:pt x="82" y="92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4" y="88"/>
                    </a:lnTo>
                    <a:lnTo>
                      <a:pt x="72" y="86"/>
                    </a:lnTo>
                    <a:lnTo>
                      <a:pt x="72" y="84"/>
                    </a:lnTo>
                    <a:lnTo>
                      <a:pt x="70" y="82"/>
                    </a:lnTo>
                    <a:lnTo>
                      <a:pt x="70" y="80"/>
                    </a:lnTo>
                    <a:lnTo>
                      <a:pt x="70" y="80"/>
                    </a:lnTo>
                    <a:lnTo>
                      <a:pt x="70" y="78"/>
                    </a:lnTo>
                    <a:lnTo>
                      <a:pt x="70" y="74"/>
                    </a:lnTo>
                    <a:lnTo>
                      <a:pt x="68" y="72"/>
                    </a:lnTo>
                    <a:lnTo>
                      <a:pt x="66" y="70"/>
                    </a:lnTo>
                    <a:lnTo>
                      <a:pt x="66" y="70"/>
                    </a:lnTo>
                    <a:lnTo>
                      <a:pt x="64" y="68"/>
                    </a:lnTo>
                    <a:lnTo>
                      <a:pt x="62" y="66"/>
                    </a:lnTo>
                    <a:lnTo>
                      <a:pt x="62" y="66"/>
                    </a:lnTo>
                    <a:lnTo>
                      <a:pt x="62" y="64"/>
                    </a:lnTo>
                    <a:lnTo>
                      <a:pt x="60" y="62"/>
                    </a:lnTo>
                    <a:lnTo>
                      <a:pt x="60" y="62"/>
                    </a:lnTo>
                    <a:lnTo>
                      <a:pt x="58" y="60"/>
                    </a:lnTo>
                    <a:lnTo>
                      <a:pt x="56" y="60"/>
                    </a:lnTo>
                    <a:lnTo>
                      <a:pt x="56" y="60"/>
                    </a:lnTo>
                    <a:lnTo>
                      <a:pt x="56" y="60"/>
                    </a:lnTo>
                    <a:lnTo>
                      <a:pt x="54" y="60"/>
                    </a:lnTo>
                    <a:lnTo>
                      <a:pt x="54" y="62"/>
                    </a:lnTo>
                    <a:lnTo>
                      <a:pt x="52" y="62"/>
                    </a:lnTo>
                    <a:lnTo>
                      <a:pt x="52" y="62"/>
                    </a:lnTo>
                    <a:lnTo>
                      <a:pt x="52" y="62"/>
                    </a:lnTo>
                    <a:lnTo>
                      <a:pt x="50" y="62"/>
                    </a:lnTo>
                    <a:lnTo>
                      <a:pt x="50" y="62"/>
                    </a:lnTo>
                    <a:lnTo>
                      <a:pt x="50" y="60"/>
                    </a:lnTo>
                    <a:lnTo>
                      <a:pt x="50" y="60"/>
                    </a:lnTo>
                    <a:lnTo>
                      <a:pt x="52" y="56"/>
                    </a:lnTo>
                    <a:lnTo>
                      <a:pt x="54" y="54"/>
                    </a:lnTo>
                    <a:lnTo>
                      <a:pt x="54" y="54"/>
                    </a:lnTo>
                    <a:lnTo>
                      <a:pt x="58" y="52"/>
                    </a:lnTo>
                    <a:lnTo>
                      <a:pt x="58" y="52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2" y="46"/>
                    </a:lnTo>
                    <a:lnTo>
                      <a:pt x="62" y="46"/>
                    </a:lnTo>
                    <a:lnTo>
                      <a:pt x="62" y="44"/>
                    </a:lnTo>
                    <a:lnTo>
                      <a:pt x="62" y="42"/>
                    </a:lnTo>
                    <a:lnTo>
                      <a:pt x="64" y="40"/>
                    </a:lnTo>
                    <a:lnTo>
                      <a:pt x="64" y="38"/>
                    </a:lnTo>
                    <a:lnTo>
                      <a:pt x="64" y="38"/>
                    </a:lnTo>
                    <a:lnTo>
                      <a:pt x="64" y="34"/>
                    </a:lnTo>
                    <a:lnTo>
                      <a:pt x="64" y="34"/>
                    </a:lnTo>
                    <a:lnTo>
                      <a:pt x="64" y="32"/>
                    </a:lnTo>
                    <a:lnTo>
                      <a:pt x="64" y="32"/>
                    </a:lnTo>
                    <a:lnTo>
                      <a:pt x="64" y="30"/>
                    </a:lnTo>
                    <a:lnTo>
                      <a:pt x="66" y="28"/>
                    </a:lnTo>
                    <a:lnTo>
                      <a:pt x="66" y="26"/>
                    </a:lnTo>
                    <a:lnTo>
                      <a:pt x="66" y="26"/>
                    </a:lnTo>
                    <a:lnTo>
                      <a:pt x="66" y="24"/>
                    </a:lnTo>
                    <a:lnTo>
                      <a:pt x="66" y="24"/>
                    </a:lnTo>
                    <a:lnTo>
                      <a:pt x="66" y="24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2" y="20"/>
                    </a:lnTo>
                    <a:lnTo>
                      <a:pt x="60" y="20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4" y="18"/>
                    </a:lnTo>
                    <a:lnTo>
                      <a:pt x="52" y="18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48" y="18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4" y="22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40" y="24"/>
                    </a:lnTo>
                    <a:lnTo>
                      <a:pt x="40" y="26"/>
                    </a:lnTo>
                    <a:lnTo>
                      <a:pt x="40" y="28"/>
                    </a:lnTo>
                    <a:lnTo>
                      <a:pt x="40" y="28"/>
                    </a:lnTo>
                    <a:lnTo>
                      <a:pt x="40" y="28"/>
                    </a:lnTo>
                    <a:lnTo>
                      <a:pt x="38" y="28"/>
                    </a:lnTo>
                    <a:lnTo>
                      <a:pt x="38" y="28"/>
                    </a:lnTo>
                    <a:lnTo>
                      <a:pt x="36" y="26"/>
                    </a:lnTo>
                    <a:lnTo>
                      <a:pt x="36" y="24"/>
                    </a:lnTo>
                    <a:lnTo>
                      <a:pt x="38" y="22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40" y="18"/>
                    </a:lnTo>
                    <a:lnTo>
                      <a:pt x="40" y="18"/>
                    </a:lnTo>
                    <a:lnTo>
                      <a:pt x="42" y="16"/>
                    </a:lnTo>
                    <a:lnTo>
                      <a:pt x="44" y="16"/>
                    </a:lnTo>
                    <a:lnTo>
                      <a:pt x="46" y="16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50" y="12"/>
                    </a:lnTo>
                    <a:lnTo>
                      <a:pt x="50" y="10"/>
                    </a:lnTo>
                    <a:lnTo>
                      <a:pt x="50" y="10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6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0" y="0"/>
                    </a:lnTo>
                    <a:lnTo>
                      <a:pt x="48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40" y="0"/>
                    </a:lnTo>
                    <a:lnTo>
                      <a:pt x="40" y="2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93" name="Freeform 973"/>
              <p:cNvSpPr>
                <a:spLocks/>
              </p:cNvSpPr>
              <p:nvPr/>
            </p:nvSpPr>
            <p:spPr bwMode="auto">
              <a:xfrm>
                <a:off x="2565" y="1850"/>
                <a:ext cx="74" cy="78"/>
              </a:xfrm>
              <a:custGeom>
                <a:avLst/>
                <a:gdLst>
                  <a:gd name="T0" fmla="*/ 28 w 74"/>
                  <a:gd name="T1" fmla="*/ 10 h 78"/>
                  <a:gd name="T2" fmla="*/ 36 w 74"/>
                  <a:gd name="T3" fmla="*/ 14 h 78"/>
                  <a:gd name="T4" fmla="*/ 30 w 74"/>
                  <a:gd name="T5" fmla="*/ 16 h 78"/>
                  <a:gd name="T6" fmla="*/ 28 w 74"/>
                  <a:gd name="T7" fmla="*/ 20 h 78"/>
                  <a:gd name="T8" fmla="*/ 26 w 74"/>
                  <a:gd name="T9" fmla="*/ 22 h 78"/>
                  <a:gd name="T10" fmla="*/ 18 w 74"/>
                  <a:gd name="T11" fmla="*/ 18 h 78"/>
                  <a:gd name="T12" fmla="*/ 10 w 74"/>
                  <a:gd name="T13" fmla="*/ 20 h 78"/>
                  <a:gd name="T14" fmla="*/ 8 w 74"/>
                  <a:gd name="T15" fmla="*/ 24 h 78"/>
                  <a:gd name="T16" fmla="*/ 10 w 74"/>
                  <a:gd name="T17" fmla="*/ 28 h 78"/>
                  <a:gd name="T18" fmla="*/ 6 w 74"/>
                  <a:gd name="T19" fmla="*/ 30 h 78"/>
                  <a:gd name="T20" fmla="*/ 10 w 74"/>
                  <a:gd name="T21" fmla="*/ 36 h 78"/>
                  <a:gd name="T22" fmla="*/ 14 w 74"/>
                  <a:gd name="T23" fmla="*/ 38 h 78"/>
                  <a:gd name="T24" fmla="*/ 22 w 74"/>
                  <a:gd name="T25" fmla="*/ 40 h 78"/>
                  <a:gd name="T26" fmla="*/ 20 w 74"/>
                  <a:gd name="T27" fmla="*/ 42 h 78"/>
                  <a:gd name="T28" fmla="*/ 16 w 74"/>
                  <a:gd name="T29" fmla="*/ 42 h 78"/>
                  <a:gd name="T30" fmla="*/ 14 w 74"/>
                  <a:gd name="T31" fmla="*/ 46 h 78"/>
                  <a:gd name="T32" fmla="*/ 10 w 74"/>
                  <a:gd name="T33" fmla="*/ 50 h 78"/>
                  <a:gd name="T34" fmla="*/ 16 w 74"/>
                  <a:gd name="T35" fmla="*/ 52 h 78"/>
                  <a:gd name="T36" fmla="*/ 20 w 74"/>
                  <a:gd name="T37" fmla="*/ 52 h 78"/>
                  <a:gd name="T38" fmla="*/ 22 w 74"/>
                  <a:gd name="T39" fmla="*/ 50 h 78"/>
                  <a:gd name="T40" fmla="*/ 24 w 74"/>
                  <a:gd name="T41" fmla="*/ 54 h 78"/>
                  <a:gd name="T42" fmla="*/ 14 w 74"/>
                  <a:gd name="T43" fmla="*/ 56 h 78"/>
                  <a:gd name="T44" fmla="*/ 6 w 74"/>
                  <a:gd name="T45" fmla="*/ 56 h 78"/>
                  <a:gd name="T46" fmla="*/ 6 w 74"/>
                  <a:gd name="T47" fmla="*/ 62 h 78"/>
                  <a:gd name="T48" fmla="*/ 2 w 74"/>
                  <a:gd name="T49" fmla="*/ 66 h 78"/>
                  <a:gd name="T50" fmla="*/ 0 w 74"/>
                  <a:gd name="T51" fmla="*/ 70 h 78"/>
                  <a:gd name="T52" fmla="*/ 4 w 74"/>
                  <a:gd name="T53" fmla="*/ 70 h 78"/>
                  <a:gd name="T54" fmla="*/ 4 w 74"/>
                  <a:gd name="T55" fmla="*/ 72 h 78"/>
                  <a:gd name="T56" fmla="*/ 2 w 74"/>
                  <a:gd name="T57" fmla="*/ 78 h 78"/>
                  <a:gd name="T58" fmla="*/ 8 w 74"/>
                  <a:gd name="T59" fmla="*/ 76 h 78"/>
                  <a:gd name="T60" fmla="*/ 14 w 74"/>
                  <a:gd name="T61" fmla="*/ 70 h 78"/>
                  <a:gd name="T62" fmla="*/ 14 w 74"/>
                  <a:gd name="T63" fmla="*/ 76 h 78"/>
                  <a:gd name="T64" fmla="*/ 24 w 74"/>
                  <a:gd name="T65" fmla="*/ 76 h 78"/>
                  <a:gd name="T66" fmla="*/ 26 w 74"/>
                  <a:gd name="T67" fmla="*/ 76 h 78"/>
                  <a:gd name="T68" fmla="*/ 30 w 74"/>
                  <a:gd name="T69" fmla="*/ 78 h 78"/>
                  <a:gd name="T70" fmla="*/ 38 w 74"/>
                  <a:gd name="T71" fmla="*/ 72 h 78"/>
                  <a:gd name="T72" fmla="*/ 50 w 74"/>
                  <a:gd name="T73" fmla="*/ 68 h 78"/>
                  <a:gd name="T74" fmla="*/ 64 w 74"/>
                  <a:gd name="T75" fmla="*/ 66 h 78"/>
                  <a:gd name="T76" fmla="*/ 64 w 74"/>
                  <a:gd name="T77" fmla="*/ 62 h 78"/>
                  <a:gd name="T78" fmla="*/ 66 w 74"/>
                  <a:gd name="T79" fmla="*/ 56 h 78"/>
                  <a:gd name="T80" fmla="*/ 70 w 74"/>
                  <a:gd name="T81" fmla="*/ 46 h 78"/>
                  <a:gd name="T82" fmla="*/ 68 w 74"/>
                  <a:gd name="T83" fmla="*/ 44 h 78"/>
                  <a:gd name="T84" fmla="*/ 70 w 74"/>
                  <a:gd name="T85" fmla="*/ 36 h 78"/>
                  <a:gd name="T86" fmla="*/ 66 w 74"/>
                  <a:gd name="T87" fmla="*/ 28 h 78"/>
                  <a:gd name="T88" fmla="*/ 68 w 74"/>
                  <a:gd name="T89" fmla="*/ 24 h 78"/>
                  <a:gd name="T90" fmla="*/ 74 w 74"/>
                  <a:gd name="T91" fmla="*/ 22 h 78"/>
                  <a:gd name="T92" fmla="*/ 74 w 74"/>
                  <a:gd name="T93" fmla="*/ 18 h 78"/>
                  <a:gd name="T94" fmla="*/ 70 w 74"/>
                  <a:gd name="T95" fmla="*/ 12 h 78"/>
                  <a:gd name="T96" fmla="*/ 68 w 74"/>
                  <a:gd name="T97" fmla="*/ 4 h 78"/>
                  <a:gd name="T98" fmla="*/ 62 w 74"/>
                  <a:gd name="T99" fmla="*/ 0 h 78"/>
                  <a:gd name="T100" fmla="*/ 56 w 74"/>
                  <a:gd name="T101" fmla="*/ 0 h 78"/>
                  <a:gd name="T102" fmla="*/ 48 w 74"/>
                  <a:gd name="T103" fmla="*/ 2 h 78"/>
                  <a:gd name="T104" fmla="*/ 38 w 74"/>
                  <a:gd name="T105" fmla="*/ 2 h 78"/>
                  <a:gd name="T106" fmla="*/ 30 w 74"/>
                  <a:gd name="T107" fmla="*/ 6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74" h="78">
                    <a:moveTo>
                      <a:pt x="30" y="6"/>
                    </a:moveTo>
                    <a:lnTo>
                      <a:pt x="30" y="6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10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2" y="12"/>
                    </a:lnTo>
                    <a:lnTo>
                      <a:pt x="34" y="14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4" y="14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28" y="16"/>
                    </a:lnTo>
                    <a:lnTo>
                      <a:pt x="28" y="18"/>
                    </a:lnTo>
                    <a:lnTo>
                      <a:pt x="28" y="20"/>
                    </a:lnTo>
                    <a:lnTo>
                      <a:pt x="28" y="20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4" y="20"/>
                    </a:lnTo>
                    <a:lnTo>
                      <a:pt x="24" y="20"/>
                    </a:lnTo>
                    <a:lnTo>
                      <a:pt x="22" y="18"/>
                    </a:lnTo>
                    <a:lnTo>
                      <a:pt x="18" y="18"/>
                    </a:lnTo>
                    <a:lnTo>
                      <a:pt x="16" y="18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4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8"/>
                    </a:lnTo>
                    <a:lnTo>
                      <a:pt x="10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6" y="28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4" y="38"/>
                    </a:lnTo>
                    <a:lnTo>
                      <a:pt x="18" y="38"/>
                    </a:lnTo>
                    <a:lnTo>
                      <a:pt x="20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18" y="42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50"/>
                    </a:lnTo>
                    <a:lnTo>
                      <a:pt x="10" y="50"/>
                    </a:lnTo>
                    <a:lnTo>
                      <a:pt x="10" y="50"/>
                    </a:lnTo>
                    <a:lnTo>
                      <a:pt x="10" y="50"/>
                    </a:lnTo>
                    <a:lnTo>
                      <a:pt x="12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2" y="50"/>
                    </a:lnTo>
                    <a:lnTo>
                      <a:pt x="22" y="50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4"/>
                    </a:lnTo>
                    <a:lnTo>
                      <a:pt x="24" y="54"/>
                    </a:lnTo>
                    <a:lnTo>
                      <a:pt x="24" y="54"/>
                    </a:lnTo>
                    <a:lnTo>
                      <a:pt x="22" y="56"/>
                    </a:lnTo>
                    <a:lnTo>
                      <a:pt x="18" y="56"/>
                    </a:lnTo>
                    <a:lnTo>
                      <a:pt x="16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0" y="54"/>
                    </a:lnTo>
                    <a:lnTo>
                      <a:pt x="8" y="54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4" y="56"/>
                    </a:lnTo>
                    <a:lnTo>
                      <a:pt x="4" y="58"/>
                    </a:lnTo>
                    <a:lnTo>
                      <a:pt x="4" y="60"/>
                    </a:lnTo>
                    <a:lnTo>
                      <a:pt x="6" y="62"/>
                    </a:lnTo>
                    <a:lnTo>
                      <a:pt x="6" y="64"/>
                    </a:lnTo>
                    <a:lnTo>
                      <a:pt x="6" y="64"/>
                    </a:lnTo>
                    <a:lnTo>
                      <a:pt x="4" y="64"/>
                    </a:lnTo>
                    <a:lnTo>
                      <a:pt x="2" y="64"/>
                    </a:lnTo>
                    <a:lnTo>
                      <a:pt x="2" y="66"/>
                    </a:lnTo>
                    <a:lnTo>
                      <a:pt x="0" y="66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0" y="70"/>
                    </a:lnTo>
                    <a:lnTo>
                      <a:pt x="0" y="70"/>
                    </a:lnTo>
                    <a:lnTo>
                      <a:pt x="0" y="70"/>
                    </a:lnTo>
                    <a:lnTo>
                      <a:pt x="2" y="70"/>
                    </a:lnTo>
                    <a:lnTo>
                      <a:pt x="2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2"/>
                    </a:lnTo>
                    <a:lnTo>
                      <a:pt x="2" y="74"/>
                    </a:lnTo>
                    <a:lnTo>
                      <a:pt x="2" y="74"/>
                    </a:lnTo>
                    <a:lnTo>
                      <a:pt x="2" y="74"/>
                    </a:lnTo>
                    <a:lnTo>
                      <a:pt x="2" y="76"/>
                    </a:lnTo>
                    <a:lnTo>
                      <a:pt x="2" y="78"/>
                    </a:lnTo>
                    <a:lnTo>
                      <a:pt x="4" y="78"/>
                    </a:lnTo>
                    <a:lnTo>
                      <a:pt x="6" y="78"/>
                    </a:lnTo>
                    <a:lnTo>
                      <a:pt x="6" y="78"/>
                    </a:lnTo>
                    <a:lnTo>
                      <a:pt x="8" y="78"/>
                    </a:lnTo>
                    <a:lnTo>
                      <a:pt x="8" y="76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2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2"/>
                    </a:lnTo>
                    <a:lnTo>
                      <a:pt x="14" y="74"/>
                    </a:lnTo>
                    <a:lnTo>
                      <a:pt x="14" y="74"/>
                    </a:lnTo>
                    <a:lnTo>
                      <a:pt x="14" y="74"/>
                    </a:lnTo>
                    <a:lnTo>
                      <a:pt x="14" y="76"/>
                    </a:lnTo>
                    <a:lnTo>
                      <a:pt x="16" y="76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20" y="78"/>
                    </a:lnTo>
                    <a:lnTo>
                      <a:pt x="24" y="76"/>
                    </a:lnTo>
                    <a:lnTo>
                      <a:pt x="24" y="76"/>
                    </a:lnTo>
                    <a:lnTo>
                      <a:pt x="24" y="76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8" y="78"/>
                    </a:lnTo>
                    <a:lnTo>
                      <a:pt x="28" y="78"/>
                    </a:lnTo>
                    <a:lnTo>
                      <a:pt x="30" y="78"/>
                    </a:lnTo>
                    <a:lnTo>
                      <a:pt x="30" y="78"/>
                    </a:lnTo>
                    <a:lnTo>
                      <a:pt x="32" y="76"/>
                    </a:lnTo>
                    <a:lnTo>
                      <a:pt x="34" y="76"/>
                    </a:lnTo>
                    <a:lnTo>
                      <a:pt x="36" y="74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44" y="68"/>
                    </a:lnTo>
                    <a:lnTo>
                      <a:pt x="44" y="68"/>
                    </a:lnTo>
                    <a:lnTo>
                      <a:pt x="46" y="68"/>
                    </a:lnTo>
                    <a:lnTo>
                      <a:pt x="46" y="68"/>
                    </a:lnTo>
                    <a:lnTo>
                      <a:pt x="50" y="68"/>
                    </a:lnTo>
                    <a:lnTo>
                      <a:pt x="50" y="68"/>
                    </a:lnTo>
                    <a:lnTo>
                      <a:pt x="56" y="68"/>
                    </a:lnTo>
                    <a:lnTo>
                      <a:pt x="62" y="66"/>
                    </a:lnTo>
                    <a:lnTo>
                      <a:pt x="62" y="66"/>
                    </a:lnTo>
                    <a:lnTo>
                      <a:pt x="64" y="66"/>
                    </a:lnTo>
                    <a:lnTo>
                      <a:pt x="64" y="66"/>
                    </a:lnTo>
                    <a:lnTo>
                      <a:pt x="64" y="66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4" y="62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58"/>
                    </a:lnTo>
                    <a:lnTo>
                      <a:pt x="64" y="58"/>
                    </a:lnTo>
                    <a:lnTo>
                      <a:pt x="66" y="56"/>
                    </a:lnTo>
                    <a:lnTo>
                      <a:pt x="68" y="54"/>
                    </a:lnTo>
                    <a:lnTo>
                      <a:pt x="70" y="52"/>
                    </a:lnTo>
                    <a:lnTo>
                      <a:pt x="70" y="50"/>
                    </a:lnTo>
                    <a:lnTo>
                      <a:pt x="70" y="48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44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8" y="42"/>
                    </a:lnTo>
                    <a:lnTo>
                      <a:pt x="68" y="40"/>
                    </a:lnTo>
                    <a:lnTo>
                      <a:pt x="70" y="38"/>
                    </a:lnTo>
                    <a:lnTo>
                      <a:pt x="70" y="38"/>
                    </a:lnTo>
                    <a:lnTo>
                      <a:pt x="70" y="36"/>
                    </a:lnTo>
                    <a:lnTo>
                      <a:pt x="70" y="34"/>
                    </a:lnTo>
                    <a:lnTo>
                      <a:pt x="70" y="34"/>
                    </a:lnTo>
                    <a:lnTo>
                      <a:pt x="70" y="32"/>
                    </a:lnTo>
                    <a:lnTo>
                      <a:pt x="68" y="30"/>
                    </a:lnTo>
                    <a:lnTo>
                      <a:pt x="66" y="28"/>
                    </a:lnTo>
                    <a:lnTo>
                      <a:pt x="66" y="28"/>
                    </a:lnTo>
                    <a:lnTo>
                      <a:pt x="66" y="26"/>
                    </a:lnTo>
                    <a:lnTo>
                      <a:pt x="66" y="26"/>
                    </a:lnTo>
                    <a:lnTo>
                      <a:pt x="66" y="24"/>
                    </a:lnTo>
                    <a:lnTo>
                      <a:pt x="68" y="24"/>
                    </a:lnTo>
                    <a:lnTo>
                      <a:pt x="68" y="24"/>
                    </a:lnTo>
                    <a:lnTo>
                      <a:pt x="70" y="24"/>
                    </a:lnTo>
                    <a:lnTo>
                      <a:pt x="72" y="22"/>
                    </a:lnTo>
                    <a:lnTo>
                      <a:pt x="72" y="22"/>
                    </a:lnTo>
                    <a:lnTo>
                      <a:pt x="74" y="22"/>
                    </a:lnTo>
                    <a:lnTo>
                      <a:pt x="74" y="22"/>
                    </a:lnTo>
                    <a:lnTo>
                      <a:pt x="74" y="22"/>
                    </a:lnTo>
                    <a:lnTo>
                      <a:pt x="74" y="20"/>
                    </a:lnTo>
                    <a:lnTo>
                      <a:pt x="74" y="20"/>
                    </a:lnTo>
                    <a:lnTo>
                      <a:pt x="74" y="18"/>
                    </a:lnTo>
                    <a:lnTo>
                      <a:pt x="74" y="18"/>
                    </a:lnTo>
                    <a:lnTo>
                      <a:pt x="74" y="16"/>
                    </a:lnTo>
                    <a:lnTo>
                      <a:pt x="74" y="16"/>
                    </a:lnTo>
                    <a:lnTo>
                      <a:pt x="72" y="14"/>
                    </a:lnTo>
                    <a:lnTo>
                      <a:pt x="70" y="12"/>
                    </a:lnTo>
                    <a:lnTo>
                      <a:pt x="70" y="8"/>
                    </a:lnTo>
                    <a:lnTo>
                      <a:pt x="68" y="6"/>
                    </a:lnTo>
                    <a:lnTo>
                      <a:pt x="68" y="6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6" y="2"/>
                    </a:lnTo>
                    <a:lnTo>
                      <a:pt x="66" y="2"/>
                    </a:lnTo>
                    <a:lnTo>
                      <a:pt x="64" y="2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0" y="0"/>
                    </a:lnTo>
                    <a:lnTo>
                      <a:pt x="58" y="0"/>
                    </a:lnTo>
                    <a:lnTo>
                      <a:pt x="58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0" y="2"/>
                    </a:lnTo>
                    <a:lnTo>
                      <a:pt x="48" y="2"/>
                    </a:lnTo>
                    <a:lnTo>
                      <a:pt x="46" y="2"/>
                    </a:lnTo>
                    <a:lnTo>
                      <a:pt x="46" y="2"/>
                    </a:lnTo>
                    <a:lnTo>
                      <a:pt x="44" y="2"/>
                    </a:lnTo>
                    <a:lnTo>
                      <a:pt x="42" y="2"/>
                    </a:lnTo>
                    <a:lnTo>
                      <a:pt x="38" y="2"/>
                    </a:lnTo>
                    <a:lnTo>
                      <a:pt x="36" y="2"/>
                    </a:lnTo>
                    <a:lnTo>
                      <a:pt x="36" y="2"/>
                    </a:lnTo>
                    <a:lnTo>
                      <a:pt x="34" y="2"/>
                    </a:lnTo>
                    <a:lnTo>
                      <a:pt x="32" y="4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94" name="Freeform 975"/>
              <p:cNvSpPr>
                <a:spLocks/>
              </p:cNvSpPr>
              <p:nvPr/>
            </p:nvSpPr>
            <p:spPr bwMode="auto">
              <a:xfrm>
                <a:off x="2645" y="1870"/>
                <a:ext cx="8" cy="8"/>
              </a:xfrm>
              <a:custGeom>
                <a:avLst/>
                <a:gdLst>
                  <a:gd name="T0" fmla="*/ 2 w 8"/>
                  <a:gd name="T1" fmla="*/ 2 h 8"/>
                  <a:gd name="T2" fmla="*/ 2 w 8"/>
                  <a:gd name="T3" fmla="*/ 2 h 8"/>
                  <a:gd name="T4" fmla="*/ 0 w 8"/>
                  <a:gd name="T5" fmla="*/ 4 h 8"/>
                  <a:gd name="T6" fmla="*/ 0 w 8"/>
                  <a:gd name="T7" fmla="*/ 6 h 8"/>
                  <a:gd name="T8" fmla="*/ 0 w 8"/>
                  <a:gd name="T9" fmla="*/ 6 h 8"/>
                  <a:gd name="T10" fmla="*/ 0 w 8"/>
                  <a:gd name="T11" fmla="*/ 6 h 8"/>
                  <a:gd name="T12" fmla="*/ 0 w 8"/>
                  <a:gd name="T13" fmla="*/ 6 h 8"/>
                  <a:gd name="T14" fmla="*/ 2 w 8"/>
                  <a:gd name="T15" fmla="*/ 8 h 8"/>
                  <a:gd name="T16" fmla="*/ 4 w 8"/>
                  <a:gd name="T17" fmla="*/ 6 h 8"/>
                  <a:gd name="T18" fmla="*/ 6 w 8"/>
                  <a:gd name="T19" fmla="*/ 6 h 8"/>
                  <a:gd name="T20" fmla="*/ 6 w 8"/>
                  <a:gd name="T21" fmla="*/ 6 h 8"/>
                  <a:gd name="T22" fmla="*/ 6 w 8"/>
                  <a:gd name="T23" fmla="*/ 6 h 8"/>
                  <a:gd name="T24" fmla="*/ 8 w 8"/>
                  <a:gd name="T25" fmla="*/ 4 h 8"/>
                  <a:gd name="T26" fmla="*/ 8 w 8"/>
                  <a:gd name="T27" fmla="*/ 2 h 8"/>
                  <a:gd name="T28" fmla="*/ 8 w 8"/>
                  <a:gd name="T29" fmla="*/ 2 h 8"/>
                  <a:gd name="T30" fmla="*/ 8 w 8"/>
                  <a:gd name="T31" fmla="*/ 0 h 8"/>
                  <a:gd name="T32" fmla="*/ 8 w 8"/>
                  <a:gd name="T33" fmla="*/ 0 h 8"/>
                  <a:gd name="T34" fmla="*/ 6 w 8"/>
                  <a:gd name="T35" fmla="*/ 0 h 8"/>
                  <a:gd name="T36" fmla="*/ 6 w 8"/>
                  <a:gd name="T37" fmla="*/ 0 h 8"/>
                  <a:gd name="T38" fmla="*/ 6 w 8"/>
                  <a:gd name="T39" fmla="*/ 0 h 8"/>
                  <a:gd name="T40" fmla="*/ 6 w 8"/>
                  <a:gd name="T41" fmla="*/ 0 h 8"/>
                  <a:gd name="T42" fmla="*/ 4 w 8"/>
                  <a:gd name="T43" fmla="*/ 0 h 8"/>
                  <a:gd name="T44" fmla="*/ 2 w 8"/>
                  <a:gd name="T45" fmla="*/ 0 h 8"/>
                  <a:gd name="T46" fmla="*/ 2 w 8"/>
                  <a:gd name="T47" fmla="*/ 2 h 8"/>
                  <a:gd name="T48" fmla="*/ 2 w 8"/>
                  <a:gd name="T49" fmla="*/ 2 h 8"/>
                  <a:gd name="T50" fmla="*/ 2 w 8"/>
                  <a:gd name="T51" fmla="*/ 2 h 8"/>
                  <a:gd name="T52" fmla="*/ 2 w 8"/>
                  <a:gd name="T53" fmla="*/ 2 h 8"/>
                  <a:gd name="T54" fmla="*/ 2 w 8"/>
                  <a:gd name="T55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" h="8">
                    <a:moveTo>
                      <a:pt x="2" y="2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95" name="Freeform 977"/>
              <p:cNvSpPr>
                <a:spLocks/>
              </p:cNvSpPr>
              <p:nvPr/>
            </p:nvSpPr>
            <p:spPr bwMode="auto">
              <a:xfrm>
                <a:off x="2649" y="1888"/>
                <a:ext cx="6" cy="6"/>
              </a:xfrm>
              <a:custGeom>
                <a:avLst/>
                <a:gdLst>
                  <a:gd name="T0" fmla="*/ 0 w 6"/>
                  <a:gd name="T1" fmla="*/ 6 h 6"/>
                  <a:gd name="T2" fmla="*/ 0 w 6"/>
                  <a:gd name="T3" fmla="*/ 6 h 6"/>
                  <a:gd name="T4" fmla="*/ 2 w 6"/>
                  <a:gd name="T5" fmla="*/ 6 h 6"/>
                  <a:gd name="T6" fmla="*/ 4 w 6"/>
                  <a:gd name="T7" fmla="*/ 4 h 6"/>
                  <a:gd name="T8" fmla="*/ 4 w 6"/>
                  <a:gd name="T9" fmla="*/ 4 h 6"/>
                  <a:gd name="T10" fmla="*/ 6 w 6"/>
                  <a:gd name="T11" fmla="*/ 2 h 6"/>
                  <a:gd name="T12" fmla="*/ 6 w 6"/>
                  <a:gd name="T13" fmla="*/ 2 h 6"/>
                  <a:gd name="T14" fmla="*/ 4 w 6"/>
                  <a:gd name="T15" fmla="*/ 0 h 6"/>
                  <a:gd name="T16" fmla="*/ 4 w 6"/>
                  <a:gd name="T17" fmla="*/ 0 h 6"/>
                  <a:gd name="T18" fmla="*/ 2 w 6"/>
                  <a:gd name="T19" fmla="*/ 0 h 6"/>
                  <a:gd name="T20" fmla="*/ 2 w 6"/>
                  <a:gd name="T21" fmla="*/ 0 h 6"/>
                  <a:gd name="T22" fmla="*/ 0 w 6"/>
                  <a:gd name="T23" fmla="*/ 2 h 6"/>
                  <a:gd name="T24" fmla="*/ 0 w 6"/>
                  <a:gd name="T25" fmla="*/ 2 h 6"/>
                  <a:gd name="T26" fmla="*/ 0 w 6"/>
                  <a:gd name="T27" fmla="*/ 4 h 6"/>
                  <a:gd name="T28" fmla="*/ 0 w 6"/>
                  <a:gd name="T29" fmla="*/ 6 h 6"/>
                  <a:gd name="T30" fmla="*/ 0 w 6"/>
                  <a:gd name="T31" fmla="*/ 6 h 6"/>
                  <a:gd name="T32" fmla="*/ 0 w 6"/>
                  <a:gd name="T33" fmla="*/ 6 h 6"/>
                  <a:gd name="T34" fmla="*/ 0 w 6"/>
                  <a:gd name="T35" fmla="*/ 6 h 6"/>
                  <a:gd name="T36" fmla="*/ 0 w 6"/>
                  <a:gd name="T3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" h="6">
                    <a:moveTo>
                      <a:pt x="0" y="6"/>
                    </a:moveTo>
                    <a:lnTo>
                      <a:pt x="0" y="6"/>
                    </a:lnTo>
                    <a:lnTo>
                      <a:pt x="2" y="6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96" name="Freeform 979"/>
              <p:cNvSpPr>
                <a:spLocks/>
              </p:cNvSpPr>
              <p:nvPr/>
            </p:nvSpPr>
            <p:spPr bwMode="auto">
              <a:xfrm>
                <a:off x="2617" y="1776"/>
                <a:ext cx="18" cy="20"/>
              </a:xfrm>
              <a:custGeom>
                <a:avLst/>
                <a:gdLst>
                  <a:gd name="T0" fmla="*/ 12 w 18"/>
                  <a:gd name="T1" fmla="*/ 4 h 20"/>
                  <a:gd name="T2" fmla="*/ 12 w 18"/>
                  <a:gd name="T3" fmla="*/ 4 h 20"/>
                  <a:gd name="T4" fmla="*/ 8 w 18"/>
                  <a:gd name="T5" fmla="*/ 6 h 20"/>
                  <a:gd name="T6" fmla="*/ 6 w 18"/>
                  <a:gd name="T7" fmla="*/ 8 h 20"/>
                  <a:gd name="T8" fmla="*/ 6 w 18"/>
                  <a:gd name="T9" fmla="*/ 8 h 20"/>
                  <a:gd name="T10" fmla="*/ 4 w 18"/>
                  <a:gd name="T11" fmla="*/ 8 h 20"/>
                  <a:gd name="T12" fmla="*/ 4 w 18"/>
                  <a:gd name="T13" fmla="*/ 10 h 20"/>
                  <a:gd name="T14" fmla="*/ 2 w 18"/>
                  <a:gd name="T15" fmla="*/ 12 h 20"/>
                  <a:gd name="T16" fmla="*/ 2 w 18"/>
                  <a:gd name="T17" fmla="*/ 12 h 20"/>
                  <a:gd name="T18" fmla="*/ 0 w 18"/>
                  <a:gd name="T19" fmla="*/ 16 h 20"/>
                  <a:gd name="T20" fmla="*/ 0 w 18"/>
                  <a:gd name="T21" fmla="*/ 18 h 20"/>
                  <a:gd name="T22" fmla="*/ 0 w 18"/>
                  <a:gd name="T23" fmla="*/ 18 h 20"/>
                  <a:gd name="T24" fmla="*/ 2 w 18"/>
                  <a:gd name="T25" fmla="*/ 20 h 20"/>
                  <a:gd name="T26" fmla="*/ 2 w 18"/>
                  <a:gd name="T27" fmla="*/ 18 h 20"/>
                  <a:gd name="T28" fmla="*/ 4 w 18"/>
                  <a:gd name="T29" fmla="*/ 18 h 20"/>
                  <a:gd name="T30" fmla="*/ 6 w 18"/>
                  <a:gd name="T31" fmla="*/ 16 h 20"/>
                  <a:gd name="T32" fmla="*/ 8 w 18"/>
                  <a:gd name="T33" fmla="*/ 16 h 20"/>
                  <a:gd name="T34" fmla="*/ 8 w 18"/>
                  <a:gd name="T35" fmla="*/ 16 h 20"/>
                  <a:gd name="T36" fmla="*/ 10 w 18"/>
                  <a:gd name="T37" fmla="*/ 14 h 20"/>
                  <a:gd name="T38" fmla="*/ 12 w 18"/>
                  <a:gd name="T39" fmla="*/ 14 h 20"/>
                  <a:gd name="T40" fmla="*/ 14 w 18"/>
                  <a:gd name="T41" fmla="*/ 12 h 20"/>
                  <a:gd name="T42" fmla="*/ 14 w 18"/>
                  <a:gd name="T43" fmla="*/ 12 h 20"/>
                  <a:gd name="T44" fmla="*/ 16 w 18"/>
                  <a:gd name="T45" fmla="*/ 8 h 20"/>
                  <a:gd name="T46" fmla="*/ 16 w 18"/>
                  <a:gd name="T47" fmla="*/ 6 h 20"/>
                  <a:gd name="T48" fmla="*/ 18 w 18"/>
                  <a:gd name="T49" fmla="*/ 4 h 20"/>
                  <a:gd name="T50" fmla="*/ 18 w 18"/>
                  <a:gd name="T51" fmla="*/ 4 h 20"/>
                  <a:gd name="T52" fmla="*/ 18 w 18"/>
                  <a:gd name="T53" fmla="*/ 2 h 20"/>
                  <a:gd name="T54" fmla="*/ 18 w 18"/>
                  <a:gd name="T55" fmla="*/ 2 h 20"/>
                  <a:gd name="T56" fmla="*/ 16 w 18"/>
                  <a:gd name="T57" fmla="*/ 0 h 20"/>
                  <a:gd name="T58" fmla="*/ 16 w 18"/>
                  <a:gd name="T59" fmla="*/ 0 h 20"/>
                  <a:gd name="T60" fmla="*/ 16 w 18"/>
                  <a:gd name="T61" fmla="*/ 0 h 20"/>
                  <a:gd name="T62" fmla="*/ 16 w 18"/>
                  <a:gd name="T63" fmla="*/ 0 h 20"/>
                  <a:gd name="T64" fmla="*/ 14 w 18"/>
                  <a:gd name="T65" fmla="*/ 2 h 20"/>
                  <a:gd name="T66" fmla="*/ 12 w 18"/>
                  <a:gd name="T67" fmla="*/ 4 h 20"/>
                  <a:gd name="T68" fmla="*/ 12 w 18"/>
                  <a:gd name="T69" fmla="*/ 4 h 20"/>
                  <a:gd name="T70" fmla="*/ 12 w 18"/>
                  <a:gd name="T71" fmla="*/ 4 h 20"/>
                  <a:gd name="T72" fmla="*/ 12 w 18"/>
                  <a:gd name="T73" fmla="*/ 4 h 20"/>
                  <a:gd name="T74" fmla="*/ 12 w 18"/>
                  <a:gd name="T75" fmla="*/ 4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8" h="20">
                    <a:moveTo>
                      <a:pt x="12" y="4"/>
                    </a:moveTo>
                    <a:lnTo>
                      <a:pt x="12" y="4"/>
                    </a:lnTo>
                    <a:lnTo>
                      <a:pt x="8" y="6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4" y="8"/>
                    </a:lnTo>
                    <a:lnTo>
                      <a:pt x="4" y="10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0" y="16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0"/>
                    </a:lnTo>
                    <a:lnTo>
                      <a:pt x="2" y="18"/>
                    </a:lnTo>
                    <a:lnTo>
                      <a:pt x="4" y="18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0" y="14"/>
                    </a:lnTo>
                    <a:lnTo>
                      <a:pt x="12" y="14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6" y="8"/>
                    </a:lnTo>
                    <a:lnTo>
                      <a:pt x="16" y="6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4" y="2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97" name="Freeform 981"/>
              <p:cNvSpPr>
                <a:spLocks/>
              </p:cNvSpPr>
              <p:nvPr/>
            </p:nvSpPr>
            <p:spPr bwMode="auto">
              <a:xfrm>
                <a:off x="2669" y="1762"/>
                <a:ext cx="12" cy="10"/>
              </a:xfrm>
              <a:custGeom>
                <a:avLst/>
                <a:gdLst>
                  <a:gd name="T0" fmla="*/ 10 w 12"/>
                  <a:gd name="T1" fmla="*/ 2 h 10"/>
                  <a:gd name="T2" fmla="*/ 10 w 12"/>
                  <a:gd name="T3" fmla="*/ 2 h 10"/>
                  <a:gd name="T4" fmla="*/ 8 w 12"/>
                  <a:gd name="T5" fmla="*/ 2 h 10"/>
                  <a:gd name="T6" fmla="*/ 6 w 12"/>
                  <a:gd name="T7" fmla="*/ 2 h 10"/>
                  <a:gd name="T8" fmla="*/ 4 w 12"/>
                  <a:gd name="T9" fmla="*/ 0 h 10"/>
                  <a:gd name="T10" fmla="*/ 2 w 12"/>
                  <a:gd name="T11" fmla="*/ 2 h 10"/>
                  <a:gd name="T12" fmla="*/ 2 w 12"/>
                  <a:gd name="T13" fmla="*/ 2 h 10"/>
                  <a:gd name="T14" fmla="*/ 0 w 12"/>
                  <a:gd name="T15" fmla="*/ 2 h 10"/>
                  <a:gd name="T16" fmla="*/ 0 w 12"/>
                  <a:gd name="T17" fmla="*/ 2 h 10"/>
                  <a:gd name="T18" fmla="*/ 0 w 12"/>
                  <a:gd name="T19" fmla="*/ 4 h 10"/>
                  <a:gd name="T20" fmla="*/ 2 w 12"/>
                  <a:gd name="T21" fmla="*/ 4 h 10"/>
                  <a:gd name="T22" fmla="*/ 4 w 12"/>
                  <a:gd name="T23" fmla="*/ 6 h 10"/>
                  <a:gd name="T24" fmla="*/ 4 w 12"/>
                  <a:gd name="T25" fmla="*/ 8 h 10"/>
                  <a:gd name="T26" fmla="*/ 4 w 12"/>
                  <a:gd name="T27" fmla="*/ 8 h 10"/>
                  <a:gd name="T28" fmla="*/ 6 w 12"/>
                  <a:gd name="T29" fmla="*/ 8 h 10"/>
                  <a:gd name="T30" fmla="*/ 8 w 12"/>
                  <a:gd name="T31" fmla="*/ 10 h 10"/>
                  <a:gd name="T32" fmla="*/ 8 w 12"/>
                  <a:gd name="T33" fmla="*/ 10 h 10"/>
                  <a:gd name="T34" fmla="*/ 10 w 12"/>
                  <a:gd name="T35" fmla="*/ 10 h 10"/>
                  <a:gd name="T36" fmla="*/ 10 w 12"/>
                  <a:gd name="T37" fmla="*/ 10 h 10"/>
                  <a:gd name="T38" fmla="*/ 10 w 12"/>
                  <a:gd name="T39" fmla="*/ 8 h 10"/>
                  <a:gd name="T40" fmla="*/ 10 w 12"/>
                  <a:gd name="T41" fmla="*/ 8 h 10"/>
                  <a:gd name="T42" fmla="*/ 12 w 12"/>
                  <a:gd name="T43" fmla="*/ 8 h 10"/>
                  <a:gd name="T44" fmla="*/ 12 w 12"/>
                  <a:gd name="T45" fmla="*/ 8 h 10"/>
                  <a:gd name="T46" fmla="*/ 10 w 12"/>
                  <a:gd name="T47" fmla="*/ 6 h 10"/>
                  <a:gd name="T48" fmla="*/ 8 w 12"/>
                  <a:gd name="T49" fmla="*/ 2 h 10"/>
                  <a:gd name="T50" fmla="*/ 10 w 12"/>
                  <a:gd name="T51" fmla="*/ 2 h 10"/>
                  <a:gd name="T52" fmla="*/ 10 w 12"/>
                  <a:gd name="T53" fmla="*/ 2 h 10"/>
                  <a:gd name="T54" fmla="*/ 10 w 12"/>
                  <a:gd name="T55" fmla="*/ 2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2" h="10">
                    <a:moveTo>
                      <a:pt x="10" y="2"/>
                    </a:moveTo>
                    <a:lnTo>
                      <a:pt x="10" y="2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4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0" y="6"/>
                    </a:lnTo>
                    <a:lnTo>
                      <a:pt x="8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0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98" name="Freeform 983"/>
              <p:cNvSpPr>
                <a:spLocks/>
              </p:cNvSpPr>
              <p:nvPr/>
            </p:nvSpPr>
            <p:spPr bwMode="auto">
              <a:xfrm>
                <a:off x="2613" y="1800"/>
                <a:ext cx="6" cy="6"/>
              </a:xfrm>
              <a:custGeom>
                <a:avLst/>
                <a:gdLst>
                  <a:gd name="T0" fmla="*/ 0 w 6"/>
                  <a:gd name="T1" fmla="*/ 0 h 6"/>
                  <a:gd name="T2" fmla="*/ 0 w 6"/>
                  <a:gd name="T3" fmla="*/ 0 h 6"/>
                  <a:gd name="T4" fmla="*/ 0 w 6"/>
                  <a:gd name="T5" fmla="*/ 0 h 6"/>
                  <a:gd name="T6" fmla="*/ 0 w 6"/>
                  <a:gd name="T7" fmla="*/ 2 h 6"/>
                  <a:gd name="T8" fmla="*/ 2 w 6"/>
                  <a:gd name="T9" fmla="*/ 4 h 6"/>
                  <a:gd name="T10" fmla="*/ 2 w 6"/>
                  <a:gd name="T11" fmla="*/ 4 h 6"/>
                  <a:gd name="T12" fmla="*/ 2 w 6"/>
                  <a:gd name="T13" fmla="*/ 4 h 6"/>
                  <a:gd name="T14" fmla="*/ 2 w 6"/>
                  <a:gd name="T15" fmla="*/ 6 h 6"/>
                  <a:gd name="T16" fmla="*/ 4 w 6"/>
                  <a:gd name="T17" fmla="*/ 6 h 6"/>
                  <a:gd name="T18" fmla="*/ 4 w 6"/>
                  <a:gd name="T19" fmla="*/ 6 h 6"/>
                  <a:gd name="T20" fmla="*/ 4 w 6"/>
                  <a:gd name="T21" fmla="*/ 6 h 6"/>
                  <a:gd name="T22" fmla="*/ 4 w 6"/>
                  <a:gd name="T23" fmla="*/ 6 h 6"/>
                  <a:gd name="T24" fmla="*/ 4 w 6"/>
                  <a:gd name="T25" fmla="*/ 6 h 6"/>
                  <a:gd name="T26" fmla="*/ 6 w 6"/>
                  <a:gd name="T27" fmla="*/ 4 h 6"/>
                  <a:gd name="T28" fmla="*/ 6 w 6"/>
                  <a:gd name="T29" fmla="*/ 4 h 6"/>
                  <a:gd name="T30" fmla="*/ 6 w 6"/>
                  <a:gd name="T31" fmla="*/ 4 h 6"/>
                  <a:gd name="T32" fmla="*/ 6 w 6"/>
                  <a:gd name="T33" fmla="*/ 2 h 6"/>
                  <a:gd name="T34" fmla="*/ 6 w 6"/>
                  <a:gd name="T35" fmla="*/ 2 h 6"/>
                  <a:gd name="T36" fmla="*/ 4 w 6"/>
                  <a:gd name="T37" fmla="*/ 0 h 6"/>
                  <a:gd name="T38" fmla="*/ 2 w 6"/>
                  <a:gd name="T39" fmla="*/ 0 h 6"/>
                  <a:gd name="T40" fmla="*/ 0 w 6"/>
                  <a:gd name="T41" fmla="*/ 0 h 6"/>
                  <a:gd name="T42" fmla="*/ 0 w 6"/>
                  <a:gd name="T43" fmla="*/ 0 h 6"/>
                  <a:gd name="T44" fmla="*/ 0 w 6"/>
                  <a:gd name="T45" fmla="*/ 0 h 6"/>
                  <a:gd name="T46" fmla="*/ 0 w 6"/>
                  <a:gd name="T47" fmla="*/ 0 h 6"/>
                  <a:gd name="T48" fmla="*/ 0 w 6"/>
                  <a:gd name="T4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6" h="6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199" name="Freeform 985"/>
              <p:cNvSpPr>
                <a:spLocks/>
              </p:cNvSpPr>
              <p:nvPr/>
            </p:nvSpPr>
            <p:spPr bwMode="auto">
              <a:xfrm>
                <a:off x="2629" y="1824"/>
                <a:ext cx="4" cy="8"/>
              </a:xfrm>
              <a:custGeom>
                <a:avLst/>
                <a:gdLst>
                  <a:gd name="T0" fmla="*/ 0 w 4"/>
                  <a:gd name="T1" fmla="*/ 4 h 8"/>
                  <a:gd name="T2" fmla="*/ 0 w 4"/>
                  <a:gd name="T3" fmla="*/ 4 h 8"/>
                  <a:gd name="T4" fmla="*/ 0 w 4"/>
                  <a:gd name="T5" fmla="*/ 6 h 8"/>
                  <a:gd name="T6" fmla="*/ 0 w 4"/>
                  <a:gd name="T7" fmla="*/ 6 h 8"/>
                  <a:gd name="T8" fmla="*/ 0 w 4"/>
                  <a:gd name="T9" fmla="*/ 6 h 8"/>
                  <a:gd name="T10" fmla="*/ 0 w 4"/>
                  <a:gd name="T11" fmla="*/ 6 h 8"/>
                  <a:gd name="T12" fmla="*/ 0 w 4"/>
                  <a:gd name="T13" fmla="*/ 8 h 8"/>
                  <a:gd name="T14" fmla="*/ 2 w 4"/>
                  <a:gd name="T15" fmla="*/ 8 h 8"/>
                  <a:gd name="T16" fmla="*/ 4 w 4"/>
                  <a:gd name="T17" fmla="*/ 6 h 8"/>
                  <a:gd name="T18" fmla="*/ 4 w 4"/>
                  <a:gd name="T19" fmla="*/ 6 h 8"/>
                  <a:gd name="T20" fmla="*/ 4 w 4"/>
                  <a:gd name="T21" fmla="*/ 6 h 8"/>
                  <a:gd name="T22" fmla="*/ 4 w 4"/>
                  <a:gd name="T23" fmla="*/ 4 h 8"/>
                  <a:gd name="T24" fmla="*/ 4 w 4"/>
                  <a:gd name="T25" fmla="*/ 2 h 8"/>
                  <a:gd name="T26" fmla="*/ 4 w 4"/>
                  <a:gd name="T27" fmla="*/ 0 h 8"/>
                  <a:gd name="T28" fmla="*/ 2 w 4"/>
                  <a:gd name="T29" fmla="*/ 0 h 8"/>
                  <a:gd name="T30" fmla="*/ 2 w 4"/>
                  <a:gd name="T31" fmla="*/ 0 h 8"/>
                  <a:gd name="T32" fmla="*/ 2 w 4"/>
                  <a:gd name="T33" fmla="*/ 0 h 8"/>
                  <a:gd name="T34" fmla="*/ 0 w 4"/>
                  <a:gd name="T35" fmla="*/ 0 h 8"/>
                  <a:gd name="T36" fmla="*/ 0 w 4"/>
                  <a:gd name="T37" fmla="*/ 0 h 8"/>
                  <a:gd name="T38" fmla="*/ 0 w 4"/>
                  <a:gd name="T39" fmla="*/ 0 h 8"/>
                  <a:gd name="T40" fmla="*/ 0 w 4"/>
                  <a:gd name="T41" fmla="*/ 2 h 8"/>
                  <a:gd name="T42" fmla="*/ 0 w 4"/>
                  <a:gd name="T43" fmla="*/ 4 h 8"/>
                  <a:gd name="T44" fmla="*/ 0 w 4"/>
                  <a:gd name="T45" fmla="*/ 4 h 8"/>
                  <a:gd name="T46" fmla="*/ 0 w 4"/>
                  <a:gd name="T47" fmla="*/ 4 h 8"/>
                  <a:gd name="T48" fmla="*/ 0 w 4"/>
                  <a:gd name="T49" fmla="*/ 4 h 8"/>
                  <a:gd name="T50" fmla="*/ 0 w 4"/>
                  <a:gd name="T51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" h="8">
                    <a:moveTo>
                      <a:pt x="0" y="4"/>
                    </a:move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2" y="8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00" name="Freeform 986"/>
              <p:cNvSpPr>
                <a:spLocks/>
              </p:cNvSpPr>
              <p:nvPr/>
            </p:nvSpPr>
            <p:spPr bwMode="auto">
              <a:xfrm>
                <a:off x="2629" y="1824"/>
                <a:ext cx="4" cy="8"/>
              </a:xfrm>
              <a:custGeom>
                <a:avLst/>
                <a:gdLst>
                  <a:gd name="T0" fmla="*/ 0 w 4"/>
                  <a:gd name="T1" fmla="*/ 4 h 8"/>
                  <a:gd name="T2" fmla="*/ 0 w 4"/>
                  <a:gd name="T3" fmla="*/ 4 h 8"/>
                  <a:gd name="T4" fmla="*/ 0 w 4"/>
                  <a:gd name="T5" fmla="*/ 6 h 8"/>
                  <a:gd name="T6" fmla="*/ 0 w 4"/>
                  <a:gd name="T7" fmla="*/ 6 h 8"/>
                  <a:gd name="T8" fmla="*/ 0 w 4"/>
                  <a:gd name="T9" fmla="*/ 6 h 8"/>
                  <a:gd name="T10" fmla="*/ 0 w 4"/>
                  <a:gd name="T11" fmla="*/ 6 h 8"/>
                  <a:gd name="T12" fmla="*/ 0 w 4"/>
                  <a:gd name="T13" fmla="*/ 8 h 8"/>
                  <a:gd name="T14" fmla="*/ 2 w 4"/>
                  <a:gd name="T15" fmla="*/ 8 h 8"/>
                  <a:gd name="T16" fmla="*/ 4 w 4"/>
                  <a:gd name="T17" fmla="*/ 6 h 8"/>
                  <a:gd name="T18" fmla="*/ 4 w 4"/>
                  <a:gd name="T19" fmla="*/ 6 h 8"/>
                  <a:gd name="T20" fmla="*/ 4 w 4"/>
                  <a:gd name="T21" fmla="*/ 6 h 8"/>
                  <a:gd name="T22" fmla="*/ 4 w 4"/>
                  <a:gd name="T23" fmla="*/ 4 h 8"/>
                  <a:gd name="T24" fmla="*/ 4 w 4"/>
                  <a:gd name="T25" fmla="*/ 2 h 8"/>
                  <a:gd name="T26" fmla="*/ 4 w 4"/>
                  <a:gd name="T27" fmla="*/ 0 h 8"/>
                  <a:gd name="T28" fmla="*/ 2 w 4"/>
                  <a:gd name="T29" fmla="*/ 0 h 8"/>
                  <a:gd name="T30" fmla="*/ 2 w 4"/>
                  <a:gd name="T31" fmla="*/ 0 h 8"/>
                  <a:gd name="T32" fmla="*/ 2 w 4"/>
                  <a:gd name="T33" fmla="*/ 0 h 8"/>
                  <a:gd name="T34" fmla="*/ 0 w 4"/>
                  <a:gd name="T35" fmla="*/ 0 h 8"/>
                  <a:gd name="T36" fmla="*/ 0 w 4"/>
                  <a:gd name="T37" fmla="*/ 0 h 8"/>
                  <a:gd name="T38" fmla="*/ 0 w 4"/>
                  <a:gd name="T39" fmla="*/ 0 h 8"/>
                  <a:gd name="T40" fmla="*/ 0 w 4"/>
                  <a:gd name="T41" fmla="*/ 2 h 8"/>
                  <a:gd name="T42" fmla="*/ 0 w 4"/>
                  <a:gd name="T43" fmla="*/ 4 h 8"/>
                  <a:gd name="T44" fmla="*/ 0 w 4"/>
                  <a:gd name="T45" fmla="*/ 4 h 8"/>
                  <a:gd name="T46" fmla="*/ 0 w 4"/>
                  <a:gd name="T47" fmla="*/ 4 h 8"/>
                  <a:gd name="T48" fmla="*/ 0 w 4"/>
                  <a:gd name="T49" fmla="*/ 4 h 8"/>
                  <a:gd name="T50" fmla="*/ 0 w 4"/>
                  <a:gd name="T51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" h="8">
                    <a:moveTo>
                      <a:pt x="0" y="4"/>
                    </a:move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2" y="8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01" name="Freeform 990"/>
              <p:cNvSpPr>
                <a:spLocks/>
              </p:cNvSpPr>
              <p:nvPr/>
            </p:nvSpPr>
            <p:spPr bwMode="auto">
              <a:xfrm>
                <a:off x="1871" y="3776"/>
                <a:ext cx="26" cy="14"/>
              </a:xfrm>
              <a:custGeom>
                <a:avLst/>
                <a:gdLst>
                  <a:gd name="T0" fmla="*/ 10 w 26"/>
                  <a:gd name="T1" fmla="*/ 0 h 14"/>
                  <a:gd name="T2" fmla="*/ 10 w 26"/>
                  <a:gd name="T3" fmla="*/ 0 h 14"/>
                  <a:gd name="T4" fmla="*/ 10 w 26"/>
                  <a:gd name="T5" fmla="*/ 0 h 14"/>
                  <a:gd name="T6" fmla="*/ 6 w 26"/>
                  <a:gd name="T7" fmla="*/ 0 h 14"/>
                  <a:gd name="T8" fmla="*/ 4 w 26"/>
                  <a:gd name="T9" fmla="*/ 0 h 14"/>
                  <a:gd name="T10" fmla="*/ 4 w 26"/>
                  <a:gd name="T11" fmla="*/ 0 h 14"/>
                  <a:gd name="T12" fmla="*/ 2 w 26"/>
                  <a:gd name="T13" fmla="*/ 0 h 14"/>
                  <a:gd name="T14" fmla="*/ 2 w 26"/>
                  <a:gd name="T15" fmla="*/ 0 h 14"/>
                  <a:gd name="T16" fmla="*/ 2 w 26"/>
                  <a:gd name="T17" fmla="*/ 2 h 14"/>
                  <a:gd name="T18" fmla="*/ 2 w 26"/>
                  <a:gd name="T19" fmla="*/ 2 h 14"/>
                  <a:gd name="T20" fmla="*/ 4 w 26"/>
                  <a:gd name="T21" fmla="*/ 4 h 14"/>
                  <a:gd name="T22" fmla="*/ 4 w 26"/>
                  <a:gd name="T23" fmla="*/ 4 h 14"/>
                  <a:gd name="T24" fmla="*/ 4 w 26"/>
                  <a:gd name="T25" fmla="*/ 4 h 14"/>
                  <a:gd name="T26" fmla="*/ 4 w 26"/>
                  <a:gd name="T27" fmla="*/ 6 h 14"/>
                  <a:gd name="T28" fmla="*/ 2 w 26"/>
                  <a:gd name="T29" fmla="*/ 6 h 14"/>
                  <a:gd name="T30" fmla="*/ 2 w 26"/>
                  <a:gd name="T31" fmla="*/ 6 h 14"/>
                  <a:gd name="T32" fmla="*/ 2 w 26"/>
                  <a:gd name="T33" fmla="*/ 8 h 14"/>
                  <a:gd name="T34" fmla="*/ 2 w 26"/>
                  <a:gd name="T35" fmla="*/ 8 h 14"/>
                  <a:gd name="T36" fmla="*/ 0 w 26"/>
                  <a:gd name="T37" fmla="*/ 10 h 14"/>
                  <a:gd name="T38" fmla="*/ 2 w 26"/>
                  <a:gd name="T39" fmla="*/ 10 h 14"/>
                  <a:gd name="T40" fmla="*/ 2 w 26"/>
                  <a:gd name="T41" fmla="*/ 10 h 14"/>
                  <a:gd name="T42" fmla="*/ 2 w 26"/>
                  <a:gd name="T43" fmla="*/ 10 h 14"/>
                  <a:gd name="T44" fmla="*/ 4 w 26"/>
                  <a:gd name="T45" fmla="*/ 10 h 14"/>
                  <a:gd name="T46" fmla="*/ 4 w 26"/>
                  <a:gd name="T47" fmla="*/ 10 h 14"/>
                  <a:gd name="T48" fmla="*/ 4 w 26"/>
                  <a:gd name="T49" fmla="*/ 12 h 14"/>
                  <a:gd name="T50" fmla="*/ 2 w 26"/>
                  <a:gd name="T51" fmla="*/ 12 h 14"/>
                  <a:gd name="T52" fmla="*/ 2 w 26"/>
                  <a:gd name="T53" fmla="*/ 14 h 14"/>
                  <a:gd name="T54" fmla="*/ 2 w 26"/>
                  <a:gd name="T55" fmla="*/ 14 h 14"/>
                  <a:gd name="T56" fmla="*/ 2 w 26"/>
                  <a:gd name="T57" fmla="*/ 14 h 14"/>
                  <a:gd name="T58" fmla="*/ 4 w 26"/>
                  <a:gd name="T59" fmla="*/ 14 h 14"/>
                  <a:gd name="T60" fmla="*/ 6 w 26"/>
                  <a:gd name="T61" fmla="*/ 14 h 14"/>
                  <a:gd name="T62" fmla="*/ 8 w 26"/>
                  <a:gd name="T63" fmla="*/ 14 h 14"/>
                  <a:gd name="T64" fmla="*/ 12 w 26"/>
                  <a:gd name="T65" fmla="*/ 12 h 14"/>
                  <a:gd name="T66" fmla="*/ 18 w 26"/>
                  <a:gd name="T67" fmla="*/ 10 h 14"/>
                  <a:gd name="T68" fmla="*/ 18 w 26"/>
                  <a:gd name="T69" fmla="*/ 10 h 14"/>
                  <a:gd name="T70" fmla="*/ 20 w 26"/>
                  <a:gd name="T71" fmla="*/ 10 h 14"/>
                  <a:gd name="T72" fmla="*/ 22 w 26"/>
                  <a:gd name="T73" fmla="*/ 8 h 14"/>
                  <a:gd name="T74" fmla="*/ 26 w 26"/>
                  <a:gd name="T75" fmla="*/ 6 h 14"/>
                  <a:gd name="T76" fmla="*/ 26 w 26"/>
                  <a:gd name="T77" fmla="*/ 4 h 14"/>
                  <a:gd name="T78" fmla="*/ 26 w 26"/>
                  <a:gd name="T79" fmla="*/ 2 h 14"/>
                  <a:gd name="T80" fmla="*/ 26 w 26"/>
                  <a:gd name="T81" fmla="*/ 2 h 14"/>
                  <a:gd name="T82" fmla="*/ 26 w 26"/>
                  <a:gd name="T83" fmla="*/ 2 h 14"/>
                  <a:gd name="T84" fmla="*/ 26 w 26"/>
                  <a:gd name="T85" fmla="*/ 2 h 14"/>
                  <a:gd name="T86" fmla="*/ 24 w 26"/>
                  <a:gd name="T87" fmla="*/ 2 h 14"/>
                  <a:gd name="T88" fmla="*/ 20 w 26"/>
                  <a:gd name="T89" fmla="*/ 0 h 14"/>
                  <a:gd name="T90" fmla="*/ 16 w 26"/>
                  <a:gd name="T91" fmla="*/ 0 h 14"/>
                  <a:gd name="T92" fmla="*/ 10 w 26"/>
                  <a:gd name="T93" fmla="*/ 0 h 14"/>
                  <a:gd name="T94" fmla="*/ 10 w 26"/>
                  <a:gd name="T95" fmla="*/ 0 h 14"/>
                  <a:gd name="T96" fmla="*/ 10 w 26"/>
                  <a:gd name="T97" fmla="*/ 0 h 14"/>
                  <a:gd name="T98" fmla="*/ 10 w 26"/>
                  <a:gd name="T99" fmla="*/ 0 h 14"/>
                  <a:gd name="T100" fmla="*/ 10 w 26"/>
                  <a:gd name="T101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6" h="14">
                    <a:moveTo>
                      <a:pt x="10" y="0"/>
                    </a:moveTo>
                    <a:lnTo>
                      <a:pt x="10" y="0"/>
                    </a:lnTo>
                    <a:lnTo>
                      <a:pt x="10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10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4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12" y="12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20" y="10"/>
                    </a:lnTo>
                    <a:lnTo>
                      <a:pt x="22" y="8"/>
                    </a:lnTo>
                    <a:lnTo>
                      <a:pt x="26" y="6"/>
                    </a:lnTo>
                    <a:lnTo>
                      <a:pt x="26" y="4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4" y="2"/>
                    </a:lnTo>
                    <a:lnTo>
                      <a:pt x="20" y="0"/>
                    </a:lnTo>
                    <a:lnTo>
                      <a:pt x="16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02" name="Freeform 991"/>
              <p:cNvSpPr>
                <a:spLocks/>
              </p:cNvSpPr>
              <p:nvPr/>
            </p:nvSpPr>
            <p:spPr bwMode="auto">
              <a:xfrm>
                <a:off x="1891" y="3774"/>
                <a:ext cx="22" cy="18"/>
              </a:xfrm>
              <a:custGeom>
                <a:avLst/>
                <a:gdLst>
                  <a:gd name="T0" fmla="*/ 8 w 22"/>
                  <a:gd name="T1" fmla="*/ 2 h 18"/>
                  <a:gd name="T2" fmla="*/ 8 w 22"/>
                  <a:gd name="T3" fmla="*/ 2 h 18"/>
                  <a:gd name="T4" fmla="*/ 8 w 22"/>
                  <a:gd name="T5" fmla="*/ 2 h 18"/>
                  <a:gd name="T6" fmla="*/ 10 w 22"/>
                  <a:gd name="T7" fmla="*/ 2 h 18"/>
                  <a:gd name="T8" fmla="*/ 10 w 22"/>
                  <a:gd name="T9" fmla="*/ 4 h 18"/>
                  <a:gd name="T10" fmla="*/ 12 w 22"/>
                  <a:gd name="T11" fmla="*/ 6 h 18"/>
                  <a:gd name="T12" fmla="*/ 12 w 22"/>
                  <a:gd name="T13" fmla="*/ 6 h 18"/>
                  <a:gd name="T14" fmla="*/ 12 w 22"/>
                  <a:gd name="T15" fmla="*/ 6 h 18"/>
                  <a:gd name="T16" fmla="*/ 12 w 22"/>
                  <a:gd name="T17" fmla="*/ 6 h 18"/>
                  <a:gd name="T18" fmla="*/ 10 w 22"/>
                  <a:gd name="T19" fmla="*/ 8 h 18"/>
                  <a:gd name="T20" fmla="*/ 10 w 22"/>
                  <a:gd name="T21" fmla="*/ 10 h 18"/>
                  <a:gd name="T22" fmla="*/ 6 w 22"/>
                  <a:gd name="T23" fmla="*/ 10 h 18"/>
                  <a:gd name="T24" fmla="*/ 2 w 22"/>
                  <a:gd name="T25" fmla="*/ 12 h 18"/>
                  <a:gd name="T26" fmla="*/ 2 w 22"/>
                  <a:gd name="T27" fmla="*/ 14 h 18"/>
                  <a:gd name="T28" fmla="*/ 0 w 22"/>
                  <a:gd name="T29" fmla="*/ 14 h 18"/>
                  <a:gd name="T30" fmla="*/ 0 w 22"/>
                  <a:gd name="T31" fmla="*/ 14 h 18"/>
                  <a:gd name="T32" fmla="*/ 0 w 22"/>
                  <a:gd name="T33" fmla="*/ 16 h 18"/>
                  <a:gd name="T34" fmla="*/ 0 w 22"/>
                  <a:gd name="T35" fmla="*/ 16 h 18"/>
                  <a:gd name="T36" fmla="*/ 2 w 22"/>
                  <a:gd name="T37" fmla="*/ 18 h 18"/>
                  <a:gd name="T38" fmla="*/ 2 w 22"/>
                  <a:gd name="T39" fmla="*/ 18 h 18"/>
                  <a:gd name="T40" fmla="*/ 4 w 22"/>
                  <a:gd name="T41" fmla="*/ 18 h 18"/>
                  <a:gd name="T42" fmla="*/ 4 w 22"/>
                  <a:gd name="T43" fmla="*/ 16 h 18"/>
                  <a:gd name="T44" fmla="*/ 4 w 22"/>
                  <a:gd name="T45" fmla="*/ 16 h 18"/>
                  <a:gd name="T46" fmla="*/ 8 w 22"/>
                  <a:gd name="T47" fmla="*/ 14 h 18"/>
                  <a:gd name="T48" fmla="*/ 10 w 22"/>
                  <a:gd name="T49" fmla="*/ 12 h 18"/>
                  <a:gd name="T50" fmla="*/ 10 w 22"/>
                  <a:gd name="T51" fmla="*/ 12 h 18"/>
                  <a:gd name="T52" fmla="*/ 12 w 22"/>
                  <a:gd name="T53" fmla="*/ 12 h 18"/>
                  <a:gd name="T54" fmla="*/ 14 w 22"/>
                  <a:gd name="T55" fmla="*/ 10 h 18"/>
                  <a:gd name="T56" fmla="*/ 18 w 22"/>
                  <a:gd name="T57" fmla="*/ 8 h 18"/>
                  <a:gd name="T58" fmla="*/ 18 w 22"/>
                  <a:gd name="T59" fmla="*/ 8 h 18"/>
                  <a:gd name="T60" fmla="*/ 20 w 22"/>
                  <a:gd name="T61" fmla="*/ 8 h 18"/>
                  <a:gd name="T62" fmla="*/ 22 w 22"/>
                  <a:gd name="T63" fmla="*/ 8 h 18"/>
                  <a:gd name="T64" fmla="*/ 22 w 22"/>
                  <a:gd name="T65" fmla="*/ 6 h 18"/>
                  <a:gd name="T66" fmla="*/ 22 w 22"/>
                  <a:gd name="T67" fmla="*/ 6 h 18"/>
                  <a:gd name="T68" fmla="*/ 22 w 22"/>
                  <a:gd name="T69" fmla="*/ 6 h 18"/>
                  <a:gd name="T70" fmla="*/ 22 w 22"/>
                  <a:gd name="T71" fmla="*/ 4 h 18"/>
                  <a:gd name="T72" fmla="*/ 22 w 22"/>
                  <a:gd name="T73" fmla="*/ 4 h 18"/>
                  <a:gd name="T74" fmla="*/ 22 w 22"/>
                  <a:gd name="T75" fmla="*/ 2 h 18"/>
                  <a:gd name="T76" fmla="*/ 20 w 22"/>
                  <a:gd name="T77" fmla="*/ 2 h 18"/>
                  <a:gd name="T78" fmla="*/ 18 w 22"/>
                  <a:gd name="T79" fmla="*/ 2 h 18"/>
                  <a:gd name="T80" fmla="*/ 16 w 22"/>
                  <a:gd name="T81" fmla="*/ 0 h 18"/>
                  <a:gd name="T82" fmla="*/ 14 w 22"/>
                  <a:gd name="T83" fmla="*/ 0 h 18"/>
                  <a:gd name="T84" fmla="*/ 12 w 22"/>
                  <a:gd name="T85" fmla="*/ 0 h 18"/>
                  <a:gd name="T86" fmla="*/ 10 w 22"/>
                  <a:gd name="T87" fmla="*/ 0 h 18"/>
                  <a:gd name="T88" fmla="*/ 10 w 22"/>
                  <a:gd name="T89" fmla="*/ 2 h 18"/>
                  <a:gd name="T90" fmla="*/ 8 w 22"/>
                  <a:gd name="T91" fmla="*/ 2 h 18"/>
                  <a:gd name="T92" fmla="*/ 8 w 22"/>
                  <a:gd name="T93" fmla="*/ 2 h 18"/>
                  <a:gd name="T94" fmla="*/ 8 w 22"/>
                  <a:gd name="T95" fmla="*/ 2 h 18"/>
                  <a:gd name="T96" fmla="*/ 8 w 22"/>
                  <a:gd name="T97" fmla="*/ 2 h 18"/>
                  <a:gd name="T98" fmla="*/ 8 w 22"/>
                  <a:gd name="T99" fmla="*/ 2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2" h="18">
                    <a:moveTo>
                      <a:pt x="8" y="2"/>
                    </a:moveTo>
                    <a:lnTo>
                      <a:pt x="8" y="2"/>
                    </a:lnTo>
                    <a:lnTo>
                      <a:pt x="8" y="2"/>
                    </a:lnTo>
                    <a:lnTo>
                      <a:pt x="10" y="2"/>
                    </a:lnTo>
                    <a:lnTo>
                      <a:pt x="10" y="4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0" y="8"/>
                    </a:lnTo>
                    <a:lnTo>
                      <a:pt x="10" y="10"/>
                    </a:lnTo>
                    <a:lnTo>
                      <a:pt x="6" y="10"/>
                    </a:lnTo>
                    <a:lnTo>
                      <a:pt x="2" y="12"/>
                    </a:lnTo>
                    <a:lnTo>
                      <a:pt x="2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8" y="14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2" y="12"/>
                    </a:lnTo>
                    <a:lnTo>
                      <a:pt x="14" y="10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20" y="8"/>
                    </a:lnTo>
                    <a:lnTo>
                      <a:pt x="22" y="8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2"/>
                    </a:lnTo>
                    <a:lnTo>
                      <a:pt x="20" y="2"/>
                    </a:lnTo>
                    <a:lnTo>
                      <a:pt x="18" y="2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10" y="2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8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03" name="Freeform 993"/>
              <p:cNvSpPr>
                <a:spLocks/>
              </p:cNvSpPr>
              <p:nvPr/>
            </p:nvSpPr>
            <p:spPr bwMode="auto">
              <a:xfrm>
                <a:off x="2653" y="1936"/>
                <a:ext cx="180" cy="172"/>
              </a:xfrm>
              <a:custGeom>
                <a:avLst/>
                <a:gdLst>
                  <a:gd name="T0" fmla="*/ 162 w 180"/>
                  <a:gd name="T1" fmla="*/ 122 h 172"/>
                  <a:gd name="T2" fmla="*/ 166 w 180"/>
                  <a:gd name="T3" fmla="*/ 110 h 172"/>
                  <a:gd name="T4" fmla="*/ 160 w 180"/>
                  <a:gd name="T5" fmla="*/ 102 h 172"/>
                  <a:gd name="T6" fmla="*/ 148 w 180"/>
                  <a:gd name="T7" fmla="*/ 100 h 172"/>
                  <a:gd name="T8" fmla="*/ 148 w 180"/>
                  <a:gd name="T9" fmla="*/ 90 h 172"/>
                  <a:gd name="T10" fmla="*/ 164 w 180"/>
                  <a:gd name="T11" fmla="*/ 72 h 172"/>
                  <a:gd name="T12" fmla="*/ 168 w 180"/>
                  <a:gd name="T13" fmla="*/ 64 h 172"/>
                  <a:gd name="T14" fmla="*/ 170 w 180"/>
                  <a:gd name="T15" fmla="*/ 44 h 172"/>
                  <a:gd name="T16" fmla="*/ 154 w 180"/>
                  <a:gd name="T17" fmla="*/ 38 h 172"/>
                  <a:gd name="T18" fmla="*/ 148 w 180"/>
                  <a:gd name="T19" fmla="*/ 34 h 172"/>
                  <a:gd name="T20" fmla="*/ 138 w 180"/>
                  <a:gd name="T21" fmla="*/ 32 h 172"/>
                  <a:gd name="T22" fmla="*/ 130 w 180"/>
                  <a:gd name="T23" fmla="*/ 26 h 172"/>
                  <a:gd name="T24" fmla="*/ 118 w 180"/>
                  <a:gd name="T25" fmla="*/ 20 h 172"/>
                  <a:gd name="T26" fmla="*/ 106 w 180"/>
                  <a:gd name="T27" fmla="*/ 12 h 172"/>
                  <a:gd name="T28" fmla="*/ 102 w 180"/>
                  <a:gd name="T29" fmla="*/ 0 h 172"/>
                  <a:gd name="T30" fmla="*/ 94 w 180"/>
                  <a:gd name="T31" fmla="*/ 2 h 172"/>
                  <a:gd name="T32" fmla="*/ 84 w 180"/>
                  <a:gd name="T33" fmla="*/ 10 h 172"/>
                  <a:gd name="T34" fmla="*/ 80 w 180"/>
                  <a:gd name="T35" fmla="*/ 16 h 172"/>
                  <a:gd name="T36" fmla="*/ 78 w 180"/>
                  <a:gd name="T37" fmla="*/ 20 h 172"/>
                  <a:gd name="T38" fmla="*/ 74 w 180"/>
                  <a:gd name="T39" fmla="*/ 28 h 172"/>
                  <a:gd name="T40" fmla="*/ 66 w 180"/>
                  <a:gd name="T41" fmla="*/ 30 h 172"/>
                  <a:gd name="T42" fmla="*/ 60 w 180"/>
                  <a:gd name="T43" fmla="*/ 34 h 172"/>
                  <a:gd name="T44" fmla="*/ 52 w 180"/>
                  <a:gd name="T45" fmla="*/ 38 h 172"/>
                  <a:gd name="T46" fmla="*/ 44 w 180"/>
                  <a:gd name="T47" fmla="*/ 30 h 172"/>
                  <a:gd name="T48" fmla="*/ 34 w 180"/>
                  <a:gd name="T49" fmla="*/ 30 h 172"/>
                  <a:gd name="T50" fmla="*/ 36 w 180"/>
                  <a:gd name="T51" fmla="*/ 34 h 172"/>
                  <a:gd name="T52" fmla="*/ 38 w 180"/>
                  <a:gd name="T53" fmla="*/ 42 h 172"/>
                  <a:gd name="T54" fmla="*/ 38 w 180"/>
                  <a:gd name="T55" fmla="*/ 48 h 172"/>
                  <a:gd name="T56" fmla="*/ 32 w 180"/>
                  <a:gd name="T57" fmla="*/ 52 h 172"/>
                  <a:gd name="T58" fmla="*/ 18 w 180"/>
                  <a:gd name="T59" fmla="*/ 48 h 172"/>
                  <a:gd name="T60" fmla="*/ 6 w 180"/>
                  <a:gd name="T61" fmla="*/ 50 h 172"/>
                  <a:gd name="T62" fmla="*/ 0 w 180"/>
                  <a:gd name="T63" fmla="*/ 54 h 172"/>
                  <a:gd name="T64" fmla="*/ 2 w 180"/>
                  <a:gd name="T65" fmla="*/ 68 h 172"/>
                  <a:gd name="T66" fmla="*/ 16 w 180"/>
                  <a:gd name="T67" fmla="*/ 68 h 172"/>
                  <a:gd name="T68" fmla="*/ 26 w 180"/>
                  <a:gd name="T69" fmla="*/ 74 h 172"/>
                  <a:gd name="T70" fmla="*/ 30 w 180"/>
                  <a:gd name="T71" fmla="*/ 80 h 172"/>
                  <a:gd name="T72" fmla="*/ 34 w 180"/>
                  <a:gd name="T73" fmla="*/ 84 h 172"/>
                  <a:gd name="T74" fmla="*/ 46 w 180"/>
                  <a:gd name="T75" fmla="*/ 94 h 172"/>
                  <a:gd name="T76" fmla="*/ 52 w 180"/>
                  <a:gd name="T77" fmla="*/ 102 h 172"/>
                  <a:gd name="T78" fmla="*/ 50 w 180"/>
                  <a:gd name="T79" fmla="*/ 108 h 172"/>
                  <a:gd name="T80" fmla="*/ 58 w 180"/>
                  <a:gd name="T81" fmla="*/ 120 h 172"/>
                  <a:gd name="T82" fmla="*/ 54 w 180"/>
                  <a:gd name="T83" fmla="*/ 116 h 172"/>
                  <a:gd name="T84" fmla="*/ 48 w 180"/>
                  <a:gd name="T85" fmla="*/ 130 h 172"/>
                  <a:gd name="T86" fmla="*/ 40 w 180"/>
                  <a:gd name="T87" fmla="*/ 150 h 172"/>
                  <a:gd name="T88" fmla="*/ 58 w 180"/>
                  <a:gd name="T89" fmla="*/ 168 h 172"/>
                  <a:gd name="T90" fmla="*/ 82 w 180"/>
                  <a:gd name="T91" fmla="*/ 170 h 172"/>
                  <a:gd name="T92" fmla="*/ 106 w 180"/>
                  <a:gd name="T93" fmla="*/ 172 h 172"/>
                  <a:gd name="T94" fmla="*/ 110 w 180"/>
                  <a:gd name="T95" fmla="*/ 160 h 172"/>
                  <a:gd name="T96" fmla="*/ 130 w 180"/>
                  <a:gd name="T97" fmla="*/ 156 h 172"/>
                  <a:gd name="T98" fmla="*/ 138 w 180"/>
                  <a:gd name="T99" fmla="*/ 162 h 172"/>
                  <a:gd name="T100" fmla="*/ 144 w 180"/>
                  <a:gd name="T101" fmla="*/ 164 h 172"/>
                  <a:gd name="T102" fmla="*/ 156 w 180"/>
                  <a:gd name="T103" fmla="*/ 164 h 172"/>
                  <a:gd name="T104" fmla="*/ 168 w 180"/>
                  <a:gd name="T105" fmla="*/ 156 h 172"/>
                  <a:gd name="T106" fmla="*/ 174 w 180"/>
                  <a:gd name="T107" fmla="*/ 150 h 172"/>
                  <a:gd name="T108" fmla="*/ 180 w 180"/>
                  <a:gd name="T109" fmla="*/ 144 h 172"/>
                  <a:gd name="T110" fmla="*/ 166 w 180"/>
                  <a:gd name="T111" fmla="*/ 134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80" h="172">
                    <a:moveTo>
                      <a:pt x="166" y="134"/>
                    </a:moveTo>
                    <a:lnTo>
                      <a:pt x="166" y="134"/>
                    </a:lnTo>
                    <a:lnTo>
                      <a:pt x="164" y="132"/>
                    </a:lnTo>
                    <a:lnTo>
                      <a:pt x="164" y="128"/>
                    </a:lnTo>
                    <a:lnTo>
                      <a:pt x="164" y="126"/>
                    </a:lnTo>
                    <a:lnTo>
                      <a:pt x="164" y="124"/>
                    </a:lnTo>
                    <a:lnTo>
                      <a:pt x="164" y="124"/>
                    </a:lnTo>
                    <a:lnTo>
                      <a:pt x="162" y="122"/>
                    </a:lnTo>
                    <a:lnTo>
                      <a:pt x="162" y="120"/>
                    </a:lnTo>
                    <a:lnTo>
                      <a:pt x="162" y="116"/>
                    </a:lnTo>
                    <a:lnTo>
                      <a:pt x="164" y="114"/>
                    </a:lnTo>
                    <a:lnTo>
                      <a:pt x="164" y="114"/>
                    </a:lnTo>
                    <a:lnTo>
                      <a:pt x="166" y="112"/>
                    </a:lnTo>
                    <a:lnTo>
                      <a:pt x="166" y="112"/>
                    </a:lnTo>
                    <a:lnTo>
                      <a:pt x="166" y="110"/>
                    </a:lnTo>
                    <a:lnTo>
                      <a:pt x="166" y="110"/>
                    </a:lnTo>
                    <a:lnTo>
                      <a:pt x="166" y="110"/>
                    </a:lnTo>
                    <a:lnTo>
                      <a:pt x="166" y="108"/>
                    </a:lnTo>
                    <a:lnTo>
                      <a:pt x="164" y="106"/>
                    </a:lnTo>
                    <a:lnTo>
                      <a:pt x="164" y="106"/>
                    </a:lnTo>
                    <a:lnTo>
                      <a:pt x="162" y="104"/>
                    </a:lnTo>
                    <a:lnTo>
                      <a:pt x="160" y="102"/>
                    </a:lnTo>
                    <a:lnTo>
                      <a:pt x="160" y="102"/>
                    </a:lnTo>
                    <a:lnTo>
                      <a:pt x="160" y="102"/>
                    </a:lnTo>
                    <a:lnTo>
                      <a:pt x="158" y="100"/>
                    </a:lnTo>
                    <a:lnTo>
                      <a:pt x="158" y="100"/>
                    </a:lnTo>
                    <a:lnTo>
                      <a:pt x="158" y="100"/>
                    </a:lnTo>
                    <a:lnTo>
                      <a:pt x="156" y="98"/>
                    </a:lnTo>
                    <a:lnTo>
                      <a:pt x="156" y="98"/>
                    </a:lnTo>
                    <a:lnTo>
                      <a:pt x="152" y="100"/>
                    </a:lnTo>
                    <a:lnTo>
                      <a:pt x="150" y="100"/>
                    </a:lnTo>
                    <a:lnTo>
                      <a:pt x="148" y="100"/>
                    </a:lnTo>
                    <a:lnTo>
                      <a:pt x="148" y="100"/>
                    </a:lnTo>
                    <a:lnTo>
                      <a:pt x="148" y="100"/>
                    </a:lnTo>
                    <a:lnTo>
                      <a:pt x="146" y="98"/>
                    </a:lnTo>
                    <a:lnTo>
                      <a:pt x="146" y="98"/>
                    </a:lnTo>
                    <a:lnTo>
                      <a:pt x="146" y="96"/>
                    </a:lnTo>
                    <a:lnTo>
                      <a:pt x="146" y="94"/>
                    </a:lnTo>
                    <a:lnTo>
                      <a:pt x="148" y="92"/>
                    </a:lnTo>
                    <a:lnTo>
                      <a:pt x="148" y="90"/>
                    </a:lnTo>
                    <a:lnTo>
                      <a:pt x="148" y="90"/>
                    </a:lnTo>
                    <a:lnTo>
                      <a:pt x="150" y="88"/>
                    </a:lnTo>
                    <a:lnTo>
                      <a:pt x="152" y="84"/>
                    </a:lnTo>
                    <a:lnTo>
                      <a:pt x="154" y="82"/>
                    </a:lnTo>
                    <a:lnTo>
                      <a:pt x="156" y="80"/>
                    </a:lnTo>
                    <a:lnTo>
                      <a:pt x="156" y="80"/>
                    </a:lnTo>
                    <a:lnTo>
                      <a:pt x="160" y="78"/>
                    </a:lnTo>
                    <a:lnTo>
                      <a:pt x="164" y="72"/>
                    </a:lnTo>
                    <a:lnTo>
                      <a:pt x="164" y="72"/>
                    </a:lnTo>
                    <a:lnTo>
                      <a:pt x="164" y="72"/>
                    </a:lnTo>
                    <a:lnTo>
                      <a:pt x="166" y="70"/>
                    </a:lnTo>
                    <a:lnTo>
                      <a:pt x="166" y="68"/>
                    </a:lnTo>
                    <a:lnTo>
                      <a:pt x="166" y="68"/>
                    </a:lnTo>
                    <a:lnTo>
                      <a:pt x="166" y="68"/>
                    </a:lnTo>
                    <a:lnTo>
                      <a:pt x="166" y="66"/>
                    </a:lnTo>
                    <a:lnTo>
                      <a:pt x="168" y="64"/>
                    </a:lnTo>
                    <a:lnTo>
                      <a:pt x="168" y="64"/>
                    </a:lnTo>
                    <a:lnTo>
                      <a:pt x="170" y="58"/>
                    </a:lnTo>
                    <a:lnTo>
                      <a:pt x="170" y="54"/>
                    </a:lnTo>
                    <a:lnTo>
                      <a:pt x="170" y="54"/>
                    </a:lnTo>
                    <a:lnTo>
                      <a:pt x="170" y="52"/>
                    </a:lnTo>
                    <a:lnTo>
                      <a:pt x="170" y="50"/>
                    </a:lnTo>
                    <a:lnTo>
                      <a:pt x="170" y="46"/>
                    </a:lnTo>
                    <a:lnTo>
                      <a:pt x="170" y="44"/>
                    </a:lnTo>
                    <a:lnTo>
                      <a:pt x="170" y="44"/>
                    </a:lnTo>
                    <a:lnTo>
                      <a:pt x="168" y="44"/>
                    </a:lnTo>
                    <a:lnTo>
                      <a:pt x="168" y="42"/>
                    </a:lnTo>
                    <a:lnTo>
                      <a:pt x="166" y="42"/>
                    </a:lnTo>
                    <a:lnTo>
                      <a:pt x="160" y="40"/>
                    </a:lnTo>
                    <a:lnTo>
                      <a:pt x="160" y="40"/>
                    </a:lnTo>
                    <a:lnTo>
                      <a:pt x="158" y="40"/>
                    </a:lnTo>
                    <a:lnTo>
                      <a:pt x="154" y="38"/>
                    </a:lnTo>
                    <a:lnTo>
                      <a:pt x="154" y="38"/>
                    </a:lnTo>
                    <a:lnTo>
                      <a:pt x="154" y="38"/>
                    </a:lnTo>
                    <a:lnTo>
                      <a:pt x="152" y="38"/>
                    </a:lnTo>
                    <a:lnTo>
                      <a:pt x="150" y="38"/>
                    </a:lnTo>
                    <a:lnTo>
                      <a:pt x="150" y="38"/>
                    </a:lnTo>
                    <a:lnTo>
                      <a:pt x="150" y="36"/>
                    </a:lnTo>
                    <a:lnTo>
                      <a:pt x="148" y="34"/>
                    </a:lnTo>
                    <a:lnTo>
                      <a:pt x="148" y="34"/>
                    </a:lnTo>
                    <a:lnTo>
                      <a:pt x="146" y="34"/>
                    </a:lnTo>
                    <a:lnTo>
                      <a:pt x="144" y="34"/>
                    </a:lnTo>
                    <a:lnTo>
                      <a:pt x="142" y="34"/>
                    </a:lnTo>
                    <a:lnTo>
                      <a:pt x="142" y="34"/>
                    </a:lnTo>
                    <a:lnTo>
                      <a:pt x="140" y="32"/>
                    </a:lnTo>
                    <a:lnTo>
                      <a:pt x="140" y="32"/>
                    </a:lnTo>
                    <a:lnTo>
                      <a:pt x="138" y="32"/>
                    </a:lnTo>
                    <a:lnTo>
                      <a:pt x="138" y="32"/>
                    </a:lnTo>
                    <a:lnTo>
                      <a:pt x="136" y="30"/>
                    </a:lnTo>
                    <a:lnTo>
                      <a:pt x="134" y="30"/>
                    </a:lnTo>
                    <a:lnTo>
                      <a:pt x="134" y="30"/>
                    </a:lnTo>
                    <a:lnTo>
                      <a:pt x="134" y="30"/>
                    </a:lnTo>
                    <a:lnTo>
                      <a:pt x="132" y="28"/>
                    </a:lnTo>
                    <a:lnTo>
                      <a:pt x="130" y="26"/>
                    </a:lnTo>
                    <a:lnTo>
                      <a:pt x="130" y="26"/>
                    </a:lnTo>
                    <a:lnTo>
                      <a:pt x="130" y="26"/>
                    </a:lnTo>
                    <a:lnTo>
                      <a:pt x="130" y="24"/>
                    </a:lnTo>
                    <a:lnTo>
                      <a:pt x="126" y="24"/>
                    </a:lnTo>
                    <a:lnTo>
                      <a:pt x="126" y="24"/>
                    </a:lnTo>
                    <a:lnTo>
                      <a:pt x="124" y="22"/>
                    </a:lnTo>
                    <a:lnTo>
                      <a:pt x="122" y="22"/>
                    </a:lnTo>
                    <a:lnTo>
                      <a:pt x="122" y="22"/>
                    </a:lnTo>
                    <a:lnTo>
                      <a:pt x="120" y="20"/>
                    </a:lnTo>
                    <a:lnTo>
                      <a:pt x="118" y="20"/>
                    </a:lnTo>
                    <a:lnTo>
                      <a:pt x="118" y="20"/>
                    </a:lnTo>
                    <a:lnTo>
                      <a:pt x="114" y="16"/>
                    </a:lnTo>
                    <a:lnTo>
                      <a:pt x="112" y="16"/>
                    </a:lnTo>
                    <a:lnTo>
                      <a:pt x="110" y="14"/>
                    </a:lnTo>
                    <a:lnTo>
                      <a:pt x="110" y="14"/>
                    </a:lnTo>
                    <a:lnTo>
                      <a:pt x="108" y="12"/>
                    </a:lnTo>
                    <a:lnTo>
                      <a:pt x="106" y="12"/>
                    </a:lnTo>
                    <a:lnTo>
                      <a:pt x="106" y="12"/>
                    </a:lnTo>
                    <a:lnTo>
                      <a:pt x="106" y="10"/>
                    </a:lnTo>
                    <a:lnTo>
                      <a:pt x="106" y="10"/>
                    </a:lnTo>
                    <a:lnTo>
                      <a:pt x="106" y="6"/>
                    </a:lnTo>
                    <a:lnTo>
                      <a:pt x="106" y="6"/>
                    </a:lnTo>
                    <a:lnTo>
                      <a:pt x="104" y="4"/>
                    </a:lnTo>
                    <a:lnTo>
                      <a:pt x="104" y="0"/>
                    </a:lnTo>
                    <a:lnTo>
                      <a:pt x="104" y="0"/>
                    </a:lnTo>
                    <a:lnTo>
                      <a:pt x="102" y="0"/>
                    </a:lnTo>
                    <a:lnTo>
                      <a:pt x="100" y="0"/>
                    </a:lnTo>
                    <a:lnTo>
                      <a:pt x="100" y="0"/>
                    </a:lnTo>
                    <a:lnTo>
                      <a:pt x="98" y="0"/>
                    </a:lnTo>
                    <a:lnTo>
                      <a:pt x="96" y="0"/>
                    </a:lnTo>
                    <a:lnTo>
                      <a:pt x="96" y="0"/>
                    </a:lnTo>
                    <a:lnTo>
                      <a:pt x="96" y="0"/>
                    </a:lnTo>
                    <a:lnTo>
                      <a:pt x="94" y="2"/>
                    </a:lnTo>
                    <a:lnTo>
                      <a:pt x="94" y="2"/>
                    </a:lnTo>
                    <a:lnTo>
                      <a:pt x="92" y="4"/>
                    </a:lnTo>
                    <a:lnTo>
                      <a:pt x="92" y="4"/>
                    </a:lnTo>
                    <a:lnTo>
                      <a:pt x="92" y="6"/>
                    </a:lnTo>
                    <a:lnTo>
                      <a:pt x="90" y="6"/>
                    </a:lnTo>
                    <a:lnTo>
                      <a:pt x="88" y="8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4" y="10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4"/>
                    </a:lnTo>
                    <a:lnTo>
                      <a:pt x="82" y="14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78" y="16"/>
                    </a:lnTo>
                    <a:lnTo>
                      <a:pt x="78" y="16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20"/>
                    </a:lnTo>
                    <a:lnTo>
                      <a:pt x="78" y="20"/>
                    </a:lnTo>
                    <a:lnTo>
                      <a:pt x="78" y="20"/>
                    </a:lnTo>
                    <a:lnTo>
                      <a:pt x="78" y="20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4"/>
                    </a:lnTo>
                    <a:lnTo>
                      <a:pt x="78" y="24"/>
                    </a:lnTo>
                    <a:lnTo>
                      <a:pt x="76" y="26"/>
                    </a:lnTo>
                    <a:lnTo>
                      <a:pt x="76" y="26"/>
                    </a:lnTo>
                    <a:lnTo>
                      <a:pt x="74" y="26"/>
                    </a:lnTo>
                    <a:lnTo>
                      <a:pt x="74" y="28"/>
                    </a:lnTo>
                    <a:lnTo>
                      <a:pt x="72" y="28"/>
                    </a:lnTo>
                    <a:lnTo>
                      <a:pt x="72" y="28"/>
                    </a:lnTo>
                    <a:lnTo>
                      <a:pt x="70" y="28"/>
                    </a:lnTo>
                    <a:lnTo>
                      <a:pt x="68" y="28"/>
                    </a:lnTo>
                    <a:lnTo>
                      <a:pt x="68" y="28"/>
                    </a:lnTo>
                    <a:lnTo>
                      <a:pt x="68" y="28"/>
                    </a:lnTo>
                    <a:lnTo>
                      <a:pt x="68" y="28"/>
                    </a:lnTo>
                    <a:lnTo>
                      <a:pt x="66" y="30"/>
                    </a:lnTo>
                    <a:lnTo>
                      <a:pt x="66" y="30"/>
                    </a:lnTo>
                    <a:lnTo>
                      <a:pt x="64" y="30"/>
                    </a:lnTo>
                    <a:lnTo>
                      <a:pt x="62" y="30"/>
                    </a:lnTo>
                    <a:lnTo>
                      <a:pt x="62" y="30"/>
                    </a:lnTo>
                    <a:lnTo>
                      <a:pt x="62" y="30"/>
                    </a:lnTo>
                    <a:lnTo>
                      <a:pt x="60" y="32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6"/>
                    </a:lnTo>
                    <a:lnTo>
                      <a:pt x="60" y="36"/>
                    </a:lnTo>
                    <a:lnTo>
                      <a:pt x="58" y="38"/>
                    </a:lnTo>
                    <a:lnTo>
                      <a:pt x="58" y="38"/>
                    </a:lnTo>
                    <a:lnTo>
                      <a:pt x="56" y="40"/>
                    </a:lnTo>
                    <a:lnTo>
                      <a:pt x="54" y="40"/>
                    </a:lnTo>
                    <a:lnTo>
                      <a:pt x="54" y="40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0" y="38"/>
                    </a:lnTo>
                    <a:lnTo>
                      <a:pt x="50" y="36"/>
                    </a:lnTo>
                    <a:lnTo>
                      <a:pt x="48" y="34"/>
                    </a:lnTo>
                    <a:lnTo>
                      <a:pt x="46" y="32"/>
                    </a:lnTo>
                    <a:lnTo>
                      <a:pt x="46" y="32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0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4" y="32"/>
                    </a:lnTo>
                    <a:lnTo>
                      <a:pt x="34" y="32"/>
                    </a:lnTo>
                    <a:lnTo>
                      <a:pt x="34" y="32"/>
                    </a:lnTo>
                    <a:lnTo>
                      <a:pt x="36" y="34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6" y="38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40" y="44"/>
                    </a:lnTo>
                    <a:lnTo>
                      <a:pt x="40" y="46"/>
                    </a:lnTo>
                    <a:lnTo>
                      <a:pt x="40" y="46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6" y="50"/>
                    </a:lnTo>
                    <a:lnTo>
                      <a:pt x="34" y="50"/>
                    </a:lnTo>
                    <a:lnTo>
                      <a:pt x="34" y="50"/>
                    </a:lnTo>
                    <a:lnTo>
                      <a:pt x="32" y="50"/>
                    </a:lnTo>
                    <a:lnTo>
                      <a:pt x="32" y="52"/>
                    </a:lnTo>
                    <a:lnTo>
                      <a:pt x="32" y="52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28" y="50"/>
                    </a:lnTo>
                    <a:lnTo>
                      <a:pt x="26" y="50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22" y="48"/>
                    </a:lnTo>
                    <a:lnTo>
                      <a:pt x="18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2" y="48"/>
                    </a:lnTo>
                    <a:lnTo>
                      <a:pt x="10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6" y="50"/>
                    </a:lnTo>
                    <a:lnTo>
                      <a:pt x="6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2" y="50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2" y="56"/>
                    </a:lnTo>
                    <a:lnTo>
                      <a:pt x="2" y="56"/>
                    </a:lnTo>
                    <a:lnTo>
                      <a:pt x="2" y="58"/>
                    </a:lnTo>
                    <a:lnTo>
                      <a:pt x="2" y="62"/>
                    </a:lnTo>
                    <a:lnTo>
                      <a:pt x="2" y="64"/>
                    </a:lnTo>
                    <a:lnTo>
                      <a:pt x="2" y="66"/>
                    </a:lnTo>
                    <a:lnTo>
                      <a:pt x="2" y="66"/>
                    </a:lnTo>
                    <a:lnTo>
                      <a:pt x="2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6" y="70"/>
                    </a:lnTo>
                    <a:lnTo>
                      <a:pt x="10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4" y="68"/>
                    </a:lnTo>
                    <a:lnTo>
                      <a:pt x="16" y="68"/>
                    </a:lnTo>
                    <a:lnTo>
                      <a:pt x="16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20" y="72"/>
                    </a:lnTo>
                    <a:lnTo>
                      <a:pt x="22" y="72"/>
                    </a:lnTo>
                    <a:lnTo>
                      <a:pt x="22" y="72"/>
                    </a:lnTo>
                    <a:lnTo>
                      <a:pt x="24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8" y="76"/>
                    </a:lnTo>
                    <a:lnTo>
                      <a:pt x="28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30" y="78"/>
                    </a:lnTo>
                    <a:lnTo>
                      <a:pt x="30" y="78"/>
                    </a:lnTo>
                    <a:lnTo>
                      <a:pt x="30" y="80"/>
                    </a:lnTo>
                    <a:lnTo>
                      <a:pt x="30" y="80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2" y="84"/>
                    </a:lnTo>
                    <a:lnTo>
                      <a:pt x="32" y="84"/>
                    </a:lnTo>
                    <a:lnTo>
                      <a:pt x="34" y="84"/>
                    </a:lnTo>
                    <a:lnTo>
                      <a:pt x="34" y="84"/>
                    </a:lnTo>
                    <a:lnTo>
                      <a:pt x="34" y="84"/>
                    </a:lnTo>
                    <a:lnTo>
                      <a:pt x="36" y="86"/>
                    </a:lnTo>
                    <a:lnTo>
                      <a:pt x="38" y="88"/>
                    </a:lnTo>
                    <a:lnTo>
                      <a:pt x="38" y="88"/>
                    </a:lnTo>
                    <a:lnTo>
                      <a:pt x="40" y="90"/>
                    </a:lnTo>
                    <a:lnTo>
                      <a:pt x="42" y="92"/>
                    </a:lnTo>
                    <a:lnTo>
                      <a:pt x="42" y="92"/>
                    </a:lnTo>
                    <a:lnTo>
                      <a:pt x="44" y="92"/>
                    </a:lnTo>
                    <a:lnTo>
                      <a:pt x="46" y="94"/>
                    </a:lnTo>
                    <a:lnTo>
                      <a:pt x="46" y="94"/>
                    </a:lnTo>
                    <a:lnTo>
                      <a:pt x="46" y="96"/>
                    </a:lnTo>
                    <a:lnTo>
                      <a:pt x="48" y="96"/>
                    </a:lnTo>
                    <a:lnTo>
                      <a:pt x="48" y="96"/>
                    </a:lnTo>
                    <a:lnTo>
                      <a:pt x="50" y="100"/>
                    </a:lnTo>
                    <a:lnTo>
                      <a:pt x="50" y="100"/>
                    </a:lnTo>
                    <a:lnTo>
                      <a:pt x="52" y="100"/>
                    </a:lnTo>
                    <a:lnTo>
                      <a:pt x="52" y="102"/>
                    </a:lnTo>
                    <a:lnTo>
                      <a:pt x="52" y="102"/>
                    </a:lnTo>
                    <a:lnTo>
                      <a:pt x="52" y="104"/>
                    </a:lnTo>
                    <a:lnTo>
                      <a:pt x="52" y="104"/>
                    </a:lnTo>
                    <a:lnTo>
                      <a:pt x="52" y="104"/>
                    </a:lnTo>
                    <a:lnTo>
                      <a:pt x="50" y="104"/>
                    </a:lnTo>
                    <a:lnTo>
                      <a:pt x="50" y="104"/>
                    </a:lnTo>
                    <a:lnTo>
                      <a:pt x="50" y="106"/>
                    </a:lnTo>
                    <a:lnTo>
                      <a:pt x="50" y="108"/>
                    </a:lnTo>
                    <a:lnTo>
                      <a:pt x="52" y="110"/>
                    </a:lnTo>
                    <a:lnTo>
                      <a:pt x="52" y="110"/>
                    </a:lnTo>
                    <a:lnTo>
                      <a:pt x="52" y="110"/>
                    </a:lnTo>
                    <a:lnTo>
                      <a:pt x="56" y="114"/>
                    </a:lnTo>
                    <a:lnTo>
                      <a:pt x="58" y="118"/>
                    </a:lnTo>
                    <a:lnTo>
                      <a:pt x="58" y="118"/>
                    </a:lnTo>
                    <a:lnTo>
                      <a:pt x="58" y="118"/>
                    </a:lnTo>
                    <a:lnTo>
                      <a:pt x="58" y="120"/>
                    </a:lnTo>
                    <a:lnTo>
                      <a:pt x="58" y="120"/>
                    </a:lnTo>
                    <a:lnTo>
                      <a:pt x="58" y="120"/>
                    </a:lnTo>
                    <a:lnTo>
                      <a:pt x="58" y="120"/>
                    </a:lnTo>
                    <a:lnTo>
                      <a:pt x="56" y="120"/>
                    </a:lnTo>
                    <a:lnTo>
                      <a:pt x="56" y="118"/>
                    </a:lnTo>
                    <a:lnTo>
                      <a:pt x="56" y="118"/>
                    </a:lnTo>
                    <a:lnTo>
                      <a:pt x="54" y="118"/>
                    </a:lnTo>
                    <a:lnTo>
                      <a:pt x="54" y="116"/>
                    </a:lnTo>
                    <a:lnTo>
                      <a:pt x="52" y="116"/>
                    </a:lnTo>
                    <a:lnTo>
                      <a:pt x="52" y="116"/>
                    </a:lnTo>
                    <a:lnTo>
                      <a:pt x="52" y="116"/>
                    </a:lnTo>
                    <a:lnTo>
                      <a:pt x="52" y="118"/>
                    </a:lnTo>
                    <a:lnTo>
                      <a:pt x="52" y="118"/>
                    </a:lnTo>
                    <a:lnTo>
                      <a:pt x="50" y="124"/>
                    </a:lnTo>
                    <a:lnTo>
                      <a:pt x="48" y="130"/>
                    </a:lnTo>
                    <a:lnTo>
                      <a:pt x="48" y="130"/>
                    </a:lnTo>
                    <a:lnTo>
                      <a:pt x="46" y="134"/>
                    </a:lnTo>
                    <a:lnTo>
                      <a:pt x="46" y="138"/>
                    </a:lnTo>
                    <a:lnTo>
                      <a:pt x="46" y="138"/>
                    </a:lnTo>
                    <a:lnTo>
                      <a:pt x="44" y="140"/>
                    </a:lnTo>
                    <a:lnTo>
                      <a:pt x="44" y="142"/>
                    </a:lnTo>
                    <a:lnTo>
                      <a:pt x="42" y="146"/>
                    </a:lnTo>
                    <a:lnTo>
                      <a:pt x="42" y="146"/>
                    </a:lnTo>
                    <a:lnTo>
                      <a:pt x="40" y="150"/>
                    </a:lnTo>
                    <a:lnTo>
                      <a:pt x="38" y="154"/>
                    </a:lnTo>
                    <a:lnTo>
                      <a:pt x="36" y="156"/>
                    </a:lnTo>
                    <a:lnTo>
                      <a:pt x="36" y="156"/>
                    </a:lnTo>
                    <a:lnTo>
                      <a:pt x="40" y="160"/>
                    </a:lnTo>
                    <a:lnTo>
                      <a:pt x="46" y="162"/>
                    </a:lnTo>
                    <a:lnTo>
                      <a:pt x="56" y="166"/>
                    </a:lnTo>
                    <a:lnTo>
                      <a:pt x="56" y="166"/>
                    </a:lnTo>
                    <a:lnTo>
                      <a:pt x="58" y="168"/>
                    </a:lnTo>
                    <a:lnTo>
                      <a:pt x="62" y="170"/>
                    </a:lnTo>
                    <a:lnTo>
                      <a:pt x="66" y="170"/>
                    </a:lnTo>
                    <a:lnTo>
                      <a:pt x="70" y="170"/>
                    </a:lnTo>
                    <a:lnTo>
                      <a:pt x="70" y="170"/>
                    </a:lnTo>
                    <a:lnTo>
                      <a:pt x="72" y="170"/>
                    </a:lnTo>
                    <a:lnTo>
                      <a:pt x="76" y="170"/>
                    </a:lnTo>
                    <a:lnTo>
                      <a:pt x="80" y="170"/>
                    </a:lnTo>
                    <a:lnTo>
                      <a:pt x="82" y="170"/>
                    </a:lnTo>
                    <a:lnTo>
                      <a:pt x="82" y="170"/>
                    </a:lnTo>
                    <a:lnTo>
                      <a:pt x="88" y="170"/>
                    </a:lnTo>
                    <a:lnTo>
                      <a:pt x="94" y="172"/>
                    </a:lnTo>
                    <a:lnTo>
                      <a:pt x="96" y="172"/>
                    </a:lnTo>
                    <a:lnTo>
                      <a:pt x="100" y="172"/>
                    </a:lnTo>
                    <a:lnTo>
                      <a:pt x="104" y="172"/>
                    </a:lnTo>
                    <a:lnTo>
                      <a:pt x="106" y="172"/>
                    </a:lnTo>
                    <a:lnTo>
                      <a:pt x="106" y="172"/>
                    </a:lnTo>
                    <a:lnTo>
                      <a:pt x="106" y="172"/>
                    </a:lnTo>
                    <a:lnTo>
                      <a:pt x="106" y="170"/>
                    </a:lnTo>
                    <a:lnTo>
                      <a:pt x="106" y="168"/>
                    </a:lnTo>
                    <a:lnTo>
                      <a:pt x="106" y="166"/>
                    </a:lnTo>
                    <a:lnTo>
                      <a:pt x="106" y="166"/>
                    </a:lnTo>
                    <a:lnTo>
                      <a:pt x="106" y="164"/>
                    </a:lnTo>
                    <a:lnTo>
                      <a:pt x="108" y="164"/>
                    </a:lnTo>
                    <a:lnTo>
                      <a:pt x="110" y="160"/>
                    </a:lnTo>
                    <a:lnTo>
                      <a:pt x="110" y="160"/>
                    </a:lnTo>
                    <a:lnTo>
                      <a:pt x="112" y="158"/>
                    </a:lnTo>
                    <a:lnTo>
                      <a:pt x="116" y="156"/>
                    </a:lnTo>
                    <a:lnTo>
                      <a:pt x="120" y="156"/>
                    </a:lnTo>
                    <a:lnTo>
                      <a:pt x="124" y="156"/>
                    </a:lnTo>
                    <a:lnTo>
                      <a:pt x="124" y="156"/>
                    </a:lnTo>
                    <a:lnTo>
                      <a:pt x="126" y="156"/>
                    </a:lnTo>
                    <a:lnTo>
                      <a:pt x="130" y="156"/>
                    </a:lnTo>
                    <a:lnTo>
                      <a:pt x="130" y="156"/>
                    </a:lnTo>
                    <a:lnTo>
                      <a:pt x="132" y="158"/>
                    </a:lnTo>
                    <a:lnTo>
                      <a:pt x="132" y="158"/>
                    </a:lnTo>
                    <a:lnTo>
                      <a:pt x="136" y="162"/>
                    </a:lnTo>
                    <a:lnTo>
                      <a:pt x="136" y="162"/>
                    </a:lnTo>
                    <a:lnTo>
                      <a:pt x="136" y="162"/>
                    </a:lnTo>
                    <a:lnTo>
                      <a:pt x="138" y="162"/>
                    </a:lnTo>
                    <a:lnTo>
                      <a:pt x="138" y="162"/>
                    </a:lnTo>
                    <a:lnTo>
                      <a:pt x="140" y="162"/>
                    </a:lnTo>
                    <a:lnTo>
                      <a:pt x="140" y="162"/>
                    </a:lnTo>
                    <a:lnTo>
                      <a:pt x="142" y="162"/>
                    </a:lnTo>
                    <a:lnTo>
                      <a:pt x="142" y="162"/>
                    </a:lnTo>
                    <a:lnTo>
                      <a:pt x="142" y="164"/>
                    </a:lnTo>
                    <a:lnTo>
                      <a:pt x="142" y="164"/>
                    </a:lnTo>
                    <a:lnTo>
                      <a:pt x="144" y="164"/>
                    </a:lnTo>
                    <a:lnTo>
                      <a:pt x="144" y="164"/>
                    </a:lnTo>
                    <a:lnTo>
                      <a:pt x="144" y="164"/>
                    </a:lnTo>
                    <a:lnTo>
                      <a:pt x="146" y="166"/>
                    </a:lnTo>
                    <a:lnTo>
                      <a:pt x="148" y="164"/>
                    </a:lnTo>
                    <a:lnTo>
                      <a:pt x="148" y="164"/>
                    </a:lnTo>
                    <a:lnTo>
                      <a:pt x="150" y="164"/>
                    </a:lnTo>
                    <a:lnTo>
                      <a:pt x="152" y="164"/>
                    </a:lnTo>
                    <a:lnTo>
                      <a:pt x="154" y="164"/>
                    </a:lnTo>
                    <a:lnTo>
                      <a:pt x="156" y="164"/>
                    </a:lnTo>
                    <a:lnTo>
                      <a:pt x="156" y="164"/>
                    </a:lnTo>
                    <a:lnTo>
                      <a:pt x="158" y="164"/>
                    </a:lnTo>
                    <a:lnTo>
                      <a:pt x="160" y="162"/>
                    </a:lnTo>
                    <a:lnTo>
                      <a:pt x="164" y="158"/>
                    </a:lnTo>
                    <a:lnTo>
                      <a:pt x="164" y="158"/>
                    </a:lnTo>
                    <a:lnTo>
                      <a:pt x="164" y="158"/>
                    </a:lnTo>
                    <a:lnTo>
                      <a:pt x="166" y="156"/>
                    </a:lnTo>
                    <a:lnTo>
                      <a:pt x="168" y="156"/>
                    </a:lnTo>
                    <a:lnTo>
                      <a:pt x="170" y="156"/>
                    </a:lnTo>
                    <a:lnTo>
                      <a:pt x="170" y="156"/>
                    </a:lnTo>
                    <a:lnTo>
                      <a:pt x="172" y="156"/>
                    </a:lnTo>
                    <a:lnTo>
                      <a:pt x="172" y="154"/>
                    </a:lnTo>
                    <a:lnTo>
                      <a:pt x="172" y="154"/>
                    </a:lnTo>
                    <a:lnTo>
                      <a:pt x="172" y="154"/>
                    </a:lnTo>
                    <a:lnTo>
                      <a:pt x="174" y="152"/>
                    </a:lnTo>
                    <a:lnTo>
                      <a:pt x="174" y="150"/>
                    </a:lnTo>
                    <a:lnTo>
                      <a:pt x="174" y="150"/>
                    </a:lnTo>
                    <a:lnTo>
                      <a:pt x="174" y="148"/>
                    </a:lnTo>
                    <a:lnTo>
                      <a:pt x="176" y="148"/>
                    </a:lnTo>
                    <a:lnTo>
                      <a:pt x="176" y="148"/>
                    </a:lnTo>
                    <a:lnTo>
                      <a:pt x="178" y="146"/>
                    </a:lnTo>
                    <a:lnTo>
                      <a:pt x="178" y="146"/>
                    </a:lnTo>
                    <a:lnTo>
                      <a:pt x="178" y="146"/>
                    </a:lnTo>
                    <a:lnTo>
                      <a:pt x="180" y="144"/>
                    </a:lnTo>
                    <a:lnTo>
                      <a:pt x="180" y="144"/>
                    </a:lnTo>
                    <a:lnTo>
                      <a:pt x="178" y="142"/>
                    </a:lnTo>
                    <a:lnTo>
                      <a:pt x="176" y="142"/>
                    </a:lnTo>
                    <a:lnTo>
                      <a:pt x="172" y="140"/>
                    </a:lnTo>
                    <a:lnTo>
                      <a:pt x="170" y="138"/>
                    </a:lnTo>
                    <a:lnTo>
                      <a:pt x="168" y="138"/>
                    </a:lnTo>
                    <a:lnTo>
                      <a:pt x="166" y="136"/>
                    </a:lnTo>
                    <a:lnTo>
                      <a:pt x="166" y="134"/>
                    </a:lnTo>
                    <a:lnTo>
                      <a:pt x="166" y="134"/>
                    </a:lnTo>
                    <a:lnTo>
                      <a:pt x="166" y="134"/>
                    </a:lnTo>
                    <a:lnTo>
                      <a:pt x="166" y="134"/>
                    </a:lnTo>
                    <a:lnTo>
                      <a:pt x="166" y="134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04" name="Freeform 995"/>
              <p:cNvSpPr>
                <a:spLocks/>
              </p:cNvSpPr>
              <p:nvPr/>
            </p:nvSpPr>
            <p:spPr bwMode="auto">
              <a:xfrm>
                <a:off x="2837" y="2102"/>
                <a:ext cx="18" cy="28"/>
              </a:xfrm>
              <a:custGeom>
                <a:avLst/>
                <a:gdLst>
                  <a:gd name="T0" fmla="*/ 12 w 18"/>
                  <a:gd name="T1" fmla="*/ 2 h 28"/>
                  <a:gd name="T2" fmla="*/ 12 w 18"/>
                  <a:gd name="T3" fmla="*/ 2 h 28"/>
                  <a:gd name="T4" fmla="*/ 12 w 18"/>
                  <a:gd name="T5" fmla="*/ 4 h 28"/>
                  <a:gd name="T6" fmla="*/ 12 w 18"/>
                  <a:gd name="T7" fmla="*/ 4 h 28"/>
                  <a:gd name="T8" fmla="*/ 12 w 18"/>
                  <a:gd name="T9" fmla="*/ 6 h 28"/>
                  <a:gd name="T10" fmla="*/ 12 w 18"/>
                  <a:gd name="T11" fmla="*/ 6 h 28"/>
                  <a:gd name="T12" fmla="*/ 12 w 18"/>
                  <a:gd name="T13" fmla="*/ 6 h 28"/>
                  <a:gd name="T14" fmla="*/ 10 w 18"/>
                  <a:gd name="T15" fmla="*/ 6 h 28"/>
                  <a:gd name="T16" fmla="*/ 10 w 18"/>
                  <a:gd name="T17" fmla="*/ 8 h 28"/>
                  <a:gd name="T18" fmla="*/ 6 w 18"/>
                  <a:gd name="T19" fmla="*/ 10 h 28"/>
                  <a:gd name="T20" fmla="*/ 4 w 18"/>
                  <a:gd name="T21" fmla="*/ 10 h 28"/>
                  <a:gd name="T22" fmla="*/ 2 w 18"/>
                  <a:gd name="T23" fmla="*/ 12 h 28"/>
                  <a:gd name="T24" fmla="*/ 2 w 18"/>
                  <a:gd name="T25" fmla="*/ 12 h 28"/>
                  <a:gd name="T26" fmla="*/ 2 w 18"/>
                  <a:gd name="T27" fmla="*/ 14 h 28"/>
                  <a:gd name="T28" fmla="*/ 2 w 18"/>
                  <a:gd name="T29" fmla="*/ 18 h 28"/>
                  <a:gd name="T30" fmla="*/ 2 w 18"/>
                  <a:gd name="T31" fmla="*/ 18 h 28"/>
                  <a:gd name="T32" fmla="*/ 0 w 18"/>
                  <a:gd name="T33" fmla="*/ 20 h 28"/>
                  <a:gd name="T34" fmla="*/ 0 w 18"/>
                  <a:gd name="T35" fmla="*/ 20 h 28"/>
                  <a:gd name="T36" fmla="*/ 2 w 18"/>
                  <a:gd name="T37" fmla="*/ 22 h 28"/>
                  <a:gd name="T38" fmla="*/ 2 w 18"/>
                  <a:gd name="T39" fmla="*/ 22 h 28"/>
                  <a:gd name="T40" fmla="*/ 2 w 18"/>
                  <a:gd name="T41" fmla="*/ 24 h 28"/>
                  <a:gd name="T42" fmla="*/ 6 w 18"/>
                  <a:gd name="T43" fmla="*/ 26 h 28"/>
                  <a:gd name="T44" fmla="*/ 10 w 18"/>
                  <a:gd name="T45" fmla="*/ 28 h 28"/>
                  <a:gd name="T46" fmla="*/ 12 w 18"/>
                  <a:gd name="T47" fmla="*/ 28 h 28"/>
                  <a:gd name="T48" fmla="*/ 12 w 18"/>
                  <a:gd name="T49" fmla="*/ 28 h 28"/>
                  <a:gd name="T50" fmla="*/ 12 w 18"/>
                  <a:gd name="T51" fmla="*/ 28 h 28"/>
                  <a:gd name="T52" fmla="*/ 14 w 18"/>
                  <a:gd name="T53" fmla="*/ 26 h 28"/>
                  <a:gd name="T54" fmla="*/ 14 w 18"/>
                  <a:gd name="T55" fmla="*/ 24 h 28"/>
                  <a:gd name="T56" fmla="*/ 16 w 18"/>
                  <a:gd name="T57" fmla="*/ 22 h 28"/>
                  <a:gd name="T58" fmla="*/ 16 w 18"/>
                  <a:gd name="T59" fmla="*/ 22 h 28"/>
                  <a:gd name="T60" fmla="*/ 16 w 18"/>
                  <a:gd name="T61" fmla="*/ 20 h 28"/>
                  <a:gd name="T62" fmla="*/ 16 w 18"/>
                  <a:gd name="T63" fmla="*/ 18 h 28"/>
                  <a:gd name="T64" fmla="*/ 16 w 18"/>
                  <a:gd name="T65" fmla="*/ 14 h 28"/>
                  <a:gd name="T66" fmla="*/ 16 w 18"/>
                  <a:gd name="T67" fmla="*/ 14 h 28"/>
                  <a:gd name="T68" fmla="*/ 18 w 18"/>
                  <a:gd name="T69" fmla="*/ 10 h 28"/>
                  <a:gd name="T70" fmla="*/ 18 w 18"/>
                  <a:gd name="T71" fmla="*/ 10 h 28"/>
                  <a:gd name="T72" fmla="*/ 18 w 18"/>
                  <a:gd name="T73" fmla="*/ 8 h 28"/>
                  <a:gd name="T74" fmla="*/ 18 w 18"/>
                  <a:gd name="T75" fmla="*/ 8 h 28"/>
                  <a:gd name="T76" fmla="*/ 16 w 18"/>
                  <a:gd name="T77" fmla="*/ 4 h 28"/>
                  <a:gd name="T78" fmla="*/ 16 w 18"/>
                  <a:gd name="T79" fmla="*/ 2 h 28"/>
                  <a:gd name="T80" fmla="*/ 16 w 18"/>
                  <a:gd name="T81" fmla="*/ 0 h 28"/>
                  <a:gd name="T82" fmla="*/ 14 w 18"/>
                  <a:gd name="T83" fmla="*/ 0 h 28"/>
                  <a:gd name="T84" fmla="*/ 14 w 18"/>
                  <a:gd name="T85" fmla="*/ 0 h 28"/>
                  <a:gd name="T86" fmla="*/ 12 w 18"/>
                  <a:gd name="T87" fmla="*/ 2 h 28"/>
                  <a:gd name="T88" fmla="*/ 12 w 18"/>
                  <a:gd name="T89" fmla="*/ 2 h 28"/>
                  <a:gd name="T90" fmla="*/ 12 w 18"/>
                  <a:gd name="T91" fmla="*/ 2 h 28"/>
                  <a:gd name="T92" fmla="*/ 12 w 18"/>
                  <a:gd name="T93" fmla="*/ 2 h 28"/>
                  <a:gd name="T94" fmla="*/ 12 w 18"/>
                  <a:gd name="T95" fmla="*/ 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8" h="28">
                    <a:moveTo>
                      <a:pt x="12" y="2"/>
                    </a:moveTo>
                    <a:lnTo>
                      <a:pt x="12" y="2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0" y="6"/>
                    </a:lnTo>
                    <a:lnTo>
                      <a:pt x="10" y="8"/>
                    </a:lnTo>
                    <a:lnTo>
                      <a:pt x="6" y="10"/>
                    </a:lnTo>
                    <a:lnTo>
                      <a:pt x="4" y="10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4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4"/>
                    </a:lnTo>
                    <a:lnTo>
                      <a:pt x="6" y="26"/>
                    </a:lnTo>
                    <a:lnTo>
                      <a:pt x="10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4" y="26"/>
                    </a:lnTo>
                    <a:lnTo>
                      <a:pt x="14" y="24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0"/>
                    </a:lnTo>
                    <a:lnTo>
                      <a:pt x="16" y="18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6" y="4"/>
                    </a:lnTo>
                    <a:lnTo>
                      <a:pt x="16" y="2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05" name="Freeform 1001"/>
              <p:cNvSpPr>
                <a:spLocks/>
              </p:cNvSpPr>
              <p:nvPr/>
            </p:nvSpPr>
            <p:spPr bwMode="auto">
              <a:xfrm>
                <a:off x="3099" y="2102"/>
                <a:ext cx="40" cy="38"/>
              </a:xfrm>
              <a:custGeom>
                <a:avLst/>
                <a:gdLst>
                  <a:gd name="T0" fmla="*/ 28 w 40"/>
                  <a:gd name="T1" fmla="*/ 18 h 38"/>
                  <a:gd name="T2" fmla="*/ 24 w 40"/>
                  <a:gd name="T3" fmla="*/ 10 h 38"/>
                  <a:gd name="T4" fmla="*/ 24 w 40"/>
                  <a:gd name="T5" fmla="*/ 8 h 38"/>
                  <a:gd name="T6" fmla="*/ 24 w 40"/>
                  <a:gd name="T7" fmla="*/ 4 h 38"/>
                  <a:gd name="T8" fmla="*/ 22 w 40"/>
                  <a:gd name="T9" fmla="*/ 2 h 38"/>
                  <a:gd name="T10" fmla="*/ 20 w 40"/>
                  <a:gd name="T11" fmla="*/ 0 h 38"/>
                  <a:gd name="T12" fmla="*/ 20 w 40"/>
                  <a:gd name="T13" fmla="*/ 2 h 38"/>
                  <a:gd name="T14" fmla="*/ 20 w 40"/>
                  <a:gd name="T15" fmla="*/ 4 h 38"/>
                  <a:gd name="T16" fmla="*/ 18 w 40"/>
                  <a:gd name="T17" fmla="*/ 6 h 38"/>
                  <a:gd name="T18" fmla="*/ 12 w 40"/>
                  <a:gd name="T19" fmla="*/ 6 h 38"/>
                  <a:gd name="T20" fmla="*/ 10 w 40"/>
                  <a:gd name="T21" fmla="*/ 8 h 38"/>
                  <a:gd name="T22" fmla="*/ 10 w 40"/>
                  <a:gd name="T23" fmla="*/ 12 h 38"/>
                  <a:gd name="T24" fmla="*/ 6 w 40"/>
                  <a:gd name="T25" fmla="*/ 20 h 38"/>
                  <a:gd name="T26" fmla="*/ 4 w 40"/>
                  <a:gd name="T27" fmla="*/ 24 h 38"/>
                  <a:gd name="T28" fmla="*/ 0 w 40"/>
                  <a:gd name="T29" fmla="*/ 36 h 38"/>
                  <a:gd name="T30" fmla="*/ 2 w 40"/>
                  <a:gd name="T31" fmla="*/ 36 h 38"/>
                  <a:gd name="T32" fmla="*/ 4 w 40"/>
                  <a:gd name="T33" fmla="*/ 38 h 38"/>
                  <a:gd name="T34" fmla="*/ 6 w 40"/>
                  <a:gd name="T35" fmla="*/ 38 h 38"/>
                  <a:gd name="T36" fmla="*/ 10 w 40"/>
                  <a:gd name="T37" fmla="*/ 38 h 38"/>
                  <a:gd name="T38" fmla="*/ 14 w 40"/>
                  <a:gd name="T39" fmla="*/ 38 h 38"/>
                  <a:gd name="T40" fmla="*/ 16 w 40"/>
                  <a:gd name="T41" fmla="*/ 36 h 38"/>
                  <a:gd name="T42" fmla="*/ 18 w 40"/>
                  <a:gd name="T43" fmla="*/ 34 h 38"/>
                  <a:gd name="T44" fmla="*/ 18 w 40"/>
                  <a:gd name="T45" fmla="*/ 32 h 38"/>
                  <a:gd name="T46" fmla="*/ 20 w 40"/>
                  <a:gd name="T47" fmla="*/ 32 h 38"/>
                  <a:gd name="T48" fmla="*/ 22 w 40"/>
                  <a:gd name="T49" fmla="*/ 30 h 38"/>
                  <a:gd name="T50" fmla="*/ 24 w 40"/>
                  <a:gd name="T51" fmla="*/ 30 h 38"/>
                  <a:gd name="T52" fmla="*/ 26 w 40"/>
                  <a:gd name="T53" fmla="*/ 28 h 38"/>
                  <a:gd name="T54" fmla="*/ 30 w 40"/>
                  <a:gd name="T55" fmla="*/ 28 h 38"/>
                  <a:gd name="T56" fmla="*/ 40 w 40"/>
                  <a:gd name="T57" fmla="*/ 24 h 38"/>
                  <a:gd name="T58" fmla="*/ 36 w 40"/>
                  <a:gd name="T59" fmla="*/ 22 h 38"/>
                  <a:gd name="T60" fmla="*/ 30 w 40"/>
                  <a:gd name="T61" fmla="*/ 20 h 38"/>
                  <a:gd name="T62" fmla="*/ 28 w 40"/>
                  <a:gd name="T63" fmla="*/ 18 h 38"/>
                  <a:gd name="T64" fmla="*/ 28 w 40"/>
                  <a:gd name="T65" fmla="*/ 1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0" h="38">
                    <a:moveTo>
                      <a:pt x="28" y="18"/>
                    </a:moveTo>
                    <a:lnTo>
                      <a:pt x="28" y="18"/>
                    </a:lnTo>
                    <a:lnTo>
                      <a:pt x="26" y="12"/>
                    </a:lnTo>
                    <a:lnTo>
                      <a:pt x="24" y="10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6"/>
                    </a:lnTo>
                    <a:lnTo>
                      <a:pt x="24" y="4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4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8" y="16"/>
                    </a:lnTo>
                    <a:lnTo>
                      <a:pt x="6" y="20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2" y="30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4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8" y="38"/>
                    </a:lnTo>
                    <a:lnTo>
                      <a:pt x="10" y="38"/>
                    </a:lnTo>
                    <a:lnTo>
                      <a:pt x="12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30" y="28"/>
                    </a:lnTo>
                    <a:lnTo>
                      <a:pt x="34" y="30"/>
                    </a:lnTo>
                    <a:lnTo>
                      <a:pt x="40" y="24"/>
                    </a:lnTo>
                    <a:lnTo>
                      <a:pt x="40" y="24"/>
                    </a:lnTo>
                    <a:lnTo>
                      <a:pt x="36" y="22"/>
                    </a:lnTo>
                    <a:lnTo>
                      <a:pt x="34" y="22"/>
                    </a:lnTo>
                    <a:lnTo>
                      <a:pt x="30" y="20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8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06" name="Freeform 1003"/>
              <p:cNvSpPr>
                <a:spLocks/>
              </p:cNvSpPr>
              <p:nvPr/>
            </p:nvSpPr>
            <p:spPr bwMode="auto">
              <a:xfrm>
                <a:off x="3099" y="2104"/>
                <a:ext cx="294" cy="116"/>
              </a:xfrm>
              <a:custGeom>
                <a:avLst/>
                <a:gdLst>
                  <a:gd name="T0" fmla="*/ 284 w 294"/>
                  <a:gd name="T1" fmla="*/ 68 h 116"/>
                  <a:gd name="T2" fmla="*/ 280 w 294"/>
                  <a:gd name="T3" fmla="*/ 54 h 116"/>
                  <a:gd name="T4" fmla="*/ 276 w 294"/>
                  <a:gd name="T5" fmla="*/ 42 h 116"/>
                  <a:gd name="T6" fmla="*/ 276 w 294"/>
                  <a:gd name="T7" fmla="*/ 32 h 116"/>
                  <a:gd name="T8" fmla="*/ 264 w 294"/>
                  <a:gd name="T9" fmla="*/ 22 h 116"/>
                  <a:gd name="T10" fmla="*/ 262 w 294"/>
                  <a:gd name="T11" fmla="*/ 14 h 116"/>
                  <a:gd name="T12" fmla="*/ 256 w 294"/>
                  <a:gd name="T13" fmla="*/ 12 h 116"/>
                  <a:gd name="T14" fmla="*/ 250 w 294"/>
                  <a:gd name="T15" fmla="*/ 6 h 116"/>
                  <a:gd name="T16" fmla="*/ 234 w 294"/>
                  <a:gd name="T17" fmla="*/ 2 h 116"/>
                  <a:gd name="T18" fmla="*/ 220 w 294"/>
                  <a:gd name="T19" fmla="*/ 8 h 116"/>
                  <a:gd name="T20" fmla="*/ 204 w 294"/>
                  <a:gd name="T21" fmla="*/ 14 h 116"/>
                  <a:gd name="T22" fmla="*/ 182 w 294"/>
                  <a:gd name="T23" fmla="*/ 14 h 116"/>
                  <a:gd name="T24" fmla="*/ 164 w 294"/>
                  <a:gd name="T25" fmla="*/ 14 h 116"/>
                  <a:gd name="T26" fmla="*/ 146 w 294"/>
                  <a:gd name="T27" fmla="*/ 8 h 116"/>
                  <a:gd name="T28" fmla="*/ 128 w 294"/>
                  <a:gd name="T29" fmla="*/ 2 h 116"/>
                  <a:gd name="T30" fmla="*/ 126 w 294"/>
                  <a:gd name="T31" fmla="*/ 0 h 116"/>
                  <a:gd name="T32" fmla="*/ 102 w 294"/>
                  <a:gd name="T33" fmla="*/ 6 h 116"/>
                  <a:gd name="T34" fmla="*/ 84 w 294"/>
                  <a:gd name="T35" fmla="*/ 16 h 116"/>
                  <a:gd name="T36" fmla="*/ 64 w 294"/>
                  <a:gd name="T37" fmla="*/ 22 h 116"/>
                  <a:gd name="T38" fmla="*/ 34 w 294"/>
                  <a:gd name="T39" fmla="*/ 28 h 116"/>
                  <a:gd name="T40" fmla="*/ 46 w 294"/>
                  <a:gd name="T41" fmla="*/ 28 h 116"/>
                  <a:gd name="T42" fmla="*/ 44 w 294"/>
                  <a:gd name="T43" fmla="*/ 34 h 116"/>
                  <a:gd name="T44" fmla="*/ 34 w 294"/>
                  <a:gd name="T45" fmla="*/ 38 h 116"/>
                  <a:gd name="T46" fmla="*/ 30 w 294"/>
                  <a:gd name="T47" fmla="*/ 40 h 116"/>
                  <a:gd name="T48" fmla="*/ 20 w 294"/>
                  <a:gd name="T49" fmla="*/ 40 h 116"/>
                  <a:gd name="T50" fmla="*/ 8 w 294"/>
                  <a:gd name="T51" fmla="*/ 40 h 116"/>
                  <a:gd name="T52" fmla="*/ 0 w 294"/>
                  <a:gd name="T53" fmla="*/ 52 h 116"/>
                  <a:gd name="T54" fmla="*/ 8 w 294"/>
                  <a:gd name="T55" fmla="*/ 58 h 116"/>
                  <a:gd name="T56" fmla="*/ 4 w 294"/>
                  <a:gd name="T57" fmla="*/ 64 h 116"/>
                  <a:gd name="T58" fmla="*/ 12 w 294"/>
                  <a:gd name="T59" fmla="*/ 70 h 116"/>
                  <a:gd name="T60" fmla="*/ 6 w 294"/>
                  <a:gd name="T61" fmla="*/ 78 h 116"/>
                  <a:gd name="T62" fmla="*/ 10 w 294"/>
                  <a:gd name="T63" fmla="*/ 84 h 116"/>
                  <a:gd name="T64" fmla="*/ 20 w 294"/>
                  <a:gd name="T65" fmla="*/ 88 h 116"/>
                  <a:gd name="T66" fmla="*/ 18 w 294"/>
                  <a:gd name="T67" fmla="*/ 94 h 116"/>
                  <a:gd name="T68" fmla="*/ 24 w 294"/>
                  <a:gd name="T69" fmla="*/ 100 h 116"/>
                  <a:gd name="T70" fmla="*/ 24 w 294"/>
                  <a:gd name="T71" fmla="*/ 102 h 116"/>
                  <a:gd name="T72" fmla="*/ 26 w 294"/>
                  <a:gd name="T73" fmla="*/ 106 h 116"/>
                  <a:gd name="T74" fmla="*/ 32 w 294"/>
                  <a:gd name="T75" fmla="*/ 110 h 116"/>
                  <a:gd name="T76" fmla="*/ 48 w 294"/>
                  <a:gd name="T77" fmla="*/ 114 h 116"/>
                  <a:gd name="T78" fmla="*/ 60 w 294"/>
                  <a:gd name="T79" fmla="*/ 116 h 116"/>
                  <a:gd name="T80" fmla="*/ 70 w 294"/>
                  <a:gd name="T81" fmla="*/ 110 h 116"/>
                  <a:gd name="T82" fmla="*/ 78 w 294"/>
                  <a:gd name="T83" fmla="*/ 102 h 116"/>
                  <a:gd name="T84" fmla="*/ 92 w 294"/>
                  <a:gd name="T85" fmla="*/ 104 h 116"/>
                  <a:gd name="T86" fmla="*/ 104 w 294"/>
                  <a:gd name="T87" fmla="*/ 112 h 116"/>
                  <a:gd name="T88" fmla="*/ 116 w 294"/>
                  <a:gd name="T89" fmla="*/ 112 h 116"/>
                  <a:gd name="T90" fmla="*/ 130 w 294"/>
                  <a:gd name="T91" fmla="*/ 108 h 116"/>
                  <a:gd name="T92" fmla="*/ 138 w 294"/>
                  <a:gd name="T93" fmla="*/ 104 h 116"/>
                  <a:gd name="T94" fmla="*/ 148 w 294"/>
                  <a:gd name="T95" fmla="*/ 100 h 116"/>
                  <a:gd name="T96" fmla="*/ 156 w 294"/>
                  <a:gd name="T97" fmla="*/ 98 h 116"/>
                  <a:gd name="T98" fmla="*/ 156 w 294"/>
                  <a:gd name="T99" fmla="*/ 106 h 116"/>
                  <a:gd name="T100" fmla="*/ 150 w 294"/>
                  <a:gd name="T101" fmla="*/ 114 h 116"/>
                  <a:gd name="T102" fmla="*/ 164 w 294"/>
                  <a:gd name="T103" fmla="*/ 114 h 116"/>
                  <a:gd name="T104" fmla="*/ 166 w 294"/>
                  <a:gd name="T105" fmla="*/ 104 h 116"/>
                  <a:gd name="T106" fmla="*/ 168 w 294"/>
                  <a:gd name="T107" fmla="*/ 98 h 116"/>
                  <a:gd name="T108" fmla="*/ 178 w 294"/>
                  <a:gd name="T109" fmla="*/ 100 h 116"/>
                  <a:gd name="T110" fmla="*/ 188 w 294"/>
                  <a:gd name="T111" fmla="*/ 94 h 116"/>
                  <a:gd name="T112" fmla="*/ 210 w 294"/>
                  <a:gd name="T113" fmla="*/ 94 h 116"/>
                  <a:gd name="T114" fmla="*/ 218 w 294"/>
                  <a:gd name="T115" fmla="*/ 88 h 116"/>
                  <a:gd name="T116" fmla="*/ 250 w 294"/>
                  <a:gd name="T117" fmla="*/ 86 h 116"/>
                  <a:gd name="T118" fmla="*/ 280 w 294"/>
                  <a:gd name="T119" fmla="*/ 84 h 116"/>
                  <a:gd name="T120" fmla="*/ 290 w 294"/>
                  <a:gd name="T121" fmla="*/ 84 h 116"/>
                  <a:gd name="T122" fmla="*/ 292 w 294"/>
                  <a:gd name="T123" fmla="*/ 78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94" h="116">
                    <a:moveTo>
                      <a:pt x="292" y="78"/>
                    </a:moveTo>
                    <a:lnTo>
                      <a:pt x="292" y="78"/>
                    </a:lnTo>
                    <a:lnTo>
                      <a:pt x="288" y="76"/>
                    </a:lnTo>
                    <a:lnTo>
                      <a:pt x="288" y="72"/>
                    </a:lnTo>
                    <a:lnTo>
                      <a:pt x="288" y="72"/>
                    </a:lnTo>
                    <a:lnTo>
                      <a:pt x="286" y="70"/>
                    </a:lnTo>
                    <a:lnTo>
                      <a:pt x="284" y="70"/>
                    </a:lnTo>
                    <a:lnTo>
                      <a:pt x="284" y="68"/>
                    </a:lnTo>
                    <a:lnTo>
                      <a:pt x="284" y="68"/>
                    </a:lnTo>
                    <a:lnTo>
                      <a:pt x="282" y="66"/>
                    </a:lnTo>
                    <a:lnTo>
                      <a:pt x="280" y="62"/>
                    </a:lnTo>
                    <a:lnTo>
                      <a:pt x="280" y="62"/>
                    </a:lnTo>
                    <a:lnTo>
                      <a:pt x="280" y="60"/>
                    </a:lnTo>
                    <a:lnTo>
                      <a:pt x="280" y="58"/>
                    </a:lnTo>
                    <a:lnTo>
                      <a:pt x="280" y="56"/>
                    </a:lnTo>
                    <a:lnTo>
                      <a:pt x="280" y="54"/>
                    </a:lnTo>
                    <a:lnTo>
                      <a:pt x="280" y="54"/>
                    </a:lnTo>
                    <a:lnTo>
                      <a:pt x="280" y="52"/>
                    </a:lnTo>
                    <a:lnTo>
                      <a:pt x="278" y="48"/>
                    </a:lnTo>
                    <a:lnTo>
                      <a:pt x="278" y="48"/>
                    </a:lnTo>
                    <a:lnTo>
                      <a:pt x="276" y="44"/>
                    </a:lnTo>
                    <a:lnTo>
                      <a:pt x="276" y="44"/>
                    </a:lnTo>
                    <a:lnTo>
                      <a:pt x="276" y="42"/>
                    </a:lnTo>
                    <a:lnTo>
                      <a:pt x="276" y="42"/>
                    </a:lnTo>
                    <a:lnTo>
                      <a:pt x="276" y="40"/>
                    </a:lnTo>
                    <a:lnTo>
                      <a:pt x="276" y="40"/>
                    </a:lnTo>
                    <a:lnTo>
                      <a:pt x="278" y="38"/>
                    </a:lnTo>
                    <a:lnTo>
                      <a:pt x="278" y="36"/>
                    </a:lnTo>
                    <a:lnTo>
                      <a:pt x="278" y="36"/>
                    </a:lnTo>
                    <a:lnTo>
                      <a:pt x="278" y="36"/>
                    </a:lnTo>
                    <a:lnTo>
                      <a:pt x="276" y="34"/>
                    </a:lnTo>
                    <a:lnTo>
                      <a:pt x="276" y="32"/>
                    </a:lnTo>
                    <a:lnTo>
                      <a:pt x="274" y="32"/>
                    </a:lnTo>
                    <a:lnTo>
                      <a:pt x="272" y="30"/>
                    </a:lnTo>
                    <a:lnTo>
                      <a:pt x="270" y="28"/>
                    </a:lnTo>
                    <a:lnTo>
                      <a:pt x="270" y="28"/>
                    </a:lnTo>
                    <a:lnTo>
                      <a:pt x="268" y="28"/>
                    </a:lnTo>
                    <a:lnTo>
                      <a:pt x="266" y="26"/>
                    </a:lnTo>
                    <a:lnTo>
                      <a:pt x="264" y="24"/>
                    </a:lnTo>
                    <a:lnTo>
                      <a:pt x="264" y="22"/>
                    </a:lnTo>
                    <a:lnTo>
                      <a:pt x="264" y="22"/>
                    </a:lnTo>
                    <a:lnTo>
                      <a:pt x="264" y="20"/>
                    </a:lnTo>
                    <a:lnTo>
                      <a:pt x="264" y="18"/>
                    </a:lnTo>
                    <a:lnTo>
                      <a:pt x="264" y="18"/>
                    </a:lnTo>
                    <a:lnTo>
                      <a:pt x="264" y="16"/>
                    </a:lnTo>
                    <a:lnTo>
                      <a:pt x="264" y="16"/>
                    </a:lnTo>
                    <a:lnTo>
                      <a:pt x="264" y="14"/>
                    </a:lnTo>
                    <a:lnTo>
                      <a:pt x="262" y="14"/>
                    </a:lnTo>
                    <a:lnTo>
                      <a:pt x="262" y="12"/>
                    </a:lnTo>
                    <a:lnTo>
                      <a:pt x="262" y="12"/>
                    </a:lnTo>
                    <a:lnTo>
                      <a:pt x="260" y="10"/>
                    </a:lnTo>
                    <a:lnTo>
                      <a:pt x="258" y="10"/>
                    </a:lnTo>
                    <a:lnTo>
                      <a:pt x="258" y="12"/>
                    </a:lnTo>
                    <a:lnTo>
                      <a:pt x="258" y="12"/>
                    </a:lnTo>
                    <a:lnTo>
                      <a:pt x="256" y="12"/>
                    </a:lnTo>
                    <a:lnTo>
                      <a:pt x="256" y="12"/>
                    </a:lnTo>
                    <a:lnTo>
                      <a:pt x="256" y="12"/>
                    </a:lnTo>
                    <a:lnTo>
                      <a:pt x="256" y="12"/>
                    </a:lnTo>
                    <a:lnTo>
                      <a:pt x="254" y="12"/>
                    </a:lnTo>
                    <a:lnTo>
                      <a:pt x="254" y="10"/>
                    </a:lnTo>
                    <a:lnTo>
                      <a:pt x="254" y="10"/>
                    </a:lnTo>
                    <a:lnTo>
                      <a:pt x="252" y="8"/>
                    </a:lnTo>
                    <a:lnTo>
                      <a:pt x="250" y="6"/>
                    </a:lnTo>
                    <a:lnTo>
                      <a:pt x="250" y="6"/>
                    </a:lnTo>
                    <a:lnTo>
                      <a:pt x="250" y="4"/>
                    </a:lnTo>
                    <a:lnTo>
                      <a:pt x="250" y="4"/>
                    </a:lnTo>
                    <a:lnTo>
                      <a:pt x="250" y="4"/>
                    </a:lnTo>
                    <a:lnTo>
                      <a:pt x="246" y="4"/>
                    </a:lnTo>
                    <a:lnTo>
                      <a:pt x="242" y="4"/>
                    </a:lnTo>
                    <a:lnTo>
                      <a:pt x="242" y="4"/>
                    </a:lnTo>
                    <a:lnTo>
                      <a:pt x="238" y="4"/>
                    </a:lnTo>
                    <a:lnTo>
                      <a:pt x="234" y="2"/>
                    </a:lnTo>
                    <a:lnTo>
                      <a:pt x="234" y="2"/>
                    </a:lnTo>
                    <a:lnTo>
                      <a:pt x="232" y="2"/>
                    </a:lnTo>
                    <a:lnTo>
                      <a:pt x="230" y="2"/>
                    </a:lnTo>
                    <a:lnTo>
                      <a:pt x="228" y="4"/>
                    </a:lnTo>
                    <a:lnTo>
                      <a:pt x="224" y="4"/>
                    </a:lnTo>
                    <a:lnTo>
                      <a:pt x="224" y="4"/>
                    </a:lnTo>
                    <a:lnTo>
                      <a:pt x="222" y="6"/>
                    </a:lnTo>
                    <a:lnTo>
                      <a:pt x="220" y="8"/>
                    </a:lnTo>
                    <a:lnTo>
                      <a:pt x="218" y="10"/>
                    </a:lnTo>
                    <a:lnTo>
                      <a:pt x="218" y="10"/>
                    </a:lnTo>
                    <a:lnTo>
                      <a:pt x="214" y="12"/>
                    </a:lnTo>
                    <a:lnTo>
                      <a:pt x="210" y="12"/>
                    </a:lnTo>
                    <a:lnTo>
                      <a:pt x="210" y="12"/>
                    </a:lnTo>
                    <a:lnTo>
                      <a:pt x="208" y="14"/>
                    </a:lnTo>
                    <a:lnTo>
                      <a:pt x="206" y="14"/>
                    </a:lnTo>
                    <a:lnTo>
                      <a:pt x="204" y="14"/>
                    </a:lnTo>
                    <a:lnTo>
                      <a:pt x="204" y="14"/>
                    </a:lnTo>
                    <a:lnTo>
                      <a:pt x="198" y="14"/>
                    </a:lnTo>
                    <a:lnTo>
                      <a:pt x="194" y="14"/>
                    </a:lnTo>
                    <a:lnTo>
                      <a:pt x="194" y="14"/>
                    </a:lnTo>
                    <a:lnTo>
                      <a:pt x="190" y="14"/>
                    </a:lnTo>
                    <a:lnTo>
                      <a:pt x="186" y="14"/>
                    </a:lnTo>
                    <a:lnTo>
                      <a:pt x="186" y="14"/>
                    </a:lnTo>
                    <a:lnTo>
                      <a:pt x="182" y="14"/>
                    </a:lnTo>
                    <a:lnTo>
                      <a:pt x="178" y="16"/>
                    </a:lnTo>
                    <a:lnTo>
                      <a:pt x="174" y="16"/>
                    </a:lnTo>
                    <a:lnTo>
                      <a:pt x="172" y="16"/>
                    </a:lnTo>
                    <a:lnTo>
                      <a:pt x="168" y="16"/>
                    </a:lnTo>
                    <a:lnTo>
                      <a:pt x="168" y="16"/>
                    </a:lnTo>
                    <a:lnTo>
                      <a:pt x="166" y="16"/>
                    </a:lnTo>
                    <a:lnTo>
                      <a:pt x="164" y="14"/>
                    </a:lnTo>
                    <a:lnTo>
                      <a:pt x="164" y="14"/>
                    </a:lnTo>
                    <a:lnTo>
                      <a:pt x="162" y="14"/>
                    </a:lnTo>
                    <a:lnTo>
                      <a:pt x="160" y="14"/>
                    </a:lnTo>
                    <a:lnTo>
                      <a:pt x="156" y="14"/>
                    </a:lnTo>
                    <a:lnTo>
                      <a:pt x="154" y="12"/>
                    </a:lnTo>
                    <a:lnTo>
                      <a:pt x="154" y="12"/>
                    </a:lnTo>
                    <a:lnTo>
                      <a:pt x="150" y="12"/>
                    </a:lnTo>
                    <a:lnTo>
                      <a:pt x="148" y="10"/>
                    </a:lnTo>
                    <a:lnTo>
                      <a:pt x="146" y="8"/>
                    </a:lnTo>
                    <a:lnTo>
                      <a:pt x="144" y="8"/>
                    </a:lnTo>
                    <a:lnTo>
                      <a:pt x="144" y="8"/>
                    </a:lnTo>
                    <a:lnTo>
                      <a:pt x="138" y="6"/>
                    </a:lnTo>
                    <a:lnTo>
                      <a:pt x="134" y="4"/>
                    </a:lnTo>
                    <a:lnTo>
                      <a:pt x="130" y="4"/>
                    </a:lnTo>
                    <a:lnTo>
                      <a:pt x="130" y="4"/>
                    </a:lnTo>
                    <a:lnTo>
                      <a:pt x="128" y="4"/>
                    </a:lnTo>
                    <a:lnTo>
                      <a:pt x="128" y="2"/>
                    </a:lnTo>
                    <a:lnTo>
                      <a:pt x="128" y="2"/>
                    </a:lnTo>
                    <a:lnTo>
                      <a:pt x="128" y="2"/>
                    </a:lnTo>
                    <a:lnTo>
                      <a:pt x="128" y="2"/>
                    </a:lnTo>
                    <a:lnTo>
                      <a:pt x="128" y="0"/>
                    </a:lnTo>
                    <a:lnTo>
                      <a:pt x="128" y="0"/>
                    </a:lnTo>
                    <a:lnTo>
                      <a:pt x="128" y="0"/>
                    </a:lnTo>
                    <a:lnTo>
                      <a:pt x="126" y="0"/>
                    </a:lnTo>
                    <a:lnTo>
                      <a:pt x="126" y="0"/>
                    </a:lnTo>
                    <a:lnTo>
                      <a:pt x="122" y="0"/>
                    </a:lnTo>
                    <a:lnTo>
                      <a:pt x="122" y="0"/>
                    </a:lnTo>
                    <a:lnTo>
                      <a:pt x="118" y="0"/>
                    </a:lnTo>
                    <a:lnTo>
                      <a:pt x="114" y="0"/>
                    </a:lnTo>
                    <a:lnTo>
                      <a:pt x="112" y="2"/>
                    </a:lnTo>
                    <a:lnTo>
                      <a:pt x="112" y="2"/>
                    </a:lnTo>
                    <a:lnTo>
                      <a:pt x="106" y="4"/>
                    </a:lnTo>
                    <a:lnTo>
                      <a:pt x="102" y="6"/>
                    </a:lnTo>
                    <a:lnTo>
                      <a:pt x="98" y="8"/>
                    </a:lnTo>
                    <a:lnTo>
                      <a:pt x="94" y="12"/>
                    </a:lnTo>
                    <a:lnTo>
                      <a:pt x="94" y="12"/>
                    </a:lnTo>
                    <a:lnTo>
                      <a:pt x="92" y="14"/>
                    </a:lnTo>
                    <a:lnTo>
                      <a:pt x="88" y="14"/>
                    </a:lnTo>
                    <a:lnTo>
                      <a:pt x="86" y="16"/>
                    </a:lnTo>
                    <a:lnTo>
                      <a:pt x="84" y="16"/>
                    </a:lnTo>
                    <a:lnTo>
                      <a:pt x="84" y="16"/>
                    </a:lnTo>
                    <a:lnTo>
                      <a:pt x="80" y="16"/>
                    </a:lnTo>
                    <a:lnTo>
                      <a:pt x="78" y="16"/>
                    </a:lnTo>
                    <a:lnTo>
                      <a:pt x="76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0" y="22"/>
                    </a:lnTo>
                    <a:lnTo>
                      <a:pt x="66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58" y="22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46" y="22"/>
                    </a:lnTo>
                    <a:lnTo>
                      <a:pt x="42" y="22"/>
                    </a:lnTo>
                    <a:lnTo>
                      <a:pt x="40" y="22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6" y="28"/>
                    </a:lnTo>
                    <a:lnTo>
                      <a:pt x="36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6" y="28"/>
                    </a:lnTo>
                    <a:lnTo>
                      <a:pt x="46" y="28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2"/>
                    </a:lnTo>
                    <a:lnTo>
                      <a:pt x="46" y="32"/>
                    </a:lnTo>
                    <a:lnTo>
                      <a:pt x="46" y="32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6"/>
                    </a:lnTo>
                    <a:lnTo>
                      <a:pt x="34" y="38"/>
                    </a:lnTo>
                    <a:lnTo>
                      <a:pt x="34" y="38"/>
                    </a:lnTo>
                    <a:lnTo>
                      <a:pt x="34" y="38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2" y="40"/>
                    </a:lnTo>
                    <a:lnTo>
                      <a:pt x="30" y="40"/>
                    </a:lnTo>
                    <a:lnTo>
                      <a:pt x="28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4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18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2" y="40"/>
                    </a:lnTo>
                    <a:lnTo>
                      <a:pt x="10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2" y="48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52"/>
                    </a:lnTo>
                    <a:lnTo>
                      <a:pt x="0" y="54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8"/>
                    </a:lnTo>
                    <a:lnTo>
                      <a:pt x="2" y="58"/>
                    </a:lnTo>
                    <a:lnTo>
                      <a:pt x="4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6" y="64"/>
                    </a:lnTo>
                    <a:lnTo>
                      <a:pt x="6" y="64"/>
                    </a:lnTo>
                    <a:lnTo>
                      <a:pt x="4" y="64"/>
                    </a:lnTo>
                    <a:lnTo>
                      <a:pt x="6" y="66"/>
                    </a:lnTo>
                    <a:lnTo>
                      <a:pt x="6" y="66"/>
                    </a:lnTo>
                    <a:lnTo>
                      <a:pt x="6" y="68"/>
                    </a:lnTo>
                    <a:lnTo>
                      <a:pt x="10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72"/>
                    </a:lnTo>
                    <a:lnTo>
                      <a:pt x="10" y="72"/>
                    </a:lnTo>
                    <a:lnTo>
                      <a:pt x="8" y="74"/>
                    </a:lnTo>
                    <a:lnTo>
                      <a:pt x="6" y="76"/>
                    </a:lnTo>
                    <a:lnTo>
                      <a:pt x="6" y="76"/>
                    </a:lnTo>
                    <a:lnTo>
                      <a:pt x="4" y="76"/>
                    </a:lnTo>
                    <a:lnTo>
                      <a:pt x="4" y="78"/>
                    </a:lnTo>
                    <a:lnTo>
                      <a:pt x="6" y="78"/>
                    </a:lnTo>
                    <a:lnTo>
                      <a:pt x="6" y="78"/>
                    </a:lnTo>
                    <a:lnTo>
                      <a:pt x="6" y="80"/>
                    </a:lnTo>
                    <a:lnTo>
                      <a:pt x="8" y="80"/>
                    </a:lnTo>
                    <a:lnTo>
                      <a:pt x="8" y="80"/>
                    </a:lnTo>
                    <a:lnTo>
                      <a:pt x="8" y="82"/>
                    </a:lnTo>
                    <a:lnTo>
                      <a:pt x="10" y="82"/>
                    </a:lnTo>
                    <a:lnTo>
                      <a:pt x="10" y="82"/>
                    </a:lnTo>
                    <a:lnTo>
                      <a:pt x="10" y="84"/>
                    </a:lnTo>
                    <a:lnTo>
                      <a:pt x="12" y="84"/>
                    </a:lnTo>
                    <a:lnTo>
                      <a:pt x="14" y="84"/>
                    </a:lnTo>
                    <a:lnTo>
                      <a:pt x="14" y="84"/>
                    </a:lnTo>
                    <a:lnTo>
                      <a:pt x="16" y="84"/>
                    </a:lnTo>
                    <a:lnTo>
                      <a:pt x="16" y="86"/>
                    </a:lnTo>
                    <a:lnTo>
                      <a:pt x="16" y="86"/>
                    </a:lnTo>
                    <a:lnTo>
                      <a:pt x="20" y="88"/>
                    </a:lnTo>
                    <a:lnTo>
                      <a:pt x="20" y="88"/>
                    </a:lnTo>
                    <a:lnTo>
                      <a:pt x="20" y="88"/>
                    </a:lnTo>
                    <a:lnTo>
                      <a:pt x="20" y="90"/>
                    </a:lnTo>
                    <a:lnTo>
                      <a:pt x="20" y="90"/>
                    </a:lnTo>
                    <a:lnTo>
                      <a:pt x="20" y="90"/>
                    </a:lnTo>
                    <a:lnTo>
                      <a:pt x="18" y="92"/>
                    </a:lnTo>
                    <a:lnTo>
                      <a:pt x="18" y="92"/>
                    </a:lnTo>
                    <a:lnTo>
                      <a:pt x="18" y="92"/>
                    </a:lnTo>
                    <a:lnTo>
                      <a:pt x="18" y="94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8"/>
                    </a:lnTo>
                    <a:lnTo>
                      <a:pt x="20" y="98"/>
                    </a:lnTo>
                    <a:lnTo>
                      <a:pt x="24" y="98"/>
                    </a:lnTo>
                    <a:lnTo>
                      <a:pt x="24" y="98"/>
                    </a:lnTo>
                    <a:lnTo>
                      <a:pt x="24" y="100"/>
                    </a:lnTo>
                    <a:lnTo>
                      <a:pt x="24" y="100"/>
                    </a:lnTo>
                    <a:lnTo>
                      <a:pt x="24" y="100"/>
                    </a:lnTo>
                    <a:lnTo>
                      <a:pt x="28" y="100"/>
                    </a:lnTo>
                    <a:lnTo>
                      <a:pt x="30" y="102"/>
                    </a:lnTo>
                    <a:lnTo>
                      <a:pt x="30" y="102"/>
                    </a:lnTo>
                    <a:lnTo>
                      <a:pt x="30" y="102"/>
                    </a:lnTo>
                    <a:lnTo>
                      <a:pt x="30" y="102"/>
                    </a:lnTo>
                    <a:lnTo>
                      <a:pt x="24" y="102"/>
                    </a:lnTo>
                    <a:lnTo>
                      <a:pt x="24" y="102"/>
                    </a:lnTo>
                    <a:lnTo>
                      <a:pt x="24" y="102"/>
                    </a:lnTo>
                    <a:lnTo>
                      <a:pt x="24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4" y="106"/>
                    </a:lnTo>
                    <a:lnTo>
                      <a:pt x="24" y="106"/>
                    </a:lnTo>
                    <a:lnTo>
                      <a:pt x="26" y="106"/>
                    </a:lnTo>
                    <a:lnTo>
                      <a:pt x="26" y="108"/>
                    </a:lnTo>
                    <a:lnTo>
                      <a:pt x="26" y="108"/>
                    </a:lnTo>
                    <a:lnTo>
                      <a:pt x="28" y="108"/>
                    </a:lnTo>
                    <a:lnTo>
                      <a:pt x="28" y="110"/>
                    </a:lnTo>
                    <a:lnTo>
                      <a:pt x="28" y="110"/>
                    </a:lnTo>
                    <a:lnTo>
                      <a:pt x="28" y="110"/>
                    </a:lnTo>
                    <a:lnTo>
                      <a:pt x="30" y="110"/>
                    </a:lnTo>
                    <a:lnTo>
                      <a:pt x="32" y="110"/>
                    </a:lnTo>
                    <a:lnTo>
                      <a:pt x="38" y="108"/>
                    </a:lnTo>
                    <a:lnTo>
                      <a:pt x="38" y="108"/>
                    </a:lnTo>
                    <a:lnTo>
                      <a:pt x="38" y="108"/>
                    </a:lnTo>
                    <a:lnTo>
                      <a:pt x="40" y="108"/>
                    </a:lnTo>
                    <a:lnTo>
                      <a:pt x="42" y="110"/>
                    </a:lnTo>
                    <a:lnTo>
                      <a:pt x="46" y="112"/>
                    </a:lnTo>
                    <a:lnTo>
                      <a:pt x="46" y="112"/>
                    </a:lnTo>
                    <a:lnTo>
                      <a:pt x="48" y="114"/>
                    </a:lnTo>
                    <a:lnTo>
                      <a:pt x="50" y="114"/>
                    </a:lnTo>
                    <a:lnTo>
                      <a:pt x="50" y="114"/>
                    </a:lnTo>
                    <a:lnTo>
                      <a:pt x="52" y="116"/>
                    </a:lnTo>
                    <a:lnTo>
                      <a:pt x="54" y="116"/>
                    </a:lnTo>
                    <a:lnTo>
                      <a:pt x="54" y="116"/>
                    </a:lnTo>
                    <a:lnTo>
                      <a:pt x="56" y="116"/>
                    </a:lnTo>
                    <a:lnTo>
                      <a:pt x="60" y="116"/>
                    </a:lnTo>
                    <a:lnTo>
                      <a:pt x="60" y="116"/>
                    </a:lnTo>
                    <a:lnTo>
                      <a:pt x="62" y="116"/>
                    </a:lnTo>
                    <a:lnTo>
                      <a:pt x="62" y="116"/>
                    </a:lnTo>
                    <a:lnTo>
                      <a:pt x="64" y="116"/>
                    </a:lnTo>
                    <a:lnTo>
                      <a:pt x="64" y="116"/>
                    </a:lnTo>
                    <a:lnTo>
                      <a:pt x="68" y="114"/>
                    </a:lnTo>
                    <a:lnTo>
                      <a:pt x="70" y="110"/>
                    </a:lnTo>
                    <a:lnTo>
                      <a:pt x="70" y="110"/>
                    </a:lnTo>
                    <a:lnTo>
                      <a:pt x="70" y="110"/>
                    </a:lnTo>
                    <a:lnTo>
                      <a:pt x="72" y="108"/>
                    </a:lnTo>
                    <a:lnTo>
                      <a:pt x="72" y="108"/>
                    </a:lnTo>
                    <a:lnTo>
                      <a:pt x="74" y="106"/>
                    </a:lnTo>
                    <a:lnTo>
                      <a:pt x="74" y="106"/>
                    </a:lnTo>
                    <a:lnTo>
                      <a:pt x="74" y="106"/>
                    </a:lnTo>
                    <a:lnTo>
                      <a:pt x="76" y="104"/>
                    </a:lnTo>
                    <a:lnTo>
                      <a:pt x="76" y="102"/>
                    </a:lnTo>
                    <a:lnTo>
                      <a:pt x="78" y="102"/>
                    </a:lnTo>
                    <a:lnTo>
                      <a:pt x="80" y="102"/>
                    </a:lnTo>
                    <a:lnTo>
                      <a:pt x="80" y="102"/>
                    </a:lnTo>
                    <a:lnTo>
                      <a:pt x="86" y="102"/>
                    </a:lnTo>
                    <a:lnTo>
                      <a:pt x="88" y="102"/>
                    </a:lnTo>
                    <a:lnTo>
                      <a:pt x="90" y="104"/>
                    </a:lnTo>
                    <a:lnTo>
                      <a:pt x="90" y="104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94" y="106"/>
                    </a:lnTo>
                    <a:lnTo>
                      <a:pt x="94" y="106"/>
                    </a:lnTo>
                    <a:lnTo>
                      <a:pt x="96" y="108"/>
                    </a:lnTo>
                    <a:lnTo>
                      <a:pt x="98" y="110"/>
                    </a:lnTo>
                    <a:lnTo>
                      <a:pt x="98" y="110"/>
                    </a:lnTo>
                    <a:lnTo>
                      <a:pt x="102" y="110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8" y="112"/>
                    </a:lnTo>
                    <a:lnTo>
                      <a:pt x="110" y="114"/>
                    </a:lnTo>
                    <a:lnTo>
                      <a:pt x="110" y="114"/>
                    </a:lnTo>
                    <a:lnTo>
                      <a:pt x="112" y="112"/>
                    </a:lnTo>
                    <a:lnTo>
                      <a:pt x="112" y="112"/>
                    </a:lnTo>
                    <a:lnTo>
                      <a:pt x="112" y="112"/>
                    </a:lnTo>
                    <a:lnTo>
                      <a:pt x="116" y="112"/>
                    </a:lnTo>
                    <a:lnTo>
                      <a:pt x="116" y="112"/>
                    </a:lnTo>
                    <a:lnTo>
                      <a:pt x="118" y="112"/>
                    </a:lnTo>
                    <a:lnTo>
                      <a:pt x="120" y="110"/>
                    </a:lnTo>
                    <a:lnTo>
                      <a:pt x="120" y="110"/>
                    </a:lnTo>
                    <a:lnTo>
                      <a:pt x="122" y="110"/>
                    </a:lnTo>
                    <a:lnTo>
                      <a:pt x="124" y="110"/>
                    </a:lnTo>
                    <a:lnTo>
                      <a:pt x="124" y="110"/>
                    </a:lnTo>
                    <a:lnTo>
                      <a:pt x="128" y="110"/>
                    </a:lnTo>
                    <a:lnTo>
                      <a:pt x="130" y="108"/>
                    </a:lnTo>
                    <a:lnTo>
                      <a:pt x="132" y="108"/>
                    </a:lnTo>
                    <a:lnTo>
                      <a:pt x="132" y="108"/>
                    </a:lnTo>
                    <a:lnTo>
                      <a:pt x="134" y="108"/>
                    </a:lnTo>
                    <a:lnTo>
                      <a:pt x="136" y="106"/>
                    </a:lnTo>
                    <a:lnTo>
                      <a:pt x="136" y="106"/>
                    </a:lnTo>
                    <a:lnTo>
                      <a:pt x="138" y="104"/>
                    </a:lnTo>
                    <a:lnTo>
                      <a:pt x="138" y="104"/>
                    </a:lnTo>
                    <a:lnTo>
                      <a:pt x="138" y="104"/>
                    </a:lnTo>
                    <a:lnTo>
                      <a:pt x="140" y="102"/>
                    </a:lnTo>
                    <a:lnTo>
                      <a:pt x="140" y="102"/>
                    </a:lnTo>
                    <a:lnTo>
                      <a:pt x="142" y="102"/>
                    </a:lnTo>
                    <a:lnTo>
                      <a:pt x="144" y="102"/>
                    </a:lnTo>
                    <a:lnTo>
                      <a:pt x="144" y="102"/>
                    </a:lnTo>
                    <a:lnTo>
                      <a:pt x="146" y="102"/>
                    </a:lnTo>
                    <a:lnTo>
                      <a:pt x="146" y="102"/>
                    </a:lnTo>
                    <a:lnTo>
                      <a:pt x="148" y="100"/>
                    </a:lnTo>
                    <a:lnTo>
                      <a:pt x="150" y="100"/>
                    </a:lnTo>
                    <a:lnTo>
                      <a:pt x="150" y="100"/>
                    </a:lnTo>
                    <a:lnTo>
                      <a:pt x="152" y="98"/>
                    </a:lnTo>
                    <a:lnTo>
                      <a:pt x="152" y="98"/>
                    </a:lnTo>
                    <a:lnTo>
                      <a:pt x="154" y="98"/>
                    </a:lnTo>
                    <a:lnTo>
                      <a:pt x="154" y="98"/>
                    </a:lnTo>
                    <a:lnTo>
                      <a:pt x="156" y="98"/>
                    </a:lnTo>
                    <a:lnTo>
                      <a:pt x="156" y="98"/>
                    </a:lnTo>
                    <a:lnTo>
                      <a:pt x="156" y="98"/>
                    </a:lnTo>
                    <a:lnTo>
                      <a:pt x="156" y="98"/>
                    </a:lnTo>
                    <a:lnTo>
                      <a:pt x="158" y="100"/>
                    </a:lnTo>
                    <a:lnTo>
                      <a:pt x="158" y="100"/>
                    </a:lnTo>
                    <a:lnTo>
                      <a:pt x="158" y="102"/>
                    </a:lnTo>
                    <a:lnTo>
                      <a:pt x="158" y="102"/>
                    </a:lnTo>
                    <a:lnTo>
                      <a:pt x="156" y="104"/>
                    </a:lnTo>
                    <a:lnTo>
                      <a:pt x="156" y="106"/>
                    </a:lnTo>
                    <a:lnTo>
                      <a:pt x="154" y="108"/>
                    </a:lnTo>
                    <a:lnTo>
                      <a:pt x="154" y="110"/>
                    </a:lnTo>
                    <a:lnTo>
                      <a:pt x="154" y="110"/>
                    </a:lnTo>
                    <a:lnTo>
                      <a:pt x="152" y="110"/>
                    </a:lnTo>
                    <a:lnTo>
                      <a:pt x="152" y="112"/>
                    </a:lnTo>
                    <a:lnTo>
                      <a:pt x="150" y="114"/>
                    </a:lnTo>
                    <a:lnTo>
                      <a:pt x="150" y="114"/>
                    </a:lnTo>
                    <a:lnTo>
                      <a:pt x="150" y="114"/>
                    </a:lnTo>
                    <a:lnTo>
                      <a:pt x="152" y="114"/>
                    </a:lnTo>
                    <a:lnTo>
                      <a:pt x="156" y="114"/>
                    </a:lnTo>
                    <a:lnTo>
                      <a:pt x="156" y="114"/>
                    </a:lnTo>
                    <a:lnTo>
                      <a:pt x="160" y="114"/>
                    </a:lnTo>
                    <a:lnTo>
                      <a:pt x="162" y="114"/>
                    </a:lnTo>
                    <a:lnTo>
                      <a:pt x="162" y="114"/>
                    </a:lnTo>
                    <a:lnTo>
                      <a:pt x="164" y="114"/>
                    </a:lnTo>
                    <a:lnTo>
                      <a:pt x="164" y="114"/>
                    </a:lnTo>
                    <a:lnTo>
                      <a:pt x="164" y="112"/>
                    </a:lnTo>
                    <a:lnTo>
                      <a:pt x="166" y="110"/>
                    </a:lnTo>
                    <a:lnTo>
                      <a:pt x="166" y="110"/>
                    </a:lnTo>
                    <a:lnTo>
                      <a:pt x="166" y="108"/>
                    </a:lnTo>
                    <a:lnTo>
                      <a:pt x="166" y="108"/>
                    </a:lnTo>
                    <a:lnTo>
                      <a:pt x="166" y="108"/>
                    </a:lnTo>
                    <a:lnTo>
                      <a:pt x="166" y="108"/>
                    </a:lnTo>
                    <a:lnTo>
                      <a:pt x="166" y="104"/>
                    </a:lnTo>
                    <a:lnTo>
                      <a:pt x="166" y="102"/>
                    </a:lnTo>
                    <a:lnTo>
                      <a:pt x="166" y="100"/>
                    </a:lnTo>
                    <a:lnTo>
                      <a:pt x="166" y="100"/>
                    </a:lnTo>
                    <a:lnTo>
                      <a:pt x="166" y="100"/>
                    </a:lnTo>
                    <a:lnTo>
                      <a:pt x="166" y="98"/>
                    </a:lnTo>
                    <a:lnTo>
                      <a:pt x="168" y="98"/>
                    </a:lnTo>
                    <a:lnTo>
                      <a:pt x="168" y="98"/>
                    </a:lnTo>
                    <a:lnTo>
                      <a:pt x="168" y="98"/>
                    </a:lnTo>
                    <a:lnTo>
                      <a:pt x="170" y="98"/>
                    </a:lnTo>
                    <a:lnTo>
                      <a:pt x="172" y="98"/>
                    </a:lnTo>
                    <a:lnTo>
                      <a:pt x="174" y="100"/>
                    </a:lnTo>
                    <a:lnTo>
                      <a:pt x="174" y="100"/>
                    </a:lnTo>
                    <a:lnTo>
                      <a:pt x="176" y="100"/>
                    </a:lnTo>
                    <a:lnTo>
                      <a:pt x="178" y="100"/>
                    </a:lnTo>
                    <a:lnTo>
                      <a:pt x="178" y="100"/>
                    </a:lnTo>
                    <a:lnTo>
                      <a:pt x="178" y="100"/>
                    </a:lnTo>
                    <a:lnTo>
                      <a:pt x="182" y="100"/>
                    </a:lnTo>
                    <a:lnTo>
                      <a:pt x="184" y="98"/>
                    </a:lnTo>
                    <a:lnTo>
                      <a:pt x="184" y="98"/>
                    </a:lnTo>
                    <a:lnTo>
                      <a:pt x="184" y="98"/>
                    </a:lnTo>
                    <a:lnTo>
                      <a:pt x="186" y="96"/>
                    </a:lnTo>
                    <a:lnTo>
                      <a:pt x="186" y="96"/>
                    </a:lnTo>
                    <a:lnTo>
                      <a:pt x="186" y="94"/>
                    </a:lnTo>
                    <a:lnTo>
                      <a:pt x="188" y="94"/>
                    </a:lnTo>
                    <a:lnTo>
                      <a:pt x="188" y="94"/>
                    </a:lnTo>
                    <a:lnTo>
                      <a:pt x="190" y="92"/>
                    </a:lnTo>
                    <a:lnTo>
                      <a:pt x="190" y="92"/>
                    </a:lnTo>
                    <a:lnTo>
                      <a:pt x="194" y="92"/>
                    </a:lnTo>
                    <a:lnTo>
                      <a:pt x="194" y="92"/>
                    </a:lnTo>
                    <a:lnTo>
                      <a:pt x="202" y="92"/>
                    </a:lnTo>
                    <a:lnTo>
                      <a:pt x="210" y="94"/>
                    </a:lnTo>
                    <a:lnTo>
                      <a:pt x="210" y="94"/>
                    </a:lnTo>
                    <a:lnTo>
                      <a:pt x="212" y="92"/>
                    </a:lnTo>
                    <a:lnTo>
                      <a:pt x="214" y="92"/>
                    </a:lnTo>
                    <a:lnTo>
                      <a:pt x="214" y="92"/>
                    </a:lnTo>
                    <a:lnTo>
                      <a:pt x="214" y="92"/>
                    </a:lnTo>
                    <a:lnTo>
                      <a:pt x="216" y="90"/>
                    </a:lnTo>
                    <a:lnTo>
                      <a:pt x="218" y="88"/>
                    </a:lnTo>
                    <a:lnTo>
                      <a:pt x="218" y="88"/>
                    </a:lnTo>
                    <a:lnTo>
                      <a:pt x="218" y="88"/>
                    </a:lnTo>
                    <a:lnTo>
                      <a:pt x="222" y="86"/>
                    </a:lnTo>
                    <a:lnTo>
                      <a:pt x="228" y="86"/>
                    </a:lnTo>
                    <a:lnTo>
                      <a:pt x="232" y="86"/>
                    </a:lnTo>
                    <a:lnTo>
                      <a:pt x="236" y="86"/>
                    </a:lnTo>
                    <a:lnTo>
                      <a:pt x="236" y="86"/>
                    </a:lnTo>
                    <a:lnTo>
                      <a:pt x="242" y="86"/>
                    </a:lnTo>
                    <a:lnTo>
                      <a:pt x="250" y="86"/>
                    </a:lnTo>
                    <a:lnTo>
                      <a:pt x="250" y="86"/>
                    </a:lnTo>
                    <a:lnTo>
                      <a:pt x="256" y="86"/>
                    </a:lnTo>
                    <a:lnTo>
                      <a:pt x="262" y="84"/>
                    </a:lnTo>
                    <a:lnTo>
                      <a:pt x="262" y="84"/>
                    </a:lnTo>
                    <a:lnTo>
                      <a:pt x="264" y="84"/>
                    </a:lnTo>
                    <a:lnTo>
                      <a:pt x="268" y="84"/>
                    </a:lnTo>
                    <a:lnTo>
                      <a:pt x="276" y="84"/>
                    </a:lnTo>
                    <a:lnTo>
                      <a:pt x="276" y="84"/>
                    </a:lnTo>
                    <a:lnTo>
                      <a:pt x="280" y="84"/>
                    </a:lnTo>
                    <a:lnTo>
                      <a:pt x="282" y="84"/>
                    </a:lnTo>
                    <a:lnTo>
                      <a:pt x="284" y="84"/>
                    </a:lnTo>
                    <a:lnTo>
                      <a:pt x="284" y="84"/>
                    </a:lnTo>
                    <a:lnTo>
                      <a:pt x="286" y="86"/>
                    </a:lnTo>
                    <a:lnTo>
                      <a:pt x="288" y="86"/>
                    </a:lnTo>
                    <a:lnTo>
                      <a:pt x="288" y="84"/>
                    </a:lnTo>
                    <a:lnTo>
                      <a:pt x="288" y="84"/>
                    </a:lnTo>
                    <a:lnTo>
                      <a:pt x="290" y="84"/>
                    </a:lnTo>
                    <a:lnTo>
                      <a:pt x="292" y="84"/>
                    </a:lnTo>
                    <a:lnTo>
                      <a:pt x="292" y="82"/>
                    </a:lnTo>
                    <a:lnTo>
                      <a:pt x="292" y="82"/>
                    </a:lnTo>
                    <a:lnTo>
                      <a:pt x="294" y="80"/>
                    </a:lnTo>
                    <a:lnTo>
                      <a:pt x="292" y="80"/>
                    </a:lnTo>
                    <a:lnTo>
                      <a:pt x="292" y="78"/>
                    </a:lnTo>
                    <a:lnTo>
                      <a:pt x="292" y="78"/>
                    </a:lnTo>
                    <a:lnTo>
                      <a:pt x="292" y="78"/>
                    </a:lnTo>
                    <a:lnTo>
                      <a:pt x="292" y="78"/>
                    </a:lnTo>
                    <a:lnTo>
                      <a:pt x="292" y="78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07" name="Freeform 1005"/>
              <p:cNvSpPr>
                <a:spLocks/>
              </p:cNvSpPr>
              <p:nvPr/>
            </p:nvSpPr>
            <p:spPr bwMode="auto">
              <a:xfrm>
                <a:off x="3129" y="2218"/>
                <a:ext cx="10" cy="8"/>
              </a:xfrm>
              <a:custGeom>
                <a:avLst/>
                <a:gdLst>
                  <a:gd name="T0" fmla="*/ 6 w 10"/>
                  <a:gd name="T1" fmla="*/ 0 h 8"/>
                  <a:gd name="T2" fmla="*/ 6 w 10"/>
                  <a:gd name="T3" fmla="*/ 0 h 8"/>
                  <a:gd name="T4" fmla="*/ 2 w 10"/>
                  <a:gd name="T5" fmla="*/ 0 h 8"/>
                  <a:gd name="T6" fmla="*/ 2 w 10"/>
                  <a:gd name="T7" fmla="*/ 0 h 8"/>
                  <a:gd name="T8" fmla="*/ 0 w 10"/>
                  <a:gd name="T9" fmla="*/ 0 h 8"/>
                  <a:gd name="T10" fmla="*/ 0 w 10"/>
                  <a:gd name="T11" fmla="*/ 0 h 8"/>
                  <a:gd name="T12" fmla="*/ 0 w 10"/>
                  <a:gd name="T13" fmla="*/ 2 h 8"/>
                  <a:gd name="T14" fmla="*/ 0 w 10"/>
                  <a:gd name="T15" fmla="*/ 2 h 8"/>
                  <a:gd name="T16" fmla="*/ 0 w 10"/>
                  <a:gd name="T17" fmla="*/ 4 h 8"/>
                  <a:gd name="T18" fmla="*/ 0 w 10"/>
                  <a:gd name="T19" fmla="*/ 4 h 8"/>
                  <a:gd name="T20" fmla="*/ 2 w 10"/>
                  <a:gd name="T21" fmla="*/ 6 h 8"/>
                  <a:gd name="T22" fmla="*/ 2 w 10"/>
                  <a:gd name="T23" fmla="*/ 6 h 8"/>
                  <a:gd name="T24" fmla="*/ 2 w 10"/>
                  <a:gd name="T25" fmla="*/ 6 h 8"/>
                  <a:gd name="T26" fmla="*/ 4 w 10"/>
                  <a:gd name="T27" fmla="*/ 8 h 8"/>
                  <a:gd name="T28" fmla="*/ 4 w 10"/>
                  <a:gd name="T29" fmla="*/ 8 h 8"/>
                  <a:gd name="T30" fmla="*/ 4 w 10"/>
                  <a:gd name="T31" fmla="*/ 8 h 8"/>
                  <a:gd name="T32" fmla="*/ 4 w 10"/>
                  <a:gd name="T33" fmla="*/ 8 h 8"/>
                  <a:gd name="T34" fmla="*/ 6 w 10"/>
                  <a:gd name="T35" fmla="*/ 8 h 8"/>
                  <a:gd name="T36" fmla="*/ 6 w 10"/>
                  <a:gd name="T37" fmla="*/ 8 h 8"/>
                  <a:gd name="T38" fmla="*/ 8 w 10"/>
                  <a:gd name="T39" fmla="*/ 8 h 8"/>
                  <a:gd name="T40" fmla="*/ 8 w 10"/>
                  <a:gd name="T41" fmla="*/ 6 h 8"/>
                  <a:gd name="T42" fmla="*/ 10 w 10"/>
                  <a:gd name="T43" fmla="*/ 6 h 8"/>
                  <a:gd name="T44" fmla="*/ 10 w 10"/>
                  <a:gd name="T45" fmla="*/ 4 h 8"/>
                  <a:gd name="T46" fmla="*/ 10 w 10"/>
                  <a:gd name="T47" fmla="*/ 4 h 8"/>
                  <a:gd name="T48" fmla="*/ 10 w 10"/>
                  <a:gd name="T49" fmla="*/ 4 h 8"/>
                  <a:gd name="T50" fmla="*/ 10 w 10"/>
                  <a:gd name="T51" fmla="*/ 2 h 8"/>
                  <a:gd name="T52" fmla="*/ 10 w 10"/>
                  <a:gd name="T53" fmla="*/ 0 h 8"/>
                  <a:gd name="T54" fmla="*/ 10 w 10"/>
                  <a:gd name="T55" fmla="*/ 0 h 8"/>
                  <a:gd name="T56" fmla="*/ 8 w 10"/>
                  <a:gd name="T57" fmla="*/ 0 h 8"/>
                  <a:gd name="T58" fmla="*/ 8 w 10"/>
                  <a:gd name="T59" fmla="*/ 0 h 8"/>
                  <a:gd name="T60" fmla="*/ 6 w 10"/>
                  <a:gd name="T61" fmla="*/ 0 h 8"/>
                  <a:gd name="T62" fmla="*/ 6 w 10"/>
                  <a:gd name="T63" fmla="*/ 0 h 8"/>
                  <a:gd name="T64" fmla="*/ 6 w 10"/>
                  <a:gd name="T65" fmla="*/ 0 h 8"/>
                  <a:gd name="T66" fmla="*/ 6 w 10"/>
                  <a:gd name="T67" fmla="*/ 0 h 8"/>
                  <a:gd name="T68" fmla="*/ 6 w 10"/>
                  <a:gd name="T6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" h="8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8" y="8"/>
                    </a:lnTo>
                    <a:lnTo>
                      <a:pt x="8" y="6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2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08" name="Freeform 1007"/>
              <p:cNvSpPr>
                <a:spLocks/>
              </p:cNvSpPr>
              <p:nvPr/>
            </p:nvSpPr>
            <p:spPr bwMode="auto">
              <a:xfrm>
                <a:off x="3119" y="2226"/>
                <a:ext cx="6" cy="8"/>
              </a:xfrm>
              <a:custGeom>
                <a:avLst/>
                <a:gdLst>
                  <a:gd name="T0" fmla="*/ 4 w 6"/>
                  <a:gd name="T1" fmla="*/ 0 h 8"/>
                  <a:gd name="T2" fmla="*/ 4 w 6"/>
                  <a:gd name="T3" fmla="*/ 0 h 8"/>
                  <a:gd name="T4" fmla="*/ 4 w 6"/>
                  <a:gd name="T5" fmla="*/ 2 h 8"/>
                  <a:gd name="T6" fmla="*/ 4 w 6"/>
                  <a:gd name="T7" fmla="*/ 2 h 8"/>
                  <a:gd name="T8" fmla="*/ 2 w 6"/>
                  <a:gd name="T9" fmla="*/ 2 h 8"/>
                  <a:gd name="T10" fmla="*/ 2 w 6"/>
                  <a:gd name="T11" fmla="*/ 2 h 8"/>
                  <a:gd name="T12" fmla="*/ 0 w 6"/>
                  <a:gd name="T13" fmla="*/ 2 h 8"/>
                  <a:gd name="T14" fmla="*/ 0 w 6"/>
                  <a:gd name="T15" fmla="*/ 4 h 8"/>
                  <a:gd name="T16" fmla="*/ 0 w 6"/>
                  <a:gd name="T17" fmla="*/ 4 h 8"/>
                  <a:gd name="T18" fmla="*/ 0 w 6"/>
                  <a:gd name="T19" fmla="*/ 4 h 8"/>
                  <a:gd name="T20" fmla="*/ 0 w 6"/>
                  <a:gd name="T21" fmla="*/ 6 h 8"/>
                  <a:gd name="T22" fmla="*/ 2 w 6"/>
                  <a:gd name="T23" fmla="*/ 8 h 8"/>
                  <a:gd name="T24" fmla="*/ 2 w 6"/>
                  <a:gd name="T25" fmla="*/ 8 h 8"/>
                  <a:gd name="T26" fmla="*/ 2 w 6"/>
                  <a:gd name="T27" fmla="*/ 8 h 8"/>
                  <a:gd name="T28" fmla="*/ 4 w 6"/>
                  <a:gd name="T29" fmla="*/ 8 h 8"/>
                  <a:gd name="T30" fmla="*/ 4 w 6"/>
                  <a:gd name="T31" fmla="*/ 8 h 8"/>
                  <a:gd name="T32" fmla="*/ 4 w 6"/>
                  <a:gd name="T33" fmla="*/ 6 h 8"/>
                  <a:gd name="T34" fmla="*/ 6 w 6"/>
                  <a:gd name="T35" fmla="*/ 6 h 8"/>
                  <a:gd name="T36" fmla="*/ 6 w 6"/>
                  <a:gd name="T37" fmla="*/ 6 h 8"/>
                  <a:gd name="T38" fmla="*/ 6 w 6"/>
                  <a:gd name="T39" fmla="*/ 4 h 8"/>
                  <a:gd name="T40" fmla="*/ 6 w 6"/>
                  <a:gd name="T41" fmla="*/ 4 h 8"/>
                  <a:gd name="T42" fmla="*/ 6 w 6"/>
                  <a:gd name="T43" fmla="*/ 2 h 8"/>
                  <a:gd name="T44" fmla="*/ 6 w 6"/>
                  <a:gd name="T45" fmla="*/ 2 h 8"/>
                  <a:gd name="T46" fmla="*/ 6 w 6"/>
                  <a:gd name="T47" fmla="*/ 2 h 8"/>
                  <a:gd name="T48" fmla="*/ 6 w 6"/>
                  <a:gd name="T49" fmla="*/ 2 h 8"/>
                  <a:gd name="T50" fmla="*/ 6 w 6"/>
                  <a:gd name="T51" fmla="*/ 0 h 8"/>
                  <a:gd name="T52" fmla="*/ 4 w 6"/>
                  <a:gd name="T53" fmla="*/ 0 h 8"/>
                  <a:gd name="T54" fmla="*/ 4 w 6"/>
                  <a:gd name="T55" fmla="*/ 0 h 8"/>
                  <a:gd name="T56" fmla="*/ 4 w 6"/>
                  <a:gd name="T57" fmla="*/ 0 h 8"/>
                  <a:gd name="T58" fmla="*/ 4 w 6"/>
                  <a:gd name="T59" fmla="*/ 0 h 8"/>
                  <a:gd name="T60" fmla="*/ 4 w 6"/>
                  <a:gd name="T61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6" h="8">
                    <a:moveTo>
                      <a:pt x="4" y="0"/>
                    </a:moveTo>
                    <a:lnTo>
                      <a:pt x="4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</p:grpSp>
        <p:sp>
          <p:nvSpPr>
            <p:cNvPr id="45" name="Freeform 1010"/>
            <p:cNvSpPr>
              <a:spLocks/>
            </p:cNvSpPr>
            <p:nvPr/>
          </p:nvSpPr>
          <p:spPr bwMode="auto">
            <a:xfrm>
              <a:off x="5069316" y="3379810"/>
              <a:ext cx="29222" cy="25975"/>
            </a:xfrm>
            <a:custGeom>
              <a:avLst/>
              <a:gdLst>
                <a:gd name="T0" fmla="*/ 18 w 18"/>
                <a:gd name="T1" fmla="*/ 0 h 16"/>
                <a:gd name="T2" fmla="*/ 18 w 18"/>
                <a:gd name="T3" fmla="*/ 0 h 16"/>
                <a:gd name="T4" fmla="*/ 16 w 18"/>
                <a:gd name="T5" fmla="*/ 2 h 16"/>
                <a:gd name="T6" fmla="*/ 16 w 18"/>
                <a:gd name="T7" fmla="*/ 2 h 16"/>
                <a:gd name="T8" fmla="*/ 14 w 18"/>
                <a:gd name="T9" fmla="*/ 4 h 16"/>
                <a:gd name="T10" fmla="*/ 14 w 18"/>
                <a:gd name="T11" fmla="*/ 4 h 16"/>
                <a:gd name="T12" fmla="*/ 12 w 18"/>
                <a:gd name="T13" fmla="*/ 4 h 16"/>
                <a:gd name="T14" fmla="*/ 8 w 18"/>
                <a:gd name="T15" fmla="*/ 6 h 16"/>
                <a:gd name="T16" fmla="*/ 8 w 18"/>
                <a:gd name="T17" fmla="*/ 6 h 16"/>
                <a:gd name="T18" fmla="*/ 6 w 18"/>
                <a:gd name="T19" fmla="*/ 6 h 16"/>
                <a:gd name="T20" fmla="*/ 4 w 18"/>
                <a:gd name="T21" fmla="*/ 6 h 16"/>
                <a:gd name="T22" fmla="*/ 0 w 18"/>
                <a:gd name="T23" fmla="*/ 6 h 16"/>
                <a:gd name="T24" fmla="*/ 0 w 18"/>
                <a:gd name="T25" fmla="*/ 6 h 16"/>
                <a:gd name="T26" fmla="*/ 2 w 18"/>
                <a:gd name="T27" fmla="*/ 6 h 16"/>
                <a:gd name="T28" fmla="*/ 2 w 18"/>
                <a:gd name="T29" fmla="*/ 8 h 16"/>
                <a:gd name="T30" fmla="*/ 2 w 18"/>
                <a:gd name="T31" fmla="*/ 8 h 16"/>
                <a:gd name="T32" fmla="*/ 4 w 18"/>
                <a:gd name="T33" fmla="*/ 10 h 16"/>
                <a:gd name="T34" fmla="*/ 4 w 18"/>
                <a:gd name="T35" fmla="*/ 10 h 16"/>
                <a:gd name="T36" fmla="*/ 4 w 18"/>
                <a:gd name="T37" fmla="*/ 12 h 16"/>
                <a:gd name="T38" fmla="*/ 4 w 18"/>
                <a:gd name="T39" fmla="*/ 12 h 16"/>
                <a:gd name="T40" fmla="*/ 4 w 18"/>
                <a:gd name="T41" fmla="*/ 12 h 16"/>
                <a:gd name="T42" fmla="*/ 6 w 18"/>
                <a:gd name="T43" fmla="*/ 14 h 16"/>
                <a:gd name="T44" fmla="*/ 8 w 18"/>
                <a:gd name="T45" fmla="*/ 16 h 16"/>
                <a:gd name="T46" fmla="*/ 8 w 18"/>
                <a:gd name="T47" fmla="*/ 16 h 16"/>
                <a:gd name="T48" fmla="*/ 10 w 18"/>
                <a:gd name="T49" fmla="*/ 14 h 16"/>
                <a:gd name="T50" fmla="*/ 12 w 18"/>
                <a:gd name="T51" fmla="*/ 14 h 16"/>
                <a:gd name="T52" fmla="*/ 12 w 18"/>
                <a:gd name="T53" fmla="*/ 14 h 16"/>
                <a:gd name="T54" fmla="*/ 12 w 18"/>
                <a:gd name="T55" fmla="*/ 14 h 16"/>
                <a:gd name="T56" fmla="*/ 12 w 18"/>
                <a:gd name="T57" fmla="*/ 12 h 16"/>
                <a:gd name="T58" fmla="*/ 12 w 18"/>
                <a:gd name="T59" fmla="*/ 12 h 16"/>
                <a:gd name="T60" fmla="*/ 12 w 18"/>
                <a:gd name="T61" fmla="*/ 10 h 16"/>
                <a:gd name="T62" fmla="*/ 12 w 18"/>
                <a:gd name="T63" fmla="*/ 10 h 16"/>
                <a:gd name="T64" fmla="*/ 12 w 18"/>
                <a:gd name="T65" fmla="*/ 8 h 16"/>
                <a:gd name="T66" fmla="*/ 14 w 18"/>
                <a:gd name="T67" fmla="*/ 8 h 16"/>
                <a:gd name="T68" fmla="*/ 16 w 18"/>
                <a:gd name="T69" fmla="*/ 6 h 16"/>
                <a:gd name="T70" fmla="*/ 16 w 18"/>
                <a:gd name="T71" fmla="*/ 4 h 16"/>
                <a:gd name="T72" fmla="*/ 18 w 18"/>
                <a:gd name="T73" fmla="*/ 4 h 16"/>
                <a:gd name="T74" fmla="*/ 18 w 18"/>
                <a:gd name="T75" fmla="*/ 4 h 16"/>
                <a:gd name="T76" fmla="*/ 18 w 18"/>
                <a:gd name="T77" fmla="*/ 2 h 16"/>
                <a:gd name="T78" fmla="*/ 18 w 18"/>
                <a:gd name="T79" fmla="*/ 0 h 16"/>
                <a:gd name="T80" fmla="*/ 18 w 18"/>
                <a:gd name="T81" fmla="*/ 0 h 16"/>
                <a:gd name="T82" fmla="*/ 18 w 18"/>
                <a:gd name="T83" fmla="*/ 0 h 16"/>
                <a:gd name="T84" fmla="*/ 18 w 18"/>
                <a:gd name="T85" fmla="*/ 0 h 16"/>
                <a:gd name="T86" fmla="*/ 18 w 18"/>
                <a:gd name="T87" fmla="*/ 0 h 16"/>
                <a:gd name="T88" fmla="*/ 18 w 18"/>
                <a:gd name="T8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8" h="16">
                  <a:moveTo>
                    <a:pt x="18" y="0"/>
                  </a:moveTo>
                  <a:lnTo>
                    <a:pt x="18" y="0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2" y="4"/>
                  </a:lnTo>
                  <a:lnTo>
                    <a:pt x="8" y="6"/>
                  </a:lnTo>
                  <a:lnTo>
                    <a:pt x="8" y="6"/>
                  </a:lnTo>
                  <a:lnTo>
                    <a:pt x="6" y="6"/>
                  </a:lnTo>
                  <a:lnTo>
                    <a:pt x="4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2" y="6"/>
                  </a:lnTo>
                  <a:lnTo>
                    <a:pt x="2" y="8"/>
                  </a:lnTo>
                  <a:lnTo>
                    <a:pt x="2" y="8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4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0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8"/>
                  </a:lnTo>
                  <a:lnTo>
                    <a:pt x="14" y="8"/>
                  </a:lnTo>
                  <a:lnTo>
                    <a:pt x="16" y="6"/>
                  </a:lnTo>
                  <a:lnTo>
                    <a:pt x="16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2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46" name="Freeform 1012"/>
            <p:cNvSpPr>
              <a:spLocks/>
            </p:cNvSpPr>
            <p:nvPr/>
          </p:nvSpPr>
          <p:spPr bwMode="auto">
            <a:xfrm>
              <a:off x="5260882" y="3194738"/>
              <a:ext cx="3247" cy="0"/>
            </a:xfrm>
            <a:custGeom>
              <a:avLst/>
              <a:gdLst>
                <a:gd name="T0" fmla="*/ 2 w 2"/>
                <a:gd name="T1" fmla="*/ 0 w 2"/>
                <a:gd name="T2" fmla="*/ 0 w 2"/>
                <a:gd name="T3" fmla="*/ 2 w 2"/>
                <a:gd name="T4" fmla="*/ 2 w 2"/>
                <a:gd name="T5" fmla="*/ 2 w 2"/>
                <a:gd name="T6" fmla="*/ 2 w 2"/>
                <a:gd name="T7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47" name="Freeform 1013"/>
            <p:cNvSpPr>
              <a:spLocks/>
            </p:cNvSpPr>
            <p:nvPr/>
          </p:nvSpPr>
          <p:spPr bwMode="auto">
            <a:xfrm>
              <a:off x="5306338" y="3201231"/>
              <a:ext cx="3247" cy="3247"/>
            </a:xfrm>
            <a:custGeom>
              <a:avLst/>
              <a:gdLst>
                <a:gd name="T0" fmla="*/ 0 w 2"/>
                <a:gd name="T1" fmla="*/ 2 h 2"/>
                <a:gd name="T2" fmla="*/ 0 w 2"/>
                <a:gd name="T3" fmla="*/ 2 h 2"/>
                <a:gd name="T4" fmla="*/ 2 w 2"/>
                <a:gd name="T5" fmla="*/ 0 h 2"/>
                <a:gd name="T6" fmla="*/ 0 w 2"/>
                <a:gd name="T7" fmla="*/ 2 h 2"/>
                <a:gd name="T8" fmla="*/ 0 w 2"/>
                <a:gd name="T9" fmla="*/ 2 h 2"/>
                <a:gd name="T10" fmla="*/ 0 w 2"/>
                <a:gd name="T11" fmla="*/ 2 h 2"/>
                <a:gd name="T12" fmla="*/ 0 w 2"/>
                <a:gd name="T13" fmla="*/ 2 h 2"/>
                <a:gd name="T14" fmla="*/ 0 w 2"/>
                <a:gd name="T15" fmla="*/ 2 h 2"/>
                <a:gd name="T16" fmla="*/ 0 w 2"/>
                <a:gd name="T17" fmla="*/ 2 h 2"/>
                <a:gd name="T18" fmla="*/ 0 w 2"/>
                <a:gd name="T1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48" name="Freeform 1014"/>
            <p:cNvSpPr>
              <a:spLocks/>
            </p:cNvSpPr>
            <p:nvPr/>
          </p:nvSpPr>
          <p:spPr bwMode="auto">
            <a:xfrm>
              <a:off x="5368029" y="3194738"/>
              <a:ext cx="3247" cy="0"/>
            </a:xfrm>
            <a:custGeom>
              <a:avLst/>
              <a:gdLst>
                <a:gd name="T0" fmla="*/ 2 w 2"/>
                <a:gd name="T1" fmla="*/ 0 w 2"/>
                <a:gd name="T2" fmla="*/ 0 w 2"/>
                <a:gd name="T3" fmla="*/ 0 w 2"/>
                <a:gd name="T4" fmla="*/ 2 w 2"/>
                <a:gd name="T5" fmla="*/ 2 w 2"/>
                <a:gd name="T6" fmla="*/ 2 w 2"/>
                <a:gd name="T7" fmla="*/ 2 w 2"/>
                <a:gd name="T8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49" name="Freeform 1015"/>
            <p:cNvSpPr>
              <a:spLocks/>
            </p:cNvSpPr>
            <p:nvPr/>
          </p:nvSpPr>
          <p:spPr bwMode="auto">
            <a:xfrm>
              <a:off x="5358289" y="3197984"/>
              <a:ext cx="6494" cy="0"/>
            </a:xfrm>
            <a:custGeom>
              <a:avLst/>
              <a:gdLst>
                <a:gd name="T0" fmla="*/ 2 w 4"/>
                <a:gd name="T1" fmla="*/ 2 w 4"/>
                <a:gd name="T2" fmla="*/ 4 w 4"/>
                <a:gd name="T3" fmla="*/ 0 w 4"/>
                <a:gd name="T4" fmla="*/ 0 w 4"/>
                <a:gd name="T5" fmla="*/ 2 w 4"/>
                <a:gd name="T6" fmla="*/ 2 w 4"/>
                <a:gd name="T7" fmla="*/ 2 w 4"/>
                <a:gd name="T8" fmla="*/ 2 w 4"/>
                <a:gd name="T9" fmla="*/ 2 w 4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</a:cxnLst>
              <a:rect l="0" t="0" r="r" b="b"/>
              <a:pathLst>
                <a:path w="4">
                  <a:moveTo>
                    <a:pt x="2" y="0"/>
                  </a:moveTo>
                  <a:lnTo>
                    <a:pt x="2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50" name="Freeform 1016"/>
            <p:cNvSpPr>
              <a:spLocks/>
            </p:cNvSpPr>
            <p:nvPr/>
          </p:nvSpPr>
          <p:spPr bwMode="auto">
            <a:xfrm>
              <a:off x="5364782" y="3194738"/>
              <a:ext cx="3247" cy="3247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2 h 2"/>
                <a:gd name="T4" fmla="*/ 0 w 2"/>
                <a:gd name="T5" fmla="*/ 2 h 2"/>
                <a:gd name="T6" fmla="*/ 2 w 2"/>
                <a:gd name="T7" fmla="*/ 0 h 2"/>
                <a:gd name="T8" fmla="*/ 2 w 2"/>
                <a:gd name="T9" fmla="*/ 0 h 2"/>
                <a:gd name="T10" fmla="*/ 2 w 2"/>
                <a:gd name="T11" fmla="*/ 0 h 2"/>
                <a:gd name="T12" fmla="*/ 2 w 2"/>
                <a:gd name="T13" fmla="*/ 0 h 2"/>
                <a:gd name="T14" fmla="*/ 2 w 2"/>
                <a:gd name="T1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51" name="Freeform 1017"/>
            <p:cNvSpPr>
              <a:spLocks/>
            </p:cNvSpPr>
            <p:nvPr/>
          </p:nvSpPr>
          <p:spPr bwMode="auto">
            <a:xfrm>
              <a:off x="5267376" y="3194738"/>
              <a:ext cx="3247" cy="0"/>
            </a:xfrm>
            <a:custGeom>
              <a:avLst/>
              <a:gdLst>
                <a:gd name="T0" fmla="*/ 0 w 2"/>
                <a:gd name="T1" fmla="*/ 0 w 2"/>
                <a:gd name="T2" fmla="*/ 2 w 2"/>
                <a:gd name="T3" fmla="*/ 2 w 2"/>
                <a:gd name="T4" fmla="*/ 2 w 2"/>
                <a:gd name="T5" fmla="*/ 2 w 2"/>
                <a:gd name="T6" fmla="*/ 0 w 2"/>
                <a:gd name="T7" fmla="*/ 0 w 2"/>
                <a:gd name="T8" fmla="*/ 0 w 2"/>
                <a:gd name="T9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52" name="Freeform 1018"/>
            <p:cNvSpPr>
              <a:spLocks/>
            </p:cNvSpPr>
            <p:nvPr/>
          </p:nvSpPr>
          <p:spPr bwMode="auto">
            <a:xfrm>
              <a:off x="5345301" y="3197984"/>
              <a:ext cx="3247" cy="0"/>
            </a:xfrm>
            <a:custGeom>
              <a:avLst/>
              <a:gdLst>
                <a:gd name="T0" fmla="*/ 0 w 2"/>
                <a:gd name="T1" fmla="*/ 0 w 2"/>
                <a:gd name="T2" fmla="*/ 2 w 2"/>
                <a:gd name="T3" fmla="*/ 0 w 2"/>
                <a:gd name="T4" fmla="*/ 0 w 2"/>
                <a:gd name="T5" fmla="*/ 0 w 2"/>
                <a:gd name="T6" fmla="*/ 0 w 2"/>
                <a:gd name="T7" fmla="*/ 0 w 2"/>
                <a:gd name="T8" fmla="*/ 0 w 2"/>
                <a:gd name="T9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53" name="Freeform 1019"/>
            <p:cNvSpPr>
              <a:spLocks/>
            </p:cNvSpPr>
            <p:nvPr/>
          </p:nvSpPr>
          <p:spPr bwMode="auto">
            <a:xfrm>
              <a:off x="5325820" y="3197984"/>
              <a:ext cx="9741" cy="0"/>
            </a:xfrm>
            <a:custGeom>
              <a:avLst/>
              <a:gdLst>
                <a:gd name="T0" fmla="*/ 4 w 6"/>
                <a:gd name="T1" fmla="*/ 4 w 6"/>
                <a:gd name="T2" fmla="*/ 6 w 6"/>
                <a:gd name="T3" fmla="*/ 0 w 6"/>
                <a:gd name="T4" fmla="*/ 0 w 6"/>
                <a:gd name="T5" fmla="*/ 4 w 6"/>
                <a:gd name="T6" fmla="*/ 4 w 6"/>
                <a:gd name="T7" fmla="*/ 4 w 6"/>
                <a:gd name="T8" fmla="*/ 4 w 6"/>
                <a:gd name="T9" fmla="*/ 4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</a:cxnLst>
              <a:rect l="0" t="0" r="r" b="b"/>
              <a:pathLst>
                <a:path w="6">
                  <a:moveTo>
                    <a:pt x="4" y="0"/>
                  </a:moveTo>
                  <a:lnTo>
                    <a:pt x="4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54" name="Freeform 1020"/>
            <p:cNvSpPr>
              <a:spLocks/>
            </p:cNvSpPr>
            <p:nvPr/>
          </p:nvSpPr>
          <p:spPr bwMode="auto">
            <a:xfrm>
              <a:off x="5309585" y="3201231"/>
              <a:ext cx="3247" cy="0"/>
            </a:xfrm>
            <a:custGeom>
              <a:avLst/>
              <a:gdLst>
                <a:gd name="T0" fmla="*/ 2 w 2"/>
                <a:gd name="T1" fmla="*/ 0 w 2"/>
                <a:gd name="T2" fmla="*/ 0 w 2"/>
                <a:gd name="T3" fmla="*/ 2 w 2"/>
                <a:gd name="T4" fmla="*/ 2 w 2"/>
                <a:gd name="T5" fmla="*/ 2 w 2"/>
                <a:gd name="T6" fmla="*/ 2 w 2"/>
                <a:gd name="T7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55" name="Freeform 1021"/>
            <p:cNvSpPr>
              <a:spLocks/>
            </p:cNvSpPr>
            <p:nvPr/>
          </p:nvSpPr>
          <p:spPr bwMode="auto">
            <a:xfrm>
              <a:off x="5299845" y="3204478"/>
              <a:ext cx="0" cy="3247"/>
            </a:xfrm>
            <a:custGeom>
              <a:avLst/>
              <a:gdLst>
                <a:gd name="T0" fmla="*/ 0 h 2"/>
                <a:gd name="T1" fmla="*/ 2 h 2"/>
                <a:gd name="T2" fmla="*/ 0 h 2"/>
                <a:gd name="T3" fmla="*/ 0 h 2"/>
                <a:gd name="T4" fmla="*/ 0 h 2"/>
                <a:gd name="T5" fmla="*/ 0 h 2"/>
                <a:gd name="T6" fmla="*/ 0 h 2"/>
                <a:gd name="T7" fmla="*/ 0 h 2"/>
                <a:gd name="T8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  <a:cxn ang="0">
                  <a:pos x="0" y="T8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56" name="Freeform 1022"/>
            <p:cNvSpPr>
              <a:spLocks/>
            </p:cNvSpPr>
            <p:nvPr/>
          </p:nvSpPr>
          <p:spPr bwMode="auto">
            <a:xfrm>
              <a:off x="5355042" y="3197984"/>
              <a:ext cx="3247" cy="0"/>
            </a:xfrm>
            <a:custGeom>
              <a:avLst/>
              <a:gdLst>
                <a:gd name="T0" fmla="*/ 0 w 2"/>
                <a:gd name="T1" fmla="*/ 0 w 2"/>
                <a:gd name="T2" fmla="*/ 2 w 2"/>
                <a:gd name="T3" fmla="*/ 2 w 2"/>
                <a:gd name="T4" fmla="*/ 0 w 2"/>
                <a:gd name="T5" fmla="*/ 0 w 2"/>
                <a:gd name="T6" fmla="*/ 0 w 2"/>
                <a:gd name="T7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57" name="Freeform 1023"/>
            <p:cNvSpPr>
              <a:spLocks/>
            </p:cNvSpPr>
            <p:nvPr/>
          </p:nvSpPr>
          <p:spPr bwMode="auto">
            <a:xfrm>
              <a:off x="5368029" y="3188244"/>
              <a:ext cx="3247" cy="6494"/>
            </a:xfrm>
            <a:custGeom>
              <a:avLst/>
              <a:gdLst>
                <a:gd name="T0" fmla="*/ 0 w 2"/>
                <a:gd name="T1" fmla="*/ 0 h 4"/>
                <a:gd name="T2" fmla="*/ 0 w 2"/>
                <a:gd name="T3" fmla="*/ 0 h 4"/>
                <a:gd name="T4" fmla="*/ 2 w 2"/>
                <a:gd name="T5" fmla="*/ 0 h 4"/>
                <a:gd name="T6" fmla="*/ 2 w 2"/>
                <a:gd name="T7" fmla="*/ 2 h 4"/>
                <a:gd name="T8" fmla="*/ 2 w 2"/>
                <a:gd name="T9" fmla="*/ 4 h 4"/>
                <a:gd name="T10" fmla="*/ 2 w 2"/>
                <a:gd name="T11" fmla="*/ 4 h 4"/>
                <a:gd name="T12" fmla="*/ 2 w 2"/>
                <a:gd name="T13" fmla="*/ 2 h 4"/>
                <a:gd name="T14" fmla="*/ 2 w 2"/>
                <a:gd name="T15" fmla="*/ 0 h 4"/>
                <a:gd name="T16" fmla="*/ 2 w 2"/>
                <a:gd name="T17" fmla="*/ 0 h 4"/>
                <a:gd name="T18" fmla="*/ 0 w 2"/>
                <a:gd name="T19" fmla="*/ 0 h 4"/>
                <a:gd name="T20" fmla="*/ 0 w 2"/>
                <a:gd name="T21" fmla="*/ 0 h 4"/>
                <a:gd name="T22" fmla="*/ 0 w 2"/>
                <a:gd name="T23" fmla="*/ 0 h 4"/>
                <a:gd name="T24" fmla="*/ 0 w 2"/>
                <a:gd name="T25" fmla="*/ 0 h 4"/>
                <a:gd name="T26" fmla="*/ 0 w 2"/>
                <a:gd name="T2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" h="4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58" name="Freeform 1024"/>
            <p:cNvSpPr>
              <a:spLocks/>
            </p:cNvSpPr>
            <p:nvPr/>
          </p:nvSpPr>
          <p:spPr bwMode="auto">
            <a:xfrm>
              <a:off x="5368029" y="3188244"/>
              <a:ext cx="3247" cy="6494"/>
            </a:xfrm>
            <a:custGeom>
              <a:avLst/>
              <a:gdLst>
                <a:gd name="T0" fmla="*/ 0 w 2"/>
                <a:gd name="T1" fmla="*/ 0 h 4"/>
                <a:gd name="T2" fmla="*/ 0 w 2"/>
                <a:gd name="T3" fmla="*/ 0 h 4"/>
                <a:gd name="T4" fmla="*/ 2 w 2"/>
                <a:gd name="T5" fmla="*/ 0 h 4"/>
                <a:gd name="T6" fmla="*/ 2 w 2"/>
                <a:gd name="T7" fmla="*/ 2 h 4"/>
                <a:gd name="T8" fmla="*/ 2 w 2"/>
                <a:gd name="T9" fmla="*/ 4 h 4"/>
                <a:gd name="T10" fmla="*/ 2 w 2"/>
                <a:gd name="T11" fmla="*/ 4 h 4"/>
                <a:gd name="T12" fmla="*/ 2 w 2"/>
                <a:gd name="T13" fmla="*/ 2 h 4"/>
                <a:gd name="T14" fmla="*/ 2 w 2"/>
                <a:gd name="T15" fmla="*/ 0 h 4"/>
                <a:gd name="T16" fmla="*/ 2 w 2"/>
                <a:gd name="T17" fmla="*/ 0 h 4"/>
                <a:gd name="T18" fmla="*/ 0 w 2"/>
                <a:gd name="T19" fmla="*/ 0 h 4"/>
                <a:gd name="T20" fmla="*/ 0 w 2"/>
                <a:gd name="T21" fmla="*/ 0 h 4"/>
                <a:gd name="T22" fmla="*/ 0 w 2"/>
                <a:gd name="T23" fmla="*/ 0 h 4"/>
                <a:gd name="T24" fmla="*/ 0 w 2"/>
                <a:gd name="T25" fmla="*/ 0 h 4"/>
                <a:gd name="T26" fmla="*/ 0 w 2"/>
                <a:gd name="T2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" h="4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59" name="Freeform 1025"/>
            <p:cNvSpPr>
              <a:spLocks/>
            </p:cNvSpPr>
            <p:nvPr/>
          </p:nvSpPr>
          <p:spPr bwMode="auto">
            <a:xfrm>
              <a:off x="5283610" y="3197984"/>
              <a:ext cx="6494" cy="6494"/>
            </a:xfrm>
            <a:custGeom>
              <a:avLst/>
              <a:gdLst>
                <a:gd name="T0" fmla="*/ 0 w 4"/>
                <a:gd name="T1" fmla="*/ 0 h 4"/>
                <a:gd name="T2" fmla="*/ 0 w 4"/>
                <a:gd name="T3" fmla="*/ 0 h 4"/>
                <a:gd name="T4" fmla="*/ 0 w 4"/>
                <a:gd name="T5" fmla="*/ 0 h 4"/>
                <a:gd name="T6" fmla="*/ 0 w 4"/>
                <a:gd name="T7" fmla="*/ 0 h 4"/>
                <a:gd name="T8" fmla="*/ 2 w 4"/>
                <a:gd name="T9" fmla="*/ 2 h 4"/>
                <a:gd name="T10" fmla="*/ 4 w 4"/>
                <a:gd name="T11" fmla="*/ 4 h 4"/>
                <a:gd name="T12" fmla="*/ 2 w 4"/>
                <a:gd name="T13" fmla="*/ 2 h 4"/>
                <a:gd name="T14" fmla="*/ 0 w 4"/>
                <a:gd name="T15" fmla="*/ 0 h 4"/>
                <a:gd name="T16" fmla="*/ 0 w 4"/>
                <a:gd name="T17" fmla="*/ 0 h 4"/>
                <a:gd name="T18" fmla="*/ 0 w 4"/>
                <a:gd name="T19" fmla="*/ 0 h 4"/>
                <a:gd name="T20" fmla="*/ 0 w 4"/>
                <a:gd name="T2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" h="4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  <a:lnTo>
                    <a:pt x="4" y="4"/>
                  </a:lnTo>
                  <a:lnTo>
                    <a:pt x="2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0" name="Freeform 1026"/>
            <p:cNvSpPr>
              <a:spLocks/>
            </p:cNvSpPr>
            <p:nvPr/>
          </p:nvSpPr>
          <p:spPr bwMode="auto">
            <a:xfrm>
              <a:off x="5290104" y="3204478"/>
              <a:ext cx="3247" cy="3247"/>
            </a:xfrm>
            <a:custGeom>
              <a:avLst/>
              <a:gdLst>
                <a:gd name="T0" fmla="*/ 0 w 2"/>
                <a:gd name="T1" fmla="*/ 0 h 2"/>
                <a:gd name="T2" fmla="*/ 0 w 2"/>
                <a:gd name="T3" fmla="*/ 0 h 2"/>
                <a:gd name="T4" fmla="*/ 0 w 2"/>
                <a:gd name="T5" fmla="*/ 2 h 2"/>
                <a:gd name="T6" fmla="*/ 2 w 2"/>
                <a:gd name="T7" fmla="*/ 2 h 2"/>
                <a:gd name="T8" fmla="*/ 2 w 2"/>
                <a:gd name="T9" fmla="*/ 2 h 2"/>
                <a:gd name="T10" fmla="*/ 2 w 2"/>
                <a:gd name="T11" fmla="*/ 2 h 2"/>
                <a:gd name="T12" fmla="*/ 2 w 2"/>
                <a:gd name="T13" fmla="*/ 2 h 2"/>
                <a:gd name="T14" fmla="*/ 0 w 2"/>
                <a:gd name="T15" fmla="*/ 0 h 2"/>
                <a:gd name="T16" fmla="*/ 0 w 2"/>
                <a:gd name="T17" fmla="*/ 0 h 2"/>
                <a:gd name="T18" fmla="*/ 0 w 2"/>
                <a:gd name="T19" fmla="*/ 0 h 2"/>
                <a:gd name="T20" fmla="*/ 0 w 2"/>
                <a:gd name="T2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1" name="Freeform 1027"/>
            <p:cNvSpPr>
              <a:spLocks/>
            </p:cNvSpPr>
            <p:nvPr/>
          </p:nvSpPr>
          <p:spPr bwMode="auto">
            <a:xfrm>
              <a:off x="5290104" y="3204478"/>
              <a:ext cx="3247" cy="3247"/>
            </a:xfrm>
            <a:custGeom>
              <a:avLst/>
              <a:gdLst>
                <a:gd name="T0" fmla="*/ 0 w 2"/>
                <a:gd name="T1" fmla="*/ 0 h 2"/>
                <a:gd name="T2" fmla="*/ 0 w 2"/>
                <a:gd name="T3" fmla="*/ 0 h 2"/>
                <a:gd name="T4" fmla="*/ 0 w 2"/>
                <a:gd name="T5" fmla="*/ 2 h 2"/>
                <a:gd name="T6" fmla="*/ 2 w 2"/>
                <a:gd name="T7" fmla="*/ 2 h 2"/>
                <a:gd name="T8" fmla="*/ 2 w 2"/>
                <a:gd name="T9" fmla="*/ 2 h 2"/>
                <a:gd name="T10" fmla="*/ 2 w 2"/>
                <a:gd name="T11" fmla="*/ 2 h 2"/>
                <a:gd name="T12" fmla="*/ 2 w 2"/>
                <a:gd name="T13" fmla="*/ 2 h 2"/>
                <a:gd name="T14" fmla="*/ 0 w 2"/>
                <a:gd name="T15" fmla="*/ 0 h 2"/>
                <a:gd name="T16" fmla="*/ 0 w 2"/>
                <a:gd name="T17" fmla="*/ 0 h 2"/>
                <a:gd name="T18" fmla="*/ 0 w 2"/>
                <a:gd name="T19" fmla="*/ 0 h 2"/>
                <a:gd name="T20" fmla="*/ 0 w 2"/>
                <a:gd name="T2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2" name="Freeform 1028"/>
            <p:cNvSpPr>
              <a:spLocks/>
            </p:cNvSpPr>
            <p:nvPr/>
          </p:nvSpPr>
          <p:spPr bwMode="auto">
            <a:xfrm>
              <a:off x="5247895" y="3191491"/>
              <a:ext cx="6494" cy="3247"/>
            </a:xfrm>
            <a:custGeom>
              <a:avLst/>
              <a:gdLst>
                <a:gd name="T0" fmla="*/ 0 w 4"/>
                <a:gd name="T1" fmla="*/ 2 h 2"/>
                <a:gd name="T2" fmla="*/ 4 w 4"/>
                <a:gd name="T3" fmla="*/ 0 h 2"/>
                <a:gd name="T4" fmla="*/ 4 w 4"/>
                <a:gd name="T5" fmla="*/ 0 h 2"/>
                <a:gd name="T6" fmla="*/ 2 w 4"/>
                <a:gd name="T7" fmla="*/ 0 h 2"/>
                <a:gd name="T8" fmla="*/ 0 w 4"/>
                <a:gd name="T9" fmla="*/ 2 h 2"/>
                <a:gd name="T10" fmla="*/ 0 w 4"/>
                <a:gd name="T11" fmla="*/ 2 h 2"/>
                <a:gd name="T12" fmla="*/ 0 w 4"/>
                <a:gd name="T13" fmla="*/ 2 h 2"/>
                <a:gd name="T14" fmla="*/ 0 w 4"/>
                <a:gd name="T15" fmla="*/ 2 h 2"/>
                <a:gd name="T16" fmla="*/ 0 w 4"/>
                <a:gd name="T1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2">
                  <a:moveTo>
                    <a:pt x="0" y="2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3" name="Freeform 1029"/>
            <p:cNvSpPr>
              <a:spLocks/>
            </p:cNvSpPr>
            <p:nvPr/>
          </p:nvSpPr>
          <p:spPr bwMode="auto">
            <a:xfrm>
              <a:off x="5247895" y="3191491"/>
              <a:ext cx="6494" cy="3247"/>
            </a:xfrm>
            <a:custGeom>
              <a:avLst/>
              <a:gdLst>
                <a:gd name="T0" fmla="*/ 0 w 4"/>
                <a:gd name="T1" fmla="*/ 2 h 2"/>
                <a:gd name="T2" fmla="*/ 4 w 4"/>
                <a:gd name="T3" fmla="*/ 0 h 2"/>
                <a:gd name="T4" fmla="*/ 4 w 4"/>
                <a:gd name="T5" fmla="*/ 0 h 2"/>
                <a:gd name="T6" fmla="*/ 2 w 4"/>
                <a:gd name="T7" fmla="*/ 0 h 2"/>
                <a:gd name="T8" fmla="*/ 0 w 4"/>
                <a:gd name="T9" fmla="*/ 2 h 2"/>
                <a:gd name="T10" fmla="*/ 0 w 4"/>
                <a:gd name="T11" fmla="*/ 2 h 2"/>
                <a:gd name="T12" fmla="*/ 0 w 4"/>
                <a:gd name="T13" fmla="*/ 2 h 2"/>
                <a:gd name="T14" fmla="*/ 0 w 4"/>
                <a:gd name="T15" fmla="*/ 2 h 2"/>
                <a:gd name="T16" fmla="*/ 0 w 4"/>
                <a:gd name="T1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2">
                  <a:moveTo>
                    <a:pt x="0" y="2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4" name="Freeform 1030"/>
            <p:cNvSpPr>
              <a:spLocks/>
            </p:cNvSpPr>
            <p:nvPr/>
          </p:nvSpPr>
          <p:spPr bwMode="auto">
            <a:xfrm>
              <a:off x="5335560" y="3197984"/>
              <a:ext cx="6494" cy="0"/>
            </a:xfrm>
            <a:custGeom>
              <a:avLst/>
              <a:gdLst>
                <a:gd name="T0" fmla="*/ 4 w 4"/>
                <a:gd name="T1" fmla="*/ 4 w 4"/>
                <a:gd name="T2" fmla="*/ 0 w 4"/>
                <a:gd name="T3" fmla="*/ 4 w 4"/>
                <a:gd name="T4" fmla="*/ 4 w 4"/>
                <a:gd name="T5" fmla="*/ 4 w 4"/>
                <a:gd name="T6" fmla="*/ 4 w 4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</a:cxnLst>
              <a:rect l="0" t="0" r="r" b="b"/>
              <a:pathLst>
                <a:path w="4">
                  <a:moveTo>
                    <a:pt x="4" y="0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5" name="Freeform 1031"/>
            <p:cNvSpPr>
              <a:spLocks/>
            </p:cNvSpPr>
            <p:nvPr/>
          </p:nvSpPr>
          <p:spPr bwMode="auto">
            <a:xfrm>
              <a:off x="5361535" y="3175256"/>
              <a:ext cx="3247" cy="6494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0 h 4"/>
                <a:gd name="T6" fmla="*/ 2 w 2"/>
                <a:gd name="T7" fmla="*/ 0 h 4"/>
                <a:gd name="T8" fmla="*/ 2 w 2"/>
                <a:gd name="T9" fmla="*/ 0 h 4"/>
                <a:gd name="T10" fmla="*/ 0 w 2"/>
                <a:gd name="T11" fmla="*/ 2 h 4"/>
                <a:gd name="T12" fmla="*/ 0 w 2"/>
                <a:gd name="T13" fmla="*/ 4 h 4"/>
                <a:gd name="T14" fmla="*/ 0 w 2"/>
                <a:gd name="T15" fmla="*/ 4 h 4"/>
                <a:gd name="T16" fmla="*/ 0 w 2"/>
                <a:gd name="T17" fmla="*/ 4 h 4"/>
                <a:gd name="T18" fmla="*/ 0 w 2"/>
                <a:gd name="T19" fmla="*/ 4 h 4"/>
                <a:gd name="T20" fmla="*/ 0 w 2"/>
                <a:gd name="T21" fmla="*/ 4 h 4"/>
                <a:gd name="T22" fmla="*/ 0 w 2"/>
                <a:gd name="T2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6" name="Freeform 1032"/>
            <p:cNvSpPr>
              <a:spLocks/>
            </p:cNvSpPr>
            <p:nvPr/>
          </p:nvSpPr>
          <p:spPr bwMode="auto">
            <a:xfrm>
              <a:off x="5361535" y="3175256"/>
              <a:ext cx="3247" cy="6494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2 h 4"/>
                <a:gd name="T4" fmla="*/ 2 w 2"/>
                <a:gd name="T5" fmla="*/ 0 h 4"/>
                <a:gd name="T6" fmla="*/ 2 w 2"/>
                <a:gd name="T7" fmla="*/ 0 h 4"/>
                <a:gd name="T8" fmla="*/ 2 w 2"/>
                <a:gd name="T9" fmla="*/ 0 h 4"/>
                <a:gd name="T10" fmla="*/ 0 w 2"/>
                <a:gd name="T11" fmla="*/ 2 h 4"/>
                <a:gd name="T12" fmla="*/ 0 w 2"/>
                <a:gd name="T13" fmla="*/ 4 h 4"/>
                <a:gd name="T14" fmla="*/ 0 w 2"/>
                <a:gd name="T15" fmla="*/ 4 h 4"/>
                <a:gd name="T16" fmla="*/ 0 w 2"/>
                <a:gd name="T17" fmla="*/ 4 h 4"/>
                <a:gd name="T18" fmla="*/ 0 w 2"/>
                <a:gd name="T19" fmla="*/ 4 h 4"/>
                <a:gd name="T20" fmla="*/ 0 w 2"/>
                <a:gd name="T21" fmla="*/ 4 h 4"/>
                <a:gd name="T22" fmla="*/ 0 w 2"/>
                <a:gd name="T2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7" name="Freeform 1033"/>
            <p:cNvSpPr>
              <a:spLocks/>
            </p:cNvSpPr>
            <p:nvPr/>
          </p:nvSpPr>
          <p:spPr bwMode="auto">
            <a:xfrm>
              <a:off x="5254388" y="3191491"/>
              <a:ext cx="6494" cy="3247"/>
            </a:xfrm>
            <a:custGeom>
              <a:avLst/>
              <a:gdLst>
                <a:gd name="T0" fmla="*/ 0 w 4"/>
                <a:gd name="T1" fmla="*/ 0 h 2"/>
                <a:gd name="T2" fmla="*/ 4 w 4"/>
                <a:gd name="T3" fmla="*/ 2 h 2"/>
                <a:gd name="T4" fmla="*/ 4 w 4"/>
                <a:gd name="T5" fmla="*/ 2 h 2"/>
                <a:gd name="T6" fmla="*/ 4 w 4"/>
                <a:gd name="T7" fmla="*/ 2 h 2"/>
                <a:gd name="T8" fmla="*/ 2 w 4"/>
                <a:gd name="T9" fmla="*/ 0 h 2"/>
                <a:gd name="T10" fmla="*/ 2 w 4"/>
                <a:gd name="T11" fmla="*/ 0 h 2"/>
                <a:gd name="T12" fmla="*/ 0 w 4"/>
                <a:gd name="T13" fmla="*/ 0 h 2"/>
                <a:gd name="T14" fmla="*/ 0 w 4"/>
                <a:gd name="T15" fmla="*/ 0 h 2"/>
                <a:gd name="T16" fmla="*/ 0 w 4"/>
                <a:gd name="T17" fmla="*/ 0 h 2"/>
                <a:gd name="T18" fmla="*/ 0 w 4"/>
                <a:gd name="T19" fmla="*/ 0 h 2"/>
                <a:gd name="T20" fmla="*/ 0 w 4"/>
                <a:gd name="T2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8" name="Freeform 1034"/>
            <p:cNvSpPr>
              <a:spLocks/>
            </p:cNvSpPr>
            <p:nvPr/>
          </p:nvSpPr>
          <p:spPr bwMode="auto">
            <a:xfrm>
              <a:off x="5254388" y="3191491"/>
              <a:ext cx="6494" cy="3247"/>
            </a:xfrm>
            <a:custGeom>
              <a:avLst/>
              <a:gdLst>
                <a:gd name="T0" fmla="*/ 0 w 4"/>
                <a:gd name="T1" fmla="*/ 0 h 2"/>
                <a:gd name="T2" fmla="*/ 4 w 4"/>
                <a:gd name="T3" fmla="*/ 2 h 2"/>
                <a:gd name="T4" fmla="*/ 4 w 4"/>
                <a:gd name="T5" fmla="*/ 2 h 2"/>
                <a:gd name="T6" fmla="*/ 4 w 4"/>
                <a:gd name="T7" fmla="*/ 2 h 2"/>
                <a:gd name="T8" fmla="*/ 2 w 4"/>
                <a:gd name="T9" fmla="*/ 0 h 2"/>
                <a:gd name="T10" fmla="*/ 2 w 4"/>
                <a:gd name="T11" fmla="*/ 0 h 2"/>
                <a:gd name="T12" fmla="*/ 0 w 4"/>
                <a:gd name="T13" fmla="*/ 0 h 2"/>
                <a:gd name="T14" fmla="*/ 0 w 4"/>
                <a:gd name="T15" fmla="*/ 0 h 2"/>
                <a:gd name="T16" fmla="*/ 0 w 4"/>
                <a:gd name="T17" fmla="*/ 0 h 2"/>
                <a:gd name="T18" fmla="*/ 0 w 4"/>
                <a:gd name="T19" fmla="*/ 0 h 2"/>
                <a:gd name="T20" fmla="*/ 0 w 4"/>
                <a:gd name="T2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9" name="Freeform 1035"/>
            <p:cNvSpPr>
              <a:spLocks/>
            </p:cNvSpPr>
            <p:nvPr/>
          </p:nvSpPr>
          <p:spPr bwMode="auto">
            <a:xfrm>
              <a:off x="5351795" y="3194738"/>
              <a:ext cx="3247" cy="3247"/>
            </a:xfrm>
            <a:custGeom>
              <a:avLst/>
              <a:gdLst>
                <a:gd name="T0" fmla="*/ 2 w 2"/>
                <a:gd name="T1" fmla="*/ 2 h 2"/>
                <a:gd name="T2" fmla="*/ 2 w 2"/>
                <a:gd name="T3" fmla="*/ 2 h 2"/>
                <a:gd name="T4" fmla="*/ 2 w 2"/>
                <a:gd name="T5" fmla="*/ 0 h 2"/>
                <a:gd name="T6" fmla="*/ 0 w 2"/>
                <a:gd name="T7" fmla="*/ 0 h 2"/>
                <a:gd name="T8" fmla="*/ 2 w 2"/>
                <a:gd name="T9" fmla="*/ 2 h 2"/>
                <a:gd name="T10" fmla="*/ 2 w 2"/>
                <a:gd name="T11" fmla="*/ 2 h 2"/>
                <a:gd name="T12" fmla="*/ 2 w 2"/>
                <a:gd name="T13" fmla="*/ 2 h 2"/>
                <a:gd name="T14" fmla="*/ 2 w 2"/>
                <a:gd name="T1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0" name="Freeform 1036"/>
            <p:cNvSpPr>
              <a:spLocks/>
            </p:cNvSpPr>
            <p:nvPr/>
          </p:nvSpPr>
          <p:spPr bwMode="auto">
            <a:xfrm>
              <a:off x="5351795" y="3194738"/>
              <a:ext cx="3247" cy="3247"/>
            </a:xfrm>
            <a:custGeom>
              <a:avLst/>
              <a:gdLst>
                <a:gd name="T0" fmla="*/ 2 w 2"/>
                <a:gd name="T1" fmla="*/ 2 h 2"/>
                <a:gd name="T2" fmla="*/ 2 w 2"/>
                <a:gd name="T3" fmla="*/ 2 h 2"/>
                <a:gd name="T4" fmla="*/ 2 w 2"/>
                <a:gd name="T5" fmla="*/ 0 h 2"/>
                <a:gd name="T6" fmla="*/ 0 w 2"/>
                <a:gd name="T7" fmla="*/ 0 h 2"/>
                <a:gd name="T8" fmla="*/ 2 w 2"/>
                <a:gd name="T9" fmla="*/ 2 h 2"/>
                <a:gd name="T10" fmla="*/ 2 w 2"/>
                <a:gd name="T11" fmla="*/ 2 h 2"/>
                <a:gd name="T12" fmla="*/ 2 w 2"/>
                <a:gd name="T13" fmla="*/ 2 h 2"/>
                <a:gd name="T14" fmla="*/ 2 w 2"/>
                <a:gd name="T1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1" name="Freeform 1037"/>
            <p:cNvSpPr>
              <a:spLocks/>
            </p:cNvSpPr>
            <p:nvPr/>
          </p:nvSpPr>
          <p:spPr bwMode="auto">
            <a:xfrm>
              <a:off x="5348548" y="3194738"/>
              <a:ext cx="3247" cy="3247"/>
            </a:xfrm>
            <a:custGeom>
              <a:avLst/>
              <a:gdLst>
                <a:gd name="T0" fmla="*/ 0 w 2"/>
                <a:gd name="T1" fmla="*/ 2 h 2"/>
                <a:gd name="T2" fmla="*/ 2 w 2"/>
                <a:gd name="T3" fmla="*/ 0 h 2"/>
                <a:gd name="T4" fmla="*/ 2 w 2"/>
                <a:gd name="T5" fmla="*/ 0 h 2"/>
                <a:gd name="T6" fmla="*/ 2 w 2"/>
                <a:gd name="T7" fmla="*/ 0 h 2"/>
                <a:gd name="T8" fmla="*/ 0 w 2"/>
                <a:gd name="T9" fmla="*/ 2 h 2"/>
                <a:gd name="T10" fmla="*/ 0 w 2"/>
                <a:gd name="T11" fmla="*/ 2 h 2"/>
                <a:gd name="T12" fmla="*/ 0 w 2"/>
                <a:gd name="T13" fmla="*/ 2 h 2"/>
                <a:gd name="T14" fmla="*/ 0 w 2"/>
                <a:gd name="T15" fmla="*/ 2 h 2"/>
                <a:gd name="T16" fmla="*/ 0 w 2"/>
                <a:gd name="T1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2" name="Freeform 1038"/>
            <p:cNvSpPr>
              <a:spLocks/>
            </p:cNvSpPr>
            <p:nvPr/>
          </p:nvSpPr>
          <p:spPr bwMode="auto">
            <a:xfrm>
              <a:off x="5361535" y="3184997"/>
              <a:ext cx="6494" cy="3247"/>
            </a:xfrm>
            <a:custGeom>
              <a:avLst/>
              <a:gdLst>
                <a:gd name="T0" fmla="*/ 4 w 4"/>
                <a:gd name="T1" fmla="*/ 2 h 2"/>
                <a:gd name="T2" fmla="*/ 0 w 4"/>
                <a:gd name="T3" fmla="*/ 0 h 2"/>
                <a:gd name="T4" fmla="*/ 0 w 4"/>
                <a:gd name="T5" fmla="*/ 0 h 2"/>
                <a:gd name="T6" fmla="*/ 2 w 4"/>
                <a:gd name="T7" fmla="*/ 0 h 2"/>
                <a:gd name="T8" fmla="*/ 2 w 4"/>
                <a:gd name="T9" fmla="*/ 0 h 2"/>
                <a:gd name="T10" fmla="*/ 4 w 4"/>
                <a:gd name="T11" fmla="*/ 2 h 2"/>
                <a:gd name="T12" fmla="*/ 4 w 4"/>
                <a:gd name="T13" fmla="*/ 2 h 2"/>
                <a:gd name="T14" fmla="*/ 4 w 4"/>
                <a:gd name="T15" fmla="*/ 2 h 2"/>
                <a:gd name="T16" fmla="*/ 4 w 4"/>
                <a:gd name="T17" fmla="*/ 2 h 2"/>
                <a:gd name="T18" fmla="*/ 4 w 4"/>
                <a:gd name="T1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3" name="Freeform 1039"/>
            <p:cNvSpPr>
              <a:spLocks/>
            </p:cNvSpPr>
            <p:nvPr/>
          </p:nvSpPr>
          <p:spPr bwMode="auto">
            <a:xfrm>
              <a:off x="5361535" y="3184997"/>
              <a:ext cx="6494" cy="3247"/>
            </a:xfrm>
            <a:custGeom>
              <a:avLst/>
              <a:gdLst>
                <a:gd name="T0" fmla="*/ 4 w 4"/>
                <a:gd name="T1" fmla="*/ 2 h 2"/>
                <a:gd name="T2" fmla="*/ 0 w 4"/>
                <a:gd name="T3" fmla="*/ 0 h 2"/>
                <a:gd name="T4" fmla="*/ 0 w 4"/>
                <a:gd name="T5" fmla="*/ 0 h 2"/>
                <a:gd name="T6" fmla="*/ 2 w 4"/>
                <a:gd name="T7" fmla="*/ 0 h 2"/>
                <a:gd name="T8" fmla="*/ 2 w 4"/>
                <a:gd name="T9" fmla="*/ 0 h 2"/>
                <a:gd name="T10" fmla="*/ 4 w 4"/>
                <a:gd name="T11" fmla="*/ 2 h 2"/>
                <a:gd name="T12" fmla="*/ 4 w 4"/>
                <a:gd name="T13" fmla="*/ 2 h 2"/>
                <a:gd name="T14" fmla="*/ 4 w 4"/>
                <a:gd name="T15" fmla="*/ 2 h 2"/>
                <a:gd name="T16" fmla="*/ 4 w 4"/>
                <a:gd name="T17" fmla="*/ 2 h 2"/>
                <a:gd name="T18" fmla="*/ 4 w 4"/>
                <a:gd name="T1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4" name="Freeform 1040"/>
            <p:cNvSpPr>
              <a:spLocks/>
            </p:cNvSpPr>
            <p:nvPr/>
          </p:nvSpPr>
          <p:spPr bwMode="auto">
            <a:xfrm>
              <a:off x="5296598" y="3204478"/>
              <a:ext cx="3247" cy="3247"/>
            </a:xfrm>
            <a:custGeom>
              <a:avLst/>
              <a:gdLst>
                <a:gd name="T0" fmla="*/ 0 w 2"/>
                <a:gd name="T1" fmla="*/ 2 h 2"/>
                <a:gd name="T2" fmla="*/ 2 w 2"/>
                <a:gd name="T3" fmla="*/ 0 h 2"/>
                <a:gd name="T4" fmla="*/ 2 w 2"/>
                <a:gd name="T5" fmla="*/ 0 h 2"/>
                <a:gd name="T6" fmla="*/ 0 w 2"/>
                <a:gd name="T7" fmla="*/ 2 h 2"/>
                <a:gd name="T8" fmla="*/ 0 w 2"/>
                <a:gd name="T9" fmla="*/ 2 h 2"/>
                <a:gd name="T10" fmla="*/ 0 w 2"/>
                <a:gd name="T11" fmla="*/ 2 h 2"/>
                <a:gd name="T12" fmla="*/ 0 w 2"/>
                <a:gd name="T13" fmla="*/ 2 h 2"/>
                <a:gd name="T14" fmla="*/ 0 w 2"/>
                <a:gd name="T1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5" name="Freeform 1041"/>
            <p:cNvSpPr>
              <a:spLocks/>
            </p:cNvSpPr>
            <p:nvPr/>
          </p:nvSpPr>
          <p:spPr bwMode="auto">
            <a:xfrm>
              <a:off x="5361535" y="3181750"/>
              <a:ext cx="0" cy="3247"/>
            </a:xfrm>
            <a:custGeom>
              <a:avLst/>
              <a:gdLst>
                <a:gd name="T0" fmla="*/ 2 h 2"/>
                <a:gd name="T1" fmla="*/ 0 h 2"/>
                <a:gd name="T2" fmla="*/ 0 h 2"/>
                <a:gd name="T3" fmla="*/ 2 h 2"/>
                <a:gd name="T4" fmla="*/ 2 h 2"/>
                <a:gd name="T5" fmla="*/ 2 h 2"/>
                <a:gd name="T6" fmla="*/ 2 h 2"/>
                <a:gd name="T7" fmla="*/ 2 h 2"/>
                <a:gd name="T8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  <a:cxn ang="0">
                  <a:pos x="0" y="T8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6" name="Freeform 1042"/>
            <p:cNvSpPr>
              <a:spLocks/>
            </p:cNvSpPr>
            <p:nvPr/>
          </p:nvSpPr>
          <p:spPr bwMode="auto">
            <a:xfrm>
              <a:off x="5293351" y="3207725"/>
              <a:ext cx="3247" cy="0"/>
            </a:xfrm>
            <a:custGeom>
              <a:avLst/>
              <a:gdLst>
                <a:gd name="T0" fmla="*/ 0 w 2"/>
                <a:gd name="T1" fmla="*/ 2 w 2"/>
                <a:gd name="T2" fmla="*/ 2 w 2"/>
                <a:gd name="T3" fmla="*/ 2 w 2"/>
                <a:gd name="T4" fmla="*/ 2 w 2"/>
                <a:gd name="T5" fmla="*/ 0 w 2"/>
                <a:gd name="T6" fmla="*/ 0 w 2"/>
                <a:gd name="T7" fmla="*/ 0 w 2"/>
                <a:gd name="T8" fmla="*/ 0 w 2"/>
                <a:gd name="T9" fmla="*/ 0 w 2"/>
                <a:gd name="T10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7" name="Freeform 1043"/>
            <p:cNvSpPr>
              <a:spLocks/>
            </p:cNvSpPr>
            <p:nvPr/>
          </p:nvSpPr>
          <p:spPr bwMode="auto">
            <a:xfrm>
              <a:off x="5270623" y="3194738"/>
              <a:ext cx="12988" cy="0"/>
            </a:xfrm>
            <a:custGeom>
              <a:avLst/>
              <a:gdLst>
                <a:gd name="T0" fmla="*/ 0 w 8"/>
                <a:gd name="T1" fmla="*/ 4 w 8"/>
                <a:gd name="T2" fmla="*/ 8 w 8"/>
                <a:gd name="T3" fmla="*/ 8 w 8"/>
                <a:gd name="T4" fmla="*/ 4 w 8"/>
                <a:gd name="T5" fmla="*/ 0 w 8"/>
                <a:gd name="T6" fmla="*/ 0 w 8"/>
                <a:gd name="T7" fmla="*/ 0 w 8"/>
                <a:gd name="T8" fmla="*/ 0 w 8"/>
                <a:gd name="T9" fmla="*/ 0 w 8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</a:cxnLst>
              <a:rect l="0" t="0" r="r" b="b"/>
              <a:pathLst>
                <a:path w="8">
                  <a:moveTo>
                    <a:pt x="0" y="0"/>
                  </a:move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8" name="Freeform 1044"/>
            <p:cNvSpPr>
              <a:spLocks/>
            </p:cNvSpPr>
            <p:nvPr/>
          </p:nvSpPr>
          <p:spPr bwMode="auto">
            <a:xfrm>
              <a:off x="5312832" y="3197984"/>
              <a:ext cx="6494" cy="3247"/>
            </a:xfrm>
            <a:custGeom>
              <a:avLst/>
              <a:gdLst>
                <a:gd name="T0" fmla="*/ 0 w 4"/>
                <a:gd name="T1" fmla="*/ 2 h 2"/>
                <a:gd name="T2" fmla="*/ 4 w 4"/>
                <a:gd name="T3" fmla="*/ 0 h 2"/>
                <a:gd name="T4" fmla="*/ 4 w 4"/>
                <a:gd name="T5" fmla="*/ 0 h 2"/>
                <a:gd name="T6" fmla="*/ 2 w 4"/>
                <a:gd name="T7" fmla="*/ 0 h 2"/>
                <a:gd name="T8" fmla="*/ 0 w 4"/>
                <a:gd name="T9" fmla="*/ 2 h 2"/>
                <a:gd name="T10" fmla="*/ 0 w 4"/>
                <a:gd name="T11" fmla="*/ 2 h 2"/>
                <a:gd name="T12" fmla="*/ 0 w 4"/>
                <a:gd name="T13" fmla="*/ 2 h 2"/>
                <a:gd name="T14" fmla="*/ 0 w 4"/>
                <a:gd name="T15" fmla="*/ 2 h 2"/>
                <a:gd name="T16" fmla="*/ 0 w 4"/>
                <a:gd name="T1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2">
                  <a:moveTo>
                    <a:pt x="0" y="2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9" name="Freeform 1045"/>
            <p:cNvSpPr>
              <a:spLocks/>
            </p:cNvSpPr>
            <p:nvPr/>
          </p:nvSpPr>
          <p:spPr bwMode="auto">
            <a:xfrm>
              <a:off x="5312832" y="3197984"/>
              <a:ext cx="6494" cy="3247"/>
            </a:xfrm>
            <a:custGeom>
              <a:avLst/>
              <a:gdLst>
                <a:gd name="T0" fmla="*/ 0 w 4"/>
                <a:gd name="T1" fmla="*/ 2 h 2"/>
                <a:gd name="T2" fmla="*/ 4 w 4"/>
                <a:gd name="T3" fmla="*/ 0 h 2"/>
                <a:gd name="T4" fmla="*/ 4 w 4"/>
                <a:gd name="T5" fmla="*/ 0 h 2"/>
                <a:gd name="T6" fmla="*/ 2 w 4"/>
                <a:gd name="T7" fmla="*/ 0 h 2"/>
                <a:gd name="T8" fmla="*/ 0 w 4"/>
                <a:gd name="T9" fmla="*/ 2 h 2"/>
                <a:gd name="T10" fmla="*/ 0 w 4"/>
                <a:gd name="T11" fmla="*/ 2 h 2"/>
                <a:gd name="T12" fmla="*/ 0 w 4"/>
                <a:gd name="T13" fmla="*/ 2 h 2"/>
                <a:gd name="T14" fmla="*/ 0 w 4"/>
                <a:gd name="T15" fmla="*/ 2 h 2"/>
                <a:gd name="T16" fmla="*/ 0 w 4"/>
                <a:gd name="T1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2">
                  <a:moveTo>
                    <a:pt x="0" y="2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80" name="Freeform 1046"/>
            <p:cNvSpPr>
              <a:spLocks/>
            </p:cNvSpPr>
            <p:nvPr/>
          </p:nvSpPr>
          <p:spPr bwMode="auto">
            <a:xfrm>
              <a:off x="5299845" y="3204478"/>
              <a:ext cx="6494" cy="0"/>
            </a:xfrm>
            <a:custGeom>
              <a:avLst/>
              <a:gdLst>
                <a:gd name="T0" fmla="*/ 4 w 4"/>
                <a:gd name="T1" fmla="*/ 4 w 4"/>
                <a:gd name="T2" fmla="*/ 4 w 4"/>
                <a:gd name="T3" fmla="*/ 2 w 4"/>
                <a:gd name="T4" fmla="*/ 0 w 4"/>
                <a:gd name="T5" fmla="*/ 4 w 4"/>
                <a:gd name="T6" fmla="*/ 4 w 4"/>
                <a:gd name="T7" fmla="*/ 4 w 4"/>
                <a:gd name="T8" fmla="*/ 4 w 4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</a:cxnLst>
              <a:rect l="0" t="0" r="r" b="b"/>
              <a:pathLst>
                <a:path w="4"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81" name="Freeform 1047"/>
            <p:cNvSpPr>
              <a:spLocks/>
            </p:cNvSpPr>
            <p:nvPr/>
          </p:nvSpPr>
          <p:spPr bwMode="auto">
            <a:xfrm>
              <a:off x="5283610" y="3194738"/>
              <a:ext cx="0" cy="3247"/>
            </a:xfrm>
            <a:custGeom>
              <a:avLst/>
              <a:gdLst>
                <a:gd name="T0" fmla="*/ 2 h 2"/>
                <a:gd name="T1" fmla="*/ 2 h 2"/>
                <a:gd name="T2" fmla="*/ 2 h 2"/>
                <a:gd name="T3" fmla="*/ 0 h 2"/>
                <a:gd name="T4" fmla="*/ 2 h 2"/>
                <a:gd name="T5" fmla="*/ 2 h 2"/>
                <a:gd name="T6" fmla="*/ 2 h 2"/>
                <a:gd name="T7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82" name="Freeform 1048"/>
            <p:cNvSpPr>
              <a:spLocks/>
            </p:cNvSpPr>
            <p:nvPr/>
          </p:nvSpPr>
          <p:spPr bwMode="auto">
            <a:xfrm>
              <a:off x="5202438" y="3142787"/>
              <a:ext cx="168838" cy="64938"/>
            </a:xfrm>
            <a:custGeom>
              <a:avLst/>
              <a:gdLst>
                <a:gd name="T0" fmla="*/ 102 w 104"/>
                <a:gd name="T1" fmla="*/ 28 h 40"/>
                <a:gd name="T2" fmla="*/ 100 w 104"/>
                <a:gd name="T3" fmla="*/ 26 h 40"/>
                <a:gd name="T4" fmla="*/ 98 w 104"/>
                <a:gd name="T5" fmla="*/ 26 h 40"/>
                <a:gd name="T6" fmla="*/ 98 w 104"/>
                <a:gd name="T7" fmla="*/ 24 h 40"/>
                <a:gd name="T8" fmla="*/ 98 w 104"/>
                <a:gd name="T9" fmla="*/ 24 h 40"/>
                <a:gd name="T10" fmla="*/ 86 w 104"/>
                <a:gd name="T11" fmla="*/ 20 h 40"/>
                <a:gd name="T12" fmla="*/ 52 w 104"/>
                <a:gd name="T13" fmla="*/ 12 h 40"/>
                <a:gd name="T14" fmla="*/ 32 w 104"/>
                <a:gd name="T15" fmla="*/ 6 h 40"/>
                <a:gd name="T16" fmla="*/ 4 w 104"/>
                <a:gd name="T17" fmla="*/ 0 h 40"/>
                <a:gd name="T18" fmla="*/ 0 w 104"/>
                <a:gd name="T19" fmla="*/ 2 h 40"/>
                <a:gd name="T20" fmla="*/ 10 w 104"/>
                <a:gd name="T21" fmla="*/ 4 h 40"/>
                <a:gd name="T22" fmla="*/ 12 w 104"/>
                <a:gd name="T23" fmla="*/ 6 h 40"/>
                <a:gd name="T24" fmla="*/ 14 w 104"/>
                <a:gd name="T25" fmla="*/ 10 h 40"/>
                <a:gd name="T26" fmla="*/ 14 w 104"/>
                <a:gd name="T27" fmla="*/ 14 h 40"/>
                <a:gd name="T28" fmla="*/ 18 w 104"/>
                <a:gd name="T29" fmla="*/ 20 h 40"/>
                <a:gd name="T30" fmla="*/ 22 w 104"/>
                <a:gd name="T31" fmla="*/ 24 h 40"/>
                <a:gd name="T32" fmla="*/ 24 w 104"/>
                <a:gd name="T33" fmla="*/ 28 h 40"/>
                <a:gd name="T34" fmla="*/ 28 w 104"/>
                <a:gd name="T35" fmla="*/ 32 h 40"/>
                <a:gd name="T36" fmla="*/ 28 w 104"/>
                <a:gd name="T37" fmla="*/ 32 h 40"/>
                <a:gd name="T38" fmla="*/ 32 w 104"/>
                <a:gd name="T39" fmla="*/ 30 h 40"/>
                <a:gd name="T40" fmla="*/ 34 w 104"/>
                <a:gd name="T41" fmla="*/ 30 h 40"/>
                <a:gd name="T42" fmla="*/ 38 w 104"/>
                <a:gd name="T43" fmla="*/ 32 h 40"/>
                <a:gd name="T44" fmla="*/ 42 w 104"/>
                <a:gd name="T45" fmla="*/ 32 h 40"/>
                <a:gd name="T46" fmla="*/ 50 w 104"/>
                <a:gd name="T47" fmla="*/ 32 h 40"/>
                <a:gd name="T48" fmla="*/ 52 w 104"/>
                <a:gd name="T49" fmla="*/ 36 h 40"/>
                <a:gd name="T50" fmla="*/ 56 w 104"/>
                <a:gd name="T51" fmla="*/ 40 h 40"/>
                <a:gd name="T52" fmla="*/ 58 w 104"/>
                <a:gd name="T53" fmla="*/ 40 h 40"/>
                <a:gd name="T54" fmla="*/ 58 w 104"/>
                <a:gd name="T55" fmla="*/ 40 h 40"/>
                <a:gd name="T56" fmla="*/ 60 w 104"/>
                <a:gd name="T57" fmla="*/ 38 h 40"/>
                <a:gd name="T58" fmla="*/ 60 w 104"/>
                <a:gd name="T59" fmla="*/ 38 h 40"/>
                <a:gd name="T60" fmla="*/ 60 w 104"/>
                <a:gd name="T61" fmla="*/ 38 h 40"/>
                <a:gd name="T62" fmla="*/ 64 w 104"/>
                <a:gd name="T63" fmla="*/ 38 h 40"/>
                <a:gd name="T64" fmla="*/ 68 w 104"/>
                <a:gd name="T65" fmla="*/ 36 h 40"/>
                <a:gd name="T66" fmla="*/ 72 w 104"/>
                <a:gd name="T67" fmla="*/ 34 h 40"/>
                <a:gd name="T68" fmla="*/ 74 w 104"/>
                <a:gd name="T69" fmla="*/ 34 h 40"/>
                <a:gd name="T70" fmla="*/ 82 w 104"/>
                <a:gd name="T71" fmla="*/ 34 h 40"/>
                <a:gd name="T72" fmla="*/ 82 w 104"/>
                <a:gd name="T73" fmla="*/ 34 h 40"/>
                <a:gd name="T74" fmla="*/ 86 w 104"/>
                <a:gd name="T75" fmla="*/ 34 h 40"/>
                <a:gd name="T76" fmla="*/ 86 w 104"/>
                <a:gd name="T77" fmla="*/ 34 h 40"/>
                <a:gd name="T78" fmla="*/ 90 w 104"/>
                <a:gd name="T79" fmla="*/ 34 h 40"/>
                <a:gd name="T80" fmla="*/ 92 w 104"/>
                <a:gd name="T81" fmla="*/ 32 h 40"/>
                <a:gd name="T82" fmla="*/ 96 w 104"/>
                <a:gd name="T83" fmla="*/ 34 h 40"/>
                <a:gd name="T84" fmla="*/ 100 w 104"/>
                <a:gd name="T85" fmla="*/ 34 h 40"/>
                <a:gd name="T86" fmla="*/ 104 w 104"/>
                <a:gd name="T87" fmla="*/ 32 h 40"/>
                <a:gd name="T88" fmla="*/ 104 w 104"/>
                <a:gd name="T89" fmla="*/ 2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04" h="40">
                  <a:moveTo>
                    <a:pt x="104" y="28"/>
                  </a:moveTo>
                  <a:lnTo>
                    <a:pt x="102" y="28"/>
                  </a:lnTo>
                  <a:lnTo>
                    <a:pt x="102" y="28"/>
                  </a:lnTo>
                  <a:lnTo>
                    <a:pt x="102" y="28"/>
                  </a:lnTo>
                  <a:lnTo>
                    <a:pt x="100" y="26"/>
                  </a:lnTo>
                  <a:lnTo>
                    <a:pt x="100" y="26"/>
                  </a:lnTo>
                  <a:lnTo>
                    <a:pt x="98" y="26"/>
                  </a:lnTo>
                  <a:lnTo>
                    <a:pt x="98" y="26"/>
                  </a:lnTo>
                  <a:lnTo>
                    <a:pt x="98" y="26"/>
                  </a:lnTo>
                  <a:lnTo>
                    <a:pt x="98" y="26"/>
                  </a:lnTo>
                  <a:lnTo>
                    <a:pt x="98" y="24"/>
                  </a:lnTo>
                  <a:lnTo>
                    <a:pt x="98" y="24"/>
                  </a:lnTo>
                  <a:lnTo>
                    <a:pt x="98" y="24"/>
                  </a:lnTo>
                  <a:lnTo>
                    <a:pt x="98" y="24"/>
                  </a:lnTo>
                  <a:lnTo>
                    <a:pt x="98" y="24"/>
                  </a:lnTo>
                  <a:lnTo>
                    <a:pt x="98" y="22"/>
                  </a:lnTo>
                  <a:lnTo>
                    <a:pt x="100" y="20"/>
                  </a:lnTo>
                  <a:lnTo>
                    <a:pt x="86" y="20"/>
                  </a:lnTo>
                  <a:lnTo>
                    <a:pt x="74" y="16"/>
                  </a:lnTo>
                  <a:lnTo>
                    <a:pt x="60" y="12"/>
                  </a:lnTo>
                  <a:lnTo>
                    <a:pt x="52" y="12"/>
                  </a:lnTo>
                  <a:lnTo>
                    <a:pt x="48" y="12"/>
                  </a:lnTo>
                  <a:lnTo>
                    <a:pt x="40" y="8"/>
                  </a:lnTo>
                  <a:lnTo>
                    <a:pt x="32" y="6"/>
                  </a:lnTo>
                  <a:lnTo>
                    <a:pt x="20" y="4"/>
                  </a:lnTo>
                  <a:lnTo>
                    <a:pt x="8" y="0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6" y="4"/>
                  </a:lnTo>
                  <a:lnTo>
                    <a:pt x="10" y="4"/>
                  </a:lnTo>
                  <a:lnTo>
                    <a:pt x="10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8"/>
                  </a:lnTo>
                  <a:lnTo>
                    <a:pt x="14" y="8"/>
                  </a:lnTo>
                  <a:lnTo>
                    <a:pt x="14" y="10"/>
                  </a:lnTo>
                  <a:lnTo>
                    <a:pt x="14" y="12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6" y="16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22" y="24"/>
                  </a:lnTo>
                  <a:lnTo>
                    <a:pt x="22" y="24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8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30" y="30"/>
                  </a:lnTo>
                  <a:lnTo>
                    <a:pt x="32" y="30"/>
                  </a:lnTo>
                  <a:lnTo>
                    <a:pt x="32" y="30"/>
                  </a:lnTo>
                  <a:lnTo>
                    <a:pt x="32" y="30"/>
                  </a:lnTo>
                  <a:lnTo>
                    <a:pt x="32" y="30"/>
                  </a:lnTo>
                  <a:lnTo>
                    <a:pt x="34" y="30"/>
                  </a:lnTo>
                  <a:lnTo>
                    <a:pt x="34" y="30"/>
                  </a:lnTo>
                  <a:lnTo>
                    <a:pt x="36" y="32"/>
                  </a:lnTo>
                  <a:lnTo>
                    <a:pt x="38" y="32"/>
                  </a:lnTo>
                  <a:lnTo>
                    <a:pt x="40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6" y="32"/>
                  </a:lnTo>
                  <a:lnTo>
                    <a:pt x="50" y="32"/>
                  </a:lnTo>
                  <a:lnTo>
                    <a:pt x="50" y="32"/>
                  </a:lnTo>
                  <a:lnTo>
                    <a:pt x="50" y="34"/>
                  </a:lnTo>
                  <a:lnTo>
                    <a:pt x="52" y="36"/>
                  </a:lnTo>
                  <a:lnTo>
                    <a:pt x="54" y="38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8" y="36"/>
                  </a:lnTo>
                  <a:lnTo>
                    <a:pt x="68" y="36"/>
                  </a:lnTo>
                  <a:lnTo>
                    <a:pt x="70" y="34"/>
                  </a:lnTo>
                  <a:lnTo>
                    <a:pt x="72" y="34"/>
                  </a:lnTo>
                  <a:lnTo>
                    <a:pt x="72" y="34"/>
                  </a:lnTo>
                  <a:lnTo>
                    <a:pt x="72" y="34"/>
                  </a:lnTo>
                  <a:lnTo>
                    <a:pt x="74" y="34"/>
                  </a:lnTo>
                  <a:lnTo>
                    <a:pt x="74" y="34"/>
                  </a:lnTo>
                  <a:lnTo>
                    <a:pt x="76" y="34"/>
                  </a:lnTo>
                  <a:lnTo>
                    <a:pt x="82" y="34"/>
                  </a:lnTo>
                  <a:lnTo>
                    <a:pt x="82" y="34"/>
                  </a:lnTo>
                  <a:lnTo>
                    <a:pt x="82" y="34"/>
                  </a:lnTo>
                  <a:lnTo>
                    <a:pt x="82" y="34"/>
                  </a:lnTo>
                  <a:lnTo>
                    <a:pt x="86" y="34"/>
                  </a:lnTo>
                  <a:lnTo>
                    <a:pt x="86" y="34"/>
                  </a:lnTo>
                  <a:lnTo>
                    <a:pt x="86" y="34"/>
                  </a:lnTo>
                  <a:lnTo>
                    <a:pt x="86" y="34"/>
                  </a:lnTo>
                  <a:lnTo>
                    <a:pt x="86" y="34"/>
                  </a:lnTo>
                  <a:lnTo>
                    <a:pt x="86" y="34"/>
                  </a:lnTo>
                  <a:lnTo>
                    <a:pt x="88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4" y="32"/>
                  </a:lnTo>
                  <a:lnTo>
                    <a:pt x="94" y="34"/>
                  </a:lnTo>
                  <a:lnTo>
                    <a:pt x="96" y="34"/>
                  </a:lnTo>
                  <a:lnTo>
                    <a:pt x="96" y="34"/>
                  </a:lnTo>
                  <a:lnTo>
                    <a:pt x="100" y="34"/>
                  </a:lnTo>
                  <a:lnTo>
                    <a:pt x="100" y="34"/>
                  </a:lnTo>
                  <a:lnTo>
                    <a:pt x="102" y="32"/>
                  </a:lnTo>
                  <a:lnTo>
                    <a:pt x="102" y="32"/>
                  </a:lnTo>
                  <a:lnTo>
                    <a:pt x="104" y="32"/>
                  </a:lnTo>
                  <a:lnTo>
                    <a:pt x="104" y="30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83" name="Freeform 1050"/>
            <p:cNvSpPr>
              <a:spLocks/>
            </p:cNvSpPr>
            <p:nvPr/>
          </p:nvSpPr>
          <p:spPr bwMode="auto">
            <a:xfrm>
              <a:off x="4689431" y="2766149"/>
              <a:ext cx="74678" cy="38963"/>
            </a:xfrm>
            <a:custGeom>
              <a:avLst/>
              <a:gdLst>
                <a:gd name="T0" fmla="*/ 44 w 46"/>
                <a:gd name="T1" fmla="*/ 16 h 24"/>
                <a:gd name="T2" fmla="*/ 42 w 46"/>
                <a:gd name="T3" fmla="*/ 14 h 24"/>
                <a:gd name="T4" fmla="*/ 42 w 46"/>
                <a:gd name="T5" fmla="*/ 12 h 24"/>
                <a:gd name="T6" fmla="*/ 40 w 46"/>
                <a:gd name="T7" fmla="*/ 8 h 24"/>
                <a:gd name="T8" fmla="*/ 40 w 46"/>
                <a:gd name="T9" fmla="*/ 6 h 24"/>
                <a:gd name="T10" fmla="*/ 38 w 46"/>
                <a:gd name="T11" fmla="*/ 6 h 24"/>
                <a:gd name="T12" fmla="*/ 34 w 46"/>
                <a:gd name="T13" fmla="*/ 6 h 24"/>
                <a:gd name="T14" fmla="*/ 32 w 46"/>
                <a:gd name="T15" fmla="*/ 6 h 24"/>
                <a:gd name="T16" fmla="*/ 30 w 46"/>
                <a:gd name="T17" fmla="*/ 4 h 24"/>
                <a:gd name="T18" fmla="*/ 28 w 46"/>
                <a:gd name="T19" fmla="*/ 2 h 24"/>
                <a:gd name="T20" fmla="*/ 26 w 46"/>
                <a:gd name="T21" fmla="*/ 2 h 24"/>
                <a:gd name="T22" fmla="*/ 24 w 46"/>
                <a:gd name="T23" fmla="*/ 2 h 24"/>
                <a:gd name="T24" fmla="*/ 20 w 46"/>
                <a:gd name="T25" fmla="*/ 2 h 24"/>
                <a:gd name="T26" fmla="*/ 18 w 46"/>
                <a:gd name="T27" fmla="*/ 4 h 24"/>
                <a:gd name="T28" fmla="*/ 18 w 46"/>
                <a:gd name="T29" fmla="*/ 6 h 24"/>
                <a:gd name="T30" fmla="*/ 16 w 46"/>
                <a:gd name="T31" fmla="*/ 6 h 24"/>
                <a:gd name="T32" fmla="*/ 14 w 46"/>
                <a:gd name="T33" fmla="*/ 6 h 24"/>
                <a:gd name="T34" fmla="*/ 12 w 46"/>
                <a:gd name="T35" fmla="*/ 6 h 24"/>
                <a:gd name="T36" fmla="*/ 12 w 46"/>
                <a:gd name="T37" fmla="*/ 4 h 24"/>
                <a:gd name="T38" fmla="*/ 14 w 46"/>
                <a:gd name="T39" fmla="*/ 2 h 24"/>
                <a:gd name="T40" fmla="*/ 12 w 46"/>
                <a:gd name="T41" fmla="*/ 2 h 24"/>
                <a:gd name="T42" fmla="*/ 12 w 46"/>
                <a:gd name="T43" fmla="*/ 0 h 24"/>
                <a:gd name="T44" fmla="*/ 10 w 46"/>
                <a:gd name="T45" fmla="*/ 2 h 24"/>
                <a:gd name="T46" fmla="*/ 8 w 46"/>
                <a:gd name="T47" fmla="*/ 2 h 24"/>
                <a:gd name="T48" fmla="*/ 6 w 46"/>
                <a:gd name="T49" fmla="*/ 6 h 24"/>
                <a:gd name="T50" fmla="*/ 4 w 46"/>
                <a:gd name="T51" fmla="*/ 10 h 24"/>
                <a:gd name="T52" fmla="*/ 6 w 46"/>
                <a:gd name="T53" fmla="*/ 12 h 24"/>
                <a:gd name="T54" fmla="*/ 6 w 46"/>
                <a:gd name="T55" fmla="*/ 14 h 24"/>
                <a:gd name="T56" fmla="*/ 6 w 46"/>
                <a:gd name="T57" fmla="*/ 16 h 24"/>
                <a:gd name="T58" fmla="*/ 4 w 46"/>
                <a:gd name="T59" fmla="*/ 18 h 24"/>
                <a:gd name="T60" fmla="*/ 0 w 46"/>
                <a:gd name="T61" fmla="*/ 20 h 24"/>
                <a:gd name="T62" fmla="*/ 0 w 46"/>
                <a:gd name="T63" fmla="*/ 22 h 24"/>
                <a:gd name="T64" fmla="*/ 4 w 46"/>
                <a:gd name="T65" fmla="*/ 24 h 24"/>
                <a:gd name="T66" fmla="*/ 12 w 46"/>
                <a:gd name="T67" fmla="*/ 22 h 24"/>
                <a:gd name="T68" fmla="*/ 18 w 46"/>
                <a:gd name="T69" fmla="*/ 22 h 24"/>
                <a:gd name="T70" fmla="*/ 26 w 46"/>
                <a:gd name="T71" fmla="*/ 22 h 24"/>
                <a:gd name="T72" fmla="*/ 36 w 46"/>
                <a:gd name="T73" fmla="*/ 20 h 24"/>
                <a:gd name="T74" fmla="*/ 38 w 46"/>
                <a:gd name="T75" fmla="*/ 20 h 24"/>
                <a:gd name="T76" fmla="*/ 44 w 46"/>
                <a:gd name="T77" fmla="*/ 18 h 24"/>
                <a:gd name="T78" fmla="*/ 46 w 46"/>
                <a:gd name="T79" fmla="*/ 18 h 24"/>
                <a:gd name="T80" fmla="*/ 44 w 46"/>
                <a:gd name="T81" fmla="*/ 16 h 24"/>
                <a:gd name="T82" fmla="*/ 44 w 46"/>
                <a:gd name="T83" fmla="*/ 1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6" h="24">
                  <a:moveTo>
                    <a:pt x="44" y="16"/>
                  </a:moveTo>
                  <a:lnTo>
                    <a:pt x="44" y="16"/>
                  </a:lnTo>
                  <a:lnTo>
                    <a:pt x="44" y="16"/>
                  </a:lnTo>
                  <a:lnTo>
                    <a:pt x="42" y="14"/>
                  </a:lnTo>
                  <a:lnTo>
                    <a:pt x="42" y="14"/>
                  </a:lnTo>
                  <a:lnTo>
                    <a:pt x="42" y="12"/>
                  </a:lnTo>
                  <a:lnTo>
                    <a:pt x="42" y="10"/>
                  </a:lnTo>
                  <a:lnTo>
                    <a:pt x="40" y="8"/>
                  </a:lnTo>
                  <a:lnTo>
                    <a:pt x="40" y="6"/>
                  </a:lnTo>
                  <a:lnTo>
                    <a:pt x="40" y="6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28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4" y="2"/>
                  </a:lnTo>
                  <a:lnTo>
                    <a:pt x="22" y="2"/>
                  </a:lnTo>
                  <a:lnTo>
                    <a:pt x="20" y="2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4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10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6" y="6"/>
                  </a:lnTo>
                  <a:lnTo>
                    <a:pt x="6" y="6"/>
                  </a:lnTo>
                  <a:lnTo>
                    <a:pt x="4" y="8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4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2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2"/>
                  </a:lnTo>
                  <a:lnTo>
                    <a:pt x="2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12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22" y="22"/>
                  </a:lnTo>
                  <a:lnTo>
                    <a:pt x="26" y="22"/>
                  </a:lnTo>
                  <a:lnTo>
                    <a:pt x="32" y="20"/>
                  </a:lnTo>
                  <a:lnTo>
                    <a:pt x="36" y="20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42" y="18"/>
                  </a:lnTo>
                  <a:lnTo>
                    <a:pt x="44" y="18"/>
                  </a:lnTo>
                  <a:lnTo>
                    <a:pt x="46" y="18"/>
                  </a:lnTo>
                  <a:lnTo>
                    <a:pt x="46" y="18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84" name="Freeform 1051"/>
            <p:cNvSpPr>
              <a:spLocks/>
            </p:cNvSpPr>
            <p:nvPr/>
          </p:nvSpPr>
          <p:spPr bwMode="auto">
            <a:xfrm>
              <a:off x="5342054" y="2801865"/>
              <a:ext cx="305207" cy="84419"/>
            </a:xfrm>
            <a:custGeom>
              <a:avLst/>
              <a:gdLst>
                <a:gd name="T0" fmla="*/ 142 w 188"/>
                <a:gd name="T1" fmla="*/ 4 h 52"/>
                <a:gd name="T2" fmla="*/ 106 w 188"/>
                <a:gd name="T3" fmla="*/ 0 h 52"/>
                <a:gd name="T4" fmla="*/ 96 w 188"/>
                <a:gd name="T5" fmla="*/ 2 h 52"/>
                <a:gd name="T6" fmla="*/ 62 w 188"/>
                <a:gd name="T7" fmla="*/ 4 h 52"/>
                <a:gd name="T8" fmla="*/ 52 w 188"/>
                <a:gd name="T9" fmla="*/ 4 h 52"/>
                <a:gd name="T10" fmla="*/ 26 w 188"/>
                <a:gd name="T11" fmla="*/ 10 h 52"/>
                <a:gd name="T12" fmla="*/ 12 w 188"/>
                <a:gd name="T13" fmla="*/ 16 h 52"/>
                <a:gd name="T14" fmla="*/ 2 w 188"/>
                <a:gd name="T15" fmla="*/ 22 h 52"/>
                <a:gd name="T16" fmla="*/ 0 w 188"/>
                <a:gd name="T17" fmla="*/ 26 h 52"/>
                <a:gd name="T18" fmla="*/ 0 w 188"/>
                <a:gd name="T19" fmla="*/ 30 h 52"/>
                <a:gd name="T20" fmla="*/ 4 w 188"/>
                <a:gd name="T21" fmla="*/ 40 h 52"/>
                <a:gd name="T22" fmla="*/ 16 w 188"/>
                <a:gd name="T23" fmla="*/ 52 h 52"/>
                <a:gd name="T24" fmla="*/ 16 w 188"/>
                <a:gd name="T25" fmla="*/ 52 h 52"/>
                <a:gd name="T26" fmla="*/ 18 w 188"/>
                <a:gd name="T27" fmla="*/ 48 h 52"/>
                <a:gd name="T28" fmla="*/ 24 w 188"/>
                <a:gd name="T29" fmla="*/ 44 h 52"/>
                <a:gd name="T30" fmla="*/ 30 w 188"/>
                <a:gd name="T31" fmla="*/ 36 h 52"/>
                <a:gd name="T32" fmla="*/ 38 w 188"/>
                <a:gd name="T33" fmla="*/ 30 h 52"/>
                <a:gd name="T34" fmla="*/ 42 w 188"/>
                <a:gd name="T35" fmla="*/ 28 h 52"/>
                <a:gd name="T36" fmla="*/ 48 w 188"/>
                <a:gd name="T37" fmla="*/ 30 h 52"/>
                <a:gd name="T38" fmla="*/ 50 w 188"/>
                <a:gd name="T39" fmla="*/ 32 h 52"/>
                <a:gd name="T40" fmla="*/ 56 w 188"/>
                <a:gd name="T41" fmla="*/ 30 h 52"/>
                <a:gd name="T42" fmla="*/ 62 w 188"/>
                <a:gd name="T43" fmla="*/ 28 h 52"/>
                <a:gd name="T44" fmla="*/ 72 w 188"/>
                <a:gd name="T45" fmla="*/ 28 h 52"/>
                <a:gd name="T46" fmla="*/ 78 w 188"/>
                <a:gd name="T47" fmla="*/ 28 h 52"/>
                <a:gd name="T48" fmla="*/ 84 w 188"/>
                <a:gd name="T49" fmla="*/ 30 h 52"/>
                <a:gd name="T50" fmla="*/ 88 w 188"/>
                <a:gd name="T51" fmla="*/ 34 h 52"/>
                <a:gd name="T52" fmla="*/ 90 w 188"/>
                <a:gd name="T53" fmla="*/ 42 h 52"/>
                <a:gd name="T54" fmla="*/ 94 w 188"/>
                <a:gd name="T55" fmla="*/ 46 h 52"/>
                <a:gd name="T56" fmla="*/ 98 w 188"/>
                <a:gd name="T57" fmla="*/ 46 h 52"/>
                <a:gd name="T58" fmla="*/ 110 w 188"/>
                <a:gd name="T59" fmla="*/ 46 h 52"/>
                <a:gd name="T60" fmla="*/ 118 w 188"/>
                <a:gd name="T61" fmla="*/ 42 h 52"/>
                <a:gd name="T62" fmla="*/ 122 w 188"/>
                <a:gd name="T63" fmla="*/ 38 h 52"/>
                <a:gd name="T64" fmla="*/ 124 w 188"/>
                <a:gd name="T65" fmla="*/ 38 h 52"/>
                <a:gd name="T66" fmla="*/ 130 w 188"/>
                <a:gd name="T67" fmla="*/ 36 h 52"/>
                <a:gd name="T68" fmla="*/ 138 w 188"/>
                <a:gd name="T69" fmla="*/ 34 h 52"/>
                <a:gd name="T70" fmla="*/ 144 w 188"/>
                <a:gd name="T71" fmla="*/ 32 h 52"/>
                <a:gd name="T72" fmla="*/ 146 w 188"/>
                <a:gd name="T73" fmla="*/ 32 h 52"/>
                <a:gd name="T74" fmla="*/ 150 w 188"/>
                <a:gd name="T75" fmla="*/ 32 h 52"/>
                <a:gd name="T76" fmla="*/ 154 w 188"/>
                <a:gd name="T77" fmla="*/ 38 h 52"/>
                <a:gd name="T78" fmla="*/ 158 w 188"/>
                <a:gd name="T79" fmla="*/ 42 h 52"/>
                <a:gd name="T80" fmla="*/ 164 w 188"/>
                <a:gd name="T81" fmla="*/ 44 h 52"/>
                <a:gd name="T82" fmla="*/ 166 w 188"/>
                <a:gd name="T83" fmla="*/ 42 h 52"/>
                <a:gd name="T84" fmla="*/ 172 w 188"/>
                <a:gd name="T85" fmla="*/ 38 h 52"/>
                <a:gd name="T86" fmla="*/ 176 w 188"/>
                <a:gd name="T87" fmla="*/ 36 h 52"/>
                <a:gd name="T88" fmla="*/ 182 w 188"/>
                <a:gd name="T89" fmla="*/ 36 h 52"/>
                <a:gd name="T90" fmla="*/ 186 w 188"/>
                <a:gd name="T91" fmla="*/ 32 h 52"/>
                <a:gd name="T92" fmla="*/ 188 w 188"/>
                <a:gd name="T93" fmla="*/ 28 h 52"/>
                <a:gd name="T94" fmla="*/ 186 w 188"/>
                <a:gd name="T95" fmla="*/ 22 h 52"/>
                <a:gd name="T96" fmla="*/ 178 w 188"/>
                <a:gd name="T97" fmla="*/ 16 h 52"/>
                <a:gd name="T98" fmla="*/ 172 w 188"/>
                <a:gd name="T99" fmla="*/ 16 h 52"/>
                <a:gd name="T100" fmla="*/ 168 w 188"/>
                <a:gd name="T101" fmla="*/ 12 h 52"/>
                <a:gd name="T102" fmla="*/ 168 w 188"/>
                <a:gd name="T103" fmla="*/ 10 h 52"/>
                <a:gd name="T104" fmla="*/ 168 w 188"/>
                <a:gd name="T105" fmla="*/ 6 h 52"/>
                <a:gd name="T106" fmla="*/ 152 w 188"/>
                <a:gd name="T107" fmla="*/ 6 h 52"/>
                <a:gd name="T108" fmla="*/ 152 w 188"/>
                <a:gd name="T109" fmla="*/ 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88" h="52">
                  <a:moveTo>
                    <a:pt x="152" y="6"/>
                  </a:moveTo>
                  <a:lnTo>
                    <a:pt x="152" y="6"/>
                  </a:lnTo>
                  <a:lnTo>
                    <a:pt x="142" y="4"/>
                  </a:lnTo>
                  <a:lnTo>
                    <a:pt x="130" y="4"/>
                  </a:lnTo>
                  <a:lnTo>
                    <a:pt x="118" y="2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2" y="0"/>
                  </a:lnTo>
                  <a:lnTo>
                    <a:pt x="96" y="2"/>
                  </a:lnTo>
                  <a:lnTo>
                    <a:pt x="82" y="4"/>
                  </a:lnTo>
                  <a:lnTo>
                    <a:pt x="68" y="4"/>
                  </a:lnTo>
                  <a:lnTo>
                    <a:pt x="62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2" y="4"/>
                  </a:lnTo>
                  <a:lnTo>
                    <a:pt x="46" y="6"/>
                  </a:lnTo>
                  <a:lnTo>
                    <a:pt x="36" y="8"/>
                  </a:lnTo>
                  <a:lnTo>
                    <a:pt x="26" y="10"/>
                  </a:lnTo>
                  <a:lnTo>
                    <a:pt x="22" y="12"/>
                  </a:lnTo>
                  <a:lnTo>
                    <a:pt x="16" y="14"/>
                  </a:lnTo>
                  <a:lnTo>
                    <a:pt x="12" y="16"/>
                  </a:lnTo>
                  <a:lnTo>
                    <a:pt x="8" y="18"/>
                  </a:lnTo>
                  <a:lnTo>
                    <a:pt x="4" y="20"/>
                  </a:lnTo>
                  <a:lnTo>
                    <a:pt x="2" y="22"/>
                  </a:lnTo>
                  <a:lnTo>
                    <a:pt x="2" y="24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30"/>
                  </a:lnTo>
                  <a:lnTo>
                    <a:pt x="0" y="34"/>
                  </a:lnTo>
                  <a:lnTo>
                    <a:pt x="2" y="36"/>
                  </a:lnTo>
                  <a:lnTo>
                    <a:pt x="4" y="40"/>
                  </a:lnTo>
                  <a:lnTo>
                    <a:pt x="6" y="44"/>
                  </a:lnTo>
                  <a:lnTo>
                    <a:pt x="8" y="4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8" y="48"/>
                  </a:lnTo>
                  <a:lnTo>
                    <a:pt x="22" y="46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6" y="40"/>
                  </a:lnTo>
                  <a:lnTo>
                    <a:pt x="28" y="38"/>
                  </a:lnTo>
                  <a:lnTo>
                    <a:pt x="30" y="36"/>
                  </a:lnTo>
                  <a:lnTo>
                    <a:pt x="32" y="34"/>
                  </a:lnTo>
                  <a:lnTo>
                    <a:pt x="32" y="34"/>
                  </a:lnTo>
                  <a:lnTo>
                    <a:pt x="38" y="30"/>
                  </a:lnTo>
                  <a:lnTo>
                    <a:pt x="40" y="30"/>
                  </a:lnTo>
                  <a:lnTo>
                    <a:pt x="42" y="28"/>
                  </a:lnTo>
                  <a:lnTo>
                    <a:pt x="42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8" y="30"/>
                  </a:lnTo>
                  <a:lnTo>
                    <a:pt x="50" y="30"/>
                  </a:lnTo>
                  <a:lnTo>
                    <a:pt x="50" y="30"/>
                  </a:lnTo>
                  <a:lnTo>
                    <a:pt x="50" y="32"/>
                  </a:lnTo>
                  <a:lnTo>
                    <a:pt x="50" y="32"/>
                  </a:lnTo>
                  <a:lnTo>
                    <a:pt x="54" y="30"/>
                  </a:lnTo>
                  <a:lnTo>
                    <a:pt x="56" y="30"/>
                  </a:lnTo>
                  <a:lnTo>
                    <a:pt x="58" y="28"/>
                  </a:lnTo>
                  <a:lnTo>
                    <a:pt x="62" y="28"/>
                  </a:lnTo>
                  <a:lnTo>
                    <a:pt x="62" y="28"/>
                  </a:lnTo>
                  <a:lnTo>
                    <a:pt x="68" y="28"/>
                  </a:lnTo>
                  <a:lnTo>
                    <a:pt x="70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6" y="28"/>
                  </a:lnTo>
                  <a:lnTo>
                    <a:pt x="78" y="28"/>
                  </a:lnTo>
                  <a:lnTo>
                    <a:pt x="80" y="28"/>
                  </a:lnTo>
                  <a:lnTo>
                    <a:pt x="84" y="30"/>
                  </a:lnTo>
                  <a:lnTo>
                    <a:pt x="84" y="30"/>
                  </a:lnTo>
                  <a:lnTo>
                    <a:pt x="86" y="32"/>
                  </a:lnTo>
                  <a:lnTo>
                    <a:pt x="86" y="32"/>
                  </a:lnTo>
                  <a:lnTo>
                    <a:pt x="88" y="34"/>
                  </a:lnTo>
                  <a:lnTo>
                    <a:pt x="88" y="36"/>
                  </a:lnTo>
                  <a:lnTo>
                    <a:pt x="90" y="42"/>
                  </a:lnTo>
                  <a:lnTo>
                    <a:pt x="90" y="42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4" y="46"/>
                  </a:lnTo>
                  <a:lnTo>
                    <a:pt x="96" y="46"/>
                  </a:lnTo>
                  <a:lnTo>
                    <a:pt x="98" y="46"/>
                  </a:lnTo>
                  <a:lnTo>
                    <a:pt x="98" y="46"/>
                  </a:lnTo>
                  <a:lnTo>
                    <a:pt x="98" y="46"/>
                  </a:lnTo>
                  <a:lnTo>
                    <a:pt x="104" y="46"/>
                  </a:lnTo>
                  <a:lnTo>
                    <a:pt x="110" y="46"/>
                  </a:lnTo>
                  <a:lnTo>
                    <a:pt x="112" y="44"/>
                  </a:lnTo>
                  <a:lnTo>
                    <a:pt x="116" y="44"/>
                  </a:lnTo>
                  <a:lnTo>
                    <a:pt x="118" y="42"/>
                  </a:lnTo>
                  <a:lnTo>
                    <a:pt x="120" y="40"/>
                  </a:lnTo>
                  <a:lnTo>
                    <a:pt x="120" y="40"/>
                  </a:lnTo>
                  <a:lnTo>
                    <a:pt x="122" y="38"/>
                  </a:lnTo>
                  <a:lnTo>
                    <a:pt x="122" y="38"/>
                  </a:lnTo>
                  <a:lnTo>
                    <a:pt x="124" y="38"/>
                  </a:lnTo>
                  <a:lnTo>
                    <a:pt x="124" y="38"/>
                  </a:lnTo>
                  <a:lnTo>
                    <a:pt x="128" y="38"/>
                  </a:lnTo>
                  <a:lnTo>
                    <a:pt x="130" y="36"/>
                  </a:lnTo>
                  <a:lnTo>
                    <a:pt x="130" y="36"/>
                  </a:lnTo>
                  <a:lnTo>
                    <a:pt x="134" y="36"/>
                  </a:lnTo>
                  <a:lnTo>
                    <a:pt x="138" y="34"/>
                  </a:lnTo>
                  <a:lnTo>
                    <a:pt x="138" y="34"/>
                  </a:lnTo>
                  <a:lnTo>
                    <a:pt x="140" y="32"/>
                  </a:lnTo>
                  <a:lnTo>
                    <a:pt x="142" y="32"/>
                  </a:lnTo>
                  <a:lnTo>
                    <a:pt x="144" y="32"/>
                  </a:lnTo>
                  <a:lnTo>
                    <a:pt x="144" y="32"/>
                  </a:lnTo>
                  <a:lnTo>
                    <a:pt x="146" y="32"/>
                  </a:lnTo>
                  <a:lnTo>
                    <a:pt x="146" y="32"/>
                  </a:lnTo>
                  <a:lnTo>
                    <a:pt x="148" y="32"/>
                  </a:lnTo>
                  <a:lnTo>
                    <a:pt x="150" y="32"/>
                  </a:lnTo>
                  <a:lnTo>
                    <a:pt x="150" y="32"/>
                  </a:lnTo>
                  <a:lnTo>
                    <a:pt x="152" y="34"/>
                  </a:lnTo>
                  <a:lnTo>
                    <a:pt x="152" y="34"/>
                  </a:lnTo>
                  <a:lnTo>
                    <a:pt x="154" y="38"/>
                  </a:lnTo>
                  <a:lnTo>
                    <a:pt x="154" y="38"/>
                  </a:lnTo>
                  <a:lnTo>
                    <a:pt x="156" y="40"/>
                  </a:lnTo>
                  <a:lnTo>
                    <a:pt x="158" y="42"/>
                  </a:lnTo>
                  <a:lnTo>
                    <a:pt x="160" y="42"/>
                  </a:lnTo>
                  <a:lnTo>
                    <a:pt x="162" y="44"/>
                  </a:lnTo>
                  <a:lnTo>
                    <a:pt x="164" y="44"/>
                  </a:lnTo>
                  <a:lnTo>
                    <a:pt x="164" y="44"/>
                  </a:lnTo>
                  <a:lnTo>
                    <a:pt x="164" y="44"/>
                  </a:lnTo>
                  <a:lnTo>
                    <a:pt x="166" y="42"/>
                  </a:lnTo>
                  <a:lnTo>
                    <a:pt x="168" y="40"/>
                  </a:lnTo>
                  <a:lnTo>
                    <a:pt x="170" y="38"/>
                  </a:lnTo>
                  <a:lnTo>
                    <a:pt x="172" y="38"/>
                  </a:lnTo>
                  <a:lnTo>
                    <a:pt x="174" y="36"/>
                  </a:lnTo>
                  <a:lnTo>
                    <a:pt x="174" y="36"/>
                  </a:lnTo>
                  <a:lnTo>
                    <a:pt x="176" y="36"/>
                  </a:lnTo>
                  <a:lnTo>
                    <a:pt x="178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4"/>
                  </a:lnTo>
                  <a:lnTo>
                    <a:pt x="184" y="34"/>
                  </a:lnTo>
                  <a:lnTo>
                    <a:pt x="186" y="32"/>
                  </a:lnTo>
                  <a:lnTo>
                    <a:pt x="186" y="32"/>
                  </a:lnTo>
                  <a:lnTo>
                    <a:pt x="186" y="30"/>
                  </a:lnTo>
                  <a:lnTo>
                    <a:pt x="188" y="28"/>
                  </a:lnTo>
                  <a:lnTo>
                    <a:pt x="186" y="24"/>
                  </a:lnTo>
                  <a:lnTo>
                    <a:pt x="186" y="22"/>
                  </a:lnTo>
                  <a:lnTo>
                    <a:pt x="186" y="22"/>
                  </a:lnTo>
                  <a:lnTo>
                    <a:pt x="184" y="20"/>
                  </a:lnTo>
                  <a:lnTo>
                    <a:pt x="182" y="18"/>
                  </a:lnTo>
                  <a:lnTo>
                    <a:pt x="178" y="16"/>
                  </a:lnTo>
                  <a:lnTo>
                    <a:pt x="174" y="16"/>
                  </a:lnTo>
                  <a:lnTo>
                    <a:pt x="174" y="16"/>
                  </a:lnTo>
                  <a:lnTo>
                    <a:pt x="172" y="16"/>
                  </a:lnTo>
                  <a:lnTo>
                    <a:pt x="170" y="14"/>
                  </a:lnTo>
                  <a:lnTo>
                    <a:pt x="170" y="14"/>
                  </a:lnTo>
                  <a:lnTo>
                    <a:pt x="168" y="12"/>
                  </a:lnTo>
                  <a:lnTo>
                    <a:pt x="168" y="12"/>
                  </a:lnTo>
                  <a:lnTo>
                    <a:pt x="168" y="10"/>
                  </a:lnTo>
                  <a:lnTo>
                    <a:pt x="168" y="10"/>
                  </a:lnTo>
                  <a:lnTo>
                    <a:pt x="168" y="8"/>
                  </a:lnTo>
                  <a:lnTo>
                    <a:pt x="168" y="6"/>
                  </a:lnTo>
                  <a:lnTo>
                    <a:pt x="168" y="6"/>
                  </a:lnTo>
                  <a:lnTo>
                    <a:pt x="160" y="6"/>
                  </a:lnTo>
                  <a:lnTo>
                    <a:pt x="156" y="6"/>
                  </a:lnTo>
                  <a:lnTo>
                    <a:pt x="152" y="6"/>
                  </a:lnTo>
                  <a:lnTo>
                    <a:pt x="152" y="6"/>
                  </a:lnTo>
                  <a:lnTo>
                    <a:pt x="152" y="6"/>
                  </a:lnTo>
                  <a:lnTo>
                    <a:pt x="152" y="6"/>
                  </a:lnTo>
                  <a:lnTo>
                    <a:pt x="152" y="6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85" name="Freeform 1052"/>
            <p:cNvSpPr>
              <a:spLocks/>
            </p:cNvSpPr>
            <p:nvPr/>
          </p:nvSpPr>
          <p:spPr bwMode="auto">
            <a:xfrm>
              <a:off x="7416812" y="2418733"/>
              <a:ext cx="198060" cy="353910"/>
            </a:xfrm>
            <a:custGeom>
              <a:avLst/>
              <a:gdLst>
                <a:gd name="T0" fmla="*/ 110 w 122"/>
                <a:gd name="T1" fmla="*/ 196 h 218"/>
                <a:gd name="T2" fmla="*/ 100 w 122"/>
                <a:gd name="T3" fmla="*/ 190 h 218"/>
                <a:gd name="T4" fmla="*/ 88 w 122"/>
                <a:gd name="T5" fmla="*/ 174 h 218"/>
                <a:gd name="T6" fmla="*/ 76 w 122"/>
                <a:gd name="T7" fmla="*/ 154 h 218"/>
                <a:gd name="T8" fmla="*/ 74 w 122"/>
                <a:gd name="T9" fmla="*/ 138 h 218"/>
                <a:gd name="T10" fmla="*/ 72 w 122"/>
                <a:gd name="T11" fmla="*/ 128 h 218"/>
                <a:gd name="T12" fmla="*/ 74 w 122"/>
                <a:gd name="T13" fmla="*/ 124 h 218"/>
                <a:gd name="T14" fmla="*/ 80 w 122"/>
                <a:gd name="T15" fmla="*/ 124 h 218"/>
                <a:gd name="T16" fmla="*/ 92 w 122"/>
                <a:gd name="T17" fmla="*/ 132 h 218"/>
                <a:gd name="T18" fmla="*/ 100 w 122"/>
                <a:gd name="T19" fmla="*/ 140 h 218"/>
                <a:gd name="T20" fmla="*/ 108 w 122"/>
                <a:gd name="T21" fmla="*/ 142 h 218"/>
                <a:gd name="T22" fmla="*/ 98 w 122"/>
                <a:gd name="T23" fmla="*/ 134 h 218"/>
                <a:gd name="T24" fmla="*/ 90 w 122"/>
                <a:gd name="T25" fmla="*/ 124 h 218"/>
                <a:gd name="T26" fmla="*/ 78 w 122"/>
                <a:gd name="T27" fmla="*/ 118 h 218"/>
                <a:gd name="T28" fmla="*/ 76 w 122"/>
                <a:gd name="T29" fmla="*/ 112 h 218"/>
                <a:gd name="T30" fmla="*/ 74 w 122"/>
                <a:gd name="T31" fmla="*/ 106 h 218"/>
                <a:gd name="T32" fmla="*/ 72 w 122"/>
                <a:gd name="T33" fmla="*/ 100 h 218"/>
                <a:gd name="T34" fmla="*/ 62 w 122"/>
                <a:gd name="T35" fmla="*/ 88 h 218"/>
                <a:gd name="T36" fmla="*/ 56 w 122"/>
                <a:gd name="T37" fmla="*/ 76 h 218"/>
                <a:gd name="T38" fmla="*/ 52 w 122"/>
                <a:gd name="T39" fmla="*/ 72 h 218"/>
                <a:gd name="T40" fmla="*/ 46 w 122"/>
                <a:gd name="T41" fmla="*/ 68 h 218"/>
                <a:gd name="T42" fmla="*/ 44 w 122"/>
                <a:gd name="T43" fmla="*/ 60 h 218"/>
                <a:gd name="T44" fmla="*/ 38 w 122"/>
                <a:gd name="T45" fmla="*/ 58 h 218"/>
                <a:gd name="T46" fmla="*/ 34 w 122"/>
                <a:gd name="T47" fmla="*/ 52 h 218"/>
                <a:gd name="T48" fmla="*/ 32 w 122"/>
                <a:gd name="T49" fmla="*/ 44 h 218"/>
                <a:gd name="T50" fmla="*/ 34 w 122"/>
                <a:gd name="T51" fmla="*/ 38 h 218"/>
                <a:gd name="T52" fmla="*/ 32 w 122"/>
                <a:gd name="T53" fmla="*/ 34 h 218"/>
                <a:gd name="T54" fmla="*/ 34 w 122"/>
                <a:gd name="T55" fmla="*/ 30 h 218"/>
                <a:gd name="T56" fmla="*/ 24 w 122"/>
                <a:gd name="T57" fmla="*/ 22 h 218"/>
                <a:gd name="T58" fmla="*/ 16 w 122"/>
                <a:gd name="T59" fmla="*/ 16 h 218"/>
                <a:gd name="T60" fmla="*/ 12 w 122"/>
                <a:gd name="T61" fmla="*/ 4 h 218"/>
                <a:gd name="T62" fmla="*/ 6 w 122"/>
                <a:gd name="T63" fmla="*/ 0 h 218"/>
                <a:gd name="T64" fmla="*/ 2 w 122"/>
                <a:gd name="T65" fmla="*/ 6 h 218"/>
                <a:gd name="T66" fmla="*/ 0 w 122"/>
                <a:gd name="T67" fmla="*/ 12 h 218"/>
                <a:gd name="T68" fmla="*/ 6 w 122"/>
                <a:gd name="T69" fmla="*/ 18 h 218"/>
                <a:gd name="T70" fmla="*/ 12 w 122"/>
                <a:gd name="T71" fmla="*/ 26 h 218"/>
                <a:gd name="T72" fmla="*/ 6 w 122"/>
                <a:gd name="T73" fmla="*/ 30 h 218"/>
                <a:gd name="T74" fmla="*/ 4 w 122"/>
                <a:gd name="T75" fmla="*/ 36 h 218"/>
                <a:gd name="T76" fmla="*/ 8 w 122"/>
                <a:gd name="T77" fmla="*/ 40 h 218"/>
                <a:gd name="T78" fmla="*/ 18 w 122"/>
                <a:gd name="T79" fmla="*/ 58 h 218"/>
                <a:gd name="T80" fmla="*/ 24 w 122"/>
                <a:gd name="T81" fmla="*/ 70 h 218"/>
                <a:gd name="T82" fmla="*/ 32 w 122"/>
                <a:gd name="T83" fmla="*/ 80 h 218"/>
                <a:gd name="T84" fmla="*/ 40 w 122"/>
                <a:gd name="T85" fmla="*/ 86 h 218"/>
                <a:gd name="T86" fmla="*/ 46 w 122"/>
                <a:gd name="T87" fmla="*/ 96 h 218"/>
                <a:gd name="T88" fmla="*/ 46 w 122"/>
                <a:gd name="T89" fmla="*/ 114 h 218"/>
                <a:gd name="T90" fmla="*/ 50 w 122"/>
                <a:gd name="T91" fmla="*/ 124 h 218"/>
                <a:gd name="T92" fmla="*/ 62 w 122"/>
                <a:gd name="T93" fmla="*/ 148 h 218"/>
                <a:gd name="T94" fmla="*/ 68 w 122"/>
                <a:gd name="T95" fmla="*/ 158 h 218"/>
                <a:gd name="T96" fmla="*/ 76 w 122"/>
                <a:gd name="T97" fmla="*/ 170 h 218"/>
                <a:gd name="T98" fmla="*/ 80 w 122"/>
                <a:gd name="T99" fmla="*/ 180 h 218"/>
                <a:gd name="T100" fmla="*/ 80 w 122"/>
                <a:gd name="T101" fmla="*/ 186 h 218"/>
                <a:gd name="T102" fmla="*/ 84 w 122"/>
                <a:gd name="T103" fmla="*/ 194 h 218"/>
                <a:gd name="T104" fmla="*/ 88 w 122"/>
                <a:gd name="T105" fmla="*/ 202 h 218"/>
                <a:gd name="T106" fmla="*/ 94 w 122"/>
                <a:gd name="T107" fmla="*/ 216 h 218"/>
                <a:gd name="T108" fmla="*/ 98 w 122"/>
                <a:gd name="T109" fmla="*/ 218 h 218"/>
                <a:gd name="T110" fmla="*/ 98 w 122"/>
                <a:gd name="T111" fmla="*/ 216 h 218"/>
                <a:gd name="T112" fmla="*/ 100 w 122"/>
                <a:gd name="T113" fmla="*/ 204 h 218"/>
                <a:gd name="T114" fmla="*/ 108 w 122"/>
                <a:gd name="T115" fmla="*/ 204 h 218"/>
                <a:gd name="T116" fmla="*/ 118 w 122"/>
                <a:gd name="T117" fmla="*/ 206 h 218"/>
                <a:gd name="T118" fmla="*/ 120 w 122"/>
                <a:gd name="T119" fmla="*/ 210 h 218"/>
                <a:gd name="T120" fmla="*/ 122 w 122"/>
                <a:gd name="T121" fmla="*/ 210 h 218"/>
                <a:gd name="T122" fmla="*/ 118 w 122"/>
                <a:gd name="T123" fmla="*/ 202 h 218"/>
                <a:gd name="T124" fmla="*/ 116 w 122"/>
                <a:gd name="T125" fmla="*/ 200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2" h="218">
                  <a:moveTo>
                    <a:pt x="116" y="200"/>
                  </a:moveTo>
                  <a:lnTo>
                    <a:pt x="116" y="200"/>
                  </a:lnTo>
                  <a:lnTo>
                    <a:pt x="112" y="198"/>
                  </a:lnTo>
                  <a:lnTo>
                    <a:pt x="112" y="198"/>
                  </a:lnTo>
                  <a:lnTo>
                    <a:pt x="110" y="196"/>
                  </a:lnTo>
                  <a:lnTo>
                    <a:pt x="110" y="196"/>
                  </a:lnTo>
                  <a:lnTo>
                    <a:pt x="108" y="194"/>
                  </a:lnTo>
                  <a:lnTo>
                    <a:pt x="104" y="192"/>
                  </a:lnTo>
                  <a:lnTo>
                    <a:pt x="104" y="192"/>
                  </a:lnTo>
                  <a:lnTo>
                    <a:pt x="100" y="190"/>
                  </a:lnTo>
                  <a:lnTo>
                    <a:pt x="98" y="186"/>
                  </a:lnTo>
                  <a:lnTo>
                    <a:pt x="94" y="180"/>
                  </a:lnTo>
                  <a:lnTo>
                    <a:pt x="94" y="180"/>
                  </a:lnTo>
                  <a:lnTo>
                    <a:pt x="90" y="178"/>
                  </a:lnTo>
                  <a:lnTo>
                    <a:pt x="88" y="174"/>
                  </a:lnTo>
                  <a:lnTo>
                    <a:pt x="84" y="168"/>
                  </a:lnTo>
                  <a:lnTo>
                    <a:pt x="84" y="168"/>
                  </a:lnTo>
                  <a:lnTo>
                    <a:pt x="80" y="162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76" y="152"/>
                  </a:lnTo>
                  <a:lnTo>
                    <a:pt x="76" y="148"/>
                  </a:lnTo>
                  <a:lnTo>
                    <a:pt x="74" y="142"/>
                  </a:lnTo>
                  <a:lnTo>
                    <a:pt x="74" y="142"/>
                  </a:lnTo>
                  <a:lnTo>
                    <a:pt x="74" y="138"/>
                  </a:lnTo>
                  <a:lnTo>
                    <a:pt x="72" y="134"/>
                  </a:lnTo>
                  <a:lnTo>
                    <a:pt x="72" y="132"/>
                  </a:lnTo>
                  <a:lnTo>
                    <a:pt x="72" y="130"/>
                  </a:lnTo>
                  <a:lnTo>
                    <a:pt x="72" y="128"/>
                  </a:lnTo>
                  <a:lnTo>
                    <a:pt x="72" y="128"/>
                  </a:lnTo>
                  <a:lnTo>
                    <a:pt x="72" y="126"/>
                  </a:lnTo>
                  <a:lnTo>
                    <a:pt x="72" y="126"/>
                  </a:lnTo>
                  <a:lnTo>
                    <a:pt x="72" y="124"/>
                  </a:lnTo>
                  <a:lnTo>
                    <a:pt x="74" y="124"/>
                  </a:lnTo>
                  <a:lnTo>
                    <a:pt x="74" y="124"/>
                  </a:lnTo>
                  <a:lnTo>
                    <a:pt x="76" y="122"/>
                  </a:lnTo>
                  <a:lnTo>
                    <a:pt x="78" y="122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4" y="126"/>
                  </a:lnTo>
                  <a:lnTo>
                    <a:pt x="86" y="128"/>
                  </a:lnTo>
                  <a:lnTo>
                    <a:pt x="88" y="130"/>
                  </a:lnTo>
                  <a:lnTo>
                    <a:pt x="88" y="130"/>
                  </a:lnTo>
                  <a:lnTo>
                    <a:pt x="92" y="132"/>
                  </a:lnTo>
                  <a:lnTo>
                    <a:pt x="96" y="134"/>
                  </a:lnTo>
                  <a:lnTo>
                    <a:pt x="96" y="136"/>
                  </a:lnTo>
                  <a:lnTo>
                    <a:pt x="96" y="136"/>
                  </a:lnTo>
                  <a:lnTo>
                    <a:pt x="98" y="138"/>
                  </a:lnTo>
                  <a:lnTo>
                    <a:pt x="100" y="140"/>
                  </a:lnTo>
                  <a:lnTo>
                    <a:pt x="106" y="142"/>
                  </a:lnTo>
                  <a:lnTo>
                    <a:pt x="106" y="144"/>
                  </a:lnTo>
                  <a:lnTo>
                    <a:pt x="108" y="144"/>
                  </a:lnTo>
                  <a:lnTo>
                    <a:pt x="108" y="144"/>
                  </a:lnTo>
                  <a:lnTo>
                    <a:pt x="108" y="142"/>
                  </a:lnTo>
                  <a:lnTo>
                    <a:pt x="108" y="142"/>
                  </a:lnTo>
                  <a:lnTo>
                    <a:pt x="106" y="140"/>
                  </a:lnTo>
                  <a:lnTo>
                    <a:pt x="106" y="138"/>
                  </a:lnTo>
                  <a:lnTo>
                    <a:pt x="100" y="136"/>
                  </a:lnTo>
                  <a:lnTo>
                    <a:pt x="98" y="134"/>
                  </a:lnTo>
                  <a:lnTo>
                    <a:pt x="98" y="134"/>
                  </a:lnTo>
                  <a:lnTo>
                    <a:pt x="94" y="128"/>
                  </a:lnTo>
                  <a:lnTo>
                    <a:pt x="92" y="126"/>
                  </a:lnTo>
                  <a:lnTo>
                    <a:pt x="90" y="124"/>
                  </a:lnTo>
                  <a:lnTo>
                    <a:pt x="90" y="124"/>
                  </a:lnTo>
                  <a:lnTo>
                    <a:pt x="88" y="122"/>
                  </a:lnTo>
                  <a:lnTo>
                    <a:pt x="84" y="122"/>
                  </a:lnTo>
                  <a:lnTo>
                    <a:pt x="80" y="120"/>
                  </a:lnTo>
                  <a:lnTo>
                    <a:pt x="80" y="120"/>
                  </a:lnTo>
                  <a:lnTo>
                    <a:pt x="78" y="118"/>
                  </a:lnTo>
                  <a:lnTo>
                    <a:pt x="78" y="118"/>
                  </a:lnTo>
                  <a:lnTo>
                    <a:pt x="78" y="116"/>
                  </a:lnTo>
                  <a:lnTo>
                    <a:pt x="76" y="116"/>
                  </a:lnTo>
                  <a:lnTo>
                    <a:pt x="76" y="112"/>
                  </a:lnTo>
                  <a:lnTo>
                    <a:pt x="76" y="112"/>
                  </a:lnTo>
                  <a:lnTo>
                    <a:pt x="76" y="110"/>
                  </a:lnTo>
                  <a:lnTo>
                    <a:pt x="76" y="110"/>
                  </a:lnTo>
                  <a:lnTo>
                    <a:pt x="76" y="108"/>
                  </a:lnTo>
                  <a:lnTo>
                    <a:pt x="74" y="106"/>
                  </a:lnTo>
                  <a:lnTo>
                    <a:pt x="74" y="106"/>
                  </a:lnTo>
                  <a:lnTo>
                    <a:pt x="72" y="104"/>
                  </a:lnTo>
                  <a:lnTo>
                    <a:pt x="72" y="104"/>
                  </a:lnTo>
                  <a:lnTo>
                    <a:pt x="72" y="102"/>
                  </a:lnTo>
                  <a:lnTo>
                    <a:pt x="72" y="102"/>
                  </a:lnTo>
                  <a:lnTo>
                    <a:pt x="72" y="100"/>
                  </a:lnTo>
                  <a:lnTo>
                    <a:pt x="70" y="98"/>
                  </a:lnTo>
                  <a:lnTo>
                    <a:pt x="70" y="98"/>
                  </a:lnTo>
                  <a:lnTo>
                    <a:pt x="70" y="98"/>
                  </a:lnTo>
                  <a:lnTo>
                    <a:pt x="66" y="94"/>
                  </a:lnTo>
                  <a:lnTo>
                    <a:pt x="62" y="88"/>
                  </a:lnTo>
                  <a:lnTo>
                    <a:pt x="62" y="88"/>
                  </a:lnTo>
                  <a:lnTo>
                    <a:pt x="58" y="84"/>
                  </a:lnTo>
                  <a:lnTo>
                    <a:pt x="56" y="80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4" y="74"/>
                  </a:lnTo>
                  <a:lnTo>
                    <a:pt x="54" y="74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52" y="72"/>
                  </a:lnTo>
                  <a:lnTo>
                    <a:pt x="52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48" y="68"/>
                  </a:lnTo>
                  <a:lnTo>
                    <a:pt x="46" y="68"/>
                  </a:lnTo>
                  <a:lnTo>
                    <a:pt x="46" y="68"/>
                  </a:lnTo>
                  <a:lnTo>
                    <a:pt x="46" y="66"/>
                  </a:lnTo>
                  <a:lnTo>
                    <a:pt x="46" y="64"/>
                  </a:lnTo>
                  <a:lnTo>
                    <a:pt x="44" y="62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2" y="58"/>
                  </a:lnTo>
                  <a:lnTo>
                    <a:pt x="40" y="58"/>
                  </a:lnTo>
                  <a:lnTo>
                    <a:pt x="38" y="58"/>
                  </a:lnTo>
                  <a:lnTo>
                    <a:pt x="38" y="58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4" y="54"/>
                  </a:lnTo>
                  <a:lnTo>
                    <a:pt x="34" y="54"/>
                  </a:lnTo>
                  <a:lnTo>
                    <a:pt x="34" y="52"/>
                  </a:lnTo>
                  <a:lnTo>
                    <a:pt x="34" y="50"/>
                  </a:lnTo>
                  <a:lnTo>
                    <a:pt x="34" y="48"/>
                  </a:lnTo>
                  <a:lnTo>
                    <a:pt x="34" y="48"/>
                  </a:lnTo>
                  <a:lnTo>
                    <a:pt x="32" y="46"/>
                  </a:lnTo>
                  <a:lnTo>
                    <a:pt x="32" y="44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2" y="40"/>
                  </a:lnTo>
                  <a:lnTo>
                    <a:pt x="34" y="40"/>
                  </a:lnTo>
                  <a:lnTo>
                    <a:pt x="34" y="38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4" y="34"/>
                  </a:lnTo>
                  <a:lnTo>
                    <a:pt x="32" y="34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4" y="32"/>
                  </a:lnTo>
                  <a:lnTo>
                    <a:pt x="34" y="30"/>
                  </a:lnTo>
                  <a:lnTo>
                    <a:pt x="34" y="30"/>
                  </a:lnTo>
                  <a:lnTo>
                    <a:pt x="32" y="28"/>
                  </a:lnTo>
                  <a:lnTo>
                    <a:pt x="30" y="26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4" y="22"/>
                  </a:lnTo>
                  <a:lnTo>
                    <a:pt x="22" y="20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6" y="16"/>
                  </a:lnTo>
                  <a:lnTo>
                    <a:pt x="14" y="14"/>
                  </a:lnTo>
                  <a:lnTo>
                    <a:pt x="14" y="12"/>
                  </a:lnTo>
                  <a:lnTo>
                    <a:pt x="14" y="8"/>
                  </a:lnTo>
                  <a:lnTo>
                    <a:pt x="12" y="6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0" y="2"/>
                  </a:lnTo>
                  <a:lnTo>
                    <a:pt x="10" y="0"/>
                  </a:lnTo>
                  <a:lnTo>
                    <a:pt x="8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4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8"/>
                  </a:lnTo>
                  <a:lnTo>
                    <a:pt x="2" y="8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12"/>
                  </a:lnTo>
                  <a:lnTo>
                    <a:pt x="2" y="14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6" y="18"/>
                  </a:lnTo>
                  <a:lnTo>
                    <a:pt x="8" y="22"/>
                  </a:lnTo>
                  <a:lnTo>
                    <a:pt x="10" y="22"/>
                  </a:lnTo>
                  <a:lnTo>
                    <a:pt x="12" y="24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0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4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12" y="46"/>
                  </a:lnTo>
                  <a:lnTo>
                    <a:pt x="12" y="46"/>
                  </a:lnTo>
                  <a:lnTo>
                    <a:pt x="14" y="50"/>
                  </a:lnTo>
                  <a:lnTo>
                    <a:pt x="16" y="52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20" y="62"/>
                  </a:lnTo>
                  <a:lnTo>
                    <a:pt x="22" y="64"/>
                  </a:lnTo>
                  <a:lnTo>
                    <a:pt x="24" y="68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6" y="74"/>
                  </a:lnTo>
                  <a:lnTo>
                    <a:pt x="26" y="76"/>
                  </a:lnTo>
                  <a:lnTo>
                    <a:pt x="28" y="78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4" y="82"/>
                  </a:lnTo>
                  <a:lnTo>
                    <a:pt x="36" y="82"/>
                  </a:lnTo>
                  <a:lnTo>
                    <a:pt x="40" y="84"/>
                  </a:lnTo>
                  <a:lnTo>
                    <a:pt x="40" y="86"/>
                  </a:lnTo>
                  <a:lnTo>
                    <a:pt x="42" y="88"/>
                  </a:lnTo>
                  <a:lnTo>
                    <a:pt x="42" y="88"/>
                  </a:lnTo>
                  <a:lnTo>
                    <a:pt x="44" y="90"/>
                  </a:lnTo>
                  <a:lnTo>
                    <a:pt x="44" y="94"/>
                  </a:lnTo>
                  <a:lnTo>
                    <a:pt x="46" y="96"/>
                  </a:lnTo>
                  <a:lnTo>
                    <a:pt x="46" y="98"/>
                  </a:lnTo>
                  <a:lnTo>
                    <a:pt x="46" y="98"/>
                  </a:lnTo>
                  <a:lnTo>
                    <a:pt x="46" y="106"/>
                  </a:lnTo>
                  <a:lnTo>
                    <a:pt x="46" y="114"/>
                  </a:lnTo>
                  <a:lnTo>
                    <a:pt x="46" y="114"/>
                  </a:lnTo>
                  <a:lnTo>
                    <a:pt x="46" y="116"/>
                  </a:lnTo>
                  <a:lnTo>
                    <a:pt x="48" y="120"/>
                  </a:lnTo>
                  <a:lnTo>
                    <a:pt x="48" y="122"/>
                  </a:lnTo>
                  <a:lnTo>
                    <a:pt x="50" y="124"/>
                  </a:lnTo>
                  <a:lnTo>
                    <a:pt x="50" y="124"/>
                  </a:lnTo>
                  <a:lnTo>
                    <a:pt x="52" y="126"/>
                  </a:lnTo>
                  <a:lnTo>
                    <a:pt x="54" y="130"/>
                  </a:lnTo>
                  <a:lnTo>
                    <a:pt x="56" y="136"/>
                  </a:lnTo>
                  <a:lnTo>
                    <a:pt x="60" y="142"/>
                  </a:lnTo>
                  <a:lnTo>
                    <a:pt x="62" y="148"/>
                  </a:lnTo>
                  <a:lnTo>
                    <a:pt x="62" y="148"/>
                  </a:lnTo>
                  <a:lnTo>
                    <a:pt x="62" y="152"/>
                  </a:lnTo>
                  <a:lnTo>
                    <a:pt x="64" y="154"/>
                  </a:lnTo>
                  <a:lnTo>
                    <a:pt x="66" y="156"/>
                  </a:lnTo>
                  <a:lnTo>
                    <a:pt x="68" y="158"/>
                  </a:lnTo>
                  <a:lnTo>
                    <a:pt x="68" y="158"/>
                  </a:lnTo>
                  <a:lnTo>
                    <a:pt x="70" y="162"/>
                  </a:lnTo>
                  <a:lnTo>
                    <a:pt x="72" y="164"/>
                  </a:lnTo>
                  <a:lnTo>
                    <a:pt x="74" y="166"/>
                  </a:lnTo>
                  <a:lnTo>
                    <a:pt x="76" y="170"/>
                  </a:lnTo>
                  <a:lnTo>
                    <a:pt x="76" y="170"/>
                  </a:lnTo>
                  <a:lnTo>
                    <a:pt x="78" y="176"/>
                  </a:lnTo>
                  <a:lnTo>
                    <a:pt x="78" y="176"/>
                  </a:lnTo>
                  <a:lnTo>
                    <a:pt x="80" y="178"/>
                  </a:lnTo>
                  <a:lnTo>
                    <a:pt x="80" y="180"/>
                  </a:lnTo>
                  <a:lnTo>
                    <a:pt x="78" y="180"/>
                  </a:lnTo>
                  <a:lnTo>
                    <a:pt x="80" y="182"/>
                  </a:lnTo>
                  <a:lnTo>
                    <a:pt x="80" y="182"/>
                  </a:lnTo>
                  <a:lnTo>
                    <a:pt x="80" y="184"/>
                  </a:lnTo>
                  <a:lnTo>
                    <a:pt x="80" y="186"/>
                  </a:lnTo>
                  <a:lnTo>
                    <a:pt x="82" y="188"/>
                  </a:lnTo>
                  <a:lnTo>
                    <a:pt x="82" y="188"/>
                  </a:lnTo>
                  <a:lnTo>
                    <a:pt x="82" y="188"/>
                  </a:lnTo>
                  <a:lnTo>
                    <a:pt x="84" y="192"/>
                  </a:lnTo>
                  <a:lnTo>
                    <a:pt x="84" y="194"/>
                  </a:lnTo>
                  <a:lnTo>
                    <a:pt x="84" y="194"/>
                  </a:lnTo>
                  <a:lnTo>
                    <a:pt x="84" y="198"/>
                  </a:lnTo>
                  <a:lnTo>
                    <a:pt x="84" y="198"/>
                  </a:lnTo>
                  <a:lnTo>
                    <a:pt x="86" y="200"/>
                  </a:lnTo>
                  <a:lnTo>
                    <a:pt x="88" y="202"/>
                  </a:lnTo>
                  <a:lnTo>
                    <a:pt x="88" y="204"/>
                  </a:lnTo>
                  <a:lnTo>
                    <a:pt x="90" y="206"/>
                  </a:lnTo>
                  <a:lnTo>
                    <a:pt x="90" y="206"/>
                  </a:lnTo>
                  <a:lnTo>
                    <a:pt x="92" y="212"/>
                  </a:lnTo>
                  <a:lnTo>
                    <a:pt x="94" y="216"/>
                  </a:lnTo>
                  <a:lnTo>
                    <a:pt x="96" y="216"/>
                  </a:lnTo>
                  <a:lnTo>
                    <a:pt x="96" y="218"/>
                  </a:lnTo>
                  <a:lnTo>
                    <a:pt x="96" y="218"/>
                  </a:lnTo>
                  <a:lnTo>
                    <a:pt x="96" y="218"/>
                  </a:lnTo>
                  <a:lnTo>
                    <a:pt x="98" y="218"/>
                  </a:lnTo>
                  <a:lnTo>
                    <a:pt x="98" y="218"/>
                  </a:lnTo>
                  <a:lnTo>
                    <a:pt x="98" y="218"/>
                  </a:lnTo>
                  <a:lnTo>
                    <a:pt x="98" y="216"/>
                  </a:lnTo>
                  <a:lnTo>
                    <a:pt x="98" y="216"/>
                  </a:lnTo>
                  <a:lnTo>
                    <a:pt x="98" y="216"/>
                  </a:lnTo>
                  <a:lnTo>
                    <a:pt x="98" y="208"/>
                  </a:lnTo>
                  <a:lnTo>
                    <a:pt x="98" y="208"/>
                  </a:lnTo>
                  <a:lnTo>
                    <a:pt x="98" y="206"/>
                  </a:lnTo>
                  <a:lnTo>
                    <a:pt x="98" y="204"/>
                  </a:lnTo>
                  <a:lnTo>
                    <a:pt x="100" y="204"/>
                  </a:lnTo>
                  <a:lnTo>
                    <a:pt x="100" y="202"/>
                  </a:lnTo>
                  <a:lnTo>
                    <a:pt x="104" y="202"/>
                  </a:lnTo>
                  <a:lnTo>
                    <a:pt x="106" y="202"/>
                  </a:lnTo>
                  <a:lnTo>
                    <a:pt x="106" y="202"/>
                  </a:lnTo>
                  <a:lnTo>
                    <a:pt x="108" y="204"/>
                  </a:lnTo>
                  <a:lnTo>
                    <a:pt x="108" y="204"/>
                  </a:lnTo>
                  <a:lnTo>
                    <a:pt x="112" y="204"/>
                  </a:lnTo>
                  <a:lnTo>
                    <a:pt x="116" y="206"/>
                  </a:lnTo>
                  <a:lnTo>
                    <a:pt x="116" y="206"/>
                  </a:lnTo>
                  <a:lnTo>
                    <a:pt x="118" y="206"/>
                  </a:lnTo>
                  <a:lnTo>
                    <a:pt x="118" y="208"/>
                  </a:lnTo>
                  <a:lnTo>
                    <a:pt x="118" y="208"/>
                  </a:lnTo>
                  <a:lnTo>
                    <a:pt x="118" y="210"/>
                  </a:lnTo>
                  <a:lnTo>
                    <a:pt x="120" y="210"/>
                  </a:lnTo>
                  <a:lnTo>
                    <a:pt x="120" y="210"/>
                  </a:lnTo>
                  <a:lnTo>
                    <a:pt x="120" y="210"/>
                  </a:lnTo>
                  <a:lnTo>
                    <a:pt x="120" y="210"/>
                  </a:lnTo>
                  <a:lnTo>
                    <a:pt x="120" y="210"/>
                  </a:lnTo>
                  <a:lnTo>
                    <a:pt x="122" y="210"/>
                  </a:lnTo>
                  <a:lnTo>
                    <a:pt x="122" y="210"/>
                  </a:lnTo>
                  <a:lnTo>
                    <a:pt x="120" y="206"/>
                  </a:lnTo>
                  <a:lnTo>
                    <a:pt x="120" y="206"/>
                  </a:lnTo>
                  <a:lnTo>
                    <a:pt x="120" y="206"/>
                  </a:lnTo>
                  <a:lnTo>
                    <a:pt x="118" y="204"/>
                  </a:lnTo>
                  <a:lnTo>
                    <a:pt x="118" y="202"/>
                  </a:lnTo>
                  <a:lnTo>
                    <a:pt x="116" y="200"/>
                  </a:lnTo>
                  <a:lnTo>
                    <a:pt x="116" y="200"/>
                  </a:lnTo>
                  <a:lnTo>
                    <a:pt x="116" y="200"/>
                  </a:lnTo>
                  <a:lnTo>
                    <a:pt x="116" y="200"/>
                  </a:lnTo>
                  <a:lnTo>
                    <a:pt x="116" y="20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86" name="Freeform 1053"/>
            <p:cNvSpPr>
              <a:spLocks/>
            </p:cNvSpPr>
            <p:nvPr/>
          </p:nvSpPr>
          <p:spPr bwMode="auto">
            <a:xfrm>
              <a:off x="7299924" y="2405745"/>
              <a:ext cx="22728" cy="25975"/>
            </a:xfrm>
            <a:custGeom>
              <a:avLst/>
              <a:gdLst>
                <a:gd name="T0" fmla="*/ 0 w 14"/>
                <a:gd name="T1" fmla="*/ 10 h 16"/>
                <a:gd name="T2" fmla="*/ 0 w 14"/>
                <a:gd name="T3" fmla="*/ 10 h 16"/>
                <a:gd name="T4" fmla="*/ 2 w 14"/>
                <a:gd name="T5" fmla="*/ 12 h 16"/>
                <a:gd name="T6" fmla="*/ 2 w 14"/>
                <a:gd name="T7" fmla="*/ 14 h 16"/>
                <a:gd name="T8" fmla="*/ 2 w 14"/>
                <a:gd name="T9" fmla="*/ 14 h 16"/>
                <a:gd name="T10" fmla="*/ 2 w 14"/>
                <a:gd name="T11" fmla="*/ 14 h 16"/>
                <a:gd name="T12" fmla="*/ 4 w 14"/>
                <a:gd name="T13" fmla="*/ 16 h 16"/>
                <a:gd name="T14" fmla="*/ 4 w 14"/>
                <a:gd name="T15" fmla="*/ 16 h 16"/>
                <a:gd name="T16" fmla="*/ 4 w 14"/>
                <a:gd name="T17" fmla="*/ 16 h 16"/>
                <a:gd name="T18" fmla="*/ 6 w 14"/>
                <a:gd name="T19" fmla="*/ 16 h 16"/>
                <a:gd name="T20" fmla="*/ 6 w 14"/>
                <a:gd name="T21" fmla="*/ 14 h 16"/>
                <a:gd name="T22" fmla="*/ 8 w 14"/>
                <a:gd name="T23" fmla="*/ 14 h 16"/>
                <a:gd name="T24" fmla="*/ 8 w 14"/>
                <a:gd name="T25" fmla="*/ 14 h 16"/>
                <a:gd name="T26" fmla="*/ 8 w 14"/>
                <a:gd name="T27" fmla="*/ 12 h 16"/>
                <a:gd name="T28" fmla="*/ 10 w 14"/>
                <a:gd name="T29" fmla="*/ 12 h 16"/>
                <a:gd name="T30" fmla="*/ 10 w 14"/>
                <a:gd name="T31" fmla="*/ 14 h 16"/>
                <a:gd name="T32" fmla="*/ 12 w 14"/>
                <a:gd name="T33" fmla="*/ 14 h 16"/>
                <a:gd name="T34" fmla="*/ 12 w 14"/>
                <a:gd name="T35" fmla="*/ 14 h 16"/>
                <a:gd name="T36" fmla="*/ 14 w 14"/>
                <a:gd name="T37" fmla="*/ 12 h 16"/>
                <a:gd name="T38" fmla="*/ 14 w 14"/>
                <a:gd name="T39" fmla="*/ 12 h 16"/>
                <a:gd name="T40" fmla="*/ 14 w 14"/>
                <a:gd name="T41" fmla="*/ 10 h 16"/>
                <a:gd name="T42" fmla="*/ 14 w 14"/>
                <a:gd name="T43" fmla="*/ 10 h 16"/>
                <a:gd name="T44" fmla="*/ 14 w 14"/>
                <a:gd name="T45" fmla="*/ 8 h 16"/>
                <a:gd name="T46" fmla="*/ 12 w 14"/>
                <a:gd name="T47" fmla="*/ 6 h 16"/>
                <a:gd name="T48" fmla="*/ 10 w 14"/>
                <a:gd name="T49" fmla="*/ 4 h 16"/>
                <a:gd name="T50" fmla="*/ 6 w 14"/>
                <a:gd name="T51" fmla="*/ 2 h 16"/>
                <a:gd name="T52" fmla="*/ 4 w 14"/>
                <a:gd name="T53" fmla="*/ 0 h 16"/>
                <a:gd name="T54" fmla="*/ 2 w 14"/>
                <a:gd name="T55" fmla="*/ 0 h 16"/>
                <a:gd name="T56" fmla="*/ 2 w 14"/>
                <a:gd name="T57" fmla="*/ 0 h 16"/>
                <a:gd name="T58" fmla="*/ 0 w 14"/>
                <a:gd name="T59" fmla="*/ 0 h 16"/>
                <a:gd name="T60" fmla="*/ 0 w 14"/>
                <a:gd name="T61" fmla="*/ 2 h 16"/>
                <a:gd name="T62" fmla="*/ 0 w 14"/>
                <a:gd name="T63" fmla="*/ 4 h 16"/>
                <a:gd name="T64" fmla="*/ 0 w 14"/>
                <a:gd name="T65" fmla="*/ 4 h 16"/>
                <a:gd name="T66" fmla="*/ 0 w 14"/>
                <a:gd name="T67" fmla="*/ 6 h 16"/>
                <a:gd name="T68" fmla="*/ 0 w 14"/>
                <a:gd name="T69" fmla="*/ 6 h 16"/>
                <a:gd name="T70" fmla="*/ 0 w 14"/>
                <a:gd name="T71" fmla="*/ 6 h 16"/>
                <a:gd name="T72" fmla="*/ 0 w 14"/>
                <a:gd name="T73" fmla="*/ 8 h 16"/>
                <a:gd name="T74" fmla="*/ 0 w 14"/>
                <a:gd name="T75" fmla="*/ 10 h 16"/>
                <a:gd name="T76" fmla="*/ 0 w 14"/>
                <a:gd name="T77" fmla="*/ 10 h 16"/>
                <a:gd name="T78" fmla="*/ 0 w 14"/>
                <a:gd name="T79" fmla="*/ 10 h 16"/>
                <a:gd name="T80" fmla="*/ 0 w 14"/>
                <a:gd name="T81" fmla="*/ 10 h 16"/>
                <a:gd name="T82" fmla="*/ 0 w 14"/>
                <a:gd name="T83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4" h="16">
                  <a:moveTo>
                    <a:pt x="0" y="10"/>
                  </a:moveTo>
                  <a:lnTo>
                    <a:pt x="0" y="10"/>
                  </a:lnTo>
                  <a:lnTo>
                    <a:pt x="2" y="12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6" y="16"/>
                  </a:lnTo>
                  <a:lnTo>
                    <a:pt x="6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2"/>
                  </a:lnTo>
                  <a:lnTo>
                    <a:pt x="10" y="12"/>
                  </a:lnTo>
                  <a:lnTo>
                    <a:pt x="10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4" y="8"/>
                  </a:lnTo>
                  <a:lnTo>
                    <a:pt x="12" y="6"/>
                  </a:lnTo>
                  <a:lnTo>
                    <a:pt x="10" y="4"/>
                  </a:lnTo>
                  <a:lnTo>
                    <a:pt x="6" y="2"/>
                  </a:lnTo>
                  <a:lnTo>
                    <a:pt x="4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87" name="Freeform 1054"/>
            <p:cNvSpPr>
              <a:spLocks/>
            </p:cNvSpPr>
            <p:nvPr/>
          </p:nvSpPr>
          <p:spPr bwMode="auto">
            <a:xfrm>
              <a:off x="7283690" y="2421980"/>
              <a:ext cx="9741" cy="12988"/>
            </a:xfrm>
            <a:custGeom>
              <a:avLst/>
              <a:gdLst>
                <a:gd name="T0" fmla="*/ 0 w 6"/>
                <a:gd name="T1" fmla="*/ 6 h 8"/>
                <a:gd name="T2" fmla="*/ 0 w 6"/>
                <a:gd name="T3" fmla="*/ 6 h 8"/>
                <a:gd name="T4" fmla="*/ 2 w 6"/>
                <a:gd name="T5" fmla="*/ 8 h 8"/>
                <a:gd name="T6" fmla="*/ 2 w 6"/>
                <a:gd name="T7" fmla="*/ 8 h 8"/>
                <a:gd name="T8" fmla="*/ 4 w 6"/>
                <a:gd name="T9" fmla="*/ 8 h 8"/>
                <a:gd name="T10" fmla="*/ 4 w 6"/>
                <a:gd name="T11" fmla="*/ 8 h 8"/>
                <a:gd name="T12" fmla="*/ 4 w 6"/>
                <a:gd name="T13" fmla="*/ 6 h 8"/>
                <a:gd name="T14" fmla="*/ 4 w 6"/>
                <a:gd name="T15" fmla="*/ 6 h 8"/>
                <a:gd name="T16" fmla="*/ 6 w 6"/>
                <a:gd name="T17" fmla="*/ 4 h 8"/>
                <a:gd name="T18" fmla="*/ 6 w 6"/>
                <a:gd name="T19" fmla="*/ 4 h 8"/>
                <a:gd name="T20" fmla="*/ 4 w 6"/>
                <a:gd name="T21" fmla="*/ 2 h 8"/>
                <a:gd name="T22" fmla="*/ 4 w 6"/>
                <a:gd name="T23" fmla="*/ 0 h 8"/>
                <a:gd name="T24" fmla="*/ 2 w 6"/>
                <a:gd name="T25" fmla="*/ 0 h 8"/>
                <a:gd name="T26" fmla="*/ 2 w 6"/>
                <a:gd name="T27" fmla="*/ 2 h 8"/>
                <a:gd name="T28" fmla="*/ 0 w 6"/>
                <a:gd name="T29" fmla="*/ 2 h 8"/>
                <a:gd name="T30" fmla="*/ 0 w 6"/>
                <a:gd name="T31" fmla="*/ 4 h 8"/>
                <a:gd name="T32" fmla="*/ 0 w 6"/>
                <a:gd name="T33" fmla="*/ 6 h 8"/>
                <a:gd name="T34" fmla="*/ 0 w 6"/>
                <a:gd name="T35" fmla="*/ 6 h 8"/>
                <a:gd name="T36" fmla="*/ 0 w 6"/>
                <a:gd name="T37" fmla="*/ 6 h 8"/>
                <a:gd name="T38" fmla="*/ 0 w 6"/>
                <a:gd name="T39" fmla="*/ 6 h 8"/>
                <a:gd name="T40" fmla="*/ 0 w 6"/>
                <a:gd name="T41" fmla="*/ 6 h 8"/>
                <a:gd name="T42" fmla="*/ 0 w 6"/>
                <a:gd name="T43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" h="8">
                  <a:moveTo>
                    <a:pt x="0" y="6"/>
                  </a:moveTo>
                  <a:lnTo>
                    <a:pt x="0" y="6"/>
                  </a:lnTo>
                  <a:lnTo>
                    <a:pt x="2" y="8"/>
                  </a:lnTo>
                  <a:lnTo>
                    <a:pt x="2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6"/>
                  </a:lnTo>
                  <a:lnTo>
                    <a:pt x="4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4" y="2"/>
                  </a:lnTo>
                  <a:lnTo>
                    <a:pt x="4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88" name="Freeform 1055"/>
            <p:cNvSpPr>
              <a:spLocks/>
            </p:cNvSpPr>
            <p:nvPr/>
          </p:nvSpPr>
          <p:spPr bwMode="auto">
            <a:xfrm>
              <a:off x="7806438" y="2490164"/>
              <a:ext cx="6494" cy="12988"/>
            </a:xfrm>
            <a:custGeom>
              <a:avLst/>
              <a:gdLst>
                <a:gd name="T0" fmla="*/ 2 w 4"/>
                <a:gd name="T1" fmla="*/ 0 h 8"/>
                <a:gd name="T2" fmla="*/ 2 w 4"/>
                <a:gd name="T3" fmla="*/ 0 h 8"/>
                <a:gd name="T4" fmla="*/ 2 w 4"/>
                <a:gd name="T5" fmla="*/ 0 h 8"/>
                <a:gd name="T6" fmla="*/ 0 w 4"/>
                <a:gd name="T7" fmla="*/ 2 h 8"/>
                <a:gd name="T8" fmla="*/ 0 w 4"/>
                <a:gd name="T9" fmla="*/ 2 h 8"/>
                <a:gd name="T10" fmla="*/ 0 w 4"/>
                <a:gd name="T11" fmla="*/ 4 h 8"/>
                <a:gd name="T12" fmla="*/ 0 w 4"/>
                <a:gd name="T13" fmla="*/ 6 h 8"/>
                <a:gd name="T14" fmla="*/ 0 w 4"/>
                <a:gd name="T15" fmla="*/ 6 h 8"/>
                <a:gd name="T16" fmla="*/ 2 w 4"/>
                <a:gd name="T17" fmla="*/ 8 h 8"/>
                <a:gd name="T18" fmla="*/ 2 w 4"/>
                <a:gd name="T19" fmla="*/ 8 h 8"/>
                <a:gd name="T20" fmla="*/ 2 w 4"/>
                <a:gd name="T21" fmla="*/ 8 h 8"/>
                <a:gd name="T22" fmla="*/ 4 w 4"/>
                <a:gd name="T23" fmla="*/ 8 h 8"/>
                <a:gd name="T24" fmla="*/ 4 w 4"/>
                <a:gd name="T25" fmla="*/ 8 h 8"/>
                <a:gd name="T26" fmla="*/ 4 w 4"/>
                <a:gd name="T27" fmla="*/ 8 h 8"/>
                <a:gd name="T28" fmla="*/ 4 w 4"/>
                <a:gd name="T29" fmla="*/ 6 h 8"/>
                <a:gd name="T30" fmla="*/ 4 w 4"/>
                <a:gd name="T31" fmla="*/ 4 h 8"/>
                <a:gd name="T32" fmla="*/ 4 w 4"/>
                <a:gd name="T33" fmla="*/ 4 h 8"/>
                <a:gd name="T34" fmla="*/ 4 w 4"/>
                <a:gd name="T35" fmla="*/ 2 h 8"/>
                <a:gd name="T36" fmla="*/ 4 w 4"/>
                <a:gd name="T37" fmla="*/ 2 h 8"/>
                <a:gd name="T38" fmla="*/ 2 w 4"/>
                <a:gd name="T39" fmla="*/ 0 h 8"/>
                <a:gd name="T40" fmla="*/ 2 w 4"/>
                <a:gd name="T41" fmla="*/ 0 h 8"/>
                <a:gd name="T42" fmla="*/ 2 w 4"/>
                <a:gd name="T43" fmla="*/ 0 h 8"/>
                <a:gd name="T44" fmla="*/ 2 w 4"/>
                <a:gd name="T45" fmla="*/ 0 h 8"/>
                <a:gd name="T46" fmla="*/ 2 w 4"/>
                <a:gd name="T47" fmla="*/ 0 h 8"/>
                <a:gd name="T48" fmla="*/ 2 w 4"/>
                <a:gd name="T49" fmla="*/ 0 h 8"/>
                <a:gd name="T50" fmla="*/ 2 w 4"/>
                <a:gd name="T5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" h="8">
                  <a:moveTo>
                    <a:pt x="2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6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2"/>
                  </a:lnTo>
                  <a:lnTo>
                    <a:pt x="4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89" name="Freeform 1056"/>
            <p:cNvSpPr>
              <a:spLocks/>
            </p:cNvSpPr>
            <p:nvPr/>
          </p:nvSpPr>
          <p:spPr bwMode="auto">
            <a:xfrm>
              <a:off x="7796697" y="2509645"/>
              <a:ext cx="16234" cy="29222"/>
            </a:xfrm>
            <a:custGeom>
              <a:avLst/>
              <a:gdLst>
                <a:gd name="T0" fmla="*/ 8 w 10"/>
                <a:gd name="T1" fmla="*/ 2 h 18"/>
                <a:gd name="T2" fmla="*/ 8 w 10"/>
                <a:gd name="T3" fmla="*/ 2 h 18"/>
                <a:gd name="T4" fmla="*/ 8 w 10"/>
                <a:gd name="T5" fmla="*/ 0 h 18"/>
                <a:gd name="T6" fmla="*/ 6 w 10"/>
                <a:gd name="T7" fmla="*/ 0 h 18"/>
                <a:gd name="T8" fmla="*/ 6 w 10"/>
                <a:gd name="T9" fmla="*/ 0 h 18"/>
                <a:gd name="T10" fmla="*/ 6 w 10"/>
                <a:gd name="T11" fmla="*/ 0 h 18"/>
                <a:gd name="T12" fmla="*/ 4 w 10"/>
                <a:gd name="T13" fmla="*/ 0 h 18"/>
                <a:gd name="T14" fmla="*/ 2 w 10"/>
                <a:gd name="T15" fmla="*/ 2 h 18"/>
                <a:gd name="T16" fmla="*/ 2 w 10"/>
                <a:gd name="T17" fmla="*/ 4 h 18"/>
                <a:gd name="T18" fmla="*/ 2 w 10"/>
                <a:gd name="T19" fmla="*/ 4 h 18"/>
                <a:gd name="T20" fmla="*/ 2 w 10"/>
                <a:gd name="T21" fmla="*/ 8 h 18"/>
                <a:gd name="T22" fmla="*/ 0 w 10"/>
                <a:gd name="T23" fmla="*/ 10 h 18"/>
                <a:gd name="T24" fmla="*/ 0 w 10"/>
                <a:gd name="T25" fmla="*/ 10 h 18"/>
                <a:gd name="T26" fmla="*/ 0 w 10"/>
                <a:gd name="T27" fmla="*/ 14 h 18"/>
                <a:gd name="T28" fmla="*/ 0 w 10"/>
                <a:gd name="T29" fmla="*/ 14 h 18"/>
                <a:gd name="T30" fmla="*/ 0 w 10"/>
                <a:gd name="T31" fmla="*/ 16 h 18"/>
                <a:gd name="T32" fmla="*/ 0 w 10"/>
                <a:gd name="T33" fmla="*/ 16 h 18"/>
                <a:gd name="T34" fmla="*/ 2 w 10"/>
                <a:gd name="T35" fmla="*/ 18 h 18"/>
                <a:gd name="T36" fmla="*/ 2 w 10"/>
                <a:gd name="T37" fmla="*/ 18 h 18"/>
                <a:gd name="T38" fmla="*/ 2 w 10"/>
                <a:gd name="T39" fmla="*/ 18 h 18"/>
                <a:gd name="T40" fmla="*/ 4 w 10"/>
                <a:gd name="T41" fmla="*/ 16 h 18"/>
                <a:gd name="T42" fmla="*/ 6 w 10"/>
                <a:gd name="T43" fmla="*/ 14 h 18"/>
                <a:gd name="T44" fmla="*/ 6 w 10"/>
                <a:gd name="T45" fmla="*/ 10 h 18"/>
                <a:gd name="T46" fmla="*/ 6 w 10"/>
                <a:gd name="T47" fmla="*/ 10 h 18"/>
                <a:gd name="T48" fmla="*/ 8 w 10"/>
                <a:gd name="T49" fmla="*/ 8 h 18"/>
                <a:gd name="T50" fmla="*/ 8 w 10"/>
                <a:gd name="T51" fmla="*/ 6 h 18"/>
                <a:gd name="T52" fmla="*/ 8 w 10"/>
                <a:gd name="T53" fmla="*/ 6 h 18"/>
                <a:gd name="T54" fmla="*/ 8 w 10"/>
                <a:gd name="T55" fmla="*/ 4 h 18"/>
                <a:gd name="T56" fmla="*/ 10 w 10"/>
                <a:gd name="T57" fmla="*/ 4 h 18"/>
                <a:gd name="T58" fmla="*/ 10 w 10"/>
                <a:gd name="T59" fmla="*/ 4 h 18"/>
                <a:gd name="T60" fmla="*/ 10 w 10"/>
                <a:gd name="T61" fmla="*/ 4 h 18"/>
                <a:gd name="T62" fmla="*/ 10 w 10"/>
                <a:gd name="T63" fmla="*/ 2 h 18"/>
                <a:gd name="T64" fmla="*/ 10 w 10"/>
                <a:gd name="T65" fmla="*/ 2 h 18"/>
                <a:gd name="T66" fmla="*/ 8 w 10"/>
                <a:gd name="T67" fmla="*/ 2 h 18"/>
                <a:gd name="T68" fmla="*/ 8 w 10"/>
                <a:gd name="T69" fmla="*/ 2 h 18"/>
                <a:gd name="T70" fmla="*/ 8 w 10"/>
                <a:gd name="T71" fmla="*/ 2 h 18"/>
                <a:gd name="T72" fmla="*/ 8 w 10"/>
                <a:gd name="T73" fmla="*/ 2 h 18"/>
                <a:gd name="T74" fmla="*/ 8 w 10"/>
                <a:gd name="T75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0" h="18">
                  <a:moveTo>
                    <a:pt x="8" y="2"/>
                  </a:moveTo>
                  <a:lnTo>
                    <a:pt x="8" y="2"/>
                  </a:lnTo>
                  <a:lnTo>
                    <a:pt x="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4" y="16"/>
                  </a:lnTo>
                  <a:lnTo>
                    <a:pt x="6" y="14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8" y="8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90" name="Freeform 1057"/>
            <p:cNvSpPr>
              <a:spLocks/>
            </p:cNvSpPr>
            <p:nvPr/>
          </p:nvSpPr>
          <p:spPr bwMode="auto">
            <a:xfrm>
              <a:off x="7786956" y="2545361"/>
              <a:ext cx="12988" cy="29222"/>
            </a:xfrm>
            <a:custGeom>
              <a:avLst/>
              <a:gdLst>
                <a:gd name="T0" fmla="*/ 0 w 8"/>
                <a:gd name="T1" fmla="*/ 0 h 18"/>
                <a:gd name="T2" fmla="*/ 0 w 8"/>
                <a:gd name="T3" fmla="*/ 0 h 18"/>
                <a:gd name="T4" fmla="*/ 0 w 8"/>
                <a:gd name="T5" fmla="*/ 2 h 18"/>
                <a:gd name="T6" fmla="*/ 0 w 8"/>
                <a:gd name="T7" fmla="*/ 4 h 18"/>
                <a:gd name="T8" fmla="*/ 0 w 8"/>
                <a:gd name="T9" fmla="*/ 8 h 18"/>
                <a:gd name="T10" fmla="*/ 0 w 8"/>
                <a:gd name="T11" fmla="*/ 8 h 18"/>
                <a:gd name="T12" fmla="*/ 0 w 8"/>
                <a:gd name="T13" fmla="*/ 12 h 18"/>
                <a:gd name="T14" fmla="*/ 0 w 8"/>
                <a:gd name="T15" fmla="*/ 14 h 18"/>
                <a:gd name="T16" fmla="*/ 2 w 8"/>
                <a:gd name="T17" fmla="*/ 16 h 18"/>
                <a:gd name="T18" fmla="*/ 2 w 8"/>
                <a:gd name="T19" fmla="*/ 16 h 18"/>
                <a:gd name="T20" fmla="*/ 4 w 8"/>
                <a:gd name="T21" fmla="*/ 16 h 18"/>
                <a:gd name="T22" fmla="*/ 4 w 8"/>
                <a:gd name="T23" fmla="*/ 18 h 18"/>
                <a:gd name="T24" fmla="*/ 6 w 8"/>
                <a:gd name="T25" fmla="*/ 18 h 18"/>
                <a:gd name="T26" fmla="*/ 6 w 8"/>
                <a:gd name="T27" fmla="*/ 16 h 18"/>
                <a:gd name="T28" fmla="*/ 6 w 8"/>
                <a:gd name="T29" fmla="*/ 16 h 18"/>
                <a:gd name="T30" fmla="*/ 6 w 8"/>
                <a:gd name="T31" fmla="*/ 16 h 18"/>
                <a:gd name="T32" fmla="*/ 6 w 8"/>
                <a:gd name="T33" fmla="*/ 16 h 18"/>
                <a:gd name="T34" fmla="*/ 8 w 8"/>
                <a:gd name="T35" fmla="*/ 10 h 18"/>
                <a:gd name="T36" fmla="*/ 6 w 8"/>
                <a:gd name="T37" fmla="*/ 8 h 18"/>
                <a:gd name="T38" fmla="*/ 6 w 8"/>
                <a:gd name="T39" fmla="*/ 6 h 18"/>
                <a:gd name="T40" fmla="*/ 6 w 8"/>
                <a:gd name="T41" fmla="*/ 4 h 18"/>
                <a:gd name="T42" fmla="*/ 4 w 8"/>
                <a:gd name="T43" fmla="*/ 2 h 18"/>
                <a:gd name="T44" fmla="*/ 2 w 8"/>
                <a:gd name="T45" fmla="*/ 0 h 18"/>
                <a:gd name="T46" fmla="*/ 0 w 8"/>
                <a:gd name="T47" fmla="*/ 0 h 18"/>
                <a:gd name="T48" fmla="*/ 0 w 8"/>
                <a:gd name="T49" fmla="*/ 0 h 18"/>
                <a:gd name="T50" fmla="*/ 0 w 8"/>
                <a:gd name="T51" fmla="*/ 0 h 18"/>
                <a:gd name="T52" fmla="*/ 0 w 8"/>
                <a:gd name="T53" fmla="*/ 0 h 18"/>
                <a:gd name="T54" fmla="*/ 0 w 8"/>
                <a:gd name="T5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" h="18">
                  <a:moveTo>
                    <a:pt x="0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2"/>
                  </a:lnTo>
                  <a:lnTo>
                    <a:pt x="0" y="14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4" y="16"/>
                  </a:lnTo>
                  <a:lnTo>
                    <a:pt x="4" y="18"/>
                  </a:lnTo>
                  <a:lnTo>
                    <a:pt x="6" y="18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8" y="10"/>
                  </a:lnTo>
                  <a:lnTo>
                    <a:pt x="6" y="8"/>
                  </a:lnTo>
                  <a:lnTo>
                    <a:pt x="6" y="6"/>
                  </a:lnTo>
                  <a:lnTo>
                    <a:pt x="6" y="4"/>
                  </a:lnTo>
                  <a:lnTo>
                    <a:pt x="4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91" name="Freeform 1117"/>
            <p:cNvSpPr>
              <a:spLocks/>
            </p:cNvSpPr>
            <p:nvPr/>
          </p:nvSpPr>
          <p:spPr bwMode="auto">
            <a:xfrm>
              <a:off x="5368029" y="2671990"/>
              <a:ext cx="889646" cy="509760"/>
            </a:xfrm>
            <a:custGeom>
              <a:avLst/>
              <a:gdLst>
                <a:gd name="T0" fmla="*/ 522 w 548"/>
                <a:gd name="T1" fmla="*/ 100 h 314"/>
                <a:gd name="T2" fmla="*/ 494 w 548"/>
                <a:gd name="T3" fmla="*/ 76 h 314"/>
                <a:gd name="T4" fmla="*/ 466 w 548"/>
                <a:gd name="T5" fmla="*/ 78 h 314"/>
                <a:gd name="T6" fmla="*/ 446 w 548"/>
                <a:gd name="T7" fmla="*/ 80 h 314"/>
                <a:gd name="T8" fmla="*/ 422 w 548"/>
                <a:gd name="T9" fmla="*/ 64 h 314"/>
                <a:gd name="T10" fmla="*/ 398 w 548"/>
                <a:gd name="T11" fmla="*/ 40 h 314"/>
                <a:gd name="T12" fmla="*/ 370 w 548"/>
                <a:gd name="T13" fmla="*/ 22 h 314"/>
                <a:gd name="T14" fmla="*/ 354 w 548"/>
                <a:gd name="T15" fmla="*/ 16 h 314"/>
                <a:gd name="T16" fmla="*/ 338 w 548"/>
                <a:gd name="T17" fmla="*/ 34 h 314"/>
                <a:gd name="T18" fmla="*/ 322 w 548"/>
                <a:gd name="T19" fmla="*/ 26 h 314"/>
                <a:gd name="T20" fmla="*/ 300 w 548"/>
                <a:gd name="T21" fmla="*/ 24 h 314"/>
                <a:gd name="T22" fmla="*/ 282 w 548"/>
                <a:gd name="T23" fmla="*/ 8 h 314"/>
                <a:gd name="T24" fmla="*/ 250 w 548"/>
                <a:gd name="T25" fmla="*/ 2 h 314"/>
                <a:gd name="T26" fmla="*/ 210 w 548"/>
                <a:gd name="T27" fmla="*/ 24 h 314"/>
                <a:gd name="T28" fmla="*/ 184 w 548"/>
                <a:gd name="T29" fmla="*/ 38 h 314"/>
                <a:gd name="T30" fmla="*/ 158 w 548"/>
                <a:gd name="T31" fmla="*/ 54 h 314"/>
                <a:gd name="T32" fmla="*/ 156 w 548"/>
                <a:gd name="T33" fmla="*/ 82 h 314"/>
                <a:gd name="T34" fmla="*/ 166 w 548"/>
                <a:gd name="T35" fmla="*/ 98 h 314"/>
                <a:gd name="T36" fmla="*/ 158 w 548"/>
                <a:gd name="T37" fmla="*/ 116 h 314"/>
                <a:gd name="T38" fmla="*/ 134 w 548"/>
                <a:gd name="T39" fmla="*/ 112 h 314"/>
                <a:gd name="T40" fmla="*/ 108 w 548"/>
                <a:gd name="T41" fmla="*/ 118 h 314"/>
                <a:gd name="T42" fmla="*/ 76 w 548"/>
                <a:gd name="T43" fmla="*/ 124 h 314"/>
                <a:gd name="T44" fmla="*/ 46 w 548"/>
                <a:gd name="T45" fmla="*/ 108 h 314"/>
                <a:gd name="T46" fmla="*/ 16 w 548"/>
                <a:gd name="T47" fmla="*/ 114 h 314"/>
                <a:gd name="T48" fmla="*/ 18 w 548"/>
                <a:gd name="T49" fmla="*/ 148 h 314"/>
                <a:gd name="T50" fmla="*/ 46 w 548"/>
                <a:gd name="T51" fmla="*/ 194 h 314"/>
                <a:gd name="T52" fmla="*/ 66 w 548"/>
                <a:gd name="T53" fmla="*/ 194 h 314"/>
                <a:gd name="T54" fmla="*/ 74 w 548"/>
                <a:gd name="T55" fmla="*/ 220 h 314"/>
                <a:gd name="T56" fmla="*/ 82 w 548"/>
                <a:gd name="T57" fmla="*/ 236 h 314"/>
                <a:gd name="T58" fmla="*/ 58 w 548"/>
                <a:gd name="T59" fmla="*/ 236 h 314"/>
                <a:gd name="T60" fmla="*/ 56 w 548"/>
                <a:gd name="T61" fmla="*/ 256 h 314"/>
                <a:gd name="T62" fmla="*/ 40 w 548"/>
                <a:gd name="T63" fmla="*/ 254 h 314"/>
                <a:gd name="T64" fmla="*/ 54 w 548"/>
                <a:gd name="T65" fmla="*/ 262 h 314"/>
                <a:gd name="T66" fmla="*/ 68 w 548"/>
                <a:gd name="T67" fmla="*/ 284 h 314"/>
                <a:gd name="T68" fmla="*/ 82 w 548"/>
                <a:gd name="T69" fmla="*/ 302 h 314"/>
                <a:gd name="T70" fmla="*/ 94 w 548"/>
                <a:gd name="T71" fmla="*/ 302 h 314"/>
                <a:gd name="T72" fmla="*/ 118 w 548"/>
                <a:gd name="T73" fmla="*/ 300 h 314"/>
                <a:gd name="T74" fmla="*/ 136 w 548"/>
                <a:gd name="T75" fmla="*/ 314 h 314"/>
                <a:gd name="T76" fmla="*/ 126 w 548"/>
                <a:gd name="T77" fmla="*/ 242 h 314"/>
                <a:gd name="T78" fmla="*/ 154 w 548"/>
                <a:gd name="T79" fmla="*/ 226 h 314"/>
                <a:gd name="T80" fmla="*/ 170 w 548"/>
                <a:gd name="T81" fmla="*/ 212 h 314"/>
                <a:gd name="T82" fmla="*/ 186 w 548"/>
                <a:gd name="T83" fmla="*/ 220 h 314"/>
                <a:gd name="T84" fmla="*/ 194 w 548"/>
                <a:gd name="T85" fmla="*/ 240 h 314"/>
                <a:gd name="T86" fmla="*/ 222 w 548"/>
                <a:gd name="T87" fmla="*/ 260 h 314"/>
                <a:gd name="T88" fmla="*/ 260 w 548"/>
                <a:gd name="T89" fmla="*/ 254 h 314"/>
                <a:gd name="T90" fmla="*/ 280 w 548"/>
                <a:gd name="T91" fmla="*/ 270 h 314"/>
                <a:gd name="T92" fmla="*/ 302 w 548"/>
                <a:gd name="T93" fmla="*/ 300 h 314"/>
                <a:gd name="T94" fmla="*/ 334 w 548"/>
                <a:gd name="T95" fmla="*/ 294 h 314"/>
                <a:gd name="T96" fmla="*/ 358 w 548"/>
                <a:gd name="T97" fmla="*/ 276 h 314"/>
                <a:gd name="T98" fmla="*/ 378 w 548"/>
                <a:gd name="T99" fmla="*/ 270 h 314"/>
                <a:gd name="T100" fmla="*/ 392 w 548"/>
                <a:gd name="T101" fmla="*/ 256 h 314"/>
                <a:gd name="T102" fmla="*/ 434 w 548"/>
                <a:gd name="T103" fmla="*/ 256 h 314"/>
                <a:gd name="T104" fmla="*/ 478 w 548"/>
                <a:gd name="T105" fmla="*/ 262 h 314"/>
                <a:gd name="T106" fmla="*/ 496 w 548"/>
                <a:gd name="T107" fmla="*/ 234 h 314"/>
                <a:gd name="T108" fmla="*/ 480 w 548"/>
                <a:gd name="T109" fmla="*/ 204 h 314"/>
                <a:gd name="T110" fmla="*/ 504 w 548"/>
                <a:gd name="T111" fmla="*/ 202 h 314"/>
                <a:gd name="T112" fmla="*/ 500 w 548"/>
                <a:gd name="T113" fmla="*/ 182 h 314"/>
                <a:gd name="T114" fmla="*/ 512 w 548"/>
                <a:gd name="T115" fmla="*/ 150 h 314"/>
                <a:gd name="T116" fmla="*/ 536 w 548"/>
                <a:gd name="T117" fmla="*/ 136 h 314"/>
                <a:gd name="T118" fmla="*/ 546 w 548"/>
                <a:gd name="T119" fmla="*/ 116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48" h="314">
                  <a:moveTo>
                    <a:pt x="548" y="102"/>
                  </a:moveTo>
                  <a:lnTo>
                    <a:pt x="548" y="102"/>
                  </a:lnTo>
                  <a:lnTo>
                    <a:pt x="546" y="102"/>
                  </a:lnTo>
                  <a:lnTo>
                    <a:pt x="546" y="102"/>
                  </a:lnTo>
                  <a:lnTo>
                    <a:pt x="542" y="100"/>
                  </a:lnTo>
                  <a:lnTo>
                    <a:pt x="540" y="100"/>
                  </a:lnTo>
                  <a:lnTo>
                    <a:pt x="538" y="98"/>
                  </a:lnTo>
                  <a:lnTo>
                    <a:pt x="534" y="100"/>
                  </a:lnTo>
                  <a:lnTo>
                    <a:pt x="534" y="100"/>
                  </a:lnTo>
                  <a:lnTo>
                    <a:pt x="530" y="100"/>
                  </a:lnTo>
                  <a:lnTo>
                    <a:pt x="530" y="100"/>
                  </a:lnTo>
                  <a:lnTo>
                    <a:pt x="528" y="100"/>
                  </a:lnTo>
                  <a:lnTo>
                    <a:pt x="528" y="100"/>
                  </a:lnTo>
                  <a:lnTo>
                    <a:pt x="524" y="100"/>
                  </a:lnTo>
                  <a:lnTo>
                    <a:pt x="522" y="100"/>
                  </a:lnTo>
                  <a:lnTo>
                    <a:pt x="522" y="100"/>
                  </a:lnTo>
                  <a:lnTo>
                    <a:pt x="520" y="100"/>
                  </a:lnTo>
                  <a:lnTo>
                    <a:pt x="518" y="100"/>
                  </a:lnTo>
                  <a:lnTo>
                    <a:pt x="518" y="100"/>
                  </a:lnTo>
                  <a:lnTo>
                    <a:pt x="516" y="100"/>
                  </a:lnTo>
                  <a:lnTo>
                    <a:pt x="514" y="98"/>
                  </a:lnTo>
                  <a:lnTo>
                    <a:pt x="514" y="96"/>
                  </a:lnTo>
                  <a:lnTo>
                    <a:pt x="514" y="96"/>
                  </a:lnTo>
                  <a:lnTo>
                    <a:pt x="510" y="92"/>
                  </a:lnTo>
                  <a:lnTo>
                    <a:pt x="508" y="90"/>
                  </a:lnTo>
                  <a:lnTo>
                    <a:pt x="502" y="86"/>
                  </a:lnTo>
                  <a:lnTo>
                    <a:pt x="502" y="86"/>
                  </a:lnTo>
                  <a:lnTo>
                    <a:pt x="500" y="84"/>
                  </a:lnTo>
                  <a:lnTo>
                    <a:pt x="498" y="82"/>
                  </a:lnTo>
                  <a:lnTo>
                    <a:pt x="496" y="80"/>
                  </a:lnTo>
                  <a:lnTo>
                    <a:pt x="496" y="80"/>
                  </a:lnTo>
                  <a:lnTo>
                    <a:pt x="494" y="76"/>
                  </a:lnTo>
                  <a:lnTo>
                    <a:pt x="494" y="76"/>
                  </a:lnTo>
                  <a:lnTo>
                    <a:pt x="492" y="74"/>
                  </a:lnTo>
                  <a:lnTo>
                    <a:pt x="492" y="74"/>
                  </a:lnTo>
                  <a:lnTo>
                    <a:pt x="488" y="74"/>
                  </a:lnTo>
                  <a:lnTo>
                    <a:pt x="480" y="74"/>
                  </a:lnTo>
                  <a:lnTo>
                    <a:pt x="480" y="74"/>
                  </a:lnTo>
                  <a:lnTo>
                    <a:pt x="478" y="74"/>
                  </a:lnTo>
                  <a:lnTo>
                    <a:pt x="476" y="74"/>
                  </a:lnTo>
                  <a:lnTo>
                    <a:pt x="474" y="74"/>
                  </a:lnTo>
                  <a:lnTo>
                    <a:pt x="474" y="74"/>
                  </a:lnTo>
                  <a:lnTo>
                    <a:pt x="472" y="76"/>
                  </a:lnTo>
                  <a:lnTo>
                    <a:pt x="470" y="78"/>
                  </a:lnTo>
                  <a:lnTo>
                    <a:pt x="468" y="78"/>
                  </a:lnTo>
                  <a:lnTo>
                    <a:pt x="468" y="78"/>
                  </a:lnTo>
                  <a:lnTo>
                    <a:pt x="468" y="78"/>
                  </a:lnTo>
                  <a:lnTo>
                    <a:pt x="466" y="78"/>
                  </a:lnTo>
                  <a:lnTo>
                    <a:pt x="464" y="78"/>
                  </a:lnTo>
                  <a:lnTo>
                    <a:pt x="464" y="78"/>
                  </a:lnTo>
                  <a:lnTo>
                    <a:pt x="462" y="78"/>
                  </a:lnTo>
                  <a:lnTo>
                    <a:pt x="460" y="76"/>
                  </a:lnTo>
                  <a:lnTo>
                    <a:pt x="454" y="76"/>
                  </a:lnTo>
                  <a:lnTo>
                    <a:pt x="454" y="76"/>
                  </a:lnTo>
                  <a:lnTo>
                    <a:pt x="452" y="76"/>
                  </a:lnTo>
                  <a:lnTo>
                    <a:pt x="450" y="76"/>
                  </a:lnTo>
                  <a:lnTo>
                    <a:pt x="448" y="76"/>
                  </a:lnTo>
                  <a:lnTo>
                    <a:pt x="448" y="76"/>
                  </a:lnTo>
                  <a:lnTo>
                    <a:pt x="446" y="76"/>
                  </a:lnTo>
                  <a:lnTo>
                    <a:pt x="446" y="76"/>
                  </a:lnTo>
                  <a:lnTo>
                    <a:pt x="446" y="78"/>
                  </a:lnTo>
                  <a:lnTo>
                    <a:pt x="446" y="80"/>
                  </a:lnTo>
                  <a:lnTo>
                    <a:pt x="446" y="80"/>
                  </a:lnTo>
                  <a:lnTo>
                    <a:pt x="446" y="80"/>
                  </a:lnTo>
                  <a:lnTo>
                    <a:pt x="444" y="82"/>
                  </a:lnTo>
                  <a:lnTo>
                    <a:pt x="444" y="82"/>
                  </a:lnTo>
                  <a:lnTo>
                    <a:pt x="442" y="84"/>
                  </a:lnTo>
                  <a:lnTo>
                    <a:pt x="440" y="84"/>
                  </a:lnTo>
                  <a:lnTo>
                    <a:pt x="440" y="84"/>
                  </a:lnTo>
                  <a:lnTo>
                    <a:pt x="438" y="84"/>
                  </a:lnTo>
                  <a:lnTo>
                    <a:pt x="436" y="84"/>
                  </a:lnTo>
                  <a:lnTo>
                    <a:pt x="436" y="84"/>
                  </a:lnTo>
                  <a:lnTo>
                    <a:pt x="434" y="84"/>
                  </a:lnTo>
                  <a:lnTo>
                    <a:pt x="432" y="82"/>
                  </a:lnTo>
                  <a:lnTo>
                    <a:pt x="430" y="78"/>
                  </a:lnTo>
                  <a:lnTo>
                    <a:pt x="430" y="78"/>
                  </a:lnTo>
                  <a:lnTo>
                    <a:pt x="426" y="70"/>
                  </a:lnTo>
                  <a:lnTo>
                    <a:pt x="426" y="70"/>
                  </a:lnTo>
                  <a:lnTo>
                    <a:pt x="424" y="66"/>
                  </a:lnTo>
                  <a:lnTo>
                    <a:pt x="422" y="64"/>
                  </a:lnTo>
                  <a:lnTo>
                    <a:pt x="422" y="60"/>
                  </a:lnTo>
                  <a:lnTo>
                    <a:pt x="420" y="58"/>
                  </a:lnTo>
                  <a:lnTo>
                    <a:pt x="420" y="58"/>
                  </a:lnTo>
                  <a:lnTo>
                    <a:pt x="420" y="58"/>
                  </a:lnTo>
                  <a:lnTo>
                    <a:pt x="420" y="56"/>
                  </a:lnTo>
                  <a:lnTo>
                    <a:pt x="418" y="56"/>
                  </a:lnTo>
                  <a:lnTo>
                    <a:pt x="418" y="56"/>
                  </a:lnTo>
                  <a:lnTo>
                    <a:pt x="418" y="56"/>
                  </a:lnTo>
                  <a:lnTo>
                    <a:pt x="416" y="56"/>
                  </a:lnTo>
                  <a:lnTo>
                    <a:pt x="412" y="54"/>
                  </a:lnTo>
                  <a:lnTo>
                    <a:pt x="412" y="54"/>
                  </a:lnTo>
                  <a:lnTo>
                    <a:pt x="410" y="52"/>
                  </a:lnTo>
                  <a:lnTo>
                    <a:pt x="406" y="50"/>
                  </a:lnTo>
                  <a:lnTo>
                    <a:pt x="402" y="46"/>
                  </a:lnTo>
                  <a:lnTo>
                    <a:pt x="402" y="46"/>
                  </a:lnTo>
                  <a:lnTo>
                    <a:pt x="398" y="40"/>
                  </a:lnTo>
                  <a:lnTo>
                    <a:pt x="394" y="36"/>
                  </a:lnTo>
                  <a:lnTo>
                    <a:pt x="394" y="36"/>
                  </a:lnTo>
                  <a:lnTo>
                    <a:pt x="392" y="34"/>
                  </a:lnTo>
                  <a:lnTo>
                    <a:pt x="390" y="32"/>
                  </a:lnTo>
                  <a:lnTo>
                    <a:pt x="388" y="32"/>
                  </a:lnTo>
                  <a:lnTo>
                    <a:pt x="386" y="32"/>
                  </a:lnTo>
                  <a:lnTo>
                    <a:pt x="386" y="32"/>
                  </a:lnTo>
                  <a:lnTo>
                    <a:pt x="384" y="32"/>
                  </a:lnTo>
                  <a:lnTo>
                    <a:pt x="380" y="30"/>
                  </a:lnTo>
                  <a:lnTo>
                    <a:pt x="380" y="30"/>
                  </a:lnTo>
                  <a:lnTo>
                    <a:pt x="378" y="28"/>
                  </a:lnTo>
                  <a:lnTo>
                    <a:pt x="374" y="26"/>
                  </a:lnTo>
                  <a:lnTo>
                    <a:pt x="372" y="24"/>
                  </a:lnTo>
                  <a:lnTo>
                    <a:pt x="370" y="22"/>
                  </a:lnTo>
                  <a:lnTo>
                    <a:pt x="370" y="22"/>
                  </a:lnTo>
                  <a:lnTo>
                    <a:pt x="370" y="22"/>
                  </a:lnTo>
                  <a:lnTo>
                    <a:pt x="370" y="18"/>
                  </a:lnTo>
                  <a:lnTo>
                    <a:pt x="370" y="16"/>
                  </a:lnTo>
                  <a:lnTo>
                    <a:pt x="368" y="14"/>
                  </a:lnTo>
                  <a:lnTo>
                    <a:pt x="368" y="14"/>
                  </a:lnTo>
                  <a:lnTo>
                    <a:pt x="368" y="14"/>
                  </a:lnTo>
                  <a:lnTo>
                    <a:pt x="366" y="12"/>
                  </a:lnTo>
                  <a:lnTo>
                    <a:pt x="364" y="12"/>
                  </a:lnTo>
                  <a:lnTo>
                    <a:pt x="364" y="12"/>
                  </a:lnTo>
                  <a:lnTo>
                    <a:pt x="362" y="12"/>
                  </a:lnTo>
                  <a:lnTo>
                    <a:pt x="360" y="12"/>
                  </a:lnTo>
                  <a:lnTo>
                    <a:pt x="358" y="12"/>
                  </a:lnTo>
                  <a:lnTo>
                    <a:pt x="358" y="12"/>
                  </a:lnTo>
                  <a:lnTo>
                    <a:pt x="356" y="14"/>
                  </a:lnTo>
                  <a:lnTo>
                    <a:pt x="356" y="14"/>
                  </a:lnTo>
                  <a:lnTo>
                    <a:pt x="354" y="16"/>
                  </a:lnTo>
                  <a:lnTo>
                    <a:pt x="354" y="16"/>
                  </a:lnTo>
                  <a:lnTo>
                    <a:pt x="354" y="16"/>
                  </a:lnTo>
                  <a:lnTo>
                    <a:pt x="352" y="16"/>
                  </a:lnTo>
                  <a:lnTo>
                    <a:pt x="352" y="18"/>
                  </a:lnTo>
                  <a:lnTo>
                    <a:pt x="350" y="18"/>
                  </a:lnTo>
                  <a:lnTo>
                    <a:pt x="350" y="18"/>
                  </a:lnTo>
                  <a:lnTo>
                    <a:pt x="350" y="20"/>
                  </a:lnTo>
                  <a:lnTo>
                    <a:pt x="348" y="20"/>
                  </a:lnTo>
                  <a:lnTo>
                    <a:pt x="348" y="22"/>
                  </a:lnTo>
                  <a:lnTo>
                    <a:pt x="348" y="22"/>
                  </a:lnTo>
                  <a:lnTo>
                    <a:pt x="346" y="26"/>
                  </a:lnTo>
                  <a:lnTo>
                    <a:pt x="346" y="28"/>
                  </a:lnTo>
                  <a:lnTo>
                    <a:pt x="344" y="30"/>
                  </a:lnTo>
                  <a:lnTo>
                    <a:pt x="344" y="30"/>
                  </a:lnTo>
                  <a:lnTo>
                    <a:pt x="342" y="32"/>
                  </a:lnTo>
                  <a:lnTo>
                    <a:pt x="340" y="34"/>
                  </a:lnTo>
                  <a:lnTo>
                    <a:pt x="338" y="34"/>
                  </a:lnTo>
                  <a:lnTo>
                    <a:pt x="336" y="36"/>
                  </a:lnTo>
                  <a:lnTo>
                    <a:pt x="336" y="36"/>
                  </a:lnTo>
                  <a:lnTo>
                    <a:pt x="334" y="36"/>
                  </a:lnTo>
                  <a:lnTo>
                    <a:pt x="332" y="36"/>
                  </a:lnTo>
                  <a:lnTo>
                    <a:pt x="332" y="38"/>
                  </a:lnTo>
                  <a:lnTo>
                    <a:pt x="330" y="38"/>
                  </a:lnTo>
                  <a:lnTo>
                    <a:pt x="330" y="38"/>
                  </a:lnTo>
                  <a:lnTo>
                    <a:pt x="328" y="36"/>
                  </a:lnTo>
                  <a:lnTo>
                    <a:pt x="326" y="36"/>
                  </a:lnTo>
                  <a:lnTo>
                    <a:pt x="326" y="36"/>
                  </a:lnTo>
                  <a:lnTo>
                    <a:pt x="324" y="34"/>
                  </a:lnTo>
                  <a:lnTo>
                    <a:pt x="324" y="34"/>
                  </a:lnTo>
                  <a:lnTo>
                    <a:pt x="324" y="32"/>
                  </a:lnTo>
                  <a:lnTo>
                    <a:pt x="324" y="30"/>
                  </a:lnTo>
                  <a:lnTo>
                    <a:pt x="324" y="28"/>
                  </a:lnTo>
                  <a:lnTo>
                    <a:pt x="322" y="26"/>
                  </a:lnTo>
                  <a:lnTo>
                    <a:pt x="322" y="26"/>
                  </a:lnTo>
                  <a:lnTo>
                    <a:pt x="322" y="26"/>
                  </a:lnTo>
                  <a:lnTo>
                    <a:pt x="322" y="26"/>
                  </a:lnTo>
                  <a:lnTo>
                    <a:pt x="318" y="24"/>
                  </a:lnTo>
                  <a:lnTo>
                    <a:pt x="318" y="24"/>
                  </a:lnTo>
                  <a:lnTo>
                    <a:pt x="316" y="22"/>
                  </a:lnTo>
                  <a:lnTo>
                    <a:pt x="314" y="22"/>
                  </a:lnTo>
                  <a:lnTo>
                    <a:pt x="314" y="22"/>
                  </a:lnTo>
                  <a:lnTo>
                    <a:pt x="314" y="22"/>
                  </a:lnTo>
                  <a:lnTo>
                    <a:pt x="310" y="24"/>
                  </a:lnTo>
                  <a:lnTo>
                    <a:pt x="308" y="24"/>
                  </a:lnTo>
                  <a:lnTo>
                    <a:pt x="306" y="26"/>
                  </a:lnTo>
                  <a:lnTo>
                    <a:pt x="304" y="26"/>
                  </a:lnTo>
                  <a:lnTo>
                    <a:pt x="302" y="24"/>
                  </a:lnTo>
                  <a:lnTo>
                    <a:pt x="302" y="24"/>
                  </a:lnTo>
                  <a:lnTo>
                    <a:pt x="300" y="24"/>
                  </a:lnTo>
                  <a:lnTo>
                    <a:pt x="298" y="24"/>
                  </a:lnTo>
                  <a:lnTo>
                    <a:pt x="298" y="24"/>
                  </a:lnTo>
                  <a:lnTo>
                    <a:pt x="298" y="22"/>
                  </a:lnTo>
                  <a:lnTo>
                    <a:pt x="296" y="24"/>
                  </a:lnTo>
                  <a:lnTo>
                    <a:pt x="296" y="24"/>
                  </a:lnTo>
                  <a:lnTo>
                    <a:pt x="294" y="22"/>
                  </a:lnTo>
                  <a:lnTo>
                    <a:pt x="292" y="22"/>
                  </a:lnTo>
                  <a:lnTo>
                    <a:pt x="292" y="22"/>
                  </a:lnTo>
                  <a:lnTo>
                    <a:pt x="290" y="20"/>
                  </a:lnTo>
                  <a:lnTo>
                    <a:pt x="290" y="18"/>
                  </a:lnTo>
                  <a:lnTo>
                    <a:pt x="288" y="16"/>
                  </a:lnTo>
                  <a:lnTo>
                    <a:pt x="288" y="16"/>
                  </a:lnTo>
                  <a:lnTo>
                    <a:pt x="286" y="14"/>
                  </a:lnTo>
                  <a:lnTo>
                    <a:pt x="284" y="12"/>
                  </a:lnTo>
                  <a:lnTo>
                    <a:pt x="284" y="12"/>
                  </a:lnTo>
                  <a:lnTo>
                    <a:pt x="282" y="8"/>
                  </a:lnTo>
                  <a:lnTo>
                    <a:pt x="282" y="6"/>
                  </a:lnTo>
                  <a:lnTo>
                    <a:pt x="280" y="4"/>
                  </a:lnTo>
                  <a:lnTo>
                    <a:pt x="280" y="4"/>
                  </a:lnTo>
                  <a:lnTo>
                    <a:pt x="278" y="2"/>
                  </a:lnTo>
                  <a:lnTo>
                    <a:pt x="274" y="2"/>
                  </a:lnTo>
                  <a:lnTo>
                    <a:pt x="274" y="2"/>
                  </a:lnTo>
                  <a:lnTo>
                    <a:pt x="272" y="2"/>
                  </a:lnTo>
                  <a:lnTo>
                    <a:pt x="268" y="2"/>
                  </a:lnTo>
                  <a:lnTo>
                    <a:pt x="268" y="2"/>
                  </a:lnTo>
                  <a:lnTo>
                    <a:pt x="266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260" y="0"/>
                  </a:lnTo>
                  <a:lnTo>
                    <a:pt x="256" y="0"/>
                  </a:lnTo>
                  <a:lnTo>
                    <a:pt x="254" y="2"/>
                  </a:lnTo>
                  <a:lnTo>
                    <a:pt x="250" y="2"/>
                  </a:lnTo>
                  <a:lnTo>
                    <a:pt x="248" y="4"/>
                  </a:lnTo>
                  <a:lnTo>
                    <a:pt x="246" y="6"/>
                  </a:lnTo>
                  <a:lnTo>
                    <a:pt x="244" y="8"/>
                  </a:lnTo>
                  <a:lnTo>
                    <a:pt x="242" y="10"/>
                  </a:lnTo>
                  <a:lnTo>
                    <a:pt x="242" y="10"/>
                  </a:lnTo>
                  <a:lnTo>
                    <a:pt x="238" y="12"/>
                  </a:lnTo>
                  <a:lnTo>
                    <a:pt x="236" y="14"/>
                  </a:lnTo>
                  <a:lnTo>
                    <a:pt x="232" y="16"/>
                  </a:lnTo>
                  <a:lnTo>
                    <a:pt x="228" y="18"/>
                  </a:lnTo>
                  <a:lnTo>
                    <a:pt x="228" y="18"/>
                  </a:lnTo>
                  <a:lnTo>
                    <a:pt x="224" y="20"/>
                  </a:lnTo>
                  <a:lnTo>
                    <a:pt x="216" y="20"/>
                  </a:lnTo>
                  <a:lnTo>
                    <a:pt x="216" y="20"/>
                  </a:lnTo>
                  <a:lnTo>
                    <a:pt x="214" y="22"/>
                  </a:lnTo>
                  <a:lnTo>
                    <a:pt x="212" y="22"/>
                  </a:lnTo>
                  <a:lnTo>
                    <a:pt x="210" y="24"/>
                  </a:lnTo>
                  <a:lnTo>
                    <a:pt x="208" y="26"/>
                  </a:lnTo>
                  <a:lnTo>
                    <a:pt x="208" y="26"/>
                  </a:lnTo>
                  <a:lnTo>
                    <a:pt x="206" y="28"/>
                  </a:lnTo>
                  <a:lnTo>
                    <a:pt x="204" y="30"/>
                  </a:lnTo>
                  <a:lnTo>
                    <a:pt x="204" y="30"/>
                  </a:lnTo>
                  <a:lnTo>
                    <a:pt x="202" y="34"/>
                  </a:lnTo>
                  <a:lnTo>
                    <a:pt x="200" y="34"/>
                  </a:lnTo>
                  <a:lnTo>
                    <a:pt x="198" y="36"/>
                  </a:lnTo>
                  <a:lnTo>
                    <a:pt x="198" y="36"/>
                  </a:lnTo>
                  <a:lnTo>
                    <a:pt x="196" y="36"/>
                  </a:lnTo>
                  <a:lnTo>
                    <a:pt x="194" y="36"/>
                  </a:lnTo>
                  <a:lnTo>
                    <a:pt x="192" y="36"/>
                  </a:lnTo>
                  <a:lnTo>
                    <a:pt x="188" y="38"/>
                  </a:lnTo>
                  <a:lnTo>
                    <a:pt x="188" y="38"/>
                  </a:lnTo>
                  <a:lnTo>
                    <a:pt x="186" y="38"/>
                  </a:lnTo>
                  <a:lnTo>
                    <a:pt x="184" y="38"/>
                  </a:lnTo>
                  <a:lnTo>
                    <a:pt x="178" y="42"/>
                  </a:lnTo>
                  <a:lnTo>
                    <a:pt x="178" y="42"/>
                  </a:lnTo>
                  <a:lnTo>
                    <a:pt x="178" y="42"/>
                  </a:lnTo>
                  <a:lnTo>
                    <a:pt x="176" y="44"/>
                  </a:lnTo>
                  <a:lnTo>
                    <a:pt x="172" y="44"/>
                  </a:lnTo>
                  <a:lnTo>
                    <a:pt x="168" y="44"/>
                  </a:lnTo>
                  <a:lnTo>
                    <a:pt x="162" y="44"/>
                  </a:lnTo>
                  <a:lnTo>
                    <a:pt x="162" y="44"/>
                  </a:lnTo>
                  <a:lnTo>
                    <a:pt x="160" y="44"/>
                  </a:lnTo>
                  <a:lnTo>
                    <a:pt x="158" y="46"/>
                  </a:lnTo>
                  <a:lnTo>
                    <a:pt x="158" y="48"/>
                  </a:lnTo>
                  <a:lnTo>
                    <a:pt x="156" y="50"/>
                  </a:lnTo>
                  <a:lnTo>
                    <a:pt x="156" y="50"/>
                  </a:lnTo>
                  <a:lnTo>
                    <a:pt x="156" y="52"/>
                  </a:lnTo>
                  <a:lnTo>
                    <a:pt x="156" y="52"/>
                  </a:lnTo>
                  <a:lnTo>
                    <a:pt x="158" y="54"/>
                  </a:lnTo>
                  <a:lnTo>
                    <a:pt x="158" y="54"/>
                  </a:lnTo>
                  <a:lnTo>
                    <a:pt x="158" y="58"/>
                  </a:lnTo>
                  <a:lnTo>
                    <a:pt x="158" y="60"/>
                  </a:lnTo>
                  <a:lnTo>
                    <a:pt x="158" y="60"/>
                  </a:lnTo>
                  <a:lnTo>
                    <a:pt x="158" y="64"/>
                  </a:lnTo>
                  <a:lnTo>
                    <a:pt x="158" y="66"/>
                  </a:lnTo>
                  <a:lnTo>
                    <a:pt x="156" y="72"/>
                  </a:lnTo>
                  <a:lnTo>
                    <a:pt x="156" y="72"/>
                  </a:lnTo>
                  <a:lnTo>
                    <a:pt x="154" y="74"/>
                  </a:lnTo>
                  <a:lnTo>
                    <a:pt x="156" y="74"/>
                  </a:lnTo>
                  <a:lnTo>
                    <a:pt x="156" y="76"/>
                  </a:lnTo>
                  <a:lnTo>
                    <a:pt x="156" y="76"/>
                  </a:lnTo>
                  <a:lnTo>
                    <a:pt x="156" y="78"/>
                  </a:lnTo>
                  <a:lnTo>
                    <a:pt x="156" y="78"/>
                  </a:lnTo>
                  <a:lnTo>
                    <a:pt x="156" y="82"/>
                  </a:lnTo>
                  <a:lnTo>
                    <a:pt x="156" y="82"/>
                  </a:lnTo>
                  <a:lnTo>
                    <a:pt x="154" y="82"/>
                  </a:lnTo>
                  <a:lnTo>
                    <a:pt x="154" y="84"/>
                  </a:lnTo>
                  <a:lnTo>
                    <a:pt x="152" y="86"/>
                  </a:lnTo>
                  <a:lnTo>
                    <a:pt x="152" y="86"/>
                  </a:lnTo>
                  <a:lnTo>
                    <a:pt x="152" y="88"/>
                  </a:lnTo>
                  <a:lnTo>
                    <a:pt x="152" y="90"/>
                  </a:lnTo>
                  <a:lnTo>
                    <a:pt x="152" y="90"/>
                  </a:lnTo>
                  <a:lnTo>
                    <a:pt x="152" y="92"/>
                  </a:lnTo>
                  <a:lnTo>
                    <a:pt x="152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6" y="96"/>
                  </a:lnTo>
                  <a:lnTo>
                    <a:pt x="158" y="96"/>
                  </a:lnTo>
                  <a:lnTo>
                    <a:pt x="158" y="96"/>
                  </a:lnTo>
                  <a:lnTo>
                    <a:pt x="162" y="96"/>
                  </a:lnTo>
                  <a:lnTo>
                    <a:pt x="166" y="98"/>
                  </a:lnTo>
                  <a:lnTo>
                    <a:pt x="168" y="100"/>
                  </a:lnTo>
                  <a:lnTo>
                    <a:pt x="170" y="102"/>
                  </a:lnTo>
                  <a:lnTo>
                    <a:pt x="170" y="102"/>
                  </a:lnTo>
                  <a:lnTo>
                    <a:pt x="170" y="104"/>
                  </a:lnTo>
                  <a:lnTo>
                    <a:pt x="172" y="108"/>
                  </a:lnTo>
                  <a:lnTo>
                    <a:pt x="170" y="110"/>
                  </a:lnTo>
                  <a:lnTo>
                    <a:pt x="170" y="112"/>
                  </a:lnTo>
                  <a:lnTo>
                    <a:pt x="170" y="112"/>
                  </a:lnTo>
                  <a:lnTo>
                    <a:pt x="168" y="114"/>
                  </a:lnTo>
                  <a:lnTo>
                    <a:pt x="166" y="114"/>
                  </a:lnTo>
                  <a:lnTo>
                    <a:pt x="166" y="116"/>
                  </a:lnTo>
                  <a:lnTo>
                    <a:pt x="166" y="116"/>
                  </a:lnTo>
                  <a:lnTo>
                    <a:pt x="162" y="116"/>
                  </a:lnTo>
                  <a:lnTo>
                    <a:pt x="160" y="116"/>
                  </a:lnTo>
                  <a:lnTo>
                    <a:pt x="158" y="116"/>
                  </a:lnTo>
                  <a:lnTo>
                    <a:pt x="158" y="116"/>
                  </a:lnTo>
                  <a:lnTo>
                    <a:pt x="156" y="118"/>
                  </a:lnTo>
                  <a:lnTo>
                    <a:pt x="154" y="118"/>
                  </a:lnTo>
                  <a:lnTo>
                    <a:pt x="152" y="120"/>
                  </a:lnTo>
                  <a:lnTo>
                    <a:pt x="150" y="122"/>
                  </a:lnTo>
                  <a:lnTo>
                    <a:pt x="148" y="124"/>
                  </a:lnTo>
                  <a:lnTo>
                    <a:pt x="148" y="124"/>
                  </a:lnTo>
                  <a:lnTo>
                    <a:pt x="148" y="124"/>
                  </a:lnTo>
                  <a:lnTo>
                    <a:pt x="146" y="124"/>
                  </a:lnTo>
                  <a:lnTo>
                    <a:pt x="144" y="122"/>
                  </a:lnTo>
                  <a:lnTo>
                    <a:pt x="142" y="122"/>
                  </a:lnTo>
                  <a:lnTo>
                    <a:pt x="140" y="120"/>
                  </a:lnTo>
                  <a:lnTo>
                    <a:pt x="138" y="118"/>
                  </a:lnTo>
                  <a:lnTo>
                    <a:pt x="138" y="118"/>
                  </a:lnTo>
                  <a:lnTo>
                    <a:pt x="136" y="114"/>
                  </a:lnTo>
                  <a:lnTo>
                    <a:pt x="136" y="114"/>
                  </a:lnTo>
                  <a:lnTo>
                    <a:pt x="134" y="112"/>
                  </a:lnTo>
                  <a:lnTo>
                    <a:pt x="134" y="112"/>
                  </a:lnTo>
                  <a:lnTo>
                    <a:pt x="132" y="112"/>
                  </a:lnTo>
                  <a:lnTo>
                    <a:pt x="130" y="112"/>
                  </a:lnTo>
                  <a:lnTo>
                    <a:pt x="130" y="112"/>
                  </a:lnTo>
                  <a:lnTo>
                    <a:pt x="128" y="112"/>
                  </a:lnTo>
                  <a:lnTo>
                    <a:pt x="128" y="112"/>
                  </a:lnTo>
                  <a:lnTo>
                    <a:pt x="126" y="112"/>
                  </a:lnTo>
                  <a:lnTo>
                    <a:pt x="124" y="112"/>
                  </a:lnTo>
                  <a:lnTo>
                    <a:pt x="122" y="114"/>
                  </a:lnTo>
                  <a:lnTo>
                    <a:pt x="122" y="114"/>
                  </a:lnTo>
                  <a:lnTo>
                    <a:pt x="118" y="116"/>
                  </a:lnTo>
                  <a:lnTo>
                    <a:pt x="114" y="116"/>
                  </a:lnTo>
                  <a:lnTo>
                    <a:pt x="114" y="116"/>
                  </a:lnTo>
                  <a:lnTo>
                    <a:pt x="112" y="118"/>
                  </a:lnTo>
                  <a:lnTo>
                    <a:pt x="108" y="118"/>
                  </a:lnTo>
                  <a:lnTo>
                    <a:pt x="108" y="118"/>
                  </a:lnTo>
                  <a:lnTo>
                    <a:pt x="106" y="118"/>
                  </a:lnTo>
                  <a:lnTo>
                    <a:pt x="106" y="118"/>
                  </a:lnTo>
                  <a:lnTo>
                    <a:pt x="104" y="120"/>
                  </a:lnTo>
                  <a:lnTo>
                    <a:pt x="104" y="120"/>
                  </a:lnTo>
                  <a:lnTo>
                    <a:pt x="102" y="122"/>
                  </a:lnTo>
                  <a:lnTo>
                    <a:pt x="100" y="124"/>
                  </a:lnTo>
                  <a:lnTo>
                    <a:pt x="96" y="124"/>
                  </a:lnTo>
                  <a:lnTo>
                    <a:pt x="94" y="126"/>
                  </a:lnTo>
                  <a:lnTo>
                    <a:pt x="88" y="126"/>
                  </a:lnTo>
                  <a:lnTo>
                    <a:pt x="82" y="126"/>
                  </a:lnTo>
                  <a:lnTo>
                    <a:pt x="82" y="126"/>
                  </a:lnTo>
                  <a:lnTo>
                    <a:pt x="82" y="126"/>
                  </a:lnTo>
                  <a:lnTo>
                    <a:pt x="80" y="126"/>
                  </a:lnTo>
                  <a:lnTo>
                    <a:pt x="78" y="126"/>
                  </a:lnTo>
                  <a:lnTo>
                    <a:pt x="76" y="124"/>
                  </a:lnTo>
                  <a:lnTo>
                    <a:pt x="76" y="124"/>
                  </a:lnTo>
                  <a:lnTo>
                    <a:pt x="74" y="122"/>
                  </a:lnTo>
                  <a:lnTo>
                    <a:pt x="74" y="122"/>
                  </a:lnTo>
                  <a:lnTo>
                    <a:pt x="72" y="116"/>
                  </a:lnTo>
                  <a:lnTo>
                    <a:pt x="72" y="114"/>
                  </a:lnTo>
                  <a:lnTo>
                    <a:pt x="70" y="112"/>
                  </a:lnTo>
                  <a:lnTo>
                    <a:pt x="70" y="112"/>
                  </a:lnTo>
                  <a:lnTo>
                    <a:pt x="68" y="110"/>
                  </a:lnTo>
                  <a:lnTo>
                    <a:pt x="68" y="110"/>
                  </a:lnTo>
                  <a:lnTo>
                    <a:pt x="64" y="108"/>
                  </a:lnTo>
                  <a:lnTo>
                    <a:pt x="62" y="108"/>
                  </a:lnTo>
                  <a:lnTo>
                    <a:pt x="60" y="108"/>
                  </a:lnTo>
                  <a:lnTo>
                    <a:pt x="56" y="108"/>
                  </a:lnTo>
                  <a:lnTo>
                    <a:pt x="56" y="108"/>
                  </a:lnTo>
                  <a:lnTo>
                    <a:pt x="54" y="108"/>
                  </a:lnTo>
                  <a:lnTo>
                    <a:pt x="52" y="108"/>
                  </a:lnTo>
                  <a:lnTo>
                    <a:pt x="46" y="108"/>
                  </a:lnTo>
                  <a:lnTo>
                    <a:pt x="46" y="108"/>
                  </a:lnTo>
                  <a:lnTo>
                    <a:pt x="42" y="108"/>
                  </a:lnTo>
                  <a:lnTo>
                    <a:pt x="40" y="110"/>
                  </a:lnTo>
                  <a:lnTo>
                    <a:pt x="38" y="110"/>
                  </a:lnTo>
                  <a:lnTo>
                    <a:pt x="34" y="112"/>
                  </a:lnTo>
                  <a:lnTo>
                    <a:pt x="34" y="112"/>
                  </a:lnTo>
                  <a:lnTo>
                    <a:pt x="34" y="110"/>
                  </a:lnTo>
                  <a:lnTo>
                    <a:pt x="34" y="110"/>
                  </a:lnTo>
                  <a:lnTo>
                    <a:pt x="32" y="110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6" y="108"/>
                  </a:lnTo>
                  <a:lnTo>
                    <a:pt x="26" y="108"/>
                  </a:lnTo>
                  <a:lnTo>
                    <a:pt x="24" y="110"/>
                  </a:lnTo>
                  <a:lnTo>
                    <a:pt x="22" y="110"/>
                  </a:lnTo>
                  <a:lnTo>
                    <a:pt x="16" y="114"/>
                  </a:lnTo>
                  <a:lnTo>
                    <a:pt x="16" y="114"/>
                  </a:lnTo>
                  <a:lnTo>
                    <a:pt x="14" y="116"/>
                  </a:lnTo>
                  <a:lnTo>
                    <a:pt x="12" y="118"/>
                  </a:lnTo>
                  <a:lnTo>
                    <a:pt x="10" y="120"/>
                  </a:lnTo>
                  <a:lnTo>
                    <a:pt x="8" y="124"/>
                  </a:lnTo>
                  <a:lnTo>
                    <a:pt x="8" y="124"/>
                  </a:lnTo>
                  <a:lnTo>
                    <a:pt x="6" y="126"/>
                  </a:lnTo>
                  <a:lnTo>
                    <a:pt x="2" y="128"/>
                  </a:lnTo>
                  <a:lnTo>
                    <a:pt x="0" y="130"/>
                  </a:lnTo>
                  <a:lnTo>
                    <a:pt x="0" y="130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10" y="140"/>
                  </a:lnTo>
                  <a:lnTo>
                    <a:pt x="18" y="148"/>
                  </a:lnTo>
                  <a:lnTo>
                    <a:pt x="28" y="156"/>
                  </a:lnTo>
                  <a:lnTo>
                    <a:pt x="36" y="162"/>
                  </a:lnTo>
                  <a:lnTo>
                    <a:pt x="36" y="162"/>
                  </a:lnTo>
                  <a:lnTo>
                    <a:pt x="36" y="162"/>
                  </a:lnTo>
                  <a:lnTo>
                    <a:pt x="36" y="164"/>
                  </a:lnTo>
                  <a:lnTo>
                    <a:pt x="36" y="166"/>
                  </a:lnTo>
                  <a:lnTo>
                    <a:pt x="36" y="168"/>
                  </a:lnTo>
                  <a:lnTo>
                    <a:pt x="34" y="174"/>
                  </a:lnTo>
                  <a:lnTo>
                    <a:pt x="34" y="176"/>
                  </a:lnTo>
                  <a:lnTo>
                    <a:pt x="34" y="178"/>
                  </a:lnTo>
                  <a:lnTo>
                    <a:pt x="34" y="178"/>
                  </a:lnTo>
                  <a:lnTo>
                    <a:pt x="36" y="180"/>
                  </a:lnTo>
                  <a:lnTo>
                    <a:pt x="36" y="182"/>
                  </a:lnTo>
                  <a:lnTo>
                    <a:pt x="40" y="186"/>
                  </a:lnTo>
                  <a:lnTo>
                    <a:pt x="46" y="192"/>
                  </a:lnTo>
                  <a:lnTo>
                    <a:pt x="46" y="194"/>
                  </a:lnTo>
                  <a:lnTo>
                    <a:pt x="46" y="194"/>
                  </a:lnTo>
                  <a:lnTo>
                    <a:pt x="50" y="194"/>
                  </a:lnTo>
                  <a:lnTo>
                    <a:pt x="52" y="196"/>
                  </a:lnTo>
                  <a:lnTo>
                    <a:pt x="54" y="198"/>
                  </a:lnTo>
                  <a:lnTo>
                    <a:pt x="56" y="200"/>
                  </a:lnTo>
                  <a:lnTo>
                    <a:pt x="56" y="200"/>
                  </a:lnTo>
                  <a:lnTo>
                    <a:pt x="58" y="200"/>
                  </a:lnTo>
                  <a:lnTo>
                    <a:pt x="58" y="200"/>
                  </a:lnTo>
                  <a:lnTo>
                    <a:pt x="58" y="200"/>
                  </a:lnTo>
                  <a:lnTo>
                    <a:pt x="58" y="198"/>
                  </a:lnTo>
                  <a:lnTo>
                    <a:pt x="60" y="196"/>
                  </a:lnTo>
                  <a:lnTo>
                    <a:pt x="60" y="196"/>
                  </a:lnTo>
                  <a:lnTo>
                    <a:pt x="60" y="194"/>
                  </a:lnTo>
                  <a:lnTo>
                    <a:pt x="60" y="194"/>
                  </a:lnTo>
                  <a:lnTo>
                    <a:pt x="64" y="194"/>
                  </a:lnTo>
                  <a:lnTo>
                    <a:pt x="66" y="194"/>
                  </a:lnTo>
                  <a:lnTo>
                    <a:pt x="68" y="196"/>
                  </a:lnTo>
                  <a:lnTo>
                    <a:pt x="70" y="196"/>
                  </a:lnTo>
                  <a:lnTo>
                    <a:pt x="70" y="198"/>
                  </a:lnTo>
                  <a:lnTo>
                    <a:pt x="70" y="198"/>
                  </a:lnTo>
                  <a:lnTo>
                    <a:pt x="72" y="200"/>
                  </a:lnTo>
                  <a:lnTo>
                    <a:pt x="74" y="204"/>
                  </a:lnTo>
                  <a:lnTo>
                    <a:pt x="74" y="204"/>
                  </a:lnTo>
                  <a:lnTo>
                    <a:pt x="76" y="206"/>
                  </a:lnTo>
                  <a:lnTo>
                    <a:pt x="76" y="208"/>
                  </a:lnTo>
                  <a:lnTo>
                    <a:pt x="76" y="212"/>
                  </a:lnTo>
                  <a:lnTo>
                    <a:pt x="76" y="214"/>
                  </a:lnTo>
                  <a:lnTo>
                    <a:pt x="76" y="214"/>
                  </a:lnTo>
                  <a:lnTo>
                    <a:pt x="76" y="216"/>
                  </a:lnTo>
                  <a:lnTo>
                    <a:pt x="74" y="218"/>
                  </a:lnTo>
                  <a:lnTo>
                    <a:pt x="74" y="218"/>
                  </a:lnTo>
                  <a:lnTo>
                    <a:pt x="74" y="220"/>
                  </a:lnTo>
                  <a:lnTo>
                    <a:pt x="74" y="222"/>
                  </a:lnTo>
                  <a:lnTo>
                    <a:pt x="76" y="224"/>
                  </a:lnTo>
                  <a:lnTo>
                    <a:pt x="76" y="224"/>
                  </a:lnTo>
                  <a:lnTo>
                    <a:pt x="76" y="224"/>
                  </a:lnTo>
                  <a:lnTo>
                    <a:pt x="76" y="226"/>
                  </a:lnTo>
                  <a:lnTo>
                    <a:pt x="74" y="228"/>
                  </a:lnTo>
                  <a:lnTo>
                    <a:pt x="72" y="230"/>
                  </a:lnTo>
                  <a:lnTo>
                    <a:pt x="72" y="232"/>
                  </a:lnTo>
                  <a:lnTo>
                    <a:pt x="74" y="232"/>
                  </a:lnTo>
                  <a:lnTo>
                    <a:pt x="74" y="232"/>
                  </a:lnTo>
                  <a:lnTo>
                    <a:pt x="74" y="234"/>
                  </a:lnTo>
                  <a:lnTo>
                    <a:pt x="76" y="234"/>
                  </a:lnTo>
                  <a:lnTo>
                    <a:pt x="78" y="234"/>
                  </a:lnTo>
                  <a:lnTo>
                    <a:pt x="80" y="236"/>
                  </a:lnTo>
                  <a:lnTo>
                    <a:pt x="82" y="236"/>
                  </a:lnTo>
                  <a:lnTo>
                    <a:pt x="82" y="236"/>
                  </a:lnTo>
                  <a:lnTo>
                    <a:pt x="82" y="238"/>
                  </a:lnTo>
                  <a:lnTo>
                    <a:pt x="82" y="238"/>
                  </a:lnTo>
                  <a:lnTo>
                    <a:pt x="82" y="238"/>
                  </a:lnTo>
                  <a:lnTo>
                    <a:pt x="80" y="240"/>
                  </a:lnTo>
                  <a:lnTo>
                    <a:pt x="78" y="240"/>
                  </a:lnTo>
                  <a:lnTo>
                    <a:pt x="78" y="238"/>
                  </a:lnTo>
                  <a:lnTo>
                    <a:pt x="72" y="236"/>
                  </a:lnTo>
                  <a:lnTo>
                    <a:pt x="72" y="236"/>
                  </a:lnTo>
                  <a:lnTo>
                    <a:pt x="70" y="236"/>
                  </a:lnTo>
                  <a:lnTo>
                    <a:pt x="66" y="236"/>
                  </a:lnTo>
                  <a:lnTo>
                    <a:pt x="64" y="236"/>
                  </a:lnTo>
                  <a:lnTo>
                    <a:pt x="62" y="236"/>
                  </a:lnTo>
                  <a:lnTo>
                    <a:pt x="62" y="236"/>
                  </a:lnTo>
                  <a:lnTo>
                    <a:pt x="60" y="236"/>
                  </a:lnTo>
                  <a:lnTo>
                    <a:pt x="58" y="236"/>
                  </a:lnTo>
                  <a:lnTo>
                    <a:pt x="58" y="236"/>
                  </a:lnTo>
                  <a:lnTo>
                    <a:pt x="58" y="236"/>
                  </a:lnTo>
                  <a:lnTo>
                    <a:pt x="56" y="238"/>
                  </a:lnTo>
                  <a:lnTo>
                    <a:pt x="56" y="240"/>
                  </a:lnTo>
                  <a:lnTo>
                    <a:pt x="56" y="240"/>
                  </a:lnTo>
                  <a:lnTo>
                    <a:pt x="54" y="244"/>
                  </a:lnTo>
                  <a:lnTo>
                    <a:pt x="54" y="246"/>
                  </a:lnTo>
                  <a:lnTo>
                    <a:pt x="54" y="246"/>
                  </a:lnTo>
                  <a:lnTo>
                    <a:pt x="54" y="248"/>
                  </a:lnTo>
                  <a:lnTo>
                    <a:pt x="54" y="248"/>
                  </a:lnTo>
                  <a:lnTo>
                    <a:pt x="56" y="250"/>
                  </a:lnTo>
                  <a:lnTo>
                    <a:pt x="56" y="250"/>
                  </a:lnTo>
                  <a:lnTo>
                    <a:pt x="58" y="252"/>
                  </a:lnTo>
                  <a:lnTo>
                    <a:pt x="58" y="254"/>
                  </a:lnTo>
                  <a:lnTo>
                    <a:pt x="58" y="256"/>
                  </a:lnTo>
                  <a:lnTo>
                    <a:pt x="58" y="256"/>
                  </a:lnTo>
                  <a:lnTo>
                    <a:pt x="56" y="256"/>
                  </a:lnTo>
                  <a:lnTo>
                    <a:pt x="54" y="256"/>
                  </a:lnTo>
                  <a:lnTo>
                    <a:pt x="54" y="256"/>
                  </a:lnTo>
                  <a:lnTo>
                    <a:pt x="52" y="256"/>
                  </a:lnTo>
                  <a:lnTo>
                    <a:pt x="48" y="254"/>
                  </a:lnTo>
                  <a:lnTo>
                    <a:pt x="48" y="254"/>
                  </a:lnTo>
                  <a:lnTo>
                    <a:pt x="46" y="252"/>
                  </a:lnTo>
                  <a:lnTo>
                    <a:pt x="44" y="252"/>
                  </a:lnTo>
                  <a:lnTo>
                    <a:pt x="44" y="252"/>
                  </a:lnTo>
                  <a:lnTo>
                    <a:pt x="44" y="252"/>
                  </a:lnTo>
                  <a:lnTo>
                    <a:pt x="42" y="252"/>
                  </a:lnTo>
                  <a:lnTo>
                    <a:pt x="40" y="252"/>
                  </a:lnTo>
                  <a:lnTo>
                    <a:pt x="40" y="252"/>
                  </a:lnTo>
                  <a:lnTo>
                    <a:pt x="40" y="254"/>
                  </a:lnTo>
                  <a:lnTo>
                    <a:pt x="40" y="254"/>
                  </a:lnTo>
                  <a:lnTo>
                    <a:pt x="40" y="254"/>
                  </a:lnTo>
                  <a:lnTo>
                    <a:pt x="40" y="254"/>
                  </a:lnTo>
                  <a:lnTo>
                    <a:pt x="40" y="256"/>
                  </a:lnTo>
                  <a:lnTo>
                    <a:pt x="42" y="258"/>
                  </a:lnTo>
                  <a:lnTo>
                    <a:pt x="42" y="258"/>
                  </a:lnTo>
                  <a:lnTo>
                    <a:pt x="44" y="260"/>
                  </a:lnTo>
                  <a:lnTo>
                    <a:pt x="46" y="262"/>
                  </a:lnTo>
                  <a:lnTo>
                    <a:pt x="46" y="262"/>
                  </a:lnTo>
                  <a:lnTo>
                    <a:pt x="46" y="262"/>
                  </a:lnTo>
                  <a:lnTo>
                    <a:pt x="48" y="262"/>
                  </a:lnTo>
                  <a:lnTo>
                    <a:pt x="48" y="262"/>
                  </a:lnTo>
                  <a:lnTo>
                    <a:pt x="50" y="260"/>
                  </a:lnTo>
                  <a:lnTo>
                    <a:pt x="50" y="260"/>
                  </a:lnTo>
                  <a:lnTo>
                    <a:pt x="50" y="260"/>
                  </a:lnTo>
                  <a:lnTo>
                    <a:pt x="52" y="260"/>
                  </a:lnTo>
                  <a:lnTo>
                    <a:pt x="52" y="260"/>
                  </a:lnTo>
                  <a:lnTo>
                    <a:pt x="54" y="262"/>
                  </a:lnTo>
                  <a:lnTo>
                    <a:pt x="54" y="262"/>
                  </a:lnTo>
                  <a:lnTo>
                    <a:pt x="56" y="266"/>
                  </a:lnTo>
                  <a:lnTo>
                    <a:pt x="58" y="268"/>
                  </a:lnTo>
                  <a:lnTo>
                    <a:pt x="58" y="268"/>
                  </a:lnTo>
                  <a:lnTo>
                    <a:pt x="58" y="270"/>
                  </a:lnTo>
                  <a:lnTo>
                    <a:pt x="60" y="274"/>
                  </a:lnTo>
                  <a:lnTo>
                    <a:pt x="60" y="280"/>
                  </a:lnTo>
                  <a:lnTo>
                    <a:pt x="60" y="280"/>
                  </a:lnTo>
                  <a:lnTo>
                    <a:pt x="60" y="282"/>
                  </a:lnTo>
                  <a:lnTo>
                    <a:pt x="60" y="284"/>
                  </a:lnTo>
                  <a:lnTo>
                    <a:pt x="62" y="284"/>
                  </a:lnTo>
                  <a:lnTo>
                    <a:pt x="62" y="284"/>
                  </a:lnTo>
                  <a:lnTo>
                    <a:pt x="62" y="284"/>
                  </a:lnTo>
                  <a:lnTo>
                    <a:pt x="64" y="284"/>
                  </a:lnTo>
                  <a:lnTo>
                    <a:pt x="66" y="284"/>
                  </a:lnTo>
                  <a:lnTo>
                    <a:pt x="66" y="284"/>
                  </a:lnTo>
                  <a:lnTo>
                    <a:pt x="68" y="284"/>
                  </a:lnTo>
                  <a:lnTo>
                    <a:pt x="70" y="284"/>
                  </a:lnTo>
                  <a:lnTo>
                    <a:pt x="72" y="286"/>
                  </a:lnTo>
                  <a:lnTo>
                    <a:pt x="74" y="288"/>
                  </a:lnTo>
                  <a:lnTo>
                    <a:pt x="78" y="288"/>
                  </a:lnTo>
                  <a:lnTo>
                    <a:pt x="78" y="288"/>
                  </a:lnTo>
                  <a:lnTo>
                    <a:pt x="80" y="290"/>
                  </a:lnTo>
                  <a:lnTo>
                    <a:pt x="82" y="292"/>
                  </a:lnTo>
                  <a:lnTo>
                    <a:pt x="84" y="292"/>
                  </a:lnTo>
                  <a:lnTo>
                    <a:pt x="84" y="294"/>
                  </a:lnTo>
                  <a:lnTo>
                    <a:pt x="84" y="296"/>
                  </a:lnTo>
                  <a:lnTo>
                    <a:pt x="84" y="296"/>
                  </a:lnTo>
                  <a:lnTo>
                    <a:pt x="84" y="296"/>
                  </a:lnTo>
                  <a:lnTo>
                    <a:pt x="84" y="298"/>
                  </a:lnTo>
                  <a:lnTo>
                    <a:pt x="82" y="302"/>
                  </a:lnTo>
                  <a:lnTo>
                    <a:pt x="82" y="302"/>
                  </a:lnTo>
                  <a:lnTo>
                    <a:pt x="82" y="302"/>
                  </a:lnTo>
                  <a:lnTo>
                    <a:pt x="82" y="304"/>
                  </a:lnTo>
                  <a:lnTo>
                    <a:pt x="84" y="308"/>
                  </a:lnTo>
                  <a:lnTo>
                    <a:pt x="84" y="312"/>
                  </a:lnTo>
                  <a:lnTo>
                    <a:pt x="86" y="314"/>
                  </a:lnTo>
                  <a:lnTo>
                    <a:pt x="86" y="314"/>
                  </a:lnTo>
                  <a:lnTo>
                    <a:pt x="88" y="314"/>
                  </a:lnTo>
                  <a:lnTo>
                    <a:pt x="88" y="314"/>
                  </a:lnTo>
                  <a:lnTo>
                    <a:pt x="88" y="314"/>
                  </a:lnTo>
                  <a:lnTo>
                    <a:pt x="88" y="314"/>
                  </a:lnTo>
                  <a:lnTo>
                    <a:pt x="90" y="314"/>
                  </a:lnTo>
                  <a:lnTo>
                    <a:pt x="90" y="310"/>
                  </a:lnTo>
                  <a:lnTo>
                    <a:pt x="90" y="308"/>
                  </a:lnTo>
                  <a:lnTo>
                    <a:pt x="90" y="304"/>
                  </a:lnTo>
                  <a:lnTo>
                    <a:pt x="90" y="304"/>
                  </a:lnTo>
                  <a:lnTo>
                    <a:pt x="92" y="302"/>
                  </a:lnTo>
                  <a:lnTo>
                    <a:pt x="94" y="302"/>
                  </a:lnTo>
                  <a:lnTo>
                    <a:pt x="98" y="298"/>
                  </a:lnTo>
                  <a:lnTo>
                    <a:pt x="98" y="298"/>
                  </a:lnTo>
                  <a:lnTo>
                    <a:pt x="100" y="298"/>
                  </a:lnTo>
                  <a:lnTo>
                    <a:pt x="102" y="296"/>
                  </a:lnTo>
                  <a:lnTo>
                    <a:pt x="106" y="296"/>
                  </a:lnTo>
                  <a:lnTo>
                    <a:pt x="108" y="296"/>
                  </a:lnTo>
                  <a:lnTo>
                    <a:pt x="108" y="296"/>
                  </a:lnTo>
                  <a:lnTo>
                    <a:pt x="108" y="296"/>
                  </a:lnTo>
                  <a:lnTo>
                    <a:pt x="112" y="298"/>
                  </a:lnTo>
                  <a:lnTo>
                    <a:pt x="112" y="298"/>
                  </a:lnTo>
                  <a:lnTo>
                    <a:pt x="114" y="298"/>
                  </a:lnTo>
                  <a:lnTo>
                    <a:pt x="114" y="298"/>
                  </a:lnTo>
                  <a:lnTo>
                    <a:pt x="114" y="298"/>
                  </a:lnTo>
                  <a:lnTo>
                    <a:pt x="116" y="298"/>
                  </a:lnTo>
                  <a:lnTo>
                    <a:pt x="116" y="298"/>
                  </a:lnTo>
                  <a:lnTo>
                    <a:pt x="118" y="300"/>
                  </a:lnTo>
                  <a:lnTo>
                    <a:pt x="118" y="300"/>
                  </a:lnTo>
                  <a:lnTo>
                    <a:pt x="120" y="300"/>
                  </a:lnTo>
                  <a:lnTo>
                    <a:pt x="120" y="302"/>
                  </a:lnTo>
                  <a:lnTo>
                    <a:pt x="122" y="306"/>
                  </a:lnTo>
                  <a:lnTo>
                    <a:pt x="124" y="310"/>
                  </a:lnTo>
                  <a:lnTo>
                    <a:pt x="126" y="312"/>
                  </a:lnTo>
                  <a:lnTo>
                    <a:pt x="126" y="312"/>
                  </a:lnTo>
                  <a:lnTo>
                    <a:pt x="126" y="314"/>
                  </a:lnTo>
                  <a:lnTo>
                    <a:pt x="128" y="314"/>
                  </a:lnTo>
                  <a:lnTo>
                    <a:pt x="130" y="314"/>
                  </a:lnTo>
                  <a:lnTo>
                    <a:pt x="130" y="314"/>
                  </a:lnTo>
                  <a:lnTo>
                    <a:pt x="130" y="314"/>
                  </a:lnTo>
                  <a:lnTo>
                    <a:pt x="134" y="314"/>
                  </a:lnTo>
                  <a:lnTo>
                    <a:pt x="136" y="314"/>
                  </a:lnTo>
                  <a:lnTo>
                    <a:pt x="136" y="314"/>
                  </a:lnTo>
                  <a:lnTo>
                    <a:pt x="136" y="314"/>
                  </a:lnTo>
                  <a:lnTo>
                    <a:pt x="136" y="312"/>
                  </a:lnTo>
                  <a:lnTo>
                    <a:pt x="136" y="310"/>
                  </a:lnTo>
                  <a:lnTo>
                    <a:pt x="136" y="308"/>
                  </a:lnTo>
                  <a:lnTo>
                    <a:pt x="136" y="300"/>
                  </a:lnTo>
                  <a:lnTo>
                    <a:pt x="136" y="300"/>
                  </a:lnTo>
                  <a:lnTo>
                    <a:pt x="134" y="294"/>
                  </a:lnTo>
                  <a:lnTo>
                    <a:pt x="132" y="286"/>
                  </a:lnTo>
                  <a:lnTo>
                    <a:pt x="132" y="286"/>
                  </a:lnTo>
                  <a:lnTo>
                    <a:pt x="132" y="278"/>
                  </a:lnTo>
                  <a:lnTo>
                    <a:pt x="130" y="272"/>
                  </a:lnTo>
                  <a:lnTo>
                    <a:pt x="130" y="272"/>
                  </a:lnTo>
                  <a:lnTo>
                    <a:pt x="130" y="266"/>
                  </a:lnTo>
                  <a:lnTo>
                    <a:pt x="128" y="258"/>
                  </a:lnTo>
                  <a:lnTo>
                    <a:pt x="126" y="244"/>
                  </a:lnTo>
                  <a:lnTo>
                    <a:pt x="126" y="244"/>
                  </a:lnTo>
                  <a:lnTo>
                    <a:pt x="126" y="242"/>
                  </a:lnTo>
                  <a:lnTo>
                    <a:pt x="126" y="240"/>
                  </a:lnTo>
                  <a:lnTo>
                    <a:pt x="128" y="240"/>
                  </a:lnTo>
                  <a:lnTo>
                    <a:pt x="130" y="238"/>
                  </a:lnTo>
                  <a:lnTo>
                    <a:pt x="130" y="238"/>
                  </a:lnTo>
                  <a:lnTo>
                    <a:pt x="134" y="236"/>
                  </a:lnTo>
                  <a:lnTo>
                    <a:pt x="138" y="234"/>
                  </a:lnTo>
                  <a:lnTo>
                    <a:pt x="138" y="234"/>
                  </a:lnTo>
                  <a:lnTo>
                    <a:pt x="146" y="232"/>
                  </a:lnTo>
                  <a:lnTo>
                    <a:pt x="146" y="232"/>
                  </a:lnTo>
                  <a:lnTo>
                    <a:pt x="150" y="232"/>
                  </a:lnTo>
                  <a:lnTo>
                    <a:pt x="152" y="230"/>
                  </a:lnTo>
                  <a:lnTo>
                    <a:pt x="152" y="230"/>
                  </a:lnTo>
                  <a:lnTo>
                    <a:pt x="152" y="230"/>
                  </a:lnTo>
                  <a:lnTo>
                    <a:pt x="154" y="228"/>
                  </a:lnTo>
                  <a:lnTo>
                    <a:pt x="154" y="228"/>
                  </a:lnTo>
                  <a:lnTo>
                    <a:pt x="154" y="226"/>
                  </a:lnTo>
                  <a:lnTo>
                    <a:pt x="156" y="224"/>
                  </a:lnTo>
                  <a:lnTo>
                    <a:pt x="156" y="224"/>
                  </a:lnTo>
                  <a:lnTo>
                    <a:pt x="158" y="222"/>
                  </a:lnTo>
                  <a:lnTo>
                    <a:pt x="160" y="222"/>
                  </a:lnTo>
                  <a:lnTo>
                    <a:pt x="160" y="222"/>
                  </a:lnTo>
                  <a:lnTo>
                    <a:pt x="162" y="222"/>
                  </a:lnTo>
                  <a:lnTo>
                    <a:pt x="166" y="222"/>
                  </a:lnTo>
                  <a:lnTo>
                    <a:pt x="168" y="222"/>
                  </a:lnTo>
                  <a:lnTo>
                    <a:pt x="170" y="222"/>
                  </a:lnTo>
                  <a:lnTo>
                    <a:pt x="170" y="222"/>
                  </a:lnTo>
                  <a:lnTo>
                    <a:pt x="170" y="220"/>
                  </a:lnTo>
                  <a:lnTo>
                    <a:pt x="170" y="220"/>
                  </a:lnTo>
                  <a:lnTo>
                    <a:pt x="170" y="218"/>
                  </a:lnTo>
                  <a:lnTo>
                    <a:pt x="168" y="214"/>
                  </a:lnTo>
                  <a:lnTo>
                    <a:pt x="168" y="214"/>
                  </a:lnTo>
                  <a:lnTo>
                    <a:pt x="170" y="212"/>
                  </a:lnTo>
                  <a:lnTo>
                    <a:pt x="170" y="212"/>
                  </a:lnTo>
                  <a:lnTo>
                    <a:pt x="172" y="212"/>
                  </a:lnTo>
                  <a:lnTo>
                    <a:pt x="172" y="212"/>
                  </a:lnTo>
                  <a:lnTo>
                    <a:pt x="174" y="210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0" y="212"/>
                  </a:lnTo>
                  <a:lnTo>
                    <a:pt x="182" y="214"/>
                  </a:lnTo>
                  <a:lnTo>
                    <a:pt x="182" y="214"/>
                  </a:lnTo>
                  <a:lnTo>
                    <a:pt x="182" y="214"/>
                  </a:lnTo>
                  <a:lnTo>
                    <a:pt x="184" y="214"/>
                  </a:lnTo>
                  <a:lnTo>
                    <a:pt x="184" y="216"/>
                  </a:lnTo>
                  <a:lnTo>
                    <a:pt x="186" y="216"/>
                  </a:lnTo>
                  <a:lnTo>
                    <a:pt x="186" y="216"/>
                  </a:lnTo>
                  <a:lnTo>
                    <a:pt x="186" y="218"/>
                  </a:lnTo>
                  <a:lnTo>
                    <a:pt x="186" y="220"/>
                  </a:lnTo>
                  <a:lnTo>
                    <a:pt x="186" y="220"/>
                  </a:lnTo>
                  <a:lnTo>
                    <a:pt x="186" y="222"/>
                  </a:lnTo>
                  <a:lnTo>
                    <a:pt x="186" y="222"/>
                  </a:lnTo>
                  <a:lnTo>
                    <a:pt x="186" y="224"/>
                  </a:lnTo>
                  <a:lnTo>
                    <a:pt x="188" y="224"/>
                  </a:lnTo>
                  <a:lnTo>
                    <a:pt x="190" y="226"/>
                  </a:lnTo>
                  <a:lnTo>
                    <a:pt x="190" y="226"/>
                  </a:lnTo>
                  <a:lnTo>
                    <a:pt x="190" y="228"/>
                  </a:lnTo>
                  <a:lnTo>
                    <a:pt x="190" y="228"/>
                  </a:lnTo>
                  <a:lnTo>
                    <a:pt x="192" y="232"/>
                  </a:lnTo>
                  <a:lnTo>
                    <a:pt x="192" y="232"/>
                  </a:lnTo>
                  <a:lnTo>
                    <a:pt x="192" y="234"/>
                  </a:lnTo>
                  <a:lnTo>
                    <a:pt x="192" y="238"/>
                  </a:lnTo>
                  <a:lnTo>
                    <a:pt x="192" y="238"/>
                  </a:lnTo>
                  <a:lnTo>
                    <a:pt x="194" y="240"/>
                  </a:lnTo>
                  <a:lnTo>
                    <a:pt x="194" y="240"/>
                  </a:lnTo>
                  <a:lnTo>
                    <a:pt x="198" y="244"/>
                  </a:lnTo>
                  <a:lnTo>
                    <a:pt x="198" y="244"/>
                  </a:lnTo>
                  <a:lnTo>
                    <a:pt x="200" y="246"/>
                  </a:lnTo>
                  <a:lnTo>
                    <a:pt x="202" y="248"/>
                  </a:lnTo>
                  <a:lnTo>
                    <a:pt x="206" y="254"/>
                  </a:lnTo>
                  <a:lnTo>
                    <a:pt x="206" y="254"/>
                  </a:lnTo>
                  <a:lnTo>
                    <a:pt x="206" y="254"/>
                  </a:lnTo>
                  <a:lnTo>
                    <a:pt x="208" y="256"/>
                  </a:lnTo>
                  <a:lnTo>
                    <a:pt x="210" y="256"/>
                  </a:lnTo>
                  <a:lnTo>
                    <a:pt x="210" y="256"/>
                  </a:lnTo>
                  <a:lnTo>
                    <a:pt x="212" y="258"/>
                  </a:lnTo>
                  <a:lnTo>
                    <a:pt x="214" y="260"/>
                  </a:lnTo>
                  <a:lnTo>
                    <a:pt x="216" y="260"/>
                  </a:lnTo>
                  <a:lnTo>
                    <a:pt x="216" y="260"/>
                  </a:lnTo>
                  <a:lnTo>
                    <a:pt x="218" y="260"/>
                  </a:lnTo>
                  <a:lnTo>
                    <a:pt x="222" y="260"/>
                  </a:lnTo>
                  <a:lnTo>
                    <a:pt x="228" y="262"/>
                  </a:lnTo>
                  <a:lnTo>
                    <a:pt x="228" y="262"/>
                  </a:lnTo>
                  <a:lnTo>
                    <a:pt x="230" y="262"/>
                  </a:lnTo>
                  <a:lnTo>
                    <a:pt x="234" y="260"/>
                  </a:lnTo>
                  <a:lnTo>
                    <a:pt x="236" y="260"/>
                  </a:lnTo>
                  <a:lnTo>
                    <a:pt x="238" y="258"/>
                  </a:lnTo>
                  <a:lnTo>
                    <a:pt x="238" y="258"/>
                  </a:lnTo>
                  <a:lnTo>
                    <a:pt x="240" y="258"/>
                  </a:lnTo>
                  <a:lnTo>
                    <a:pt x="242" y="258"/>
                  </a:lnTo>
                  <a:lnTo>
                    <a:pt x="244" y="258"/>
                  </a:lnTo>
                  <a:lnTo>
                    <a:pt x="244" y="258"/>
                  </a:lnTo>
                  <a:lnTo>
                    <a:pt x="248" y="256"/>
                  </a:lnTo>
                  <a:lnTo>
                    <a:pt x="250" y="256"/>
                  </a:lnTo>
                  <a:lnTo>
                    <a:pt x="250" y="256"/>
                  </a:lnTo>
                  <a:lnTo>
                    <a:pt x="254" y="256"/>
                  </a:lnTo>
                  <a:lnTo>
                    <a:pt x="260" y="254"/>
                  </a:lnTo>
                  <a:lnTo>
                    <a:pt x="262" y="252"/>
                  </a:lnTo>
                  <a:lnTo>
                    <a:pt x="264" y="252"/>
                  </a:lnTo>
                  <a:lnTo>
                    <a:pt x="266" y="254"/>
                  </a:lnTo>
                  <a:lnTo>
                    <a:pt x="268" y="254"/>
                  </a:lnTo>
                  <a:lnTo>
                    <a:pt x="268" y="254"/>
                  </a:lnTo>
                  <a:lnTo>
                    <a:pt x="270" y="256"/>
                  </a:lnTo>
                  <a:lnTo>
                    <a:pt x="272" y="260"/>
                  </a:lnTo>
                  <a:lnTo>
                    <a:pt x="274" y="262"/>
                  </a:lnTo>
                  <a:lnTo>
                    <a:pt x="274" y="264"/>
                  </a:lnTo>
                  <a:lnTo>
                    <a:pt x="274" y="264"/>
                  </a:lnTo>
                  <a:lnTo>
                    <a:pt x="274" y="268"/>
                  </a:lnTo>
                  <a:lnTo>
                    <a:pt x="276" y="268"/>
                  </a:lnTo>
                  <a:lnTo>
                    <a:pt x="276" y="268"/>
                  </a:lnTo>
                  <a:lnTo>
                    <a:pt x="276" y="268"/>
                  </a:lnTo>
                  <a:lnTo>
                    <a:pt x="278" y="270"/>
                  </a:lnTo>
                  <a:lnTo>
                    <a:pt x="280" y="270"/>
                  </a:lnTo>
                  <a:lnTo>
                    <a:pt x="282" y="272"/>
                  </a:lnTo>
                  <a:lnTo>
                    <a:pt x="282" y="272"/>
                  </a:lnTo>
                  <a:lnTo>
                    <a:pt x="284" y="274"/>
                  </a:lnTo>
                  <a:lnTo>
                    <a:pt x="284" y="276"/>
                  </a:lnTo>
                  <a:lnTo>
                    <a:pt x="284" y="276"/>
                  </a:lnTo>
                  <a:lnTo>
                    <a:pt x="286" y="278"/>
                  </a:lnTo>
                  <a:lnTo>
                    <a:pt x="288" y="282"/>
                  </a:lnTo>
                  <a:lnTo>
                    <a:pt x="288" y="282"/>
                  </a:lnTo>
                  <a:lnTo>
                    <a:pt x="290" y="286"/>
                  </a:lnTo>
                  <a:lnTo>
                    <a:pt x="294" y="292"/>
                  </a:lnTo>
                  <a:lnTo>
                    <a:pt x="294" y="292"/>
                  </a:lnTo>
                  <a:lnTo>
                    <a:pt x="296" y="296"/>
                  </a:lnTo>
                  <a:lnTo>
                    <a:pt x="298" y="298"/>
                  </a:lnTo>
                  <a:lnTo>
                    <a:pt x="298" y="298"/>
                  </a:lnTo>
                  <a:lnTo>
                    <a:pt x="300" y="300"/>
                  </a:lnTo>
                  <a:lnTo>
                    <a:pt x="302" y="300"/>
                  </a:lnTo>
                  <a:lnTo>
                    <a:pt x="302" y="300"/>
                  </a:lnTo>
                  <a:lnTo>
                    <a:pt x="302" y="300"/>
                  </a:lnTo>
                  <a:lnTo>
                    <a:pt x="306" y="302"/>
                  </a:lnTo>
                  <a:lnTo>
                    <a:pt x="308" y="302"/>
                  </a:lnTo>
                  <a:lnTo>
                    <a:pt x="314" y="300"/>
                  </a:lnTo>
                  <a:lnTo>
                    <a:pt x="314" y="300"/>
                  </a:lnTo>
                  <a:lnTo>
                    <a:pt x="320" y="300"/>
                  </a:lnTo>
                  <a:lnTo>
                    <a:pt x="322" y="298"/>
                  </a:lnTo>
                  <a:lnTo>
                    <a:pt x="326" y="298"/>
                  </a:lnTo>
                  <a:lnTo>
                    <a:pt x="326" y="298"/>
                  </a:lnTo>
                  <a:lnTo>
                    <a:pt x="328" y="298"/>
                  </a:lnTo>
                  <a:lnTo>
                    <a:pt x="330" y="298"/>
                  </a:lnTo>
                  <a:lnTo>
                    <a:pt x="330" y="298"/>
                  </a:lnTo>
                  <a:lnTo>
                    <a:pt x="330" y="298"/>
                  </a:lnTo>
                  <a:lnTo>
                    <a:pt x="332" y="296"/>
                  </a:lnTo>
                  <a:lnTo>
                    <a:pt x="334" y="294"/>
                  </a:lnTo>
                  <a:lnTo>
                    <a:pt x="334" y="294"/>
                  </a:lnTo>
                  <a:lnTo>
                    <a:pt x="334" y="294"/>
                  </a:lnTo>
                  <a:lnTo>
                    <a:pt x="338" y="290"/>
                  </a:lnTo>
                  <a:lnTo>
                    <a:pt x="340" y="288"/>
                  </a:lnTo>
                  <a:lnTo>
                    <a:pt x="342" y="286"/>
                  </a:lnTo>
                  <a:lnTo>
                    <a:pt x="342" y="286"/>
                  </a:lnTo>
                  <a:lnTo>
                    <a:pt x="346" y="282"/>
                  </a:lnTo>
                  <a:lnTo>
                    <a:pt x="348" y="282"/>
                  </a:lnTo>
                  <a:lnTo>
                    <a:pt x="350" y="280"/>
                  </a:lnTo>
                  <a:lnTo>
                    <a:pt x="350" y="280"/>
                  </a:lnTo>
                  <a:lnTo>
                    <a:pt x="354" y="280"/>
                  </a:lnTo>
                  <a:lnTo>
                    <a:pt x="354" y="280"/>
                  </a:lnTo>
                  <a:lnTo>
                    <a:pt x="356" y="280"/>
                  </a:lnTo>
                  <a:lnTo>
                    <a:pt x="358" y="278"/>
                  </a:lnTo>
                  <a:lnTo>
                    <a:pt x="358" y="278"/>
                  </a:lnTo>
                  <a:lnTo>
                    <a:pt x="358" y="276"/>
                  </a:lnTo>
                  <a:lnTo>
                    <a:pt x="358" y="276"/>
                  </a:lnTo>
                  <a:lnTo>
                    <a:pt x="358" y="276"/>
                  </a:lnTo>
                  <a:lnTo>
                    <a:pt x="358" y="272"/>
                  </a:lnTo>
                  <a:lnTo>
                    <a:pt x="358" y="272"/>
                  </a:lnTo>
                  <a:lnTo>
                    <a:pt x="358" y="270"/>
                  </a:lnTo>
                  <a:lnTo>
                    <a:pt x="358" y="268"/>
                  </a:lnTo>
                  <a:lnTo>
                    <a:pt x="358" y="268"/>
                  </a:lnTo>
                  <a:lnTo>
                    <a:pt x="360" y="266"/>
                  </a:lnTo>
                  <a:lnTo>
                    <a:pt x="362" y="266"/>
                  </a:lnTo>
                  <a:lnTo>
                    <a:pt x="364" y="266"/>
                  </a:lnTo>
                  <a:lnTo>
                    <a:pt x="368" y="266"/>
                  </a:lnTo>
                  <a:lnTo>
                    <a:pt x="370" y="266"/>
                  </a:lnTo>
                  <a:lnTo>
                    <a:pt x="372" y="266"/>
                  </a:lnTo>
                  <a:lnTo>
                    <a:pt x="372" y="266"/>
                  </a:lnTo>
                  <a:lnTo>
                    <a:pt x="376" y="268"/>
                  </a:lnTo>
                  <a:lnTo>
                    <a:pt x="378" y="270"/>
                  </a:lnTo>
                  <a:lnTo>
                    <a:pt x="378" y="270"/>
                  </a:lnTo>
                  <a:lnTo>
                    <a:pt x="382" y="272"/>
                  </a:lnTo>
                  <a:lnTo>
                    <a:pt x="386" y="272"/>
                  </a:lnTo>
                  <a:lnTo>
                    <a:pt x="386" y="272"/>
                  </a:lnTo>
                  <a:lnTo>
                    <a:pt x="388" y="272"/>
                  </a:lnTo>
                  <a:lnTo>
                    <a:pt x="390" y="270"/>
                  </a:lnTo>
                  <a:lnTo>
                    <a:pt x="390" y="268"/>
                  </a:lnTo>
                  <a:lnTo>
                    <a:pt x="390" y="268"/>
                  </a:lnTo>
                  <a:lnTo>
                    <a:pt x="390" y="268"/>
                  </a:lnTo>
                  <a:lnTo>
                    <a:pt x="390" y="266"/>
                  </a:lnTo>
                  <a:lnTo>
                    <a:pt x="390" y="264"/>
                  </a:lnTo>
                  <a:lnTo>
                    <a:pt x="390" y="260"/>
                  </a:lnTo>
                  <a:lnTo>
                    <a:pt x="390" y="258"/>
                  </a:lnTo>
                  <a:lnTo>
                    <a:pt x="390" y="258"/>
                  </a:lnTo>
                  <a:lnTo>
                    <a:pt x="390" y="258"/>
                  </a:lnTo>
                  <a:lnTo>
                    <a:pt x="392" y="256"/>
                  </a:lnTo>
                  <a:lnTo>
                    <a:pt x="392" y="256"/>
                  </a:lnTo>
                  <a:lnTo>
                    <a:pt x="394" y="254"/>
                  </a:lnTo>
                  <a:lnTo>
                    <a:pt x="394" y="254"/>
                  </a:lnTo>
                  <a:lnTo>
                    <a:pt x="398" y="254"/>
                  </a:lnTo>
                  <a:lnTo>
                    <a:pt x="402" y="254"/>
                  </a:lnTo>
                  <a:lnTo>
                    <a:pt x="402" y="254"/>
                  </a:lnTo>
                  <a:lnTo>
                    <a:pt x="406" y="254"/>
                  </a:lnTo>
                  <a:lnTo>
                    <a:pt x="408" y="254"/>
                  </a:lnTo>
                  <a:lnTo>
                    <a:pt x="412" y="256"/>
                  </a:lnTo>
                  <a:lnTo>
                    <a:pt x="412" y="256"/>
                  </a:lnTo>
                  <a:lnTo>
                    <a:pt x="416" y="256"/>
                  </a:lnTo>
                  <a:lnTo>
                    <a:pt x="420" y="256"/>
                  </a:lnTo>
                  <a:lnTo>
                    <a:pt x="420" y="256"/>
                  </a:lnTo>
                  <a:lnTo>
                    <a:pt x="424" y="256"/>
                  </a:lnTo>
                  <a:lnTo>
                    <a:pt x="428" y="256"/>
                  </a:lnTo>
                  <a:lnTo>
                    <a:pt x="434" y="256"/>
                  </a:lnTo>
                  <a:lnTo>
                    <a:pt x="434" y="256"/>
                  </a:lnTo>
                  <a:lnTo>
                    <a:pt x="440" y="254"/>
                  </a:lnTo>
                  <a:lnTo>
                    <a:pt x="446" y="254"/>
                  </a:lnTo>
                  <a:lnTo>
                    <a:pt x="450" y="252"/>
                  </a:lnTo>
                  <a:lnTo>
                    <a:pt x="454" y="254"/>
                  </a:lnTo>
                  <a:lnTo>
                    <a:pt x="456" y="254"/>
                  </a:lnTo>
                  <a:lnTo>
                    <a:pt x="460" y="254"/>
                  </a:lnTo>
                  <a:lnTo>
                    <a:pt x="460" y="254"/>
                  </a:lnTo>
                  <a:lnTo>
                    <a:pt x="462" y="256"/>
                  </a:lnTo>
                  <a:lnTo>
                    <a:pt x="464" y="258"/>
                  </a:lnTo>
                  <a:lnTo>
                    <a:pt x="466" y="260"/>
                  </a:lnTo>
                  <a:lnTo>
                    <a:pt x="468" y="260"/>
                  </a:lnTo>
                  <a:lnTo>
                    <a:pt x="468" y="260"/>
                  </a:lnTo>
                  <a:lnTo>
                    <a:pt x="470" y="262"/>
                  </a:lnTo>
                  <a:lnTo>
                    <a:pt x="472" y="262"/>
                  </a:lnTo>
                  <a:lnTo>
                    <a:pt x="478" y="262"/>
                  </a:lnTo>
                  <a:lnTo>
                    <a:pt x="478" y="262"/>
                  </a:lnTo>
                  <a:lnTo>
                    <a:pt x="488" y="262"/>
                  </a:lnTo>
                  <a:lnTo>
                    <a:pt x="488" y="262"/>
                  </a:lnTo>
                  <a:lnTo>
                    <a:pt x="490" y="262"/>
                  </a:lnTo>
                  <a:lnTo>
                    <a:pt x="494" y="264"/>
                  </a:lnTo>
                  <a:lnTo>
                    <a:pt x="494" y="264"/>
                  </a:lnTo>
                  <a:lnTo>
                    <a:pt x="496" y="256"/>
                  </a:lnTo>
                  <a:lnTo>
                    <a:pt x="496" y="256"/>
                  </a:lnTo>
                  <a:lnTo>
                    <a:pt x="496" y="254"/>
                  </a:lnTo>
                  <a:lnTo>
                    <a:pt x="498" y="252"/>
                  </a:lnTo>
                  <a:lnTo>
                    <a:pt x="498" y="250"/>
                  </a:lnTo>
                  <a:lnTo>
                    <a:pt x="500" y="246"/>
                  </a:lnTo>
                  <a:lnTo>
                    <a:pt x="500" y="246"/>
                  </a:lnTo>
                  <a:lnTo>
                    <a:pt x="498" y="244"/>
                  </a:lnTo>
                  <a:lnTo>
                    <a:pt x="498" y="240"/>
                  </a:lnTo>
                  <a:lnTo>
                    <a:pt x="496" y="234"/>
                  </a:lnTo>
                  <a:lnTo>
                    <a:pt x="496" y="234"/>
                  </a:lnTo>
                  <a:lnTo>
                    <a:pt x="494" y="228"/>
                  </a:lnTo>
                  <a:lnTo>
                    <a:pt x="492" y="226"/>
                  </a:lnTo>
                  <a:lnTo>
                    <a:pt x="492" y="222"/>
                  </a:lnTo>
                  <a:lnTo>
                    <a:pt x="492" y="222"/>
                  </a:lnTo>
                  <a:lnTo>
                    <a:pt x="490" y="220"/>
                  </a:lnTo>
                  <a:lnTo>
                    <a:pt x="490" y="220"/>
                  </a:lnTo>
                  <a:lnTo>
                    <a:pt x="486" y="216"/>
                  </a:lnTo>
                  <a:lnTo>
                    <a:pt x="484" y="214"/>
                  </a:lnTo>
                  <a:lnTo>
                    <a:pt x="482" y="212"/>
                  </a:lnTo>
                  <a:lnTo>
                    <a:pt x="482" y="212"/>
                  </a:lnTo>
                  <a:lnTo>
                    <a:pt x="480" y="208"/>
                  </a:lnTo>
                  <a:lnTo>
                    <a:pt x="478" y="206"/>
                  </a:lnTo>
                  <a:lnTo>
                    <a:pt x="478" y="204"/>
                  </a:lnTo>
                  <a:lnTo>
                    <a:pt x="478" y="204"/>
                  </a:lnTo>
                  <a:lnTo>
                    <a:pt x="480" y="204"/>
                  </a:lnTo>
                  <a:lnTo>
                    <a:pt x="480" y="202"/>
                  </a:lnTo>
                  <a:lnTo>
                    <a:pt x="480" y="202"/>
                  </a:lnTo>
                  <a:lnTo>
                    <a:pt x="482" y="200"/>
                  </a:lnTo>
                  <a:lnTo>
                    <a:pt x="482" y="198"/>
                  </a:lnTo>
                  <a:lnTo>
                    <a:pt x="484" y="198"/>
                  </a:lnTo>
                  <a:lnTo>
                    <a:pt x="486" y="198"/>
                  </a:lnTo>
                  <a:lnTo>
                    <a:pt x="488" y="196"/>
                  </a:lnTo>
                  <a:lnTo>
                    <a:pt x="492" y="196"/>
                  </a:lnTo>
                  <a:lnTo>
                    <a:pt x="492" y="196"/>
                  </a:lnTo>
                  <a:lnTo>
                    <a:pt x="496" y="196"/>
                  </a:lnTo>
                  <a:lnTo>
                    <a:pt x="498" y="198"/>
                  </a:lnTo>
                  <a:lnTo>
                    <a:pt x="498" y="198"/>
                  </a:lnTo>
                  <a:lnTo>
                    <a:pt x="500" y="200"/>
                  </a:lnTo>
                  <a:lnTo>
                    <a:pt x="502" y="202"/>
                  </a:lnTo>
                  <a:lnTo>
                    <a:pt x="504" y="202"/>
                  </a:lnTo>
                  <a:lnTo>
                    <a:pt x="504" y="202"/>
                  </a:lnTo>
                  <a:lnTo>
                    <a:pt x="506" y="202"/>
                  </a:lnTo>
                  <a:lnTo>
                    <a:pt x="506" y="202"/>
                  </a:lnTo>
                  <a:lnTo>
                    <a:pt x="508" y="200"/>
                  </a:lnTo>
                  <a:lnTo>
                    <a:pt x="508" y="200"/>
                  </a:lnTo>
                  <a:lnTo>
                    <a:pt x="508" y="198"/>
                  </a:lnTo>
                  <a:lnTo>
                    <a:pt x="508" y="196"/>
                  </a:lnTo>
                  <a:lnTo>
                    <a:pt x="508" y="194"/>
                  </a:lnTo>
                  <a:lnTo>
                    <a:pt x="506" y="194"/>
                  </a:lnTo>
                  <a:lnTo>
                    <a:pt x="506" y="194"/>
                  </a:lnTo>
                  <a:lnTo>
                    <a:pt x="504" y="190"/>
                  </a:lnTo>
                  <a:lnTo>
                    <a:pt x="502" y="188"/>
                  </a:lnTo>
                  <a:lnTo>
                    <a:pt x="500" y="188"/>
                  </a:lnTo>
                  <a:lnTo>
                    <a:pt x="500" y="186"/>
                  </a:lnTo>
                  <a:lnTo>
                    <a:pt x="500" y="184"/>
                  </a:lnTo>
                  <a:lnTo>
                    <a:pt x="500" y="182"/>
                  </a:lnTo>
                  <a:lnTo>
                    <a:pt x="500" y="182"/>
                  </a:lnTo>
                  <a:lnTo>
                    <a:pt x="500" y="180"/>
                  </a:lnTo>
                  <a:lnTo>
                    <a:pt x="500" y="176"/>
                  </a:lnTo>
                  <a:lnTo>
                    <a:pt x="504" y="170"/>
                  </a:lnTo>
                  <a:lnTo>
                    <a:pt x="504" y="170"/>
                  </a:lnTo>
                  <a:lnTo>
                    <a:pt x="504" y="168"/>
                  </a:lnTo>
                  <a:lnTo>
                    <a:pt x="504" y="164"/>
                  </a:lnTo>
                  <a:lnTo>
                    <a:pt x="504" y="156"/>
                  </a:lnTo>
                  <a:lnTo>
                    <a:pt x="504" y="156"/>
                  </a:lnTo>
                  <a:lnTo>
                    <a:pt x="506" y="154"/>
                  </a:lnTo>
                  <a:lnTo>
                    <a:pt x="506" y="152"/>
                  </a:lnTo>
                  <a:lnTo>
                    <a:pt x="506" y="150"/>
                  </a:lnTo>
                  <a:lnTo>
                    <a:pt x="508" y="150"/>
                  </a:lnTo>
                  <a:lnTo>
                    <a:pt x="508" y="150"/>
                  </a:lnTo>
                  <a:lnTo>
                    <a:pt x="510" y="150"/>
                  </a:lnTo>
                  <a:lnTo>
                    <a:pt x="512" y="150"/>
                  </a:lnTo>
                  <a:lnTo>
                    <a:pt x="512" y="150"/>
                  </a:lnTo>
                  <a:lnTo>
                    <a:pt x="516" y="152"/>
                  </a:lnTo>
                  <a:lnTo>
                    <a:pt x="520" y="152"/>
                  </a:lnTo>
                  <a:lnTo>
                    <a:pt x="524" y="152"/>
                  </a:lnTo>
                  <a:lnTo>
                    <a:pt x="528" y="152"/>
                  </a:lnTo>
                  <a:lnTo>
                    <a:pt x="528" y="152"/>
                  </a:lnTo>
                  <a:lnTo>
                    <a:pt x="532" y="152"/>
                  </a:lnTo>
                  <a:lnTo>
                    <a:pt x="534" y="150"/>
                  </a:lnTo>
                  <a:lnTo>
                    <a:pt x="536" y="148"/>
                  </a:lnTo>
                  <a:lnTo>
                    <a:pt x="538" y="148"/>
                  </a:lnTo>
                  <a:lnTo>
                    <a:pt x="540" y="146"/>
                  </a:lnTo>
                  <a:lnTo>
                    <a:pt x="540" y="144"/>
                  </a:lnTo>
                  <a:lnTo>
                    <a:pt x="540" y="144"/>
                  </a:lnTo>
                  <a:lnTo>
                    <a:pt x="540" y="144"/>
                  </a:lnTo>
                  <a:lnTo>
                    <a:pt x="540" y="142"/>
                  </a:lnTo>
                  <a:lnTo>
                    <a:pt x="538" y="138"/>
                  </a:lnTo>
                  <a:lnTo>
                    <a:pt x="536" y="136"/>
                  </a:lnTo>
                  <a:lnTo>
                    <a:pt x="536" y="134"/>
                  </a:lnTo>
                  <a:lnTo>
                    <a:pt x="536" y="132"/>
                  </a:lnTo>
                  <a:lnTo>
                    <a:pt x="536" y="132"/>
                  </a:lnTo>
                  <a:lnTo>
                    <a:pt x="536" y="132"/>
                  </a:lnTo>
                  <a:lnTo>
                    <a:pt x="536" y="130"/>
                  </a:lnTo>
                  <a:lnTo>
                    <a:pt x="536" y="128"/>
                  </a:lnTo>
                  <a:lnTo>
                    <a:pt x="538" y="128"/>
                  </a:lnTo>
                  <a:lnTo>
                    <a:pt x="540" y="126"/>
                  </a:lnTo>
                  <a:lnTo>
                    <a:pt x="542" y="124"/>
                  </a:lnTo>
                  <a:lnTo>
                    <a:pt x="542" y="124"/>
                  </a:lnTo>
                  <a:lnTo>
                    <a:pt x="544" y="122"/>
                  </a:lnTo>
                  <a:lnTo>
                    <a:pt x="544" y="122"/>
                  </a:lnTo>
                  <a:lnTo>
                    <a:pt x="546" y="120"/>
                  </a:lnTo>
                  <a:lnTo>
                    <a:pt x="546" y="120"/>
                  </a:lnTo>
                  <a:lnTo>
                    <a:pt x="546" y="118"/>
                  </a:lnTo>
                  <a:lnTo>
                    <a:pt x="546" y="116"/>
                  </a:lnTo>
                  <a:lnTo>
                    <a:pt x="546" y="112"/>
                  </a:lnTo>
                  <a:lnTo>
                    <a:pt x="546" y="112"/>
                  </a:lnTo>
                  <a:lnTo>
                    <a:pt x="546" y="110"/>
                  </a:lnTo>
                  <a:lnTo>
                    <a:pt x="546" y="108"/>
                  </a:lnTo>
                  <a:lnTo>
                    <a:pt x="548" y="102"/>
                  </a:lnTo>
                  <a:lnTo>
                    <a:pt x="548" y="102"/>
                  </a:lnTo>
                  <a:lnTo>
                    <a:pt x="548" y="102"/>
                  </a:lnTo>
                  <a:lnTo>
                    <a:pt x="548" y="102"/>
                  </a:lnTo>
                  <a:lnTo>
                    <a:pt x="548" y="102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92" name="Freeform 1119"/>
            <p:cNvSpPr>
              <a:spLocks/>
            </p:cNvSpPr>
            <p:nvPr/>
          </p:nvSpPr>
          <p:spPr bwMode="auto">
            <a:xfrm>
              <a:off x="5329067" y="2886284"/>
              <a:ext cx="113641" cy="129875"/>
            </a:xfrm>
            <a:custGeom>
              <a:avLst/>
              <a:gdLst>
                <a:gd name="T0" fmla="*/ 52 w 70"/>
                <a:gd name="T1" fmla="*/ 24 h 80"/>
                <a:gd name="T2" fmla="*/ 24 w 70"/>
                <a:gd name="T3" fmla="*/ 0 h 80"/>
                <a:gd name="T4" fmla="*/ 24 w 70"/>
                <a:gd name="T5" fmla="*/ 4 h 80"/>
                <a:gd name="T6" fmla="*/ 24 w 70"/>
                <a:gd name="T7" fmla="*/ 10 h 80"/>
                <a:gd name="T8" fmla="*/ 22 w 70"/>
                <a:gd name="T9" fmla="*/ 14 h 80"/>
                <a:gd name="T10" fmla="*/ 20 w 70"/>
                <a:gd name="T11" fmla="*/ 16 h 80"/>
                <a:gd name="T12" fmla="*/ 16 w 70"/>
                <a:gd name="T13" fmla="*/ 14 h 80"/>
                <a:gd name="T14" fmla="*/ 14 w 70"/>
                <a:gd name="T15" fmla="*/ 12 h 80"/>
                <a:gd name="T16" fmla="*/ 12 w 70"/>
                <a:gd name="T17" fmla="*/ 8 h 80"/>
                <a:gd name="T18" fmla="*/ 10 w 70"/>
                <a:gd name="T19" fmla="*/ 6 h 80"/>
                <a:gd name="T20" fmla="*/ 8 w 70"/>
                <a:gd name="T21" fmla="*/ 6 h 80"/>
                <a:gd name="T22" fmla="*/ 4 w 70"/>
                <a:gd name="T23" fmla="*/ 10 h 80"/>
                <a:gd name="T24" fmla="*/ 2 w 70"/>
                <a:gd name="T25" fmla="*/ 20 h 80"/>
                <a:gd name="T26" fmla="*/ 0 w 70"/>
                <a:gd name="T27" fmla="*/ 24 h 80"/>
                <a:gd name="T28" fmla="*/ 2 w 70"/>
                <a:gd name="T29" fmla="*/ 32 h 80"/>
                <a:gd name="T30" fmla="*/ 6 w 70"/>
                <a:gd name="T31" fmla="*/ 34 h 80"/>
                <a:gd name="T32" fmla="*/ 10 w 70"/>
                <a:gd name="T33" fmla="*/ 36 h 80"/>
                <a:gd name="T34" fmla="*/ 8 w 70"/>
                <a:gd name="T35" fmla="*/ 38 h 80"/>
                <a:gd name="T36" fmla="*/ 6 w 70"/>
                <a:gd name="T37" fmla="*/ 40 h 80"/>
                <a:gd name="T38" fmla="*/ 4 w 70"/>
                <a:gd name="T39" fmla="*/ 42 h 80"/>
                <a:gd name="T40" fmla="*/ 4 w 70"/>
                <a:gd name="T41" fmla="*/ 46 h 80"/>
                <a:gd name="T42" fmla="*/ 8 w 70"/>
                <a:gd name="T43" fmla="*/ 50 h 80"/>
                <a:gd name="T44" fmla="*/ 12 w 70"/>
                <a:gd name="T45" fmla="*/ 54 h 80"/>
                <a:gd name="T46" fmla="*/ 22 w 70"/>
                <a:gd name="T47" fmla="*/ 60 h 80"/>
                <a:gd name="T48" fmla="*/ 32 w 70"/>
                <a:gd name="T49" fmla="*/ 62 h 80"/>
                <a:gd name="T50" fmla="*/ 34 w 70"/>
                <a:gd name="T51" fmla="*/ 62 h 80"/>
                <a:gd name="T52" fmla="*/ 36 w 70"/>
                <a:gd name="T53" fmla="*/ 70 h 80"/>
                <a:gd name="T54" fmla="*/ 34 w 70"/>
                <a:gd name="T55" fmla="*/ 74 h 80"/>
                <a:gd name="T56" fmla="*/ 34 w 70"/>
                <a:gd name="T57" fmla="*/ 78 h 80"/>
                <a:gd name="T58" fmla="*/ 36 w 70"/>
                <a:gd name="T59" fmla="*/ 78 h 80"/>
                <a:gd name="T60" fmla="*/ 36 w 70"/>
                <a:gd name="T61" fmla="*/ 80 h 80"/>
                <a:gd name="T62" fmla="*/ 38 w 70"/>
                <a:gd name="T63" fmla="*/ 80 h 80"/>
                <a:gd name="T64" fmla="*/ 38 w 70"/>
                <a:gd name="T65" fmla="*/ 80 h 80"/>
                <a:gd name="T66" fmla="*/ 44 w 70"/>
                <a:gd name="T67" fmla="*/ 80 h 80"/>
                <a:gd name="T68" fmla="*/ 46 w 70"/>
                <a:gd name="T69" fmla="*/ 80 h 80"/>
                <a:gd name="T70" fmla="*/ 48 w 70"/>
                <a:gd name="T71" fmla="*/ 78 h 80"/>
                <a:gd name="T72" fmla="*/ 50 w 70"/>
                <a:gd name="T73" fmla="*/ 76 h 80"/>
                <a:gd name="T74" fmla="*/ 52 w 70"/>
                <a:gd name="T75" fmla="*/ 74 h 80"/>
                <a:gd name="T76" fmla="*/ 56 w 70"/>
                <a:gd name="T77" fmla="*/ 70 h 80"/>
                <a:gd name="T78" fmla="*/ 62 w 70"/>
                <a:gd name="T79" fmla="*/ 64 h 80"/>
                <a:gd name="T80" fmla="*/ 68 w 70"/>
                <a:gd name="T81" fmla="*/ 62 h 80"/>
                <a:gd name="T82" fmla="*/ 70 w 70"/>
                <a:gd name="T83" fmla="*/ 60 h 80"/>
                <a:gd name="T84" fmla="*/ 60 w 70"/>
                <a:gd name="T85" fmla="*/ 48 h 80"/>
                <a:gd name="T86" fmla="*/ 58 w 70"/>
                <a:gd name="T87" fmla="*/ 44 h 80"/>
                <a:gd name="T88" fmla="*/ 60 w 70"/>
                <a:gd name="T89" fmla="*/ 34 h 80"/>
                <a:gd name="T90" fmla="*/ 60 w 70"/>
                <a:gd name="T91" fmla="*/ 30 h 80"/>
                <a:gd name="T92" fmla="*/ 60 w 70"/>
                <a:gd name="T93" fmla="*/ 3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0" h="80">
                  <a:moveTo>
                    <a:pt x="60" y="30"/>
                  </a:moveTo>
                  <a:lnTo>
                    <a:pt x="60" y="30"/>
                  </a:lnTo>
                  <a:lnTo>
                    <a:pt x="52" y="24"/>
                  </a:lnTo>
                  <a:lnTo>
                    <a:pt x="42" y="16"/>
                  </a:lnTo>
                  <a:lnTo>
                    <a:pt x="34" y="8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2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2"/>
                  </a:lnTo>
                  <a:lnTo>
                    <a:pt x="22" y="14"/>
                  </a:lnTo>
                  <a:lnTo>
                    <a:pt x="22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6" y="14"/>
                  </a:lnTo>
                  <a:lnTo>
                    <a:pt x="14" y="14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0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8" y="6"/>
                  </a:lnTo>
                  <a:lnTo>
                    <a:pt x="6" y="8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4"/>
                  </a:lnTo>
                  <a:lnTo>
                    <a:pt x="2" y="16"/>
                  </a:lnTo>
                  <a:lnTo>
                    <a:pt x="2" y="20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2" y="30"/>
                  </a:lnTo>
                  <a:lnTo>
                    <a:pt x="2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6" y="34"/>
                  </a:lnTo>
                  <a:lnTo>
                    <a:pt x="8" y="34"/>
                  </a:lnTo>
                  <a:lnTo>
                    <a:pt x="8" y="36"/>
                  </a:lnTo>
                  <a:lnTo>
                    <a:pt x="10" y="36"/>
                  </a:lnTo>
                  <a:lnTo>
                    <a:pt x="10" y="36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4" y="42"/>
                  </a:lnTo>
                  <a:lnTo>
                    <a:pt x="4" y="42"/>
                  </a:lnTo>
                  <a:lnTo>
                    <a:pt x="4" y="42"/>
                  </a:lnTo>
                  <a:lnTo>
                    <a:pt x="4" y="44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6" y="48"/>
                  </a:lnTo>
                  <a:lnTo>
                    <a:pt x="8" y="50"/>
                  </a:lnTo>
                  <a:lnTo>
                    <a:pt x="10" y="52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6" y="58"/>
                  </a:lnTo>
                  <a:lnTo>
                    <a:pt x="20" y="58"/>
                  </a:lnTo>
                  <a:lnTo>
                    <a:pt x="22" y="60"/>
                  </a:lnTo>
                  <a:lnTo>
                    <a:pt x="22" y="60"/>
                  </a:lnTo>
                  <a:lnTo>
                    <a:pt x="28" y="60"/>
                  </a:lnTo>
                  <a:lnTo>
                    <a:pt x="32" y="62"/>
                  </a:lnTo>
                  <a:lnTo>
                    <a:pt x="32" y="62"/>
                  </a:lnTo>
                  <a:lnTo>
                    <a:pt x="34" y="62"/>
                  </a:lnTo>
                  <a:lnTo>
                    <a:pt x="34" y="62"/>
                  </a:lnTo>
                  <a:lnTo>
                    <a:pt x="34" y="64"/>
                  </a:lnTo>
                  <a:lnTo>
                    <a:pt x="36" y="68"/>
                  </a:lnTo>
                  <a:lnTo>
                    <a:pt x="36" y="70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4" y="74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78"/>
                  </a:lnTo>
                  <a:lnTo>
                    <a:pt x="34" y="78"/>
                  </a:lnTo>
                  <a:lnTo>
                    <a:pt x="36" y="78"/>
                  </a:lnTo>
                  <a:lnTo>
                    <a:pt x="36" y="78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8" y="80"/>
                  </a:lnTo>
                  <a:lnTo>
                    <a:pt x="38" y="80"/>
                  </a:lnTo>
                  <a:lnTo>
                    <a:pt x="38" y="80"/>
                  </a:lnTo>
                  <a:lnTo>
                    <a:pt x="38" y="80"/>
                  </a:lnTo>
                  <a:lnTo>
                    <a:pt x="38" y="80"/>
                  </a:lnTo>
                  <a:lnTo>
                    <a:pt x="38" y="80"/>
                  </a:lnTo>
                  <a:lnTo>
                    <a:pt x="38" y="80"/>
                  </a:lnTo>
                  <a:lnTo>
                    <a:pt x="44" y="80"/>
                  </a:lnTo>
                  <a:lnTo>
                    <a:pt x="44" y="80"/>
                  </a:lnTo>
                  <a:lnTo>
                    <a:pt x="44" y="80"/>
                  </a:lnTo>
                  <a:lnTo>
                    <a:pt x="46" y="80"/>
                  </a:lnTo>
                  <a:lnTo>
                    <a:pt x="46" y="80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50" y="78"/>
                  </a:lnTo>
                  <a:lnTo>
                    <a:pt x="50" y="78"/>
                  </a:lnTo>
                  <a:lnTo>
                    <a:pt x="50" y="76"/>
                  </a:lnTo>
                  <a:lnTo>
                    <a:pt x="52" y="76"/>
                  </a:lnTo>
                  <a:lnTo>
                    <a:pt x="52" y="74"/>
                  </a:lnTo>
                  <a:lnTo>
                    <a:pt x="52" y="74"/>
                  </a:lnTo>
                  <a:lnTo>
                    <a:pt x="54" y="72"/>
                  </a:lnTo>
                  <a:lnTo>
                    <a:pt x="56" y="70"/>
                  </a:lnTo>
                  <a:lnTo>
                    <a:pt x="56" y="70"/>
                  </a:lnTo>
                  <a:lnTo>
                    <a:pt x="58" y="68"/>
                  </a:lnTo>
                  <a:lnTo>
                    <a:pt x="62" y="64"/>
                  </a:lnTo>
                  <a:lnTo>
                    <a:pt x="62" y="64"/>
                  </a:lnTo>
                  <a:lnTo>
                    <a:pt x="64" y="62"/>
                  </a:lnTo>
                  <a:lnTo>
                    <a:pt x="66" y="62"/>
                  </a:lnTo>
                  <a:lnTo>
                    <a:pt x="68" y="62"/>
                  </a:lnTo>
                  <a:lnTo>
                    <a:pt x="70" y="62"/>
                  </a:lnTo>
                  <a:lnTo>
                    <a:pt x="70" y="62"/>
                  </a:lnTo>
                  <a:lnTo>
                    <a:pt x="70" y="60"/>
                  </a:lnTo>
                  <a:lnTo>
                    <a:pt x="64" y="54"/>
                  </a:lnTo>
                  <a:lnTo>
                    <a:pt x="60" y="50"/>
                  </a:lnTo>
                  <a:lnTo>
                    <a:pt x="60" y="48"/>
                  </a:lnTo>
                  <a:lnTo>
                    <a:pt x="58" y="46"/>
                  </a:lnTo>
                  <a:lnTo>
                    <a:pt x="58" y="46"/>
                  </a:lnTo>
                  <a:lnTo>
                    <a:pt x="58" y="44"/>
                  </a:lnTo>
                  <a:lnTo>
                    <a:pt x="58" y="42"/>
                  </a:lnTo>
                  <a:lnTo>
                    <a:pt x="60" y="36"/>
                  </a:lnTo>
                  <a:lnTo>
                    <a:pt x="60" y="34"/>
                  </a:lnTo>
                  <a:lnTo>
                    <a:pt x="60" y="32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0" y="3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93" name="Freeform 1120"/>
            <p:cNvSpPr>
              <a:spLocks/>
            </p:cNvSpPr>
            <p:nvPr/>
          </p:nvSpPr>
          <p:spPr bwMode="auto">
            <a:xfrm>
              <a:off x="5390757" y="3016159"/>
              <a:ext cx="9741" cy="0"/>
            </a:xfrm>
            <a:custGeom>
              <a:avLst/>
              <a:gdLst>
                <a:gd name="T0" fmla="*/ 6 w 6"/>
                <a:gd name="T1" fmla="*/ 6 w 6"/>
                <a:gd name="T2" fmla="*/ 0 w 6"/>
                <a:gd name="T3" fmla="*/ 0 w 6"/>
                <a:gd name="T4" fmla="*/ 6 w 6"/>
                <a:gd name="T5" fmla="*/ 6 w 6"/>
                <a:gd name="T6" fmla="*/ 6 w 6"/>
                <a:gd name="T7" fmla="*/ 6 w 6"/>
                <a:gd name="T8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94" name="Freeform 1121"/>
            <p:cNvSpPr>
              <a:spLocks/>
            </p:cNvSpPr>
            <p:nvPr/>
          </p:nvSpPr>
          <p:spPr bwMode="auto">
            <a:xfrm>
              <a:off x="5004378" y="3058368"/>
              <a:ext cx="94160" cy="61691"/>
            </a:xfrm>
            <a:custGeom>
              <a:avLst/>
              <a:gdLst>
                <a:gd name="T0" fmla="*/ 14 w 58"/>
                <a:gd name="T1" fmla="*/ 6 h 38"/>
                <a:gd name="T2" fmla="*/ 8 w 58"/>
                <a:gd name="T3" fmla="*/ 8 h 38"/>
                <a:gd name="T4" fmla="*/ 6 w 58"/>
                <a:gd name="T5" fmla="*/ 8 h 38"/>
                <a:gd name="T6" fmla="*/ 0 w 58"/>
                <a:gd name="T7" fmla="*/ 14 h 38"/>
                <a:gd name="T8" fmla="*/ 0 w 58"/>
                <a:gd name="T9" fmla="*/ 16 h 38"/>
                <a:gd name="T10" fmla="*/ 2 w 58"/>
                <a:gd name="T11" fmla="*/ 18 h 38"/>
                <a:gd name="T12" fmla="*/ 4 w 58"/>
                <a:gd name="T13" fmla="*/ 18 h 38"/>
                <a:gd name="T14" fmla="*/ 10 w 58"/>
                <a:gd name="T15" fmla="*/ 18 h 38"/>
                <a:gd name="T16" fmla="*/ 14 w 58"/>
                <a:gd name="T17" fmla="*/ 20 h 38"/>
                <a:gd name="T18" fmla="*/ 14 w 58"/>
                <a:gd name="T19" fmla="*/ 20 h 38"/>
                <a:gd name="T20" fmla="*/ 14 w 58"/>
                <a:gd name="T21" fmla="*/ 24 h 38"/>
                <a:gd name="T22" fmla="*/ 14 w 58"/>
                <a:gd name="T23" fmla="*/ 26 h 38"/>
                <a:gd name="T24" fmla="*/ 14 w 58"/>
                <a:gd name="T25" fmla="*/ 30 h 38"/>
                <a:gd name="T26" fmla="*/ 16 w 58"/>
                <a:gd name="T27" fmla="*/ 36 h 38"/>
                <a:gd name="T28" fmla="*/ 16 w 58"/>
                <a:gd name="T29" fmla="*/ 38 h 38"/>
                <a:gd name="T30" fmla="*/ 22 w 58"/>
                <a:gd name="T31" fmla="*/ 38 h 38"/>
                <a:gd name="T32" fmla="*/ 30 w 58"/>
                <a:gd name="T33" fmla="*/ 34 h 38"/>
                <a:gd name="T34" fmla="*/ 32 w 58"/>
                <a:gd name="T35" fmla="*/ 32 h 38"/>
                <a:gd name="T36" fmla="*/ 36 w 58"/>
                <a:gd name="T37" fmla="*/ 28 h 38"/>
                <a:gd name="T38" fmla="*/ 40 w 58"/>
                <a:gd name="T39" fmla="*/ 24 h 38"/>
                <a:gd name="T40" fmla="*/ 44 w 58"/>
                <a:gd name="T41" fmla="*/ 22 h 38"/>
                <a:gd name="T42" fmla="*/ 46 w 58"/>
                <a:gd name="T43" fmla="*/ 22 h 38"/>
                <a:gd name="T44" fmla="*/ 52 w 58"/>
                <a:gd name="T45" fmla="*/ 24 h 38"/>
                <a:gd name="T46" fmla="*/ 56 w 58"/>
                <a:gd name="T47" fmla="*/ 24 h 38"/>
                <a:gd name="T48" fmla="*/ 58 w 58"/>
                <a:gd name="T49" fmla="*/ 22 h 38"/>
                <a:gd name="T50" fmla="*/ 58 w 58"/>
                <a:gd name="T51" fmla="*/ 18 h 38"/>
                <a:gd name="T52" fmla="*/ 58 w 58"/>
                <a:gd name="T53" fmla="*/ 14 h 38"/>
                <a:gd name="T54" fmla="*/ 56 w 58"/>
                <a:gd name="T55" fmla="*/ 12 h 38"/>
                <a:gd name="T56" fmla="*/ 54 w 58"/>
                <a:gd name="T57" fmla="*/ 10 h 38"/>
                <a:gd name="T58" fmla="*/ 50 w 58"/>
                <a:gd name="T59" fmla="*/ 12 h 38"/>
                <a:gd name="T60" fmla="*/ 48 w 58"/>
                <a:gd name="T61" fmla="*/ 14 h 38"/>
                <a:gd name="T62" fmla="*/ 44 w 58"/>
                <a:gd name="T63" fmla="*/ 14 h 38"/>
                <a:gd name="T64" fmla="*/ 42 w 58"/>
                <a:gd name="T65" fmla="*/ 12 h 38"/>
                <a:gd name="T66" fmla="*/ 38 w 58"/>
                <a:gd name="T67" fmla="*/ 8 h 38"/>
                <a:gd name="T68" fmla="*/ 34 w 58"/>
                <a:gd name="T69" fmla="*/ 4 h 38"/>
                <a:gd name="T70" fmla="*/ 32 w 58"/>
                <a:gd name="T71" fmla="*/ 2 h 38"/>
                <a:gd name="T72" fmla="*/ 26 w 58"/>
                <a:gd name="T73" fmla="*/ 2 h 38"/>
                <a:gd name="T74" fmla="*/ 22 w 58"/>
                <a:gd name="T75" fmla="*/ 2 h 38"/>
                <a:gd name="T76" fmla="*/ 20 w 58"/>
                <a:gd name="T77" fmla="*/ 0 h 38"/>
                <a:gd name="T78" fmla="*/ 14 w 58"/>
                <a:gd name="T79" fmla="*/ 6 h 38"/>
                <a:gd name="T80" fmla="*/ 14 w 58"/>
                <a:gd name="T81" fmla="*/ 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8" h="38">
                  <a:moveTo>
                    <a:pt x="14" y="6"/>
                  </a:moveTo>
                  <a:lnTo>
                    <a:pt x="14" y="6"/>
                  </a:lnTo>
                  <a:lnTo>
                    <a:pt x="12" y="6"/>
                  </a:lnTo>
                  <a:lnTo>
                    <a:pt x="8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4" y="12"/>
                  </a:lnTo>
                  <a:lnTo>
                    <a:pt x="0" y="14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2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8" y="18"/>
                  </a:lnTo>
                  <a:lnTo>
                    <a:pt x="10" y="18"/>
                  </a:lnTo>
                  <a:lnTo>
                    <a:pt x="12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2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4" y="26"/>
                  </a:lnTo>
                  <a:lnTo>
                    <a:pt x="14" y="28"/>
                  </a:lnTo>
                  <a:lnTo>
                    <a:pt x="14" y="30"/>
                  </a:lnTo>
                  <a:lnTo>
                    <a:pt x="14" y="34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8"/>
                  </a:lnTo>
                  <a:lnTo>
                    <a:pt x="18" y="38"/>
                  </a:lnTo>
                  <a:lnTo>
                    <a:pt x="22" y="38"/>
                  </a:lnTo>
                  <a:lnTo>
                    <a:pt x="26" y="36"/>
                  </a:lnTo>
                  <a:lnTo>
                    <a:pt x="30" y="34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4" y="28"/>
                  </a:lnTo>
                  <a:lnTo>
                    <a:pt x="36" y="28"/>
                  </a:lnTo>
                  <a:lnTo>
                    <a:pt x="38" y="26"/>
                  </a:lnTo>
                  <a:lnTo>
                    <a:pt x="40" y="24"/>
                  </a:lnTo>
                  <a:lnTo>
                    <a:pt x="42" y="24"/>
                  </a:lnTo>
                  <a:lnTo>
                    <a:pt x="44" y="22"/>
                  </a:lnTo>
                  <a:lnTo>
                    <a:pt x="46" y="22"/>
                  </a:lnTo>
                  <a:lnTo>
                    <a:pt x="46" y="22"/>
                  </a:lnTo>
                  <a:lnTo>
                    <a:pt x="50" y="24"/>
                  </a:lnTo>
                  <a:lnTo>
                    <a:pt x="52" y="24"/>
                  </a:lnTo>
                  <a:lnTo>
                    <a:pt x="54" y="24"/>
                  </a:lnTo>
                  <a:lnTo>
                    <a:pt x="56" y="24"/>
                  </a:lnTo>
                  <a:lnTo>
                    <a:pt x="58" y="24"/>
                  </a:lnTo>
                  <a:lnTo>
                    <a:pt x="58" y="22"/>
                  </a:lnTo>
                  <a:lnTo>
                    <a:pt x="58" y="20"/>
                  </a:lnTo>
                  <a:lnTo>
                    <a:pt x="58" y="18"/>
                  </a:lnTo>
                  <a:lnTo>
                    <a:pt x="58" y="16"/>
                  </a:lnTo>
                  <a:lnTo>
                    <a:pt x="58" y="14"/>
                  </a:lnTo>
                  <a:lnTo>
                    <a:pt x="56" y="14"/>
                  </a:lnTo>
                  <a:lnTo>
                    <a:pt x="56" y="12"/>
                  </a:lnTo>
                  <a:lnTo>
                    <a:pt x="54" y="12"/>
                  </a:lnTo>
                  <a:lnTo>
                    <a:pt x="54" y="10"/>
                  </a:lnTo>
                  <a:lnTo>
                    <a:pt x="52" y="10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48" y="14"/>
                  </a:lnTo>
                  <a:lnTo>
                    <a:pt x="46" y="14"/>
                  </a:lnTo>
                  <a:lnTo>
                    <a:pt x="44" y="14"/>
                  </a:lnTo>
                  <a:lnTo>
                    <a:pt x="42" y="14"/>
                  </a:lnTo>
                  <a:lnTo>
                    <a:pt x="42" y="12"/>
                  </a:lnTo>
                  <a:lnTo>
                    <a:pt x="40" y="10"/>
                  </a:lnTo>
                  <a:lnTo>
                    <a:pt x="38" y="8"/>
                  </a:lnTo>
                  <a:lnTo>
                    <a:pt x="36" y="4"/>
                  </a:lnTo>
                  <a:lnTo>
                    <a:pt x="34" y="4"/>
                  </a:lnTo>
                  <a:lnTo>
                    <a:pt x="34" y="2"/>
                  </a:lnTo>
                  <a:lnTo>
                    <a:pt x="32" y="2"/>
                  </a:lnTo>
                  <a:lnTo>
                    <a:pt x="30" y="2"/>
                  </a:lnTo>
                  <a:lnTo>
                    <a:pt x="26" y="2"/>
                  </a:lnTo>
                  <a:lnTo>
                    <a:pt x="24" y="2"/>
                  </a:lnTo>
                  <a:lnTo>
                    <a:pt x="22" y="2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4" y="4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4" y="6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95" name="Freeform 1122"/>
            <p:cNvSpPr>
              <a:spLocks noEditPoints="1"/>
            </p:cNvSpPr>
            <p:nvPr/>
          </p:nvSpPr>
          <p:spPr bwMode="auto">
            <a:xfrm>
              <a:off x="4689431" y="1340768"/>
              <a:ext cx="3425460" cy="1857216"/>
            </a:xfrm>
            <a:custGeom>
              <a:avLst/>
              <a:gdLst>
                <a:gd name="T0" fmla="*/ 1704 w 2110"/>
                <a:gd name="T1" fmla="*/ 734 h 1144"/>
                <a:gd name="T2" fmla="*/ 1736 w 2110"/>
                <a:gd name="T3" fmla="*/ 740 h 1144"/>
                <a:gd name="T4" fmla="*/ 18 w 2110"/>
                <a:gd name="T5" fmla="*/ 882 h 1144"/>
                <a:gd name="T6" fmla="*/ 2030 w 2110"/>
                <a:gd name="T7" fmla="*/ 106 h 1144"/>
                <a:gd name="T8" fmla="*/ 1894 w 2110"/>
                <a:gd name="T9" fmla="*/ 66 h 1144"/>
                <a:gd name="T10" fmla="*/ 1706 w 2110"/>
                <a:gd name="T11" fmla="*/ 138 h 1144"/>
                <a:gd name="T12" fmla="*/ 1494 w 2110"/>
                <a:gd name="T13" fmla="*/ 142 h 1144"/>
                <a:gd name="T14" fmla="*/ 1366 w 2110"/>
                <a:gd name="T15" fmla="*/ 178 h 1144"/>
                <a:gd name="T16" fmla="*/ 1258 w 2110"/>
                <a:gd name="T17" fmla="*/ 238 h 1144"/>
                <a:gd name="T18" fmla="*/ 1150 w 2110"/>
                <a:gd name="T19" fmla="*/ 212 h 1144"/>
                <a:gd name="T20" fmla="*/ 1010 w 2110"/>
                <a:gd name="T21" fmla="*/ 246 h 1144"/>
                <a:gd name="T22" fmla="*/ 998 w 2110"/>
                <a:gd name="T23" fmla="*/ 174 h 1144"/>
                <a:gd name="T24" fmla="*/ 876 w 2110"/>
                <a:gd name="T25" fmla="*/ 184 h 1144"/>
                <a:gd name="T26" fmla="*/ 724 w 2110"/>
                <a:gd name="T27" fmla="*/ 292 h 1144"/>
                <a:gd name="T28" fmla="*/ 724 w 2110"/>
                <a:gd name="T29" fmla="*/ 396 h 1144"/>
                <a:gd name="T30" fmla="*/ 622 w 2110"/>
                <a:gd name="T31" fmla="*/ 398 h 1144"/>
                <a:gd name="T32" fmla="*/ 620 w 2110"/>
                <a:gd name="T33" fmla="*/ 468 h 1144"/>
                <a:gd name="T34" fmla="*/ 620 w 2110"/>
                <a:gd name="T35" fmla="*/ 560 h 1144"/>
                <a:gd name="T36" fmla="*/ 572 w 2110"/>
                <a:gd name="T37" fmla="*/ 382 h 1144"/>
                <a:gd name="T38" fmla="*/ 498 w 2110"/>
                <a:gd name="T39" fmla="*/ 486 h 1144"/>
                <a:gd name="T40" fmla="*/ 386 w 2110"/>
                <a:gd name="T41" fmla="*/ 514 h 1144"/>
                <a:gd name="T42" fmla="*/ 268 w 2110"/>
                <a:gd name="T43" fmla="*/ 578 h 1144"/>
                <a:gd name="T44" fmla="*/ 188 w 2110"/>
                <a:gd name="T45" fmla="*/ 664 h 1144"/>
                <a:gd name="T46" fmla="*/ 152 w 2110"/>
                <a:gd name="T47" fmla="*/ 600 h 1144"/>
                <a:gd name="T48" fmla="*/ 86 w 2110"/>
                <a:gd name="T49" fmla="*/ 570 h 1144"/>
                <a:gd name="T50" fmla="*/ 94 w 2110"/>
                <a:gd name="T51" fmla="*/ 800 h 1144"/>
                <a:gd name="T52" fmla="*/ 218 w 2110"/>
                <a:gd name="T53" fmla="*/ 954 h 1144"/>
                <a:gd name="T54" fmla="*/ 266 w 2110"/>
                <a:gd name="T55" fmla="*/ 1086 h 1144"/>
                <a:gd name="T56" fmla="*/ 456 w 2110"/>
                <a:gd name="T57" fmla="*/ 1016 h 1144"/>
                <a:gd name="T58" fmla="*/ 572 w 2110"/>
                <a:gd name="T59" fmla="*/ 894 h 1144"/>
                <a:gd name="T60" fmla="*/ 798 w 2110"/>
                <a:gd name="T61" fmla="*/ 850 h 1144"/>
                <a:gd name="T62" fmla="*/ 1058 w 2110"/>
                <a:gd name="T63" fmla="*/ 882 h 1144"/>
                <a:gd name="T64" fmla="*/ 1330 w 2110"/>
                <a:gd name="T65" fmla="*/ 862 h 1144"/>
                <a:gd name="T66" fmla="*/ 1502 w 2110"/>
                <a:gd name="T67" fmla="*/ 790 h 1144"/>
                <a:gd name="T68" fmla="*/ 1632 w 2110"/>
                <a:gd name="T69" fmla="*/ 924 h 1144"/>
                <a:gd name="T70" fmla="*/ 1722 w 2110"/>
                <a:gd name="T71" fmla="*/ 832 h 1144"/>
                <a:gd name="T72" fmla="*/ 1612 w 2110"/>
                <a:gd name="T73" fmla="*/ 686 h 1144"/>
                <a:gd name="T74" fmla="*/ 1670 w 2110"/>
                <a:gd name="T75" fmla="*/ 524 h 1144"/>
                <a:gd name="T76" fmla="*/ 1774 w 2110"/>
                <a:gd name="T77" fmla="*/ 446 h 1144"/>
                <a:gd name="T78" fmla="*/ 1856 w 2110"/>
                <a:gd name="T79" fmla="*/ 352 h 1144"/>
                <a:gd name="T80" fmla="*/ 1834 w 2110"/>
                <a:gd name="T81" fmla="*/ 564 h 1144"/>
                <a:gd name="T82" fmla="*/ 1928 w 2110"/>
                <a:gd name="T83" fmla="*/ 546 h 1144"/>
                <a:gd name="T84" fmla="*/ 1926 w 2110"/>
                <a:gd name="T85" fmla="*/ 420 h 1144"/>
                <a:gd name="T86" fmla="*/ 2012 w 2110"/>
                <a:gd name="T87" fmla="*/ 254 h 1144"/>
                <a:gd name="T88" fmla="*/ 2036 w 2110"/>
                <a:gd name="T89" fmla="*/ 170 h 1144"/>
                <a:gd name="T90" fmla="*/ 1912 w 2110"/>
                <a:gd name="T91" fmla="*/ 760 h 1144"/>
                <a:gd name="T92" fmla="*/ 1894 w 2110"/>
                <a:gd name="T93" fmla="*/ 20 h 1144"/>
                <a:gd name="T94" fmla="*/ 1394 w 2110"/>
                <a:gd name="T95" fmla="*/ 48 h 1144"/>
                <a:gd name="T96" fmla="*/ 1346 w 2110"/>
                <a:gd name="T97" fmla="*/ 70 h 1144"/>
                <a:gd name="T98" fmla="*/ 1356 w 2110"/>
                <a:gd name="T99" fmla="*/ 136 h 1144"/>
                <a:gd name="T100" fmla="*/ 1248 w 2110"/>
                <a:gd name="T101" fmla="*/ 214 h 1144"/>
                <a:gd name="T102" fmla="*/ 828 w 2110"/>
                <a:gd name="T103" fmla="*/ 110 h 1144"/>
                <a:gd name="T104" fmla="*/ 706 w 2110"/>
                <a:gd name="T105" fmla="*/ 108 h 1144"/>
                <a:gd name="T106" fmla="*/ 834 w 2110"/>
                <a:gd name="T107" fmla="*/ 186 h 1144"/>
                <a:gd name="T108" fmla="*/ 668 w 2110"/>
                <a:gd name="T109" fmla="*/ 316 h 1144"/>
                <a:gd name="T110" fmla="*/ 358 w 2110"/>
                <a:gd name="T111" fmla="*/ 388 h 1144"/>
                <a:gd name="T112" fmla="*/ 454 w 2110"/>
                <a:gd name="T113" fmla="*/ 320 h 1144"/>
                <a:gd name="T114" fmla="*/ 350 w 2110"/>
                <a:gd name="T115" fmla="*/ 462 h 1144"/>
                <a:gd name="T116" fmla="*/ 410 w 2110"/>
                <a:gd name="T117" fmla="*/ 474 h 1144"/>
                <a:gd name="T118" fmla="*/ 306 w 2110"/>
                <a:gd name="T119" fmla="*/ 208 h 1144"/>
                <a:gd name="T120" fmla="*/ 400 w 2110"/>
                <a:gd name="T121" fmla="*/ 166 h 1144"/>
                <a:gd name="T122" fmla="*/ 324 w 2110"/>
                <a:gd name="T123" fmla="*/ 210 h 1144"/>
                <a:gd name="T124" fmla="*/ 250 w 2110"/>
                <a:gd name="T125" fmla="*/ 226 h 1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10" h="1144">
                  <a:moveTo>
                    <a:pt x="1796" y="864"/>
                  </a:moveTo>
                  <a:lnTo>
                    <a:pt x="1796" y="864"/>
                  </a:lnTo>
                  <a:lnTo>
                    <a:pt x="1796" y="864"/>
                  </a:lnTo>
                  <a:lnTo>
                    <a:pt x="1796" y="864"/>
                  </a:lnTo>
                  <a:lnTo>
                    <a:pt x="1798" y="866"/>
                  </a:lnTo>
                  <a:lnTo>
                    <a:pt x="1798" y="868"/>
                  </a:lnTo>
                  <a:lnTo>
                    <a:pt x="1800" y="870"/>
                  </a:lnTo>
                  <a:lnTo>
                    <a:pt x="1800" y="870"/>
                  </a:lnTo>
                  <a:lnTo>
                    <a:pt x="1800" y="870"/>
                  </a:lnTo>
                  <a:lnTo>
                    <a:pt x="1802" y="874"/>
                  </a:lnTo>
                  <a:lnTo>
                    <a:pt x="1802" y="874"/>
                  </a:lnTo>
                  <a:lnTo>
                    <a:pt x="1800" y="874"/>
                  </a:lnTo>
                  <a:lnTo>
                    <a:pt x="1800" y="874"/>
                  </a:lnTo>
                  <a:lnTo>
                    <a:pt x="1800" y="874"/>
                  </a:lnTo>
                  <a:lnTo>
                    <a:pt x="1800" y="874"/>
                  </a:lnTo>
                  <a:lnTo>
                    <a:pt x="1800" y="874"/>
                  </a:lnTo>
                  <a:lnTo>
                    <a:pt x="1798" y="874"/>
                  </a:lnTo>
                  <a:lnTo>
                    <a:pt x="1798" y="872"/>
                  </a:lnTo>
                  <a:lnTo>
                    <a:pt x="1798" y="872"/>
                  </a:lnTo>
                  <a:lnTo>
                    <a:pt x="1798" y="870"/>
                  </a:lnTo>
                  <a:lnTo>
                    <a:pt x="1796" y="870"/>
                  </a:lnTo>
                  <a:lnTo>
                    <a:pt x="1796" y="870"/>
                  </a:lnTo>
                  <a:lnTo>
                    <a:pt x="1792" y="868"/>
                  </a:lnTo>
                  <a:lnTo>
                    <a:pt x="1788" y="868"/>
                  </a:lnTo>
                  <a:lnTo>
                    <a:pt x="1788" y="868"/>
                  </a:lnTo>
                  <a:lnTo>
                    <a:pt x="1786" y="866"/>
                  </a:lnTo>
                  <a:lnTo>
                    <a:pt x="1786" y="866"/>
                  </a:lnTo>
                  <a:lnTo>
                    <a:pt x="1784" y="866"/>
                  </a:lnTo>
                  <a:lnTo>
                    <a:pt x="1780" y="866"/>
                  </a:lnTo>
                  <a:lnTo>
                    <a:pt x="1780" y="868"/>
                  </a:lnTo>
                  <a:lnTo>
                    <a:pt x="1778" y="868"/>
                  </a:lnTo>
                  <a:lnTo>
                    <a:pt x="1778" y="870"/>
                  </a:lnTo>
                  <a:lnTo>
                    <a:pt x="1778" y="872"/>
                  </a:lnTo>
                  <a:lnTo>
                    <a:pt x="1778" y="872"/>
                  </a:lnTo>
                  <a:lnTo>
                    <a:pt x="1778" y="880"/>
                  </a:lnTo>
                  <a:lnTo>
                    <a:pt x="1778" y="880"/>
                  </a:lnTo>
                  <a:lnTo>
                    <a:pt x="1778" y="880"/>
                  </a:lnTo>
                  <a:lnTo>
                    <a:pt x="1778" y="882"/>
                  </a:lnTo>
                  <a:lnTo>
                    <a:pt x="1778" y="882"/>
                  </a:lnTo>
                  <a:lnTo>
                    <a:pt x="1778" y="882"/>
                  </a:lnTo>
                  <a:lnTo>
                    <a:pt x="1776" y="882"/>
                  </a:lnTo>
                  <a:lnTo>
                    <a:pt x="1776" y="882"/>
                  </a:lnTo>
                  <a:lnTo>
                    <a:pt x="1776" y="882"/>
                  </a:lnTo>
                  <a:lnTo>
                    <a:pt x="1776" y="880"/>
                  </a:lnTo>
                  <a:lnTo>
                    <a:pt x="1774" y="880"/>
                  </a:lnTo>
                  <a:lnTo>
                    <a:pt x="1772" y="876"/>
                  </a:lnTo>
                  <a:lnTo>
                    <a:pt x="1770" y="870"/>
                  </a:lnTo>
                  <a:lnTo>
                    <a:pt x="1770" y="870"/>
                  </a:lnTo>
                  <a:lnTo>
                    <a:pt x="1768" y="868"/>
                  </a:lnTo>
                  <a:lnTo>
                    <a:pt x="1768" y="866"/>
                  </a:lnTo>
                  <a:lnTo>
                    <a:pt x="1766" y="864"/>
                  </a:lnTo>
                  <a:lnTo>
                    <a:pt x="1764" y="862"/>
                  </a:lnTo>
                  <a:lnTo>
                    <a:pt x="1764" y="862"/>
                  </a:lnTo>
                  <a:lnTo>
                    <a:pt x="1764" y="858"/>
                  </a:lnTo>
                  <a:lnTo>
                    <a:pt x="1764" y="858"/>
                  </a:lnTo>
                  <a:lnTo>
                    <a:pt x="1764" y="856"/>
                  </a:lnTo>
                  <a:lnTo>
                    <a:pt x="1762" y="852"/>
                  </a:lnTo>
                  <a:lnTo>
                    <a:pt x="1762" y="852"/>
                  </a:lnTo>
                  <a:lnTo>
                    <a:pt x="1762" y="852"/>
                  </a:lnTo>
                  <a:lnTo>
                    <a:pt x="1760" y="850"/>
                  </a:lnTo>
                  <a:lnTo>
                    <a:pt x="1760" y="848"/>
                  </a:lnTo>
                  <a:lnTo>
                    <a:pt x="1760" y="846"/>
                  </a:lnTo>
                  <a:lnTo>
                    <a:pt x="1760" y="846"/>
                  </a:lnTo>
                  <a:lnTo>
                    <a:pt x="1758" y="844"/>
                  </a:lnTo>
                  <a:lnTo>
                    <a:pt x="1760" y="844"/>
                  </a:lnTo>
                  <a:lnTo>
                    <a:pt x="1760" y="842"/>
                  </a:lnTo>
                  <a:lnTo>
                    <a:pt x="1758" y="840"/>
                  </a:lnTo>
                  <a:lnTo>
                    <a:pt x="1758" y="840"/>
                  </a:lnTo>
                  <a:lnTo>
                    <a:pt x="1756" y="834"/>
                  </a:lnTo>
                  <a:lnTo>
                    <a:pt x="1756" y="834"/>
                  </a:lnTo>
                  <a:lnTo>
                    <a:pt x="1754" y="830"/>
                  </a:lnTo>
                  <a:lnTo>
                    <a:pt x="1752" y="828"/>
                  </a:lnTo>
                  <a:lnTo>
                    <a:pt x="1750" y="826"/>
                  </a:lnTo>
                  <a:lnTo>
                    <a:pt x="1748" y="822"/>
                  </a:lnTo>
                  <a:lnTo>
                    <a:pt x="1748" y="822"/>
                  </a:lnTo>
                  <a:lnTo>
                    <a:pt x="1746" y="820"/>
                  </a:lnTo>
                  <a:lnTo>
                    <a:pt x="1744" y="818"/>
                  </a:lnTo>
                  <a:lnTo>
                    <a:pt x="1742" y="816"/>
                  </a:lnTo>
                  <a:lnTo>
                    <a:pt x="1742" y="812"/>
                  </a:lnTo>
                  <a:lnTo>
                    <a:pt x="1742" y="812"/>
                  </a:lnTo>
                  <a:lnTo>
                    <a:pt x="1740" y="806"/>
                  </a:lnTo>
                  <a:lnTo>
                    <a:pt x="1736" y="800"/>
                  </a:lnTo>
                  <a:lnTo>
                    <a:pt x="1734" y="794"/>
                  </a:lnTo>
                  <a:lnTo>
                    <a:pt x="1732" y="790"/>
                  </a:lnTo>
                  <a:lnTo>
                    <a:pt x="1730" y="788"/>
                  </a:lnTo>
                  <a:lnTo>
                    <a:pt x="1730" y="788"/>
                  </a:lnTo>
                  <a:lnTo>
                    <a:pt x="1728" y="786"/>
                  </a:lnTo>
                  <a:lnTo>
                    <a:pt x="1728" y="784"/>
                  </a:lnTo>
                  <a:lnTo>
                    <a:pt x="1726" y="780"/>
                  </a:lnTo>
                  <a:lnTo>
                    <a:pt x="1726" y="778"/>
                  </a:lnTo>
                  <a:lnTo>
                    <a:pt x="1726" y="778"/>
                  </a:lnTo>
                  <a:lnTo>
                    <a:pt x="1726" y="770"/>
                  </a:lnTo>
                  <a:lnTo>
                    <a:pt x="1726" y="762"/>
                  </a:lnTo>
                  <a:lnTo>
                    <a:pt x="1726" y="762"/>
                  </a:lnTo>
                  <a:lnTo>
                    <a:pt x="1726" y="760"/>
                  </a:lnTo>
                  <a:lnTo>
                    <a:pt x="1724" y="758"/>
                  </a:lnTo>
                  <a:lnTo>
                    <a:pt x="1724" y="754"/>
                  </a:lnTo>
                  <a:lnTo>
                    <a:pt x="1722" y="752"/>
                  </a:lnTo>
                  <a:lnTo>
                    <a:pt x="1722" y="752"/>
                  </a:lnTo>
                  <a:lnTo>
                    <a:pt x="1720" y="750"/>
                  </a:lnTo>
                  <a:lnTo>
                    <a:pt x="1720" y="748"/>
                  </a:lnTo>
                  <a:lnTo>
                    <a:pt x="1716" y="746"/>
                  </a:lnTo>
                  <a:lnTo>
                    <a:pt x="1714" y="746"/>
                  </a:lnTo>
                  <a:lnTo>
                    <a:pt x="1712" y="744"/>
                  </a:lnTo>
                  <a:lnTo>
                    <a:pt x="1712" y="744"/>
                  </a:lnTo>
                  <a:lnTo>
                    <a:pt x="1708" y="742"/>
                  </a:lnTo>
                  <a:lnTo>
                    <a:pt x="1706" y="740"/>
                  </a:lnTo>
                  <a:lnTo>
                    <a:pt x="1706" y="738"/>
                  </a:lnTo>
                  <a:lnTo>
                    <a:pt x="1704" y="734"/>
                  </a:lnTo>
                  <a:lnTo>
                    <a:pt x="1704" y="734"/>
                  </a:lnTo>
                  <a:lnTo>
                    <a:pt x="1704" y="732"/>
                  </a:lnTo>
                  <a:lnTo>
                    <a:pt x="1702" y="728"/>
                  </a:lnTo>
                  <a:lnTo>
                    <a:pt x="1700" y="726"/>
                  </a:lnTo>
                  <a:lnTo>
                    <a:pt x="1698" y="722"/>
                  </a:lnTo>
                  <a:lnTo>
                    <a:pt x="1698" y="722"/>
                  </a:lnTo>
                  <a:lnTo>
                    <a:pt x="1696" y="716"/>
                  </a:lnTo>
                  <a:lnTo>
                    <a:pt x="1694" y="714"/>
                  </a:lnTo>
                  <a:lnTo>
                    <a:pt x="1692" y="710"/>
                  </a:lnTo>
                  <a:lnTo>
                    <a:pt x="1692" y="710"/>
                  </a:lnTo>
                  <a:lnTo>
                    <a:pt x="1688" y="704"/>
                  </a:lnTo>
                  <a:lnTo>
                    <a:pt x="1688" y="704"/>
                  </a:lnTo>
                  <a:lnTo>
                    <a:pt x="1686" y="702"/>
                  </a:lnTo>
                  <a:lnTo>
                    <a:pt x="1686" y="702"/>
                  </a:lnTo>
                  <a:lnTo>
                    <a:pt x="1684" y="700"/>
                  </a:lnTo>
                  <a:lnTo>
                    <a:pt x="1684" y="700"/>
                  </a:lnTo>
                  <a:lnTo>
                    <a:pt x="1684" y="698"/>
                  </a:lnTo>
                  <a:lnTo>
                    <a:pt x="1684" y="696"/>
                  </a:lnTo>
                  <a:lnTo>
                    <a:pt x="1684" y="696"/>
                  </a:lnTo>
                  <a:lnTo>
                    <a:pt x="1686" y="694"/>
                  </a:lnTo>
                  <a:lnTo>
                    <a:pt x="1686" y="694"/>
                  </a:lnTo>
                  <a:lnTo>
                    <a:pt x="1688" y="692"/>
                  </a:lnTo>
                  <a:lnTo>
                    <a:pt x="1688" y="692"/>
                  </a:lnTo>
                  <a:lnTo>
                    <a:pt x="1690" y="692"/>
                  </a:lnTo>
                  <a:lnTo>
                    <a:pt x="1692" y="690"/>
                  </a:lnTo>
                  <a:lnTo>
                    <a:pt x="1692" y="690"/>
                  </a:lnTo>
                  <a:lnTo>
                    <a:pt x="1692" y="690"/>
                  </a:lnTo>
                  <a:lnTo>
                    <a:pt x="1692" y="688"/>
                  </a:lnTo>
                  <a:lnTo>
                    <a:pt x="1690" y="686"/>
                  </a:lnTo>
                  <a:lnTo>
                    <a:pt x="1688" y="686"/>
                  </a:lnTo>
                  <a:lnTo>
                    <a:pt x="1686" y="682"/>
                  </a:lnTo>
                  <a:lnTo>
                    <a:pt x="1684" y="680"/>
                  </a:lnTo>
                  <a:lnTo>
                    <a:pt x="1684" y="680"/>
                  </a:lnTo>
                  <a:lnTo>
                    <a:pt x="1682" y="678"/>
                  </a:lnTo>
                  <a:lnTo>
                    <a:pt x="1682" y="676"/>
                  </a:lnTo>
                  <a:lnTo>
                    <a:pt x="1680" y="676"/>
                  </a:lnTo>
                  <a:lnTo>
                    <a:pt x="1680" y="676"/>
                  </a:lnTo>
                  <a:lnTo>
                    <a:pt x="1680" y="674"/>
                  </a:lnTo>
                  <a:lnTo>
                    <a:pt x="1682" y="672"/>
                  </a:lnTo>
                  <a:lnTo>
                    <a:pt x="1682" y="672"/>
                  </a:lnTo>
                  <a:lnTo>
                    <a:pt x="1682" y="670"/>
                  </a:lnTo>
                  <a:lnTo>
                    <a:pt x="1682" y="670"/>
                  </a:lnTo>
                  <a:lnTo>
                    <a:pt x="1684" y="668"/>
                  </a:lnTo>
                  <a:lnTo>
                    <a:pt x="1684" y="666"/>
                  </a:lnTo>
                  <a:lnTo>
                    <a:pt x="1686" y="666"/>
                  </a:lnTo>
                  <a:lnTo>
                    <a:pt x="1686" y="664"/>
                  </a:lnTo>
                  <a:lnTo>
                    <a:pt x="1688" y="664"/>
                  </a:lnTo>
                  <a:lnTo>
                    <a:pt x="1690" y="664"/>
                  </a:lnTo>
                  <a:lnTo>
                    <a:pt x="1690" y="666"/>
                  </a:lnTo>
                  <a:lnTo>
                    <a:pt x="1692" y="668"/>
                  </a:lnTo>
                  <a:lnTo>
                    <a:pt x="1692" y="668"/>
                  </a:lnTo>
                  <a:lnTo>
                    <a:pt x="1692" y="670"/>
                  </a:lnTo>
                  <a:lnTo>
                    <a:pt x="1694" y="672"/>
                  </a:lnTo>
                  <a:lnTo>
                    <a:pt x="1694" y="676"/>
                  </a:lnTo>
                  <a:lnTo>
                    <a:pt x="1694" y="678"/>
                  </a:lnTo>
                  <a:lnTo>
                    <a:pt x="1696" y="680"/>
                  </a:lnTo>
                  <a:lnTo>
                    <a:pt x="1698" y="682"/>
                  </a:lnTo>
                  <a:lnTo>
                    <a:pt x="1698" y="682"/>
                  </a:lnTo>
                  <a:lnTo>
                    <a:pt x="1698" y="682"/>
                  </a:lnTo>
                  <a:lnTo>
                    <a:pt x="1702" y="684"/>
                  </a:lnTo>
                  <a:lnTo>
                    <a:pt x="1704" y="686"/>
                  </a:lnTo>
                  <a:lnTo>
                    <a:pt x="1708" y="690"/>
                  </a:lnTo>
                  <a:lnTo>
                    <a:pt x="1708" y="690"/>
                  </a:lnTo>
                  <a:lnTo>
                    <a:pt x="1710" y="690"/>
                  </a:lnTo>
                  <a:lnTo>
                    <a:pt x="1712" y="692"/>
                  </a:lnTo>
                  <a:lnTo>
                    <a:pt x="1714" y="694"/>
                  </a:lnTo>
                  <a:lnTo>
                    <a:pt x="1714" y="694"/>
                  </a:lnTo>
                  <a:lnTo>
                    <a:pt x="1714" y="696"/>
                  </a:lnTo>
                  <a:lnTo>
                    <a:pt x="1712" y="696"/>
                  </a:lnTo>
                  <a:lnTo>
                    <a:pt x="1712" y="696"/>
                  </a:lnTo>
                  <a:lnTo>
                    <a:pt x="1712" y="698"/>
                  </a:lnTo>
                  <a:lnTo>
                    <a:pt x="1714" y="698"/>
                  </a:lnTo>
                  <a:lnTo>
                    <a:pt x="1714" y="700"/>
                  </a:lnTo>
                  <a:lnTo>
                    <a:pt x="1714" y="700"/>
                  </a:lnTo>
                  <a:lnTo>
                    <a:pt x="1714" y="700"/>
                  </a:lnTo>
                  <a:lnTo>
                    <a:pt x="1714" y="702"/>
                  </a:lnTo>
                  <a:lnTo>
                    <a:pt x="1714" y="704"/>
                  </a:lnTo>
                  <a:lnTo>
                    <a:pt x="1712" y="704"/>
                  </a:lnTo>
                  <a:lnTo>
                    <a:pt x="1712" y="706"/>
                  </a:lnTo>
                  <a:lnTo>
                    <a:pt x="1712" y="706"/>
                  </a:lnTo>
                  <a:lnTo>
                    <a:pt x="1712" y="708"/>
                  </a:lnTo>
                  <a:lnTo>
                    <a:pt x="1712" y="710"/>
                  </a:lnTo>
                  <a:lnTo>
                    <a:pt x="1714" y="712"/>
                  </a:lnTo>
                  <a:lnTo>
                    <a:pt x="1714" y="712"/>
                  </a:lnTo>
                  <a:lnTo>
                    <a:pt x="1714" y="714"/>
                  </a:lnTo>
                  <a:lnTo>
                    <a:pt x="1714" y="716"/>
                  </a:lnTo>
                  <a:lnTo>
                    <a:pt x="1714" y="718"/>
                  </a:lnTo>
                  <a:lnTo>
                    <a:pt x="1714" y="718"/>
                  </a:lnTo>
                  <a:lnTo>
                    <a:pt x="1716" y="720"/>
                  </a:lnTo>
                  <a:lnTo>
                    <a:pt x="1716" y="720"/>
                  </a:lnTo>
                  <a:lnTo>
                    <a:pt x="1718" y="722"/>
                  </a:lnTo>
                  <a:lnTo>
                    <a:pt x="1718" y="722"/>
                  </a:lnTo>
                  <a:lnTo>
                    <a:pt x="1720" y="722"/>
                  </a:lnTo>
                  <a:lnTo>
                    <a:pt x="1722" y="722"/>
                  </a:lnTo>
                  <a:lnTo>
                    <a:pt x="1724" y="724"/>
                  </a:lnTo>
                  <a:lnTo>
                    <a:pt x="1724" y="724"/>
                  </a:lnTo>
                  <a:lnTo>
                    <a:pt x="1724" y="726"/>
                  </a:lnTo>
                  <a:lnTo>
                    <a:pt x="1726" y="728"/>
                  </a:lnTo>
                  <a:lnTo>
                    <a:pt x="1726" y="730"/>
                  </a:lnTo>
                  <a:lnTo>
                    <a:pt x="1726" y="732"/>
                  </a:lnTo>
                  <a:lnTo>
                    <a:pt x="1726" y="732"/>
                  </a:lnTo>
                  <a:lnTo>
                    <a:pt x="1728" y="732"/>
                  </a:lnTo>
                  <a:lnTo>
                    <a:pt x="1728" y="734"/>
                  </a:lnTo>
                  <a:lnTo>
                    <a:pt x="1730" y="734"/>
                  </a:lnTo>
                  <a:lnTo>
                    <a:pt x="1732" y="734"/>
                  </a:lnTo>
                  <a:lnTo>
                    <a:pt x="1732" y="736"/>
                  </a:lnTo>
                  <a:lnTo>
                    <a:pt x="1734" y="736"/>
                  </a:lnTo>
                  <a:lnTo>
                    <a:pt x="1734" y="736"/>
                  </a:lnTo>
                  <a:lnTo>
                    <a:pt x="1734" y="738"/>
                  </a:lnTo>
                  <a:lnTo>
                    <a:pt x="1734" y="738"/>
                  </a:lnTo>
                  <a:lnTo>
                    <a:pt x="1736" y="740"/>
                  </a:lnTo>
                  <a:lnTo>
                    <a:pt x="1736" y="740"/>
                  </a:lnTo>
                  <a:lnTo>
                    <a:pt x="1736" y="744"/>
                  </a:lnTo>
                  <a:lnTo>
                    <a:pt x="1738" y="748"/>
                  </a:lnTo>
                  <a:lnTo>
                    <a:pt x="1742" y="752"/>
                  </a:lnTo>
                  <a:lnTo>
                    <a:pt x="1742" y="752"/>
                  </a:lnTo>
                  <a:lnTo>
                    <a:pt x="1746" y="758"/>
                  </a:lnTo>
                  <a:lnTo>
                    <a:pt x="1750" y="762"/>
                  </a:lnTo>
                  <a:lnTo>
                    <a:pt x="1750" y="762"/>
                  </a:lnTo>
                  <a:lnTo>
                    <a:pt x="1750" y="762"/>
                  </a:lnTo>
                  <a:lnTo>
                    <a:pt x="1752" y="764"/>
                  </a:lnTo>
                  <a:lnTo>
                    <a:pt x="1752" y="766"/>
                  </a:lnTo>
                  <a:lnTo>
                    <a:pt x="1752" y="766"/>
                  </a:lnTo>
                  <a:lnTo>
                    <a:pt x="1752" y="768"/>
                  </a:lnTo>
                  <a:lnTo>
                    <a:pt x="1752" y="768"/>
                  </a:lnTo>
                  <a:lnTo>
                    <a:pt x="1754" y="770"/>
                  </a:lnTo>
                  <a:lnTo>
                    <a:pt x="1754" y="770"/>
                  </a:lnTo>
                  <a:lnTo>
                    <a:pt x="1756" y="772"/>
                  </a:lnTo>
                  <a:lnTo>
                    <a:pt x="1756" y="774"/>
                  </a:lnTo>
                  <a:lnTo>
                    <a:pt x="1756" y="774"/>
                  </a:lnTo>
                  <a:lnTo>
                    <a:pt x="1756" y="776"/>
                  </a:lnTo>
                  <a:lnTo>
                    <a:pt x="1756" y="776"/>
                  </a:lnTo>
                  <a:lnTo>
                    <a:pt x="1756" y="780"/>
                  </a:lnTo>
                  <a:lnTo>
                    <a:pt x="1758" y="780"/>
                  </a:lnTo>
                  <a:lnTo>
                    <a:pt x="1758" y="782"/>
                  </a:lnTo>
                  <a:lnTo>
                    <a:pt x="1758" y="782"/>
                  </a:lnTo>
                  <a:lnTo>
                    <a:pt x="1760" y="784"/>
                  </a:lnTo>
                  <a:lnTo>
                    <a:pt x="1760" y="784"/>
                  </a:lnTo>
                  <a:lnTo>
                    <a:pt x="1764" y="786"/>
                  </a:lnTo>
                  <a:lnTo>
                    <a:pt x="1768" y="786"/>
                  </a:lnTo>
                  <a:lnTo>
                    <a:pt x="1770" y="788"/>
                  </a:lnTo>
                  <a:lnTo>
                    <a:pt x="1770" y="788"/>
                  </a:lnTo>
                  <a:lnTo>
                    <a:pt x="1772" y="790"/>
                  </a:lnTo>
                  <a:lnTo>
                    <a:pt x="1774" y="792"/>
                  </a:lnTo>
                  <a:lnTo>
                    <a:pt x="1778" y="798"/>
                  </a:lnTo>
                  <a:lnTo>
                    <a:pt x="1778" y="798"/>
                  </a:lnTo>
                  <a:lnTo>
                    <a:pt x="1780" y="800"/>
                  </a:lnTo>
                  <a:lnTo>
                    <a:pt x="1786" y="802"/>
                  </a:lnTo>
                  <a:lnTo>
                    <a:pt x="1786" y="804"/>
                  </a:lnTo>
                  <a:lnTo>
                    <a:pt x="1788" y="806"/>
                  </a:lnTo>
                  <a:lnTo>
                    <a:pt x="1788" y="806"/>
                  </a:lnTo>
                  <a:lnTo>
                    <a:pt x="1788" y="808"/>
                  </a:lnTo>
                  <a:lnTo>
                    <a:pt x="1788" y="808"/>
                  </a:lnTo>
                  <a:lnTo>
                    <a:pt x="1786" y="808"/>
                  </a:lnTo>
                  <a:lnTo>
                    <a:pt x="1786" y="806"/>
                  </a:lnTo>
                  <a:lnTo>
                    <a:pt x="1780" y="804"/>
                  </a:lnTo>
                  <a:lnTo>
                    <a:pt x="1778" y="802"/>
                  </a:lnTo>
                  <a:lnTo>
                    <a:pt x="1776" y="800"/>
                  </a:lnTo>
                  <a:lnTo>
                    <a:pt x="1776" y="800"/>
                  </a:lnTo>
                  <a:lnTo>
                    <a:pt x="1776" y="798"/>
                  </a:lnTo>
                  <a:lnTo>
                    <a:pt x="1772" y="796"/>
                  </a:lnTo>
                  <a:lnTo>
                    <a:pt x="1768" y="794"/>
                  </a:lnTo>
                  <a:lnTo>
                    <a:pt x="1768" y="794"/>
                  </a:lnTo>
                  <a:lnTo>
                    <a:pt x="1766" y="792"/>
                  </a:lnTo>
                  <a:lnTo>
                    <a:pt x="1764" y="790"/>
                  </a:lnTo>
                  <a:lnTo>
                    <a:pt x="1760" y="788"/>
                  </a:lnTo>
                  <a:lnTo>
                    <a:pt x="1760" y="788"/>
                  </a:lnTo>
                  <a:lnTo>
                    <a:pt x="1760" y="788"/>
                  </a:lnTo>
                  <a:lnTo>
                    <a:pt x="1758" y="786"/>
                  </a:lnTo>
                  <a:lnTo>
                    <a:pt x="1756" y="786"/>
                  </a:lnTo>
                  <a:lnTo>
                    <a:pt x="1754" y="788"/>
                  </a:lnTo>
                  <a:lnTo>
                    <a:pt x="1754" y="788"/>
                  </a:lnTo>
                  <a:lnTo>
                    <a:pt x="1752" y="788"/>
                  </a:lnTo>
                  <a:lnTo>
                    <a:pt x="1752" y="790"/>
                  </a:lnTo>
                  <a:lnTo>
                    <a:pt x="1752" y="790"/>
                  </a:lnTo>
                  <a:lnTo>
                    <a:pt x="1752" y="792"/>
                  </a:lnTo>
                  <a:lnTo>
                    <a:pt x="1752" y="792"/>
                  </a:lnTo>
                  <a:lnTo>
                    <a:pt x="1752" y="794"/>
                  </a:lnTo>
                  <a:lnTo>
                    <a:pt x="1752" y="796"/>
                  </a:lnTo>
                  <a:lnTo>
                    <a:pt x="1752" y="798"/>
                  </a:lnTo>
                  <a:lnTo>
                    <a:pt x="1754" y="802"/>
                  </a:lnTo>
                  <a:lnTo>
                    <a:pt x="1754" y="806"/>
                  </a:lnTo>
                  <a:lnTo>
                    <a:pt x="1754" y="806"/>
                  </a:lnTo>
                  <a:lnTo>
                    <a:pt x="1756" y="812"/>
                  </a:lnTo>
                  <a:lnTo>
                    <a:pt x="1756" y="816"/>
                  </a:lnTo>
                  <a:lnTo>
                    <a:pt x="1756" y="818"/>
                  </a:lnTo>
                  <a:lnTo>
                    <a:pt x="1756" y="818"/>
                  </a:lnTo>
                  <a:lnTo>
                    <a:pt x="1760" y="826"/>
                  </a:lnTo>
                  <a:lnTo>
                    <a:pt x="1764" y="832"/>
                  </a:lnTo>
                  <a:lnTo>
                    <a:pt x="1764" y="832"/>
                  </a:lnTo>
                  <a:lnTo>
                    <a:pt x="1768" y="838"/>
                  </a:lnTo>
                  <a:lnTo>
                    <a:pt x="1770" y="842"/>
                  </a:lnTo>
                  <a:lnTo>
                    <a:pt x="1774" y="844"/>
                  </a:lnTo>
                  <a:lnTo>
                    <a:pt x="1774" y="844"/>
                  </a:lnTo>
                  <a:lnTo>
                    <a:pt x="1778" y="850"/>
                  </a:lnTo>
                  <a:lnTo>
                    <a:pt x="1780" y="854"/>
                  </a:lnTo>
                  <a:lnTo>
                    <a:pt x="1784" y="856"/>
                  </a:lnTo>
                  <a:lnTo>
                    <a:pt x="1784" y="856"/>
                  </a:lnTo>
                  <a:lnTo>
                    <a:pt x="1788" y="858"/>
                  </a:lnTo>
                  <a:lnTo>
                    <a:pt x="1790" y="860"/>
                  </a:lnTo>
                  <a:lnTo>
                    <a:pt x="1790" y="860"/>
                  </a:lnTo>
                  <a:lnTo>
                    <a:pt x="1792" y="862"/>
                  </a:lnTo>
                  <a:lnTo>
                    <a:pt x="1792" y="862"/>
                  </a:lnTo>
                  <a:lnTo>
                    <a:pt x="1796" y="864"/>
                  </a:lnTo>
                  <a:lnTo>
                    <a:pt x="1796" y="864"/>
                  </a:lnTo>
                  <a:lnTo>
                    <a:pt x="1796" y="864"/>
                  </a:lnTo>
                  <a:close/>
                  <a:moveTo>
                    <a:pt x="42" y="892"/>
                  </a:moveTo>
                  <a:lnTo>
                    <a:pt x="42" y="890"/>
                  </a:lnTo>
                  <a:lnTo>
                    <a:pt x="42" y="888"/>
                  </a:lnTo>
                  <a:lnTo>
                    <a:pt x="40" y="886"/>
                  </a:lnTo>
                  <a:lnTo>
                    <a:pt x="40" y="884"/>
                  </a:lnTo>
                  <a:lnTo>
                    <a:pt x="38" y="884"/>
                  </a:lnTo>
                  <a:lnTo>
                    <a:pt x="34" y="884"/>
                  </a:lnTo>
                  <a:lnTo>
                    <a:pt x="32" y="884"/>
                  </a:lnTo>
                  <a:lnTo>
                    <a:pt x="30" y="882"/>
                  </a:lnTo>
                  <a:lnTo>
                    <a:pt x="28" y="880"/>
                  </a:lnTo>
                  <a:lnTo>
                    <a:pt x="26" y="880"/>
                  </a:lnTo>
                  <a:lnTo>
                    <a:pt x="24" y="880"/>
                  </a:lnTo>
                  <a:lnTo>
                    <a:pt x="22" y="880"/>
                  </a:lnTo>
                  <a:lnTo>
                    <a:pt x="20" y="880"/>
                  </a:lnTo>
                  <a:lnTo>
                    <a:pt x="18" y="882"/>
                  </a:lnTo>
                  <a:lnTo>
                    <a:pt x="18" y="884"/>
                  </a:lnTo>
                  <a:lnTo>
                    <a:pt x="16" y="884"/>
                  </a:lnTo>
                  <a:lnTo>
                    <a:pt x="14" y="884"/>
                  </a:lnTo>
                  <a:lnTo>
                    <a:pt x="12" y="884"/>
                  </a:lnTo>
                  <a:lnTo>
                    <a:pt x="12" y="882"/>
                  </a:lnTo>
                  <a:lnTo>
                    <a:pt x="14" y="880"/>
                  </a:lnTo>
                  <a:lnTo>
                    <a:pt x="12" y="880"/>
                  </a:lnTo>
                  <a:lnTo>
                    <a:pt x="12" y="878"/>
                  </a:lnTo>
                  <a:lnTo>
                    <a:pt x="10" y="878"/>
                  </a:lnTo>
                  <a:lnTo>
                    <a:pt x="10" y="880"/>
                  </a:lnTo>
                  <a:lnTo>
                    <a:pt x="8" y="880"/>
                  </a:lnTo>
                  <a:lnTo>
                    <a:pt x="6" y="884"/>
                  </a:lnTo>
                  <a:lnTo>
                    <a:pt x="4" y="886"/>
                  </a:lnTo>
                  <a:lnTo>
                    <a:pt x="4" y="888"/>
                  </a:lnTo>
                  <a:lnTo>
                    <a:pt x="6" y="890"/>
                  </a:lnTo>
                  <a:lnTo>
                    <a:pt x="6" y="892"/>
                  </a:lnTo>
                  <a:lnTo>
                    <a:pt x="6" y="894"/>
                  </a:lnTo>
                  <a:lnTo>
                    <a:pt x="4" y="896"/>
                  </a:lnTo>
                  <a:lnTo>
                    <a:pt x="2" y="898"/>
                  </a:lnTo>
                  <a:lnTo>
                    <a:pt x="0" y="898"/>
                  </a:lnTo>
                  <a:lnTo>
                    <a:pt x="0" y="900"/>
                  </a:lnTo>
                  <a:lnTo>
                    <a:pt x="2" y="902"/>
                  </a:lnTo>
                  <a:lnTo>
                    <a:pt x="4" y="902"/>
                  </a:lnTo>
                  <a:lnTo>
                    <a:pt x="8" y="902"/>
                  </a:lnTo>
                  <a:lnTo>
                    <a:pt x="12" y="900"/>
                  </a:lnTo>
                  <a:lnTo>
                    <a:pt x="18" y="900"/>
                  </a:lnTo>
                  <a:lnTo>
                    <a:pt x="22" y="900"/>
                  </a:lnTo>
                  <a:lnTo>
                    <a:pt x="26" y="900"/>
                  </a:lnTo>
                  <a:lnTo>
                    <a:pt x="32" y="898"/>
                  </a:lnTo>
                  <a:lnTo>
                    <a:pt x="36" y="898"/>
                  </a:lnTo>
                  <a:lnTo>
                    <a:pt x="38" y="898"/>
                  </a:lnTo>
                  <a:lnTo>
                    <a:pt x="42" y="896"/>
                  </a:lnTo>
                  <a:lnTo>
                    <a:pt x="44" y="896"/>
                  </a:lnTo>
                  <a:lnTo>
                    <a:pt x="46" y="896"/>
                  </a:lnTo>
                  <a:lnTo>
                    <a:pt x="44" y="894"/>
                  </a:lnTo>
                  <a:lnTo>
                    <a:pt x="42" y="892"/>
                  </a:lnTo>
                  <a:close/>
                  <a:moveTo>
                    <a:pt x="2108" y="186"/>
                  </a:moveTo>
                  <a:lnTo>
                    <a:pt x="2108" y="184"/>
                  </a:lnTo>
                  <a:lnTo>
                    <a:pt x="2106" y="182"/>
                  </a:lnTo>
                  <a:lnTo>
                    <a:pt x="2106" y="180"/>
                  </a:lnTo>
                  <a:lnTo>
                    <a:pt x="2106" y="178"/>
                  </a:lnTo>
                  <a:lnTo>
                    <a:pt x="2104" y="178"/>
                  </a:lnTo>
                  <a:lnTo>
                    <a:pt x="2102" y="176"/>
                  </a:lnTo>
                  <a:lnTo>
                    <a:pt x="2100" y="174"/>
                  </a:lnTo>
                  <a:lnTo>
                    <a:pt x="2100" y="170"/>
                  </a:lnTo>
                  <a:lnTo>
                    <a:pt x="2098" y="168"/>
                  </a:lnTo>
                  <a:lnTo>
                    <a:pt x="2098" y="166"/>
                  </a:lnTo>
                  <a:lnTo>
                    <a:pt x="2096" y="164"/>
                  </a:lnTo>
                  <a:lnTo>
                    <a:pt x="2094" y="162"/>
                  </a:lnTo>
                  <a:lnTo>
                    <a:pt x="2090" y="158"/>
                  </a:lnTo>
                  <a:lnTo>
                    <a:pt x="2084" y="156"/>
                  </a:lnTo>
                  <a:lnTo>
                    <a:pt x="2084" y="154"/>
                  </a:lnTo>
                  <a:lnTo>
                    <a:pt x="2082" y="152"/>
                  </a:lnTo>
                  <a:lnTo>
                    <a:pt x="2084" y="152"/>
                  </a:lnTo>
                  <a:lnTo>
                    <a:pt x="2086" y="152"/>
                  </a:lnTo>
                  <a:lnTo>
                    <a:pt x="2088" y="150"/>
                  </a:lnTo>
                  <a:lnTo>
                    <a:pt x="2090" y="148"/>
                  </a:lnTo>
                  <a:lnTo>
                    <a:pt x="2092" y="148"/>
                  </a:lnTo>
                  <a:lnTo>
                    <a:pt x="2094" y="148"/>
                  </a:lnTo>
                  <a:lnTo>
                    <a:pt x="2096" y="148"/>
                  </a:lnTo>
                  <a:lnTo>
                    <a:pt x="2100" y="148"/>
                  </a:lnTo>
                  <a:lnTo>
                    <a:pt x="2102" y="150"/>
                  </a:lnTo>
                  <a:lnTo>
                    <a:pt x="2102" y="148"/>
                  </a:lnTo>
                  <a:lnTo>
                    <a:pt x="2104" y="148"/>
                  </a:lnTo>
                  <a:lnTo>
                    <a:pt x="2104" y="146"/>
                  </a:lnTo>
                  <a:lnTo>
                    <a:pt x="2104" y="144"/>
                  </a:lnTo>
                  <a:lnTo>
                    <a:pt x="2104" y="142"/>
                  </a:lnTo>
                  <a:lnTo>
                    <a:pt x="2104" y="140"/>
                  </a:lnTo>
                  <a:lnTo>
                    <a:pt x="2102" y="138"/>
                  </a:lnTo>
                  <a:lnTo>
                    <a:pt x="2102" y="134"/>
                  </a:lnTo>
                  <a:lnTo>
                    <a:pt x="2102" y="132"/>
                  </a:lnTo>
                  <a:lnTo>
                    <a:pt x="2104" y="126"/>
                  </a:lnTo>
                  <a:lnTo>
                    <a:pt x="2104" y="124"/>
                  </a:lnTo>
                  <a:lnTo>
                    <a:pt x="2106" y="122"/>
                  </a:lnTo>
                  <a:lnTo>
                    <a:pt x="2106" y="120"/>
                  </a:lnTo>
                  <a:lnTo>
                    <a:pt x="2108" y="118"/>
                  </a:lnTo>
                  <a:lnTo>
                    <a:pt x="2108" y="116"/>
                  </a:lnTo>
                  <a:lnTo>
                    <a:pt x="2106" y="114"/>
                  </a:lnTo>
                  <a:lnTo>
                    <a:pt x="2104" y="114"/>
                  </a:lnTo>
                  <a:lnTo>
                    <a:pt x="2102" y="114"/>
                  </a:lnTo>
                  <a:lnTo>
                    <a:pt x="2100" y="114"/>
                  </a:lnTo>
                  <a:lnTo>
                    <a:pt x="2098" y="116"/>
                  </a:lnTo>
                  <a:lnTo>
                    <a:pt x="2094" y="114"/>
                  </a:lnTo>
                  <a:lnTo>
                    <a:pt x="2092" y="112"/>
                  </a:lnTo>
                  <a:lnTo>
                    <a:pt x="2090" y="112"/>
                  </a:lnTo>
                  <a:lnTo>
                    <a:pt x="2088" y="110"/>
                  </a:lnTo>
                  <a:lnTo>
                    <a:pt x="2082" y="108"/>
                  </a:lnTo>
                  <a:lnTo>
                    <a:pt x="2076" y="106"/>
                  </a:lnTo>
                  <a:lnTo>
                    <a:pt x="2072" y="106"/>
                  </a:lnTo>
                  <a:lnTo>
                    <a:pt x="2068" y="104"/>
                  </a:lnTo>
                  <a:lnTo>
                    <a:pt x="2066" y="104"/>
                  </a:lnTo>
                  <a:lnTo>
                    <a:pt x="2064" y="102"/>
                  </a:lnTo>
                  <a:lnTo>
                    <a:pt x="2062" y="102"/>
                  </a:lnTo>
                  <a:lnTo>
                    <a:pt x="2060" y="100"/>
                  </a:lnTo>
                  <a:lnTo>
                    <a:pt x="2056" y="100"/>
                  </a:lnTo>
                  <a:lnTo>
                    <a:pt x="2054" y="102"/>
                  </a:lnTo>
                  <a:lnTo>
                    <a:pt x="2052" y="102"/>
                  </a:lnTo>
                  <a:lnTo>
                    <a:pt x="2050" y="104"/>
                  </a:lnTo>
                  <a:lnTo>
                    <a:pt x="2048" y="104"/>
                  </a:lnTo>
                  <a:lnTo>
                    <a:pt x="2046" y="102"/>
                  </a:lnTo>
                  <a:lnTo>
                    <a:pt x="2044" y="102"/>
                  </a:lnTo>
                  <a:lnTo>
                    <a:pt x="2042" y="102"/>
                  </a:lnTo>
                  <a:lnTo>
                    <a:pt x="2042" y="104"/>
                  </a:lnTo>
                  <a:lnTo>
                    <a:pt x="2042" y="106"/>
                  </a:lnTo>
                  <a:lnTo>
                    <a:pt x="2042" y="108"/>
                  </a:lnTo>
                  <a:lnTo>
                    <a:pt x="2040" y="108"/>
                  </a:lnTo>
                  <a:lnTo>
                    <a:pt x="2038" y="108"/>
                  </a:lnTo>
                  <a:lnTo>
                    <a:pt x="2036" y="108"/>
                  </a:lnTo>
                  <a:lnTo>
                    <a:pt x="2034" y="106"/>
                  </a:lnTo>
                  <a:lnTo>
                    <a:pt x="2030" y="106"/>
                  </a:lnTo>
                  <a:lnTo>
                    <a:pt x="2028" y="108"/>
                  </a:lnTo>
                  <a:lnTo>
                    <a:pt x="2026" y="110"/>
                  </a:lnTo>
                  <a:lnTo>
                    <a:pt x="2026" y="112"/>
                  </a:lnTo>
                  <a:lnTo>
                    <a:pt x="2028" y="112"/>
                  </a:lnTo>
                  <a:lnTo>
                    <a:pt x="2028" y="114"/>
                  </a:lnTo>
                  <a:lnTo>
                    <a:pt x="2032" y="114"/>
                  </a:lnTo>
                  <a:lnTo>
                    <a:pt x="2036" y="116"/>
                  </a:lnTo>
                  <a:lnTo>
                    <a:pt x="2038" y="118"/>
                  </a:lnTo>
                  <a:lnTo>
                    <a:pt x="2040" y="120"/>
                  </a:lnTo>
                  <a:lnTo>
                    <a:pt x="2040" y="122"/>
                  </a:lnTo>
                  <a:lnTo>
                    <a:pt x="2040" y="124"/>
                  </a:lnTo>
                  <a:lnTo>
                    <a:pt x="2040" y="126"/>
                  </a:lnTo>
                  <a:lnTo>
                    <a:pt x="2042" y="126"/>
                  </a:lnTo>
                  <a:lnTo>
                    <a:pt x="2042" y="128"/>
                  </a:lnTo>
                  <a:lnTo>
                    <a:pt x="2044" y="128"/>
                  </a:lnTo>
                  <a:lnTo>
                    <a:pt x="2048" y="128"/>
                  </a:lnTo>
                  <a:lnTo>
                    <a:pt x="2048" y="130"/>
                  </a:lnTo>
                  <a:lnTo>
                    <a:pt x="2050" y="132"/>
                  </a:lnTo>
                  <a:lnTo>
                    <a:pt x="2050" y="134"/>
                  </a:lnTo>
                  <a:lnTo>
                    <a:pt x="2048" y="134"/>
                  </a:lnTo>
                  <a:lnTo>
                    <a:pt x="2048" y="136"/>
                  </a:lnTo>
                  <a:lnTo>
                    <a:pt x="2046" y="136"/>
                  </a:lnTo>
                  <a:lnTo>
                    <a:pt x="2046" y="134"/>
                  </a:lnTo>
                  <a:lnTo>
                    <a:pt x="2044" y="132"/>
                  </a:lnTo>
                  <a:lnTo>
                    <a:pt x="2042" y="132"/>
                  </a:lnTo>
                  <a:lnTo>
                    <a:pt x="2042" y="130"/>
                  </a:lnTo>
                  <a:lnTo>
                    <a:pt x="2040" y="130"/>
                  </a:lnTo>
                  <a:lnTo>
                    <a:pt x="2036" y="130"/>
                  </a:lnTo>
                  <a:lnTo>
                    <a:pt x="2032" y="130"/>
                  </a:lnTo>
                  <a:lnTo>
                    <a:pt x="2032" y="126"/>
                  </a:lnTo>
                  <a:lnTo>
                    <a:pt x="2032" y="124"/>
                  </a:lnTo>
                  <a:lnTo>
                    <a:pt x="2030" y="120"/>
                  </a:lnTo>
                  <a:lnTo>
                    <a:pt x="2028" y="118"/>
                  </a:lnTo>
                  <a:lnTo>
                    <a:pt x="2026" y="116"/>
                  </a:lnTo>
                  <a:lnTo>
                    <a:pt x="2024" y="114"/>
                  </a:lnTo>
                  <a:lnTo>
                    <a:pt x="2024" y="112"/>
                  </a:lnTo>
                  <a:lnTo>
                    <a:pt x="2020" y="112"/>
                  </a:lnTo>
                  <a:lnTo>
                    <a:pt x="2020" y="108"/>
                  </a:lnTo>
                  <a:lnTo>
                    <a:pt x="2020" y="106"/>
                  </a:lnTo>
                  <a:lnTo>
                    <a:pt x="2018" y="104"/>
                  </a:lnTo>
                  <a:lnTo>
                    <a:pt x="2016" y="102"/>
                  </a:lnTo>
                  <a:lnTo>
                    <a:pt x="2014" y="102"/>
                  </a:lnTo>
                  <a:lnTo>
                    <a:pt x="2012" y="100"/>
                  </a:lnTo>
                  <a:lnTo>
                    <a:pt x="2010" y="98"/>
                  </a:lnTo>
                  <a:lnTo>
                    <a:pt x="2010" y="96"/>
                  </a:lnTo>
                  <a:lnTo>
                    <a:pt x="2008" y="96"/>
                  </a:lnTo>
                  <a:lnTo>
                    <a:pt x="2006" y="96"/>
                  </a:lnTo>
                  <a:lnTo>
                    <a:pt x="2004" y="96"/>
                  </a:lnTo>
                  <a:lnTo>
                    <a:pt x="2002" y="96"/>
                  </a:lnTo>
                  <a:lnTo>
                    <a:pt x="2002" y="98"/>
                  </a:lnTo>
                  <a:lnTo>
                    <a:pt x="2000" y="98"/>
                  </a:lnTo>
                  <a:lnTo>
                    <a:pt x="2000" y="100"/>
                  </a:lnTo>
                  <a:lnTo>
                    <a:pt x="1998" y="100"/>
                  </a:lnTo>
                  <a:lnTo>
                    <a:pt x="1996" y="98"/>
                  </a:lnTo>
                  <a:lnTo>
                    <a:pt x="1996" y="96"/>
                  </a:lnTo>
                  <a:lnTo>
                    <a:pt x="1994" y="96"/>
                  </a:lnTo>
                  <a:lnTo>
                    <a:pt x="1992" y="96"/>
                  </a:lnTo>
                  <a:lnTo>
                    <a:pt x="1990" y="96"/>
                  </a:lnTo>
                  <a:lnTo>
                    <a:pt x="1986" y="94"/>
                  </a:lnTo>
                  <a:lnTo>
                    <a:pt x="1984" y="94"/>
                  </a:lnTo>
                  <a:lnTo>
                    <a:pt x="1982" y="94"/>
                  </a:lnTo>
                  <a:lnTo>
                    <a:pt x="1980" y="94"/>
                  </a:lnTo>
                  <a:lnTo>
                    <a:pt x="1980" y="96"/>
                  </a:lnTo>
                  <a:lnTo>
                    <a:pt x="1982" y="96"/>
                  </a:lnTo>
                  <a:lnTo>
                    <a:pt x="1982" y="98"/>
                  </a:lnTo>
                  <a:lnTo>
                    <a:pt x="1980" y="98"/>
                  </a:lnTo>
                  <a:lnTo>
                    <a:pt x="1976" y="96"/>
                  </a:lnTo>
                  <a:lnTo>
                    <a:pt x="1974" y="96"/>
                  </a:lnTo>
                  <a:lnTo>
                    <a:pt x="1972" y="96"/>
                  </a:lnTo>
                  <a:lnTo>
                    <a:pt x="1972" y="94"/>
                  </a:lnTo>
                  <a:lnTo>
                    <a:pt x="1970" y="92"/>
                  </a:lnTo>
                  <a:lnTo>
                    <a:pt x="1968" y="90"/>
                  </a:lnTo>
                  <a:lnTo>
                    <a:pt x="1966" y="90"/>
                  </a:lnTo>
                  <a:lnTo>
                    <a:pt x="1962" y="90"/>
                  </a:lnTo>
                  <a:lnTo>
                    <a:pt x="1960" y="90"/>
                  </a:lnTo>
                  <a:lnTo>
                    <a:pt x="1960" y="92"/>
                  </a:lnTo>
                  <a:lnTo>
                    <a:pt x="1958" y="92"/>
                  </a:lnTo>
                  <a:lnTo>
                    <a:pt x="1958" y="94"/>
                  </a:lnTo>
                  <a:lnTo>
                    <a:pt x="1956" y="94"/>
                  </a:lnTo>
                  <a:lnTo>
                    <a:pt x="1956" y="92"/>
                  </a:lnTo>
                  <a:lnTo>
                    <a:pt x="1952" y="92"/>
                  </a:lnTo>
                  <a:lnTo>
                    <a:pt x="1950" y="90"/>
                  </a:lnTo>
                  <a:lnTo>
                    <a:pt x="1950" y="88"/>
                  </a:lnTo>
                  <a:lnTo>
                    <a:pt x="1948" y="88"/>
                  </a:lnTo>
                  <a:lnTo>
                    <a:pt x="1948" y="86"/>
                  </a:lnTo>
                  <a:lnTo>
                    <a:pt x="1944" y="84"/>
                  </a:lnTo>
                  <a:lnTo>
                    <a:pt x="1940" y="82"/>
                  </a:lnTo>
                  <a:lnTo>
                    <a:pt x="1938" y="80"/>
                  </a:lnTo>
                  <a:lnTo>
                    <a:pt x="1936" y="80"/>
                  </a:lnTo>
                  <a:lnTo>
                    <a:pt x="1934" y="78"/>
                  </a:lnTo>
                  <a:lnTo>
                    <a:pt x="1932" y="78"/>
                  </a:lnTo>
                  <a:lnTo>
                    <a:pt x="1930" y="80"/>
                  </a:lnTo>
                  <a:lnTo>
                    <a:pt x="1930" y="82"/>
                  </a:lnTo>
                  <a:lnTo>
                    <a:pt x="1930" y="84"/>
                  </a:lnTo>
                  <a:lnTo>
                    <a:pt x="1928" y="84"/>
                  </a:lnTo>
                  <a:lnTo>
                    <a:pt x="1926" y="82"/>
                  </a:lnTo>
                  <a:lnTo>
                    <a:pt x="1924" y="80"/>
                  </a:lnTo>
                  <a:lnTo>
                    <a:pt x="1922" y="78"/>
                  </a:lnTo>
                  <a:lnTo>
                    <a:pt x="1922" y="74"/>
                  </a:lnTo>
                  <a:lnTo>
                    <a:pt x="1920" y="72"/>
                  </a:lnTo>
                  <a:lnTo>
                    <a:pt x="1918" y="72"/>
                  </a:lnTo>
                  <a:lnTo>
                    <a:pt x="1916" y="70"/>
                  </a:lnTo>
                  <a:lnTo>
                    <a:pt x="1914" y="68"/>
                  </a:lnTo>
                  <a:lnTo>
                    <a:pt x="1910" y="66"/>
                  </a:lnTo>
                  <a:lnTo>
                    <a:pt x="1908" y="66"/>
                  </a:lnTo>
                  <a:lnTo>
                    <a:pt x="1906" y="66"/>
                  </a:lnTo>
                  <a:lnTo>
                    <a:pt x="1902" y="66"/>
                  </a:lnTo>
                  <a:lnTo>
                    <a:pt x="1900" y="66"/>
                  </a:lnTo>
                  <a:lnTo>
                    <a:pt x="1898" y="66"/>
                  </a:lnTo>
                  <a:lnTo>
                    <a:pt x="1894" y="66"/>
                  </a:lnTo>
                  <a:lnTo>
                    <a:pt x="1892" y="66"/>
                  </a:lnTo>
                  <a:lnTo>
                    <a:pt x="1890" y="66"/>
                  </a:lnTo>
                  <a:lnTo>
                    <a:pt x="1890" y="68"/>
                  </a:lnTo>
                  <a:lnTo>
                    <a:pt x="1888" y="68"/>
                  </a:lnTo>
                  <a:lnTo>
                    <a:pt x="1888" y="70"/>
                  </a:lnTo>
                  <a:lnTo>
                    <a:pt x="1886" y="72"/>
                  </a:lnTo>
                  <a:lnTo>
                    <a:pt x="1882" y="72"/>
                  </a:lnTo>
                  <a:lnTo>
                    <a:pt x="1880" y="72"/>
                  </a:lnTo>
                  <a:lnTo>
                    <a:pt x="1878" y="72"/>
                  </a:lnTo>
                  <a:lnTo>
                    <a:pt x="1876" y="72"/>
                  </a:lnTo>
                  <a:lnTo>
                    <a:pt x="1874" y="72"/>
                  </a:lnTo>
                  <a:lnTo>
                    <a:pt x="1874" y="70"/>
                  </a:lnTo>
                  <a:lnTo>
                    <a:pt x="1872" y="68"/>
                  </a:lnTo>
                  <a:lnTo>
                    <a:pt x="1870" y="68"/>
                  </a:lnTo>
                  <a:lnTo>
                    <a:pt x="1868" y="66"/>
                  </a:lnTo>
                  <a:lnTo>
                    <a:pt x="1864" y="68"/>
                  </a:lnTo>
                  <a:lnTo>
                    <a:pt x="1862" y="68"/>
                  </a:lnTo>
                  <a:lnTo>
                    <a:pt x="1860" y="68"/>
                  </a:lnTo>
                  <a:lnTo>
                    <a:pt x="1858" y="68"/>
                  </a:lnTo>
                  <a:lnTo>
                    <a:pt x="1856" y="68"/>
                  </a:lnTo>
                  <a:lnTo>
                    <a:pt x="1854" y="68"/>
                  </a:lnTo>
                  <a:lnTo>
                    <a:pt x="1852" y="70"/>
                  </a:lnTo>
                  <a:lnTo>
                    <a:pt x="1850" y="70"/>
                  </a:lnTo>
                  <a:lnTo>
                    <a:pt x="1848" y="70"/>
                  </a:lnTo>
                  <a:lnTo>
                    <a:pt x="1846" y="72"/>
                  </a:lnTo>
                  <a:lnTo>
                    <a:pt x="1844" y="72"/>
                  </a:lnTo>
                  <a:lnTo>
                    <a:pt x="1842" y="72"/>
                  </a:lnTo>
                  <a:lnTo>
                    <a:pt x="1838" y="76"/>
                  </a:lnTo>
                  <a:lnTo>
                    <a:pt x="1836" y="78"/>
                  </a:lnTo>
                  <a:lnTo>
                    <a:pt x="1834" y="78"/>
                  </a:lnTo>
                  <a:lnTo>
                    <a:pt x="1834" y="80"/>
                  </a:lnTo>
                  <a:lnTo>
                    <a:pt x="1830" y="80"/>
                  </a:lnTo>
                  <a:lnTo>
                    <a:pt x="1826" y="80"/>
                  </a:lnTo>
                  <a:lnTo>
                    <a:pt x="1824" y="80"/>
                  </a:lnTo>
                  <a:lnTo>
                    <a:pt x="1820" y="80"/>
                  </a:lnTo>
                  <a:lnTo>
                    <a:pt x="1818" y="82"/>
                  </a:lnTo>
                  <a:lnTo>
                    <a:pt x="1816" y="82"/>
                  </a:lnTo>
                  <a:lnTo>
                    <a:pt x="1812" y="84"/>
                  </a:lnTo>
                  <a:lnTo>
                    <a:pt x="1810" y="84"/>
                  </a:lnTo>
                  <a:lnTo>
                    <a:pt x="1806" y="82"/>
                  </a:lnTo>
                  <a:lnTo>
                    <a:pt x="1804" y="82"/>
                  </a:lnTo>
                  <a:lnTo>
                    <a:pt x="1802" y="80"/>
                  </a:lnTo>
                  <a:lnTo>
                    <a:pt x="1800" y="80"/>
                  </a:lnTo>
                  <a:lnTo>
                    <a:pt x="1798" y="82"/>
                  </a:lnTo>
                  <a:lnTo>
                    <a:pt x="1796" y="82"/>
                  </a:lnTo>
                  <a:lnTo>
                    <a:pt x="1794" y="84"/>
                  </a:lnTo>
                  <a:lnTo>
                    <a:pt x="1790" y="84"/>
                  </a:lnTo>
                  <a:lnTo>
                    <a:pt x="1788" y="86"/>
                  </a:lnTo>
                  <a:lnTo>
                    <a:pt x="1786" y="86"/>
                  </a:lnTo>
                  <a:lnTo>
                    <a:pt x="1784" y="88"/>
                  </a:lnTo>
                  <a:lnTo>
                    <a:pt x="1778" y="90"/>
                  </a:lnTo>
                  <a:lnTo>
                    <a:pt x="1776" y="92"/>
                  </a:lnTo>
                  <a:lnTo>
                    <a:pt x="1776" y="94"/>
                  </a:lnTo>
                  <a:lnTo>
                    <a:pt x="1776" y="96"/>
                  </a:lnTo>
                  <a:lnTo>
                    <a:pt x="1778" y="98"/>
                  </a:lnTo>
                  <a:lnTo>
                    <a:pt x="1780" y="100"/>
                  </a:lnTo>
                  <a:lnTo>
                    <a:pt x="1784" y="100"/>
                  </a:lnTo>
                  <a:lnTo>
                    <a:pt x="1786" y="102"/>
                  </a:lnTo>
                  <a:lnTo>
                    <a:pt x="1790" y="106"/>
                  </a:lnTo>
                  <a:lnTo>
                    <a:pt x="1796" y="110"/>
                  </a:lnTo>
                  <a:lnTo>
                    <a:pt x="1798" y="112"/>
                  </a:lnTo>
                  <a:lnTo>
                    <a:pt x="1800" y="114"/>
                  </a:lnTo>
                  <a:lnTo>
                    <a:pt x="1802" y="116"/>
                  </a:lnTo>
                  <a:lnTo>
                    <a:pt x="1804" y="118"/>
                  </a:lnTo>
                  <a:lnTo>
                    <a:pt x="1804" y="120"/>
                  </a:lnTo>
                  <a:lnTo>
                    <a:pt x="1806" y="122"/>
                  </a:lnTo>
                  <a:lnTo>
                    <a:pt x="1806" y="124"/>
                  </a:lnTo>
                  <a:lnTo>
                    <a:pt x="1806" y="128"/>
                  </a:lnTo>
                  <a:lnTo>
                    <a:pt x="1806" y="130"/>
                  </a:lnTo>
                  <a:lnTo>
                    <a:pt x="1804" y="134"/>
                  </a:lnTo>
                  <a:lnTo>
                    <a:pt x="1802" y="134"/>
                  </a:lnTo>
                  <a:lnTo>
                    <a:pt x="1802" y="136"/>
                  </a:lnTo>
                  <a:lnTo>
                    <a:pt x="1800" y="136"/>
                  </a:lnTo>
                  <a:lnTo>
                    <a:pt x="1798" y="136"/>
                  </a:lnTo>
                  <a:lnTo>
                    <a:pt x="1794" y="134"/>
                  </a:lnTo>
                  <a:lnTo>
                    <a:pt x="1790" y="132"/>
                  </a:lnTo>
                  <a:lnTo>
                    <a:pt x="1786" y="132"/>
                  </a:lnTo>
                  <a:lnTo>
                    <a:pt x="1784" y="130"/>
                  </a:lnTo>
                  <a:lnTo>
                    <a:pt x="1776" y="130"/>
                  </a:lnTo>
                  <a:lnTo>
                    <a:pt x="1772" y="130"/>
                  </a:lnTo>
                  <a:lnTo>
                    <a:pt x="1770" y="128"/>
                  </a:lnTo>
                  <a:lnTo>
                    <a:pt x="1768" y="128"/>
                  </a:lnTo>
                  <a:lnTo>
                    <a:pt x="1764" y="124"/>
                  </a:lnTo>
                  <a:lnTo>
                    <a:pt x="1762" y="122"/>
                  </a:lnTo>
                  <a:lnTo>
                    <a:pt x="1762" y="120"/>
                  </a:lnTo>
                  <a:lnTo>
                    <a:pt x="1760" y="120"/>
                  </a:lnTo>
                  <a:lnTo>
                    <a:pt x="1758" y="120"/>
                  </a:lnTo>
                  <a:lnTo>
                    <a:pt x="1756" y="120"/>
                  </a:lnTo>
                  <a:lnTo>
                    <a:pt x="1754" y="120"/>
                  </a:lnTo>
                  <a:lnTo>
                    <a:pt x="1752" y="120"/>
                  </a:lnTo>
                  <a:lnTo>
                    <a:pt x="1750" y="118"/>
                  </a:lnTo>
                  <a:lnTo>
                    <a:pt x="1748" y="118"/>
                  </a:lnTo>
                  <a:lnTo>
                    <a:pt x="1748" y="120"/>
                  </a:lnTo>
                  <a:lnTo>
                    <a:pt x="1750" y="122"/>
                  </a:lnTo>
                  <a:lnTo>
                    <a:pt x="1750" y="124"/>
                  </a:lnTo>
                  <a:lnTo>
                    <a:pt x="1750" y="126"/>
                  </a:lnTo>
                  <a:lnTo>
                    <a:pt x="1746" y="128"/>
                  </a:lnTo>
                  <a:lnTo>
                    <a:pt x="1740" y="130"/>
                  </a:lnTo>
                  <a:lnTo>
                    <a:pt x="1738" y="132"/>
                  </a:lnTo>
                  <a:lnTo>
                    <a:pt x="1734" y="132"/>
                  </a:lnTo>
                  <a:lnTo>
                    <a:pt x="1732" y="132"/>
                  </a:lnTo>
                  <a:lnTo>
                    <a:pt x="1728" y="132"/>
                  </a:lnTo>
                  <a:lnTo>
                    <a:pt x="1724" y="132"/>
                  </a:lnTo>
                  <a:lnTo>
                    <a:pt x="1722" y="132"/>
                  </a:lnTo>
                  <a:lnTo>
                    <a:pt x="1718" y="132"/>
                  </a:lnTo>
                  <a:lnTo>
                    <a:pt x="1714" y="132"/>
                  </a:lnTo>
                  <a:lnTo>
                    <a:pt x="1712" y="134"/>
                  </a:lnTo>
                  <a:lnTo>
                    <a:pt x="1710" y="134"/>
                  </a:lnTo>
                  <a:lnTo>
                    <a:pt x="1708" y="136"/>
                  </a:lnTo>
                  <a:lnTo>
                    <a:pt x="1706" y="138"/>
                  </a:lnTo>
                  <a:lnTo>
                    <a:pt x="1704" y="140"/>
                  </a:lnTo>
                  <a:lnTo>
                    <a:pt x="1702" y="142"/>
                  </a:lnTo>
                  <a:lnTo>
                    <a:pt x="1698" y="142"/>
                  </a:lnTo>
                  <a:lnTo>
                    <a:pt x="1694" y="142"/>
                  </a:lnTo>
                  <a:lnTo>
                    <a:pt x="1692" y="144"/>
                  </a:lnTo>
                  <a:lnTo>
                    <a:pt x="1686" y="146"/>
                  </a:lnTo>
                  <a:lnTo>
                    <a:pt x="1684" y="148"/>
                  </a:lnTo>
                  <a:lnTo>
                    <a:pt x="1682" y="150"/>
                  </a:lnTo>
                  <a:lnTo>
                    <a:pt x="1682" y="152"/>
                  </a:lnTo>
                  <a:lnTo>
                    <a:pt x="1682" y="154"/>
                  </a:lnTo>
                  <a:lnTo>
                    <a:pt x="1682" y="158"/>
                  </a:lnTo>
                  <a:lnTo>
                    <a:pt x="1682" y="160"/>
                  </a:lnTo>
                  <a:lnTo>
                    <a:pt x="1680" y="158"/>
                  </a:lnTo>
                  <a:lnTo>
                    <a:pt x="1678" y="156"/>
                  </a:lnTo>
                  <a:lnTo>
                    <a:pt x="1676" y="156"/>
                  </a:lnTo>
                  <a:lnTo>
                    <a:pt x="1674" y="156"/>
                  </a:lnTo>
                  <a:lnTo>
                    <a:pt x="1672" y="156"/>
                  </a:lnTo>
                  <a:lnTo>
                    <a:pt x="1670" y="156"/>
                  </a:lnTo>
                  <a:lnTo>
                    <a:pt x="1668" y="154"/>
                  </a:lnTo>
                  <a:lnTo>
                    <a:pt x="1668" y="152"/>
                  </a:lnTo>
                  <a:lnTo>
                    <a:pt x="1666" y="152"/>
                  </a:lnTo>
                  <a:lnTo>
                    <a:pt x="1666" y="150"/>
                  </a:lnTo>
                  <a:lnTo>
                    <a:pt x="1664" y="150"/>
                  </a:lnTo>
                  <a:lnTo>
                    <a:pt x="1662" y="150"/>
                  </a:lnTo>
                  <a:lnTo>
                    <a:pt x="1660" y="150"/>
                  </a:lnTo>
                  <a:lnTo>
                    <a:pt x="1658" y="148"/>
                  </a:lnTo>
                  <a:lnTo>
                    <a:pt x="1656" y="146"/>
                  </a:lnTo>
                  <a:lnTo>
                    <a:pt x="1654" y="146"/>
                  </a:lnTo>
                  <a:lnTo>
                    <a:pt x="1652" y="144"/>
                  </a:lnTo>
                  <a:lnTo>
                    <a:pt x="1652" y="142"/>
                  </a:lnTo>
                  <a:lnTo>
                    <a:pt x="1652" y="140"/>
                  </a:lnTo>
                  <a:lnTo>
                    <a:pt x="1652" y="138"/>
                  </a:lnTo>
                  <a:lnTo>
                    <a:pt x="1652" y="134"/>
                  </a:lnTo>
                  <a:lnTo>
                    <a:pt x="1652" y="132"/>
                  </a:lnTo>
                  <a:lnTo>
                    <a:pt x="1650" y="130"/>
                  </a:lnTo>
                  <a:lnTo>
                    <a:pt x="1650" y="128"/>
                  </a:lnTo>
                  <a:lnTo>
                    <a:pt x="1646" y="124"/>
                  </a:lnTo>
                  <a:lnTo>
                    <a:pt x="1644" y="122"/>
                  </a:lnTo>
                  <a:lnTo>
                    <a:pt x="1640" y="122"/>
                  </a:lnTo>
                  <a:lnTo>
                    <a:pt x="1638" y="120"/>
                  </a:lnTo>
                  <a:lnTo>
                    <a:pt x="1634" y="120"/>
                  </a:lnTo>
                  <a:lnTo>
                    <a:pt x="1632" y="122"/>
                  </a:lnTo>
                  <a:lnTo>
                    <a:pt x="1630" y="122"/>
                  </a:lnTo>
                  <a:lnTo>
                    <a:pt x="1628" y="122"/>
                  </a:lnTo>
                  <a:lnTo>
                    <a:pt x="1628" y="124"/>
                  </a:lnTo>
                  <a:lnTo>
                    <a:pt x="1626" y="122"/>
                  </a:lnTo>
                  <a:lnTo>
                    <a:pt x="1626" y="120"/>
                  </a:lnTo>
                  <a:lnTo>
                    <a:pt x="1624" y="120"/>
                  </a:lnTo>
                  <a:lnTo>
                    <a:pt x="1622" y="120"/>
                  </a:lnTo>
                  <a:lnTo>
                    <a:pt x="1620" y="120"/>
                  </a:lnTo>
                  <a:lnTo>
                    <a:pt x="1614" y="120"/>
                  </a:lnTo>
                  <a:lnTo>
                    <a:pt x="1612" y="120"/>
                  </a:lnTo>
                  <a:lnTo>
                    <a:pt x="1610" y="120"/>
                  </a:lnTo>
                  <a:lnTo>
                    <a:pt x="1608" y="124"/>
                  </a:lnTo>
                  <a:lnTo>
                    <a:pt x="1608" y="126"/>
                  </a:lnTo>
                  <a:lnTo>
                    <a:pt x="1606" y="124"/>
                  </a:lnTo>
                  <a:lnTo>
                    <a:pt x="1604" y="124"/>
                  </a:lnTo>
                  <a:lnTo>
                    <a:pt x="1602" y="122"/>
                  </a:lnTo>
                  <a:lnTo>
                    <a:pt x="1600" y="124"/>
                  </a:lnTo>
                  <a:lnTo>
                    <a:pt x="1598" y="124"/>
                  </a:lnTo>
                  <a:lnTo>
                    <a:pt x="1594" y="128"/>
                  </a:lnTo>
                  <a:lnTo>
                    <a:pt x="1588" y="132"/>
                  </a:lnTo>
                  <a:lnTo>
                    <a:pt x="1582" y="134"/>
                  </a:lnTo>
                  <a:lnTo>
                    <a:pt x="1576" y="138"/>
                  </a:lnTo>
                  <a:lnTo>
                    <a:pt x="1570" y="142"/>
                  </a:lnTo>
                  <a:lnTo>
                    <a:pt x="1568" y="142"/>
                  </a:lnTo>
                  <a:lnTo>
                    <a:pt x="1566" y="142"/>
                  </a:lnTo>
                  <a:lnTo>
                    <a:pt x="1564" y="144"/>
                  </a:lnTo>
                  <a:lnTo>
                    <a:pt x="1562" y="148"/>
                  </a:lnTo>
                  <a:lnTo>
                    <a:pt x="1560" y="150"/>
                  </a:lnTo>
                  <a:lnTo>
                    <a:pt x="1560" y="152"/>
                  </a:lnTo>
                  <a:lnTo>
                    <a:pt x="1560" y="154"/>
                  </a:lnTo>
                  <a:lnTo>
                    <a:pt x="1560" y="156"/>
                  </a:lnTo>
                  <a:lnTo>
                    <a:pt x="1562" y="158"/>
                  </a:lnTo>
                  <a:lnTo>
                    <a:pt x="1560" y="158"/>
                  </a:lnTo>
                  <a:lnTo>
                    <a:pt x="1558" y="158"/>
                  </a:lnTo>
                  <a:lnTo>
                    <a:pt x="1556" y="156"/>
                  </a:lnTo>
                  <a:lnTo>
                    <a:pt x="1554" y="154"/>
                  </a:lnTo>
                  <a:lnTo>
                    <a:pt x="1552" y="152"/>
                  </a:lnTo>
                  <a:lnTo>
                    <a:pt x="1550" y="152"/>
                  </a:lnTo>
                  <a:lnTo>
                    <a:pt x="1546" y="152"/>
                  </a:lnTo>
                  <a:lnTo>
                    <a:pt x="1544" y="152"/>
                  </a:lnTo>
                  <a:lnTo>
                    <a:pt x="1538" y="154"/>
                  </a:lnTo>
                  <a:lnTo>
                    <a:pt x="1536" y="154"/>
                  </a:lnTo>
                  <a:lnTo>
                    <a:pt x="1534" y="154"/>
                  </a:lnTo>
                  <a:lnTo>
                    <a:pt x="1534" y="152"/>
                  </a:lnTo>
                  <a:lnTo>
                    <a:pt x="1532" y="152"/>
                  </a:lnTo>
                  <a:lnTo>
                    <a:pt x="1530" y="148"/>
                  </a:lnTo>
                  <a:lnTo>
                    <a:pt x="1528" y="148"/>
                  </a:lnTo>
                  <a:lnTo>
                    <a:pt x="1526" y="148"/>
                  </a:lnTo>
                  <a:lnTo>
                    <a:pt x="1524" y="148"/>
                  </a:lnTo>
                  <a:lnTo>
                    <a:pt x="1522" y="148"/>
                  </a:lnTo>
                  <a:lnTo>
                    <a:pt x="1520" y="150"/>
                  </a:lnTo>
                  <a:lnTo>
                    <a:pt x="1518" y="152"/>
                  </a:lnTo>
                  <a:lnTo>
                    <a:pt x="1516" y="152"/>
                  </a:lnTo>
                  <a:lnTo>
                    <a:pt x="1514" y="152"/>
                  </a:lnTo>
                  <a:lnTo>
                    <a:pt x="1514" y="150"/>
                  </a:lnTo>
                  <a:lnTo>
                    <a:pt x="1514" y="148"/>
                  </a:lnTo>
                  <a:lnTo>
                    <a:pt x="1512" y="148"/>
                  </a:lnTo>
                  <a:lnTo>
                    <a:pt x="1510" y="148"/>
                  </a:lnTo>
                  <a:lnTo>
                    <a:pt x="1504" y="150"/>
                  </a:lnTo>
                  <a:lnTo>
                    <a:pt x="1502" y="150"/>
                  </a:lnTo>
                  <a:lnTo>
                    <a:pt x="1500" y="150"/>
                  </a:lnTo>
                  <a:lnTo>
                    <a:pt x="1498" y="150"/>
                  </a:lnTo>
                  <a:lnTo>
                    <a:pt x="1496" y="150"/>
                  </a:lnTo>
                  <a:lnTo>
                    <a:pt x="1496" y="148"/>
                  </a:lnTo>
                  <a:lnTo>
                    <a:pt x="1494" y="146"/>
                  </a:lnTo>
                  <a:lnTo>
                    <a:pt x="1494" y="144"/>
                  </a:lnTo>
                  <a:lnTo>
                    <a:pt x="1492" y="142"/>
                  </a:lnTo>
                  <a:lnTo>
                    <a:pt x="1494" y="142"/>
                  </a:lnTo>
                  <a:lnTo>
                    <a:pt x="1496" y="142"/>
                  </a:lnTo>
                  <a:lnTo>
                    <a:pt x="1498" y="142"/>
                  </a:lnTo>
                  <a:lnTo>
                    <a:pt x="1500" y="144"/>
                  </a:lnTo>
                  <a:lnTo>
                    <a:pt x="1502" y="144"/>
                  </a:lnTo>
                  <a:lnTo>
                    <a:pt x="1504" y="144"/>
                  </a:lnTo>
                  <a:lnTo>
                    <a:pt x="1504" y="142"/>
                  </a:lnTo>
                  <a:lnTo>
                    <a:pt x="1502" y="142"/>
                  </a:lnTo>
                  <a:lnTo>
                    <a:pt x="1500" y="138"/>
                  </a:lnTo>
                  <a:lnTo>
                    <a:pt x="1498" y="136"/>
                  </a:lnTo>
                  <a:lnTo>
                    <a:pt x="1494" y="134"/>
                  </a:lnTo>
                  <a:lnTo>
                    <a:pt x="1492" y="134"/>
                  </a:lnTo>
                  <a:lnTo>
                    <a:pt x="1490" y="134"/>
                  </a:lnTo>
                  <a:lnTo>
                    <a:pt x="1484" y="132"/>
                  </a:lnTo>
                  <a:lnTo>
                    <a:pt x="1480" y="132"/>
                  </a:lnTo>
                  <a:lnTo>
                    <a:pt x="1474" y="134"/>
                  </a:lnTo>
                  <a:lnTo>
                    <a:pt x="1472" y="134"/>
                  </a:lnTo>
                  <a:lnTo>
                    <a:pt x="1468" y="134"/>
                  </a:lnTo>
                  <a:lnTo>
                    <a:pt x="1466" y="134"/>
                  </a:lnTo>
                  <a:lnTo>
                    <a:pt x="1464" y="134"/>
                  </a:lnTo>
                  <a:lnTo>
                    <a:pt x="1464" y="136"/>
                  </a:lnTo>
                  <a:lnTo>
                    <a:pt x="1462" y="136"/>
                  </a:lnTo>
                  <a:lnTo>
                    <a:pt x="1462" y="140"/>
                  </a:lnTo>
                  <a:lnTo>
                    <a:pt x="1460" y="142"/>
                  </a:lnTo>
                  <a:lnTo>
                    <a:pt x="1460" y="146"/>
                  </a:lnTo>
                  <a:lnTo>
                    <a:pt x="1460" y="148"/>
                  </a:lnTo>
                  <a:lnTo>
                    <a:pt x="1460" y="152"/>
                  </a:lnTo>
                  <a:lnTo>
                    <a:pt x="1462" y="156"/>
                  </a:lnTo>
                  <a:lnTo>
                    <a:pt x="1462" y="158"/>
                  </a:lnTo>
                  <a:lnTo>
                    <a:pt x="1462" y="162"/>
                  </a:lnTo>
                  <a:lnTo>
                    <a:pt x="1462" y="164"/>
                  </a:lnTo>
                  <a:lnTo>
                    <a:pt x="1462" y="166"/>
                  </a:lnTo>
                  <a:lnTo>
                    <a:pt x="1462" y="168"/>
                  </a:lnTo>
                  <a:lnTo>
                    <a:pt x="1460" y="168"/>
                  </a:lnTo>
                  <a:lnTo>
                    <a:pt x="1458" y="168"/>
                  </a:lnTo>
                  <a:lnTo>
                    <a:pt x="1458" y="170"/>
                  </a:lnTo>
                  <a:lnTo>
                    <a:pt x="1456" y="170"/>
                  </a:lnTo>
                  <a:lnTo>
                    <a:pt x="1454" y="170"/>
                  </a:lnTo>
                  <a:lnTo>
                    <a:pt x="1452" y="168"/>
                  </a:lnTo>
                  <a:lnTo>
                    <a:pt x="1450" y="168"/>
                  </a:lnTo>
                  <a:lnTo>
                    <a:pt x="1450" y="166"/>
                  </a:lnTo>
                  <a:lnTo>
                    <a:pt x="1448" y="166"/>
                  </a:lnTo>
                  <a:lnTo>
                    <a:pt x="1446" y="164"/>
                  </a:lnTo>
                  <a:lnTo>
                    <a:pt x="1446" y="162"/>
                  </a:lnTo>
                  <a:lnTo>
                    <a:pt x="1446" y="160"/>
                  </a:lnTo>
                  <a:lnTo>
                    <a:pt x="1448" y="160"/>
                  </a:lnTo>
                  <a:lnTo>
                    <a:pt x="1450" y="160"/>
                  </a:lnTo>
                  <a:lnTo>
                    <a:pt x="1452" y="160"/>
                  </a:lnTo>
                  <a:lnTo>
                    <a:pt x="1454" y="160"/>
                  </a:lnTo>
                  <a:lnTo>
                    <a:pt x="1452" y="158"/>
                  </a:lnTo>
                  <a:lnTo>
                    <a:pt x="1450" y="156"/>
                  </a:lnTo>
                  <a:lnTo>
                    <a:pt x="1448" y="154"/>
                  </a:lnTo>
                  <a:lnTo>
                    <a:pt x="1450" y="152"/>
                  </a:lnTo>
                  <a:lnTo>
                    <a:pt x="1452" y="148"/>
                  </a:lnTo>
                  <a:lnTo>
                    <a:pt x="1452" y="146"/>
                  </a:lnTo>
                  <a:lnTo>
                    <a:pt x="1452" y="144"/>
                  </a:lnTo>
                  <a:lnTo>
                    <a:pt x="1450" y="142"/>
                  </a:lnTo>
                  <a:lnTo>
                    <a:pt x="1448" y="142"/>
                  </a:lnTo>
                  <a:lnTo>
                    <a:pt x="1446" y="146"/>
                  </a:lnTo>
                  <a:lnTo>
                    <a:pt x="1444" y="148"/>
                  </a:lnTo>
                  <a:lnTo>
                    <a:pt x="1440" y="150"/>
                  </a:lnTo>
                  <a:lnTo>
                    <a:pt x="1438" y="152"/>
                  </a:lnTo>
                  <a:lnTo>
                    <a:pt x="1436" y="154"/>
                  </a:lnTo>
                  <a:lnTo>
                    <a:pt x="1432" y="154"/>
                  </a:lnTo>
                  <a:lnTo>
                    <a:pt x="1430" y="156"/>
                  </a:lnTo>
                  <a:lnTo>
                    <a:pt x="1430" y="154"/>
                  </a:lnTo>
                  <a:lnTo>
                    <a:pt x="1430" y="152"/>
                  </a:lnTo>
                  <a:lnTo>
                    <a:pt x="1432" y="150"/>
                  </a:lnTo>
                  <a:lnTo>
                    <a:pt x="1434" y="146"/>
                  </a:lnTo>
                  <a:lnTo>
                    <a:pt x="1436" y="144"/>
                  </a:lnTo>
                  <a:lnTo>
                    <a:pt x="1438" y="144"/>
                  </a:lnTo>
                  <a:lnTo>
                    <a:pt x="1440" y="144"/>
                  </a:lnTo>
                  <a:lnTo>
                    <a:pt x="1442" y="142"/>
                  </a:lnTo>
                  <a:lnTo>
                    <a:pt x="1444" y="142"/>
                  </a:lnTo>
                  <a:lnTo>
                    <a:pt x="1446" y="142"/>
                  </a:lnTo>
                  <a:lnTo>
                    <a:pt x="1444" y="140"/>
                  </a:lnTo>
                  <a:lnTo>
                    <a:pt x="1442" y="138"/>
                  </a:lnTo>
                  <a:lnTo>
                    <a:pt x="1440" y="138"/>
                  </a:lnTo>
                  <a:lnTo>
                    <a:pt x="1438" y="140"/>
                  </a:lnTo>
                  <a:lnTo>
                    <a:pt x="1434" y="140"/>
                  </a:lnTo>
                  <a:lnTo>
                    <a:pt x="1432" y="142"/>
                  </a:lnTo>
                  <a:lnTo>
                    <a:pt x="1426" y="142"/>
                  </a:lnTo>
                  <a:lnTo>
                    <a:pt x="1422" y="142"/>
                  </a:lnTo>
                  <a:lnTo>
                    <a:pt x="1416" y="142"/>
                  </a:lnTo>
                  <a:lnTo>
                    <a:pt x="1406" y="142"/>
                  </a:lnTo>
                  <a:lnTo>
                    <a:pt x="1398" y="142"/>
                  </a:lnTo>
                  <a:lnTo>
                    <a:pt x="1394" y="142"/>
                  </a:lnTo>
                  <a:lnTo>
                    <a:pt x="1392" y="144"/>
                  </a:lnTo>
                  <a:lnTo>
                    <a:pt x="1384" y="146"/>
                  </a:lnTo>
                  <a:lnTo>
                    <a:pt x="1378" y="148"/>
                  </a:lnTo>
                  <a:lnTo>
                    <a:pt x="1370" y="152"/>
                  </a:lnTo>
                  <a:lnTo>
                    <a:pt x="1368" y="152"/>
                  </a:lnTo>
                  <a:lnTo>
                    <a:pt x="1368" y="154"/>
                  </a:lnTo>
                  <a:lnTo>
                    <a:pt x="1368" y="156"/>
                  </a:lnTo>
                  <a:lnTo>
                    <a:pt x="1370" y="158"/>
                  </a:lnTo>
                  <a:lnTo>
                    <a:pt x="1370" y="160"/>
                  </a:lnTo>
                  <a:lnTo>
                    <a:pt x="1370" y="162"/>
                  </a:lnTo>
                  <a:lnTo>
                    <a:pt x="1368" y="164"/>
                  </a:lnTo>
                  <a:lnTo>
                    <a:pt x="1366" y="166"/>
                  </a:lnTo>
                  <a:lnTo>
                    <a:pt x="1364" y="168"/>
                  </a:lnTo>
                  <a:lnTo>
                    <a:pt x="1360" y="170"/>
                  </a:lnTo>
                  <a:lnTo>
                    <a:pt x="1360" y="172"/>
                  </a:lnTo>
                  <a:lnTo>
                    <a:pt x="1358" y="174"/>
                  </a:lnTo>
                  <a:lnTo>
                    <a:pt x="1358" y="176"/>
                  </a:lnTo>
                  <a:lnTo>
                    <a:pt x="1360" y="180"/>
                  </a:lnTo>
                  <a:lnTo>
                    <a:pt x="1360" y="182"/>
                  </a:lnTo>
                  <a:lnTo>
                    <a:pt x="1362" y="184"/>
                  </a:lnTo>
                  <a:lnTo>
                    <a:pt x="1364" y="184"/>
                  </a:lnTo>
                  <a:lnTo>
                    <a:pt x="1366" y="182"/>
                  </a:lnTo>
                  <a:lnTo>
                    <a:pt x="1366" y="180"/>
                  </a:lnTo>
                  <a:lnTo>
                    <a:pt x="1366" y="178"/>
                  </a:lnTo>
                  <a:lnTo>
                    <a:pt x="1368" y="178"/>
                  </a:lnTo>
                  <a:lnTo>
                    <a:pt x="1368" y="176"/>
                  </a:lnTo>
                  <a:lnTo>
                    <a:pt x="1370" y="176"/>
                  </a:lnTo>
                  <a:lnTo>
                    <a:pt x="1372" y="176"/>
                  </a:lnTo>
                  <a:lnTo>
                    <a:pt x="1374" y="178"/>
                  </a:lnTo>
                  <a:lnTo>
                    <a:pt x="1374" y="180"/>
                  </a:lnTo>
                  <a:lnTo>
                    <a:pt x="1374" y="182"/>
                  </a:lnTo>
                  <a:lnTo>
                    <a:pt x="1374" y="186"/>
                  </a:lnTo>
                  <a:lnTo>
                    <a:pt x="1372" y="188"/>
                  </a:lnTo>
                  <a:lnTo>
                    <a:pt x="1372" y="190"/>
                  </a:lnTo>
                  <a:lnTo>
                    <a:pt x="1374" y="190"/>
                  </a:lnTo>
                  <a:lnTo>
                    <a:pt x="1376" y="192"/>
                  </a:lnTo>
                  <a:lnTo>
                    <a:pt x="1378" y="194"/>
                  </a:lnTo>
                  <a:lnTo>
                    <a:pt x="1378" y="196"/>
                  </a:lnTo>
                  <a:lnTo>
                    <a:pt x="1376" y="198"/>
                  </a:lnTo>
                  <a:lnTo>
                    <a:pt x="1374" y="200"/>
                  </a:lnTo>
                  <a:lnTo>
                    <a:pt x="1372" y="202"/>
                  </a:lnTo>
                  <a:lnTo>
                    <a:pt x="1372" y="204"/>
                  </a:lnTo>
                  <a:lnTo>
                    <a:pt x="1372" y="206"/>
                  </a:lnTo>
                  <a:lnTo>
                    <a:pt x="1372" y="208"/>
                  </a:lnTo>
                  <a:lnTo>
                    <a:pt x="1372" y="210"/>
                  </a:lnTo>
                  <a:lnTo>
                    <a:pt x="1372" y="212"/>
                  </a:lnTo>
                  <a:lnTo>
                    <a:pt x="1370" y="214"/>
                  </a:lnTo>
                  <a:lnTo>
                    <a:pt x="1368" y="214"/>
                  </a:lnTo>
                  <a:lnTo>
                    <a:pt x="1368" y="212"/>
                  </a:lnTo>
                  <a:lnTo>
                    <a:pt x="1366" y="212"/>
                  </a:lnTo>
                  <a:lnTo>
                    <a:pt x="1364" y="210"/>
                  </a:lnTo>
                  <a:lnTo>
                    <a:pt x="1360" y="208"/>
                  </a:lnTo>
                  <a:lnTo>
                    <a:pt x="1358" y="208"/>
                  </a:lnTo>
                  <a:lnTo>
                    <a:pt x="1358" y="206"/>
                  </a:lnTo>
                  <a:lnTo>
                    <a:pt x="1356" y="206"/>
                  </a:lnTo>
                  <a:lnTo>
                    <a:pt x="1354" y="208"/>
                  </a:lnTo>
                  <a:lnTo>
                    <a:pt x="1350" y="210"/>
                  </a:lnTo>
                  <a:lnTo>
                    <a:pt x="1348" y="210"/>
                  </a:lnTo>
                  <a:lnTo>
                    <a:pt x="1346" y="210"/>
                  </a:lnTo>
                  <a:lnTo>
                    <a:pt x="1346" y="208"/>
                  </a:lnTo>
                  <a:lnTo>
                    <a:pt x="1344" y="208"/>
                  </a:lnTo>
                  <a:lnTo>
                    <a:pt x="1344" y="206"/>
                  </a:lnTo>
                  <a:lnTo>
                    <a:pt x="1342" y="206"/>
                  </a:lnTo>
                  <a:lnTo>
                    <a:pt x="1338" y="204"/>
                  </a:lnTo>
                  <a:lnTo>
                    <a:pt x="1334" y="204"/>
                  </a:lnTo>
                  <a:lnTo>
                    <a:pt x="1332" y="204"/>
                  </a:lnTo>
                  <a:lnTo>
                    <a:pt x="1330" y="206"/>
                  </a:lnTo>
                  <a:lnTo>
                    <a:pt x="1328" y="206"/>
                  </a:lnTo>
                  <a:lnTo>
                    <a:pt x="1326" y="208"/>
                  </a:lnTo>
                  <a:lnTo>
                    <a:pt x="1326" y="210"/>
                  </a:lnTo>
                  <a:lnTo>
                    <a:pt x="1326" y="212"/>
                  </a:lnTo>
                  <a:lnTo>
                    <a:pt x="1328" y="212"/>
                  </a:lnTo>
                  <a:lnTo>
                    <a:pt x="1328" y="214"/>
                  </a:lnTo>
                  <a:lnTo>
                    <a:pt x="1332" y="216"/>
                  </a:lnTo>
                  <a:lnTo>
                    <a:pt x="1332" y="218"/>
                  </a:lnTo>
                  <a:lnTo>
                    <a:pt x="1334" y="218"/>
                  </a:lnTo>
                  <a:lnTo>
                    <a:pt x="1334" y="220"/>
                  </a:lnTo>
                  <a:lnTo>
                    <a:pt x="1334" y="222"/>
                  </a:lnTo>
                  <a:lnTo>
                    <a:pt x="1332" y="224"/>
                  </a:lnTo>
                  <a:lnTo>
                    <a:pt x="1330" y="224"/>
                  </a:lnTo>
                  <a:lnTo>
                    <a:pt x="1328" y="224"/>
                  </a:lnTo>
                  <a:lnTo>
                    <a:pt x="1326" y="222"/>
                  </a:lnTo>
                  <a:lnTo>
                    <a:pt x="1324" y="222"/>
                  </a:lnTo>
                  <a:lnTo>
                    <a:pt x="1322" y="220"/>
                  </a:lnTo>
                  <a:lnTo>
                    <a:pt x="1320" y="220"/>
                  </a:lnTo>
                  <a:lnTo>
                    <a:pt x="1316" y="220"/>
                  </a:lnTo>
                  <a:lnTo>
                    <a:pt x="1314" y="220"/>
                  </a:lnTo>
                  <a:lnTo>
                    <a:pt x="1310" y="222"/>
                  </a:lnTo>
                  <a:lnTo>
                    <a:pt x="1308" y="224"/>
                  </a:lnTo>
                  <a:lnTo>
                    <a:pt x="1306" y="226"/>
                  </a:lnTo>
                  <a:lnTo>
                    <a:pt x="1304" y="226"/>
                  </a:lnTo>
                  <a:lnTo>
                    <a:pt x="1300" y="224"/>
                  </a:lnTo>
                  <a:lnTo>
                    <a:pt x="1298" y="222"/>
                  </a:lnTo>
                  <a:lnTo>
                    <a:pt x="1298" y="220"/>
                  </a:lnTo>
                  <a:lnTo>
                    <a:pt x="1296" y="218"/>
                  </a:lnTo>
                  <a:lnTo>
                    <a:pt x="1294" y="214"/>
                  </a:lnTo>
                  <a:lnTo>
                    <a:pt x="1292" y="212"/>
                  </a:lnTo>
                  <a:lnTo>
                    <a:pt x="1292" y="210"/>
                  </a:lnTo>
                  <a:lnTo>
                    <a:pt x="1290" y="210"/>
                  </a:lnTo>
                  <a:lnTo>
                    <a:pt x="1288" y="208"/>
                  </a:lnTo>
                  <a:lnTo>
                    <a:pt x="1286" y="210"/>
                  </a:lnTo>
                  <a:lnTo>
                    <a:pt x="1284" y="210"/>
                  </a:lnTo>
                  <a:lnTo>
                    <a:pt x="1284" y="212"/>
                  </a:lnTo>
                  <a:lnTo>
                    <a:pt x="1284" y="214"/>
                  </a:lnTo>
                  <a:lnTo>
                    <a:pt x="1284" y="216"/>
                  </a:lnTo>
                  <a:lnTo>
                    <a:pt x="1284" y="218"/>
                  </a:lnTo>
                  <a:lnTo>
                    <a:pt x="1286" y="222"/>
                  </a:lnTo>
                  <a:lnTo>
                    <a:pt x="1286" y="224"/>
                  </a:lnTo>
                  <a:lnTo>
                    <a:pt x="1286" y="226"/>
                  </a:lnTo>
                  <a:lnTo>
                    <a:pt x="1286" y="230"/>
                  </a:lnTo>
                  <a:lnTo>
                    <a:pt x="1288" y="234"/>
                  </a:lnTo>
                  <a:lnTo>
                    <a:pt x="1290" y="236"/>
                  </a:lnTo>
                  <a:lnTo>
                    <a:pt x="1290" y="238"/>
                  </a:lnTo>
                  <a:lnTo>
                    <a:pt x="1292" y="240"/>
                  </a:lnTo>
                  <a:lnTo>
                    <a:pt x="1294" y="240"/>
                  </a:lnTo>
                  <a:lnTo>
                    <a:pt x="1294" y="242"/>
                  </a:lnTo>
                  <a:lnTo>
                    <a:pt x="1296" y="244"/>
                  </a:lnTo>
                  <a:lnTo>
                    <a:pt x="1294" y="246"/>
                  </a:lnTo>
                  <a:lnTo>
                    <a:pt x="1294" y="248"/>
                  </a:lnTo>
                  <a:lnTo>
                    <a:pt x="1290" y="248"/>
                  </a:lnTo>
                  <a:lnTo>
                    <a:pt x="1286" y="250"/>
                  </a:lnTo>
                  <a:lnTo>
                    <a:pt x="1284" y="250"/>
                  </a:lnTo>
                  <a:lnTo>
                    <a:pt x="1282" y="250"/>
                  </a:lnTo>
                  <a:lnTo>
                    <a:pt x="1280" y="250"/>
                  </a:lnTo>
                  <a:lnTo>
                    <a:pt x="1278" y="248"/>
                  </a:lnTo>
                  <a:lnTo>
                    <a:pt x="1276" y="248"/>
                  </a:lnTo>
                  <a:lnTo>
                    <a:pt x="1274" y="246"/>
                  </a:lnTo>
                  <a:lnTo>
                    <a:pt x="1272" y="246"/>
                  </a:lnTo>
                  <a:lnTo>
                    <a:pt x="1270" y="242"/>
                  </a:lnTo>
                  <a:lnTo>
                    <a:pt x="1268" y="240"/>
                  </a:lnTo>
                  <a:lnTo>
                    <a:pt x="1266" y="238"/>
                  </a:lnTo>
                  <a:lnTo>
                    <a:pt x="1264" y="238"/>
                  </a:lnTo>
                  <a:lnTo>
                    <a:pt x="1260" y="238"/>
                  </a:lnTo>
                  <a:lnTo>
                    <a:pt x="1258" y="238"/>
                  </a:lnTo>
                  <a:lnTo>
                    <a:pt x="1256" y="238"/>
                  </a:lnTo>
                  <a:lnTo>
                    <a:pt x="1254" y="238"/>
                  </a:lnTo>
                  <a:lnTo>
                    <a:pt x="1250" y="234"/>
                  </a:lnTo>
                  <a:lnTo>
                    <a:pt x="1248" y="234"/>
                  </a:lnTo>
                  <a:lnTo>
                    <a:pt x="1248" y="232"/>
                  </a:lnTo>
                  <a:lnTo>
                    <a:pt x="1248" y="230"/>
                  </a:lnTo>
                  <a:lnTo>
                    <a:pt x="1250" y="230"/>
                  </a:lnTo>
                  <a:lnTo>
                    <a:pt x="1252" y="230"/>
                  </a:lnTo>
                  <a:lnTo>
                    <a:pt x="1252" y="228"/>
                  </a:lnTo>
                  <a:lnTo>
                    <a:pt x="1250" y="228"/>
                  </a:lnTo>
                  <a:lnTo>
                    <a:pt x="1248" y="226"/>
                  </a:lnTo>
                  <a:lnTo>
                    <a:pt x="1246" y="226"/>
                  </a:lnTo>
                  <a:lnTo>
                    <a:pt x="1242" y="224"/>
                  </a:lnTo>
                  <a:lnTo>
                    <a:pt x="1240" y="224"/>
                  </a:lnTo>
                  <a:lnTo>
                    <a:pt x="1240" y="226"/>
                  </a:lnTo>
                  <a:lnTo>
                    <a:pt x="1240" y="228"/>
                  </a:lnTo>
                  <a:lnTo>
                    <a:pt x="1238" y="228"/>
                  </a:lnTo>
                  <a:lnTo>
                    <a:pt x="1236" y="228"/>
                  </a:lnTo>
                  <a:lnTo>
                    <a:pt x="1234" y="228"/>
                  </a:lnTo>
                  <a:lnTo>
                    <a:pt x="1230" y="226"/>
                  </a:lnTo>
                  <a:lnTo>
                    <a:pt x="1228" y="226"/>
                  </a:lnTo>
                  <a:lnTo>
                    <a:pt x="1222" y="224"/>
                  </a:lnTo>
                  <a:lnTo>
                    <a:pt x="1220" y="224"/>
                  </a:lnTo>
                  <a:lnTo>
                    <a:pt x="1218" y="224"/>
                  </a:lnTo>
                  <a:lnTo>
                    <a:pt x="1216" y="222"/>
                  </a:lnTo>
                  <a:lnTo>
                    <a:pt x="1216" y="220"/>
                  </a:lnTo>
                  <a:lnTo>
                    <a:pt x="1214" y="220"/>
                  </a:lnTo>
                  <a:lnTo>
                    <a:pt x="1212" y="220"/>
                  </a:lnTo>
                  <a:lnTo>
                    <a:pt x="1212" y="222"/>
                  </a:lnTo>
                  <a:lnTo>
                    <a:pt x="1208" y="224"/>
                  </a:lnTo>
                  <a:lnTo>
                    <a:pt x="1206" y="226"/>
                  </a:lnTo>
                  <a:lnTo>
                    <a:pt x="1208" y="228"/>
                  </a:lnTo>
                  <a:lnTo>
                    <a:pt x="1208" y="230"/>
                  </a:lnTo>
                  <a:lnTo>
                    <a:pt x="1206" y="232"/>
                  </a:lnTo>
                  <a:lnTo>
                    <a:pt x="1204" y="230"/>
                  </a:lnTo>
                  <a:lnTo>
                    <a:pt x="1202" y="230"/>
                  </a:lnTo>
                  <a:lnTo>
                    <a:pt x="1202" y="228"/>
                  </a:lnTo>
                  <a:lnTo>
                    <a:pt x="1202" y="226"/>
                  </a:lnTo>
                  <a:lnTo>
                    <a:pt x="1200" y="222"/>
                  </a:lnTo>
                  <a:lnTo>
                    <a:pt x="1200" y="220"/>
                  </a:lnTo>
                  <a:lnTo>
                    <a:pt x="1200" y="218"/>
                  </a:lnTo>
                  <a:lnTo>
                    <a:pt x="1202" y="218"/>
                  </a:lnTo>
                  <a:lnTo>
                    <a:pt x="1202" y="216"/>
                  </a:lnTo>
                  <a:lnTo>
                    <a:pt x="1204" y="214"/>
                  </a:lnTo>
                  <a:lnTo>
                    <a:pt x="1208" y="212"/>
                  </a:lnTo>
                  <a:lnTo>
                    <a:pt x="1210" y="212"/>
                  </a:lnTo>
                  <a:lnTo>
                    <a:pt x="1212" y="210"/>
                  </a:lnTo>
                  <a:lnTo>
                    <a:pt x="1214" y="208"/>
                  </a:lnTo>
                  <a:lnTo>
                    <a:pt x="1214" y="206"/>
                  </a:lnTo>
                  <a:lnTo>
                    <a:pt x="1214" y="204"/>
                  </a:lnTo>
                  <a:lnTo>
                    <a:pt x="1214" y="202"/>
                  </a:lnTo>
                  <a:lnTo>
                    <a:pt x="1216" y="202"/>
                  </a:lnTo>
                  <a:lnTo>
                    <a:pt x="1216" y="200"/>
                  </a:lnTo>
                  <a:lnTo>
                    <a:pt x="1220" y="198"/>
                  </a:lnTo>
                  <a:lnTo>
                    <a:pt x="1222" y="196"/>
                  </a:lnTo>
                  <a:lnTo>
                    <a:pt x="1222" y="194"/>
                  </a:lnTo>
                  <a:lnTo>
                    <a:pt x="1224" y="194"/>
                  </a:lnTo>
                  <a:lnTo>
                    <a:pt x="1224" y="192"/>
                  </a:lnTo>
                  <a:lnTo>
                    <a:pt x="1224" y="190"/>
                  </a:lnTo>
                  <a:lnTo>
                    <a:pt x="1222" y="190"/>
                  </a:lnTo>
                  <a:lnTo>
                    <a:pt x="1222" y="188"/>
                  </a:lnTo>
                  <a:lnTo>
                    <a:pt x="1220" y="188"/>
                  </a:lnTo>
                  <a:lnTo>
                    <a:pt x="1216" y="186"/>
                  </a:lnTo>
                  <a:lnTo>
                    <a:pt x="1214" y="186"/>
                  </a:lnTo>
                  <a:lnTo>
                    <a:pt x="1212" y="186"/>
                  </a:lnTo>
                  <a:lnTo>
                    <a:pt x="1208" y="186"/>
                  </a:lnTo>
                  <a:lnTo>
                    <a:pt x="1206" y="186"/>
                  </a:lnTo>
                  <a:lnTo>
                    <a:pt x="1200" y="186"/>
                  </a:lnTo>
                  <a:lnTo>
                    <a:pt x="1198" y="188"/>
                  </a:lnTo>
                  <a:lnTo>
                    <a:pt x="1196" y="188"/>
                  </a:lnTo>
                  <a:lnTo>
                    <a:pt x="1194" y="188"/>
                  </a:lnTo>
                  <a:lnTo>
                    <a:pt x="1192" y="188"/>
                  </a:lnTo>
                  <a:lnTo>
                    <a:pt x="1192" y="186"/>
                  </a:lnTo>
                  <a:lnTo>
                    <a:pt x="1190" y="186"/>
                  </a:lnTo>
                  <a:lnTo>
                    <a:pt x="1188" y="186"/>
                  </a:lnTo>
                  <a:lnTo>
                    <a:pt x="1186" y="188"/>
                  </a:lnTo>
                  <a:lnTo>
                    <a:pt x="1182" y="190"/>
                  </a:lnTo>
                  <a:lnTo>
                    <a:pt x="1180" y="192"/>
                  </a:lnTo>
                  <a:lnTo>
                    <a:pt x="1178" y="192"/>
                  </a:lnTo>
                  <a:lnTo>
                    <a:pt x="1176" y="192"/>
                  </a:lnTo>
                  <a:lnTo>
                    <a:pt x="1174" y="192"/>
                  </a:lnTo>
                  <a:lnTo>
                    <a:pt x="1172" y="190"/>
                  </a:lnTo>
                  <a:lnTo>
                    <a:pt x="1170" y="190"/>
                  </a:lnTo>
                  <a:lnTo>
                    <a:pt x="1168" y="190"/>
                  </a:lnTo>
                  <a:lnTo>
                    <a:pt x="1166" y="190"/>
                  </a:lnTo>
                  <a:lnTo>
                    <a:pt x="1162" y="190"/>
                  </a:lnTo>
                  <a:lnTo>
                    <a:pt x="1160" y="188"/>
                  </a:lnTo>
                  <a:lnTo>
                    <a:pt x="1158" y="188"/>
                  </a:lnTo>
                  <a:lnTo>
                    <a:pt x="1156" y="188"/>
                  </a:lnTo>
                  <a:lnTo>
                    <a:pt x="1154" y="186"/>
                  </a:lnTo>
                  <a:lnTo>
                    <a:pt x="1152" y="188"/>
                  </a:lnTo>
                  <a:lnTo>
                    <a:pt x="1150" y="188"/>
                  </a:lnTo>
                  <a:lnTo>
                    <a:pt x="1148" y="190"/>
                  </a:lnTo>
                  <a:lnTo>
                    <a:pt x="1146" y="192"/>
                  </a:lnTo>
                  <a:lnTo>
                    <a:pt x="1146" y="194"/>
                  </a:lnTo>
                  <a:lnTo>
                    <a:pt x="1146" y="196"/>
                  </a:lnTo>
                  <a:lnTo>
                    <a:pt x="1146" y="198"/>
                  </a:lnTo>
                  <a:lnTo>
                    <a:pt x="1148" y="198"/>
                  </a:lnTo>
                  <a:lnTo>
                    <a:pt x="1150" y="198"/>
                  </a:lnTo>
                  <a:lnTo>
                    <a:pt x="1152" y="198"/>
                  </a:lnTo>
                  <a:lnTo>
                    <a:pt x="1152" y="200"/>
                  </a:lnTo>
                  <a:lnTo>
                    <a:pt x="1150" y="200"/>
                  </a:lnTo>
                  <a:lnTo>
                    <a:pt x="1148" y="202"/>
                  </a:lnTo>
                  <a:lnTo>
                    <a:pt x="1146" y="204"/>
                  </a:lnTo>
                  <a:lnTo>
                    <a:pt x="1144" y="206"/>
                  </a:lnTo>
                  <a:lnTo>
                    <a:pt x="1144" y="208"/>
                  </a:lnTo>
                  <a:lnTo>
                    <a:pt x="1144" y="210"/>
                  </a:lnTo>
                  <a:lnTo>
                    <a:pt x="1146" y="210"/>
                  </a:lnTo>
                  <a:lnTo>
                    <a:pt x="1146" y="212"/>
                  </a:lnTo>
                  <a:lnTo>
                    <a:pt x="1150" y="212"/>
                  </a:lnTo>
                  <a:lnTo>
                    <a:pt x="1152" y="212"/>
                  </a:lnTo>
                  <a:lnTo>
                    <a:pt x="1154" y="214"/>
                  </a:lnTo>
                  <a:lnTo>
                    <a:pt x="1156" y="214"/>
                  </a:lnTo>
                  <a:lnTo>
                    <a:pt x="1158" y="214"/>
                  </a:lnTo>
                  <a:lnTo>
                    <a:pt x="1156" y="216"/>
                  </a:lnTo>
                  <a:lnTo>
                    <a:pt x="1154" y="218"/>
                  </a:lnTo>
                  <a:lnTo>
                    <a:pt x="1150" y="220"/>
                  </a:lnTo>
                  <a:lnTo>
                    <a:pt x="1148" y="220"/>
                  </a:lnTo>
                  <a:lnTo>
                    <a:pt x="1146" y="220"/>
                  </a:lnTo>
                  <a:lnTo>
                    <a:pt x="1144" y="220"/>
                  </a:lnTo>
                  <a:lnTo>
                    <a:pt x="1140" y="220"/>
                  </a:lnTo>
                  <a:lnTo>
                    <a:pt x="1138" y="220"/>
                  </a:lnTo>
                  <a:lnTo>
                    <a:pt x="1136" y="220"/>
                  </a:lnTo>
                  <a:lnTo>
                    <a:pt x="1134" y="222"/>
                  </a:lnTo>
                  <a:lnTo>
                    <a:pt x="1130" y="226"/>
                  </a:lnTo>
                  <a:lnTo>
                    <a:pt x="1126" y="228"/>
                  </a:lnTo>
                  <a:lnTo>
                    <a:pt x="1122" y="232"/>
                  </a:lnTo>
                  <a:lnTo>
                    <a:pt x="1118" y="232"/>
                  </a:lnTo>
                  <a:lnTo>
                    <a:pt x="1116" y="234"/>
                  </a:lnTo>
                  <a:lnTo>
                    <a:pt x="1112" y="234"/>
                  </a:lnTo>
                  <a:lnTo>
                    <a:pt x="1110" y="234"/>
                  </a:lnTo>
                  <a:lnTo>
                    <a:pt x="1108" y="232"/>
                  </a:lnTo>
                  <a:lnTo>
                    <a:pt x="1106" y="232"/>
                  </a:lnTo>
                  <a:lnTo>
                    <a:pt x="1106" y="230"/>
                  </a:lnTo>
                  <a:lnTo>
                    <a:pt x="1104" y="230"/>
                  </a:lnTo>
                  <a:lnTo>
                    <a:pt x="1104" y="228"/>
                  </a:lnTo>
                  <a:lnTo>
                    <a:pt x="1104" y="224"/>
                  </a:lnTo>
                  <a:lnTo>
                    <a:pt x="1102" y="222"/>
                  </a:lnTo>
                  <a:lnTo>
                    <a:pt x="1102" y="220"/>
                  </a:lnTo>
                  <a:lnTo>
                    <a:pt x="1100" y="220"/>
                  </a:lnTo>
                  <a:lnTo>
                    <a:pt x="1098" y="218"/>
                  </a:lnTo>
                  <a:lnTo>
                    <a:pt x="1096" y="218"/>
                  </a:lnTo>
                  <a:lnTo>
                    <a:pt x="1094" y="218"/>
                  </a:lnTo>
                  <a:lnTo>
                    <a:pt x="1090" y="220"/>
                  </a:lnTo>
                  <a:lnTo>
                    <a:pt x="1088" y="220"/>
                  </a:lnTo>
                  <a:lnTo>
                    <a:pt x="1086" y="220"/>
                  </a:lnTo>
                  <a:lnTo>
                    <a:pt x="1082" y="222"/>
                  </a:lnTo>
                  <a:lnTo>
                    <a:pt x="1080" y="224"/>
                  </a:lnTo>
                  <a:lnTo>
                    <a:pt x="1078" y="226"/>
                  </a:lnTo>
                  <a:lnTo>
                    <a:pt x="1076" y="228"/>
                  </a:lnTo>
                  <a:lnTo>
                    <a:pt x="1074" y="230"/>
                  </a:lnTo>
                  <a:lnTo>
                    <a:pt x="1072" y="230"/>
                  </a:lnTo>
                  <a:lnTo>
                    <a:pt x="1070" y="230"/>
                  </a:lnTo>
                  <a:lnTo>
                    <a:pt x="1064" y="230"/>
                  </a:lnTo>
                  <a:lnTo>
                    <a:pt x="1058" y="232"/>
                  </a:lnTo>
                  <a:lnTo>
                    <a:pt x="1054" y="232"/>
                  </a:lnTo>
                  <a:lnTo>
                    <a:pt x="1052" y="234"/>
                  </a:lnTo>
                  <a:lnTo>
                    <a:pt x="1050" y="236"/>
                  </a:lnTo>
                  <a:lnTo>
                    <a:pt x="1046" y="236"/>
                  </a:lnTo>
                  <a:lnTo>
                    <a:pt x="1044" y="238"/>
                  </a:lnTo>
                  <a:lnTo>
                    <a:pt x="1044" y="240"/>
                  </a:lnTo>
                  <a:lnTo>
                    <a:pt x="1046" y="244"/>
                  </a:lnTo>
                  <a:lnTo>
                    <a:pt x="1048" y="246"/>
                  </a:lnTo>
                  <a:lnTo>
                    <a:pt x="1048" y="248"/>
                  </a:lnTo>
                  <a:lnTo>
                    <a:pt x="1048" y="250"/>
                  </a:lnTo>
                  <a:lnTo>
                    <a:pt x="1046" y="252"/>
                  </a:lnTo>
                  <a:lnTo>
                    <a:pt x="1046" y="254"/>
                  </a:lnTo>
                  <a:lnTo>
                    <a:pt x="1044" y="256"/>
                  </a:lnTo>
                  <a:lnTo>
                    <a:pt x="1042" y="256"/>
                  </a:lnTo>
                  <a:lnTo>
                    <a:pt x="1042" y="254"/>
                  </a:lnTo>
                  <a:lnTo>
                    <a:pt x="1042" y="252"/>
                  </a:lnTo>
                  <a:lnTo>
                    <a:pt x="1042" y="248"/>
                  </a:lnTo>
                  <a:lnTo>
                    <a:pt x="1042" y="246"/>
                  </a:lnTo>
                  <a:lnTo>
                    <a:pt x="1040" y="242"/>
                  </a:lnTo>
                  <a:lnTo>
                    <a:pt x="1040" y="238"/>
                  </a:lnTo>
                  <a:lnTo>
                    <a:pt x="1038" y="238"/>
                  </a:lnTo>
                  <a:lnTo>
                    <a:pt x="1038" y="236"/>
                  </a:lnTo>
                  <a:lnTo>
                    <a:pt x="1038" y="234"/>
                  </a:lnTo>
                  <a:lnTo>
                    <a:pt x="1036" y="232"/>
                  </a:lnTo>
                  <a:lnTo>
                    <a:pt x="1036" y="230"/>
                  </a:lnTo>
                  <a:lnTo>
                    <a:pt x="1032" y="228"/>
                  </a:lnTo>
                  <a:lnTo>
                    <a:pt x="1030" y="226"/>
                  </a:lnTo>
                  <a:lnTo>
                    <a:pt x="1028" y="224"/>
                  </a:lnTo>
                  <a:lnTo>
                    <a:pt x="1026" y="224"/>
                  </a:lnTo>
                  <a:lnTo>
                    <a:pt x="1024" y="226"/>
                  </a:lnTo>
                  <a:lnTo>
                    <a:pt x="1024" y="228"/>
                  </a:lnTo>
                  <a:lnTo>
                    <a:pt x="1024" y="230"/>
                  </a:lnTo>
                  <a:lnTo>
                    <a:pt x="1024" y="232"/>
                  </a:lnTo>
                  <a:lnTo>
                    <a:pt x="1024" y="234"/>
                  </a:lnTo>
                  <a:lnTo>
                    <a:pt x="1022" y="234"/>
                  </a:lnTo>
                  <a:lnTo>
                    <a:pt x="1020" y="234"/>
                  </a:lnTo>
                  <a:lnTo>
                    <a:pt x="1018" y="232"/>
                  </a:lnTo>
                  <a:lnTo>
                    <a:pt x="1016" y="230"/>
                  </a:lnTo>
                  <a:lnTo>
                    <a:pt x="1014" y="230"/>
                  </a:lnTo>
                  <a:lnTo>
                    <a:pt x="1012" y="230"/>
                  </a:lnTo>
                  <a:lnTo>
                    <a:pt x="1010" y="230"/>
                  </a:lnTo>
                  <a:lnTo>
                    <a:pt x="1008" y="232"/>
                  </a:lnTo>
                  <a:lnTo>
                    <a:pt x="1006" y="234"/>
                  </a:lnTo>
                  <a:lnTo>
                    <a:pt x="1004" y="234"/>
                  </a:lnTo>
                  <a:lnTo>
                    <a:pt x="1002" y="236"/>
                  </a:lnTo>
                  <a:lnTo>
                    <a:pt x="1000" y="236"/>
                  </a:lnTo>
                  <a:lnTo>
                    <a:pt x="996" y="238"/>
                  </a:lnTo>
                  <a:lnTo>
                    <a:pt x="992" y="238"/>
                  </a:lnTo>
                  <a:lnTo>
                    <a:pt x="990" y="240"/>
                  </a:lnTo>
                  <a:lnTo>
                    <a:pt x="990" y="242"/>
                  </a:lnTo>
                  <a:lnTo>
                    <a:pt x="988" y="244"/>
                  </a:lnTo>
                  <a:lnTo>
                    <a:pt x="988" y="246"/>
                  </a:lnTo>
                  <a:lnTo>
                    <a:pt x="990" y="246"/>
                  </a:lnTo>
                  <a:lnTo>
                    <a:pt x="990" y="248"/>
                  </a:lnTo>
                  <a:lnTo>
                    <a:pt x="992" y="250"/>
                  </a:lnTo>
                  <a:lnTo>
                    <a:pt x="994" y="250"/>
                  </a:lnTo>
                  <a:lnTo>
                    <a:pt x="996" y="250"/>
                  </a:lnTo>
                  <a:lnTo>
                    <a:pt x="998" y="248"/>
                  </a:lnTo>
                  <a:lnTo>
                    <a:pt x="1002" y="246"/>
                  </a:lnTo>
                  <a:lnTo>
                    <a:pt x="1004" y="244"/>
                  </a:lnTo>
                  <a:lnTo>
                    <a:pt x="1006" y="244"/>
                  </a:lnTo>
                  <a:lnTo>
                    <a:pt x="1006" y="242"/>
                  </a:lnTo>
                  <a:lnTo>
                    <a:pt x="1008" y="242"/>
                  </a:lnTo>
                  <a:lnTo>
                    <a:pt x="1010" y="244"/>
                  </a:lnTo>
                  <a:lnTo>
                    <a:pt x="1010" y="246"/>
                  </a:lnTo>
                  <a:lnTo>
                    <a:pt x="1010" y="248"/>
                  </a:lnTo>
                  <a:lnTo>
                    <a:pt x="1008" y="250"/>
                  </a:lnTo>
                  <a:lnTo>
                    <a:pt x="1006" y="252"/>
                  </a:lnTo>
                  <a:lnTo>
                    <a:pt x="1004" y="254"/>
                  </a:lnTo>
                  <a:lnTo>
                    <a:pt x="1002" y="254"/>
                  </a:lnTo>
                  <a:lnTo>
                    <a:pt x="996" y="254"/>
                  </a:lnTo>
                  <a:lnTo>
                    <a:pt x="992" y="256"/>
                  </a:lnTo>
                  <a:lnTo>
                    <a:pt x="988" y="256"/>
                  </a:lnTo>
                  <a:lnTo>
                    <a:pt x="986" y="256"/>
                  </a:lnTo>
                  <a:lnTo>
                    <a:pt x="984" y="258"/>
                  </a:lnTo>
                  <a:lnTo>
                    <a:pt x="982" y="260"/>
                  </a:lnTo>
                  <a:lnTo>
                    <a:pt x="980" y="262"/>
                  </a:lnTo>
                  <a:lnTo>
                    <a:pt x="978" y="262"/>
                  </a:lnTo>
                  <a:lnTo>
                    <a:pt x="974" y="264"/>
                  </a:lnTo>
                  <a:lnTo>
                    <a:pt x="970" y="264"/>
                  </a:lnTo>
                  <a:lnTo>
                    <a:pt x="966" y="266"/>
                  </a:lnTo>
                  <a:lnTo>
                    <a:pt x="964" y="266"/>
                  </a:lnTo>
                  <a:lnTo>
                    <a:pt x="962" y="266"/>
                  </a:lnTo>
                  <a:lnTo>
                    <a:pt x="960" y="268"/>
                  </a:lnTo>
                  <a:lnTo>
                    <a:pt x="960" y="270"/>
                  </a:lnTo>
                  <a:lnTo>
                    <a:pt x="960" y="272"/>
                  </a:lnTo>
                  <a:lnTo>
                    <a:pt x="962" y="274"/>
                  </a:lnTo>
                  <a:lnTo>
                    <a:pt x="962" y="276"/>
                  </a:lnTo>
                  <a:lnTo>
                    <a:pt x="964" y="278"/>
                  </a:lnTo>
                  <a:lnTo>
                    <a:pt x="964" y="280"/>
                  </a:lnTo>
                  <a:lnTo>
                    <a:pt x="962" y="280"/>
                  </a:lnTo>
                  <a:lnTo>
                    <a:pt x="960" y="280"/>
                  </a:lnTo>
                  <a:lnTo>
                    <a:pt x="958" y="280"/>
                  </a:lnTo>
                  <a:lnTo>
                    <a:pt x="956" y="280"/>
                  </a:lnTo>
                  <a:lnTo>
                    <a:pt x="954" y="282"/>
                  </a:lnTo>
                  <a:lnTo>
                    <a:pt x="952" y="282"/>
                  </a:lnTo>
                  <a:lnTo>
                    <a:pt x="952" y="284"/>
                  </a:lnTo>
                  <a:lnTo>
                    <a:pt x="952" y="286"/>
                  </a:lnTo>
                  <a:lnTo>
                    <a:pt x="950" y="286"/>
                  </a:lnTo>
                  <a:lnTo>
                    <a:pt x="948" y="286"/>
                  </a:lnTo>
                  <a:lnTo>
                    <a:pt x="946" y="286"/>
                  </a:lnTo>
                  <a:lnTo>
                    <a:pt x="946" y="284"/>
                  </a:lnTo>
                  <a:lnTo>
                    <a:pt x="946" y="282"/>
                  </a:lnTo>
                  <a:lnTo>
                    <a:pt x="946" y="280"/>
                  </a:lnTo>
                  <a:lnTo>
                    <a:pt x="948" y="278"/>
                  </a:lnTo>
                  <a:lnTo>
                    <a:pt x="948" y="276"/>
                  </a:lnTo>
                  <a:lnTo>
                    <a:pt x="950" y="272"/>
                  </a:lnTo>
                  <a:lnTo>
                    <a:pt x="952" y="272"/>
                  </a:lnTo>
                  <a:lnTo>
                    <a:pt x="952" y="270"/>
                  </a:lnTo>
                  <a:lnTo>
                    <a:pt x="952" y="268"/>
                  </a:lnTo>
                  <a:lnTo>
                    <a:pt x="950" y="266"/>
                  </a:lnTo>
                  <a:lnTo>
                    <a:pt x="948" y="264"/>
                  </a:lnTo>
                  <a:lnTo>
                    <a:pt x="946" y="264"/>
                  </a:lnTo>
                  <a:lnTo>
                    <a:pt x="946" y="262"/>
                  </a:lnTo>
                  <a:lnTo>
                    <a:pt x="948" y="262"/>
                  </a:lnTo>
                  <a:lnTo>
                    <a:pt x="952" y="262"/>
                  </a:lnTo>
                  <a:lnTo>
                    <a:pt x="954" y="262"/>
                  </a:lnTo>
                  <a:lnTo>
                    <a:pt x="956" y="260"/>
                  </a:lnTo>
                  <a:lnTo>
                    <a:pt x="958" y="258"/>
                  </a:lnTo>
                  <a:lnTo>
                    <a:pt x="962" y="256"/>
                  </a:lnTo>
                  <a:lnTo>
                    <a:pt x="966" y="250"/>
                  </a:lnTo>
                  <a:lnTo>
                    <a:pt x="970" y="244"/>
                  </a:lnTo>
                  <a:lnTo>
                    <a:pt x="974" y="240"/>
                  </a:lnTo>
                  <a:lnTo>
                    <a:pt x="976" y="238"/>
                  </a:lnTo>
                  <a:lnTo>
                    <a:pt x="978" y="238"/>
                  </a:lnTo>
                  <a:lnTo>
                    <a:pt x="982" y="236"/>
                  </a:lnTo>
                  <a:lnTo>
                    <a:pt x="986" y="234"/>
                  </a:lnTo>
                  <a:lnTo>
                    <a:pt x="988" y="232"/>
                  </a:lnTo>
                  <a:lnTo>
                    <a:pt x="990" y="230"/>
                  </a:lnTo>
                  <a:lnTo>
                    <a:pt x="988" y="230"/>
                  </a:lnTo>
                  <a:lnTo>
                    <a:pt x="986" y="228"/>
                  </a:lnTo>
                  <a:lnTo>
                    <a:pt x="984" y="228"/>
                  </a:lnTo>
                  <a:lnTo>
                    <a:pt x="984" y="226"/>
                  </a:lnTo>
                  <a:lnTo>
                    <a:pt x="986" y="226"/>
                  </a:lnTo>
                  <a:lnTo>
                    <a:pt x="988" y="224"/>
                  </a:lnTo>
                  <a:lnTo>
                    <a:pt x="992" y="224"/>
                  </a:lnTo>
                  <a:lnTo>
                    <a:pt x="996" y="222"/>
                  </a:lnTo>
                  <a:lnTo>
                    <a:pt x="998" y="222"/>
                  </a:lnTo>
                  <a:lnTo>
                    <a:pt x="998" y="220"/>
                  </a:lnTo>
                  <a:lnTo>
                    <a:pt x="1000" y="218"/>
                  </a:lnTo>
                  <a:lnTo>
                    <a:pt x="1002" y="216"/>
                  </a:lnTo>
                  <a:lnTo>
                    <a:pt x="1002" y="214"/>
                  </a:lnTo>
                  <a:lnTo>
                    <a:pt x="1004" y="210"/>
                  </a:lnTo>
                  <a:lnTo>
                    <a:pt x="1004" y="208"/>
                  </a:lnTo>
                  <a:lnTo>
                    <a:pt x="1006" y="206"/>
                  </a:lnTo>
                  <a:lnTo>
                    <a:pt x="1006" y="204"/>
                  </a:lnTo>
                  <a:lnTo>
                    <a:pt x="1010" y="204"/>
                  </a:lnTo>
                  <a:lnTo>
                    <a:pt x="1012" y="204"/>
                  </a:lnTo>
                  <a:lnTo>
                    <a:pt x="1012" y="202"/>
                  </a:lnTo>
                  <a:lnTo>
                    <a:pt x="1014" y="202"/>
                  </a:lnTo>
                  <a:lnTo>
                    <a:pt x="1014" y="200"/>
                  </a:lnTo>
                  <a:lnTo>
                    <a:pt x="1014" y="198"/>
                  </a:lnTo>
                  <a:lnTo>
                    <a:pt x="1014" y="196"/>
                  </a:lnTo>
                  <a:lnTo>
                    <a:pt x="1014" y="194"/>
                  </a:lnTo>
                  <a:lnTo>
                    <a:pt x="1014" y="192"/>
                  </a:lnTo>
                  <a:lnTo>
                    <a:pt x="1014" y="190"/>
                  </a:lnTo>
                  <a:lnTo>
                    <a:pt x="1012" y="190"/>
                  </a:lnTo>
                  <a:lnTo>
                    <a:pt x="1010" y="188"/>
                  </a:lnTo>
                  <a:lnTo>
                    <a:pt x="1010" y="186"/>
                  </a:lnTo>
                  <a:lnTo>
                    <a:pt x="1010" y="184"/>
                  </a:lnTo>
                  <a:lnTo>
                    <a:pt x="1008" y="182"/>
                  </a:lnTo>
                  <a:lnTo>
                    <a:pt x="1006" y="180"/>
                  </a:lnTo>
                  <a:lnTo>
                    <a:pt x="1004" y="178"/>
                  </a:lnTo>
                  <a:lnTo>
                    <a:pt x="1004" y="180"/>
                  </a:lnTo>
                  <a:lnTo>
                    <a:pt x="1002" y="180"/>
                  </a:lnTo>
                  <a:lnTo>
                    <a:pt x="1002" y="182"/>
                  </a:lnTo>
                  <a:lnTo>
                    <a:pt x="1000" y="182"/>
                  </a:lnTo>
                  <a:lnTo>
                    <a:pt x="998" y="182"/>
                  </a:lnTo>
                  <a:lnTo>
                    <a:pt x="996" y="180"/>
                  </a:lnTo>
                  <a:lnTo>
                    <a:pt x="994" y="180"/>
                  </a:lnTo>
                  <a:lnTo>
                    <a:pt x="992" y="178"/>
                  </a:lnTo>
                  <a:lnTo>
                    <a:pt x="990" y="176"/>
                  </a:lnTo>
                  <a:lnTo>
                    <a:pt x="990" y="174"/>
                  </a:lnTo>
                  <a:lnTo>
                    <a:pt x="992" y="174"/>
                  </a:lnTo>
                  <a:lnTo>
                    <a:pt x="998" y="174"/>
                  </a:lnTo>
                  <a:lnTo>
                    <a:pt x="1004" y="172"/>
                  </a:lnTo>
                  <a:lnTo>
                    <a:pt x="1006" y="172"/>
                  </a:lnTo>
                  <a:lnTo>
                    <a:pt x="1008" y="172"/>
                  </a:lnTo>
                  <a:lnTo>
                    <a:pt x="1010" y="170"/>
                  </a:lnTo>
                  <a:lnTo>
                    <a:pt x="1010" y="168"/>
                  </a:lnTo>
                  <a:lnTo>
                    <a:pt x="1010" y="166"/>
                  </a:lnTo>
                  <a:lnTo>
                    <a:pt x="1010" y="162"/>
                  </a:lnTo>
                  <a:lnTo>
                    <a:pt x="1010" y="160"/>
                  </a:lnTo>
                  <a:lnTo>
                    <a:pt x="1008" y="158"/>
                  </a:lnTo>
                  <a:lnTo>
                    <a:pt x="1006" y="156"/>
                  </a:lnTo>
                  <a:lnTo>
                    <a:pt x="1004" y="154"/>
                  </a:lnTo>
                  <a:lnTo>
                    <a:pt x="1002" y="152"/>
                  </a:lnTo>
                  <a:lnTo>
                    <a:pt x="998" y="152"/>
                  </a:lnTo>
                  <a:lnTo>
                    <a:pt x="996" y="150"/>
                  </a:lnTo>
                  <a:lnTo>
                    <a:pt x="994" y="150"/>
                  </a:lnTo>
                  <a:lnTo>
                    <a:pt x="992" y="150"/>
                  </a:lnTo>
                  <a:lnTo>
                    <a:pt x="990" y="152"/>
                  </a:lnTo>
                  <a:lnTo>
                    <a:pt x="988" y="152"/>
                  </a:lnTo>
                  <a:lnTo>
                    <a:pt x="986" y="152"/>
                  </a:lnTo>
                  <a:lnTo>
                    <a:pt x="984" y="152"/>
                  </a:lnTo>
                  <a:lnTo>
                    <a:pt x="984" y="150"/>
                  </a:lnTo>
                  <a:lnTo>
                    <a:pt x="982" y="150"/>
                  </a:lnTo>
                  <a:lnTo>
                    <a:pt x="980" y="146"/>
                  </a:lnTo>
                  <a:lnTo>
                    <a:pt x="980" y="144"/>
                  </a:lnTo>
                  <a:lnTo>
                    <a:pt x="978" y="144"/>
                  </a:lnTo>
                  <a:lnTo>
                    <a:pt x="976" y="144"/>
                  </a:lnTo>
                  <a:lnTo>
                    <a:pt x="974" y="144"/>
                  </a:lnTo>
                  <a:lnTo>
                    <a:pt x="972" y="144"/>
                  </a:lnTo>
                  <a:lnTo>
                    <a:pt x="968" y="146"/>
                  </a:lnTo>
                  <a:lnTo>
                    <a:pt x="966" y="148"/>
                  </a:lnTo>
                  <a:lnTo>
                    <a:pt x="962" y="150"/>
                  </a:lnTo>
                  <a:lnTo>
                    <a:pt x="958" y="152"/>
                  </a:lnTo>
                  <a:lnTo>
                    <a:pt x="956" y="152"/>
                  </a:lnTo>
                  <a:lnTo>
                    <a:pt x="952" y="152"/>
                  </a:lnTo>
                  <a:lnTo>
                    <a:pt x="948" y="154"/>
                  </a:lnTo>
                  <a:lnTo>
                    <a:pt x="940" y="154"/>
                  </a:lnTo>
                  <a:lnTo>
                    <a:pt x="936" y="154"/>
                  </a:lnTo>
                  <a:lnTo>
                    <a:pt x="932" y="154"/>
                  </a:lnTo>
                  <a:lnTo>
                    <a:pt x="930" y="156"/>
                  </a:lnTo>
                  <a:lnTo>
                    <a:pt x="926" y="158"/>
                  </a:lnTo>
                  <a:lnTo>
                    <a:pt x="918" y="162"/>
                  </a:lnTo>
                  <a:lnTo>
                    <a:pt x="914" y="164"/>
                  </a:lnTo>
                  <a:lnTo>
                    <a:pt x="910" y="166"/>
                  </a:lnTo>
                  <a:lnTo>
                    <a:pt x="910" y="168"/>
                  </a:lnTo>
                  <a:lnTo>
                    <a:pt x="906" y="172"/>
                  </a:lnTo>
                  <a:lnTo>
                    <a:pt x="904" y="174"/>
                  </a:lnTo>
                  <a:lnTo>
                    <a:pt x="904" y="176"/>
                  </a:lnTo>
                  <a:lnTo>
                    <a:pt x="902" y="174"/>
                  </a:lnTo>
                  <a:lnTo>
                    <a:pt x="904" y="174"/>
                  </a:lnTo>
                  <a:lnTo>
                    <a:pt x="904" y="170"/>
                  </a:lnTo>
                  <a:lnTo>
                    <a:pt x="904" y="168"/>
                  </a:lnTo>
                  <a:lnTo>
                    <a:pt x="904" y="166"/>
                  </a:lnTo>
                  <a:lnTo>
                    <a:pt x="904" y="164"/>
                  </a:lnTo>
                  <a:lnTo>
                    <a:pt x="902" y="162"/>
                  </a:lnTo>
                  <a:lnTo>
                    <a:pt x="900" y="162"/>
                  </a:lnTo>
                  <a:lnTo>
                    <a:pt x="898" y="162"/>
                  </a:lnTo>
                  <a:lnTo>
                    <a:pt x="896" y="164"/>
                  </a:lnTo>
                  <a:lnTo>
                    <a:pt x="894" y="164"/>
                  </a:lnTo>
                  <a:lnTo>
                    <a:pt x="892" y="164"/>
                  </a:lnTo>
                  <a:lnTo>
                    <a:pt x="892" y="162"/>
                  </a:lnTo>
                  <a:lnTo>
                    <a:pt x="890" y="160"/>
                  </a:lnTo>
                  <a:lnTo>
                    <a:pt x="888" y="162"/>
                  </a:lnTo>
                  <a:lnTo>
                    <a:pt x="886" y="162"/>
                  </a:lnTo>
                  <a:lnTo>
                    <a:pt x="884" y="162"/>
                  </a:lnTo>
                  <a:lnTo>
                    <a:pt x="884" y="160"/>
                  </a:lnTo>
                  <a:lnTo>
                    <a:pt x="884" y="158"/>
                  </a:lnTo>
                  <a:lnTo>
                    <a:pt x="886" y="156"/>
                  </a:lnTo>
                  <a:lnTo>
                    <a:pt x="888" y="156"/>
                  </a:lnTo>
                  <a:lnTo>
                    <a:pt x="886" y="154"/>
                  </a:lnTo>
                  <a:lnTo>
                    <a:pt x="886" y="152"/>
                  </a:lnTo>
                  <a:lnTo>
                    <a:pt x="884" y="152"/>
                  </a:lnTo>
                  <a:lnTo>
                    <a:pt x="882" y="150"/>
                  </a:lnTo>
                  <a:lnTo>
                    <a:pt x="882" y="148"/>
                  </a:lnTo>
                  <a:lnTo>
                    <a:pt x="882" y="146"/>
                  </a:lnTo>
                  <a:lnTo>
                    <a:pt x="882" y="144"/>
                  </a:lnTo>
                  <a:lnTo>
                    <a:pt x="884" y="142"/>
                  </a:lnTo>
                  <a:lnTo>
                    <a:pt x="882" y="140"/>
                  </a:lnTo>
                  <a:lnTo>
                    <a:pt x="880" y="140"/>
                  </a:lnTo>
                  <a:lnTo>
                    <a:pt x="878" y="140"/>
                  </a:lnTo>
                  <a:lnTo>
                    <a:pt x="876" y="138"/>
                  </a:lnTo>
                  <a:lnTo>
                    <a:pt x="876" y="136"/>
                  </a:lnTo>
                  <a:lnTo>
                    <a:pt x="874" y="136"/>
                  </a:lnTo>
                  <a:lnTo>
                    <a:pt x="872" y="136"/>
                  </a:lnTo>
                  <a:lnTo>
                    <a:pt x="870" y="136"/>
                  </a:lnTo>
                  <a:lnTo>
                    <a:pt x="868" y="138"/>
                  </a:lnTo>
                  <a:lnTo>
                    <a:pt x="866" y="140"/>
                  </a:lnTo>
                  <a:lnTo>
                    <a:pt x="864" y="142"/>
                  </a:lnTo>
                  <a:lnTo>
                    <a:pt x="864" y="144"/>
                  </a:lnTo>
                  <a:lnTo>
                    <a:pt x="864" y="146"/>
                  </a:lnTo>
                  <a:lnTo>
                    <a:pt x="864" y="148"/>
                  </a:lnTo>
                  <a:lnTo>
                    <a:pt x="864" y="150"/>
                  </a:lnTo>
                  <a:lnTo>
                    <a:pt x="862" y="152"/>
                  </a:lnTo>
                  <a:lnTo>
                    <a:pt x="862" y="154"/>
                  </a:lnTo>
                  <a:lnTo>
                    <a:pt x="860" y="158"/>
                  </a:lnTo>
                  <a:lnTo>
                    <a:pt x="858" y="160"/>
                  </a:lnTo>
                  <a:lnTo>
                    <a:pt x="856" y="166"/>
                  </a:lnTo>
                  <a:lnTo>
                    <a:pt x="856" y="168"/>
                  </a:lnTo>
                  <a:lnTo>
                    <a:pt x="856" y="170"/>
                  </a:lnTo>
                  <a:lnTo>
                    <a:pt x="858" y="172"/>
                  </a:lnTo>
                  <a:lnTo>
                    <a:pt x="860" y="174"/>
                  </a:lnTo>
                  <a:lnTo>
                    <a:pt x="860" y="176"/>
                  </a:lnTo>
                  <a:lnTo>
                    <a:pt x="862" y="178"/>
                  </a:lnTo>
                  <a:lnTo>
                    <a:pt x="862" y="180"/>
                  </a:lnTo>
                  <a:lnTo>
                    <a:pt x="866" y="182"/>
                  </a:lnTo>
                  <a:lnTo>
                    <a:pt x="868" y="184"/>
                  </a:lnTo>
                  <a:lnTo>
                    <a:pt x="870" y="184"/>
                  </a:lnTo>
                  <a:lnTo>
                    <a:pt x="872" y="184"/>
                  </a:lnTo>
                  <a:lnTo>
                    <a:pt x="874" y="182"/>
                  </a:lnTo>
                  <a:lnTo>
                    <a:pt x="876" y="180"/>
                  </a:lnTo>
                  <a:lnTo>
                    <a:pt x="876" y="184"/>
                  </a:lnTo>
                  <a:lnTo>
                    <a:pt x="876" y="188"/>
                  </a:lnTo>
                  <a:lnTo>
                    <a:pt x="874" y="190"/>
                  </a:lnTo>
                  <a:lnTo>
                    <a:pt x="872" y="190"/>
                  </a:lnTo>
                  <a:lnTo>
                    <a:pt x="868" y="192"/>
                  </a:lnTo>
                  <a:lnTo>
                    <a:pt x="866" y="192"/>
                  </a:lnTo>
                  <a:lnTo>
                    <a:pt x="864" y="190"/>
                  </a:lnTo>
                  <a:lnTo>
                    <a:pt x="864" y="188"/>
                  </a:lnTo>
                  <a:lnTo>
                    <a:pt x="862" y="188"/>
                  </a:lnTo>
                  <a:lnTo>
                    <a:pt x="860" y="188"/>
                  </a:lnTo>
                  <a:lnTo>
                    <a:pt x="856" y="190"/>
                  </a:lnTo>
                  <a:lnTo>
                    <a:pt x="854" y="190"/>
                  </a:lnTo>
                  <a:lnTo>
                    <a:pt x="850" y="192"/>
                  </a:lnTo>
                  <a:lnTo>
                    <a:pt x="844" y="192"/>
                  </a:lnTo>
                  <a:lnTo>
                    <a:pt x="840" y="194"/>
                  </a:lnTo>
                  <a:lnTo>
                    <a:pt x="838" y="194"/>
                  </a:lnTo>
                  <a:lnTo>
                    <a:pt x="838" y="196"/>
                  </a:lnTo>
                  <a:lnTo>
                    <a:pt x="838" y="198"/>
                  </a:lnTo>
                  <a:lnTo>
                    <a:pt x="838" y="200"/>
                  </a:lnTo>
                  <a:lnTo>
                    <a:pt x="840" y="200"/>
                  </a:lnTo>
                  <a:lnTo>
                    <a:pt x="842" y="204"/>
                  </a:lnTo>
                  <a:lnTo>
                    <a:pt x="844" y="206"/>
                  </a:lnTo>
                  <a:lnTo>
                    <a:pt x="850" y="210"/>
                  </a:lnTo>
                  <a:lnTo>
                    <a:pt x="852" y="212"/>
                  </a:lnTo>
                  <a:lnTo>
                    <a:pt x="854" y="212"/>
                  </a:lnTo>
                  <a:lnTo>
                    <a:pt x="854" y="214"/>
                  </a:lnTo>
                  <a:lnTo>
                    <a:pt x="852" y="214"/>
                  </a:lnTo>
                  <a:lnTo>
                    <a:pt x="848" y="214"/>
                  </a:lnTo>
                  <a:lnTo>
                    <a:pt x="846" y="212"/>
                  </a:lnTo>
                  <a:lnTo>
                    <a:pt x="844" y="212"/>
                  </a:lnTo>
                  <a:lnTo>
                    <a:pt x="842" y="212"/>
                  </a:lnTo>
                  <a:lnTo>
                    <a:pt x="840" y="214"/>
                  </a:lnTo>
                  <a:lnTo>
                    <a:pt x="838" y="216"/>
                  </a:lnTo>
                  <a:lnTo>
                    <a:pt x="838" y="218"/>
                  </a:lnTo>
                  <a:lnTo>
                    <a:pt x="838" y="220"/>
                  </a:lnTo>
                  <a:lnTo>
                    <a:pt x="836" y="220"/>
                  </a:lnTo>
                  <a:lnTo>
                    <a:pt x="836" y="218"/>
                  </a:lnTo>
                  <a:lnTo>
                    <a:pt x="836" y="216"/>
                  </a:lnTo>
                  <a:lnTo>
                    <a:pt x="836" y="214"/>
                  </a:lnTo>
                  <a:lnTo>
                    <a:pt x="834" y="214"/>
                  </a:lnTo>
                  <a:lnTo>
                    <a:pt x="832" y="214"/>
                  </a:lnTo>
                  <a:lnTo>
                    <a:pt x="830" y="218"/>
                  </a:lnTo>
                  <a:lnTo>
                    <a:pt x="828" y="218"/>
                  </a:lnTo>
                  <a:lnTo>
                    <a:pt x="826" y="220"/>
                  </a:lnTo>
                  <a:lnTo>
                    <a:pt x="826" y="218"/>
                  </a:lnTo>
                  <a:lnTo>
                    <a:pt x="824" y="218"/>
                  </a:lnTo>
                  <a:lnTo>
                    <a:pt x="820" y="216"/>
                  </a:lnTo>
                  <a:lnTo>
                    <a:pt x="820" y="214"/>
                  </a:lnTo>
                  <a:lnTo>
                    <a:pt x="818" y="214"/>
                  </a:lnTo>
                  <a:lnTo>
                    <a:pt x="816" y="214"/>
                  </a:lnTo>
                  <a:lnTo>
                    <a:pt x="814" y="216"/>
                  </a:lnTo>
                  <a:lnTo>
                    <a:pt x="812" y="220"/>
                  </a:lnTo>
                  <a:lnTo>
                    <a:pt x="810" y="220"/>
                  </a:lnTo>
                  <a:lnTo>
                    <a:pt x="808" y="222"/>
                  </a:lnTo>
                  <a:lnTo>
                    <a:pt x="808" y="218"/>
                  </a:lnTo>
                  <a:lnTo>
                    <a:pt x="808" y="216"/>
                  </a:lnTo>
                  <a:lnTo>
                    <a:pt x="808" y="214"/>
                  </a:lnTo>
                  <a:lnTo>
                    <a:pt x="808" y="212"/>
                  </a:lnTo>
                  <a:lnTo>
                    <a:pt x="806" y="212"/>
                  </a:lnTo>
                  <a:lnTo>
                    <a:pt x="804" y="212"/>
                  </a:lnTo>
                  <a:lnTo>
                    <a:pt x="802" y="214"/>
                  </a:lnTo>
                  <a:lnTo>
                    <a:pt x="796" y="216"/>
                  </a:lnTo>
                  <a:lnTo>
                    <a:pt x="792" y="220"/>
                  </a:lnTo>
                  <a:lnTo>
                    <a:pt x="786" y="222"/>
                  </a:lnTo>
                  <a:lnTo>
                    <a:pt x="784" y="224"/>
                  </a:lnTo>
                  <a:lnTo>
                    <a:pt x="782" y="224"/>
                  </a:lnTo>
                  <a:lnTo>
                    <a:pt x="782" y="226"/>
                  </a:lnTo>
                  <a:lnTo>
                    <a:pt x="782" y="228"/>
                  </a:lnTo>
                  <a:lnTo>
                    <a:pt x="782" y="230"/>
                  </a:lnTo>
                  <a:lnTo>
                    <a:pt x="780" y="232"/>
                  </a:lnTo>
                  <a:lnTo>
                    <a:pt x="778" y="234"/>
                  </a:lnTo>
                  <a:lnTo>
                    <a:pt x="776" y="234"/>
                  </a:lnTo>
                  <a:lnTo>
                    <a:pt x="772" y="234"/>
                  </a:lnTo>
                  <a:lnTo>
                    <a:pt x="772" y="236"/>
                  </a:lnTo>
                  <a:lnTo>
                    <a:pt x="770" y="236"/>
                  </a:lnTo>
                  <a:lnTo>
                    <a:pt x="768" y="238"/>
                  </a:lnTo>
                  <a:lnTo>
                    <a:pt x="766" y="238"/>
                  </a:lnTo>
                  <a:lnTo>
                    <a:pt x="766" y="240"/>
                  </a:lnTo>
                  <a:lnTo>
                    <a:pt x="768" y="240"/>
                  </a:lnTo>
                  <a:lnTo>
                    <a:pt x="768" y="242"/>
                  </a:lnTo>
                  <a:lnTo>
                    <a:pt x="766" y="242"/>
                  </a:lnTo>
                  <a:lnTo>
                    <a:pt x="764" y="244"/>
                  </a:lnTo>
                  <a:lnTo>
                    <a:pt x="762" y="244"/>
                  </a:lnTo>
                  <a:lnTo>
                    <a:pt x="758" y="246"/>
                  </a:lnTo>
                  <a:lnTo>
                    <a:pt x="754" y="246"/>
                  </a:lnTo>
                  <a:lnTo>
                    <a:pt x="748" y="246"/>
                  </a:lnTo>
                  <a:lnTo>
                    <a:pt x="746" y="246"/>
                  </a:lnTo>
                  <a:lnTo>
                    <a:pt x="744" y="246"/>
                  </a:lnTo>
                  <a:lnTo>
                    <a:pt x="744" y="248"/>
                  </a:lnTo>
                  <a:lnTo>
                    <a:pt x="742" y="248"/>
                  </a:lnTo>
                  <a:lnTo>
                    <a:pt x="742" y="250"/>
                  </a:lnTo>
                  <a:lnTo>
                    <a:pt x="742" y="252"/>
                  </a:lnTo>
                  <a:lnTo>
                    <a:pt x="740" y="254"/>
                  </a:lnTo>
                  <a:lnTo>
                    <a:pt x="736" y="258"/>
                  </a:lnTo>
                  <a:lnTo>
                    <a:pt x="734" y="258"/>
                  </a:lnTo>
                  <a:lnTo>
                    <a:pt x="734" y="260"/>
                  </a:lnTo>
                  <a:lnTo>
                    <a:pt x="734" y="262"/>
                  </a:lnTo>
                  <a:lnTo>
                    <a:pt x="736" y="264"/>
                  </a:lnTo>
                  <a:lnTo>
                    <a:pt x="738" y="264"/>
                  </a:lnTo>
                  <a:lnTo>
                    <a:pt x="736" y="266"/>
                  </a:lnTo>
                  <a:lnTo>
                    <a:pt x="734" y="268"/>
                  </a:lnTo>
                  <a:lnTo>
                    <a:pt x="730" y="270"/>
                  </a:lnTo>
                  <a:lnTo>
                    <a:pt x="726" y="272"/>
                  </a:lnTo>
                  <a:lnTo>
                    <a:pt x="724" y="274"/>
                  </a:lnTo>
                  <a:lnTo>
                    <a:pt x="722" y="276"/>
                  </a:lnTo>
                  <a:lnTo>
                    <a:pt x="720" y="276"/>
                  </a:lnTo>
                  <a:lnTo>
                    <a:pt x="720" y="278"/>
                  </a:lnTo>
                  <a:lnTo>
                    <a:pt x="720" y="280"/>
                  </a:lnTo>
                  <a:lnTo>
                    <a:pt x="722" y="284"/>
                  </a:lnTo>
                  <a:lnTo>
                    <a:pt x="724" y="288"/>
                  </a:lnTo>
                  <a:lnTo>
                    <a:pt x="724" y="292"/>
                  </a:lnTo>
                  <a:lnTo>
                    <a:pt x="724" y="294"/>
                  </a:lnTo>
                  <a:lnTo>
                    <a:pt x="726" y="296"/>
                  </a:lnTo>
                  <a:lnTo>
                    <a:pt x="728" y="296"/>
                  </a:lnTo>
                  <a:lnTo>
                    <a:pt x="730" y="296"/>
                  </a:lnTo>
                  <a:lnTo>
                    <a:pt x="736" y="296"/>
                  </a:lnTo>
                  <a:lnTo>
                    <a:pt x="738" y="298"/>
                  </a:lnTo>
                  <a:lnTo>
                    <a:pt x="736" y="298"/>
                  </a:lnTo>
                  <a:lnTo>
                    <a:pt x="734" y="300"/>
                  </a:lnTo>
                  <a:lnTo>
                    <a:pt x="732" y="300"/>
                  </a:lnTo>
                  <a:lnTo>
                    <a:pt x="730" y="302"/>
                  </a:lnTo>
                  <a:lnTo>
                    <a:pt x="732" y="302"/>
                  </a:lnTo>
                  <a:lnTo>
                    <a:pt x="736" y="304"/>
                  </a:lnTo>
                  <a:lnTo>
                    <a:pt x="738" y="306"/>
                  </a:lnTo>
                  <a:lnTo>
                    <a:pt x="740" y="308"/>
                  </a:lnTo>
                  <a:lnTo>
                    <a:pt x="740" y="310"/>
                  </a:lnTo>
                  <a:lnTo>
                    <a:pt x="740" y="312"/>
                  </a:lnTo>
                  <a:lnTo>
                    <a:pt x="740" y="314"/>
                  </a:lnTo>
                  <a:lnTo>
                    <a:pt x="740" y="316"/>
                  </a:lnTo>
                  <a:lnTo>
                    <a:pt x="738" y="316"/>
                  </a:lnTo>
                  <a:lnTo>
                    <a:pt x="738" y="318"/>
                  </a:lnTo>
                  <a:lnTo>
                    <a:pt x="736" y="318"/>
                  </a:lnTo>
                  <a:lnTo>
                    <a:pt x="734" y="320"/>
                  </a:lnTo>
                  <a:lnTo>
                    <a:pt x="732" y="322"/>
                  </a:lnTo>
                  <a:lnTo>
                    <a:pt x="730" y="326"/>
                  </a:lnTo>
                  <a:lnTo>
                    <a:pt x="730" y="330"/>
                  </a:lnTo>
                  <a:lnTo>
                    <a:pt x="728" y="330"/>
                  </a:lnTo>
                  <a:lnTo>
                    <a:pt x="726" y="330"/>
                  </a:lnTo>
                  <a:lnTo>
                    <a:pt x="726" y="328"/>
                  </a:lnTo>
                  <a:lnTo>
                    <a:pt x="724" y="328"/>
                  </a:lnTo>
                  <a:lnTo>
                    <a:pt x="726" y="326"/>
                  </a:lnTo>
                  <a:lnTo>
                    <a:pt x="726" y="324"/>
                  </a:lnTo>
                  <a:lnTo>
                    <a:pt x="730" y="320"/>
                  </a:lnTo>
                  <a:lnTo>
                    <a:pt x="730" y="318"/>
                  </a:lnTo>
                  <a:lnTo>
                    <a:pt x="730" y="316"/>
                  </a:lnTo>
                  <a:lnTo>
                    <a:pt x="728" y="314"/>
                  </a:lnTo>
                  <a:lnTo>
                    <a:pt x="728" y="312"/>
                  </a:lnTo>
                  <a:lnTo>
                    <a:pt x="728" y="310"/>
                  </a:lnTo>
                  <a:lnTo>
                    <a:pt x="726" y="310"/>
                  </a:lnTo>
                  <a:lnTo>
                    <a:pt x="724" y="310"/>
                  </a:lnTo>
                  <a:lnTo>
                    <a:pt x="720" y="310"/>
                  </a:lnTo>
                  <a:lnTo>
                    <a:pt x="718" y="310"/>
                  </a:lnTo>
                  <a:lnTo>
                    <a:pt x="716" y="312"/>
                  </a:lnTo>
                  <a:lnTo>
                    <a:pt x="714" y="316"/>
                  </a:lnTo>
                  <a:lnTo>
                    <a:pt x="712" y="318"/>
                  </a:lnTo>
                  <a:lnTo>
                    <a:pt x="712" y="320"/>
                  </a:lnTo>
                  <a:lnTo>
                    <a:pt x="712" y="322"/>
                  </a:lnTo>
                  <a:lnTo>
                    <a:pt x="712" y="324"/>
                  </a:lnTo>
                  <a:lnTo>
                    <a:pt x="710" y="324"/>
                  </a:lnTo>
                  <a:lnTo>
                    <a:pt x="708" y="324"/>
                  </a:lnTo>
                  <a:lnTo>
                    <a:pt x="706" y="322"/>
                  </a:lnTo>
                  <a:lnTo>
                    <a:pt x="704" y="322"/>
                  </a:lnTo>
                  <a:lnTo>
                    <a:pt x="702" y="322"/>
                  </a:lnTo>
                  <a:lnTo>
                    <a:pt x="694" y="326"/>
                  </a:lnTo>
                  <a:lnTo>
                    <a:pt x="692" y="328"/>
                  </a:lnTo>
                  <a:lnTo>
                    <a:pt x="690" y="328"/>
                  </a:lnTo>
                  <a:lnTo>
                    <a:pt x="688" y="328"/>
                  </a:lnTo>
                  <a:lnTo>
                    <a:pt x="686" y="328"/>
                  </a:lnTo>
                  <a:lnTo>
                    <a:pt x="684" y="330"/>
                  </a:lnTo>
                  <a:lnTo>
                    <a:pt x="680" y="330"/>
                  </a:lnTo>
                  <a:lnTo>
                    <a:pt x="676" y="332"/>
                  </a:lnTo>
                  <a:lnTo>
                    <a:pt x="674" y="334"/>
                  </a:lnTo>
                  <a:lnTo>
                    <a:pt x="672" y="334"/>
                  </a:lnTo>
                  <a:lnTo>
                    <a:pt x="670" y="334"/>
                  </a:lnTo>
                  <a:lnTo>
                    <a:pt x="668" y="336"/>
                  </a:lnTo>
                  <a:lnTo>
                    <a:pt x="668" y="338"/>
                  </a:lnTo>
                  <a:lnTo>
                    <a:pt x="668" y="340"/>
                  </a:lnTo>
                  <a:lnTo>
                    <a:pt x="668" y="342"/>
                  </a:lnTo>
                  <a:lnTo>
                    <a:pt x="668" y="344"/>
                  </a:lnTo>
                  <a:lnTo>
                    <a:pt x="670" y="346"/>
                  </a:lnTo>
                  <a:lnTo>
                    <a:pt x="672" y="346"/>
                  </a:lnTo>
                  <a:lnTo>
                    <a:pt x="672" y="348"/>
                  </a:lnTo>
                  <a:lnTo>
                    <a:pt x="670" y="348"/>
                  </a:lnTo>
                  <a:lnTo>
                    <a:pt x="670" y="350"/>
                  </a:lnTo>
                  <a:lnTo>
                    <a:pt x="670" y="352"/>
                  </a:lnTo>
                  <a:lnTo>
                    <a:pt x="672" y="354"/>
                  </a:lnTo>
                  <a:lnTo>
                    <a:pt x="674" y="356"/>
                  </a:lnTo>
                  <a:lnTo>
                    <a:pt x="676" y="356"/>
                  </a:lnTo>
                  <a:lnTo>
                    <a:pt x="676" y="358"/>
                  </a:lnTo>
                  <a:lnTo>
                    <a:pt x="678" y="358"/>
                  </a:lnTo>
                  <a:lnTo>
                    <a:pt x="680" y="360"/>
                  </a:lnTo>
                  <a:lnTo>
                    <a:pt x="680" y="362"/>
                  </a:lnTo>
                  <a:lnTo>
                    <a:pt x="680" y="364"/>
                  </a:lnTo>
                  <a:lnTo>
                    <a:pt x="680" y="366"/>
                  </a:lnTo>
                  <a:lnTo>
                    <a:pt x="682" y="366"/>
                  </a:lnTo>
                  <a:lnTo>
                    <a:pt x="684" y="368"/>
                  </a:lnTo>
                  <a:lnTo>
                    <a:pt x="688" y="370"/>
                  </a:lnTo>
                  <a:lnTo>
                    <a:pt x="692" y="372"/>
                  </a:lnTo>
                  <a:lnTo>
                    <a:pt x="694" y="372"/>
                  </a:lnTo>
                  <a:lnTo>
                    <a:pt x="696" y="372"/>
                  </a:lnTo>
                  <a:lnTo>
                    <a:pt x="700" y="372"/>
                  </a:lnTo>
                  <a:lnTo>
                    <a:pt x="702" y="372"/>
                  </a:lnTo>
                  <a:lnTo>
                    <a:pt x="704" y="374"/>
                  </a:lnTo>
                  <a:lnTo>
                    <a:pt x="706" y="376"/>
                  </a:lnTo>
                  <a:lnTo>
                    <a:pt x="708" y="376"/>
                  </a:lnTo>
                  <a:lnTo>
                    <a:pt x="710" y="374"/>
                  </a:lnTo>
                  <a:lnTo>
                    <a:pt x="712" y="374"/>
                  </a:lnTo>
                  <a:lnTo>
                    <a:pt x="714" y="374"/>
                  </a:lnTo>
                  <a:lnTo>
                    <a:pt x="716" y="374"/>
                  </a:lnTo>
                  <a:lnTo>
                    <a:pt x="716" y="376"/>
                  </a:lnTo>
                  <a:lnTo>
                    <a:pt x="718" y="376"/>
                  </a:lnTo>
                  <a:lnTo>
                    <a:pt x="720" y="378"/>
                  </a:lnTo>
                  <a:lnTo>
                    <a:pt x="720" y="380"/>
                  </a:lnTo>
                  <a:lnTo>
                    <a:pt x="720" y="382"/>
                  </a:lnTo>
                  <a:lnTo>
                    <a:pt x="720" y="384"/>
                  </a:lnTo>
                  <a:lnTo>
                    <a:pt x="720" y="386"/>
                  </a:lnTo>
                  <a:lnTo>
                    <a:pt x="720" y="388"/>
                  </a:lnTo>
                  <a:lnTo>
                    <a:pt x="718" y="390"/>
                  </a:lnTo>
                  <a:lnTo>
                    <a:pt x="720" y="392"/>
                  </a:lnTo>
                  <a:lnTo>
                    <a:pt x="722" y="392"/>
                  </a:lnTo>
                  <a:lnTo>
                    <a:pt x="724" y="396"/>
                  </a:lnTo>
                  <a:lnTo>
                    <a:pt x="728" y="402"/>
                  </a:lnTo>
                  <a:lnTo>
                    <a:pt x="730" y="404"/>
                  </a:lnTo>
                  <a:lnTo>
                    <a:pt x="730" y="406"/>
                  </a:lnTo>
                  <a:lnTo>
                    <a:pt x="732" y="408"/>
                  </a:lnTo>
                  <a:lnTo>
                    <a:pt x="732" y="410"/>
                  </a:lnTo>
                  <a:lnTo>
                    <a:pt x="730" y="412"/>
                  </a:lnTo>
                  <a:lnTo>
                    <a:pt x="730" y="414"/>
                  </a:lnTo>
                  <a:lnTo>
                    <a:pt x="730" y="416"/>
                  </a:lnTo>
                  <a:lnTo>
                    <a:pt x="730" y="418"/>
                  </a:lnTo>
                  <a:lnTo>
                    <a:pt x="730" y="420"/>
                  </a:lnTo>
                  <a:lnTo>
                    <a:pt x="730" y="422"/>
                  </a:lnTo>
                  <a:lnTo>
                    <a:pt x="730" y="424"/>
                  </a:lnTo>
                  <a:lnTo>
                    <a:pt x="732" y="428"/>
                  </a:lnTo>
                  <a:lnTo>
                    <a:pt x="734" y="430"/>
                  </a:lnTo>
                  <a:lnTo>
                    <a:pt x="734" y="432"/>
                  </a:lnTo>
                  <a:lnTo>
                    <a:pt x="736" y="434"/>
                  </a:lnTo>
                  <a:lnTo>
                    <a:pt x="738" y="434"/>
                  </a:lnTo>
                  <a:lnTo>
                    <a:pt x="740" y="434"/>
                  </a:lnTo>
                  <a:lnTo>
                    <a:pt x="742" y="436"/>
                  </a:lnTo>
                  <a:lnTo>
                    <a:pt x="744" y="436"/>
                  </a:lnTo>
                  <a:lnTo>
                    <a:pt x="744" y="438"/>
                  </a:lnTo>
                  <a:lnTo>
                    <a:pt x="744" y="440"/>
                  </a:lnTo>
                  <a:lnTo>
                    <a:pt x="744" y="442"/>
                  </a:lnTo>
                  <a:lnTo>
                    <a:pt x="742" y="444"/>
                  </a:lnTo>
                  <a:lnTo>
                    <a:pt x="740" y="444"/>
                  </a:lnTo>
                  <a:lnTo>
                    <a:pt x="738" y="442"/>
                  </a:lnTo>
                  <a:lnTo>
                    <a:pt x="736" y="442"/>
                  </a:lnTo>
                  <a:lnTo>
                    <a:pt x="734" y="440"/>
                  </a:lnTo>
                  <a:lnTo>
                    <a:pt x="734" y="438"/>
                  </a:lnTo>
                  <a:lnTo>
                    <a:pt x="732" y="436"/>
                  </a:lnTo>
                  <a:lnTo>
                    <a:pt x="730" y="434"/>
                  </a:lnTo>
                  <a:lnTo>
                    <a:pt x="728" y="430"/>
                  </a:lnTo>
                  <a:lnTo>
                    <a:pt x="726" y="430"/>
                  </a:lnTo>
                  <a:lnTo>
                    <a:pt x="724" y="428"/>
                  </a:lnTo>
                  <a:lnTo>
                    <a:pt x="720" y="428"/>
                  </a:lnTo>
                  <a:lnTo>
                    <a:pt x="718" y="428"/>
                  </a:lnTo>
                  <a:lnTo>
                    <a:pt x="716" y="426"/>
                  </a:lnTo>
                  <a:lnTo>
                    <a:pt x="716" y="424"/>
                  </a:lnTo>
                  <a:lnTo>
                    <a:pt x="714" y="422"/>
                  </a:lnTo>
                  <a:lnTo>
                    <a:pt x="712" y="418"/>
                  </a:lnTo>
                  <a:lnTo>
                    <a:pt x="710" y="414"/>
                  </a:lnTo>
                  <a:lnTo>
                    <a:pt x="710" y="412"/>
                  </a:lnTo>
                  <a:lnTo>
                    <a:pt x="708" y="410"/>
                  </a:lnTo>
                  <a:lnTo>
                    <a:pt x="708" y="404"/>
                  </a:lnTo>
                  <a:lnTo>
                    <a:pt x="710" y="402"/>
                  </a:lnTo>
                  <a:lnTo>
                    <a:pt x="710" y="398"/>
                  </a:lnTo>
                  <a:lnTo>
                    <a:pt x="712" y="394"/>
                  </a:lnTo>
                  <a:lnTo>
                    <a:pt x="714" y="390"/>
                  </a:lnTo>
                  <a:lnTo>
                    <a:pt x="714" y="388"/>
                  </a:lnTo>
                  <a:lnTo>
                    <a:pt x="714" y="386"/>
                  </a:lnTo>
                  <a:lnTo>
                    <a:pt x="714" y="384"/>
                  </a:lnTo>
                  <a:lnTo>
                    <a:pt x="714" y="382"/>
                  </a:lnTo>
                  <a:lnTo>
                    <a:pt x="710" y="382"/>
                  </a:lnTo>
                  <a:lnTo>
                    <a:pt x="708" y="382"/>
                  </a:lnTo>
                  <a:lnTo>
                    <a:pt x="704" y="384"/>
                  </a:lnTo>
                  <a:lnTo>
                    <a:pt x="700" y="386"/>
                  </a:lnTo>
                  <a:lnTo>
                    <a:pt x="694" y="388"/>
                  </a:lnTo>
                  <a:lnTo>
                    <a:pt x="692" y="388"/>
                  </a:lnTo>
                  <a:lnTo>
                    <a:pt x="690" y="388"/>
                  </a:lnTo>
                  <a:lnTo>
                    <a:pt x="688" y="386"/>
                  </a:lnTo>
                  <a:lnTo>
                    <a:pt x="688" y="384"/>
                  </a:lnTo>
                  <a:lnTo>
                    <a:pt x="686" y="382"/>
                  </a:lnTo>
                  <a:lnTo>
                    <a:pt x="684" y="382"/>
                  </a:lnTo>
                  <a:lnTo>
                    <a:pt x="682" y="380"/>
                  </a:lnTo>
                  <a:lnTo>
                    <a:pt x="678" y="380"/>
                  </a:lnTo>
                  <a:lnTo>
                    <a:pt x="674" y="378"/>
                  </a:lnTo>
                  <a:lnTo>
                    <a:pt x="670" y="376"/>
                  </a:lnTo>
                  <a:lnTo>
                    <a:pt x="666" y="374"/>
                  </a:lnTo>
                  <a:lnTo>
                    <a:pt x="660" y="370"/>
                  </a:lnTo>
                  <a:lnTo>
                    <a:pt x="656" y="368"/>
                  </a:lnTo>
                  <a:lnTo>
                    <a:pt x="654" y="368"/>
                  </a:lnTo>
                  <a:lnTo>
                    <a:pt x="652" y="366"/>
                  </a:lnTo>
                  <a:lnTo>
                    <a:pt x="650" y="366"/>
                  </a:lnTo>
                  <a:lnTo>
                    <a:pt x="648" y="366"/>
                  </a:lnTo>
                  <a:lnTo>
                    <a:pt x="644" y="366"/>
                  </a:lnTo>
                  <a:lnTo>
                    <a:pt x="642" y="368"/>
                  </a:lnTo>
                  <a:lnTo>
                    <a:pt x="640" y="370"/>
                  </a:lnTo>
                  <a:lnTo>
                    <a:pt x="640" y="372"/>
                  </a:lnTo>
                  <a:lnTo>
                    <a:pt x="642" y="374"/>
                  </a:lnTo>
                  <a:lnTo>
                    <a:pt x="644" y="374"/>
                  </a:lnTo>
                  <a:lnTo>
                    <a:pt x="646" y="374"/>
                  </a:lnTo>
                  <a:lnTo>
                    <a:pt x="648" y="374"/>
                  </a:lnTo>
                  <a:lnTo>
                    <a:pt x="648" y="376"/>
                  </a:lnTo>
                  <a:lnTo>
                    <a:pt x="650" y="376"/>
                  </a:lnTo>
                  <a:lnTo>
                    <a:pt x="650" y="378"/>
                  </a:lnTo>
                  <a:lnTo>
                    <a:pt x="648" y="380"/>
                  </a:lnTo>
                  <a:lnTo>
                    <a:pt x="646" y="380"/>
                  </a:lnTo>
                  <a:lnTo>
                    <a:pt x="644" y="380"/>
                  </a:lnTo>
                  <a:lnTo>
                    <a:pt x="646" y="384"/>
                  </a:lnTo>
                  <a:lnTo>
                    <a:pt x="648" y="386"/>
                  </a:lnTo>
                  <a:lnTo>
                    <a:pt x="652" y="390"/>
                  </a:lnTo>
                  <a:lnTo>
                    <a:pt x="652" y="392"/>
                  </a:lnTo>
                  <a:lnTo>
                    <a:pt x="652" y="394"/>
                  </a:lnTo>
                  <a:lnTo>
                    <a:pt x="650" y="394"/>
                  </a:lnTo>
                  <a:lnTo>
                    <a:pt x="648" y="394"/>
                  </a:lnTo>
                  <a:lnTo>
                    <a:pt x="646" y="392"/>
                  </a:lnTo>
                  <a:lnTo>
                    <a:pt x="644" y="390"/>
                  </a:lnTo>
                  <a:lnTo>
                    <a:pt x="642" y="390"/>
                  </a:lnTo>
                  <a:lnTo>
                    <a:pt x="640" y="388"/>
                  </a:lnTo>
                  <a:lnTo>
                    <a:pt x="634" y="386"/>
                  </a:lnTo>
                  <a:lnTo>
                    <a:pt x="632" y="386"/>
                  </a:lnTo>
                  <a:lnTo>
                    <a:pt x="630" y="386"/>
                  </a:lnTo>
                  <a:lnTo>
                    <a:pt x="630" y="388"/>
                  </a:lnTo>
                  <a:lnTo>
                    <a:pt x="628" y="388"/>
                  </a:lnTo>
                  <a:lnTo>
                    <a:pt x="626" y="390"/>
                  </a:lnTo>
                  <a:lnTo>
                    <a:pt x="624" y="392"/>
                  </a:lnTo>
                  <a:lnTo>
                    <a:pt x="624" y="394"/>
                  </a:lnTo>
                  <a:lnTo>
                    <a:pt x="622" y="394"/>
                  </a:lnTo>
                  <a:lnTo>
                    <a:pt x="622" y="396"/>
                  </a:lnTo>
                  <a:lnTo>
                    <a:pt x="622" y="398"/>
                  </a:lnTo>
                  <a:lnTo>
                    <a:pt x="622" y="400"/>
                  </a:lnTo>
                  <a:lnTo>
                    <a:pt x="622" y="402"/>
                  </a:lnTo>
                  <a:lnTo>
                    <a:pt x="624" y="404"/>
                  </a:lnTo>
                  <a:lnTo>
                    <a:pt x="626" y="404"/>
                  </a:lnTo>
                  <a:lnTo>
                    <a:pt x="626" y="406"/>
                  </a:lnTo>
                  <a:lnTo>
                    <a:pt x="628" y="408"/>
                  </a:lnTo>
                  <a:lnTo>
                    <a:pt x="632" y="408"/>
                  </a:lnTo>
                  <a:lnTo>
                    <a:pt x="634" y="408"/>
                  </a:lnTo>
                  <a:lnTo>
                    <a:pt x="636" y="408"/>
                  </a:lnTo>
                  <a:lnTo>
                    <a:pt x="640" y="408"/>
                  </a:lnTo>
                  <a:lnTo>
                    <a:pt x="642" y="408"/>
                  </a:lnTo>
                  <a:lnTo>
                    <a:pt x="644" y="408"/>
                  </a:lnTo>
                  <a:lnTo>
                    <a:pt x="646" y="410"/>
                  </a:lnTo>
                  <a:lnTo>
                    <a:pt x="648" y="410"/>
                  </a:lnTo>
                  <a:lnTo>
                    <a:pt x="652" y="412"/>
                  </a:lnTo>
                  <a:lnTo>
                    <a:pt x="654" y="412"/>
                  </a:lnTo>
                  <a:lnTo>
                    <a:pt x="656" y="412"/>
                  </a:lnTo>
                  <a:lnTo>
                    <a:pt x="658" y="410"/>
                  </a:lnTo>
                  <a:lnTo>
                    <a:pt x="660" y="408"/>
                  </a:lnTo>
                  <a:lnTo>
                    <a:pt x="660" y="406"/>
                  </a:lnTo>
                  <a:lnTo>
                    <a:pt x="662" y="406"/>
                  </a:lnTo>
                  <a:lnTo>
                    <a:pt x="664" y="406"/>
                  </a:lnTo>
                  <a:lnTo>
                    <a:pt x="666" y="408"/>
                  </a:lnTo>
                  <a:lnTo>
                    <a:pt x="668" y="410"/>
                  </a:lnTo>
                  <a:lnTo>
                    <a:pt x="668" y="412"/>
                  </a:lnTo>
                  <a:lnTo>
                    <a:pt x="668" y="414"/>
                  </a:lnTo>
                  <a:lnTo>
                    <a:pt x="670" y="416"/>
                  </a:lnTo>
                  <a:lnTo>
                    <a:pt x="672" y="418"/>
                  </a:lnTo>
                  <a:lnTo>
                    <a:pt x="672" y="420"/>
                  </a:lnTo>
                  <a:lnTo>
                    <a:pt x="672" y="422"/>
                  </a:lnTo>
                  <a:lnTo>
                    <a:pt x="670" y="422"/>
                  </a:lnTo>
                  <a:lnTo>
                    <a:pt x="668" y="422"/>
                  </a:lnTo>
                  <a:lnTo>
                    <a:pt x="666" y="422"/>
                  </a:lnTo>
                  <a:lnTo>
                    <a:pt x="666" y="420"/>
                  </a:lnTo>
                  <a:lnTo>
                    <a:pt x="664" y="420"/>
                  </a:lnTo>
                  <a:lnTo>
                    <a:pt x="662" y="418"/>
                  </a:lnTo>
                  <a:lnTo>
                    <a:pt x="660" y="418"/>
                  </a:lnTo>
                  <a:lnTo>
                    <a:pt x="658" y="418"/>
                  </a:lnTo>
                  <a:lnTo>
                    <a:pt x="656" y="420"/>
                  </a:lnTo>
                  <a:lnTo>
                    <a:pt x="654" y="420"/>
                  </a:lnTo>
                  <a:lnTo>
                    <a:pt x="652" y="420"/>
                  </a:lnTo>
                  <a:lnTo>
                    <a:pt x="650" y="420"/>
                  </a:lnTo>
                  <a:lnTo>
                    <a:pt x="646" y="418"/>
                  </a:lnTo>
                  <a:lnTo>
                    <a:pt x="642" y="416"/>
                  </a:lnTo>
                  <a:lnTo>
                    <a:pt x="638" y="412"/>
                  </a:lnTo>
                  <a:lnTo>
                    <a:pt x="634" y="412"/>
                  </a:lnTo>
                  <a:lnTo>
                    <a:pt x="630" y="410"/>
                  </a:lnTo>
                  <a:lnTo>
                    <a:pt x="626" y="410"/>
                  </a:lnTo>
                  <a:lnTo>
                    <a:pt x="622" y="408"/>
                  </a:lnTo>
                  <a:lnTo>
                    <a:pt x="620" y="408"/>
                  </a:lnTo>
                  <a:lnTo>
                    <a:pt x="618" y="406"/>
                  </a:lnTo>
                  <a:lnTo>
                    <a:pt x="616" y="404"/>
                  </a:lnTo>
                  <a:lnTo>
                    <a:pt x="616" y="402"/>
                  </a:lnTo>
                  <a:lnTo>
                    <a:pt x="616" y="398"/>
                  </a:lnTo>
                  <a:lnTo>
                    <a:pt x="616" y="396"/>
                  </a:lnTo>
                  <a:lnTo>
                    <a:pt x="618" y="392"/>
                  </a:lnTo>
                  <a:lnTo>
                    <a:pt x="620" y="386"/>
                  </a:lnTo>
                  <a:lnTo>
                    <a:pt x="620" y="382"/>
                  </a:lnTo>
                  <a:lnTo>
                    <a:pt x="620" y="380"/>
                  </a:lnTo>
                  <a:lnTo>
                    <a:pt x="618" y="376"/>
                  </a:lnTo>
                  <a:lnTo>
                    <a:pt x="616" y="374"/>
                  </a:lnTo>
                  <a:lnTo>
                    <a:pt x="614" y="372"/>
                  </a:lnTo>
                  <a:lnTo>
                    <a:pt x="612" y="370"/>
                  </a:lnTo>
                  <a:lnTo>
                    <a:pt x="610" y="370"/>
                  </a:lnTo>
                  <a:lnTo>
                    <a:pt x="608" y="368"/>
                  </a:lnTo>
                  <a:lnTo>
                    <a:pt x="606" y="368"/>
                  </a:lnTo>
                  <a:lnTo>
                    <a:pt x="604" y="368"/>
                  </a:lnTo>
                  <a:lnTo>
                    <a:pt x="604" y="370"/>
                  </a:lnTo>
                  <a:lnTo>
                    <a:pt x="604" y="372"/>
                  </a:lnTo>
                  <a:lnTo>
                    <a:pt x="604" y="376"/>
                  </a:lnTo>
                  <a:lnTo>
                    <a:pt x="604" y="378"/>
                  </a:lnTo>
                  <a:lnTo>
                    <a:pt x="606" y="380"/>
                  </a:lnTo>
                  <a:lnTo>
                    <a:pt x="608" y="382"/>
                  </a:lnTo>
                  <a:lnTo>
                    <a:pt x="608" y="384"/>
                  </a:lnTo>
                  <a:lnTo>
                    <a:pt x="608" y="386"/>
                  </a:lnTo>
                  <a:lnTo>
                    <a:pt x="608" y="388"/>
                  </a:lnTo>
                  <a:lnTo>
                    <a:pt x="608" y="390"/>
                  </a:lnTo>
                  <a:lnTo>
                    <a:pt x="606" y="392"/>
                  </a:lnTo>
                  <a:lnTo>
                    <a:pt x="606" y="394"/>
                  </a:lnTo>
                  <a:lnTo>
                    <a:pt x="604" y="396"/>
                  </a:lnTo>
                  <a:lnTo>
                    <a:pt x="600" y="402"/>
                  </a:lnTo>
                  <a:lnTo>
                    <a:pt x="598" y="404"/>
                  </a:lnTo>
                  <a:lnTo>
                    <a:pt x="598" y="406"/>
                  </a:lnTo>
                  <a:lnTo>
                    <a:pt x="598" y="414"/>
                  </a:lnTo>
                  <a:lnTo>
                    <a:pt x="598" y="416"/>
                  </a:lnTo>
                  <a:lnTo>
                    <a:pt x="598" y="418"/>
                  </a:lnTo>
                  <a:lnTo>
                    <a:pt x="598" y="420"/>
                  </a:lnTo>
                  <a:lnTo>
                    <a:pt x="600" y="420"/>
                  </a:lnTo>
                  <a:lnTo>
                    <a:pt x="604" y="422"/>
                  </a:lnTo>
                  <a:lnTo>
                    <a:pt x="608" y="426"/>
                  </a:lnTo>
                  <a:lnTo>
                    <a:pt x="610" y="428"/>
                  </a:lnTo>
                  <a:lnTo>
                    <a:pt x="612" y="428"/>
                  </a:lnTo>
                  <a:lnTo>
                    <a:pt x="616" y="434"/>
                  </a:lnTo>
                  <a:lnTo>
                    <a:pt x="618" y="436"/>
                  </a:lnTo>
                  <a:lnTo>
                    <a:pt x="620" y="438"/>
                  </a:lnTo>
                  <a:lnTo>
                    <a:pt x="620" y="440"/>
                  </a:lnTo>
                  <a:lnTo>
                    <a:pt x="620" y="442"/>
                  </a:lnTo>
                  <a:lnTo>
                    <a:pt x="620" y="444"/>
                  </a:lnTo>
                  <a:lnTo>
                    <a:pt x="618" y="444"/>
                  </a:lnTo>
                  <a:lnTo>
                    <a:pt x="614" y="448"/>
                  </a:lnTo>
                  <a:lnTo>
                    <a:pt x="612" y="450"/>
                  </a:lnTo>
                  <a:lnTo>
                    <a:pt x="612" y="452"/>
                  </a:lnTo>
                  <a:lnTo>
                    <a:pt x="614" y="454"/>
                  </a:lnTo>
                  <a:lnTo>
                    <a:pt x="616" y="456"/>
                  </a:lnTo>
                  <a:lnTo>
                    <a:pt x="618" y="458"/>
                  </a:lnTo>
                  <a:lnTo>
                    <a:pt x="618" y="460"/>
                  </a:lnTo>
                  <a:lnTo>
                    <a:pt x="620" y="460"/>
                  </a:lnTo>
                  <a:lnTo>
                    <a:pt x="620" y="462"/>
                  </a:lnTo>
                  <a:lnTo>
                    <a:pt x="620" y="464"/>
                  </a:lnTo>
                  <a:lnTo>
                    <a:pt x="620" y="468"/>
                  </a:lnTo>
                  <a:lnTo>
                    <a:pt x="620" y="470"/>
                  </a:lnTo>
                  <a:lnTo>
                    <a:pt x="620" y="472"/>
                  </a:lnTo>
                  <a:lnTo>
                    <a:pt x="620" y="474"/>
                  </a:lnTo>
                  <a:lnTo>
                    <a:pt x="620" y="476"/>
                  </a:lnTo>
                  <a:lnTo>
                    <a:pt x="622" y="476"/>
                  </a:lnTo>
                  <a:lnTo>
                    <a:pt x="624" y="478"/>
                  </a:lnTo>
                  <a:lnTo>
                    <a:pt x="626" y="478"/>
                  </a:lnTo>
                  <a:lnTo>
                    <a:pt x="628" y="478"/>
                  </a:lnTo>
                  <a:lnTo>
                    <a:pt x="630" y="478"/>
                  </a:lnTo>
                  <a:lnTo>
                    <a:pt x="632" y="478"/>
                  </a:lnTo>
                  <a:lnTo>
                    <a:pt x="634" y="478"/>
                  </a:lnTo>
                  <a:lnTo>
                    <a:pt x="636" y="478"/>
                  </a:lnTo>
                  <a:lnTo>
                    <a:pt x="640" y="476"/>
                  </a:lnTo>
                  <a:lnTo>
                    <a:pt x="642" y="476"/>
                  </a:lnTo>
                  <a:lnTo>
                    <a:pt x="644" y="474"/>
                  </a:lnTo>
                  <a:lnTo>
                    <a:pt x="646" y="472"/>
                  </a:lnTo>
                  <a:lnTo>
                    <a:pt x="648" y="470"/>
                  </a:lnTo>
                  <a:lnTo>
                    <a:pt x="650" y="470"/>
                  </a:lnTo>
                  <a:lnTo>
                    <a:pt x="652" y="470"/>
                  </a:lnTo>
                  <a:lnTo>
                    <a:pt x="654" y="470"/>
                  </a:lnTo>
                  <a:lnTo>
                    <a:pt x="656" y="470"/>
                  </a:lnTo>
                  <a:lnTo>
                    <a:pt x="658" y="472"/>
                  </a:lnTo>
                  <a:lnTo>
                    <a:pt x="660" y="472"/>
                  </a:lnTo>
                  <a:lnTo>
                    <a:pt x="662" y="472"/>
                  </a:lnTo>
                  <a:lnTo>
                    <a:pt x="664" y="474"/>
                  </a:lnTo>
                  <a:lnTo>
                    <a:pt x="666" y="474"/>
                  </a:lnTo>
                  <a:lnTo>
                    <a:pt x="668" y="476"/>
                  </a:lnTo>
                  <a:lnTo>
                    <a:pt x="676" y="482"/>
                  </a:lnTo>
                  <a:lnTo>
                    <a:pt x="680" y="486"/>
                  </a:lnTo>
                  <a:lnTo>
                    <a:pt x="682" y="490"/>
                  </a:lnTo>
                  <a:lnTo>
                    <a:pt x="684" y="492"/>
                  </a:lnTo>
                  <a:lnTo>
                    <a:pt x="684" y="494"/>
                  </a:lnTo>
                  <a:lnTo>
                    <a:pt x="686" y="500"/>
                  </a:lnTo>
                  <a:lnTo>
                    <a:pt x="690" y="502"/>
                  </a:lnTo>
                  <a:lnTo>
                    <a:pt x="692" y="508"/>
                  </a:lnTo>
                  <a:lnTo>
                    <a:pt x="694" y="510"/>
                  </a:lnTo>
                  <a:lnTo>
                    <a:pt x="696" y="510"/>
                  </a:lnTo>
                  <a:lnTo>
                    <a:pt x="700" y="512"/>
                  </a:lnTo>
                  <a:lnTo>
                    <a:pt x="702" y="510"/>
                  </a:lnTo>
                  <a:lnTo>
                    <a:pt x="704" y="510"/>
                  </a:lnTo>
                  <a:lnTo>
                    <a:pt x="706" y="512"/>
                  </a:lnTo>
                  <a:lnTo>
                    <a:pt x="708" y="512"/>
                  </a:lnTo>
                  <a:lnTo>
                    <a:pt x="710" y="514"/>
                  </a:lnTo>
                  <a:lnTo>
                    <a:pt x="712" y="514"/>
                  </a:lnTo>
                  <a:lnTo>
                    <a:pt x="714" y="516"/>
                  </a:lnTo>
                  <a:lnTo>
                    <a:pt x="716" y="516"/>
                  </a:lnTo>
                  <a:lnTo>
                    <a:pt x="716" y="518"/>
                  </a:lnTo>
                  <a:lnTo>
                    <a:pt x="714" y="518"/>
                  </a:lnTo>
                  <a:lnTo>
                    <a:pt x="710" y="518"/>
                  </a:lnTo>
                  <a:lnTo>
                    <a:pt x="708" y="518"/>
                  </a:lnTo>
                  <a:lnTo>
                    <a:pt x="702" y="518"/>
                  </a:lnTo>
                  <a:lnTo>
                    <a:pt x="696" y="516"/>
                  </a:lnTo>
                  <a:lnTo>
                    <a:pt x="694" y="516"/>
                  </a:lnTo>
                  <a:lnTo>
                    <a:pt x="692" y="516"/>
                  </a:lnTo>
                  <a:lnTo>
                    <a:pt x="688" y="514"/>
                  </a:lnTo>
                  <a:lnTo>
                    <a:pt x="684" y="512"/>
                  </a:lnTo>
                  <a:lnTo>
                    <a:pt x="684" y="510"/>
                  </a:lnTo>
                  <a:lnTo>
                    <a:pt x="682" y="508"/>
                  </a:lnTo>
                  <a:lnTo>
                    <a:pt x="682" y="506"/>
                  </a:lnTo>
                  <a:lnTo>
                    <a:pt x="682" y="504"/>
                  </a:lnTo>
                  <a:lnTo>
                    <a:pt x="682" y="500"/>
                  </a:lnTo>
                  <a:lnTo>
                    <a:pt x="680" y="498"/>
                  </a:lnTo>
                  <a:lnTo>
                    <a:pt x="680" y="496"/>
                  </a:lnTo>
                  <a:lnTo>
                    <a:pt x="678" y="496"/>
                  </a:lnTo>
                  <a:lnTo>
                    <a:pt x="674" y="492"/>
                  </a:lnTo>
                  <a:lnTo>
                    <a:pt x="672" y="490"/>
                  </a:lnTo>
                  <a:lnTo>
                    <a:pt x="670" y="486"/>
                  </a:lnTo>
                  <a:lnTo>
                    <a:pt x="668" y="484"/>
                  </a:lnTo>
                  <a:lnTo>
                    <a:pt x="664" y="482"/>
                  </a:lnTo>
                  <a:lnTo>
                    <a:pt x="660" y="480"/>
                  </a:lnTo>
                  <a:lnTo>
                    <a:pt x="658" y="478"/>
                  </a:lnTo>
                  <a:lnTo>
                    <a:pt x="656" y="478"/>
                  </a:lnTo>
                  <a:lnTo>
                    <a:pt x="654" y="478"/>
                  </a:lnTo>
                  <a:lnTo>
                    <a:pt x="652" y="480"/>
                  </a:lnTo>
                  <a:lnTo>
                    <a:pt x="650" y="482"/>
                  </a:lnTo>
                  <a:lnTo>
                    <a:pt x="646" y="484"/>
                  </a:lnTo>
                  <a:lnTo>
                    <a:pt x="644" y="486"/>
                  </a:lnTo>
                  <a:lnTo>
                    <a:pt x="642" y="490"/>
                  </a:lnTo>
                  <a:lnTo>
                    <a:pt x="642" y="492"/>
                  </a:lnTo>
                  <a:lnTo>
                    <a:pt x="642" y="494"/>
                  </a:lnTo>
                  <a:lnTo>
                    <a:pt x="642" y="498"/>
                  </a:lnTo>
                  <a:lnTo>
                    <a:pt x="642" y="500"/>
                  </a:lnTo>
                  <a:lnTo>
                    <a:pt x="642" y="504"/>
                  </a:lnTo>
                  <a:lnTo>
                    <a:pt x="642" y="506"/>
                  </a:lnTo>
                  <a:lnTo>
                    <a:pt x="642" y="508"/>
                  </a:lnTo>
                  <a:lnTo>
                    <a:pt x="644" y="512"/>
                  </a:lnTo>
                  <a:lnTo>
                    <a:pt x="644" y="514"/>
                  </a:lnTo>
                  <a:lnTo>
                    <a:pt x="646" y="514"/>
                  </a:lnTo>
                  <a:lnTo>
                    <a:pt x="648" y="516"/>
                  </a:lnTo>
                  <a:lnTo>
                    <a:pt x="648" y="518"/>
                  </a:lnTo>
                  <a:lnTo>
                    <a:pt x="648" y="520"/>
                  </a:lnTo>
                  <a:lnTo>
                    <a:pt x="646" y="522"/>
                  </a:lnTo>
                  <a:lnTo>
                    <a:pt x="642" y="528"/>
                  </a:lnTo>
                  <a:lnTo>
                    <a:pt x="640" y="532"/>
                  </a:lnTo>
                  <a:lnTo>
                    <a:pt x="638" y="534"/>
                  </a:lnTo>
                  <a:lnTo>
                    <a:pt x="638" y="536"/>
                  </a:lnTo>
                  <a:lnTo>
                    <a:pt x="638" y="540"/>
                  </a:lnTo>
                  <a:lnTo>
                    <a:pt x="638" y="544"/>
                  </a:lnTo>
                  <a:lnTo>
                    <a:pt x="636" y="544"/>
                  </a:lnTo>
                  <a:lnTo>
                    <a:pt x="636" y="548"/>
                  </a:lnTo>
                  <a:lnTo>
                    <a:pt x="634" y="550"/>
                  </a:lnTo>
                  <a:lnTo>
                    <a:pt x="632" y="552"/>
                  </a:lnTo>
                  <a:lnTo>
                    <a:pt x="630" y="552"/>
                  </a:lnTo>
                  <a:lnTo>
                    <a:pt x="630" y="554"/>
                  </a:lnTo>
                  <a:lnTo>
                    <a:pt x="626" y="554"/>
                  </a:lnTo>
                  <a:lnTo>
                    <a:pt x="622" y="554"/>
                  </a:lnTo>
                  <a:lnTo>
                    <a:pt x="620" y="554"/>
                  </a:lnTo>
                  <a:lnTo>
                    <a:pt x="620" y="556"/>
                  </a:lnTo>
                  <a:lnTo>
                    <a:pt x="620" y="558"/>
                  </a:lnTo>
                  <a:lnTo>
                    <a:pt x="620" y="560"/>
                  </a:lnTo>
                  <a:lnTo>
                    <a:pt x="618" y="560"/>
                  </a:lnTo>
                  <a:lnTo>
                    <a:pt x="616" y="558"/>
                  </a:lnTo>
                  <a:lnTo>
                    <a:pt x="614" y="558"/>
                  </a:lnTo>
                  <a:lnTo>
                    <a:pt x="614" y="556"/>
                  </a:lnTo>
                  <a:lnTo>
                    <a:pt x="612" y="556"/>
                  </a:lnTo>
                  <a:lnTo>
                    <a:pt x="608" y="554"/>
                  </a:lnTo>
                  <a:lnTo>
                    <a:pt x="606" y="554"/>
                  </a:lnTo>
                  <a:lnTo>
                    <a:pt x="604" y="554"/>
                  </a:lnTo>
                  <a:lnTo>
                    <a:pt x="602" y="554"/>
                  </a:lnTo>
                  <a:lnTo>
                    <a:pt x="600" y="556"/>
                  </a:lnTo>
                  <a:lnTo>
                    <a:pt x="596" y="558"/>
                  </a:lnTo>
                  <a:lnTo>
                    <a:pt x="594" y="558"/>
                  </a:lnTo>
                  <a:lnTo>
                    <a:pt x="592" y="558"/>
                  </a:lnTo>
                  <a:lnTo>
                    <a:pt x="590" y="556"/>
                  </a:lnTo>
                  <a:lnTo>
                    <a:pt x="588" y="554"/>
                  </a:lnTo>
                  <a:lnTo>
                    <a:pt x="586" y="552"/>
                  </a:lnTo>
                  <a:lnTo>
                    <a:pt x="586" y="550"/>
                  </a:lnTo>
                  <a:lnTo>
                    <a:pt x="588" y="550"/>
                  </a:lnTo>
                  <a:lnTo>
                    <a:pt x="590" y="552"/>
                  </a:lnTo>
                  <a:lnTo>
                    <a:pt x="592" y="552"/>
                  </a:lnTo>
                  <a:lnTo>
                    <a:pt x="594" y="554"/>
                  </a:lnTo>
                  <a:lnTo>
                    <a:pt x="596" y="554"/>
                  </a:lnTo>
                  <a:lnTo>
                    <a:pt x="598" y="552"/>
                  </a:lnTo>
                  <a:lnTo>
                    <a:pt x="600" y="552"/>
                  </a:lnTo>
                  <a:lnTo>
                    <a:pt x="600" y="550"/>
                  </a:lnTo>
                  <a:lnTo>
                    <a:pt x="600" y="548"/>
                  </a:lnTo>
                  <a:lnTo>
                    <a:pt x="598" y="546"/>
                  </a:lnTo>
                  <a:lnTo>
                    <a:pt x="598" y="544"/>
                  </a:lnTo>
                  <a:lnTo>
                    <a:pt x="600" y="544"/>
                  </a:lnTo>
                  <a:lnTo>
                    <a:pt x="602" y="546"/>
                  </a:lnTo>
                  <a:lnTo>
                    <a:pt x="604" y="546"/>
                  </a:lnTo>
                  <a:lnTo>
                    <a:pt x="606" y="546"/>
                  </a:lnTo>
                  <a:lnTo>
                    <a:pt x="608" y="548"/>
                  </a:lnTo>
                  <a:lnTo>
                    <a:pt x="610" y="548"/>
                  </a:lnTo>
                  <a:lnTo>
                    <a:pt x="612" y="548"/>
                  </a:lnTo>
                  <a:lnTo>
                    <a:pt x="614" y="546"/>
                  </a:lnTo>
                  <a:lnTo>
                    <a:pt x="616" y="544"/>
                  </a:lnTo>
                  <a:lnTo>
                    <a:pt x="616" y="542"/>
                  </a:lnTo>
                  <a:lnTo>
                    <a:pt x="618" y="538"/>
                  </a:lnTo>
                  <a:lnTo>
                    <a:pt x="618" y="536"/>
                  </a:lnTo>
                  <a:lnTo>
                    <a:pt x="620" y="534"/>
                  </a:lnTo>
                  <a:lnTo>
                    <a:pt x="618" y="530"/>
                  </a:lnTo>
                  <a:lnTo>
                    <a:pt x="620" y="526"/>
                  </a:lnTo>
                  <a:lnTo>
                    <a:pt x="620" y="524"/>
                  </a:lnTo>
                  <a:lnTo>
                    <a:pt x="620" y="522"/>
                  </a:lnTo>
                  <a:lnTo>
                    <a:pt x="620" y="520"/>
                  </a:lnTo>
                  <a:lnTo>
                    <a:pt x="622" y="518"/>
                  </a:lnTo>
                  <a:lnTo>
                    <a:pt x="624" y="516"/>
                  </a:lnTo>
                  <a:lnTo>
                    <a:pt x="626" y="516"/>
                  </a:lnTo>
                  <a:lnTo>
                    <a:pt x="626" y="514"/>
                  </a:lnTo>
                  <a:lnTo>
                    <a:pt x="628" y="514"/>
                  </a:lnTo>
                  <a:lnTo>
                    <a:pt x="628" y="512"/>
                  </a:lnTo>
                  <a:lnTo>
                    <a:pt x="628" y="510"/>
                  </a:lnTo>
                  <a:lnTo>
                    <a:pt x="628" y="508"/>
                  </a:lnTo>
                  <a:lnTo>
                    <a:pt x="628" y="506"/>
                  </a:lnTo>
                  <a:lnTo>
                    <a:pt x="626" y="504"/>
                  </a:lnTo>
                  <a:lnTo>
                    <a:pt x="626" y="502"/>
                  </a:lnTo>
                  <a:lnTo>
                    <a:pt x="624" y="500"/>
                  </a:lnTo>
                  <a:lnTo>
                    <a:pt x="626" y="498"/>
                  </a:lnTo>
                  <a:lnTo>
                    <a:pt x="626" y="496"/>
                  </a:lnTo>
                  <a:lnTo>
                    <a:pt x="626" y="494"/>
                  </a:lnTo>
                  <a:lnTo>
                    <a:pt x="628" y="492"/>
                  </a:lnTo>
                  <a:lnTo>
                    <a:pt x="628" y="490"/>
                  </a:lnTo>
                  <a:lnTo>
                    <a:pt x="628" y="488"/>
                  </a:lnTo>
                  <a:lnTo>
                    <a:pt x="626" y="486"/>
                  </a:lnTo>
                  <a:lnTo>
                    <a:pt x="624" y="486"/>
                  </a:lnTo>
                  <a:lnTo>
                    <a:pt x="622" y="486"/>
                  </a:lnTo>
                  <a:lnTo>
                    <a:pt x="620" y="486"/>
                  </a:lnTo>
                  <a:lnTo>
                    <a:pt x="620" y="484"/>
                  </a:lnTo>
                  <a:lnTo>
                    <a:pt x="618" y="482"/>
                  </a:lnTo>
                  <a:lnTo>
                    <a:pt x="618" y="478"/>
                  </a:lnTo>
                  <a:lnTo>
                    <a:pt x="614" y="474"/>
                  </a:lnTo>
                  <a:lnTo>
                    <a:pt x="612" y="470"/>
                  </a:lnTo>
                  <a:lnTo>
                    <a:pt x="608" y="466"/>
                  </a:lnTo>
                  <a:lnTo>
                    <a:pt x="604" y="462"/>
                  </a:lnTo>
                  <a:lnTo>
                    <a:pt x="604" y="460"/>
                  </a:lnTo>
                  <a:lnTo>
                    <a:pt x="604" y="458"/>
                  </a:lnTo>
                  <a:lnTo>
                    <a:pt x="602" y="452"/>
                  </a:lnTo>
                  <a:lnTo>
                    <a:pt x="602" y="450"/>
                  </a:lnTo>
                  <a:lnTo>
                    <a:pt x="602" y="448"/>
                  </a:lnTo>
                  <a:lnTo>
                    <a:pt x="600" y="446"/>
                  </a:lnTo>
                  <a:lnTo>
                    <a:pt x="598" y="446"/>
                  </a:lnTo>
                  <a:lnTo>
                    <a:pt x="598" y="444"/>
                  </a:lnTo>
                  <a:lnTo>
                    <a:pt x="598" y="442"/>
                  </a:lnTo>
                  <a:lnTo>
                    <a:pt x="600" y="440"/>
                  </a:lnTo>
                  <a:lnTo>
                    <a:pt x="600" y="438"/>
                  </a:lnTo>
                  <a:lnTo>
                    <a:pt x="598" y="436"/>
                  </a:lnTo>
                  <a:lnTo>
                    <a:pt x="598" y="434"/>
                  </a:lnTo>
                  <a:lnTo>
                    <a:pt x="598" y="432"/>
                  </a:lnTo>
                  <a:lnTo>
                    <a:pt x="596" y="428"/>
                  </a:lnTo>
                  <a:lnTo>
                    <a:pt x="596" y="426"/>
                  </a:lnTo>
                  <a:lnTo>
                    <a:pt x="594" y="424"/>
                  </a:lnTo>
                  <a:lnTo>
                    <a:pt x="592" y="422"/>
                  </a:lnTo>
                  <a:lnTo>
                    <a:pt x="588" y="422"/>
                  </a:lnTo>
                  <a:lnTo>
                    <a:pt x="584" y="420"/>
                  </a:lnTo>
                  <a:lnTo>
                    <a:pt x="584" y="418"/>
                  </a:lnTo>
                  <a:lnTo>
                    <a:pt x="584" y="416"/>
                  </a:lnTo>
                  <a:lnTo>
                    <a:pt x="584" y="410"/>
                  </a:lnTo>
                  <a:lnTo>
                    <a:pt x="584" y="404"/>
                  </a:lnTo>
                  <a:lnTo>
                    <a:pt x="584" y="402"/>
                  </a:lnTo>
                  <a:lnTo>
                    <a:pt x="584" y="400"/>
                  </a:lnTo>
                  <a:lnTo>
                    <a:pt x="584" y="398"/>
                  </a:lnTo>
                  <a:lnTo>
                    <a:pt x="584" y="396"/>
                  </a:lnTo>
                  <a:lnTo>
                    <a:pt x="584" y="394"/>
                  </a:lnTo>
                  <a:lnTo>
                    <a:pt x="584" y="392"/>
                  </a:lnTo>
                  <a:lnTo>
                    <a:pt x="578" y="390"/>
                  </a:lnTo>
                  <a:lnTo>
                    <a:pt x="576" y="386"/>
                  </a:lnTo>
                  <a:lnTo>
                    <a:pt x="574" y="384"/>
                  </a:lnTo>
                  <a:lnTo>
                    <a:pt x="572" y="384"/>
                  </a:lnTo>
                  <a:lnTo>
                    <a:pt x="572" y="382"/>
                  </a:lnTo>
                  <a:lnTo>
                    <a:pt x="570" y="382"/>
                  </a:lnTo>
                  <a:lnTo>
                    <a:pt x="564" y="382"/>
                  </a:lnTo>
                  <a:lnTo>
                    <a:pt x="560" y="380"/>
                  </a:lnTo>
                  <a:lnTo>
                    <a:pt x="554" y="380"/>
                  </a:lnTo>
                  <a:lnTo>
                    <a:pt x="552" y="380"/>
                  </a:lnTo>
                  <a:lnTo>
                    <a:pt x="550" y="380"/>
                  </a:lnTo>
                  <a:lnTo>
                    <a:pt x="548" y="382"/>
                  </a:lnTo>
                  <a:lnTo>
                    <a:pt x="546" y="382"/>
                  </a:lnTo>
                  <a:lnTo>
                    <a:pt x="546" y="380"/>
                  </a:lnTo>
                  <a:lnTo>
                    <a:pt x="544" y="380"/>
                  </a:lnTo>
                  <a:lnTo>
                    <a:pt x="540" y="380"/>
                  </a:lnTo>
                  <a:lnTo>
                    <a:pt x="538" y="380"/>
                  </a:lnTo>
                  <a:lnTo>
                    <a:pt x="536" y="382"/>
                  </a:lnTo>
                  <a:lnTo>
                    <a:pt x="536" y="386"/>
                  </a:lnTo>
                  <a:lnTo>
                    <a:pt x="536" y="390"/>
                  </a:lnTo>
                  <a:lnTo>
                    <a:pt x="534" y="396"/>
                  </a:lnTo>
                  <a:lnTo>
                    <a:pt x="534" y="398"/>
                  </a:lnTo>
                  <a:lnTo>
                    <a:pt x="534" y="400"/>
                  </a:lnTo>
                  <a:lnTo>
                    <a:pt x="534" y="402"/>
                  </a:lnTo>
                  <a:lnTo>
                    <a:pt x="536" y="404"/>
                  </a:lnTo>
                  <a:lnTo>
                    <a:pt x="538" y="408"/>
                  </a:lnTo>
                  <a:lnTo>
                    <a:pt x="540" y="412"/>
                  </a:lnTo>
                  <a:lnTo>
                    <a:pt x="540" y="414"/>
                  </a:lnTo>
                  <a:lnTo>
                    <a:pt x="540" y="416"/>
                  </a:lnTo>
                  <a:lnTo>
                    <a:pt x="540" y="418"/>
                  </a:lnTo>
                  <a:lnTo>
                    <a:pt x="540" y="422"/>
                  </a:lnTo>
                  <a:lnTo>
                    <a:pt x="538" y="424"/>
                  </a:lnTo>
                  <a:lnTo>
                    <a:pt x="538" y="426"/>
                  </a:lnTo>
                  <a:lnTo>
                    <a:pt x="536" y="426"/>
                  </a:lnTo>
                  <a:lnTo>
                    <a:pt x="534" y="426"/>
                  </a:lnTo>
                  <a:lnTo>
                    <a:pt x="532" y="426"/>
                  </a:lnTo>
                  <a:lnTo>
                    <a:pt x="530" y="426"/>
                  </a:lnTo>
                  <a:lnTo>
                    <a:pt x="528" y="426"/>
                  </a:lnTo>
                  <a:lnTo>
                    <a:pt x="526" y="426"/>
                  </a:lnTo>
                  <a:lnTo>
                    <a:pt x="524" y="428"/>
                  </a:lnTo>
                  <a:lnTo>
                    <a:pt x="522" y="428"/>
                  </a:lnTo>
                  <a:lnTo>
                    <a:pt x="522" y="430"/>
                  </a:lnTo>
                  <a:lnTo>
                    <a:pt x="520" y="430"/>
                  </a:lnTo>
                  <a:lnTo>
                    <a:pt x="520" y="432"/>
                  </a:lnTo>
                  <a:lnTo>
                    <a:pt x="518" y="434"/>
                  </a:lnTo>
                  <a:lnTo>
                    <a:pt x="518" y="436"/>
                  </a:lnTo>
                  <a:lnTo>
                    <a:pt x="518" y="440"/>
                  </a:lnTo>
                  <a:lnTo>
                    <a:pt x="520" y="440"/>
                  </a:lnTo>
                  <a:lnTo>
                    <a:pt x="520" y="442"/>
                  </a:lnTo>
                  <a:lnTo>
                    <a:pt x="522" y="442"/>
                  </a:lnTo>
                  <a:lnTo>
                    <a:pt x="524" y="442"/>
                  </a:lnTo>
                  <a:lnTo>
                    <a:pt x="526" y="446"/>
                  </a:lnTo>
                  <a:lnTo>
                    <a:pt x="528" y="448"/>
                  </a:lnTo>
                  <a:lnTo>
                    <a:pt x="530" y="452"/>
                  </a:lnTo>
                  <a:lnTo>
                    <a:pt x="532" y="454"/>
                  </a:lnTo>
                  <a:lnTo>
                    <a:pt x="532" y="456"/>
                  </a:lnTo>
                  <a:lnTo>
                    <a:pt x="528" y="458"/>
                  </a:lnTo>
                  <a:lnTo>
                    <a:pt x="526" y="458"/>
                  </a:lnTo>
                  <a:lnTo>
                    <a:pt x="526" y="460"/>
                  </a:lnTo>
                  <a:lnTo>
                    <a:pt x="526" y="462"/>
                  </a:lnTo>
                  <a:lnTo>
                    <a:pt x="526" y="464"/>
                  </a:lnTo>
                  <a:lnTo>
                    <a:pt x="526" y="468"/>
                  </a:lnTo>
                  <a:lnTo>
                    <a:pt x="526" y="470"/>
                  </a:lnTo>
                  <a:lnTo>
                    <a:pt x="526" y="472"/>
                  </a:lnTo>
                  <a:lnTo>
                    <a:pt x="526" y="474"/>
                  </a:lnTo>
                  <a:lnTo>
                    <a:pt x="528" y="476"/>
                  </a:lnTo>
                  <a:lnTo>
                    <a:pt x="530" y="478"/>
                  </a:lnTo>
                  <a:lnTo>
                    <a:pt x="532" y="478"/>
                  </a:lnTo>
                  <a:lnTo>
                    <a:pt x="534" y="476"/>
                  </a:lnTo>
                  <a:lnTo>
                    <a:pt x="536" y="474"/>
                  </a:lnTo>
                  <a:lnTo>
                    <a:pt x="538" y="474"/>
                  </a:lnTo>
                  <a:lnTo>
                    <a:pt x="540" y="476"/>
                  </a:lnTo>
                  <a:lnTo>
                    <a:pt x="542" y="476"/>
                  </a:lnTo>
                  <a:lnTo>
                    <a:pt x="544" y="478"/>
                  </a:lnTo>
                  <a:lnTo>
                    <a:pt x="546" y="478"/>
                  </a:lnTo>
                  <a:lnTo>
                    <a:pt x="548" y="480"/>
                  </a:lnTo>
                  <a:lnTo>
                    <a:pt x="548" y="482"/>
                  </a:lnTo>
                  <a:lnTo>
                    <a:pt x="550" y="484"/>
                  </a:lnTo>
                  <a:lnTo>
                    <a:pt x="552" y="488"/>
                  </a:lnTo>
                  <a:lnTo>
                    <a:pt x="556" y="490"/>
                  </a:lnTo>
                  <a:lnTo>
                    <a:pt x="558" y="494"/>
                  </a:lnTo>
                  <a:lnTo>
                    <a:pt x="560" y="496"/>
                  </a:lnTo>
                  <a:lnTo>
                    <a:pt x="562" y="500"/>
                  </a:lnTo>
                  <a:lnTo>
                    <a:pt x="564" y="502"/>
                  </a:lnTo>
                  <a:lnTo>
                    <a:pt x="564" y="506"/>
                  </a:lnTo>
                  <a:lnTo>
                    <a:pt x="564" y="508"/>
                  </a:lnTo>
                  <a:lnTo>
                    <a:pt x="564" y="510"/>
                  </a:lnTo>
                  <a:lnTo>
                    <a:pt x="564" y="512"/>
                  </a:lnTo>
                  <a:lnTo>
                    <a:pt x="564" y="514"/>
                  </a:lnTo>
                  <a:lnTo>
                    <a:pt x="562" y="514"/>
                  </a:lnTo>
                  <a:lnTo>
                    <a:pt x="560" y="514"/>
                  </a:lnTo>
                  <a:lnTo>
                    <a:pt x="558" y="512"/>
                  </a:lnTo>
                  <a:lnTo>
                    <a:pt x="558" y="510"/>
                  </a:lnTo>
                  <a:lnTo>
                    <a:pt x="554" y="508"/>
                  </a:lnTo>
                  <a:lnTo>
                    <a:pt x="552" y="506"/>
                  </a:lnTo>
                  <a:lnTo>
                    <a:pt x="548" y="502"/>
                  </a:lnTo>
                  <a:lnTo>
                    <a:pt x="546" y="500"/>
                  </a:lnTo>
                  <a:lnTo>
                    <a:pt x="544" y="500"/>
                  </a:lnTo>
                  <a:lnTo>
                    <a:pt x="542" y="500"/>
                  </a:lnTo>
                  <a:lnTo>
                    <a:pt x="540" y="500"/>
                  </a:lnTo>
                  <a:lnTo>
                    <a:pt x="536" y="500"/>
                  </a:lnTo>
                  <a:lnTo>
                    <a:pt x="532" y="498"/>
                  </a:lnTo>
                  <a:lnTo>
                    <a:pt x="526" y="498"/>
                  </a:lnTo>
                  <a:lnTo>
                    <a:pt x="524" y="498"/>
                  </a:lnTo>
                  <a:lnTo>
                    <a:pt x="520" y="498"/>
                  </a:lnTo>
                  <a:lnTo>
                    <a:pt x="518" y="496"/>
                  </a:lnTo>
                  <a:lnTo>
                    <a:pt x="516" y="496"/>
                  </a:lnTo>
                  <a:lnTo>
                    <a:pt x="514" y="494"/>
                  </a:lnTo>
                  <a:lnTo>
                    <a:pt x="512" y="494"/>
                  </a:lnTo>
                  <a:lnTo>
                    <a:pt x="512" y="492"/>
                  </a:lnTo>
                  <a:lnTo>
                    <a:pt x="510" y="490"/>
                  </a:lnTo>
                  <a:lnTo>
                    <a:pt x="508" y="490"/>
                  </a:lnTo>
                  <a:lnTo>
                    <a:pt x="504" y="488"/>
                  </a:lnTo>
                  <a:lnTo>
                    <a:pt x="500" y="488"/>
                  </a:lnTo>
                  <a:lnTo>
                    <a:pt x="498" y="486"/>
                  </a:lnTo>
                  <a:lnTo>
                    <a:pt x="494" y="484"/>
                  </a:lnTo>
                  <a:lnTo>
                    <a:pt x="492" y="484"/>
                  </a:lnTo>
                  <a:lnTo>
                    <a:pt x="490" y="484"/>
                  </a:lnTo>
                  <a:lnTo>
                    <a:pt x="488" y="486"/>
                  </a:lnTo>
                  <a:lnTo>
                    <a:pt x="486" y="488"/>
                  </a:lnTo>
                  <a:lnTo>
                    <a:pt x="486" y="490"/>
                  </a:lnTo>
                  <a:lnTo>
                    <a:pt x="484" y="490"/>
                  </a:lnTo>
                  <a:lnTo>
                    <a:pt x="482" y="490"/>
                  </a:lnTo>
                  <a:lnTo>
                    <a:pt x="480" y="490"/>
                  </a:lnTo>
                  <a:lnTo>
                    <a:pt x="478" y="488"/>
                  </a:lnTo>
                  <a:lnTo>
                    <a:pt x="476" y="488"/>
                  </a:lnTo>
                  <a:lnTo>
                    <a:pt x="474" y="488"/>
                  </a:lnTo>
                  <a:lnTo>
                    <a:pt x="470" y="486"/>
                  </a:lnTo>
                  <a:lnTo>
                    <a:pt x="468" y="486"/>
                  </a:lnTo>
                  <a:lnTo>
                    <a:pt x="466" y="486"/>
                  </a:lnTo>
                  <a:lnTo>
                    <a:pt x="466" y="488"/>
                  </a:lnTo>
                  <a:lnTo>
                    <a:pt x="466" y="490"/>
                  </a:lnTo>
                  <a:lnTo>
                    <a:pt x="466" y="492"/>
                  </a:lnTo>
                  <a:lnTo>
                    <a:pt x="464" y="492"/>
                  </a:lnTo>
                  <a:lnTo>
                    <a:pt x="462" y="492"/>
                  </a:lnTo>
                  <a:lnTo>
                    <a:pt x="460" y="492"/>
                  </a:lnTo>
                  <a:lnTo>
                    <a:pt x="460" y="494"/>
                  </a:lnTo>
                  <a:lnTo>
                    <a:pt x="458" y="496"/>
                  </a:lnTo>
                  <a:lnTo>
                    <a:pt x="458" y="498"/>
                  </a:lnTo>
                  <a:lnTo>
                    <a:pt x="458" y="500"/>
                  </a:lnTo>
                  <a:lnTo>
                    <a:pt x="460" y="502"/>
                  </a:lnTo>
                  <a:lnTo>
                    <a:pt x="462" y="506"/>
                  </a:lnTo>
                  <a:lnTo>
                    <a:pt x="462" y="510"/>
                  </a:lnTo>
                  <a:lnTo>
                    <a:pt x="464" y="512"/>
                  </a:lnTo>
                  <a:lnTo>
                    <a:pt x="464" y="514"/>
                  </a:lnTo>
                  <a:lnTo>
                    <a:pt x="464" y="516"/>
                  </a:lnTo>
                  <a:lnTo>
                    <a:pt x="462" y="518"/>
                  </a:lnTo>
                  <a:lnTo>
                    <a:pt x="462" y="520"/>
                  </a:lnTo>
                  <a:lnTo>
                    <a:pt x="460" y="520"/>
                  </a:lnTo>
                  <a:lnTo>
                    <a:pt x="458" y="522"/>
                  </a:lnTo>
                  <a:lnTo>
                    <a:pt x="454" y="522"/>
                  </a:lnTo>
                  <a:lnTo>
                    <a:pt x="454" y="520"/>
                  </a:lnTo>
                  <a:lnTo>
                    <a:pt x="452" y="520"/>
                  </a:lnTo>
                  <a:lnTo>
                    <a:pt x="452" y="518"/>
                  </a:lnTo>
                  <a:lnTo>
                    <a:pt x="452" y="516"/>
                  </a:lnTo>
                  <a:lnTo>
                    <a:pt x="452" y="514"/>
                  </a:lnTo>
                  <a:lnTo>
                    <a:pt x="450" y="512"/>
                  </a:lnTo>
                  <a:lnTo>
                    <a:pt x="450" y="510"/>
                  </a:lnTo>
                  <a:lnTo>
                    <a:pt x="448" y="510"/>
                  </a:lnTo>
                  <a:lnTo>
                    <a:pt x="446" y="510"/>
                  </a:lnTo>
                  <a:lnTo>
                    <a:pt x="444" y="512"/>
                  </a:lnTo>
                  <a:lnTo>
                    <a:pt x="442" y="514"/>
                  </a:lnTo>
                  <a:lnTo>
                    <a:pt x="440" y="516"/>
                  </a:lnTo>
                  <a:lnTo>
                    <a:pt x="438" y="516"/>
                  </a:lnTo>
                  <a:lnTo>
                    <a:pt x="430" y="516"/>
                  </a:lnTo>
                  <a:lnTo>
                    <a:pt x="428" y="516"/>
                  </a:lnTo>
                  <a:lnTo>
                    <a:pt x="426" y="516"/>
                  </a:lnTo>
                  <a:lnTo>
                    <a:pt x="424" y="518"/>
                  </a:lnTo>
                  <a:lnTo>
                    <a:pt x="422" y="518"/>
                  </a:lnTo>
                  <a:lnTo>
                    <a:pt x="422" y="520"/>
                  </a:lnTo>
                  <a:lnTo>
                    <a:pt x="424" y="522"/>
                  </a:lnTo>
                  <a:lnTo>
                    <a:pt x="426" y="522"/>
                  </a:lnTo>
                  <a:lnTo>
                    <a:pt x="428" y="524"/>
                  </a:lnTo>
                  <a:lnTo>
                    <a:pt x="428" y="526"/>
                  </a:lnTo>
                  <a:lnTo>
                    <a:pt x="426" y="526"/>
                  </a:lnTo>
                  <a:lnTo>
                    <a:pt x="424" y="526"/>
                  </a:lnTo>
                  <a:lnTo>
                    <a:pt x="420" y="524"/>
                  </a:lnTo>
                  <a:lnTo>
                    <a:pt x="416" y="524"/>
                  </a:lnTo>
                  <a:lnTo>
                    <a:pt x="412" y="524"/>
                  </a:lnTo>
                  <a:lnTo>
                    <a:pt x="406" y="522"/>
                  </a:lnTo>
                  <a:lnTo>
                    <a:pt x="404" y="522"/>
                  </a:lnTo>
                  <a:lnTo>
                    <a:pt x="402" y="522"/>
                  </a:lnTo>
                  <a:lnTo>
                    <a:pt x="402" y="524"/>
                  </a:lnTo>
                  <a:lnTo>
                    <a:pt x="400" y="524"/>
                  </a:lnTo>
                  <a:lnTo>
                    <a:pt x="396" y="528"/>
                  </a:lnTo>
                  <a:lnTo>
                    <a:pt x="396" y="530"/>
                  </a:lnTo>
                  <a:lnTo>
                    <a:pt x="396" y="532"/>
                  </a:lnTo>
                  <a:lnTo>
                    <a:pt x="396" y="534"/>
                  </a:lnTo>
                  <a:lnTo>
                    <a:pt x="398" y="534"/>
                  </a:lnTo>
                  <a:lnTo>
                    <a:pt x="398" y="536"/>
                  </a:lnTo>
                  <a:lnTo>
                    <a:pt x="400" y="538"/>
                  </a:lnTo>
                  <a:lnTo>
                    <a:pt x="398" y="540"/>
                  </a:lnTo>
                  <a:lnTo>
                    <a:pt x="396" y="542"/>
                  </a:lnTo>
                  <a:lnTo>
                    <a:pt x="394" y="542"/>
                  </a:lnTo>
                  <a:lnTo>
                    <a:pt x="390" y="544"/>
                  </a:lnTo>
                  <a:lnTo>
                    <a:pt x="388" y="544"/>
                  </a:lnTo>
                  <a:lnTo>
                    <a:pt x="386" y="544"/>
                  </a:lnTo>
                  <a:lnTo>
                    <a:pt x="384" y="546"/>
                  </a:lnTo>
                  <a:lnTo>
                    <a:pt x="382" y="544"/>
                  </a:lnTo>
                  <a:lnTo>
                    <a:pt x="382" y="542"/>
                  </a:lnTo>
                  <a:lnTo>
                    <a:pt x="382" y="538"/>
                  </a:lnTo>
                  <a:lnTo>
                    <a:pt x="382" y="536"/>
                  </a:lnTo>
                  <a:lnTo>
                    <a:pt x="384" y="534"/>
                  </a:lnTo>
                  <a:lnTo>
                    <a:pt x="386" y="534"/>
                  </a:lnTo>
                  <a:lnTo>
                    <a:pt x="388" y="534"/>
                  </a:lnTo>
                  <a:lnTo>
                    <a:pt x="388" y="532"/>
                  </a:lnTo>
                  <a:lnTo>
                    <a:pt x="388" y="530"/>
                  </a:lnTo>
                  <a:lnTo>
                    <a:pt x="388" y="526"/>
                  </a:lnTo>
                  <a:lnTo>
                    <a:pt x="386" y="526"/>
                  </a:lnTo>
                  <a:lnTo>
                    <a:pt x="386" y="524"/>
                  </a:lnTo>
                  <a:lnTo>
                    <a:pt x="386" y="522"/>
                  </a:lnTo>
                  <a:lnTo>
                    <a:pt x="388" y="522"/>
                  </a:lnTo>
                  <a:lnTo>
                    <a:pt x="388" y="520"/>
                  </a:lnTo>
                  <a:lnTo>
                    <a:pt x="388" y="518"/>
                  </a:lnTo>
                  <a:lnTo>
                    <a:pt x="390" y="516"/>
                  </a:lnTo>
                  <a:lnTo>
                    <a:pt x="392" y="516"/>
                  </a:lnTo>
                  <a:lnTo>
                    <a:pt x="394" y="514"/>
                  </a:lnTo>
                  <a:lnTo>
                    <a:pt x="398" y="514"/>
                  </a:lnTo>
                  <a:lnTo>
                    <a:pt x="400" y="512"/>
                  </a:lnTo>
                  <a:lnTo>
                    <a:pt x="400" y="510"/>
                  </a:lnTo>
                  <a:lnTo>
                    <a:pt x="396" y="510"/>
                  </a:lnTo>
                  <a:lnTo>
                    <a:pt x="394" y="510"/>
                  </a:lnTo>
                  <a:lnTo>
                    <a:pt x="392" y="512"/>
                  </a:lnTo>
                  <a:lnTo>
                    <a:pt x="388" y="512"/>
                  </a:lnTo>
                  <a:lnTo>
                    <a:pt x="386" y="514"/>
                  </a:lnTo>
                  <a:lnTo>
                    <a:pt x="386" y="516"/>
                  </a:lnTo>
                  <a:lnTo>
                    <a:pt x="382" y="518"/>
                  </a:lnTo>
                  <a:lnTo>
                    <a:pt x="380" y="520"/>
                  </a:lnTo>
                  <a:lnTo>
                    <a:pt x="378" y="524"/>
                  </a:lnTo>
                  <a:lnTo>
                    <a:pt x="374" y="526"/>
                  </a:lnTo>
                  <a:lnTo>
                    <a:pt x="372" y="526"/>
                  </a:lnTo>
                  <a:lnTo>
                    <a:pt x="372" y="528"/>
                  </a:lnTo>
                  <a:lnTo>
                    <a:pt x="370" y="530"/>
                  </a:lnTo>
                  <a:lnTo>
                    <a:pt x="368" y="532"/>
                  </a:lnTo>
                  <a:lnTo>
                    <a:pt x="368" y="534"/>
                  </a:lnTo>
                  <a:lnTo>
                    <a:pt x="366" y="534"/>
                  </a:lnTo>
                  <a:lnTo>
                    <a:pt x="364" y="534"/>
                  </a:lnTo>
                  <a:lnTo>
                    <a:pt x="362" y="534"/>
                  </a:lnTo>
                  <a:lnTo>
                    <a:pt x="360" y="536"/>
                  </a:lnTo>
                  <a:lnTo>
                    <a:pt x="358" y="536"/>
                  </a:lnTo>
                  <a:lnTo>
                    <a:pt x="354" y="538"/>
                  </a:lnTo>
                  <a:lnTo>
                    <a:pt x="350" y="540"/>
                  </a:lnTo>
                  <a:lnTo>
                    <a:pt x="346" y="542"/>
                  </a:lnTo>
                  <a:lnTo>
                    <a:pt x="338" y="544"/>
                  </a:lnTo>
                  <a:lnTo>
                    <a:pt x="332" y="548"/>
                  </a:lnTo>
                  <a:lnTo>
                    <a:pt x="330" y="548"/>
                  </a:lnTo>
                  <a:lnTo>
                    <a:pt x="328" y="548"/>
                  </a:lnTo>
                  <a:lnTo>
                    <a:pt x="326" y="550"/>
                  </a:lnTo>
                  <a:lnTo>
                    <a:pt x="324" y="552"/>
                  </a:lnTo>
                  <a:lnTo>
                    <a:pt x="324" y="554"/>
                  </a:lnTo>
                  <a:lnTo>
                    <a:pt x="324" y="556"/>
                  </a:lnTo>
                  <a:lnTo>
                    <a:pt x="324" y="558"/>
                  </a:lnTo>
                  <a:lnTo>
                    <a:pt x="324" y="560"/>
                  </a:lnTo>
                  <a:lnTo>
                    <a:pt x="322" y="562"/>
                  </a:lnTo>
                  <a:lnTo>
                    <a:pt x="322" y="564"/>
                  </a:lnTo>
                  <a:lnTo>
                    <a:pt x="320" y="564"/>
                  </a:lnTo>
                  <a:lnTo>
                    <a:pt x="318" y="566"/>
                  </a:lnTo>
                  <a:lnTo>
                    <a:pt x="316" y="570"/>
                  </a:lnTo>
                  <a:lnTo>
                    <a:pt x="316" y="574"/>
                  </a:lnTo>
                  <a:lnTo>
                    <a:pt x="316" y="576"/>
                  </a:lnTo>
                  <a:lnTo>
                    <a:pt x="316" y="578"/>
                  </a:lnTo>
                  <a:lnTo>
                    <a:pt x="316" y="580"/>
                  </a:lnTo>
                  <a:lnTo>
                    <a:pt x="318" y="582"/>
                  </a:lnTo>
                  <a:lnTo>
                    <a:pt x="318" y="584"/>
                  </a:lnTo>
                  <a:lnTo>
                    <a:pt x="316" y="584"/>
                  </a:lnTo>
                  <a:lnTo>
                    <a:pt x="314" y="584"/>
                  </a:lnTo>
                  <a:lnTo>
                    <a:pt x="312" y="584"/>
                  </a:lnTo>
                  <a:lnTo>
                    <a:pt x="310" y="584"/>
                  </a:lnTo>
                  <a:lnTo>
                    <a:pt x="308" y="584"/>
                  </a:lnTo>
                  <a:lnTo>
                    <a:pt x="306" y="584"/>
                  </a:lnTo>
                  <a:lnTo>
                    <a:pt x="304" y="584"/>
                  </a:lnTo>
                  <a:lnTo>
                    <a:pt x="302" y="586"/>
                  </a:lnTo>
                  <a:lnTo>
                    <a:pt x="300" y="586"/>
                  </a:lnTo>
                  <a:lnTo>
                    <a:pt x="298" y="586"/>
                  </a:lnTo>
                  <a:lnTo>
                    <a:pt x="298" y="584"/>
                  </a:lnTo>
                  <a:lnTo>
                    <a:pt x="294" y="582"/>
                  </a:lnTo>
                  <a:lnTo>
                    <a:pt x="290" y="580"/>
                  </a:lnTo>
                  <a:lnTo>
                    <a:pt x="288" y="578"/>
                  </a:lnTo>
                  <a:lnTo>
                    <a:pt x="286" y="576"/>
                  </a:lnTo>
                  <a:lnTo>
                    <a:pt x="284" y="576"/>
                  </a:lnTo>
                  <a:lnTo>
                    <a:pt x="284" y="574"/>
                  </a:lnTo>
                  <a:lnTo>
                    <a:pt x="282" y="572"/>
                  </a:lnTo>
                  <a:lnTo>
                    <a:pt x="282" y="570"/>
                  </a:lnTo>
                  <a:lnTo>
                    <a:pt x="284" y="568"/>
                  </a:lnTo>
                  <a:lnTo>
                    <a:pt x="284" y="566"/>
                  </a:lnTo>
                  <a:lnTo>
                    <a:pt x="288" y="562"/>
                  </a:lnTo>
                  <a:lnTo>
                    <a:pt x="290" y="560"/>
                  </a:lnTo>
                  <a:lnTo>
                    <a:pt x="292" y="560"/>
                  </a:lnTo>
                  <a:lnTo>
                    <a:pt x="294" y="560"/>
                  </a:lnTo>
                  <a:lnTo>
                    <a:pt x="298" y="562"/>
                  </a:lnTo>
                  <a:lnTo>
                    <a:pt x="300" y="562"/>
                  </a:lnTo>
                  <a:lnTo>
                    <a:pt x="302" y="562"/>
                  </a:lnTo>
                  <a:lnTo>
                    <a:pt x="304" y="562"/>
                  </a:lnTo>
                  <a:lnTo>
                    <a:pt x="304" y="560"/>
                  </a:lnTo>
                  <a:lnTo>
                    <a:pt x="304" y="558"/>
                  </a:lnTo>
                  <a:lnTo>
                    <a:pt x="302" y="556"/>
                  </a:lnTo>
                  <a:lnTo>
                    <a:pt x="298" y="552"/>
                  </a:lnTo>
                  <a:lnTo>
                    <a:pt x="296" y="548"/>
                  </a:lnTo>
                  <a:lnTo>
                    <a:pt x="294" y="548"/>
                  </a:lnTo>
                  <a:lnTo>
                    <a:pt x="292" y="546"/>
                  </a:lnTo>
                  <a:lnTo>
                    <a:pt x="290" y="546"/>
                  </a:lnTo>
                  <a:lnTo>
                    <a:pt x="286" y="544"/>
                  </a:lnTo>
                  <a:lnTo>
                    <a:pt x="284" y="542"/>
                  </a:lnTo>
                  <a:lnTo>
                    <a:pt x="282" y="542"/>
                  </a:lnTo>
                  <a:lnTo>
                    <a:pt x="278" y="542"/>
                  </a:lnTo>
                  <a:lnTo>
                    <a:pt x="276" y="542"/>
                  </a:lnTo>
                  <a:lnTo>
                    <a:pt x="274" y="544"/>
                  </a:lnTo>
                  <a:lnTo>
                    <a:pt x="272" y="544"/>
                  </a:lnTo>
                  <a:lnTo>
                    <a:pt x="270" y="544"/>
                  </a:lnTo>
                  <a:lnTo>
                    <a:pt x="264" y="546"/>
                  </a:lnTo>
                  <a:lnTo>
                    <a:pt x="260" y="546"/>
                  </a:lnTo>
                  <a:lnTo>
                    <a:pt x="258" y="544"/>
                  </a:lnTo>
                  <a:lnTo>
                    <a:pt x="256" y="542"/>
                  </a:lnTo>
                  <a:lnTo>
                    <a:pt x="254" y="540"/>
                  </a:lnTo>
                  <a:lnTo>
                    <a:pt x="252" y="540"/>
                  </a:lnTo>
                  <a:lnTo>
                    <a:pt x="250" y="540"/>
                  </a:lnTo>
                  <a:lnTo>
                    <a:pt x="250" y="542"/>
                  </a:lnTo>
                  <a:lnTo>
                    <a:pt x="250" y="544"/>
                  </a:lnTo>
                  <a:lnTo>
                    <a:pt x="252" y="546"/>
                  </a:lnTo>
                  <a:lnTo>
                    <a:pt x="254" y="546"/>
                  </a:lnTo>
                  <a:lnTo>
                    <a:pt x="256" y="548"/>
                  </a:lnTo>
                  <a:lnTo>
                    <a:pt x="258" y="548"/>
                  </a:lnTo>
                  <a:lnTo>
                    <a:pt x="258" y="550"/>
                  </a:lnTo>
                  <a:lnTo>
                    <a:pt x="260" y="550"/>
                  </a:lnTo>
                  <a:lnTo>
                    <a:pt x="260" y="552"/>
                  </a:lnTo>
                  <a:lnTo>
                    <a:pt x="262" y="556"/>
                  </a:lnTo>
                  <a:lnTo>
                    <a:pt x="264" y="558"/>
                  </a:lnTo>
                  <a:lnTo>
                    <a:pt x="264" y="560"/>
                  </a:lnTo>
                  <a:lnTo>
                    <a:pt x="264" y="562"/>
                  </a:lnTo>
                  <a:lnTo>
                    <a:pt x="266" y="566"/>
                  </a:lnTo>
                  <a:lnTo>
                    <a:pt x="264" y="572"/>
                  </a:lnTo>
                  <a:lnTo>
                    <a:pt x="266" y="572"/>
                  </a:lnTo>
                  <a:lnTo>
                    <a:pt x="266" y="574"/>
                  </a:lnTo>
                  <a:lnTo>
                    <a:pt x="268" y="576"/>
                  </a:lnTo>
                  <a:lnTo>
                    <a:pt x="268" y="578"/>
                  </a:lnTo>
                  <a:lnTo>
                    <a:pt x="270" y="580"/>
                  </a:lnTo>
                  <a:lnTo>
                    <a:pt x="274" y="582"/>
                  </a:lnTo>
                  <a:lnTo>
                    <a:pt x="276" y="586"/>
                  </a:lnTo>
                  <a:lnTo>
                    <a:pt x="278" y="586"/>
                  </a:lnTo>
                  <a:lnTo>
                    <a:pt x="280" y="588"/>
                  </a:lnTo>
                  <a:lnTo>
                    <a:pt x="280" y="590"/>
                  </a:lnTo>
                  <a:lnTo>
                    <a:pt x="280" y="592"/>
                  </a:lnTo>
                  <a:lnTo>
                    <a:pt x="280" y="594"/>
                  </a:lnTo>
                  <a:lnTo>
                    <a:pt x="280" y="596"/>
                  </a:lnTo>
                  <a:lnTo>
                    <a:pt x="280" y="600"/>
                  </a:lnTo>
                  <a:lnTo>
                    <a:pt x="280" y="604"/>
                  </a:lnTo>
                  <a:lnTo>
                    <a:pt x="282" y="606"/>
                  </a:lnTo>
                  <a:lnTo>
                    <a:pt x="282" y="610"/>
                  </a:lnTo>
                  <a:lnTo>
                    <a:pt x="282" y="612"/>
                  </a:lnTo>
                  <a:lnTo>
                    <a:pt x="280" y="610"/>
                  </a:lnTo>
                  <a:lnTo>
                    <a:pt x="278" y="608"/>
                  </a:lnTo>
                  <a:lnTo>
                    <a:pt x="274" y="604"/>
                  </a:lnTo>
                  <a:lnTo>
                    <a:pt x="272" y="600"/>
                  </a:lnTo>
                  <a:lnTo>
                    <a:pt x="272" y="598"/>
                  </a:lnTo>
                  <a:lnTo>
                    <a:pt x="270" y="598"/>
                  </a:lnTo>
                  <a:lnTo>
                    <a:pt x="268" y="596"/>
                  </a:lnTo>
                  <a:lnTo>
                    <a:pt x="266" y="596"/>
                  </a:lnTo>
                  <a:lnTo>
                    <a:pt x="262" y="596"/>
                  </a:lnTo>
                  <a:lnTo>
                    <a:pt x="258" y="596"/>
                  </a:lnTo>
                  <a:lnTo>
                    <a:pt x="256" y="596"/>
                  </a:lnTo>
                  <a:lnTo>
                    <a:pt x="254" y="596"/>
                  </a:lnTo>
                  <a:lnTo>
                    <a:pt x="252" y="596"/>
                  </a:lnTo>
                  <a:lnTo>
                    <a:pt x="250" y="598"/>
                  </a:lnTo>
                  <a:lnTo>
                    <a:pt x="248" y="602"/>
                  </a:lnTo>
                  <a:lnTo>
                    <a:pt x="248" y="604"/>
                  </a:lnTo>
                  <a:lnTo>
                    <a:pt x="248" y="608"/>
                  </a:lnTo>
                  <a:lnTo>
                    <a:pt x="246" y="610"/>
                  </a:lnTo>
                  <a:lnTo>
                    <a:pt x="244" y="612"/>
                  </a:lnTo>
                  <a:lnTo>
                    <a:pt x="242" y="612"/>
                  </a:lnTo>
                  <a:lnTo>
                    <a:pt x="240" y="614"/>
                  </a:lnTo>
                  <a:lnTo>
                    <a:pt x="238" y="614"/>
                  </a:lnTo>
                  <a:lnTo>
                    <a:pt x="236" y="616"/>
                  </a:lnTo>
                  <a:lnTo>
                    <a:pt x="234" y="616"/>
                  </a:lnTo>
                  <a:lnTo>
                    <a:pt x="234" y="618"/>
                  </a:lnTo>
                  <a:lnTo>
                    <a:pt x="232" y="618"/>
                  </a:lnTo>
                  <a:lnTo>
                    <a:pt x="232" y="620"/>
                  </a:lnTo>
                  <a:lnTo>
                    <a:pt x="232" y="624"/>
                  </a:lnTo>
                  <a:lnTo>
                    <a:pt x="232" y="626"/>
                  </a:lnTo>
                  <a:lnTo>
                    <a:pt x="234" y="626"/>
                  </a:lnTo>
                  <a:lnTo>
                    <a:pt x="238" y="628"/>
                  </a:lnTo>
                  <a:lnTo>
                    <a:pt x="238" y="630"/>
                  </a:lnTo>
                  <a:lnTo>
                    <a:pt x="240" y="632"/>
                  </a:lnTo>
                  <a:lnTo>
                    <a:pt x="240" y="636"/>
                  </a:lnTo>
                  <a:lnTo>
                    <a:pt x="242" y="638"/>
                  </a:lnTo>
                  <a:lnTo>
                    <a:pt x="242" y="640"/>
                  </a:lnTo>
                  <a:lnTo>
                    <a:pt x="242" y="642"/>
                  </a:lnTo>
                  <a:lnTo>
                    <a:pt x="240" y="642"/>
                  </a:lnTo>
                  <a:lnTo>
                    <a:pt x="238" y="642"/>
                  </a:lnTo>
                  <a:lnTo>
                    <a:pt x="234" y="642"/>
                  </a:lnTo>
                  <a:lnTo>
                    <a:pt x="232" y="642"/>
                  </a:lnTo>
                  <a:lnTo>
                    <a:pt x="228" y="644"/>
                  </a:lnTo>
                  <a:lnTo>
                    <a:pt x="226" y="646"/>
                  </a:lnTo>
                  <a:lnTo>
                    <a:pt x="222" y="646"/>
                  </a:lnTo>
                  <a:lnTo>
                    <a:pt x="220" y="646"/>
                  </a:lnTo>
                  <a:lnTo>
                    <a:pt x="218" y="644"/>
                  </a:lnTo>
                  <a:lnTo>
                    <a:pt x="214" y="642"/>
                  </a:lnTo>
                  <a:lnTo>
                    <a:pt x="212" y="640"/>
                  </a:lnTo>
                  <a:lnTo>
                    <a:pt x="210" y="638"/>
                  </a:lnTo>
                  <a:lnTo>
                    <a:pt x="206" y="636"/>
                  </a:lnTo>
                  <a:lnTo>
                    <a:pt x="204" y="636"/>
                  </a:lnTo>
                  <a:lnTo>
                    <a:pt x="202" y="636"/>
                  </a:lnTo>
                  <a:lnTo>
                    <a:pt x="200" y="638"/>
                  </a:lnTo>
                  <a:lnTo>
                    <a:pt x="198" y="638"/>
                  </a:lnTo>
                  <a:lnTo>
                    <a:pt x="196" y="638"/>
                  </a:lnTo>
                  <a:lnTo>
                    <a:pt x="194" y="638"/>
                  </a:lnTo>
                  <a:lnTo>
                    <a:pt x="192" y="640"/>
                  </a:lnTo>
                  <a:lnTo>
                    <a:pt x="192" y="642"/>
                  </a:lnTo>
                  <a:lnTo>
                    <a:pt x="194" y="642"/>
                  </a:lnTo>
                  <a:lnTo>
                    <a:pt x="196" y="644"/>
                  </a:lnTo>
                  <a:lnTo>
                    <a:pt x="198" y="644"/>
                  </a:lnTo>
                  <a:lnTo>
                    <a:pt x="200" y="644"/>
                  </a:lnTo>
                  <a:lnTo>
                    <a:pt x="202" y="646"/>
                  </a:lnTo>
                  <a:lnTo>
                    <a:pt x="204" y="646"/>
                  </a:lnTo>
                  <a:lnTo>
                    <a:pt x="206" y="648"/>
                  </a:lnTo>
                  <a:lnTo>
                    <a:pt x="206" y="650"/>
                  </a:lnTo>
                  <a:lnTo>
                    <a:pt x="206" y="652"/>
                  </a:lnTo>
                  <a:lnTo>
                    <a:pt x="206" y="654"/>
                  </a:lnTo>
                  <a:lnTo>
                    <a:pt x="208" y="654"/>
                  </a:lnTo>
                  <a:lnTo>
                    <a:pt x="208" y="656"/>
                  </a:lnTo>
                  <a:lnTo>
                    <a:pt x="210" y="656"/>
                  </a:lnTo>
                  <a:lnTo>
                    <a:pt x="214" y="656"/>
                  </a:lnTo>
                  <a:lnTo>
                    <a:pt x="216" y="658"/>
                  </a:lnTo>
                  <a:lnTo>
                    <a:pt x="218" y="662"/>
                  </a:lnTo>
                  <a:lnTo>
                    <a:pt x="218" y="664"/>
                  </a:lnTo>
                  <a:lnTo>
                    <a:pt x="220" y="664"/>
                  </a:lnTo>
                  <a:lnTo>
                    <a:pt x="220" y="666"/>
                  </a:lnTo>
                  <a:lnTo>
                    <a:pt x="218" y="666"/>
                  </a:lnTo>
                  <a:lnTo>
                    <a:pt x="216" y="666"/>
                  </a:lnTo>
                  <a:lnTo>
                    <a:pt x="214" y="666"/>
                  </a:lnTo>
                  <a:lnTo>
                    <a:pt x="212" y="666"/>
                  </a:lnTo>
                  <a:lnTo>
                    <a:pt x="210" y="666"/>
                  </a:lnTo>
                  <a:lnTo>
                    <a:pt x="208" y="668"/>
                  </a:lnTo>
                  <a:lnTo>
                    <a:pt x="206" y="668"/>
                  </a:lnTo>
                  <a:lnTo>
                    <a:pt x="206" y="670"/>
                  </a:lnTo>
                  <a:lnTo>
                    <a:pt x="204" y="670"/>
                  </a:lnTo>
                  <a:lnTo>
                    <a:pt x="202" y="668"/>
                  </a:lnTo>
                  <a:lnTo>
                    <a:pt x="200" y="668"/>
                  </a:lnTo>
                  <a:lnTo>
                    <a:pt x="198" y="668"/>
                  </a:lnTo>
                  <a:lnTo>
                    <a:pt x="196" y="668"/>
                  </a:lnTo>
                  <a:lnTo>
                    <a:pt x="194" y="668"/>
                  </a:lnTo>
                  <a:lnTo>
                    <a:pt x="192" y="668"/>
                  </a:lnTo>
                  <a:lnTo>
                    <a:pt x="190" y="668"/>
                  </a:lnTo>
                  <a:lnTo>
                    <a:pt x="190" y="666"/>
                  </a:lnTo>
                  <a:lnTo>
                    <a:pt x="188" y="666"/>
                  </a:lnTo>
                  <a:lnTo>
                    <a:pt x="188" y="664"/>
                  </a:lnTo>
                  <a:lnTo>
                    <a:pt x="186" y="662"/>
                  </a:lnTo>
                  <a:lnTo>
                    <a:pt x="184" y="660"/>
                  </a:lnTo>
                  <a:lnTo>
                    <a:pt x="178" y="658"/>
                  </a:lnTo>
                  <a:lnTo>
                    <a:pt x="174" y="656"/>
                  </a:lnTo>
                  <a:lnTo>
                    <a:pt x="172" y="656"/>
                  </a:lnTo>
                  <a:lnTo>
                    <a:pt x="170" y="654"/>
                  </a:lnTo>
                  <a:lnTo>
                    <a:pt x="170" y="652"/>
                  </a:lnTo>
                  <a:lnTo>
                    <a:pt x="170" y="650"/>
                  </a:lnTo>
                  <a:lnTo>
                    <a:pt x="170" y="648"/>
                  </a:lnTo>
                  <a:lnTo>
                    <a:pt x="170" y="646"/>
                  </a:lnTo>
                  <a:lnTo>
                    <a:pt x="170" y="642"/>
                  </a:lnTo>
                  <a:lnTo>
                    <a:pt x="170" y="640"/>
                  </a:lnTo>
                  <a:lnTo>
                    <a:pt x="168" y="638"/>
                  </a:lnTo>
                  <a:lnTo>
                    <a:pt x="166" y="636"/>
                  </a:lnTo>
                  <a:lnTo>
                    <a:pt x="166" y="634"/>
                  </a:lnTo>
                  <a:lnTo>
                    <a:pt x="168" y="632"/>
                  </a:lnTo>
                  <a:lnTo>
                    <a:pt x="168" y="630"/>
                  </a:lnTo>
                  <a:lnTo>
                    <a:pt x="168" y="628"/>
                  </a:lnTo>
                  <a:lnTo>
                    <a:pt x="166" y="626"/>
                  </a:lnTo>
                  <a:lnTo>
                    <a:pt x="162" y="622"/>
                  </a:lnTo>
                  <a:lnTo>
                    <a:pt x="162" y="620"/>
                  </a:lnTo>
                  <a:lnTo>
                    <a:pt x="160" y="620"/>
                  </a:lnTo>
                  <a:lnTo>
                    <a:pt x="156" y="618"/>
                  </a:lnTo>
                  <a:lnTo>
                    <a:pt x="154" y="616"/>
                  </a:lnTo>
                  <a:lnTo>
                    <a:pt x="150" y="616"/>
                  </a:lnTo>
                  <a:lnTo>
                    <a:pt x="148" y="616"/>
                  </a:lnTo>
                  <a:lnTo>
                    <a:pt x="146" y="616"/>
                  </a:lnTo>
                  <a:lnTo>
                    <a:pt x="146" y="614"/>
                  </a:lnTo>
                  <a:lnTo>
                    <a:pt x="144" y="614"/>
                  </a:lnTo>
                  <a:lnTo>
                    <a:pt x="144" y="612"/>
                  </a:lnTo>
                  <a:lnTo>
                    <a:pt x="144" y="610"/>
                  </a:lnTo>
                  <a:lnTo>
                    <a:pt x="144" y="608"/>
                  </a:lnTo>
                  <a:lnTo>
                    <a:pt x="142" y="608"/>
                  </a:lnTo>
                  <a:lnTo>
                    <a:pt x="140" y="606"/>
                  </a:lnTo>
                  <a:lnTo>
                    <a:pt x="138" y="606"/>
                  </a:lnTo>
                  <a:lnTo>
                    <a:pt x="136" y="606"/>
                  </a:lnTo>
                  <a:lnTo>
                    <a:pt x="134" y="606"/>
                  </a:lnTo>
                  <a:lnTo>
                    <a:pt x="132" y="608"/>
                  </a:lnTo>
                  <a:lnTo>
                    <a:pt x="130" y="608"/>
                  </a:lnTo>
                  <a:lnTo>
                    <a:pt x="128" y="608"/>
                  </a:lnTo>
                  <a:lnTo>
                    <a:pt x="126" y="608"/>
                  </a:lnTo>
                  <a:lnTo>
                    <a:pt x="124" y="608"/>
                  </a:lnTo>
                  <a:lnTo>
                    <a:pt x="124" y="606"/>
                  </a:lnTo>
                  <a:lnTo>
                    <a:pt x="124" y="604"/>
                  </a:lnTo>
                  <a:lnTo>
                    <a:pt x="126" y="604"/>
                  </a:lnTo>
                  <a:lnTo>
                    <a:pt x="128" y="602"/>
                  </a:lnTo>
                  <a:lnTo>
                    <a:pt x="132" y="602"/>
                  </a:lnTo>
                  <a:lnTo>
                    <a:pt x="134" y="600"/>
                  </a:lnTo>
                  <a:lnTo>
                    <a:pt x="136" y="600"/>
                  </a:lnTo>
                  <a:lnTo>
                    <a:pt x="136" y="598"/>
                  </a:lnTo>
                  <a:lnTo>
                    <a:pt x="134" y="598"/>
                  </a:lnTo>
                  <a:lnTo>
                    <a:pt x="134" y="596"/>
                  </a:lnTo>
                  <a:lnTo>
                    <a:pt x="130" y="596"/>
                  </a:lnTo>
                  <a:lnTo>
                    <a:pt x="126" y="594"/>
                  </a:lnTo>
                  <a:lnTo>
                    <a:pt x="122" y="594"/>
                  </a:lnTo>
                  <a:lnTo>
                    <a:pt x="120" y="592"/>
                  </a:lnTo>
                  <a:lnTo>
                    <a:pt x="124" y="592"/>
                  </a:lnTo>
                  <a:lnTo>
                    <a:pt x="126" y="592"/>
                  </a:lnTo>
                  <a:lnTo>
                    <a:pt x="128" y="592"/>
                  </a:lnTo>
                  <a:lnTo>
                    <a:pt x="128" y="590"/>
                  </a:lnTo>
                  <a:lnTo>
                    <a:pt x="128" y="588"/>
                  </a:lnTo>
                  <a:lnTo>
                    <a:pt x="126" y="586"/>
                  </a:lnTo>
                  <a:lnTo>
                    <a:pt x="124" y="586"/>
                  </a:lnTo>
                  <a:lnTo>
                    <a:pt x="122" y="584"/>
                  </a:lnTo>
                  <a:lnTo>
                    <a:pt x="120" y="584"/>
                  </a:lnTo>
                  <a:lnTo>
                    <a:pt x="118" y="584"/>
                  </a:lnTo>
                  <a:lnTo>
                    <a:pt x="118" y="582"/>
                  </a:lnTo>
                  <a:lnTo>
                    <a:pt x="118" y="580"/>
                  </a:lnTo>
                  <a:lnTo>
                    <a:pt x="120" y="580"/>
                  </a:lnTo>
                  <a:lnTo>
                    <a:pt x="122" y="580"/>
                  </a:lnTo>
                  <a:lnTo>
                    <a:pt x="122" y="582"/>
                  </a:lnTo>
                  <a:lnTo>
                    <a:pt x="124" y="582"/>
                  </a:lnTo>
                  <a:lnTo>
                    <a:pt x="124" y="580"/>
                  </a:lnTo>
                  <a:lnTo>
                    <a:pt x="126" y="580"/>
                  </a:lnTo>
                  <a:lnTo>
                    <a:pt x="128" y="582"/>
                  </a:lnTo>
                  <a:lnTo>
                    <a:pt x="130" y="582"/>
                  </a:lnTo>
                  <a:lnTo>
                    <a:pt x="130" y="580"/>
                  </a:lnTo>
                  <a:lnTo>
                    <a:pt x="132" y="580"/>
                  </a:lnTo>
                  <a:lnTo>
                    <a:pt x="132" y="578"/>
                  </a:lnTo>
                  <a:lnTo>
                    <a:pt x="132" y="576"/>
                  </a:lnTo>
                  <a:lnTo>
                    <a:pt x="134" y="574"/>
                  </a:lnTo>
                  <a:lnTo>
                    <a:pt x="134" y="572"/>
                  </a:lnTo>
                  <a:lnTo>
                    <a:pt x="136" y="570"/>
                  </a:lnTo>
                  <a:lnTo>
                    <a:pt x="138" y="568"/>
                  </a:lnTo>
                  <a:lnTo>
                    <a:pt x="140" y="568"/>
                  </a:lnTo>
                  <a:lnTo>
                    <a:pt x="142" y="568"/>
                  </a:lnTo>
                  <a:lnTo>
                    <a:pt x="142" y="570"/>
                  </a:lnTo>
                  <a:lnTo>
                    <a:pt x="140" y="572"/>
                  </a:lnTo>
                  <a:lnTo>
                    <a:pt x="140" y="574"/>
                  </a:lnTo>
                  <a:lnTo>
                    <a:pt x="140" y="576"/>
                  </a:lnTo>
                  <a:lnTo>
                    <a:pt x="140" y="578"/>
                  </a:lnTo>
                  <a:lnTo>
                    <a:pt x="140" y="580"/>
                  </a:lnTo>
                  <a:lnTo>
                    <a:pt x="140" y="582"/>
                  </a:lnTo>
                  <a:lnTo>
                    <a:pt x="138" y="584"/>
                  </a:lnTo>
                  <a:lnTo>
                    <a:pt x="136" y="584"/>
                  </a:lnTo>
                  <a:lnTo>
                    <a:pt x="134" y="584"/>
                  </a:lnTo>
                  <a:lnTo>
                    <a:pt x="134" y="586"/>
                  </a:lnTo>
                  <a:lnTo>
                    <a:pt x="134" y="588"/>
                  </a:lnTo>
                  <a:lnTo>
                    <a:pt x="132" y="588"/>
                  </a:lnTo>
                  <a:lnTo>
                    <a:pt x="132" y="590"/>
                  </a:lnTo>
                  <a:lnTo>
                    <a:pt x="132" y="592"/>
                  </a:lnTo>
                  <a:lnTo>
                    <a:pt x="132" y="594"/>
                  </a:lnTo>
                  <a:lnTo>
                    <a:pt x="134" y="594"/>
                  </a:lnTo>
                  <a:lnTo>
                    <a:pt x="136" y="596"/>
                  </a:lnTo>
                  <a:lnTo>
                    <a:pt x="138" y="596"/>
                  </a:lnTo>
                  <a:lnTo>
                    <a:pt x="140" y="598"/>
                  </a:lnTo>
                  <a:lnTo>
                    <a:pt x="142" y="598"/>
                  </a:lnTo>
                  <a:lnTo>
                    <a:pt x="144" y="598"/>
                  </a:lnTo>
                  <a:lnTo>
                    <a:pt x="150" y="598"/>
                  </a:lnTo>
                  <a:lnTo>
                    <a:pt x="152" y="600"/>
                  </a:lnTo>
                  <a:lnTo>
                    <a:pt x="154" y="600"/>
                  </a:lnTo>
                  <a:lnTo>
                    <a:pt x="158" y="602"/>
                  </a:lnTo>
                  <a:lnTo>
                    <a:pt x="160" y="604"/>
                  </a:lnTo>
                  <a:lnTo>
                    <a:pt x="162" y="606"/>
                  </a:lnTo>
                  <a:lnTo>
                    <a:pt x="164" y="606"/>
                  </a:lnTo>
                  <a:lnTo>
                    <a:pt x="168" y="608"/>
                  </a:lnTo>
                  <a:lnTo>
                    <a:pt x="176" y="608"/>
                  </a:lnTo>
                  <a:lnTo>
                    <a:pt x="186" y="610"/>
                  </a:lnTo>
                  <a:lnTo>
                    <a:pt x="192" y="612"/>
                  </a:lnTo>
                  <a:lnTo>
                    <a:pt x="196" y="614"/>
                  </a:lnTo>
                  <a:lnTo>
                    <a:pt x="200" y="614"/>
                  </a:lnTo>
                  <a:lnTo>
                    <a:pt x="204" y="616"/>
                  </a:lnTo>
                  <a:lnTo>
                    <a:pt x="210" y="614"/>
                  </a:lnTo>
                  <a:lnTo>
                    <a:pt x="214" y="614"/>
                  </a:lnTo>
                  <a:lnTo>
                    <a:pt x="218" y="614"/>
                  </a:lnTo>
                  <a:lnTo>
                    <a:pt x="222" y="614"/>
                  </a:lnTo>
                  <a:lnTo>
                    <a:pt x="224" y="614"/>
                  </a:lnTo>
                  <a:lnTo>
                    <a:pt x="226" y="612"/>
                  </a:lnTo>
                  <a:lnTo>
                    <a:pt x="230" y="610"/>
                  </a:lnTo>
                  <a:lnTo>
                    <a:pt x="232" y="610"/>
                  </a:lnTo>
                  <a:lnTo>
                    <a:pt x="234" y="608"/>
                  </a:lnTo>
                  <a:lnTo>
                    <a:pt x="234" y="606"/>
                  </a:lnTo>
                  <a:lnTo>
                    <a:pt x="236" y="604"/>
                  </a:lnTo>
                  <a:lnTo>
                    <a:pt x="236" y="602"/>
                  </a:lnTo>
                  <a:lnTo>
                    <a:pt x="238" y="600"/>
                  </a:lnTo>
                  <a:lnTo>
                    <a:pt x="238" y="598"/>
                  </a:lnTo>
                  <a:lnTo>
                    <a:pt x="238" y="596"/>
                  </a:lnTo>
                  <a:lnTo>
                    <a:pt x="240" y="596"/>
                  </a:lnTo>
                  <a:lnTo>
                    <a:pt x="240" y="592"/>
                  </a:lnTo>
                  <a:lnTo>
                    <a:pt x="240" y="586"/>
                  </a:lnTo>
                  <a:lnTo>
                    <a:pt x="238" y="584"/>
                  </a:lnTo>
                  <a:lnTo>
                    <a:pt x="238" y="580"/>
                  </a:lnTo>
                  <a:lnTo>
                    <a:pt x="236" y="580"/>
                  </a:lnTo>
                  <a:lnTo>
                    <a:pt x="234" y="576"/>
                  </a:lnTo>
                  <a:lnTo>
                    <a:pt x="232" y="574"/>
                  </a:lnTo>
                  <a:lnTo>
                    <a:pt x="230" y="570"/>
                  </a:lnTo>
                  <a:lnTo>
                    <a:pt x="230" y="568"/>
                  </a:lnTo>
                  <a:lnTo>
                    <a:pt x="228" y="566"/>
                  </a:lnTo>
                  <a:lnTo>
                    <a:pt x="226" y="566"/>
                  </a:lnTo>
                  <a:lnTo>
                    <a:pt x="226" y="564"/>
                  </a:lnTo>
                  <a:lnTo>
                    <a:pt x="222" y="562"/>
                  </a:lnTo>
                  <a:lnTo>
                    <a:pt x="218" y="562"/>
                  </a:lnTo>
                  <a:lnTo>
                    <a:pt x="216" y="562"/>
                  </a:lnTo>
                  <a:lnTo>
                    <a:pt x="212" y="562"/>
                  </a:lnTo>
                  <a:lnTo>
                    <a:pt x="212" y="560"/>
                  </a:lnTo>
                  <a:lnTo>
                    <a:pt x="210" y="560"/>
                  </a:lnTo>
                  <a:lnTo>
                    <a:pt x="210" y="558"/>
                  </a:lnTo>
                  <a:lnTo>
                    <a:pt x="206" y="556"/>
                  </a:lnTo>
                  <a:lnTo>
                    <a:pt x="202" y="554"/>
                  </a:lnTo>
                  <a:lnTo>
                    <a:pt x="198" y="552"/>
                  </a:lnTo>
                  <a:lnTo>
                    <a:pt x="194" y="548"/>
                  </a:lnTo>
                  <a:lnTo>
                    <a:pt x="186" y="546"/>
                  </a:lnTo>
                  <a:lnTo>
                    <a:pt x="182" y="544"/>
                  </a:lnTo>
                  <a:lnTo>
                    <a:pt x="178" y="542"/>
                  </a:lnTo>
                  <a:lnTo>
                    <a:pt x="176" y="540"/>
                  </a:lnTo>
                  <a:lnTo>
                    <a:pt x="174" y="540"/>
                  </a:lnTo>
                  <a:lnTo>
                    <a:pt x="168" y="538"/>
                  </a:lnTo>
                  <a:lnTo>
                    <a:pt x="162" y="538"/>
                  </a:lnTo>
                  <a:lnTo>
                    <a:pt x="158" y="538"/>
                  </a:lnTo>
                  <a:lnTo>
                    <a:pt x="154" y="538"/>
                  </a:lnTo>
                  <a:lnTo>
                    <a:pt x="148" y="538"/>
                  </a:lnTo>
                  <a:lnTo>
                    <a:pt x="144" y="538"/>
                  </a:lnTo>
                  <a:lnTo>
                    <a:pt x="140" y="538"/>
                  </a:lnTo>
                  <a:lnTo>
                    <a:pt x="138" y="538"/>
                  </a:lnTo>
                  <a:lnTo>
                    <a:pt x="138" y="540"/>
                  </a:lnTo>
                  <a:lnTo>
                    <a:pt x="136" y="542"/>
                  </a:lnTo>
                  <a:lnTo>
                    <a:pt x="136" y="544"/>
                  </a:lnTo>
                  <a:lnTo>
                    <a:pt x="134" y="544"/>
                  </a:lnTo>
                  <a:lnTo>
                    <a:pt x="134" y="542"/>
                  </a:lnTo>
                  <a:lnTo>
                    <a:pt x="132" y="540"/>
                  </a:lnTo>
                  <a:lnTo>
                    <a:pt x="130" y="538"/>
                  </a:lnTo>
                  <a:lnTo>
                    <a:pt x="128" y="536"/>
                  </a:lnTo>
                  <a:lnTo>
                    <a:pt x="128" y="534"/>
                  </a:lnTo>
                  <a:lnTo>
                    <a:pt x="126" y="534"/>
                  </a:lnTo>
                  <a:lnTo>
                    <a:pt x="124" y="534"/>
                  </a:lnTo>
                  <a:lnTo>
                    <a:pt x="124" y="532"/>
                  </a:lnTo>
                  <a:lnTo>
                    <a:pt x="126" y="530"/>
                  </a:lnTo>
                  <a:lnTo>
                    <a:pt x="128" y="530"/>
                  </a:lnTo>
                  <a:lnTo>
                    <a:pt x="128" y="528"/>
                  </a:lnTo>
                  <a:lnTo>
                    <a:pt x="126" y="526"/>
                  </a:lnTo>
                  <a:lnTo>
                    <a:pt x="124" y="526"/>
                  </a:lnTo>
                  <a:lnTo>
                    <a:pt x="122" y="524"/>
                  </a:lnTo>
                  <a:lnTo>
                    <a:pt x="120" y="524"/>
                  </a:lnTo>
                  <a:lnTo>
                    <a:pt x="118" y="524"/>
                  </a:lnTo>
                  <a:lnTo>
                    <a:pt x="116" y="524"/>
                  </a:lnTo>
                  <a:lnTo>
                    <a:pt x="116" y="526"/>
                  </a:lnTo>
                  <a:lnTo>
                    <a:pt x="114" y="526"/>
                  </a:lnTo>
                  <a:lnTo>
                    <a:pt x="114" y="528"/>
                  </a:lnTo>
                  <a:lnTo>
                    <a:pt x="112" y="530"/>
                  </a:lnTo>
                  <a:lnTo>
                    <a:pt x="110" y="532"/>
                  </a:lnTo>
                  <a:lnTo>
                    <a:pt x="108" y="532"/>
                  </a:lnTo>
                  <a:lnTo>
                    <a:pt x="106" y="532"/>
                  </a:lnTo>
                  <a:lnTo>
                    <a:pt x="104" y="532"/>
                  </a:lnTo>
                  <a:lnTo>
                    <a:pt x="100" y="530"/>
                  </a:lnTo>
                  <a:lnTo>
                    <a:pt x="98" y="530"/>
                  </a:lnTo>
                  <a:lnTo>
                    <a:pt x="94" y="536"/>
                  </a:lnTo>
                  <a:lnTo>
                    <a:pt x="92" y="540"/>
                  </a:lnTo>
                  <a:lnTo>
                    <a:pt x="90" y="542"/>
                  </a:lnTo>
                  <a:lnTo>
                    <a:pt x="90" y="546"/>
                  </a:lnTo>
                  <a:lnTo>
                    <a:pt x="90" y="548"/>
                  </a:lnTo>
                  <a:lnTo>
                    <a:pt x="90" y="550"/>
                  </a:lnTo>
                  <a:lnTo>
                    <a:pt x="90" y="552"/>
                  </a:lnTo>
                  <a:lnTo>
                    <a:pt x="88" y="552"/>
                  </a:lnTo>
                  <a:lnTo>
                    <a:pt x="88" y="554"/>
                  </a:lnTo>
                  <a:lnTo>
                    <a:pt x="86" y="556"/>
                  </a:lnTo>
                  <a:lnTo>
                    <a:pt x="84" y="556"/>
                  </a:lnTo>
                  <a:lnTo>
                    <a:pt x="84" y="560"/>
                  </a:lnTo>
                  <a:lnTo>
                    <a:pt x="84" y="566"/>
                  </a:lnTo>
                  <a:lnTo>
                    <a:pt x="84" y="568"/>
                  </a:lnTo>
                  <a:lnTo>
                    <a:pt x="86" y="570"/>
                  </a:lnTo>
                  <a:lnTo>
                    <a:pt x="86" y="572"/>
                  </a:lnTo>
                  <a:lnTo>
                    <a:pt x="88" y="572"/>
                  </a:lnTo>
                  <a:lnTo>
                    <a:pt x="90" y="574"/>
                  </a:lnTo>
                  <a:lnTo>
                    <a:pt x="92" y="578"/>
                  </a:lnTo>
                  <a:lnTo>
                    <a:pt x="94" y="580"/>
                  </a:lnTo>
                  <a:lnTo>
                    <a:pt x="98" y="582"/>
                  </a:lnTo>
                  <a:lnTo>
                    <a:pt x="98" y="584"/>
                  </a:lnTo>
                  <a:lnTo>
                    <a:pt x="100" y="586"/>
                  </a:lnTo>
                  <a:lnTo>
                    <a:pt x="100" y="588"/>
                  </a:lnTo>
                  <a:lnTo>
                    <a:pt x="100" y="590"/>
                  </a:lnTo>
                  <a:lnTo>
                    <a:pt x="98" y="592"/>
                  </a:lnTo>
                  <a:lnTo>
                    <a:pt x="98" y="594"/>
                  </a:lnTo>
                  <a:lnTo>
                    <a:pt x="96" y="596"/>
                  </a:lnTo>
                  <a:lnTo>
                    <a:pt x="94" y="598"/>
                  </a:lnTo>
                  <a:lnTo>
                    <a:pt x="92" y="600"/>
                  </a:lnTo>
                  <a:lnTo>
                    <a:pt x="92" y="604"/>
                  </a:lnTo>
                  <a:lnTo>
                    <a:pt x="92" y="606"/>
                  </a:lnTo>
                  <a:lnTo>
                    <a:pt x="92" y="610"/>
                  </a:lnTo>
                  <a:lnTo>
                    <a:pt x="92" y="612"/>
                  </a:lnTo>
                  <a:lnTo>
                    <a:pt x="94" y="616"/>
                  </a:lnTo>
                  <a:lnTo>
                    <a:pt x="94" y="618"/>
                  </a:lnTo>
                  <a:lnTo>
                    <a:pt x="96" y="620"/>
                  </a:lnTo>
                  <a:lnTo>
                    <a:pt x="100" y="622"/>
                  </a:lnTo>
                  <a:lnTo>
                    <a:pt x="104" y="624"/>
                  </a:lnTo>
                  <a:lnTo>
                    <a:pt x="104" y="626"/>
                  </a:lnTo>
                  <a:lnTo>
                    <a:pt x="104" y="628"/>
                  </a:lnTo>
                  <a:lnTo>
                    <a:pt x="106" y="632"/>
                  </a:lnTo>
                  <a:lnTo>
                    <a:pt x="106" y="636"/>
                  </a:lnTo>
                  <a:lnTo>
                    <a:pt x="106" y="644"/>
                  </a:lnTo>
                  <a:lnTo>
                    <a:pt x="106" y="648"/>
                  </a:lnTo>
                  <a:lnTo>
                    <a:pt x="108" y="650"/>
                  </a:lnTo>
                  <a:lnTo>
                    <a:pt x="110" y="652"/>
                  </a:lnTo>
                  <a:lnTo>
                    <a:pt x="112" y="656"/>
                  </a:lnTo>
                  <a:lnTo>
                    <a:pt x="114" y="658"/>
                  </a:lnTo>
                  <a:lnTo>
                    <a:pt x="114" y="660"/>
                  </a:lnTo>
                  <a:lnTo>
                    <a:pt x="114" y="662"/>
                  </a:lnTo>
                  <a:lnTo>
                    <a:pt x="116" y="662"/>
                  </a:lnTo>
                  <a:lnTo>
                    <a:pt x="118" y="664"/>
                  </a:lnTo>
                  <a:lnTo>
                    <a:pt x="118" y="666"/>
                  </a:lnTo>
                  <a:lnTo>
                    <a:pt x="118" y="668"/>
                  </a:lnTo>
                  <a:lnTo>
                    <a:pt x="118" y="670"/>
                  </a:lnTo>
                  <a:lnTo>
                    <a:pt x="118" y="672"/>
                  </a:lnTo>
                  <a:lnTo>
                    <a:pt x="118" y="674"/>
                  </a:lnTo>
                  <a:lnTo>
                    <a:pt x="118" y="676"/>
                  </a:lnTo>
                  <a:lnTo>
                    <a:pt x="120" y="678"/>
                  </a:lnTo>
                  <a:lnTo>
                    <a:pt x="120" y="680"/>
                  </a:lnTo>
                  <a:lnTo>
                    <a:pt x="122" y="682"/>
                  </a:lnTo>
                  <a:lnTo>
                    <a:pt x="126" y="684"/>
                  </a:lnTo>
                  <a:lnTo>
                    <a:pt x="128" y="686"/>
                  </a:lnTo>
                  <a:lnTo>
                    <a:pt x="132" y="688"/>
                  </a:lnTo>
                  <a:lnTo>
                    <a:pt x="134" y="690"/>
                  </a:lnTo>
                  <a:lnTo>
                    <a:pt x="136" y="690"/>
                  </a:lnTo>
                  <a:lnTo>
                    <a:pt x="138" y="692"/>
                  </a:lnTo>
                  <a:lnTo>
                    <a:pt x="138" y="694"/>
                  </a:lnTo>
                  <a:lnTo>
                    <a:pt x="138" y="696"/>
                  </a:lnTo>
                  <a:lnTo>
                    <a:pt x="138" y="700"/>
                  </a:lnTo>
                  <a:lnTo>
                    <a:pt x="138" y="704"/>
                  </a:lnTo>
                  <a:lnTo>
                    <a:pt x="138" y="706"/>
                  </a:lnTo>
                  <a:lnTo>
                    <a:pt x="136" y="710"/>
                  </a:lnTo>
                  <a:lnTo>
                    <a:pt x="132" y="716"/>
                  </a:lnTo>
                  <a:lnTo>
                    <a:pt x="130" y="718"/>
                  </a:lnTo>
                  <a:lnTo>
                    <a:pt x="128" y="720"/>
                  </a:lnTo>
                  <a:lnTo>
                    <a:pt x="124" y="724"/>
                  </a:lnTo>
                  <a:lnTo>
                    <a:pt x="122" y="726"/>
                  </a:lnTo>
                  <a:lnTo>
                    <a:pt x="120" y="730"/>
                  </a:lnTo>
                  <a:lnTo>
                    <a:pt x="116" y="734"/>
                  </a:lnTo>
                  <a:lnTo>
                    <a:pt x="116" y="736"/>
                  </a:lnTo>
                  <a:lnTo>
                    <a:pt x="114" y="738"/>
                  </a:lnTo>
                  <a:lnTo>
                    <a:pt x="112" y="742"/>
                  </a:lnTo>
                  <a:lnTo>
                    <a:pt x="110" y="746"/>
                  </a:lnTo>
                  <a:lnTo>
                    <a:pt x="108" y="748"/>
                  </a:lnTo>
                  <a:lnTo>
                    <a:pt x="106" y="750"/>
                  </a:lnTo>
                  <a:lnTo>
                    <a:pt x="106" y="752"/>
                  </a:lnTo>
                  <a:lnTo>
                    <a:pt x="106" y="754"/>
                  </a:lnTo>
                  <a:lnTo>
                    <a:pt x="106" y="756"/>
                  </a:lnTo>
                  <a:lnTo>
                    <a:pt x="106" y="758"/>
                  </a:lnTo>
                  <a:lnTo>
                    <a:pt x="106" y="760"/>
                  </a:lnTo>
                  <a:lnTo>
                    <a:pt x="108" y="760"/>
                  </a:lnTo>
                  <a:lnTo>
                    <a:pt x="110" y="760"/>
                  </a:lnTo>
                  <a:lnTo>
                    <a:pt x="112" y="760"/>
                  </a:lnTo>
                  <a:lnTo>
                    <a:pt x="114" y="760"/>
                  </a:lnTo>
                  <a:lnTo>
                    <a:pt x="116" y="762"/>
                  </a:lnTo>
                  <a:lnTo>
                    <a:pt x="120" y="762"/>
                  </a:lnTo>
                  <a:lnTo>
                    <a:pt x="122" y="762"/>
                  </a:lnTo>
                  <a:lnTo>
                    <a:pt x="124" y="762"/>
                  </a:lnTo>
                  <a:lnTo>
                    <a:pt x="126" y="764"/>
                  </a:lnTo>
                  <a:lnTo>
                    <a:pt x="128" y="764"/>
                  </a:lnTo>
                  <a:lnTo>
                    <a:pt x="128" y="766"/>
                  </a:lnTo>
                  <a:lnTo>
                    <a:pt x="128" y="768"/>
                  </a:lnTo>
                  <a:lnTo>
                    <a:pt x="126" y="768"/>
                  </a:lnTo>
                  <a:lnTo>
                    <a:pt x="126" y="770"/>
                  </a:lnTo>
                  <a:lnTo>
                    <a:pt x="124" y="770"/>
                  </a:lnTo>
                  <a:lnTo>
                    <a:pt x="118" y="772"/>
                  </a:lnTo>
                  <a:lnTo>
                    <a:pt x="116" y="772"/>
                  </a:lnTo>
                  <a:lnTo>
                    <a:pt x="116" y="770"/>
                  </a:lnTo>
                  <a:lnTo>
                    <a:pt x="114" y="770"/>
                  </a:lnTo>
                  <a:lnTo>
                    <a:pt x="112" y="770"/>
                  </a:lnTo>
                  <a:lnTo>
                    <a:pt x="110" y="770"/>
                  </a:lnTo>
                  <a:lnTo>
                    <a:pt x="108" y="770"/>
                  </a:lnTo>
                  <a:lnTo>
                    <a:pt x="108" y="772"/>
                  </a:lnTo>
                  <a:lnTo>
                    <a:pt x="104" y="774"/>
                  </a:lnTo>
                  <a:lnTo>
                    <a:pt x="100" y="776"/>
                  </a:lnTo>
                  <a:lnTo>
                    <a:pt x="100" y="780"/>
                  </a:lnTo>
                  <a:lnTo>
                    <a:pt x="100" y="782"/>
                  </a:lnTo>
                  <a:lnTo>
                    <a:pt x="98" y="782"/>
                  </a:lnTo>
                  <a:lnTo>
                    <a:pt x="98" y="786"/>
                  </a:lnTo>
                  <a:lnTo>
                    <a:pt x="96" y="788"/>
                  </a:lnTo>
                  <a:lnTo>
                    <a:pt x="96" y="790"/>
                  </a:lnTo>
                  <a:lnTo>
                    <a:pt x="96" y="794"/>
                  </a:lnTo>
                  <a:lnTo>
                    <a:pt x="94" y="800"/>
                  </a:lnTo>
                  <a:lnTo>
                    <a:pt x="96" y="804"/>
                  </a:lnTo>
                  <a:lnTo>
                    <a:pt x="96" y="810"/>
                  </a:lnTo>
                  <a:lnTo>
                    <a:pt x="98" y="812"/>
                  </a:lnTo>
                  <a:lnTo>
                    <a:pt x="98" y="816"/>
                  </a:lnTo>
                  <a:lnTo>
                    <a:pt x="98" y="818"/>
                  </a:lnTo>
                  <a:lnTo>
                    <a:pt x="98" y="820"/>
                  </a:lnTo>
                  <a:lnTo>
                    <a:pt x="96" y="822"/>
                  </a:lnTo>
                  <a:lnTo>
                    <a:pt x="98" y="824"/>
                  </a:lnTo>
                  <a:lnTo>
                    <a:pt x="98" y="826"/>
                  </a:lnTo>
                  <a:lnTo>
                    <a:pt x="100" y="828"/>
                  </a:lnTo>
                  <a:lnTo>
                    <a:pt x="100" y="830"/>
                  </a:lnTo>
                  <a:lnTo>
                    <a:pt x="100" y="832"/>
                  </a:lnTo>
                  <a:lnTo>
                    <a:pt x="104" y="834"/>
                  </a:lnTo>
                  <a:lnTo>
                    <a:pt x="106" y="834"/>
                  </a:lnTo>
                  <a:lnTo>
                    <a:pt x="106" y="836"/>
                  </a:lnTo>
                  <a:lnTo>
                    <a:pt x="106" y="840"/>
                  </a:lnTo>
                  <a:lnTo>
                    <a:pt x="108" y="842"/>
                  </a:lnTo>
                  <a:lnTo>
                    <a:pt x="110" y="846"/>
                  </a:lnTo>
                  <a:lnTo>
                    <a:pt x="112" y="848"/>
                  </a:lnTo>
                  <a:lnTo>
                    <a:pt x="114" y="852"/>
                  </a:lnTo>
                  <a:lnTo>
                    <a:pt x="114" y="854"/>
                  </a:lnTo>
                  <a:lnTo>
                    <a:pt x="116" y="856"/>
                  </a:lnTo>
                  <a:lnTo>
                    <a:pt x="118" y="856"/>
                  </a:lnTo>
                  <a:lnTo>
                    <a:pt x="122" y="858"/>
                  </a:lnTo>
                  <a:lnTo>
                    <a:pt x="126" y="858"/>
                  </a:lnTo>
                  <a:lnTo>
                    <a:pt x="128" y="858"/>
                  </a:lnTo>
                  <a:lnTo>
                    <a:pt x="132" y="860"/>
                  </a:lnTo>
                  <a:lnTo>
                    <a:pt x="134" y="860"/>
                  </a:lnTo>
                  <a:lnTo>
                    <a:pt x="136" y="860"/>
                  </a:lnTo>
                  <a:lnTo>
                    <a:pt x="138" y="860"/>
                  </a:lnTo>
                  <a:lnTo>
                    <a:pt x="140" y="860"/>
                  </a:lnTo>
                  <a:lnTo>
                    <a:pt x="144" y="858"/>
                  </a:lnTo>
                  <a:lnTo>
                    <a:pt x="146" y="858"/>
                  </a:lnTo>
                  <a:lnTo>
                    <a:pt x="148" y="858"/>
                  </a:lnTo>
                  <a:lnTo>
                    <a:pt x="150" y="860"/>
                  </a:lnTo>
                  <a:lnTo>
                    <a:pt x="150" y="862"/>
                  </a:lnTo>
                  <a:lnTo>
                    <a:pt x="152" y="864"/>
                  </a:lnTo>
                  <a:lnTo>
                    <a:pt x="154" y="864"/>
                  </a:lnTo>
                  <a:lnTo>
                    <a:pt x="154" y="866"/>
                  </a:lnTo>
                  <a:lnTo>
                    <a:pt x="156" y="868"/>
                  </a:lnTo>
                  <a:lnTo>
                    <a:pt x="158" y="868"/>
                  </a:lnTo>
                  <a:lnTo>
                    <a:pt x="158" y="870"/>
                  </a:lnTo>
                  <a:lnTo>
                    <a:pt x="158" y="872"/>
                  </a:lnTo>
                  <a:lnTo>
                    <a:pt x="158" y="874"/>
                  </a:lnTo>
                  <a:lnTo>
                    <a:pt x="158" y="878"/>
                  </a:lnTo>
                  <a:lnTo>
                    <a:pt x="156" y="878"/>
                  </a:lnTo>
                  <a:lnTo>
                    <a:pt x="156" y="880"/>
                  </a:lnTo>
                  <a:lnTo>
                    <a:pt x="158" y="880"/>
                  </a:lnTo>
                  <a:lnTo>
                    <a:pt x="158" y="882"/>
                  </a:lnTo>
                  <a:lnTo>
                    <a:pt x="160" y="884"/>
                  </a:lnTo>
                  <a:lnTo>
                    <a:pt x="162" y="884"/>
                  </a:lnTo>
                  <a:lnTo>
                    <a:pt x="162" y="886"/>
                  </a:lnTo>
                  <a:lnTo>
                    <a:pt x="162" y="888"/>
                  </a:lnTo>
                  <a:lnTo>
                    <a:pt x="162" y="890"/>
                  </a:lnTo>
                  <a:lnTo>
                    <a:pt x="162" y="892"/>
                  </a:lnTo>
                  <a:lnTo>
                    <a:pt x="164" y="892"/>
                  </a:lnTo>
                  <a:lnTo>
                    <a:pt x="166" y="894"/>
                  </a:lnTo>
                  <a:lnTo>
                    <a:pt x="168" y="894"/>
                  </a:lnTo>
                  <a:lnTo>
                    <a:pt x="170" y="894"/>
                  </a:lnTo>
                  <a:lnTo>
                    <a:pt x="170" y="896"/>
                  </a:lnTo>
                  <a:lnTo>
                    <a:pt x="172" y="898"/>
                  </a:lnTo>
                  <a:lnTo>
                    <a:pt x="174" y="900"/>
                  </a:lnTo>
                  <a:lnTo>
                    <a:pt x="176" y="904"/>
                  </a:lnTo>
                  <a:lnTo>
                    <a:pt x="178" y="904"/>
                  </a:lnTo>
                  <a:lnTo>
                    <a:pt x="180" y="906"/>
                  </a:lnTo>
                  <a:lnTo>
                    <a:pt x="182" y="908"/>
                  </a:lnTo>
                  <a:lnTo>
                    <a:pt x="182" y="910"/>
                  </a:lnTo>
                  <a:lnTo>
                    <a:pt x="180" y="912"/>
                  </a:lnTo>
                  <a:lnTo>
                    <a:pt x="178" y="914"/>
                  </a:lnTo>
                  <a:lnTo>
                    <a:pt x="176" y="914"/>
                  </a:lnTo>
                  <a:lnTo>
                    <a:pt x="174" y="914"/>
                  </a:lnTo>
                  <a:lnTo>
                    <a:pt x="170" y="916"/>
                  </a:lnTo>
                  <a:lnTo>
                    <a:pt x="168" y="916"/>
                  </a:lnTo>
                  <a:lnTo>
                    <a:pt x="166" y="918"/>
                  </a:lnTo>
                  <a:lnTo>
                    <a:pt x="164" y="918"/>
                  </a:lnTo>
                  <a:lnTo>
                    <a:pt x="164" y="920"/>
                  </a:lnTo>
                  <a:lnTo>
                    <a:pt x="164" y="922"/>
                  </a:lnTo>
                  <a:lnTo>
                    <a:pt x="164" y="924"/>
                  </a:lnTo>
                  <a:lnTo>
                    <a:pt x="166" y="924"/>
                  </a:lnTo>
                  <a:lnTo>
                    <a:pt x="166" y="926"/>
                  </a:lnTo>
                  <a:lnTo>
                    <a:pt x="168" y="926"/>
                  </a:lnTo>
                  <a:lnTo>
                    <a:pt x="168" y="928"/>
                  </a:lnTo>
                  <a:lnTo>
                    <a:pt x="170" y="928"/>
                  </a:lnTo>
                  <a:lnTo>
                    <a:pt x="168" y="932"/>
                  </a:lnTo>
                  <a:lnTo>
                    <a:pt x="168" y="934"/>
                  </a:lnTo>
                  <a:lnTo>
                    <a:pt x="168" y="936"/>
                  </a:lnTo>
                  <a:lnTo>
                    <a:pt x="170" y="938"/>
                  </a:lnTo>
                  <a:lnTo>
                    <a:pt x="172" y="936"/>
                  </a:lnTo>
                  <a:lnTo>
                    <a:pt x="174" y="936"/>
                  </a:lnTo>
                  <a:lnTo>
                    <a:pt x="176" y="934"/>
                  </a:lnTo>
                  <a:lnTo>
                    <a:pt x="180" y="934"/>
                  </a:lnTo>
                  <a:lnTo>
                    <a:pt x="184" y="934"/>
                  </a:lnTo>
                  <a:lnTo>
                    <a:pt x="186" y="934"/>
                  </a:lnTo>
                  <a:lnTo>
                    <a:pt x="188" y="934"/>
                  </a:lnTo>
                  <a:lnTo>
                    <a:pt x="190" y="934"/>
                  </a:lnTo>
                  <a:lnTo>
                    <a:pt x="194" y="934"/>
                  </a:lnTo>
                  <a:lnTo>
                    <a:pt x="202" y="934"/>
                  </a:lnTo>
                  <a:lnTo>
                    <a:pt x="206" y="934"/>
                  </a:lnTo>
                  <a:lnTo>
                    <a:pt x="210" y="936"/>
                  </a:lnTo>
                  <a:lnTo>
                    <a:pt x="210" y="938"/>
                  </a:lnTo>
                  <a:lnTo>
                    <a:pt x="212" y="940"/>
                  </a:lnTo>
                  <a:lnTo>
                    <a:pt x="212" y="942"/>
                  </a:lnTo>
                  <a:lnTo>
                    <a:pt x="212" y="944"/>
                  </a:lnTo>
                  <a:lnTo>
                    <a:pt x="210" y="946"/>
                  </a:lnTo>
                  <a:lnTo>
                    <a:pt x="210" y="948"/>
                  </a:lnTo>
                  <a:lnTo>
                    <a:pt x="210" y="950"/>
                  </a:lnTo>
                  <a:lnTo>
                    <a:pt x="210" y="952"/>
                  </a:lnTo>
                  <a:lnTo>
                    <a:pt x="212" y="954"/>
                  </a:lnTo>
                  <a:lnTo>
                    <a:pt x="214" y="954"/>
                  </a:lnTo>
                  <a:lnTo>
                    <a:pt x="218" y="954"/>
                  </a:lnTo>
                  <a:lnTo>
                    <a:pt x="220" y="954"/>
                  </a:lnTo>
                  <a:lnTo>
                    <a:pt x="222" y="954"/>
                  </a:lnTo>
                  <a:lnTo>
                    <a:pt x="224" y="956"/>
                  </a:lnTo>
                  <a:lnTo>
                    <a:pt x="226" y="958"/>
                  </a:lnTo>
                  <a:lnTo>
                    <a:pt x="226" y="960"/>
                  </a:lnTo>
                  <a:lnTo>
                    <a:pt x="226" y="962"/>
                  </a:lnTo>
                  <a:lnTo>
                    <a:pt x="228" y="964"/>
                  </a:lnTo>
                  <a:lnTo>
                    <a:pt x="230" y="968"/>
                  </a:lnTo>
                  <a:lnTo>
                    <a:pt x="234" y="970"/>
                  </a:lnTo>
                  <a:lnTo>
                    <a:pt x="236" y="972"/>
                  </a:lnTo>
                  <a:lnTo>
                    <a:pt x="238" y="972"/>
                  </a:lnTo>
                  <a:lnTo>
                    <a:pt x="242" y="970"/>
                  </a:lnTo>
                  <a:lnTo>
                    <a:pt x="246" y="970"/>
                  </a:lnTo>
                  <a:lnTo>
                    <a:pt x="248" y="970"/>
                  </a:lnTo>
                  <a:lnTo>
                    <a:pt x="252" y="970"/>
                  </a:lnTo>
                  <a:lnTo>
                    <a:pt x="256" y="972"/>
                  </a:lnTo>
                  <a:lnTo>
                    <a:pt x="258" y="974"/>
                  </a:lnTo>
                  <a:lnTo>
                    <a:pt x="260" y="974"/>
                  </a:lnTo>
                  <a:lnTo>
                    <a:pt x="262" y="976"/>
                  </a:lnTo>
                  <a:lnTo>
                    <a:pt x="264" y="976"/>
                  </a:lnTo>
                  <a:lnTo>
                    <a:pt x="266" y="976"/>
                  </a:lnTo>
                  <a:lnTo>
                    <a:pt x="270" y="976"/>
                  </a:lnTo>
                  <a:lnTo>
                    <a:pt x="274" y="976"/>
                  </a:lnTo>
                  <a:lnTo>
                    <a:pt x="276" y="976"/>
                  </a:lnTo>
                  <a:lnTo>
                    <a:pt x="278" y="976"/>
                  </a:lnTo>
                  <a:lnTo>
                    <a:pt x="280" y="976"/>
                  </a:lnTo>
                  <a:lnTo>
                    <a:pt x="282" y="976"/>
                  </a:lnTo>
                  <a:lnTo>
                    <a:pt x="284" y="976"/>
                  </a:lnTo>
                  <a:lnTo>
                    <a:pt x="286" y="978"/>
                  </a:lnTo>
                  <a:lnTo>
                    <a:pt x="288" y="978"/>
                  </a:lnTo>
                  <a:lnTo>
                    <a:pt x="292" y="978"/>
                  </a:lnTo>
                  <a:lnTo>
                    <a:pt x="294" y="978"/>
                  </a:lnTo>
                  <a:lnTo>
                    <a:pt x="298" y="978"/>
                  </a:lnTo>
                  <a:lnTo>
                    <a:pt x="300" y="980"/>
                  </a:lnTo>
                  <a:lnTo>
                    <a:pt x="302" y="982"/>
                  </a:lnTo>
                  <a:lnTo>
                    <a:pt x="302" y="984"/>
                  </a:lnTo>
                  <a:lnTo>
                    <a:pt x="302" y="986"/>
                  </a:lnTo>
                  <a:lnTo>
                    <a:pt x="300" y="988"/>
                  </a:lnTo>
                  <a:lnTo>
                    <a:pt x="298" y="992"/>
                  </a:lnTo>
                  <a:lnTo>
                    <a:pt x="296" y="992"/>
                  </a:lnTo>
                  <a:lnTo>
                    <a:pt x="296" y="994"/>
                  </a:lnTo>
                  <a:lnTo>
                    <a:pt x="296" y="996"/>
                  </a:lnTo>
                  <a:lnTo>
                    <a:pt x="296" y="1000"/>
                  </a:lnTo>
                  <a:lnTo>
                    <a:pt x="296" y="1004"/>
                  </a:lnTo>
                  <a:lnTo>
                    <a:pt x="296" y="1006"/>
                  </a:lnTo>
                  <a:lnTo>
                    <a:pt x="296" y="1010"/>
                  </a:lnTo>
                  <a:lnTo>
                    <a:pt x="296" y="1012"/>
                  </a:lnTo>
                  <a:lnTo>
                    <a:pt x="296" y="1014"/>
                  </a:lnTo>
                  <a:lnTo>
                    <a:pt x="296" y="1016"/>
                  </a:lnTo>
                  <a:lnTo>
                    <a:pt x="294" y="1016"/>
                  </a:lnTo>
                  <a:lnTo>
                    <a:pt x="292" y="1018"/>
                  </a:lnTo>
                  <a:lnTo>
                    <a:pt x="288" y="1018"/>
                  </a:lnTo>
                  <a:lnTo>
                    <a:pt x="286" y="1020"/>
                  </a:lnTo>
                  <a:lnTo>
                    <a:pt x="280" y="1020"/>
                  </a:lnTo>
                  <a:lnTo>
                    <a:pt x="278" y="1020"/>
                  </a:lnTo>
                  <a:lnTo>
                    <a:pt x="278" y="1022"/>
                  </a:lnTo>
                  <a:lnTo>
                    <a:pt x="276" y="1022"/>
                  </a:lnTo>
                  <a:lnTo>
                    <a:pt x="276" y="1024"/>
                  </a:lnTo>
                  <a:lnTo>
                    <a:pt x="274" y="1026"/>
                  </a:lnTo>
                  <a:lnTo>
                    <a:pt x="274" y="1028"/>
                  </a:lnTo>
                  <a:lnTo>
                    <a:pt x="276" y="1028"/>
                  </a:lnTo>
                  <a:lnTo>
                    <a:pt x="278" y="1028"/>
                  </a:lnTo>
                  <a:lnTo>
                    <a:pt x="280" y="1026"/>
                  </a:lnTo>
                  <a:lnTo>
                    <a:pt x="282" y="1026"/>
                  </a:lnTo>
                  <a:lnTo>
                    <a:pt x="288" y="1026"/>
                  </a:lnTo>
                  <a:lnTo>
                    <a:pt x="290" y="1026"/>
                  </a:lnTo>
                  <a:lnTo>
                    <a:pt x="292" y="1026"/>
                  </a:lnTo>
                  <a:lnTo>
                    <a:pt x="292" y="1028"/>
                  </a:lnTo>
                  <a:lnTo>
                    <a:pt x="288" y="1030"/>
                  </a:lnTo>
                  <a:lnTo>
                    <a:pt x="284" y="1032"/>
                  </a:lnTo>
                  <a:lnTo>
                    <a:pt x="282" y="1034"/>
                  </a:lnTo>
                  <a:lnTo>
                    <a:pt x="280" y="1034"/>
                  </a:lnTo>
                  <a:lnTo>
                    <a:pt x="280" y="1036"/>
                  </a:lnTo>
                  <a:lnTo>
                    <a:pt x="280" y="1038"/>
                  </a:lnTo>
                  <a:lnTo>
                    <a:pt x="278" y="1038"/>
                  </a:lnTo>
                  <a:lnTo>
                    <a:pt x="276" y="1038"/>
                  </a:lnTo>
                  <a:lnTo>
                    <a:pt x="272" y="1038"/>
                  </a:lnTo>
                  <a:lnTo>
                    <a:pt x="268" y="1038"/>
                  </a:lnTo>
                  <a:lnTo>
                    <a:pt x="266" y="1038"/>
                  </a:lnTo>
                  <a:lnTo>
                    <a:pt x="264" y="1040"/>
                  </a:lnTo>
                  <a:lnTo>
                    <a:pt x="264" y="1042"/>
                  </a:lnTo>
                  <a:lnTo>
                    <a:pt x="266" y="1042"/>
                  </a:lnTo>
                  <a:lnTo>
                    <a:pt x="268" y="1044"/>
                  </a:lnTo>
                  <a:lnTo>
                    <a:pt x="270" y="1046"/>
                  </a:lnTo>
                  <a:lnTo>
                    <a:pt x="272" y="1046"/>
                  </a:lnTo>
                  <a:lnTo>
                    <a:pt x="274" y="1048"/>
                  </a:lnTo>
                  <a:lnTo>
                    <a:pt x="274" y="1050"/>
                  </a:lnTo>
                  <a:lnTo>
                    <a:pt x="272" y="1050"/>
                  </a:lnTo>
                  <a:lnTo>
                    <a:pt x="270" y="1050"/>
                  </a:lnTo>
                  <a:lnTo>
                    <a:pt x="268" y="1052"/>
                  </a:lnTo>
                  <a:lnTo>
                    <a:pt x="268" y="1054"/>
                  </a:lnTo>
                  <a:lnTo>
                    <a:pt x="266" y="1056"/>
                  </a:lnTo>
                  <a:lnTo>
                    <a:pt x="266" y="1060"/>
                  </a:lnTo>
                  <a:lnTo>
                    <a:pt x="266" y="1062"/>
                  </a:lnTo>
                  <a:lnTo>
                    <a:pt x="266" y="1066"/>
                  </a:lnTo>
                  <a:lnTo>
                    <a:pt x="266" y="1068"/>
                  </a:lnTo>
                  <a:lnTo>
                    <a:pt x="264" y="1068"/>
                  </a:lnTo>
                  <a:lnTo>
                    <a:pt x="262" y="1070"/>
                  </a:lnTo>
                  <a:lnTo>
                    <a:pt x="260" y="1068"/>
                  </a:lnTo>
                  <a:lnTo>
                    <a:pt x="258" y="1068"/>
                  </a:lnTo>
                  <a:lnTo>
                    <a:pt x="258" y="1070"/>
                  </a:lnTo>
                  <a:lnTo>
                    <a:pt x="258" y="1072"/>
                  </a:lnTo>
                  <a:lnTo>
                    <a:pt x="258" y="1074"/>
                  </a:lnTo>
                  <a:lnTo>
                    <a:pt x="258" y="1076"/>
                  </a:lnTo>
                  <a:lnTo>
                    <a:pt x="258" y="1078"/>
                  </a:lnTo>
                  <a:lnTo>
                    <a:pt x="260" y="1080"/>
                  </a:lnTo>
                  <a:lnTo>
                    <a:pt x="262" y="1080"/>
                  </a:lnTo>
                  <a:lnTo>
                    <a:pt x="264" y="1082"/>
                  </a:lnTo>
                  <a:lnTo>
                    <a:pt x="266" y="1084"/>
                  </a:lnTo>
                  <a:lnTo>
                    <a:pt x="266" y="1086"/>
                  </a:lnTo>
                  <a:lnTo>
                    <a:pt x="266" y="1088"/>
                  </a:lnTo>
                  <a:lnTo>
                    <a:pt x="268" y="1090"/>
                  </a:lnTo>
                  <a:lnTo>
                    <a:pt x="272" y="1090"/>
                  </a:lnTo>
                  <a:lnTo>
                    <a:pt x="274" y="1090"/>
                  </a:lnTo>
                  <a:lnTo>
                    <a:pt x="278" y="1092"/>
                  </a:lnTo>
                  <a:lnTo>
                    <a:pt x="280" y="1092"/>
                  </a:lnTo>
                  <a:lnTo>
                    <a:pt x="282" y="1094"/>
                  </a:lnTo>
                  <a:lnTo>
                    <a:pt x="286" y="1096"/>
                  </a:lnTo>
                  <a:lnTo>
                    <a:pt x="288" y="1098"/>
                  </a:lnTo>
                  <a:lnTo>
                    <a:pt x="290" y="1098"/>
                  </a:lnTo>
                  <a:lnTo>
                    <a:pt x="294" y="1100"/>
                  </a:lnTo>
                  <a:lnTo>
                    <a:pt x="296" y="1100"/>
                  </a:lnTo>
                  <a:lnTo>
                    <a:pt x="302" y="1102"/>
                  </a:lnTo>
                  <a:lnTo>
                    <a:pt x="306" y="1104"/>
                  </a:lnTo>
                  <a:lnTo>
                    <a:pt x="314" y="1110"/>
                  </a:lnTo>
                  <a:lnTo>
                    <a:pt x="316" y="1112"/>
                  </a:lnTo>
                  <a:lnTo>
                    <a:pt x="320" y="1110"/>
                  </a:lnTo>
                  <a:lnTo>
                    <a:pt x="324" y="1110"/>
                  </a:lnTo>
                  <a:lnTo>
                    <a:pt x="336" y="1114"/>
                  </a:lnTo>
                  <a:lnTo>
                    <a:pt x="348" y="1116"/>
                  </a:lnTo>
                  <a:lnTo>
                    <a:pt x="356" y="1118"/>
                  </a:lnTo>
                  <a:lnTo>
                    <a:pt x="364" y="1122"/>
                  </a:lnTo>
                  <a:lnTo>
                    <a:pt x="368" y="1122"/>
                  </a:lnTo>
                  <a:lnTo>
                    <a:pt x="376" y="1122"/>
                  </a:lnTo>
                  <a:lnTo>
                    <a:pt x="390" y="1126"/>
                  </a:lnTo>
                  <a:lnTo>
                    <a:pt x="402" y="1130"/>
                  </a:lnTo>
                  <a:lnTo>
                    <a:pt x="414" y="1130"/>
                  </a:lnTo>
                  <a:lnTo>
                    <a:pt x="416" y="1130"/>
                  </a:lnTo>
                  <a:lnTo>
                    <a:pt x="418" y="1132"/>
                  </a:lnTo>
                  <a:lnTo>
                    <a:pt x="420" y="1132"/>
                  </a:lnTo>
                  <a:lnTo>
                    <a:pt x="422" y="1132"/>
                  </a:lnTo>
                  <a:lnTo>
                    <a:pt x="424" y="1134"/>
                  </a:lnTo>
                  <a:lnTo>
                    <a:pt x="426" y="1134"/>
                  </a:lnTo>
                  <a:lnTo>
                    <a:pt x="428" y="1136"/>
                  </a:lnTo>
                  <a:lnTo>
                    <a:pt x="428" y="1138"/>
                  </a:lnTo>
                  <a:lnTo>
                    <a:pt x="430" y="1140"/>
                  </a:lnTo>
                  <a:lnTo>
                    <a:pt x="432" y="1140"/>
                  </a:lnTo>
                  <a:lnTo>
                    <a:pt x="436" y="1142"/>
                  </a:lnTo>
                  <a:lnTo>
                    <a:pt x="438" y="1142"/>
                  </a:lnTo>
                  <a:lnTo>
                    <a:pt x="440" y="1144"/>
                  </a:lnTo>
                  <a:lnTo>
                    <a:pt x="442" y="1144"/>
                  </a:lnTo>
                  <a:lnTo>
                    <a:pt x="442" y="1142"/>
                  </a:lnTo>
                  <a:lnTo>
                    <a:pt x="444" y="1142"/>
                  </a:lnTo>
                  <a:lnTo>
                    <a:pt x="444" y="1140"/>
                  </a:lnTo>
                  <a:lnTo>
                    <a:pt x="446" y="1138"/>
                  </a:lnTo>
                  <a:lnTo>
                    <a:pt x="448" y="1138"/>
                  </a:lnTo>
                  <a:lnTo>
                    <a:pt x="450" y="1136"/>
                  </a:lnTo>
                  <a:lnTo>
                    <a:pt x="450" y="1134"/>
                  </a:lnTo>
                  <a:lnTo>
                    <a:pt x="450" y="1132"/>
                  </a:lnTo>
                  <a:lnTo>
                    <a:pt x="448" y="1130"/>
                  </a:lnTo>
                  <a:lnTo>
                    <a:pt x="446" y="1128"/>
                  </a:lnTo>
                  <a:lnTo>
                    <a:pt x="442" y="1124"/>
                  </a:lnTo>
                  <a:lnTo>
                    <a:pt x="440" y="1122"/>
                  </a:lnTo>
                  <a:lnTo>
                    <a:pt x="438" y="1122"/>
                  </a:lnTo>
                  <a:lnTo>
                    <a:pt x="436" y="1118"/>
                  </a:lnTo>
                  <a:lnTo>
                    <a:pt x="434" y="1116"/>
                  </a:lnTo>
                  <a:lnTo>
                    <a:pt x="430" y="1112"/>
                  </a:lnTo>
                  <a:lnTo>
                    <a:pt x="428" y="1110"/>
                  </a:lnTo>
                  <a:lnTo>
                    <a:pt x="428" y="1106"/>
                  </a:lnTo>
                  <a:lnTo>
                    <a:pt x="426" y="1106"/>
                  </a:lnTo>
                  <a:lnTo>
                    <a:pt x="426" y="1104"/>
                  </a:lnTo>
                  <a:lnTo>
                    <a:pt x="426" y="1100"/>
                  </a:lnTo>
                  <a:lnTo>
                    <a:pt x="426" y="1098"/>
                  </a:lnTo>
                  <a:lnTo>
                    <a:pt x="428" y="1096"/>
                  </a:lnTo>
                  <a:lnTo>
                    <a:pt x="428" y="1094"/>
                  </a:lnTo>
                  <a:lnTo>
                    <a:pt x="428" y="1092"/>
                  </a:lnTo>
                  <a:lnTo>
                    <a:pt x="428" y="1088"/>
                  </a:lnTo>
                  <a:lnTo>
                    <a:pt x="426" y="1086"/>
                  </a:lnTo>
                  <a:lnTo>
                    <a:pt x="424" y="1084"/>
                  </a:lnTo>
                  <a:lnTo>
                    <a:pt x="422" y="1084"/>
                  </a:lnTo>
                  <a:lnTo>
                    <a:pt x="420" y="1084"/>
                  </a:lnTo>
                  <a:lnTo>
                    <a:pt x="416" y="1084"/>
                  </a:lnTo>
                  <a:lnTo>
                    <a:pt x="414" y="1084"/>
                  </a:lnTo>
                  <a:lnTo>
                    <a:pt x="414" y="1082"/>
                  </a:lnTo>
                  <a:lnTo>
                    <a:pt x="412" y="1082"/>
                  </a:lnTo>
                  <a:lnTo>
                    <a:pt x="412" y="1080"/>
                  </a:lnTo>
                  <a:lnTo>
                    <a:pt x="412" y="1078"/>
                  </a:lnTo>
                  <a:lnTo>
                    <a:pt x="414" y="1076"/>
                  </a:lnTo>
                  <a:lnTo>
                    <a:pt x="414" y="1074"/>
                  </a:lnTo>
                  <a:lnTo>
                    <a:pt x="414" y="1072"/>
                  </a:lnTo>
                  <a:lnTo>
                    <a:pt x="414" y="1070"/>
                  </a:lnTo>
                  <a:lnTo>
                    <a:pt x="414" y="1066"/>
                  </a:lnTo>
                  <a:lnTo>
                    <a:pt x="414" y="1062"/>
                  </a:lnTo>
                  <a:lnTo>
                    <a:pt x="414" y="1058"/>
                  </a:lnTo>
                  <a:lnTo>
                    <a:pt x="414" y="1056"/>
                  </a:lnTo>
                  <a:lnTo>
                    <a:pt x="414" y="1054"/>
                  </a:lnTo>
                  <a:lnTo>
                    <a:pt x="416" y="1050"/>
                  </a:lnTo>
                  <a:lnTo>
                    <a:pt x="418" y="1050"/>
                  </a:lnTo>
                  <a:lnTo>
                    <a:pt x="420" y="1048"/>
                  </a:lnTo>
                  <a:lnTo>
                    <a:pt x="424" y="1048"/>
                  </a:lnTo>
                  <a:lnTo>
                    <a:pt x="426" y="1048"/>
                  </a:lnTo>
                  <a:lnTo>
                    <a:pt x="428" y="1048"/>
                  </a:lnTo>
                  <a:lnTo>
                    <a:pt x="430" y="1046"/>
                  </a:lnTo>
                  <a:lnTo>
                    <a:pt x="432" y="1044"/>
                  </a:lnTo>
                  <a:lnTo>
                    <a:pt x="432" y="1042"/>
                  </a:lnTo>
                  <a:lnTo>
                    <a:pt x="434" y="1042"/>
                  </a:lnTo>
                  <a:lnTo>
                    <a:pt x="434" y="1038"/>
                  </a:lnTo>
                  <a:lnTo>
                    <a:pt x="436" y="1038"/>
                  </a:lnTo>
                  <a:lnTo>
                    <a:pt x="438" y="1036"/>
                  </a:lnTo>
                  <a:lnTo>
                    <a:pt x="440" y="1034"/>
                  </a:lnTo>
                  <a:lnTo>
                    <a:pt x="440" y="1032"/>
                  </a:lnTo>
                  <a:lnTo>
                    <a:pt x="442" y="1030"/>
                  </a:lnTo>
                  <a:lnTo>
                    <a:pt x="444" y="1030"/>
                  </a:lnTo>
                  <a:lnTo>
                    <a:pt x="444" y="1028"/>
                  </a:lnTo>
                  <a:lnTo>
                    <a:pt x="446" y="1028"/>
                  </a:lnTo>
                  <a:lnTo>
                    <a:pt x="446" y="1026"/>
                  </a:lnTo>
                  <a:lnTo>
                    <a:pt x="448" y="1024"/>
                  </a:lnTo>
                  <a:lnTo>
                    <a:pt x="450" y="1022"/>
                  </a:lnTo>
                  <a:lnTo>
                    <a:pt x="452" y="1020"/>
                  </a:lnTo>
                  <a:lnTo>
                    <a:pt x="456" y="1016"/>
                  </a:lnTo>
                  <a:lnTo>
                    <a:pt x="458" y="1014"/>
                  </a:lnTo>
                  <a:lnTo>
                    <a:pt x="460" y="1014"/>
                  </a:lnTo>
                  <a:lnTo>
                    <a:pt x="462" y="1014"/>
                  </a:lnTo>
                  <a:lnTo>
                    <a:pt x="464" y="1014"/>
                  </a:lnTo>
                  <a:lnTo>
                    <a:pt x="464" y="1012"/>
                  </a:lnTo>
                  <a:lnTo>
                    <a:pt x="458" y="1006"/>
                  </a:lnTo>
                  <a:lnTo>
                    <a:pt x="454" y="1002"/>
                  </a:lnTo>
                  <a:lnTo>
                    <a:pt x="454" y="1000"/>
                  </a:lnTo>
                  <a:lnTo>
                    <a:pt x="452" y="998"/>
                  </a:lnTo>
                  <a:lnTo>
                    <a:pt x="452" y="996"/>
                  </a:lnTo>
                  <a:lnTo>
                    <a:pt x="452" y="994"/>
                  </a:lnTo>
                  <a:lnTo>
                    <a:pt x="454" y="988"/>
                  </a:lnTo>
                  <a:lnTo>
                    <a:pt x="454" y="986"/>
                  </a:lnTo>
                  <a:lnTo>
                    <a:pt x="454" y="984"/>
                  </a:lnTo>
                  <a:lnTo>
                    <a:pt x="454" y="982"/>
                  </a:lnTo>
                  <a:lnTo>
                    <a:pt x="446" y="976"/>
                  </a:lnTo>
                  <a:lnTo>
                    <a:pt x="436" y="968"/>
                  </a:lnTo>
                  <a:lnTo>
                    <a:pt x="428" y="960"/>
                  </a:lnTo>
                  <a:lnTo>
                    <a:pt x="418" y="952"/>
                  </a:lnTo>
                  <a:lnTo>
                    <a:pt x="418" y="950"/>
                  </a:lnTo>
                  <a:lnTo>
                    <a:pt x="420" y="948"/>
                  </a:lnTo>
                  <a:lnTo>
                    <a:pt x="424" y="946"/>
                  </a:lnTo>
                  <a:lnTo>
                    <a:pt x="426" y="944"/>
                  </a:lnTo>
                  <a:lnTo>
                    <a:pt x="428" y="940"/>
                  </a:lnTo>
                  <a:lnTo>
                    <a:pt x="430" y="938"/>
                  </a:lnTo>
                  <a:lnTo>
                    <a:pt x="432" y="936"/>
                  </a:lnTo>
                  <a:lnTo>
                    <a:pt x="434" y="934"/>
                  </a:lnTo>
                  <a:lnTo>
                    <a:pt x="440" y="930"/>
                  </a:lnTo>
                  <a:lnTo>
                    <a:pt x="442" y="930"/>
                  </a:lnTo>
                  <a:lnTo>
                    <a:pt x="444" y="928"/>
                  </a:lnTo>
                  <a:lnTo>
                    <a:pt x="446" y="928"/>
                  </a:lnTo>
                  <a:lnTo>
                    <a:pt x="450" y="930"/>
                  </a:lnTo>
                  <a:lnTo>
                    <a:pt x="452" y="930"/>
                  </a:lnTo>
                  <a:lnTo>
                    <a:pt x="452" y="932"/>
                  </a:lnTo>
                  <a:lnTo>
                    <a:pt x="456" y="930"/>
                  </a:lnTo>
                  <a:lnTo>
                    <a:pt x="458" y="930"/>
                  </a:lnTo>
                  <a:lnTo>
                    <a:pt x="460" y="928"/>
                  </a:lnTo>
                  <a:lnTo>
                    <a:pt x="464" y="928"/>
                  </a:lnTo>
                  <a:lnTo>
                    <a:pt x="470" y="928"/>
                  </a:lnTo>
                  <a:lnTo>
                    <a:pt x="472" y="928"/>
                  </a:lnTo>
                  <a:lnTo>
                    <a:pt x="474" y="928"/>
                  </a:lnTo>
                  <a:lnTo>
                    <a:pt x="478" y="928"/>
                  </a:lnTo>
                  <a:lnTo>
                    <a:pt x="480" y="928"/>
                  </a:lnTo>
                  <a:lnTo>
                    <a:pt x="482" y="928"/>
                  </a:lnTo>
                  <a:lnTo>
                    <a:pt x="486" y="930"/>
                  </a:lnTo>
                  <a:lnTo>
                    <a:pt x="488" y="932"/>
                  </a:lnTo>
                  <a:lnTo>
                    <a:pt x="490" y="934"/>
                  </a:lnTo>
                  <a:lnTo>
                    <a:pt x="490" y="936"/>
                  </a:lnTo>
                  <a:lnTo>
                    <a:pt x="492" y="942"/>
                  </a:lnTo>
                  <a:lnTo>
                    <a:pt x="494" y="944"/>
                  </a:lnTo>
                  <a:lnTo>
                    <a:pt x="496" y="946"/>
                  </a:lnTo>
                  <a:lnTo>
                    <a:pt x="498" y="946"/>
                  </a:lnTo>
                  <a:lnTo>
                    <a:pt x="500" y="946"/>
                  </a:lnTo>
                  <a:lnTo>
                    <a:pt x="506" y="946"/>
                  </a:lnTo>
                  <a:lnTo>
                    <a:pt x="512" y="946"/>
                  </a:lnTo>
                  <a:lnTo>
                    <a:pt x="514" y="944"/>
                  </a:lnTo>
                  <a:lnTo>
                    <a:pt x="518" y="944"/>
                  </a:lnTo>
                  <a:lnTo>
                    <a:pt x="520" y="942"/>
                  </a:lnTo>
                  <a:lnTo>
                    <a:pt x="522" y="940"/>
                  </a:lnTo>
                  <a:lnTo>
                    <a:pt x="524" y="938"/>
                  </a:lnTo>
                  <a:lnTo>
                    <a:pt x="526" y="938"/>
                  </a:lnTo>
                  <a:lnTo>
                    <a:pt x="530" y="938"/>
                  </a:lnTo>
                  <a:lnTo>
                    <a:pt x="532" y="936"/>
                  </a:lnTo>
                  <a:lnTo>
                    <a:pt x="536" y="936"/>
                  </a:lnTo>
                  <a:lnTo>
                    <a:pt x="540" y="934"/>
                  </a:lnTo>
                  <a:lnTo>
                    <a:pt x="542" y="932"/>
                  </a:lnTo>
                  <a:lnTo>
                    <a:pt x="544" y="932"/>
                  </a:lnTo>
                  <a:lnTo>
                    <a:pt x="546" y="932"/>
                  </a:lnTo>
                  <a:lnTo>
                    <a:pt x="548" y="932"/>
                  </a:lnTo>
                  <a:lnTo>
                    <a:pt x="550" y="932"/>
                  </a:lnTo>
                  <a:lnTo>
                    <a:pt x="552" y="932"/>
                  </a:lnTo>
                  <a:lnTo>
                    <a:pt x="554" y="934"/>
                  </a:lnTo>
                  <a:lnTo>
                    <a:pt x="556" y="938"/>
                  </a:lnTo>
                  <a:lnTo>
                    <a:pt x="558" y="940"/>
                  </a:lnTo>
                  <a:lnTo>
                    <a:pt x="560" y="942"/>
                  </a:lnTo>
                  <a:lnTo>
                    <a:pt x="562" y="942"/>
                  </a:lnTo>
                  <a:lnTo>
                    <a:pt x="564" y="944"/>
                  </a:lnTo>
                  <a:lnTo>
                    <a:pt x="566" y="944"/>
                  </a:lnTo>
                  <a:lnTo>
                    <a:pt x="568" y="942"/>
                  </a:lnTo>
                  <a:lnTo>
                    <a:pt x="570" y="940"/>
                  </a:lnTo>
                  <a:lnTo>
                    <a:pt x="572" y="938"/>
                  </a:lnTo>
                  <a:lnTo>
                    <a:pt x="574" y="938"/>
                  </a:lnTo>
                  <a:lnTo>
                    <a:pt x="576" y="936"/>
                  </a:lnTo>
                  <a:lnTo>
                    <a:pt x="578" y="936"/>
                  </a:lnTo>
                  <a:lnTo>
                    <a:pt x="580" y="936"/>
                  </a:lnTo>
                  <a:lnTo>
                    <a:pt x="584" y="936"/>
                  </a:lnTo>
                  <a:lnTo>
                    <a:pt x="584" y="934"/>
                  </a:lnTo>
                  <a:lnTo>
                    <a:pt x="586" y="934"/>
                  </a:lnTo>
                  <a:lnTo>
                    <a:pt x="588" y="932"/>
                  </a:lnTo>
                  <a:lnTo>
                    <a:pt x="588" y="930"/>
                  </a:lnTo>
                  <a:lnTo>
                    <a:pt x="590" y="928"/>
                  </a:lnTo>
                  <a:lnTo>
                    <a:pt x="588" y="924"/>
                  </a:lnTo>
                  <a:lnTo>
                    <a:pt x="588" y="922"/>
                  </a:lnTo>
                  <a:lnTo>
                    <a:pt x="586" y="920"/>
                  </a:lnTo>
                  <a:lnTo>
                    <a:pt x="584" y="918"/>
                  </a:lnTo>
                  <a:lnTo>
                    <a:pt x="580" y="916"/>
                  </a:lnTo>
                  <a:lnTo>
                    <a:pt x="576" y="916"/>
                  </a:lnTo>
                  <a:lnTo>
                    <a:pt x="574" y="916"/>
                  </a:lnTo>
                  <a:lnTo>
                    <a:pt x="572" y="914"/>
                  </a:lnTo>
                  <a:lnTo>
                    <a:pt x="570" y="912"/>
                  </a:lnTo>
                  <a:lnTo>
                    <a:pt x="570" y="910"/>
                  </a:lnTo>
                  <a:lnTo>
                    <a:pt x="570" y="908"/>
                  </a:lnTo>
                  <a:lnTo>
                    <a:pt x="570" y="906"/>
                  </a:lnTo>
                  <a:lnTo>
                    <a:pt x="572" y="904"/>
                  </a:lnTo>
                  <a:lnTo>
                    <a:pt x="572" y="902"/>
                  </a:lnTo>
                  <a:lnTo>
                    <a:pt x="574" y="902"/>
                  </a:lnTo>
                  <a:lnTo>
                    <a:pt x="574" y="898"/>
                  </a:lnTo>
                  <a:lnTo>
                    <a:pt x="574" y="896"/>
                  </a:lnTo>
                  <a:lnTo>
                    <a:pt x="574" y="894"/>
                  </a:lnTo>
                  <a:lnTo>
                    <a:pt x="572" y="894"/>
                  </a:lnTo>
                  <a:lnTo>
                    <a:pt x="574" y="892"/>
                  </a:lnTo>
                  <a:lnTo>
                    <a:pt x="576" y="886"/>
                  </a:lnTo>
                  <a:lnTo>
                    <a:pt x="576" y="884"/>
                  </a:lnTo>
                  <a:lnTo>
                    <a:pt x="576" y="880"/>
                  </a:lnTo>
                  <a:lnTo>
                    <a:pt x="576" y="878"/>
                  </a:lnTo>
                  <a:lnTo>
                    <a:pt x="576" y="874"/>
                  </a:lnTo>
                  <a:lnTo>
                    <a:pt x="574" y="872"/>
                  </a:lnTo>
                  <a:lnTo>
                    <a:pt x="574" y="870"/>
                  </a:lnTo>
                  <a:lnTo>
                    <a:pt x="576" y="868"/>
                  </a:lnTo>
                  <a:lnTo>
                    <a:pt x="576" y="866"/>
                  </a:lnTo>
                  <a:lnTo>
                    <a:pt x="578" y="864"/>
                  </a:lnTo>
                  <a:lnTo>
                    <a:pt x="580" y="864"/>
                  </a:lnTo>
                  <a:lnTo>
                    <a:pt x="586" y="864"/>
                  </a:lnTo>
                  <a:lnTo>
                    <a:pt x="590" y="864"/>
                  </a:lnTo>
                  <a:lnTo>
                    <a:pt x="594" y="864"/>
                  </a:lnTo>
                  <a:lnTo>
                    <a:pt x="596" y="862"/>
                  </a:lnTo>
                  <a:lnTo>
                    <a:pt x="602" y="858"/>
                  </a:lnTo>
                  <a:lnTo>
                    <a:pt x="604" y="858"/>
                  </a:lnTo>
                  <a:lnTo>
                    <a:pt x="606" y="858"/>
                  </a:lnTo>
                  <a:lnTo>
                    <a:pt x="610" y="856"/>
                  </a:lnTo>
                  <a:lnTo>
                    <a:pt x="612" y="856"/>
                  </a:lnTo>
                  <a:lnTo>
                    <a:pt x="614" y="856"/>
                  </a:lnTo>
                  <a:lnTo>
                    <a:pt x="616" y="856"/>
                  </a:lnTo>
                  <a:lnTo>
                    <a:pt x="618" y="854"/>
                  </a:lnTo>
                  <a:lnTo>
                    <a:pt x="620" y="854"/>
                  </a:lnTo>
                  <a:lnTo>
                    <a:pt x="622" y="850"/>
                  </a:lnTo>
                  <a:lnTo>
                    <a:pt x="624" y="848"/>
                  </a:lnTo>
                  <a:lnTo>
                    <a:pt x="626" y="846"/>
                  </a:lnTo>
                  <a:lnTo>
                    <a:pt x="628" y="844"/>
                  </a:lnTo>
                  <a:lnTo>
                    <a:pt x="630" y="842"/>
                  </a:lnTo>
                  <a:lnTo>
                    <a:pt x="632" y="842"/>
                  </a:lnTo>
                  <a:lnTo>
                    <a:pt x="634" y="840"/>
                  </a:lnTo>
                  <a:lnTo>
                    <a:pt x="642" y="840"/>
                  </a:lnTo>
                  <a:lnTo>
                    <a:pt x="646" y="838"/>
                  </a:lnTo>
                  <a:lnTo>
                    <a:pt x="650" y="836"/>
                  </a:lnTo>
                  <a:lnTo>
                    <a:pt x="654" y="834"/>
                  </a:lnTo>
                  <a:lnTo>
                    <a:pt x="656" y="832"/>
                  </a:lnTo>
                  <a:lnTo>
                    <a:pt x="660" y="830"/>
                  </a:lnTo>
                  <a:lnTo>
                    <a:pt x="662" y="828"/>
                  </a:lnTo>
                  <a:lnTo>
                    <a:pt x="664" y="826"/>
                  </a:lnTo>
                  <a:lnTo>
                    <a:pt x="666" y="824"/>
                  </a:lnTo>
                  <a:lnTo>
                    <a:pt x="668" y="822"/>
                  </a:lnTo>
                  <a:lnTo>
                    <a:pt x="672" y="822"/>
                  </a:lnTo>
                  <a:lnTo>
                    <a:pt x="674" y="822"/>
                  </a:lnTo>
                  <a:lnTo>
                    <a:pt x="678" y="820"/>
                  </a:lnTo>
                  <a:lnTo>
                    <a:pt x="682" y="822"/>
                  </a:lnTo>
                  <a:lnTo>
                    <a:pt x="684" y="822"/>
                  </a:lnTo>
                  <a:lnTo>
                    <a:pt x="686" y="822"/>
                  </a:lnTo>
                  <a:lnTo>
                    <a:pt x="690" y="822"/>
                  </a:lnTo>
                  <a:lnTo>
                    <a:pt x="692" y="822"/>
                  </a:lnTo>
                  <a:lnTo>
                    <a:pt x="696" y="822"/>
                  </a:lnTo>
                  <a:lnTo>
                    <a:pt x="698" y="824"/>
                  </a:lnTo>
                  <a:lnTo>
                    <a:pt x="700" y="826"/>
                  </a:lnTo>
                  <a:lnTo>
                    <a:pt x="700" y="828"/>
                  </a:lnTo>
                  <a:lnTo>
                    <a:pt x="702" y="832"/>
                  </a:lnTo>
                  <a:lnTo>
                    <a:pt x="704" y="834"/>
                  </a:lnTo>
                  <a:lnTo>
                    <a:pt x="706" y="836"/>
                  </a:lnTo>
                  <a:lnTo>
                    <a:pt x="708" y="838"/>
                  </a:lnTo>
                  <a:lnTo>
                    <a:pt x="708" y="840"/>
                  </a:lnTo>
                  <a:lnTo>
                    <a:pt x="710" y="842"/>
                  </a:lnTo>
                  <a:lnTo>
                    <a:pt x="712" y="842"/>
                  </a:lnTo>
                  <a:lnTo>
                    <a:pt x="714" y="844"/>
                  </a:lnTo>
                  <a:lnTo>
                    <a:pt x="716" y="844"/>
                  </a:lnTo>
                  <a:lnTo>
                    <a:pt x="718" y="844"/>
                  </a:lnTo>
                  <a:lnTo>
                    <a:pt x="720" y="846"/>
                  </a:lnTo>
                  <a:lnTo>
                    <a:pt x="722" y="846"/>
                  </a:lnTo>
                  <a:lnTo>
                    <a:pt x="724" y="846"/>
                  </a:lnTo>
                  <a:lnTo>
                    <a:pt x="726" y="844"/>
                  </a:lnTo>
                  <a:lnTo>
                    <a:pt x="728" y="844"/>
                  </a:lnTo>
                  <a:lnTo>
                    <a:pt x="732" y="842"/>
                  </a:lnTo>
                  <a:lnTo>
                    <a:pt x="734" y="842"/>
                  </a:lnTo>
                  <a:lnTo>
                    <a:pt x="736" y="844"/>
                  </a:lnTo>
                  <a:lnTo>
                    <a:pt x="740" y="846"/>
                  </a:lnTo>
                  <a:lnTo>
                    <a:pt x="740" y="848"/>
                  </a:lnTo>
                  <a:lnTo>
                    <a:pt x="742" y="848"/>
                  </a:lnTo>
                  <a:lnTo>
                    <a:pt x="742" y="850"/>
                  </a:lnTo>
                  <a:lnTo>
                    <a:pt x="742" y="852"/>
                  </a:lnTo>
                  <a:lnTo>
                    <a:pt x="742" y="854"/>
                  </a:lnTo>
                  <a:lnTo>
                    <a:pt x="744" y="856"/>
                  </a:lnTo>
                  <a:lnTo>
                    <a:pt x="746" y="856"/>
                  </a:lnTo>
                  <a:lnTo>
                    <a:pt x="748" y="858"/>
                  </a:lnTo>
                  <a:lnTo>
                    <a:pt x="750" y="858"/>
                  </a:lnTo>
                  <a:lnTo>
                    <a:pt x="750" y="856"/>
                  </a:lnTo>
                  <a:lnTo>
                    <a:pt x="752" y="856"/>
                  </a:lnTo>
                  <a:lnTo>
                    <a:pt x="754" y="856"/>
                  </a:lnTo>
                  <a:lnTo>
                    <a:pt x="756" y="854"/>
                  </a:lnTo>
                  <a:lnTo>
                    <a:pt x="758" y="854"/>
                  </a:lnTo>
                  <a:lnTo>
                    <a:pt x="760" y="852"/>
                  </a:lnTo>
                  <a:lnTo>
                    <a:pt x="762" y="850"/>
                  </a:lnTo>
                  <a:lnTo>
                    <a:pt x="764" y="848"/>
                  </a:lnTo>
                  <a:lnTo>
                    <a:pt x="766" y="844"/>
                  </a:lnTo>
                  <a:lnTo>
                    <a:pt x="768" y="840"/>
                  </a:lnTo>
                  <a:lnTo>
                    <a:pt x="768" y="838"/>
                  </a:lnTo>
                  <a:lnTo>
                    <a:pt x="770" y="838"/>
                  </a:lnTo>
                  <a:lnTo>
                    <a:pt x="770" y="836"/>
                  </a:lnTo>
                  <a:lnTo>
                    <a:pt x="772" y="836"/>
                  </a:lnTo>
                  <a:lnTo>
                    <a:pt x="774" y="834"/>
                  </a:lnTo>
                  <a:lnTo>
                    <a:pt x="776" y="832"/>
                  </a:lnTo>
                  <a:lnTo>
                    <a:pt x="778" y="832"/>
                  </a:lnTo>
                  <a:lnTo>
                    <a:pt x="780" y="832"/>
                  </a:lnTo>
                  <a:lnTo>
                    <a:pt x="782" y="832"/>
                  </a:lnTo>
                  <a:lnTo>
                    <a:pt x="784" y="832"/>
                  </a:lnTo>
                  <a:lnTo>
                    <a:pt x="786" y="834"/>
                  </a:lnTo>
                  <a:lnTo>
                    <a:pt x="788" y="836"/>
                  </a:lnTo>
                  <a:lnTo>
                    <a:pt x="788" y="838"/>
                  </a:lnTo>
                  <a:lnTo>
                    <a:pt x="788" y="842"/>
                  </a:lnTo>
                  <a:lnTo>
                    <a:pt x="790" y="844"/>
                  </a:lnTo>
                  <a:lnTo>
                    <a:pt x="792" y="846"/>
                  </a:lnTo>
                  <a:lnTo>
                    <a:pt x="796" y="848"/>
                  </a:lnTo>
                  <a:lnTo>
                    <a:pt x="798" y="850"/>
                  </a:lnTo>
                  <a:lnTo>
                    <a:pt x="802" y="852"/>
                  </a:lnTo>
                  <a:lnTo>
                    <a:pt x="804" y="852"/>
                  </a:lnTo>
                  <a:lnTo>
                    <a:pt x="806" y="852"/>
                  </a:lnTo>
                  <a:lnTo>
                    <a:pt x="808" y="852"/>
                  </a:lnTo>
                  <a:lnTo>
                    <a:pt x="810" y="854"/>
                  </a:lnTo>
                  <a:lnTo>
                    <a:pt x="812" y="856"/>
                  </a:lnTo>
                  <a:lnTo>
                    <a:pt x="816" y="860"/>
                  </a:lnTo>
                  <a:lnTo>
                    <a:pt x="820" y="866"/>
                  </a:lnTo>
                  <a:lnTo>
                    <a:pt x="824" y="870"/>
                  </a:lnTo>
                  <a:lnTo>
                    <a:pt x="828" y="872"/>
                  </a:lnTo>
                  <a:lnTo>
                    <a:pt x="830" y="874"/>
                  </a:lnTo>
                  <a:lnTo>
                    <a:pt x="832" y="874"/>
                  </a:lnTo>
                  <a:lnTo>
                    <a:pt x="834" y="876"/>
                  </a:lnTo>
                  <a:lnTo>
                    <a:pt x="836" y="876"/>
                  </a:lnTo>
                  <a:lnTo>
                    <a:pt x="838" y="876"/>
                  </a:lnTo>
                  <a:lnTo>
                    <a:pt x="838" y="878"/>
                  </a:lnTo>
                  <a:lnTo>
                    <a:pt x="840" y="880"/>
                  </a:lnTo>
                  <a:lnTo>
                    <a:pt x="842" y="884"/>
                  </a:lnTo>
                  <a:lnTo>
                    <a:pt x="842" y="886"/>
                  </a:lnTo>
                  <a:lnTo>
                    <a:pt x="844" y="890"/>
                  </a:lnTo>
                  <a:lnTo>
                    <a:pt x="848" y="900"/>
                  </a:lnTo>
                  <a:lnTo>
                    <a:pt x="850" y="902"/>
                  </a:lnTo>
                  <a:lnTo>
                    <a:pt x="852" y="904"/>
                  </a:lnTo>
                  <a:lnTo>
                    <a:pt x="854" y="904"/>
                  </a:lnTo>
                  <a:lnTo>
                    <a:pt x="856" y="904"/>
                  </a:lnTo>
                  <a:lnTo>
                    <a:pt x="858" y="904"/>
                  </a:lnTo>
                  <a:lnTo>
                    <a:pt x="860" y="904"/>
                  </a:lnTo>
                  <a:lnTo>
                    <a:pt x="862" y="902"/>
                  </a:lnTo>
                  <a:lnTo>
                    <a:pt x="864" y="900"/>
                  </a:lnTo>
                  <a:lnTo>
                    <a:pt x="864" y="898"/>
                  </a:lnTo>
                  <a:lnTo>
                    <a:pt x="864" y="896"/>
                  </a:lnTo>
                  <a:lnTo>
                    <a:pt x="866" y="896"/>
                  </a:lnTo>
                  <a:lnTo>
                    <a:pt x="868" y="896"/>
                  </a:lnTo>
                  <a:lnTo>
                    <a:pt x="870" y="896"/>
                  </a:lnTo>
                  <a:lnTo>
                    <a:pt x="872" y="896"/>
                  </a:lnTo>
                  <a:lnTo>
                    <a:pt x="878" y="896"/>
                  </a:lnTo>
                  <a:lnTo>
                    <a:pt x="880" y="898"/>
                  </a:lnTo>
                  <a:lnTo>
                    <a:pt x="882" y="898"/>
                  </a:lnTo>
                  <a:lnTo>
                    <a:pt x="884" y="898"/>
                  </a:lnTo>
                  <a:lnTo>
                    <a:pt x="886" y="898"/>
                  </a:lnTo>
                  <a:lnTo>
                    <a:pt x="888" y="898"/>
                  </a:lnTo>
                  <a:lnTo>
                    <a:pt x="890" y="896"/>
                  </a:lnTo>
                  <a:lnTo>
                    <a:pt x="892" y="894"/>
                  </a:lnTo>
                  <a:lnTo>
                    <a:pt x="894" y="894"/>
                  </a:lnTo>
                  <a:lnTo>
                    <a:pt x="896" y="894"/>
                  </a:lnTo>
                  <a:lnTo>
                    <a:pt x="898" y="894"/>
                  </a:lnTo>
                  <a:lnTo>
                    <a:pt x="906" y="894"/>
                  </a:lnTo>
                  <a:lnTo>
                    <a:pt x="910" y="894"/>
                  </a:lnTo>
                  <a:lnTo>
                    <a:pt x="912" y="896"/>
                  </a:lnTo>
                  <a:lnTo>
                    <a:pt x="914" y="900"/>
                  </a:lnTo>
                  <a:lnTo>
                    <a:pt x="916" y="902"/>
                  </a:lnTo>
                  <a:lnTo>
                    <a:pt x="918" y="904"/>
                  </a:lnTo>
                  <a:lnTo>
                    <a:pt x="920" y="906"/>
                  </a:lnTo>
                  <a:lnTo>
                    <a:pt x="926" y="910"/>
                  </a:lnTo>
                  <a:lnTo>
                    <a:pt x="928" y="912"/>
                  </a:lnTo>
                  <a:lnTo>
                    <a:pt x="932" y="916"/>
                  </a:lnTo>
                  <a:lnTo>
                    <a:pt x="932" y="918"/>
                  </a:lnTo>
                  <a:lnTo>
                    <a:pt x="934" y="920"/>
                  </a:lnTo>
                  <a:lnTo>
                    <a:pt x="936" y="920"/>
                  </a:lnTo>
                  <a:lnTo>
                    <a:pt x="938" y="920"/>
                  </a:lnTo>
                  <a:lnTo>
                    <a:pt x="940" y="920"/>
                  </a:lnTo>
                  <a:lnTo>
                    <a:pt x="942" y="920"/>
                  </a:lnTo>
                  <a:lnTo>
                    <a:pt x="946" y="920"/>
                  </a:lnTo>
                  <a:lnTo>
                    <a:pt x="948" y="920"/>
                  </a:lnTo>
                  <a:lnTo>
                    <a:pt x="952" y="920"/>
                  </a:lnTo>
                  <a:lnTo>
                    <a:pt x="956" y="918"/>
                  </a:lnTo>
                  <a:lnTo>
                    <a:pt x="958" y="920"/>
                  </a:lnTo>
                  <a:lnTo>
                    <a:pt x="960" y="920"/>
                  </a:lnTo>
                  <a:lnTo>
                    <a:pt x="964" y="922"/>
                  </a:lnTo>
                  <a:lnTo>
                    <a:pt x="968" y="922"/>
                  </a:lnTo>
                  <a:lnTo>
                    <a:pt x="972" y="924"/>
                  </a:lnTo>
                  <a:lnTo>
                    <a:pt x="974" y="924"/>
                  </a:lnTo>
                  <a:lnTo>
                    <a:pt x="978" y="924"/>
                  </a:lnTo>
                  <a:lnTo>
                    <a:pt x="980" y="924"/>
                  </a:lnTo>
                  <a:lnTo>
                    <a:pt x="982" y="922"/>
                  </a:lnTo>
                  <a:lnTo>
                    <a:pt x="982" y="920"/>
                  </a:lnTo>
                  <a:lnTo>
                    <a:pt x="984" y="918"/>
                  </a:lnTo>
                  <a:lnTo>
                    <a:pt x="986" y="918"/>
                  </a:lnTo>
                  <a:lnTo>
                    <a:pt x="988" y="916"/>
                  </a:lnTo>
                  <a:lnTo>
                    <a:pt x="990" y="916"/>
                  </a:lnTo>
                  <a:lnTo>
                    <a:pt x="992" y="914"/>
                  </a:lnTo>
                  <a:lnTo>
                    <a:pt x="992" y="912"/>
                  </a:lnTo>
                  <a:lnTo>
                    <a:pt x="990" y="910"/>
                  </a:lnTo>
                  <a:lnTo>
                    <a:pt x="990" y="908"/>
                  </a:lnTo>
                  <a:lnTo>
                    <a:pt x="990" y="906"/>
                  </a:lnTo>
                  <a:lnTo>
                    <a:pt x="992" y="906"/>
                  </a:lnTo>
                  <a:lnTo>
                    <a:pt x="992" y="904"/>
                  </a:lnTo>
                  <a:lnTo>
                    <a:pt x="996" y="904"/>
                  </a:lnTo>
                  <a:lnTo>
                    <a:pt x="998" y="902"/>
                  </a:lnTo>
                  <a:lnTo>
                    <a:pt x="1000" y="900"/>
                  </a:lnTo>
                  <a:lnTo>
                    <a:pt x="1002" y="900"/>
                  </a:lnTo>
                  <a:lnTo>
                    <a:pt x="1006" y="900"/>
                  </a:lnTo>
                  <a:lnTo>
                    <a:pt x="1006" y="898"/>
                  </a:lnTo>
                  <a:lnTo>
                    <a:pt x="1008" y="896"/>
                  </a:lnTo>
                  <a:lnTo>
                    <a:pt x="1010" y="892"/>
                  </a:lnTo>
                  <a:lnTo>
                    <a:pt x="1012" y="890"/>
                  </a:lnTo>
                  <a:lnTo>
                    <a:pt x="1014" y="888"/>
                  </a:lnTo>
                  <a:lnTo>
                    <a:pt x="1018" y="886"/>
                  </a:lnTo>
                  <a:lnTo>
                    <a:pt x="1020" y="884"/>
                  </a:lnTo>
                  <a:lnTo>
                    <a:pt x="1022" y="882"/>
                  </a:lnTo>
                  <a:lnTo>
                    <a:pt x="1024" y="882"/>
                  </a:lnTo>
                  <a:lnTo>
                    <a:pt x="1028" y="880"/>
                  </a:lnTo>
                  <a:lnTo>
                    <a:pt x="1030" y="880"/>
                  </a:lnTo>
                  <a:lnTo>
                    <a:pt x="1034" y="880"/>
                  </a:lnTo>
                  <a:lnTo>
                    <a:pt x="1040" y="880"/>
                  </a:lnTo>
                  <a:lnTo>
                    <a:pt x="1046" y="882"/>
                  </a:lnTo>
                  <a:lnTo>
                    <a:pt x="1048" y="882"/>
                  </a:lnTo>
                  <a:lnTo>
                    <a:pt x="1052" y="882"/>
                  </a:lnTo>
                  <a:lnTo>
                    <a:pt x="1056" y="882"/>
                  </a:lnTo>
                  <a:lnTo>
                    <a:pt x="1058" y="882"/>
                  </a:lnTo>
                  <a:lnTo>
                    <a:pt x="1060" y="884"/>
                  </a:lnTo>
                  <a:lnTo>
                    <a:pt x="1066" y="888"/>
                  </a:lnTo>
                  <a:lnTo>
                    <a:pt x="1068" y="890"/>
                  </a:lnTo>
                  <a:lnTo>
                    <a:pt x="1070" y="892"/>
                  </a:lnTo>
                  <a:lnTo>
                    <a:pt x="1074" y="894"/>
                  </a:lnTo>
                  <a:lnTo>
                    <a:pt x="1078" y="894"/>
                  </a:lnTo>
                  <a:lnTo>
                    <a:pt x="1080" y="896"/>
                  </a:lnTo>
                  <a:lnTo>
                    <a:pt x="1084" y="894"/>
                  </a:lnTo>
                  <a:lnTo>
                    <a:pt x="1086" y="894"/>
                  </a:lnTo>
                  <a:lnTo>
                    <a:pt x="1092" y="894"/>
                  </a:lnTo>
                  <a:lnTo>
                    <a:pt x="1098" y="892"/>
                  </a:lnTo>
                  <a:lnTo>
                    <a:pt x="1102" y="890"/>
                  </a:lnTo>
                  <a:lnTo>
                    <a:pt x="1106" y="890"/>
                  </a:lnTo>
                  <a:lnTo>
                    <a:pt x="1110" y="890"/>
                  </a:lnTo>
                  <a:lnTo>
                    <a:pt x="1110" y="888"/>
                  </a:lnTo>
                  <a:lnTo>
                    <a:pt x="1112" y="888"/>
                  </a:lnTo>
                  <a:lnTo>
                    <a:pt x="1112" y="884"/>
                  </a:lnTo>
                  <a:lnTo>
                    <a:pt x="1114" y="882"/>
                  </a:lnTo>
                  <a:lnTo>
                    <a:pt x="1114" y="880"/>
                  </a:lnTo>
                  <a:lnTo>
                    <a:pt x="1114" y="878"/>
                  </a:lnTo>
                  <a:lnTo>
                    <a:pt x="1112" y="876"/>
                  </a:lnTo>
                  <a:lnTo>
                    <a:pt x="1112" y="874"/>
                  </a:lnTo>
                  <a:lnTo>
                    <a:pt x="1110" y="874"/>
                  </a:lnTo>
                  <a:lnTo>
                    <a:pt x="1108" y="872"/>
                  </a:lnTo>
                  <a:lnTo>
                    <a:pt x="1104" y="870"/>
                  </a:lnTo>
                  <a:lnTo>
                    <a:pt x="1102" y="866"/>
                  </a:lnTo>
                  <a:lnTo>
                    <a:pt x="1100" y="864"/>
                  </a:lnTo>
                  <a:lnTo>
                    <a:pt x="1098" y="860"/>
                  </a:lnTo>
                  <a:lnTo>
                    <a:pt x="1098" y="858"/>
                  </a:lnTo>
                  <a:lnTo>
                    <a:pt x="1096" y="858"/>
                  </a:lnTo>
                  <a:lnTo>
                    <a:pt x="1096" y="856"/>
                  </a:lnTo>
                  <a:lnTo>
                    <a:pt x="1098" y="854"/>
                  </a:lnTo>
                  <a:lnTo>
                    <a:pt x="1100" y="852"/>
                  </a:lnTo>
                  <a:lnTo>
                    <a:pt x="1102" y="850"/>
                  </a:lnTo>
                  <a:lnTo>
                    <a:pt x="1104" y="848"/>
                  </a:lnTo>
                  <a:lnTo>
                    <a:pt x="1104" y="846"/>
                  </a:lnTo>
                  <a:lnTo>
                    <a:pt x="1104" y="844"/>
                  </a:lnTo>
                  <a:lnTo>
                    <a:pt x="1106" y="842"/>
                  </a:lnTo>
                  <a:lnTo>
                    <a:pt x="1108" y="840"/>
                  </a:lnTo>
                  <a:lnTo>
                    <a:pt x="1110" y="838"/>
                  </a:lnTo>
                  <a:lnTo>
                    <a:pt x="1112" y="836"/>
                  </a:lnTo>
                  <a:lnTo>
                    <a:pt x="1116" y="836"/>
                  </a:lnTo>
                  <a:lnTo>
                    <a:pt x="1118" y="836"/>
                  </a:lnTo>
                  <a:lnTo>
                    <a:pt x="1120" y="838"/>
                  </a:lnTo>
                  <a:lnTo>
                    <a:pt x="1124" y="838"/>
                  </a:lnTo>
                  <a:lnTo>
                    <a:pt x="1126" y="840"/>
                  </a:lnTo>
                  <a:lnTo>
                    <a:pt x="1130" y="840"/>
                  </a:lnTo>
                  <a:lnTo>
                    <a:pt x="1134" y="842"/>
                  </a:lnTo>
                  <a:lnTo>
                    <a:pt x="1138" y="844"/>
                  </a:lnTo>
                  <a:lnTo>
                    <a:pt x="1146" y="848"/>
                  </a:lnTo>
                  <a:lnTo>
                    <a:pt x="1154" y="852"/>
                  </a:lnTo>
                  <a:lnTo>
                    <a:pt x="1160" y="854"/>
                  </a:lnTo>
                  <a:lnTo>
                    <a:pt x="1162" y="854"/>
                  </a:lnTo>
                  <a:lnTo>
                    <a:pt x="1164" y="856"/>
                  </a:lnTo>
                  <a:lnTo>
                    <a:pt x="1166" y="858"/>
                  </a:lnTo>
                  <a:lnTo>
                    <a:pt x="1168" y="860"/>
                  </a:lnTo>
                  <a:lnTo>
                    <a:pt x="1168" y="864"/>
                  </a:lnTo>
                  <a:lnTo>
                    <a:pt x="1168" y="866"/>
                  </a:lnTo>
                  <a:lnTo>
                    <a:pt x="1170" y="866"/>
                  </a:lnTo>
                  <a:lnTo>
                    <a:pt x="1172" y="868"/>
                  </a:lnTo>
                  <a:lnTo>
                    <a:pt x="1174" y="868"/>
                  </a:lnTo>
                  <a:lnTo>
                    <a:pt x="1176" y="870"/>
                  </a:lnTo>
                  <a:lnTo>
                    <a:pt x="1178" y="872"/>
                  </a:lnTo>
                  <a:lnTo>
                    <a:pt x="1182" y="874"/>
                  </a:lnTo>
                  <a:lnTo>
                    <a:pt x="1184" y="876"/>
                  </a:lnTo>
                  <a:lnTo>
                    <a:pt x="1188" y="876"/>
                  </a:lnTo>
                  <a:lnTo>
                    <a:pt x="1192" y="876"/>
                  </a:lnTo>
                  <a:lnTo>
                    <a:pt x="1194" y="876"/>
                  </a:lnTo>
                  <a:lnTo>
                    <a:pt x="1196" y="876"/>
                  </a:lnTo>
                  <a:lnTo>
                    <a:pt x="1198" y="876"/>
                  </a:lnTo>
                  <a:lnTo>
                    <a:pt x="1200" y="874"/>
                  </a:lnTo>
                  <a:lnTo>
                    <a:pt x="1202" y="872"/>
                  </a:lnTo>
                  <a:lnTo>
                    <a:pt x="1202" y="870"/>
                  </a:lnTo>
                  <a:lnTo>
                    <a:pt x="1204" y="868"/>
                  </a:lnTo>
                  <a:lnTo>
                    <a:pt x="1206" y="866"/>
                  </a:lnTo>
                  <a:lnTo>
                    <a:pt x="1210" y="866"/>
                  </a:lnTo>
                  <a:lnTo>
                    <a:pt x="1214" y="866"/>
                  </a:lnTo>
                  <a:lnTo>
                    <a:pt x="1218" y="866"/>
                  </a:lnTo>
                  <a:lnTo>
                    <a:pt x="1222" y="866"/>
                  </a:lnTo>
                  <a:lnTo>
                    <a:pt x="1224" y="866"/>
                  </a:lnTo>
                  <a:lnTo>
                    <a:pt x="1228" y="868"/>
                  </a:lnTo>
                  <a:lnTo>
                    <a:pt x="1236" y="868"/>
                  </a:lnTo>
                  <a:lnTo>
                    <a:pt x="1238" y="868"/>
                  </a:lnTo>
                  <a:lnTo>
                    <a:pt x="1242" y="868"/>
                  </a:lnTo>
                  <a:lnTo>
                    <a:pt x="1244" y="870"/>
                  </a:lnTo>
                  <a:lnTo>
                    <a:pt x="1246" y="870"/>
                  </a:lnTo>
                  <a:lnTo>
                    <a:pt x="1250" y="872"/>
                  </a:lnTo>
                  <a:lnTo>
                    <a:pt x="1252" y="874"/>
                  </a:lnTo>
                  <a:lnTo>
                    <a:pt x="1254" y="876"/>
                  </a:lnTo>
                  <a:lnTo>
                    <a:pt x="1256" y="876"/>
                  </a:lnTo>
                  <a:lnTo>
                    <a:pt x="1256" y="878"/>
                  </a:lnTo>
                  <a:lnTo>
                    <a:pt x="1260" y="878"/>
                  </a:lnTo>
                  <a:lnTo>
                    <a:pt x="1266" y="878"/>
                  </a:lnTo>
                  <a:lnTo>
                    <a:pt x="1270" y="878"/>
                  </a:lnTo>
                  <a:lnTo>
                    <a:pt x="1272" y="878"/>
                  </a:lnTo>
                  <a:lnTo>
                    <a:pt x="1278" y="878"/>
                  </a:lnTo>
                  <a:lnTo>
                    <a:pt x="1286" y="878"/>
                  </a:lnTo>
                  <a:lnTo>
                    <a:pt x="1288" y="876"/>
                  </a:lnTo>
                  <a:lnTo>
                    <a:pt x="1290" y="874"/>
                  </a:lnTo>
                  <a:lnTo>
                    <a:pt x="1292" y="874"/>
                  </a:lnTo>
                  <a:lnTo>
                    <a:pt x="1296" y="872"/>
                  </a:lnTo>
                  <a:lnTo>
                    <a:pt x="1298" y="872"/>
                  </a:lnTo>
                  <a:lnTo>
                    <a:pt x="1300" y="870"/>
                  </a:lnTo>
                  <a:lnTo>
                    <a:pt x="1310" y="870"/>
                  </a:lnTo>
                  <a:lnTo>
                    <a:pt x="1312" y="868"/>
                  </a:lnTo>
                  <a:lnTo>
                    <a:pt x="1316" y="868"/>
                  </a:lnTo>
                  <a:lnTo>
                    <a:pt x="1322" y="864"/>
                  </a:lnTo>
                  <a:lnTo>
                    <a:pt x="1324" y="864"/>
                  </a:lnTo>
                  <a:lnTo>
                    <a:pt x="1328" y="862"/>
                  </a:lnTo>
                  <a:lnTo>
                    <a:pt x="1330" y="862"/>
                  </a:lnTo>
                  <a:lnTo>
                    <a:pt x="1330" y="860"/>
                  </a:lnTo>
                  <a:lnTo>
                    <a:pt x="1330" y="858"/>
                  </a:lnTo>
                  <a:lnTo>
                    <a:pt x="1330" y="856"/>
                  </a:lnTo>
                  <a:lnTo>
                    <a:pt x="1330" y="854"/>
                  </a:lnTo>
                  <a:lnTo>
                    <a:pt x="1328" y="854"/>
                  </a:lnTo>
                  <a:lnTo>
                    <a:pt x="1330" y="852"/>
                  </a:lnTo>
                  <a:lnTo>
                    <a:pt x="1330" y="850"/>
                  </a:lnTo>
                  <a:lnTo>
                    <a:pt x="1332" y="848"/>
                  </a:lnTo>
                  <a:lnTo>
                    <a:pt x="1334" y="846"/>
                  </a:lnTo>
                  <a:lnTo>
                    <a:pt x="1336" y="844"/>
                  </a:lnTo>
                  <a:lnTo>
                    <a:pt x="1338" y="844"/>
                  </a:lnTo>
                  <a:lnTo>
                    <a:pt x="1342" y="844"/>
                  </a:lnTo>
                  <a:lnTo>
                    <a:pt x="1346" y="844"/>
                  </a:lnTo>
                  <a:lnTo>
                    <a:pt x="1348" y="844"/>
                  </a:lnTo>
                  <a:lnTo>
                    <a:pt x="1350" y="844"/>
                  </a:lnTo>
                  <a:lnTo>
                    <a:pt x="1352" y="846"/>
                  </a:lnTo>
                  <a:lnTo>
                    <a:pt x="1352" y="848"/>
                  </a:lnTo>
                  <a:lnTo>
                    <a:pt x="1354" y="850"/>
                  </a:lnTo>
                  <a:lnTo>
                    <a:pt x="1356" y="852"/>
                  </a:lnTo>
                  <a:lnTo>
                    <a:pt x="1358" y="852"/>
                  </a:lnTo>
                  <a:lnTo>
                    <a:pt x="1360" y="850"/>
                  </a:lnTo>
                  <a:lnTo>
                    <a:pt x="1362" y="848"/>
                  </a:lnTo>
                  <a:lnTo>
                    <a:pt x="1364" y="848"/>
                  </a:lnTo>
                  <a:lnTo>
                    <a:pt x="1368" y="848"/>
                  </a:lnTo>
                  <a:lnTo>
                    <a:pt x="1370" y="848"/>
                  </a:lnTo>
                  <a:lnTo>
                    <a:pt x="1372" y="848"/>
                  </a:lnTo>
                  <a:lnTo>
                    <a:pt x="1374" y="850"/>
                  </a:lnTo>
                  <a:lnTo>
                    <a:pt x="1376" y="850"/>
                  </a:lnTo>
                  <a:lnTo>
                    <a:pt x="1376" y="852"/>
                  </a:lnTo>
                  <a:lnTo>
                    <a:pt x="1378" y="854"/>
                  </a:lnTo>
                  <a:lnTo>
                    <a:pt x="1380" y="854"/>
                  </a:lnTo>
                  <a:lnTo>
                    <a:pt x="1384" y="856"/>
                  </a:lnTo>
                  <a:lnTo>
                    <a:pt x="1388" y="858"/>
                  </a:lnTo>
                  <a:lnTo>
                    <a:pt x="1392" y="858"/>
                  </a:lnTo>
                  <a:lnTo>
                    <a:pt x="1392" y="856"/>
                  </a:lnTo>
                  <a:lnTo>
                    <a:pt x="1394" y="856"/>
                  </a:lnTo>
                  <a:lnTo>
                    <a:pt x="1396" y="856"/>
                  </a:lnTo>
                  <a:lnTo>
                    <a:pt x="1396" y="854"/>
                  </a:lnTo>
                  <a:lnTo>
                    <a:pt x="1398" y="852"/>
                  </a:lnTo>
                  <a:lnTo>
                    <a:pt x="1400" y="852"/>
                  </a:lnTo>
                  <a:lnTo>
                    <a:pt x="1400" y="850"/>
                  </a:lnTo>
                  <a:lnTo>
                    <a:pt x="1402" y="848"/>
                  </a:lnTo>
                  <a:lnTo>
                    <a:pt x="1402" y="846"/>
                  </a:lnTo>
                  <a:lnTo>
                    <a:pt x="1402" y="844"/>
                  </a:lnTo>
                  <a:lnTo>
                    <a:pt x="1402" y="840"/>
                  </a:lnTo>
                  <a:lnTo>
                    <a:pt x="1402" y="838"/>
                  </a:lnTo>
                  <a:lnTo>
                    <a:pt x="1402" y="836"/>
                  </a:lnTo>
                  <a:lnTo>
                    <a:pt x="1404" y="834"/>
                  </a:lnTo>
                  <a:lnTo>
                    <a:pt x="1404" y="832"/>
                  </a:lnTo>
                  <a:lnTo>
                    <a:pt x="1408" y="828"/>
                  </a:lnTo>
                  <a:lnTo>
                    <a:pt x="1410" y="826"/>
                  </a:lnTo>
                  <a:lnTo>
                    <a:pt x="1412" y="824"/>
                  </a:lnTo>
                  <a:lnTo>
                    <a:pt x="1412" y="822"/>
                  </a:lnTo>
                  <a:lnTo>
                    <a:pt x="1412" y="818"/>
                  </a:lnTo>
                  <a:lnTo>
                    <a:pt x="1412" y="816"/>
                  </a:lnTo>
                  <a:lnTo>
                    <a:pt x="1412" y="812"/>
                  </a:lnTo>
                  <a:lnTo>
                    <a:pt x="1412" y="810"/>
                  </a:lnTo>
                  <a:lnTo>
                    <a:pt x="1412" y="806"/>
                  </a:lnTo>
                  <a:lnTo>
                    <a:pt x="1410" y="802"/>
                  </a:lnTo>
                  <a:lnTo>
                    <a:pt x="1410" y="798"/>
                  </a:lnTo>
                  <a:lnTo>
                    <a:pt x="1410" y="792"/>
                  </a:lnTo>
                  <a:lnTo>
                    <a:pt x="1410" y="788"/>
                  </a:lnTo>
                  <a:lnTo>
                    <a:pt x="1410" y="786"/>
                  </a:lnTo>
                  <a:lnTo>
                    <a:pt x="1408" y="786"/>
                  </a:lnTo>
                  <a:lnTo>
                    <a:pt x="1408" y="784"/>
                  </a:lnTo>
                  <a:lnTo>
                    <a:pt x="1406" y="782"/>
                  </a:lnTo>
                  <a:lnTo>
                    <a:pt x="1404" y="782"/>
                  </a:lnTo>
                  <a:lnTo>
                    <a:pt x="1402" y="782"/>
                  </a:lnTo>
                  <a:lnTo>
                    <a:pt x="1400" y="782"/>
                  </a:lnTo>
                  <a:lnTo>
                    <a:pt x="1398" y="782"/>
                  </a:lnTo>
                  <a:lnTo>
                    <a:pt x="1396" y="780"/>
                  </a:lnTo>
                  <a:lnTo>
                    <a:pt x="1396" y="778"/>
                  </a:lnTo>
                  <a:lnTo>
                    <a:pt x="1396" y="776"/>
                  </a:lnTo>
                  <a:lnTo>
                    <a:pt x="1398" y="774"/>
                  </a:lnTo>
                  <a:lnTo>
                    <a:pt x="1398" y="770"/>
                  </a:lnTo>
                  <a:lnTo>
                    <a:pt x="1398" y="766"/>
                  </a:lnTo>
                  <a:lnTo>
                    <a:pt x="1398" y="764"/>
                  </a:lnTo>
                  <a:lnTo>
                    <a:pt x="1400" y="762"/>
                  </a:lnTo>
                  <a:lnTo>
                    <a:pt x="1402" y="762"/>
                  </a:lnTo>
                  <a:lnTo>
                    <a:pt x="1404" y="760"/>
                  </a:lnTo>
                  <a:lnTo>
                    <a:pt x="1410" y="756"/>
                  </a:lnTo>
                  <a:lnTo>
                    <a:pt x="1414" y="754"/>
                  </a:lnTo>
                  <a:lnTo>
                    <a:pt x="1416" y="752"/>
                  </a:lnTo>
                  <a:lnTo>
                    <a:pt x="1420" y="752"/>
                  </a:lnTo>
                  <a:lnTo>
                    <a:pt x="1422" y="750"/>
                  </a:lnTo>
                  <a:lnTo>
                    <a:pt x="1426" y="750"/>
                  </a:lnTo>
                  <a:lnTo>
                    <a:pt x="1432" y="750"/>
                  </a:lnTo>
                  <a:lnTo>
                    <a:pt x="1434" y="750"/>
                  </a:lnTo>
                  <a:lnTo>
                    <a:pt x="1438" y="750"/>
                  </a:lnTo>
                  <a:lnTo>
                    <a:pt x="1440" y="750"/>
                  </a:lnTo>
                  <a:lnTo>
                    <a:pt x="1442" y="750"/>
                  </a:lnTo>
                  <a:lnTo>
                    <a:pt x="1444" y="750"/>
                  </a:lnTo>
                  <a:lnTo>
                    <a:pt x="1446" y="750"/>
                  </a:lnTo>
                  <a:lnTo>
                    <a:pt x="1448" y="752"/>
                  </a:lnTo>
                  <a:lnTo>
                    <a:pt x="1448" y="754"/>
                  </a:lnTo>
                  <a:lnTo>
                    <a:pt x="1450" y="754"/>
                  </a:lnTo>
                  <a:lnTo>
                    <a:pt x="1452" y="756"/>
                  </a:lnTo>
                  <a:lnTo>
                    <a:pt x="1456" y="756"/>
                  </a:lnTo>
                  <a:lnTo>
                    <a:pt x="1460" y="756"/>
                  </a:lnTo>
                  <a:lnTo>
                    <a:pt x="1464" y="756"/>
                  </a:lnTo>
                  <a:lnTo>
                    <a:pt x="1466" y="756"/>
                  </a:lnTo>
                  <a:lnTo>
                    <a:pt x="1468" y="756"/>
                  </a:lnTo>
                  <a:lnTo>
                    <a:pt x="1470" y="758"/>
                  </a:lnTo>
                  <a:lnTo>
                    <a:pt x="1474" y="762"/>
                  </a:lnTo>
                  <a:lnTo>
                    <a:pt x="1476" y="762"/>
                  </a:lnTo>
                  <a:lnTo>
                    <a:pt x="1484" y="774"/>
                  </a:lnTo>
                  <a:lnTo>
                    <a:pt x="1488" y="778"/>
                  </a:lnTo>
                  <a:lnTo>
                    <a:pt x="1492" y="784"/>
                  </a:lnTo>
                  <a:lnTo>
                    <a:pt x="1496" y="786"/>
                  </a:lnTo>
                  <a:lnTo>
                    <a:pt x="1502" y="790"/>
                  </a:lnTo>
                  <a:lnTo>
                    <a:pt x="1508" y="794"/>
                  </a:lnTo>
                  <a:lnTo>
                    <a:pt x="1510" y="798"/>
                  </a:lnTo>
                  <a:lnTo>
                    <a:pt x="1516" y="802"/>
                  </a:lnTo>
                  <a:lnTo>
                    <a:pt x="1518" y="806"/>
                  </a:lnTo>
                  <a:lnTo>
                    <a:pt x="1520" y="808"/>
                  </a:lnTo>
                  <a:lnTo>
                    <a:pt x="1520" y="810"/>
                  </a:lnTo>
                  <a:lnTo>
                    <a:pt x="1522" y="812"/>
                  </a:lnTo>
                  <a:lnTo>
                    <a:pt x="1522" y="814"/>
                  </a:lnTo>
                  <a:lnTo>
                    <a:pt x="1522" y="818"/>
                  </a:lnTo>
                  <a:lnTo>
                    <a:pt x="1522" y="820"/>
                  </a:lnTo>
                  <a:lnTo>
                    <a:pt x="1524" y="822"/>
                  </a:lnTo>
                  <a:lnTo>
                    <a:pt x="1526" y="824"/>
                  </a:lnTo>
                  <a:lnTo>
                    <a:pt x="1532" y="828"/>
                  </a:lnTo>
                  <a:lnTo>
                    <a:pt x="1534" y="828"/>
                  </a:lnTo>
                  <a:lnTo>
                    <a:pt x="1536" y="830"/>
                  </a:lnTo>
                  <a:lnTo>
                    <a:pt x="1540" y="830"/>
                  </a:lnTo>
                  <a:lnTo>
                    <a:pt x="1544" y="830"/>
                  </a:lnTo>
                  <a:lnTo>
                    <a:pt x="1548" y="830"/>
                  </a:lnTo>
                  <a:lnTo>
                    <a:pt x="1550" y="830"/>
                  </a:lnTo>
                  <a:lnTo>
                    <a:pt x="1554" y="830"/>
                  </a:lnTo>
                  <a:lnTo>
                    <a:pt x="1556" y="828"/>
                  </a:lnTo>
                  <a:lnTo>
                    <a:pt x="1560" y="830"/>
                  </a:lnTo>
                  <a:lnTo>
                    <a:pt x="1562" y="830"/>
                  </a:lnTo>
                  <a:lnTo>
                    <a:pt x="1564" y="832"/>
                  </a:lnTo>
                  <a:lnTo>
                    <a:pt x="1566" y="832"/>
                  </a:lnTo>
                  <a:lnTo>
                    <a:pt x="1572" y="836"/>
                  </a:lnTo>
                  <a:lnTo>
                    <a:pt x="1574" y="838"/>
                  </a:lnTo>
                  <a:lnTo>
                    <a:pt x="1576" y="840"/>
                  </a:lnTo>
                  <a:lnTo>
                    <a:pt x="1580" y="844"/>
                  </a:lnTo>
                  <a:lnTo>
                    <a:pt x="1582" y="850"/>
                  </a:lnTo>
                  <a:lnTo>
                    <a:pt x="1584" y="850"/>
                  </a:lnTo>
                  <a:lnTo>
                    <a:pt x="1584" y="852"/>
                  </a:lnTo>
                  <a:lnTo>
                    <a:pt x="1586" y="852"/>
                  </a:lnTo>
                  <a:lnTo>
                    <a:pt x="1588" y="852"/>
                  </a:lnTo>
                  <a:lnTo>
                    <a:pt x="1590" y="852"/>
                  </a:lnTo>
                  <a:lnTo>
                    <a:pt x="1592" y="852"/>
                  </a:lnTo>
                  <a:lnTo>
                    <a:pt x="1594" y="852"/>
                  </a:lnTo>
                  <a:lnTo>
                    <a:pt x="1596" y="852"/>
                  </a:lnTo>
                  <a:lnTo>
                    <a:pt x="1596" y="854"/>
                  </a:lnTo>
                  <a:lnTo>
                    <a:pt x="1598" y="856"/>
                  </a:lnTo>
                  <a:lnTo>
                    <a:pt x="1600" y="858"/>
                  </a:lnTo>
                  <a:lnTo>
                    <a:pt x="1602" y="860"/>
                  </a:lnTo>
                  <a:lnTo>
                    <a:pt x="1604" y="860"/>
                  </a:lnTo>
                  <a:lnTo>
                    <a:pt x="1606" y="860"/>
                  </a:lnTo>
                  <a:lnTo>
                    <a:pt x="1608" y="860"/>
                  </a:lnTo>
                  <a:lnTo>
                    <a:pt x="1610" y="858"/>
                  </a:lnTo>
                  <a:lnTo>
                    <a:pt x="1614" y="858"/>
                  </a:lnTo>
                  <a:lnTo>
                    <a:pt x="1616" y="858"/>
                  </a:lnTo>
                  <a:lnTo>
                    <a:pt x="1618" y="858"/>
                  </a:lnTo>
                  <a:lnTo>
                    <a:pt x="1620" y="858"/>
                  </a:lnTo>
                  <a:lnTo>
                    <a:pt x="1620" y="856"/>
                  </a:lnTo>
                  <a:lnTo>
                    <a:pt x="1620" y="854"/>
                  </a:lnTo>
                  <a:lnTo>
                    <a:pt x="1622" y="850"/>
                  </a:lnTo>
                  <a:lnTo>
                    <a:pt x="1622" y="848"/>
                  </a:lnTo>
                  <a:lnTo>
                    <a:pt x="1622" y="846"/>
                  </a:lnTo>
                  <a:lnTo>
                    <a:pt x="1624" y="846"/>
                  </a:lnTo>
                  <a:lnTo>
                    <a:pt x="1628" y="846"/>
                  </a:lnTo>
                  <a:lnTo>
                    <a:pt x="1630" y="846"/>
                  </a:lnTo>
                  <a:lnTo>
                    <a:pt x="1632" y="844"/>
                  </a:lnTo>
                  <a:lnTo>
                    <a:pt x="1634" y="842"/>
                  </a:lnTo>
                  <a:lnTo>
                    <a:pt x="1634" y="840"/>
                  </a:lnTo>
                  <a:lnTo>
                    <a:pt x="1634" y="838"/>
                  </a:lnTo>
                  <a:lnTo>
                    <a:pt x="1634" y="836"/>
                  </a:lnTo>
                  <a:lnTo>
                    <a:pt x="1636" y="834"/>
                  </a:lnTo>
                  <a:lnTo>
                    <a:pt x="1638" y="834"/>
                  </a:lnTo>
                  <a:lnTo>
                    <a:pt x="1640" y="832"/>
                  </a:lnTo>
                  <a:lnTo>
                    <a:pt x="1642" y="830"/>
                  </a:lnTo>
                  <a:lnTo>
                    <a:pt x="1644" y="830"/>
                  </a:lnTo>
                  <a:lnTo>
                    <a:pt x="1646" y="830"/>
                  </a:lnTo>
                  <a:lnTo>
                    <a:pt x="1646" y="832"/>
                  </a:lnTo>
                  <a:lnTo>
                    <a:pt x="1648" y="834"/>
                  </a:lnTo>
                  <a:lnTo>
                    <a:pt x="1648" y="836"/>
                  </a:lnTo>
                  <a:lnTo>
                    <a:pt x="1650" y="840"/>
                  </a:lnTo>
                  <a:lnTo>
                    <a:pt x="1650" y="844"/>
                  </a:lnTo>
                  <a:lnTo>
                    <a:pt x="1650" y="846"/>
                  </a:lnTo>
                  <a:lnTo>
                    <a:pt x="1652" y="850"/>
                  </a:lnTo>
                  <a:lnTo>
                    <a:pt x="1652" y="852"/>
                  </a:lnTo>
                  <a:lnTo>
                    <a:pt x="1650" y="856"/>
                  </a:lnTo>
                  <a:lnTo>
                    <a:pt x="1648" y="858"/>
                  </a:lnTo>
                  <a:lnTo>
                    <a:pt x="1648" y="860"/>
                  </a:lnTo>
                  <a:lnTo>
                    <a:pt x="1646" y="862"/>
                  </a:lnTo>
                  <a:lnTo>
                    <a:pt x="1646" y="864"/>
                  </a:lnTo>
                  <a:lnTo>
                    <a:pt x="1646" y="866"/>
                  </a:lnTo>
                  <a:lnTo>
                    <a:pt x="1648" y="870"/>
                  </a:lnTo>
                  <a:lnTo>
                    <a:pt x="1648" y="874"/>
                  </a:lnTo>
                  <a:lnTo>
                    <a:pt x="1648" y="880"/>
                  </a:lnTo>
                  <a:lnTo>
                    <a:pt x="1648" y="882"/>
                  </a:lnTo>
                  <a:lnTo>
                    <a:pt x="1648" y="886"/>
                  </a:lnTo>
                  <a:lnTo>
                    <a:pt x="1648" y="888"/>
                  </a:lnTo>
                  <a:lnTo>
                    <a:pt x="1648" y="892"/>
                  </a:lnTo>
                  <a:lnTo>
                    <a:pt x="1646" y="894"/>
                  </a:lnTo>
                  <a:lnTo>
                    <a:pt x="1646" y="896"/>
                  </a:lnTo>
                  <a:lnTo>
                    <a:pt x="1648" y="900"/>
                  </a:lnTo>
                  <a:lnTo>
                    <a:pt x="1650" y="904"/>
                  </a:lnTo>
                  <a:lnTo>
                    <a:pt x="1652" y="908"/>
                  </a:lnTo>
                  <a:lnTo>
                    <a:pt x="1652" y="910"/>
                  </a:lnTo>
                  <a:lnTo>
                    <a:pt x="1652" y="914"/>
                  </a:lnTo>
                  <a:lnTo>
                    <a:pt x="1652" y="916"/>
                  </a:lnTo>
                  <a:lnTo>
                    <a:pt x="1652" y="918"/>
                  </a:lnTo>
                  <a:lnTo>
                    <a:pt x="1650" y="918"/>
                  </a:lnTo>
                  <a:lnTo>
                    <a:pt x="1650" y="920"/>
                  </a:lnTo>
                  <a:lnTo>
                    <a:pt x="1648" y="920"/>
                  </a:lnTo>
                  <a:lnTo>
                    <a:pt x="1646" y="920"/>
                  </a:lnTo>
                  <a:lnTo>
                    <a:pt x="1642" y="920"/>
                  </a:lnTo>
                  <a:lnTo>
                    <a:pt x="1640" y="918"/>
                  </a:lnTo>
                  <a:lnTo>
                    <a:pt x="1638" y="918"/>
                  </a:lnTo>
                  <a:lnTo>
                    <a:pt x="1638" y="920"/>
                  </a:lnTo>
                  <a:lnTo>
                    <a:pt x="1636" y="920"/>
                  </a:lnTo>
                  <a:lnTo>
                    <a:pt x="1634" y="922"/>
                  </a:lnTo>
                  <a:lnTo>
                    <a:pt x="1632" y="924"/>
                  </a:lnTo>
                  <a:lnTo>
                    <a:pt x="1632" y="926"/>
                  </a:lnTo>
                  <a:lnTo>
                    <a:pt x="1630" y="926"/>
                  </a:lnTo>
                  <a:lnTo>
                    <a:pt x="1628" y="928"/>
                  </a:lnTo>
                  <a:lnTo>
                    <a:pt x="1628" y="930"/>
                  </a:lnTo>
                  <a:lnTo>
                    <a:pt x="1628" y="932"/>
                  </a:lnTo>
                  <a:lnTo>
                    <a:pt x="1628" y="936"/>
                  </a:lnTo>
                  <a:lnTo>
                    <a:pt x="1628" y="940"/>
                  </a:lnTo>
                  <a:lnTo>
                    <a:pt x="1630" y="944"/>
                  </a:lnTo>
                  <a:lnTo>
                    <a:pt x="1630" y="946"/>
                  </a:lnTo>
                  <a:lnTo>
                    <a:pt x="1632" y="948"/>
                  </a:lnTo>
                  <a:lnTo>
                    <a:pt x="1632" y="950"/>
                  </a:lnTo>
                  <a:lnTo>
                    <a:pt x="1632" y="952"/>
                  </a:lnTo>
                  <a:lnTo>
                    <a:pt x="1634" y="952"/>
                  </a:lnTo>
                  <a:lnTo>
                    <a:pt x="1634" y="954"/>
                  </a:lnTo>
                  <a:lnTo>
                    <a:pt x="1636" y="956"/>
                  </a:lnTo>
                  <a:lnTo>
                    <a:pt x="1638" y="958"/>
                  </a:lnTo>
                  <a:lnTo>
                    <a:pt x="1638" y="960"/>
                  </a:lnTo>
                  <a:lnTo>
                    <a:pt x="1640" y="964"/>
                  </a:lnTo>
                  <a:lnTo>
                    <a:pt x="1640" y="968"/>
                  </a:lnTo>
                  <a:lnTo>
                    <a:pt x="1640" y="972"/>
                  </a:lnTo>
                  <a:lnTo>
                    <a:pt x="1640" y="976"/>
                  </a:lnTo>
                  <a:lnTo>
                    <a:pt x="1640" y="978"/>
                  </a:lnTo>
                  <a:lnTo>
                    <a:pt x="1640" y="980"/>
                  </a:lnTo>
                  <a:lnTo>
                    <a:pt x="1640" y="982"/>
                  </a:lnTo>
                  <a:lnTo>
                    <a:pt x="1640" y="984"/>
                  </a:lnTo>
                  <a:lnTo>
                    <a:pt x="1642" y="984"/>
                  </a:lnTo>
                  <a:lnTo>
                    <a:pt x="1644" y="986"/>
                  </a:lnTo>
                  <a:lnTo>
                    <a:pt x="1646" y="986"/>
                  </a:lnTo>
                  <a:lnTo>
                    <a:pt x="1648" y="986"/>
                  </a:lnTo>
                  <a:lnTo>
                    <a:pt x="1648" y="984"/>
                  </a:lnTo>
                  <a:lnTo>
                    <a:pt x="1646" y="982"/>
                  </a:lnTo>
                  <a:lnTo>
                    <a:pt x="1646" y="980"/>
                  </a:lnTo>
                  <a:lnTo>
                    <a:pt x="1646" y="978"/>
                  </a:lnTo>
                  <a:lnTo>
                    <a:pt x="1646" y="976"/>
                  </a:lnTo>
                  <a:lnTo>
                    <a:pt x="1646" y="974"/>
                  </a:lnTo>
                  <a:lnTo>
                    <a:pt x="1648" y="972"/>
                  </a:lnTo>
                  <a:lnTo>
                    <a:pt x="1650" y="970"/>
                  </a:lnTo>
                  <a:lnTo>
                    <a:pt x="1650" y="968"/>
                  </a:lnTo>
                  <a:lnTo>
                    <a:pt x="1652" y="968"/>
                  </a:lnTo>
                  <a:lnTo>
                    <a:pt x="1652" y="970"/>
                  </a:lnTo>
                  <a:lnTo>
                    <a:pt x="1654" y="970"/>
                  </a:lnTo>
                  <a:lnTo>
                    <a:pt x="1656" y="972"/>
                  </a:lnTo>
                  <a:lnTo>
                    <a:pt x="1658" y="972"/>
                  </a:lnTo>
                  <a:lnTo>
                    <a:pt x="1660" y="974"/>
                  </a:lnTo>
                  <a:lnTo>
                    <a:pt x="1662" y="974"/>
                  </a:lnTo>
                  <a:lnTo>
                    <a:pt x="1662" y="976"/>
                  </a:lnTo>
                  <a:lnTo>
                    <a:pt x="1664" y="978"/>
                  </a:lnTo>
                  <a:lnTo>
                    <a:pt x="1666" y="978"/>
                  </a:lnTo>
                  <a:lnTo>
                    <a:pt x="1668" y="976"/>
                  </a:lnTo>
                  <a:lnTo>
                    <a:pt x="1670" y="976"/>
                  </a:lnTo>
                  <a:lnTo>
                    <a:pt x="1674" y="978"/>
                  </a:lnTo>
                  <a:lnTo>
                    <a:pt x="1676" y="978"/>
                  </a:lnTo>
                  <a:lnTo>
                    <a:pt x="1680" y="980"/>
                  </a:lnTo>
                  <a:lnTo>
                    <a:pt x="1684" y="980"/>
                  </a:lnTo>
                  <a:lnTo>
                    <a:pt x="1684" y="978"/>
                  </a:lnTo>
                  <a:lnTo>
                    <a:pt x="1686" y="978"/>
                  </a:lnTo>
                  <a:lnTo>
                    <a:pt x="1688" y="976"/>
                  </a:lnTo>
                  <a:lnTo>
                    <a:pt x="1688" y="974"/>
                  </a:lnTo>
                  <a:lnTo>
                    <a:pt x="1690" y="972"/>
                  </a:lnTo>
                  <a:lnTo>
                    <a:pt x="1692" y="968"/>
                  </a:lnTo>
                  <a:lnTo>
                    <a:pt x="1692" y="966"/>
                  </a:lnTo>
                  <a:lnTo>
                    <a:pt x="1692" y="962"/>
                  </a:lnTo>
                  <a:lnTo>
                    <a:pt x="1692" y="960"/>
                  </a:lnTo>
                  <a:lnTo>
                    <a:pt x="1694" y="958"/>
                  </a:lnTo>
                  <a:lnTo>
                    <a:pt x="1694" y="956"/>
                  </a:lnTo>
                  <a:lnTo>
                    <a:pt x="1696" y="952"/>
                  </a:lnTo>
                  <a:lnTo>
                    <a:pt x="1698" y="950"/>
                  </a:lnTo>
                  <a:lnTo>
                    <a:pt x="1698" y="946"/>
                  </a:lnTo>
                  <a:lnTo>
                    <a:pt x="1698" y="944"/>
                  </a:lnTo>
                  <a:lnTo>
                    <a:pt x="1700" y="940"/>
                  </a:lnTo>
                  <a:lnTo>
                    <a:pt x="1700" y="938"/>
                  </a:lnTo>
                  <a:lnTo>
                    <a:pt x="1702" y="936"/>
                  </a:lnTo>
                  <a:lnTo>
                    <a:pt x="1702" y="932"/>
                  </a:lnTo>
                  <a:lnTo>
                    <a:pt x="1702" y="930"/>
                  </a:lnTo>
                  <a:lnTo>
                    <a:pt x="1702" y="928"/>
                  </a:lnTo>
                  <a:lnTo>
                    <a:pt x="1702" y="926"/>
                  </a:lnTo>
                  <a:lnTo>
                    <a:pt x="1702" y="924"/>
                  </a:lnTo>
                  <a:lnTo>
                    <a:pt x="1704" y="920"/>
                  </a:lnTo>
                  <a:lnTo>
                    <a:pt x="1704" y="918"/>
                  </a:lnTo>
                  <a:lnTo>
                    <a:pt x="1704" y="916"/>
                  </a:lnTo>
                  <a:lnTo>
                    <a:pt x="1706" y="916"/>
                  </a:lnTo>
                  <a:lnTo>
                    <a:pt x="1706" y="914"/>
                  </a:lnTo>
                  <a:lnTo>
                    <a:pt x="1706" y="912"/>
                  </a:lnTo>
                  <a:lnTo>
                    <a:pt x="1706" y="910"/>
                  </a:lnTo>
                  <a:lnTo>
                    <a:pt x="1704" y="906"/>
                  </a:lnTo>
                  <a:lnTo>
                    <a:pt x="1704" y="904"/>
                  </a:lnTo>
                  <a:lnTo>
                    <a:pt x="1706" y="900"/>
                  </a:lnTo>
                  <a:lnTo>
                    <a:pt x="1706" y="898"/>
                  </a:lnTo>
                  <a:lnTo>
                    <a:pt x="1708" y="896"/>
                  </a:lnTo>
                  <a:lnTo>
                    <a:pt x="1708" y="894"/>
                  </a:lnTo>
                  <a:lnTo>
                    <a:pt x="1710" y="892"/>
                  </a:lnTo>
                  <a:lnTo>
                    <a:pt x="1708" y="890"/>
                  </a:lnTo>
                  <a:lnTo>
                    <a:pt x="1708" y="888"/>
                  </a:lnTo>
                  <a:lnTo>
                    <a:pt x="1706" y="886"/>
                  </a:lnTo>
                  <a:lnTo>
                    <a:pt x="1706" y="882"/>
                  </a:lnTo>
                  <a:lnTo>
                    <a:pt x="1706" y="880"/>
                  </a:lnTo>
                  <a:lnTo>
                    <a:pt x="1706" y="878"/>
                  </a:lnTo>
                  <a:lnTo>
                    <a:pt x="1706" y="872"/>
                  </a:lnTo>
                  <a:lnTo>
                    <a:pt x="1708" y="866"/>
                  </a:lnTo>
                  <a:lnTo>
                    <a:pt x="1712" y="860"/>
                  </a:lnTo>
                  <a:lnTo>
                    <a:pt x="1712" y="858"/>
                  </a:lnTo>
                  <a:lnTo>
                    <a:pt x="1712" y="854"/>
                  </a:lnTo>
                  <a:lnTo>
                    <a:pt x="1714" y="852"/>
                  </a:lnTo>
                  <a:lnTo>
                    <a:pt x="1716" y="848"/>
                  </a:lnTo>
                  <a:lnTo>
                    <a:pt x="1718" y="846"/>
                  </a:lnTo>
                  <a:lnTo>
                    <a:pt x="1722" y="840"/>
                  </a:lnTo>
                  <a:lnTo>
                    <a:pt x="1722" y="838"/>
                  </a:lnTo>
                  <a:lnTo>
                    <a:pt x="1724" y="836"/>
                  </a:lnTo>
                  <a:lnTo>
                    <a:pt x="1724" y="834"/>
                  </a:lnTo>
                  <a:lnTo>
                    <a:pt x="1722" y="832"/>
                  </a:lnTo>
                  <a:lnTo>
                    <a:pt x="1722" y="830"/>
                  </a:lnTo>
                  <a:lnTo>
                    <a:pt x="1720" y="826"/>
                  </a:lnTo>
                  <a:lnTo>
                    <a:pt x="1720" y="822"/>
                  </a:lnTo>
                  <a:lnTo>
                    <a:pt x="1718" y="818"/>
                  </a:lnTo>
                  <a:lnTo>
                    <a:pt x="1718" y="814"/>
                  </a:lnTo>
                  <a:lnTo>
                    <a:pt x="1716" y="810"/>
                  </a:lnTo>
                  <a:lnTo>
                    <a:pt x="1716" y="808"/>
                  </a:lnTo>
                  <a:lnTo>
                    <a:pt x="1714" y="806"/>
                  </a:lnTo>
                  <a:lnTo>
                    <a:pt x="1712" y="800"/>
                  </a:lnTo>
                  <a:lnTo>
                    <a:pt x="1710" y="798"/>
                  </a:lnTo>
                  <a:lnTo>
                    <a:pt x="1710" y="796"/>
                  </a:lnTo>
                  <a:lnTo>
                    <a:pt x="1708" y="794"/>
                  </a:lnTo>
                  <a:lnTo>
                    <a:pt x="1706" y="794"/>
                  </a:lnTo>
                  <a:lnTo>
                    <a:pt x="1706" y="792"/>
                  </a:lnTo>
                  <a:lnTo>
                    <a:pt x="1706" y="790"/>
                  </a:lnTo>
                  <a:lnTo>
                    <a:pt x="1706" y="786"/>
                  </a:lnTo>
                  <a:lnTo>
                    <a:pt x="1704" y="784"/>
                  </a:lnTo>
                  <a:lnTo>
                    <a:pt x="1704" y="782"/>
                  </a:lnTo>
                  <a:lnTo>
                    <a:pt x="1702" y="780"/>
                  </a:lnTo>
                  <a:lnTo>
                    <a:pt x="1702" y="778"/>
                  </a:lnTo>
                  <a:lnTo>
                    <a:pt x="1702" y="776"/>
                  </a:lnTo>
                  <a:lnTo>
                    <a:pt x="1702" y="772"/>
                  </a:lnTo>
                  <a:lnTo>
                    <a:pt x="1700" y="770"/>
                  </a:lnTo>
                  <a:lnTo>
                    <a:pt x="1698" y="768"/>
                  </a:lnTo>
                  <a:lnTo>
                    <a:pt x="1698" y="766"/>
                  </a:lnTo>
                  <a:lnTo>
                    <a:pt x="1696" y="762"/>
                  </a:lnTo>
                  <a:lnTo>
                    <a:pt x="1696" y="760"/>
                  </a:lnTo>
                  <a:lnTo>
                    <a:pt x="1696" y="756"/>
                  </a:lnTo>
                  <a:lnTo>
                    <a:pt x="1696" y="750"/>
                  </a:lnTo>
                  <a:lnTo>
                    <a:pt x="1696" y="746"/>
                  </a:lnTo>
                  <a:lnTo>
                    <a:pt x="1694" y="744"/>
                  </a:lnTo>
                  <a:lnTo>
                    <a:pt x="1694" y="740"/>
                  </a:lnTo>
                  <a:lnTo>
                    <a:pt x="1694" y="738"/>
                  </a:lnTo>
                  <a:lnTo>
                    <a:pt x="1696" y="738"/>
                  </a:lnTo>
                  <a:lnTo>
                    <a:pt x="1696" y="736"/>
                  </a:lnTo>
                  <a:lnTo>
                    <a:pt x="1696" y="734"/>
                  </a:lnTo>
                  <a:lnTo>
                    <a:pt x="1696" y="732"/>
                  </a:lnTo>
                  <a:lnTo>
                    <a:pt x="1696" y="730"/>
                  </a:lnTo>
                  <a:lnTo>
                    <a:pt x="1694" y="726"/>
                  </a:lnTo>
                  <a:lnTo>
                    <a:pt x="1692" y="726"/>
                  </a:lnTo>
                  <a:lnTo>
                    <a:pt x="1690" y="726"/>
                  </a:lnTo>
                  <a:lnTo>
                    <a:pt x="1688" y="724"/>
                  </a:lnTo>
                  <a:lnTo>
                    <a:pt x="1686" y="724"/>
                  </a:lnTo>
                  <a:lnTo>
                    <a:pt x="1684" y="722"/>
                  </a:lnTo>
                  <a:lnTo>
                    <a:pt x="1682" y="720"/>
                  </a:lnTo>
                  <a:lnTo>
                    <a:pt x="1682" y="718"/>
                  </a:lnTo>
                  <a:lnTo>
                    <a:pt x="1680" y="718"/>
                  </a:lnTo>
                  <a:lnTo>
                    <a:pt x="1678" y="718"/>
                  </a:lnTo>
                  <a:lnTo>
                    <a:pt x="1678" y="716"/>
                  </a:lnTo>
                  <a:lnTo>
                    <a:pt x="1676" y="714"/>
                  </a:lnTo>
                  <a:lnTo>
                    <a:pt x="1678" y="714"/>
                  </a:lnTo>
                  <a:lnTo>
                    <a:pt x="1678" y="712"/>
                  </a:lnTo>
                  <a:lnTo>
                    <a:pt x="1678" y="710"/>
                  </a:lnTo>
                  <a:lnTo>
                    <a:pt x="1678" y="708"/>
                  </a:lnTo>
                  <a:lnTo>
                    <a:pt x="1676" y="708"/>
                  </a:lnTo>
                  <a:lnTo>
                    <a:pt x="1676" y="706"/>
                  </a:lnTo>
                  <a:lnTo>
                    <a:pt x="1676" y="704"/>
                  </a:lnTo>
                  <a:lnTo>
                    <a:pt x="1676" y="702"/>
                  </a:lnTo>
                  <a:lnTo>
                    <a:pt x="1676" y="700"/>
                  </a:lnTo>
                  <a:lnTo>
                    <a:pt x="1674" y="698"/>
                  </a:lnTo>
                  <a:lnTo>
                    <a:pt x="1672" y="698"/>
                  </a:lnTo>
                  <a:lnTo>
                    <a:pt x="1670" y="694"/>
                  </a:lnTo>
                  <a:lnTo>
                    <a:pt x="1666" y="694"/>
                  </a:lnTo>
                  <a:lnTo>
                    <a:pt x="1662" y="692"/>
                  </a:lnTo>
                  <a:lnTo>
                    <a:pt x="1660" y="690"/>
                  </a:lnTo>
                  <a:lnTo>
                    <a:pt x="1658" y="690"/>
                  </a:lnTo>
                  <a:lnTo>
                    <a:pt x="1656" y="686"/>
                  </a:lnTo>
                  <a:lnTo>
                    <a:pt x="1656" y="684"/>
                  </a:lnTo>
                  <a:lnTo>
                    <a:pt x="1654" y="682"/>
                  </a:lnTo>
                  <a:lnTo>
                    <a:pt x="1652" y="682"/>
                  </a:lnTo>
                  <a:lnTo>
                    <a:pt x="1650" y="680"/>
                  </a:lnTo>
                  <a:lnTo>
                    <a:pt x="1648" y="680"/>
                  </a:lnTo>
                  <a:lnTo>
                    <a:pt x="1646" y="678"/>
                  </a:lnTo>
                  <a:lnTo>
                    <a:pt x="1644" y="676"/>
                  </a:lnTo>
                  <a:lnTo>
                    <a:pt x="1642" y="676"/>
                  </a:lnTo>
                  <a:lnTo>
                    <a:pt x="1642" y="674"/>
                  </a:lnTo>
                  <a:lnTo>
                    <a:pt x="1640" y="676"/>
                  </a:lnTo>
                  <a:lnTo>
                    <a:pt x="1640" y="678"/>
                  </a:lnTo>
                  <a:lnTo>
                    <a:pt x="1638" y="678"/>
                  </a:lnTo>
                  <a:lnTo>
                    <a:pt x="1638" y="680"/>
                  </a:lnTo>
                  <a:lnTo>
                    <a:pt x="1636" y="680"/>
                  </a:lnTo>
                  <a:lnTo>
                    <a:pt x="1634" y="682"/>
                  </a:lnTo>
                  <a:lnTo>
                    <a:pt x="1632" y="682"/>
                  </a:lnTo>
                  <a:lnTo>
                    <a:pt x="1632" y="680"/>
                  </a:lnTo>
                  <a:lnTo>
                    <a:pt x="1630" y="680"/>
                  </a:lnTo>
                  <a:lnTo>
                    <a:pt x="1630" y="682"/>
                  </a:lnTo>
                  <a:lnTo>
                    <a:pt x="1628" y="682"/>
                  </a:lnTo>
                  <a:lnTo>
                    <a:pt x="1628" y="684"/>
                  </a:lnTo>
                  <a:lnTo>
                    <a:pt x="1630" y="686"/>
                  </a:lnTo>
                  <a:lnTo>
                    <a:pt x="1630" y="688"/>
                  </a:lnTo>
                  <a:lnTo>
                    <a:pt x="1632" y="690"/>
                  </a:lnTo>
                  <a:lnTo>
                    <a:pt x="1630" y="692"/>
                  </a:lnTo>
                  <a:lnTo>
                    <a:pt x="1628" y="692"/>
                  </a:lnTo>
                  <a:lnTo>
                    <a:pt x="1628" y="694"/>
                  </a:lnTo>
                  <a:lnTo>
                    <a:pt x="1626" y="696"/>
                  </a:lnTo>
                  <a:lnTo>
                    <a:pt x="1626" y="698"/>
                  </a:lnTo>
                  <a:lnTo>
                    <a:pt x="1624" y="698"/>
                  </a:lnTo>
                  <a:lnTo>
                    <a:pt x="1622" y="698"/>
                  </a:lnTo>
                  <a:lnTo>
                    <a:pt x="1620" y="698"/>
                  </a:lnTo>
                  <a:lnTo>
                    <a:pt x="1618" y="696"/>
                  </a:lnTo>
                  <a:lnTo>
                    <a:pt x="1616" y="696"/>
                  </a:lnTo>
                  <a:lnTo>
                    <a:pt x="1614" y="696"/>
                  </a:lnTo>
                  <a:lnTo>
                    <a:pt x="1614" y="694"/>
                  </a:lnTo>
                  <a:lnTo>
                    <a:pt x="1616" y="694"/>
                  </a:lnTo>
                  <a:lnTo>
                    <a:pt x="1616" y="692"/>
                  </a:lnTo>
                  <a:lnTo>
                    <a:pt x="1618" y="690"/>
                  </a:lnTo>
                  <a:lnTo>
                    <a:pt x="1618" y="688"/>
                  </a:lnTo>
                  <a:lnTo>
                    <a:pt x="1616" y="688"/>
                  </a:lnTo>
                  <a:lnTo>
                    <a:pt x="1614" y="688"/>
                  </a:lnTo>
                  <a:lnTo>
                    <a:pt x="1612" y="686"/>
                  </a:lnTo>
                  <a:lnTo>
                    <a:pt x="1612" y="684"/>
                  </a:lnTo>
                  <a:lnTo>
                    <a:pt x="1612" y="682"/>
                  </a:lnTo>
                  <a:lnTo>
                    <a:pt x="1610" y="682"/>
                  </a:lnTo>
                  <a:lnTo>
                    <a:pt x="1608" y="682"/>
                  </a:lnTo>
                  <a:lnTo>
                    <a:pt x="1606" y="682"/>
                  </a:lnTo>
                  <a:lnTo>
                    <a:pt x="1604" y="684"/>
                  </a:lnTo>
                  <a:lnTo>
                    <a:pt x="1606" y="686"/>
                  </a:lnTo>
                  <a:lnTo>
                    <a:pt x="1606" y="688"/>
                  </a:lnTo>
                  <a:lnTo>
                    <a:pt x="1608" y="690"/>
                  </a:lnTo>
                  <a:lnTo>
                    <a:pt x="1608" y="692"/>
                  </a:lnTo>
                  <a:lnTo>
                    <a:pt x="1608" y="694"/>
                  </a:lnTo>
                  <a:lnTo>
                    <a:pt x="1608" y="696"/>
                  </a:lnTo>
                  <a:lnTo>
                    <a:pt x="1608" y="698"/>
                  </a:lnTo>
                  <a:lnTo>
                    <a:pt x="1606" y="698"/>
                  </a:lnTo>
                  <a:lnTo>
                    <a:pt x="1604" y="698"/>
                  </a:lnTo>
                  <a:lnTo>
                    <a:pt x="1604" y="696"/>
                  </a:lnTo>
                  <a:lnTo>
                    <a:pt x="1602" y="694"/>
                  </a:lnTo>
                  <a:lnTo>
                    <a:pt x="1602" y="690"/>
                  </a:lnTo>
                  <a:lnTo>
                    <a:pt x="1602" y="688"/>
                  </a:lnTo>
                  <a:lnTo>
                    <a:pt x="1600" y="686"/>
                  </a:lnTo>
                  <a:lnTo>
                    <a:pt x="1598" y="682"/>
                  </a:lnTo>
                  <a:lnTo>
                    <a:pt x="1596" y="680"/>
                  </a:lnTo>
                  <a:lnTo>
                    <a:pt x="1594" y="680"/>
                  </a:lnTo>
                  <a:lnTo>
                    <a:pt x="1594" y="678"/>
                  </a:lnTo>
                  <a:lnTo>
                    <a:pt x="1592" y="678"/>
                  </a:lnTo>
                  <a:lnTo>
                    <a:pt x="1590" y="678"/>
                  </a:lnTo>
                  <a:lnTo>
                    <a:pt x="1588" y="680"/>
                  </a:lnTo>
                  <a:lnTo>
                    <a:pt x="1586" y="680"/>
                  </a:lnTo>
                  <a:lnTo>
                    <a:pt x="1584" y="682"/>
                  </a:lnTo>
                  <a:lnTo>
                    <a:pt x="1582" y="682"/>
                  </a:lnTo>
                  <a:lnTo>
                    <a:pt x="1580" y="682"/>
                  </a:lnTo>
                  <a:lnTo>
                    <a:pt x="1578" y="682"/>
                  </a:lnTo>
                  <a:lnTo>
                    <a:pt x="1576" y="682"/>
                  </a:lnTo>
                  <a:lnTo>
                    <a:pt x="1576" y="680"/>
                  </a:lnTo>
                  <a:lnTo>
                    <a:pt x="1576" y="678"/>
                  </a:lnTo>
                  <a:lnTo>
                    <a:pt x="1578" y="676"/>
                  </a:lnTo>
                  <a:lnTo>
                    <a:pt x="1580" y="674"/>
                  </a:lnTo>
                  <a:lnTo>
                    <a:pt x="1580" y="672"/>
                  </a:lnTo>
                  <a:lnTo>
                    <a:pt x="1582" y="670"/>
                  </a:lnTo>
                  <a:lnTo>
                    <a:pt x="1582" y="668"/>
                  </a:lnTo>
                  <a:lnTo>
                    <a:pt x="1582" y="666"/>
                  </a:lnTo>
                  <a:lnTo>
                    <a:pt x="1584" y="664"/>
                  </a:lnTo>
                  <a:lnTo>
                    <a:pt x="1588" y="662"/>
                  </a:lnTo>
                  <a:lnTo>
                    <a:pt x="1588" y="660"/>
                  </a:lnTo>
                  <a:lnTo>
                    <a:pt x="1590" y="656"/>
                  </a:lnTo>
                  <a:lnTo>
                    <a:pt x="1592" y="654"/>
                  </a:lnTo>
                  <a:lnTo>
                    <a:pt x="1592" y="652"/>
                  </a:lnTo>
                  <a:lnTo>
                    <a:pt x="1592" y="648"/>
                  </a:lnTo>
                  <a:lnTo>
                    <a:pt x="1592" y="644"/>
                  </a:lnTo>
                  <a:lnTo>
                    <a:pt x="1592" y="642"/>
                  </a:lnTo>
                  <a:lnTo>
                    <a:pt x="1592" y="640"/>
                  </a:lnTo>
                  <a:lnTo>
                    <a:pt x="1592" y="636"/>
                  </a:lnTo>
                  <a:lnTo>
                    <a:pt x="1594" y="632"/>
                  </a:lnTo>
                  <a:lnTo>
                    <a:pt x="1594" y="630"/>
                  </a:lnTo>
                  <a:lnTo>
                    <a:pt x="1596" y="626"/>
                  </a:lnTo>
                  <a:lnTo>
                    <a:pt x="1596" y="624"/>
                  </a:lnTo>
                  <a:lnTo>
                    <a:pt x="1598" y="620"/>
                  </a:lnTo>
                  <a:lnTo>
                    <a:pt x="1600" y="614"/>
                  </a:lnTo>
                  <a:lnTo>
                    <a:pt x="1602" y="612"/>
                  </a:lnTo>
                  <a:lnTo>
                    <a:pt x="1602" y="610"/>
                  </a:lnTo>
                  <a:lnTo>
                    <a:pt x="1602" y="608"/>
                  </a:lnTo>
                  <a:lnTo>
                    <a:pt x="1602" y="606"/>
                  </a:lnTo>
                  <a:lnTo>
                    <a:pt x="1604" y="602"/>
                  </a:lnTo>
                  <a:lnTo>
                    <a:pt x="1604" y="600"/>
                  </a:lnTo>
                  <a:lnTo>
                    <a:pt x="1604" y="598"/>
                  </a:lnTo>
                  <a:lnTo>
                    <a:pt x="1606" y="594"/>
                  </a:lnTo>
                  <a:lnTo>
                    <a:pt x="1606" y="588"/>
                  </a:lnTo>
                  <a:lnTo>
                    <a:pt x="1606" y="586"/>
                  </a:lnTo>
                  <a:lnTo>
                    <a:pt x="1608" y="582"/>
                  </a:lnTo>
                  <a:lnTo>
                    <a:pt x="1610" y="576"/>
                  </a:lnTo>
                  <a:lnTo>
                    <a:pt x="1610" y="574"/>
                  </a:lnTo>
                  <a:lnTo>
                    <a:pt x="1610" y="572"/>
                  </a:lnTo>
                  <a:lnTo>
                    <a:pt x="1610" y="570"/>
                  </a:lnTo>
                  <a:lnTo>
                    <a:pt x="1610" y="566"/>
                  </a:lnTo>
                  <a:lnTo>
                    <a:pt x="1610" y="564"/>
                  </a:lnTo>
                  <a:lnTo>
                    <a:pt x="1612" y="560"/>
                  </a:lnTo>
                  <a:lnTo>
                    <a:pt x="1612" y="554"/>
                  </a:lnTo>
                  <a:lnTo>
                    <a:pt x="1612" y="550"/>
                  </a:lnTo>
                  <a:lnTo>
                    <a:pt x="1612" y="548"/>
                  </a:lnTo>
                  <a:lnTo>
                    <a:pt x="1614" y="544"/>
                  </a:lnTo>
                  <a:lnTo>
                    <a:pt x="1614" y="542"/>
                  </a:lnTo>
                  <a:lnTo>
                    <a:pt x="1616" y="538"/>
                  </a:lnTo>
                  <a:lnTo>
                    <a:pt x="1618" y="536"/>
                  </a:lnTo>
                  <a:lnTo>
                    <a:pt x="1620" y="534"/>
                  </a:lnTo>
                  <a:lnTo>
                    <a:pt x="1624" y="532"/>
                  </a:lnTo>
                  <a:lnTo>
                    <a:pt x="1626" y="530"/>
                  </a:lnTo>
                  <a:lnTo>
                    <a:pt x="1628" y="528"/>
                  </a:lnTo>
                  <a:lnTo>
                    <a:pt x="1632" y="526"/>
                  </a:lnTo>
                  <a:lnTo>
                    <a:pt x="1634" y="526"/>
                  </a:lnTo>
                  <a:lnTo>
                    <a:pt x="1638" y="526"/>
                  </a:lnTo>
                  <a:lnTo>
                    <a:pt x="1640" y="526"/>
                  </a:lnTo>
                  <a:lnTo>
                    <a:pt x="1644" y="526"/>
                  </a:lnTo>
                  <a:lnTo>
                    <a:pt x="1646" y="526"/>
                  </a:lnTo>
                  <a:lnTo>
                    <a:pt x="1648" y="526"/>
                  </a:lnTo>
                  <a:lnTo>
                    <a:pt x="1650" y="526"/>
                  </a:lnTo>
                  <a:lnTo>
                    <a:pt x="1652" y="526"/>
                  </a:lnTo>
                  <a:lnTo>
                    <a:pt x="1654" y="524"/>
                  </a:lnTo>
                  <a:lnTo>
                    <a:pt x="1656" y="524"/>
                  </a:lnTo>
                  <a:lnTo>
                    <a:pt x="1656" y="526"/>
                  </a:lnTo>
                  <a:lnTo>
                    <a:pt x="1660" y="530"/>
                  </a:lnTo>
                  <a:lnTo>
                    <a:pt x="1662" y="530"/>
                  </a:lnTo>
                  <a:lnTo>
                    <a:pt x="1664" y="532"/>
                  </a:lnTo>
                  <a:lnTo>
                    <a:pt x="1666" y="532"/>
                  </a:lnTo>
                  <a:lnTo>
                    <a:pt x="1670" y="532"/>
                  </a:lnTo>
                  <a:lnTo>
                    <a:pt x="1670" y="530"/>
                  </a:lnTo>
                  <a:lnTo>
                    <a:pt x="1672" y="530"/>
                  </a:lnTo>
                  <a:lnTo>
                    <a:pt x="1672" y="528"/>
                  </a:lnTo>
                  <a:lnTo>
                    <a:pt x="1674" y="528"/>
                  </a:lnTo>
                  <a:lnTo>
                    <a:pt x="1672" y="526"/>
                  </a:lnTo>
                  <a:lnTo>
                    <a:pt x="1670" y="524"/>
                  </a:lnTo>
                  <a:lnTo>
                    <a:pt x="1666" y="524"/>
                  </a:lnTo>
                  <a:lnTo>
                    <a:pt x="1666" y="522"/>
                  </a:lnTo>
                  <a:lnTo>
                    <a:pt x="1666" y="520"/>
                  </a:lnTo>
                  <a:lnTo>
                    <a:pt x="1666" y="518"/>
                  </a:lnTo>
                  <a:lnTo>
                    <a:pt x="1668" y="518"/>
                  </a:lnTo>
                  <a:lnTo>
                    <a:pt x="1670" y="518"/>
                  </a:lnTo>
                  <a:lnTo>
                    <a:pt x="1672" y="520"/>
                  </a:lnTo>
                  <a:lnTo>
                    <a:pt x="1674" y="522"/>
                  </a:lnTo>
                  <a:lnTo>
                    <a:pt x="1678" y="522"/>
                  </a:lnTo>
                  <a:lnTo>
                    <a:pt x="1680" y="522"/>
                  </a:lnTo>
                  <a:lnTo>
                    <a:pt x="1684" y="522"/>
                  </a:lnTo>
                  <a:lnTo>
                    <a:pt x="1686" y="520"/>
                  </a:lnTo>
                  <a:lnTo>
                    <a:pt x="1688" y="520"/>
                  </a:lnTo>
                  <a:lnTo>
                    <a:pt x="1690" y="518"/>
                  </a:lnTo>
                  <a:lnTo>
                    <a:pt x="1692" y="518"/>
                  </a:lnTo>
                  <a:lnTo>
                    <a:pt x="1694" y="518"/>
                  </a:lnTo>
                  <a:lnTo>
                    <a:pt x="1696" y="518"/>
                  </a:lnTo>
                  <a:lnTo>
                    <a:pt x="1698" y="518"/>
                  </a:lnTo>
                  <a:lnTo>
                    <a:pt x="1698" y="516"/>
                  </a:lnTo>
                  <a:lnTo>
                    <a:pt x="1698" y="514"/>
                  </a:lnTo>
                  <a:lnTo>
                    <a:pt x="1698" y="512"/>
                  </a:lnTo>
                  <a:lnTo>
                    <a:pt x="1700" y="510"/>
                  </a:lnTo>
                  <a:lnTo>
                    <a:pt x="1702" y="508"/>
                  </a:lnTo>
                  <a:lnTo>
                    <a:pt x="1702" y="506"/>
                  </a:lnTo>
                  <a:lnTo>
                    <a:pt x="1702" y="504"/>
                  </a:lnTo>
                  <a:lnTo>
                    <a:pt x="1700" y="504"/>
                  </a:lnTo>
                  <a:lnTo>
                    <a:pt x="1700" y="502"/>
                  </a:lnTo>
                  <a:lnTo>
                    <a:pt x="1700" y="500"/>
                  </a:lnTo>
                  <a:lnTo>
                    <a:pt x="1702" y="500"/>
                  </a:lnTo>
                  <a:lnTo>
                    <a:pt x="1704" y="498"/>
                  </a:lnTo>
                  <a:lnTo>
                    <a:pt x="1706" y="496"/>
                  </a:lnTo>
                  <a:lnTo>
                    <a:pt x="1710" y="496"/>
                  </a:lnTo>
                  <a:lnTo>
                    <a:pt x="1712" y="496"/>
                  </a:lnTo>
                  <a:lnTo>
                    <a:pt x="1714" y="496"/>
                  </a:lnTo>
                  <a:lnTo>
                    <a:pt x="1716" y="498"/>
                  </a:lnTo>
                  <a:lnTo>
                    <a:pt x="1718" y="500"/>
                  </a:lnTo>
                  <a:lnTo>
                    <a:pt x="1720" y="500"/>
                  </a:lnTo>
                  <a:lnTo>
                    <a:pt x="1722" y="500"/>
                  </a:lnTo>
                  <a:lnTo>
                    <a:pt x="1726" y="500"/>
                  </a:lnTo>
                  <a:lnTo>
                    <a:pt x="1728" y="500"/>
                  </a:lnTo>
                  <a:lnTo>
                    <a:pt x="1730" y="500"/>
                  </a:lnTo>
                  <a:lnTo>
                    <a:pt x="1732" y="500"/>
                  </a:lnTo>
                  <a:lnTo>
                    <a:pt x="1732" y="502"/>
                  </a:lnTo>
                  <a:lnTo>
                    <a:pt x="1734" y="502"/>
                  </a:lnTo>
                  <a:lnTo>
                    <a:pt x="1734" y="504"/>
                  </a:lnTo>
                  <a:lnTo>
                    <a:pt x="1736" y="504"/>
                  </a:lnTo>
                  <a:lnTo>
                    <a:pt x="1738" y="504"/>
                  </a:lnTo>
                  <a:lnTo>
                    <a:pt x="1740" y="502"/>
                  </a:lnTo>
                  <a:lnTo>
                    <a:pt x="1740" y="504"/>
                  </a:lnTo>
                  <a:lnTo>
                    <a:pt x="1742" y="504"/>
                  </a:lnTo>
                  <a:lnTo>
                    <a:pt x="1742" y="506"/>
                  </a:lnTo>
                  <a:lnTo>
                    <a:pt x="1740" y="506"/>
                  </a:lnTo>
                  <a:lnTo>
                    <a:pt x="1740" y="508"/>
                  </a:lnTo>
                  <a:lnTo>
                    <a:pt x="1738" y="508"/>
                  </a:lnTo>
                  <a:lnTo>
                    <a:pt x="1736" y="508"/>
                  </a:lnTo>
                  <a:lnTo>
                    <a:pt x="1734" y="510"/>
                  </a:lnTo>
                  <a:lnTo>
                    <a:pt x="1732" y="510"/>
                  </a:lnTo>
                  <a:lnTo>
                    <a:pt x="1732" y="512"/>
                  </a:lnTo>
                  <a:lnTo>
                    <a:pt x="1732" y="514"/>
                  </a:lnTo>
                  <a:lnTo>
                    <a:pt x="1732" y="516"/>
                  </a:lnTo>
                  <a:lnTo>
                    <a:pt x="1734" y="518"/>
                  </a:lnTo>
                  <a:lnTo>
                    <a:pt x="1736" y="520"/>
                  </a:lnTo>
                  <a:lnTo>
                    <a:pt x="1738" y="520"/>
                  </a:lnTo>
                  <a:lnTo>
                    <a:pt x="1740" y="520"/>
                  </a:lnTo>
                  <a:lnTo>
                    <a:pt x="1742" y="518"/>
                  </a:lnTo>
                  <a:lnTo>
                    <a:pt x="1744" y="518"/>
                  </a:lnTo>
                  <a:lnTo>
                    <a:pt x="1744" y="516"/>
                  </a:lnTo>
                  <a:lnTo>
                    <a:pt x="1746" y="514"/>
                  </a:lnTo>
                  <a:lnTo>
                    <a:pt x="1748" y="512"/>
                  </a:lnTo>
                  <a:lnTo>
                    <a:pt x="1748" y="510"/>
                  </a:lnTo>
                  <a:lnTo>
                    <a:pt x="1750" y="510"/>
                  </a:lnTo>
                  <a:lnTo>
                    <a:pt x="1752" y="508"/>
                  </a:lnTo>
                  <a:lnTo>
                    <a:pt x="1756" y="510"/>
                  </a:lnTo>
                  <a:lnTo>
                    <a:pt x="1758" y="508"/>
                  </a:lnTo>
                  <a:lnTo>
                    <a:pt x="1760" y="508"/>
                  </a:lnTo>
                  <a:lnTo>
                    <a:pt x="1760" y="504"/>
                  </a:lnTo>
                  <a:lnTo>
                    <a:pt x="1762" y="502"/>
                  </a:lnTo>
                  <a:lnTo>
                    <a:pt x="1762" y="500"/>
                  </a:lnTo>
                  <a:lnTo>
                    <a:pt x="1764" y="500"/>
                  </a:lnTo>
                  <a:lnTo>
                    <a:pt x="1764" y="498"/>
                  </a:lnTo>
                  <a:lnTo>
                    <a:pt x="1768" y="496"/>
                  </a:lnTo>
                  <a:lnTo>
                    <a:pt x="1772" y="496"/>
                  </a:lnTo>
                  <a:lnTo>
                    <a:pt x="1774" y="496"/>
                  </a:lnTo>
                  <a:lnTo>
                    <a:pt x="1776" y="494"/>
                  </a:lnTo>
                  <a:lnTo>
                    <a:pt x="1778" y="494"/>
                  </a:lnTo>
                  <a:lnTo>
                    <a:pt x="1784" y="492"/>
                  </a:lnTo>
                  <a:lnTo>
                    <a:pt x="1786" y="490"/>
                  </a:lnTo>
                  <a:lnTo>
                    <a:pt x="1788" y="488"/>
                  </a:lnTo>
                  <a:lnTo>
                    <a:pt x="1788" y="486"/>
                  </a:lnTo>
                  <a:lnTo>
                    <a:pt x="1788" y="484"/>
                  </a:lnTo>
                  <a:lnTo>
                    <a:pt x="1788" y="482"/>
                  </a:lnTo>
                  <a:lnTo>
                    <a:pt x="1786" y="480"/>
                  </a:lnTo>
                  <a:lnTo>
                    <a:pt x="1784" y="478"/>
                  </a:lnTo>
                  <a:lnTo>
                    <a:pt x="1780" y="478"/>
                  </a:lnTo>
                  <a:lnTo>
                    <a:pt x="1778" y="478"/>
                  </a:lnTo>
                  <a:lnTo>
                    <a:pt x="1776" y="476"/>
                  </a:lnTo>
                  <a:lnTo>
                    <a:pt x="1774" y="476"/>
                  </a:lnTo>
                  <a:lnTo>
                    <a:pt x="1770" y="474"/>
                  </a:lnTo>
                  <a:lnTo>
                    <a:pt x="1768" y="474"/>
                  </a:lnTo>
                  <a:lnTo>
                    <a:pt x="1768" y="472"/>
                  </a:lnTo>
                  <a:lnTo>
                    <a:pt x="1768" y="470"/>
                  </a:lnTo>
                  <a:lnTo>
                    <a:pt x="1766" y="468"/>
                  </a:lnTo>
                  <a:lnTo>
                    <a:pt x="1766" y="466"/>
                  </a:lnTo>
                  <a:lnTo>
                    <a:pt x="1766" y="464"/>
                  </a:lnTo>
                  <a:lnTo>
                    <a:pt x="1766" y="462"/>
                  </a:lnTo>
                  <a:lnTo>
                    <a:pt x="1768" y="456"/>
                  </a:lnTo>
                  <a:lnTo>
                    <a:pt x="1770" y="452"/>
                  </a:lnTo>
                  <a:lnTo>
                    <a:pt x="1770" y="450"/>
                  </a:lnTo>
                  <a:lnTo>
                    <a:pt x="1772" y="448"/>
                  </a:lnTo>
                  <a:lnTo>
                    <a:pt x="1774" y="446"/>
                  </a:lnTo>
                  <a:lnTo>
                    <a:pt x="1776" y="444"/>
                  </a:lnTo>
                  <a:lnTo>
                    <a:pt x="1776" y="442"/>
                  </a:lnTo>
                  <a:lnTo>
                    <a:pt x="1774" y="440"/>
                  </a:lnTo>
                  <a:lnTo>
                    <a:pt x="1772" y="438"/>
                  </a:lnTo>
                  <a:lnTo>
                    <a:pt x="1772" y="436"/>
                  </a:lnTo>
                  <a:lnTo>
                    <a:pt x="1770" y="434"/>
                  </a:lnTo>
                  <a:lnTo>
                    <a:pt x="1772" y="430"/>
                  </a:lnTo>
                  <a:lnTo>
                    <a:pt x="1772" y="428"/>
                  </a:lnTo>
                  <a:lnTo>
                    <a:pt x="1772" y="424"/>
                  </a:lnTo>
                  <a:lnTo>
                    <a:pt x="1774" y="420"/>
                  </a:lnTo>
                  <a:lnTo>
                    <a:pt x="1774" y="418"/>
                  </a:lnTo>
                  <a:lnTo>
                    <a:pt x="1776" y="416"/>
                  </a:lnTo>
                  <a:lnTo>
                    <a:pt x="1776" y="414"/>
                  </a:lnTo>
                  <a:lnTo>
                    <a:pt x="1778" y="412"/>
                  </a:lnTo>
                  <a:lnTo>
                    <a:pt x="1778" y="410"/>
                  </a:lnTo>
                  <a:lnTo>
                    <a:pt x="1778" y="408"/>
                  </a:lnTo>
                  <a:lnTo>
                    <a:pt x="1776" y="406"/>
                  </a:lnTo>
                  <a:lnTo>
                    <a:pt x="1778" y="404"/>
                  </a:lnTo>
                  <a:lnTo>
                    <a:pt x="1780" y="404"/>
                  </a:lnTo>
                  <a:lnTo>
                    <a:pt x="1788" y="402"/>
                  </a:lnTo>
                  <a:lnTo>
                    <a:pt x="1790" y="400"/>
                  </a:lnTo>
                  <a:lnTo>
                    <a:pt x="1792" y="400"/>
                  </a:lnTo>
                  <a:lnTo>
                    <a:pt x="1792" y="398"/>
                  </a:lnTo>
                  <a:lnTo>
                    <a:pt x="1792" y="396"/>
                  </a:lnTo>
                  <a:lnTo>
                    <a:pt x="1792" y="394"/>
                  </a:lnTo>
                  <a:lnTo>
                    <a:pt x="1792" y="392"/>
                  </a:lnTo>
                  <a:lnTo>
                    <a:pt x="1794" y="390"/>
                  </a:lnTo>
                  <a:lnTo>
                    <a:pt x="1796" y="388"/>
                  </a:lnTo>
                  <a:lnTo>
                    <a:pt x="1798" y="388"/>
                  </a:lnTo>
                  <a:lnTo>
                    <a:pt x="1798" y="390"/>
                  </a:lnTo>
                  <a:lnTo>
                    <a:pt x="1800" y="390"/>
                  </a:lnTo>
                  <a:lnTo>
                    <a:pt x="1802" y="392"/>
                  </a:lnTo>
                  <a:lnTo>
                    <a:pt x="1804" y="390"/>
                  </a:lnTo>
                  <a:lnTo>
                    <a:pt x="1804" y="388"/>
                  </a:lnTo>
                  <a:lnTo>
                    <a:pt x="1804" y="386"/>
                  </a:lnTo>
                  <a:lnTo>
                    <a:pt x="1806" y="384"/>
                  </a:lnTo>
                  <a:lnTo>
                    <a:pt x="1806" y="382"/>
                  </a:lnTo>
                  <a:lnTo>
                    <a:pt x="1808" y="384"/>
                  </a:lnTo>
                  <a:lnTo>
                    <a:pt x="1810" y="392"/>
                  </a:lnTo>
                  <a:lnTo>
                    <a:pt x="1810" y="394"/>
                  </a:lnTo>
                  <a:lnTo>
                    <a:pt x="1810" y="396"/>
                  </a:lnTo>
                  <a:lnTo>
                    <a:pt x="1810" y="398"/>
                  </a:lnTo>
                  <a:lnTo>
                    <a:pt x="1810" y="400"/>
                  </a:lnTo>
                  <a:lnTo>
                    <a:pt x="1812" y="400"/>
                  </a:lnTo>
                  <a:lnTo>
                    <a:pt x="1814" y="400"/>
                  </a:lnTo>
                  <a:lnTo>
                    <a:pt x="1814" y="402"/>
                  </a:lnTo>
                  <a:lnTo>
                    <a:pt x="1814" y="404"/>
                  </a:lnTo>
                  <a:lnTo>
                    <a:pt x="1814" y="406"/>
                  </a:lnTo>
                  <a:lnTo>
                    <a:pt x="1814" y="408"/>
                  </a:lnTo>
                  <a:lnTo>
                    <a:pt x="1814" y="412"/>
                  </a:lnTo>
                  <a:lnTo>
                    <a:pt x="1814" y="414"/>
                  </a:lnTo>
                  <a:lnTo>
                    <a:pt x="1814" y="416"/>
                  </a:lnTo>
                  <a:lnTo>
                    <a:pt x="1816" y="416"/>
                  </a:lnTo>
                  <a:lnTo>
                    <a:pt x="1818" y="418"/>
                  </a:lnTo>
                  <a:lnTo>
                    <a:pt x="1820" y="418"/>
                  </a:lnTo>
                  <a:lnTo>
                    <a:pt x="1822" y="420"/>
                  </a:lnTo>
                  <a:lnTo>
                    <a:pt x="1826" y="422"/>
                  </a:lnTo>
                  <a:lnTo>
                    <a:pt x="1826" y="424"/>
                  </a:lnTo>
                  <a:lnTo>
                    <a:pt x="1830" y="424"/>
                  </a:lnTo>
                  <a:lnTo>
                    <a:pt x="1832" y="426"/>
                  </a:lnTo>
                  <a:lnTo>
                    <a:pt x="1832" y="428"/>
                  </a:lnTo>
                  <a:lnTo>
                    <a:pt x="1834" y="426"/>
                  </a:lnTo>
                  <a:lnTo>
                    <a:pt x="1836" y="422"/>
                  </a:lnTo>
                  <a:lnTo>
                    <a:pt x="1836" y="420"/>
                  </a:lnTo>
                  <a:lnTo>
                    <a:pt x="1838" y="418"/>
                  </a:lnTo>
                  <a:lnTo>
                    <a:pt x="1840" y="416"/>
                  </a:lnTo>
                  <a:lnTo>
                    <a:pt x="1842" y="414"/>
                  </a:lnTo>
                  <a:lnTo>
                    <a:pt x="1842" y="412"/>
                  </a:lnTo>
                  <a:lnTo>
                    <a:pt x="1842" y="408"/>
                  </a:lnTo>
                  <a:lnTo>
                    <a:pt x="1842" y="404"/>
                  </a:lnTo>
                  <a:lnTo>
                    <a:pt x="1842" y="402"/>
                  </a:lnTo>
                  <a:lnTo>
                    <a:pt x="1842" y="398"/>
                  </a:lnTo>
                  <a:lnTo>
                    <a:pt x="1842" y="396"/>
                  </a:lnTo>
                  <a:lnTo>
                    <a:pt x="1842" y="394"/>
                  </a:lnTo>
                  <a:lnTo>
                    <a:pt x="1844" y="392"/>
                  </a:lnTo>
                  <a:lnTo>
                    <a:pt x="1846" y="390"/>
                  </a:lnTo>
                  <a:lnTo>
                    <a:pt x="1846" y="388"/>
                  </a:lnTo>
                  <a:lnTo>
                    <a:pt x="1848" y="388"/>
                  </a:lnTo>
                  <a:lnTo>
                    <a:pt x="1850" y="390"/>
                  </a:lnTo>
                  <a:lnTo>
                    <a:pt x="1852" y="392"/>
                  </a:lnTo>
                  <a:lnTo>
                    <a:pt x="1854" y="392"/>
                  </a:lnTo>
                  <a:lnTo>
                    <a:pt x="1856" y="394"/>
                  </a:lnTo>
                  <a:lnTo>
                    <a:pt x="1856" y="392"/>
                  </a:lnTo>
                  <a:lnTo>
                    <a:pt x="1856" y="390"/>
                  </a:lnTo>
                  <a:lnTo>
                    <a:pt x="1854" y="388"/>
                  </a:lnTo>
                  <a:lnTo>
                    <a:pt x="1854" y="386"/>
                  </a:lnTo>
                  <a:lnTo>
                    <a:pt x="1854" y="382"/>
                  </a:lnTo>
                  <a:lnTo>
                    <a:pt x="1854" y="380"/>
                  </a:lnTo>
                  <a:lnTo>
                    <a:pt x="1852" y="378"/>
                  </a:lnTo>
                  <a:lnTo>
                    <a:pt x="1850" y="376"/>
                  </a:lnTo>
                  <a:lnTo>
                    <a:pt x="1848" y="374"/>
                  </a:lnTo>
                  <a:lnTo>
                    <a:pt x="1846" y="372"/>
                  </a:lnTo>
                  <a:lnTo>
                    <a:pt x="1844" y="370"/>
                  </a:lnTo>
                  <a:lnTo>
                    <a:pt x="1844" y="368"/>
                  </a:lnTo>
                  <a:lnTo>
                    <a:pt x="1842" y="368"/>
                  </a:lnTo>
                  <a:lnTo>
                    <a:pt x="1842" y="366"/>
                  </a:lnTo>
                  <a:lnTo>
                    <a:pt x="1844" y="366"/>
                  </a:lnTo>
                  <a:lnTo>
                    <a:pt x="1844" y="364"/>
                  </a:lnTo>
                  <a:lnTo>
                    <a:pt x="1846" y="364"/>
                  </a:lnTo>
                  <a:lnTo>
                    <a:pt x="1848" y="362"/>
                  </a:lnTo>
                  <a:lnTo>
                    <a:pt x="1848" y="360"/>
                  </a:lnTo>
                  <a:lnTo>
                    <a:pt x="1846" y="358"/>
                  </a:lnTo>
                  <a:lnTo>
                    <a:pt x="1846" y="356"/>
                  </a:lnTo>
                  <a:lnTo>
                    <a:pt x="1848" y="356"/>
                  </a:lnTo>
                  <a:lnTo>
                    <a:pt x="1848" y="354"/>
                  </a:lnTo>
                  <a:lnTo>
                    <a:pt x="1850" y="352"/>
                  </a:lnTo>
                  <a:lnTo>
                    <a:pt x="1850" y="350"/>
                  </a:lnTo>
                  <a:lnTo>
                    <a:pt x="1852" y="350"/>
                  </a:lnTo>
                  <a:lnTo>
                    <a:pt x="1854" y="350"/>
                  </a:lnTo>
                  <a:lnTo>
                    <a:pt x="1856" y="352"/>
                  </a:lnTo>
                  <a:lnTo>
                    <a:pt x="1858" y="352"/>
                  </a:lnTo>
                  <a:lnTo>
                    <a:pt x="1860" y="354"/>
                  </a:lnTo>
                  <a:lnTo>
                    <a:pt x="1862" y="354"/>
                  </a:lnTo>
                  <a:lnTo>
                    <a:pt x="1864" y="354"/>
                  </a:lnTo>
                  <a:lnTo>
                    <a:pt x="1866" y="352"/>
                  </a:lnTo>
                  <a:lnTo>
                    <a:pt x="1868" y="352"/>
                  </a:lnTo>
                  <a:lnTo>
                    <a:pt x="1870" y="352"/>
                  </a:lnTo>
                  <a:lnTo>
                    <a:pt x="1872" y="354"/>
                  </a:lnTo>
                  <a:lnTo>
                    <a:pt x="1870" y="356"/>
                  </a:lnTo>
                  <a:lnTo>
                    <a:pt x="1868" y="356"/>
                  </a:lnTo>
                  <a:lnTo>
                    <a:pt x="1866" y="356"/>
                  </a:lnTo>
                  <a:lnTo>
                    <a:pt x="1864" y="356"/>
                  </a:lnTo>
                  <a:lnTo>
                    <a:pt x="1860" y="358"/>
                  </a:lnTo>
                  <a:lnTo>
                    <a:pt x="1858" y="358"/>
                  </a:lnTo>
                  <a:lnTo>
                    <a:pt x="1858" y="360"/>
                  </a:lnTo>
                  <a:lnTo>
                    <a:pt x="1858" y="362"/>
                  </a:lnTo>
                  <a:lnTo>
                    <a:pt x="1858" y="364"/>
                  </a:lnTo>
                  <a:lnTo>
                    <a:pt x="1858" y="366"/>
                  </a:lnTo>
                  <a:lnTo>
                    <a:pt x="1860" y="368"/>
                  </a:lnTo>
                  <a:lnTo>
                    <a:pt x="1860" y="370"/>
                  </a:lnTo>
                  <a:lnTo>
                    <a:pt x="1862" y="374"/>
                  </a:lnTo>
                  <a:lnTo>
                    <a:pt x="1862" y="376"/>
                  </a:lnTo>
                  <a:lnTo>
                    <a:pt x="1864" y="380"/>
                  </a:lnTo>
                  <a:lnTo>
                    <a:pt x="1866" y="380"/>
                  </a:lnTo>
                  <a:lnTo>
                    <a:pt x="1868" y="382"/>
                  </a:lnTo>
                  <a:lnTo>
                    <a:pt x="1868" y="384"/>
                  </a:lnTo>
                  <a:lnTo>
                    <a:pt x="1868" y="386"/>
                  </a:lnTo>
                  <a:lnTo>
                    <a:pt x="1866" y="386"/>
                  </a:lnTo>
                  <a:lnTo>
                    <a:pt x="1864" y="386"/>
                  </a:lnTo>
                  <a:lnTo>
                    <a:pt x="1864" y="388"/>
                  </a:lnTo>
                  <a:lnTo>
                    <a:pt x="1866" y="392"/>
                  </a:lnTo>
                  <a:lnTo>
                    <a:pt x="1868" y="394"/>
                  </a:lnTo>
                  <a:lnTo>
                    <a:pt x="1870" y="396"/>
                  </a:lnTo>
                  <a:lnTo>
                    <a:pt x="1872" y="398"/>
                  </a:lnTo>
                  <a:lnTo>
                    <a:pt x="1872" y="402"/>
                  </a:lnTo>
                  <a:lnTo>
                    <a:pt x="1872" y="404"/>
                  </a:lnTo>
                  <a:lnTo>
                    <a:pt x="1872" y="408"/>
                  </a:lnTo>
                  <a:lnTo>
                    <a:pt x="1870" y="410"/>
                  </a:lnTo>
                  <a:lnTo>
                    <a:pt x="1868" y="410"/>
                  </a:lnTo>
                  <a:lnTo>
                    <a:pt x="1866" y="410"/>
                  </a:lnTo>
                  <a:lnTo>
                    <a:pt x="1864" y="410"/>
                  </a:lnTo>
                  <a:lnTo>
                    <a:pt x="1862" y="412"/>
                  </a:lnTo>
                  <a:lnTo>
                    <a:pt x="1860" y="414"/>
                  </a:lnTo>
                  <a:lnTo>
                    <a:pt x="1858" y="416"/>
                  </a:lnTo>
                  <a:lnTo>
                    <a:pt x="1858" y="418"/>
                  </a:lnTo>
                  <a:lnTo>
                    <a:pt x="1856" y="420"/>
                  </a:lnTo>
                  <a:lnTo>
                    <a:pt x="1856" y="424"/>
                  </a:lnTo>
                  <a:lnTo>
                    <a:pt x="1854" y="426"/>
                  </a:lnTo>
                  <a:lnTo>
                    <a:pt x="1854" y="428"/>
                  </a:lnTo>
                  <a:lnTo>
                    <a:pt x="1852" y="428"/>
                  </a:lnTo>
                  <a:lnTo>
                    <a:pt x="1852" y="430"/>
                  </a:lnTo>
                  <a:lnTo>
                    <a:pt x="1854" y="432"/>
                  </a:lnTo>
                  <a:lnTo>
                    <a:pt x="1856" y="434"/>
                  </a:lnTo>
                  <a:lnTo>
                    <a:pt x="1856" y="436"/>
                  </a:lnTo>
                  <a:lnTo>
                    <a:pt x="1856" y="438"/>
                  </a:lnTo>
                  <a:lnTo>
                    <a:pt x="1858" y="438"/>
                  </a:lnTo>
                  <a:lnTo>
                    <a:pt x="1856" y="440"/>
                  </a:lnTo>
                  <a:lnTo>
                    <a:pt x="1856" y="442"/>
                  </a:lnTo>
                  <a:lnTo>
                    <a:pt x="1854" y="444"/>
                  </a:lnTo>
                  <a:lnTo>
                    <a:pt x="1852" y="444"/>
                  </a:lnTo>
                  <a:lnTo>
                    <a:pt x="1852" y="446"/>
                  </a:lnTo>
                  <a:lnTo>
                    <a:pt x="1852" y="448"/>
                  </a:lnTo>
                  <a:lnTo>
                    <a:pt x="1852" y="454"/>
                  </a:lnTo>
                  <a:lnTo>
                    <a:pt x="1852" y="458"/>
                  </a:lnTo>
                  <a:lnTo>
                    <a:pt x="1852" y="460"/>
                  </a:lnTo>
                  <a:lnTo>
                    <a:pt x="1852" y="462"/>
                  </a:lnTo>
                  <a:lnTo>
                    <a:pt x="1850" y="464"/>
                  </a:lnTo>
                  <a:lnTo>
                    <a:pt x="1850" y="468"/>
                  </a:lnTo>
                  <a:lnTo>
                    <a:pt x="1852" y="472"/>
                  </a:lnTo>
                  <a:lnTo>
                    <a:pt x="1852" y="476"/>
                  </a:lnTo>
                  <a:lnTo>
                    <a:pt x="1852" y="478"/>
                  </a:lnTo>
                  <a:lnTo>
                    <a:pt x="1852" y="480"/>
                  </a:lnTo>
                  <a:lnTo>
                    <a:pt x="1850" y="482"/>
                  </a:lnTo>
                  <a:lnTo>
                    <a:pt x="1848" y="486"/>
                  </a:lnTo>
                  <a:lnTo>
                    <a:pt x="1844" y="492"/>
                  </a:lnTo>
                  <a:lnTo>
                    <a:pt x="1844" y="494"/>
                  </a:lnTo>
                  <a:lnTo>
                    <a:pt x="1842" y="496"/>
                  </a:lnTo>
                  <a:lnTo>
                    <a:pt x="1842" y="500"/>
                  </a:lnTo>
                  <a:lnTo>
                    <a:pt x="1842" y="502"/>
                  </a:lnTo>
                  <a:lnTo>
                    <a:pt x="1842" y="504"/>
                  </a:lnTo>
                  <a:lnTo>
                    <a:pt x="1840" y="506"/>
                  </a:lnTo>
                  <a:lnTo>
                    <a:pt x="1838" y="506"/>
                  </a:lnTo>
                  <a:lnTo>
                    <a:pt x="1836" y="508"/>
                  </a:lnTo>
                  <a:lnTo>
                    <a:pt x="1834" y="508"/>
                  </a:lnTo>
                  <a:lnTo>
                    <a:pt x="1834" y="510"/>
                  </a:lnTo>
                  <a:lnTo>
                    <a:pt x="1834" y="512"/>
                  </a:lnTo>
                  <a:lnTo>
                    <a:pt x="1834" y="514"/>
                  </a:lnTo>
                  <a:lnTo>
                    <a:pt x="1834" y="518"/>
                  </a:lnTo>
                  <a:lnTo>
                    <a:pt x="1834" y="520"/>
                  </a:lnTo>
                  <a:lnTo>
                    <a:pt x="1832" y="520"/>
                  </a:lnTo>
                  <a:lnTo>
                    <a:pt x="1830" y="520"/>
                  </a:lnTo>
                  <a:lnTo>
                    <a:pt x="1826" y="520"/>
                  </a:lnTo>
                  <a:lnTo>
                    <a:pt x="1826" y="522"/>
                  </a:lnTo>
                  <a:lnTo>
                    <a:pt x="1826" y="524"/>
                  </a:lnTo>
                  <a:lnTo>
                    <a:pt x="1828" y="526"/>
                  </a:lnTo>
                  <a:lnTo>
                    <a:pt x="1830" y="530"/>
                  </a:lnTo>
                  <a:lnTo>
                    <a:pt x="1832" y="532"/>
                  </a:lnTo>
                  <a:lnTo>
                    <a:pt x="1834" y="534"/>
                  </a:lnTo>
                  <a:lnTo>
                    <a:pt x="1834" y="536"/>
                  </a:lnTo>
                  <a:lnTo>
                    <a:pt x="1834" y="538"/>
                  </a:lnTo>
                  <a:lnTo>
                    <a:pt x="1836" y="538"/>
                  </a:lnTo>
                  <a:lnTo>
                    <a:pt x="1838" y="540"/>
                  </a:lnTo>
                  <a:lnTo>
                    <a:pt x="1838" y="542"/>
                  </a:lnTo>
                  <a:lnTo>
                    <a:pt x="1836" y="546"/>
                  </a:lnTo>
                  <a:lnTo>
                    <a:pt x="1834" y="548"/>
                  </a:lnTo>
                  <a:lnTo>
                    <a:pt x="1832" y="550"/>
                  </a:lnTo>
                  <a:lnTo>
                    <a:pt x="1832" y="552"/>
                  </a:lnTo>
                  <a:lnTo>
                    <a:pt x="1832" y="554"/>
                  </a:lnTo>
                  <a:lnTo>
                    <a:pt x="1832" y="558"/>
                  </a:lnTo>
                  <a:lnTo>
                    <a:pt x="1834" y="564"/>
                  </a:lnTo>
                  <a:lnTo>
                    <a:pt x="1834" y="566"/>
                  </a:lnTo>
                  <a:lnTo>
                    <a:pt x="1834" y="568"/>
                  </a:lnTo>
                  <a:lnTo>
                    <a:pt x="1836" y="574"/>
                  </a:lnTo>
                  <a:lnTo>
                    <a:pt x="1836" y="576"/>
                  </a:lnTo>
                  <a:lnTo>
                    <a:pt x="1838" y="580"/>
                  </a:lnTo>
                  <a:lnTo>
                    <a:pt x="1840" y="584"/>
                  </a:lnTo>
                  <a:lnTo>
                    <a:pt x="1842" y="586"/>
                  </a:lnTo>
                  <a:lnTo>
                    <a:pt x="1848" y="592"/>
                  </a:lnTo>
                  <a:lnTo>
                    <a:pt x="1850" y="596"/>
                  </a:lnTo>
                  <a:lnTo>
                    <a:pt x="1852" y="598"/>
                  </a:lnTo>
                  <a:lnTo>
                    <a:pt x="1854" y="602"/>
                  </a:lnTo>
                  <a:lnTo>
                    <a:pt x="1858" y="608"/>
                  </a:lnTo>
                  <a:lnTo>
                    <a:pt x="1860" y="612"/>
                  </a:lnTo>
                  <a:lnTo>
                    <a:pt x="1862" y="614"/>
                  </a:lnTo>
                  <a:lnTo>
                    <a:pt x="1862" y="618"/>
                  </a:lnTo>
                  <a:lnTo>
                    <a:pt x="1864" y="622"/>
                  </a:lnTo>
                  <a:lnTo>
                    <a:pt x="1866" y="626"/>
                  </a:lnTo>
                  <a:lnTo>
                    <a:pt x="1868" y="628"/>
                  </a:lnTo>
                  <a:lnTo>
                    <a:pt x="1870" y="630"/>
                  </a:lnTo>
                  <a:lnTo>
                    <a:pt x="1872" y="632"/>
                  </a:lnTo>
                  <a:lnTo>
                    <a:pt x="1874" y="634"/>
                  </a:lnTo>
                  <a:lnTo>
                    <a:pt x="1876" y="638"/>
                  </a:lnTo>
                  <a:lnTo>
                    <a:pt x="1878" y="640"/>
                  </a:lnTo>
                  <a:lnTo>
                    <a:pt x="1880" y="642"/>
                  </a:lnTo>
                  <a:lnTo>
                    <a:pt x="1882" y="642"/>
                  </a:lnTo>
                  <a:lnTo>
                    <a:pt x="1884" y="644"/>
                  </a:lnTo>
                  <a:lnTo>
                    <a:pt x="1886" y="646"/>
                  </a:lnTo>
                  <a:lnTo>
                    <a:pt x="1886" y="648"/>
                  </a:lnTo>
                  <a:lnTo>
                    <a:pt x="1890" y="654"/>
                  </a:lnTo>
                  <a:lnTo>
                    <a:pt x="1892" y="660"/>
                  </a:lnTo>
                  <a:lnTo>
                    <a:pt x="1898" y="668"/>
                  </a:lnTo>
                  <a:lnTo>
                    <a:pt x="1900" y="672"/>
                  </a:lnTo>
                  <a:lnTo>
                    <a:pt x="1904" y="678"/>
                  </a:lnTo>
                  <a:lnTo>
                    <a:pt x="1906" y="684"/>
                  </a:lnTo>
                  <a:lnTo>
                    <a:pt x="1908" y="688"/>
                  </a:lnTo>
                  <a:lnTo>
                    <a:pt x="1912" y="690"/>
                  </a:lnTo>
                  <a:lnTo>
                    <a:pt x="1914" y="694"/>
                  </a:lnTo>
                  <a:lnTo>
                    <a:pt x="1920" y="700"/>
                  </a:lnTo>
                  <a:lnTo>
                    <a:pt x="1922" y="702"/>
                  </a:lnTo>
                  <a:lnTo>
                    <a:pt x="1924" y="700"/>
                  </a:lnTo>
                  <a:lnTo>
                    <a:pt x="1924" y="698"/>
                  </a:lnTo>
                  <a:lnTo>
                    <a:pt x="1924" y="694"/>
                  </a:lnTo>
                  <a:lnTo>
                    <a:pt x="1922" y="692"/>
                  </a:lnTo>
                  <a:lnTo>
                    <a:pt x="1924" y="690"/>
                  </a:lnTo>
                  <a:lnTo>
                    <a:pt x="1924" y="686"/>
                  </a:lnTo>
                  <a:lnTo>
                    <a:pt x="1926" y="684"/>
                  </a:lnTo>
                  <a:lnTo>
                    <a:pt x="1926" y="680"/>
                  </a:lnTo>
                  <a:lnTo>
                    <a:pt x="1928" y="678"/>
                  </a:lnTo>
                  <a:lnTo>
                    <a:pt x="1928" y="676"/>
                  </a:lnTo>
                  <a:lnTo>
                    <a:pt x="1928" y="674"/>
                  </a:lnTo>
                  <a:lnTo>
                    <a:pt x="1928" y="672"/>
                  </a:lnTo>
                  <a:lnTo>
                    <a:pt x="1930" y="668"/>
                  </a:lnTo>
                  <a:lnTo>
                    <a:pt x="1928" y="666"/>
                  </a:lnTo>
                  <a:lnTo>
                    <a:pt x="1928" y="664"/>
                  </a:lnTo>
                  <a:lnTo>
                    <a:pt x="1928" y="662"/>
                  </a:lnTo>
                  <a:lnTo>
                    <a:pt x="1926" y="658"/>
                  </a:lnTo>
                  <a:lnTo>
                    <a:pt x="1924" y="654"/>
                  </a:lnTo>
                  <a:lnTo>
                    <a:pt x="1922" y="648"/>
                  </a:lnTo>
                  <a:lnTo>
                    <a:pt x="1920" y="644"/>
                  </a:lnTo>
                  <a:lnTo>
                    <a:pt x="1918" y="642"/>
                  </a:lnTo>
                  <a:lnTo>
                    <a:pt x="1918" y="640"/>
                  </a:lnTo>
                  <a:lnTo>
                    <a:pt x="1918" y="638"/>
                  </a:lnTo>
                  <a:lnTo>
                    <a:pt x="1918" y="636"/>
                  </a:lnTo>
                  <a:lnTo>
                    <a:pt x="1918" y="634"/>
                  </a:lnTo>
                  <a:lnTo>
                    <a:pt x="1920" y="634"/>
                  </a:lnTo>
                  <a:lnTo>
                    <a:pt x="1922" y="632"/>
                  </a:lnTo>
                  <a:lnTo>
                    <a:pt x="1924" y="632"/>
                  </a:lnTo>
                  <a:lnTo>
                    <a:pt x="1926" y="630"/>
                  </a:lnTo>
                  <a:lnTo>
                    <a:pt x="1928" y="628"/>
                  </a:lnTo>
                  <a:lnTo>
                    <a:pt x="1928" y="626"/>
                  </a:lnTo>
                  <a:lnTo>
                    <a:pt x="1928" y="624"/>
                  </a:lnTo>
                  <a:lnTo>
                    <a:pt x="1924" y="622"/>
                  </a:lnTo>
                  <a:lnTo>
                    <a:pt x="1924" y="620"/>
                  </a:lnTo>
                  <a:lnTo>
                    <a:pt x="1924" y="618"/>
                  </a:lnTo>
                  <a:lnTo>
                    <a:pt x="1924" y="616"/>
                  </a:lnTo>
                  <a:lnTo>
                    <a:pt x="1924" y="614"/>
                  </a:lnTo>
                  <a:lnTo>
                    <a:pt x="1922" y="610"/>
                  </a:lnTo>
                  <a:lnTo>
                    <a:pt x="1922" y="608"/>
                  </a:lnTo>
                  <a:lnTo>
                    <a:pt x="1922" y="606"/>
                  </a:lnTo>
                  <a:lnTo>
                    <a:pt x="1924" y="604"/>
                  </a:lnTo>
                  <a:lnTo>
                    <a:pt x="1926" y="602"/>
                  </a:lnTo>
                  <a:lnTo>
                    <a:pt x="1926" y="600"/>
                  </a:lnTo>
                  <a:lnTo>
                    <a:pt x="1928" y="600"/>
                  </a:lnTo>
                  <a:lnTo>
                    <a:pt x="1930" y="600"/>
                  </a:lnTo>
                  <a:lnTo>
                    <a:pt x="1934" y="600"/>
                  </a:lnTo>
                  <a:lnTo>
                    <a:pt x="1936" y="600"/>
                  </a:lnTo>
                  <a:lnTo>
                    <a:pt x="1938" y="598"/>
                  </a:lnTo>
                  <a:lnTo>
                    <a:pt x="1940" y="596"/>
                  </a:lnTo>
                  <a:lnTo>
                    <a:pt x="1940" y="594"/>
                  </a:lnTo>
                  <a:lnTo>
                    <a:pt x="1940" y="592"/>
                  </a:lnTo>
                  <a:lnTo>
                    <a:pt x="1940" y="590"/>
                  </a:lnTo>
                  <a:lnTo>
                    <a:pt x="1940" y="588"/>
                  </a:lnTo>
                  <a:lnTo>
                    <a:pt x="1938" y="584"/>
                  </a:lnTo>
                  <a:lnTo>
                    <a:pt x="1936" y="582"/>
                  </a:lnTo>
                  <a:lnTo>
                    <a:pt x="1934" y="580"/>
                  </a:lnTo>
                  <a:lnTo>
                    <a:pt x="1932" y="576"/>
                  </a:lnTo>
                  <a:lnTo>
                    <a:pt x="1932" y="574"/>
                  </a:lnTo>
                  <a:lnTo>
                    <a:pt x="1930" y="568"/>
                  </a:lnTo>
                  <a:lnTo>
                    <a:pt x="1930" y="562"/>
                  </a:lnTo>
                  <a:lnTo>
                    <a:pt x="1930" y="560"/>
                  </a:lnTo>
                  <a:lnTo>
                    <a:pt x="1930" y="558"/>
                  </a:lnTo>
                  <a:lnTo>
                    <a:pt x="1928" y="556"/>
                  </a:lnTo>
                  <a:lnTo>
                    <a:pt x="1926" y="556"/>
                  </a:lnTo>
                  <a:lnTo>
                    <a:pt x="1926" y="554"/>
                  </a:lnTo>
                  <a:lnTo>
                    <a:pt x="1924" y="554"/>
                  </a:lnTo>
                  <a:lnTo>
                    <a:pt x="1924" y="552"/>
                  </a:lnTo>
                  <a:lnTo>
                    <a:pt x="1924" y="550"/>
                  </a:lnTo>
                  <a:lnTo>
                    <a:pt x="1926" y="548"/>
                  </a:lnTo>
                  <a:lnTo>
                    <a:pt x="1928" y="548"/>
                  </a:lnTo>
                  <a:lnTo>
                    <a:pt x="1928" y="546"/>
                  </a:lnTo>
                  <a:lnTo>
                    <a:pt x="1928" y="544"/>
                  </a:lnTo>
                  <a:lnTo>
                    <a:pt x="1928" y="542"/>
                  </a:lnTo>
                  <a:lnTo>
                    <a:pt x="1928" y="540"/>
                  </a:lnTo>
                  <a:lnTo>
                    <a:pt x="1930" y="542"/>
                  </a:lnTo>
                  <a:lnTo>
                    <a:pt x="1930" y="544"/>
                  </a:lnTo>
                  <a:lnTo>
                    <a:pt x="1932" y="548"/>
                  </a:lnTo>
                  <a:lnTo>
                    <a:pt x="1934" y="548"/>
                  </a:lnTo>
                  <a:lnTo>
                    <a:pt x="1936" y="550"/>
                  </a:lnTo>
                  <a:lnTo>
                    <a:pt x="1938" y="550"/>
                  </a:lnTo>
                  <a:lnTo>
                    <a:pt x="1942" y="550"/>
                  </a:lnTo>
                  <a:lnTo>
                    <a:pt x="1944" y="550"/>
                  </a:lnTo>
                  <a:lnTo>
                    <a:pt x="1944" y="548"/>
                  </a:lnTo>
                  <a:lnTo>
                    <a:pt x="1942" y="546"/>
                  </a:lnTo>
                  <a:lnTo>
                    <a:pt x="1942" y="544"/>
                  </a:lnTo>
                  <a:lnTo>
                    <a:pt x="1940" y="544"/>
                  </a:lnTo>
                  <a:lnTo>
                    <a:pt x="1940" y="540"/>
                  </a:lnTo>
                  <a:lnTo>
                    <a:pt x="1938" y="534"/>
                  </a:lnTo>
                  <a:lnTo>
                    <a:pt x="1936" y="532"/>
                  </a:lnTo>
                  <a:lnTo>
                    <a:pt x="1936" y="530"/>
                  </a:lnTo>
                  <a:lnTo>
                    <a:pt x="1934" y="530"/>
                  </a:lnTo>
                  <a:lnTo>
                    <a:pt x="1932" y="528"/>
                  </a:lnTo>
                  <a:lnTo>
                    <a:pt x="1930" y="528"/>
                  </a:lnTo>
                  <a:lnTo>
                    <a:pt x="1928" y="528"/>
                  </a:lnTo>
                  <a:lnTo>
                    <a:pt x="1926" y="528"/>
                  </a:lnTo>
                  <a:lnTo>
                    <a:pt x="1924" y="526"/>
                  </a:lnTo>
                  <a:lnTo>
                    <a:pt x="1924" y="524"/>
                  </a:lnTo>
                  <a:lnTo>
                    <a:pt x="1922" y="522"/>
                  </a:lnTo>
                  <a:lnTo>
                    <a:pt x="1922" y="520"/>
                  </a:lnTo>
                  <a:lnTo>
                    <a:pt x="1922" y="518"/>
                  </a:lnTo>
                  <a:lnTo>
                    <a:pt x="1920" y="516"/>
                  </a:lnTo>
                  <a:lnTo>
                    <a:pt x="1918" y="514"/>
                  </a:lnTo>
                  <a:lnTo>
                    <a:pt x="1916" y="512"/>
                  </a:lnTo>
                  <a:lnTo>
                    <a:pt x="1914" y="510"/>
                  </a:lnTo>
                  <a:lnTo>
                    <a:pt x="1914" y="502"/>
                  </a:lnTo>
                  <a:lnTo>
                    <a:pt x="1912" y="500"/>
                  </a:lnTo>
                  <a:lnTo>
                    <a:pt x="1910" y="498"/>
                  </a:lnTo>
                  <a:lnTo>
                    <a:pt x="1910" y="496"/>
                  </a:lnTo>
                  <a:lnTo>
                    <a:pt x="1908" y="496"/>
                  </a:lnTo>
                  <a:lnTo>
                    <a:pt x="1906" y="496"/>
                  </a:lnTo>
                  <a:lnTo>
                    <a:pt x="1904" y="496"/>
                  </a:lnTo>
                  <a:lnTo>
                    <a:pt x="1902" y="496"/>
                  </a:lnTo>
                  <a:lnTo>
                    <a:pt x="1900" y="496"/>
                  </a:lnTo>
                  <a:lnTo>
                    <a:pt x="1898" y="498"/>
                  </a:lnTo>
                  <a:lnTo>
                    <a:pt x="1898" y="500"/>
                  </a:lnTo>
                  <a:lnTo>
                    <a:pt x="1898" y="502"/>
                  </a:lnTo>
                  <a:lnTo>
                    <a:pt x="1896" y="502"/>
                  </a:lnTo>
                  <a:lnTo>
                    <a:pt x="1896" y="500"/>
                  </a:lnTo>
                  <a:lnTo>
                    <a:pt x="1894" y="500"/>
                  </a:lnTo>
                  <a:lnTo>
                    <a:pt x="1894" y="498"/>
                  </a:lnTo>
                  <a:lnTo>
                    <a:pt x="1892" y="496"/>
                  </a:lnTo>
                  <a:lnTo>
                    <a:pt x="1892" y="494"/>
                  </a:lnTo>
                  <a:lnTo>
                    <a:pt x="1892" y="490"/>
                  </a:lnTo>
                  <a:lnTo>
                    <a:pt x="1892" y="484"/>
                  </a:lnTo>
                  <a:lnTo>
                    <a:pt x="1892" y="482"/>
                  </a:lnTo>
                  <a:lnTo>
                    <a:pt x="1894" y="478"/>
                  </a:lnTo>
                  <a:lnTo>
                    <a:pt x="1892" y="474"/>
                  </a:lnTo>
                  <a:lnTo>
                    <a:pt x="1892" y="468"/>
                  </a:lnTo>
                  <a:lnTo>
                    <a:pt x="1892" y="462"/>
                  </a:lnTo>
                  <a:lnTo>
                    <a:pt x="1892" y="458"/>
                  </a:lnTo>
                  <a:lnTo>
                    <a:pt x="1890" y="456"/>
                  </a:lnTo>
                  <a:lnTo>
                    <a:pt x="1888" y="450"/>
                  </a:lnTo>
                  <a:lnTo>
                    <a:pt x="1886" y="444"/>
                  </a:lnTo>
                  <a:lnTo>
                    <a:pt x="1884" y="440"/>
                  </a:lnTo>
                  <a:lnTo>
                    <a:pt x="1882" y="436"/>
                  </a:lnTo>
                  <a:lnTo>
                    <a:pt x="1882" y="434"/>
                  </a:lnTo>
                  <a:lnTo>
                    <a:pt x="1884" y="430"/>
                  </a:lnTo>
                  <a:lnTo>
                    <a:pt x="1884" y="428"/>
                  </a:lnTo>
                  <a:lnTo>
                    <a:pt x="1886" y="428"/>
                  </a:lnTo>
                  <a:lnTo>
                    <a:pt x="1890" y="426"/>
                  </a:lnTo>
                  <a:lnTo>
                    <a:pt x="1892" y="426"/>
                  </a:lnTo>
                  <a:lnTo>
                    <a:pt x="1894" y="426"/>
                  </a:lnTo>
                  <a:lnTo>
                    <a:pt x="1896" y="426"/>
                  </a:lnTo>
                  <a:lnTo>
                    <a:pt x="1898" y="428"/>
                  </a:lnTo>
                  <a:lnTo>
                    <a:pt x="1900" y="428"/>
                  </a:lnTo>
                  <a:lnTo>
                    <a:pt x="1900" y="430"/>
                  </a:lnTo>
                  <a:lnTo>
                    <a:pt x="1902" y="432"/>
                  </a:lnTo>
                  <a:lnTo>
                    <a:pt x="1904" y="434"/>
                  </a:lnTo>
                  <a:lnTo>
                    <a:pt x="1906" y="436"/>
                  </a:lnTo>
                  <a:lnTo>
                    <a:pt x="1906" y="434"/>
                  </a:lnTo>
                  <a:lnTo>
                    <a:pt x="1908" y="434"/>
                  </a:lnTo>
                  <a:lnTo>
                    <a:pt x="1908" y="432"/>
                  </a:lnTo>
                  <a:lnTo>
                    <a:pt x="1908" y="428"/>
                  </a:lnTo>
                  <a:lnTo>
                    <a:pt x="1910" y="426"/>
                  </a:lnTo>
                  <a:lnTo>
                    <a:pt x="1912" y="422"/>
                  </a:lnTo>
                  <a:lnTo>
                    <a:pt x="1912" y="418"/>
                  </a:lnTo>
                  <a:lnTo>
                    <a:pt x="1912" y="416"/>
                  </a:lnTo>
                  <a:lnTo>
                    <a:pt x="1912" y="412"/>
                  </a:lnTo>
                  <a:lnTo>
                    <a:pt x="1912" y="408"/>
                  </a:lnTo>
                  <a:lnTo>
                    <a:pt x="1912" y="406"/>
                  </a:lnTo>
                  <a:lnTo>
                    <a:pt x="1914" y="404"/>
                  </a:lnTo>
                  <a:lnTo>
                    <a:pt x="1914" y="402"/>
                  </a:lnTo>
                  <a:lnTo>
                    <a:pt x="1916" y="402"/>
                  </a:lnTo>
                  <a:lnTo>
                    <a:pt x="1916" y="400"/>
                  </a:lnTo>
                  <a:lnTo>
                    <a:pt x="1918" y="400"/>
                  </a:lnTo>
                  <a:lnTo>
                    <a:pt x="1918" y="402"/>
                  </a:lnTo>
                  <a:lnTo>
                    <a:pt x="1918" y="404"/>
                  </a:lnTo>
                  <a:lnTo>
                    <a:pt x="1918" y="406"/>
                  </a:lnTo>
                  <a:lnTo>
                    <a:pt x="1918" y="408"/>
                  </a:lnTo>
                  <a:lnTo>
                    <a:pt x="1916" y="410"/>
                  </a:lnTo>
                  <a:lnTo>
                    <a:pt x="1916" y="412"/>
                  </a:lnTo>
                  <a:lnTo>
                    <a:pt x="1918" y="414"/>
                  </a:lnTo>
                  <a:lnTo>
                    <a:pt x="1920" y="416"/>
                  </a:lnTo>
                  <a:lnTo>
                    <a:pt x="1920" y="418"/>
                  </a:lnTo>
                  <a:lnTo>
                    <a:pt x="1920" y="422"/>
                  </a:lnTo>
                  <a:lnTo>
                    <a:pt x="1922" y="424"/>
                  </a:lnTo>
                  <a:lnTo>
                    <a:pt x="1922" y="426"/>
                  </a:lnTo>
                  <a:lnTo>
                    <a:pt x="1922" y="428"/>
                  </a:lnTo>
                  <a:lnTo>
                    <a:pt x="1924" y="426"/>
                  </a:lnTo>
                  <a:lnTo>
                    <a:pt x="1924" y="424"/>
                  </a:lnTo>
                  <a:lnTo>
                    <a:pt x="1926" y="420"/>
                  </a:lnTo>
                  <a:lnTo>
                    <a:pt x="1926" y="418"/>
                  </a:lnTo>
                  <a:lnTo>
                    <a:pt x="1928" y="418"/>
                  </a:lnTo>
                  <a:lnTo>
                    <a:pt x="1930" y="416"/>
                  </a:lnTo>
                  <a:lnTo>
                    <a:pt x="1932" y="416"/>
                  </a:lnTo>
                  <a:lnTo>
                    <a:pt x="1932" y="414"/>
                  </a:lnTo>
                  <a:lnTo>
                    <a:pt x="1932" y="412"/>
                  </a:lnTo>
                  <a:lnTo>
                    <a:pt x="1932" y="408"/>
                  </a:lnTo>
                  <a:lnTo>
                    <a:pt x="1932" y="406"/>
                  </a:lnTo>
                  <a:lnTo>
                    <a:pt x="1932" y="404"/>
                  </a:lnTo>
                  <a:lnTo>
                    <a:pt x="1934" y="404"/>
                  </a:lnTo>
                  <a:lnTo>
                    <a:pt x="1936" y="402"/>
                  </a:lnTo>
                  <a:lnTo>
                    <a:pt x="1938" y="398"/>
                  </a:lnTo>
                  <a:lnTo>
                    <a:pt x="1940" y="396"/>
                  </a:lnTo>
                  <a:lnTo>
                    <a:pt x="1942" y="394"/>
                  </a:lnTo>
                  <a:lnTo>
                    <a:pt x="1944" y="392"/>
                  </a:lnTo>
                  <a:lnTo>
                    <a:pt x="1946" y="392"/>
                  </a:lnTo>
                  <a:lnTo>
                    <a:pt x="1950" y="392"/>
                  </a:lnTo>
                  <a:lnTo>
                    <a:pt x="1952" y="392"/>
                  </a:lnTo>
                  <a:lnTo>
                    <a:pt x="1954" y="394"/>
                  </a:lnTo>
                  <a:lnTo>
                    <a:pt x="1960" y="396"/>
                  </a:lnTo>
                  <a:lnTo>
                    <a:pt x="1962" y="396"/>
                  </a:lnTo>
                  <a:lnTo>
                    <a:pt x="1964" y="396"/>
                  </a:lnTo>
                  <a:lnTo>
                    <a:pt x="1964" y="398"/>
                  </a:lnTo>
                  <a:lnTo>
                    <a:pt x="1966" y="398"/>
                  </a:lnTo>
                  <a:lnTo>
                    <a:pt x="1966" y="400"/>
                  </a:lnTo>
                  <a:lnTo>
                    <a:pt x="1966" y="402"/>
                  </a:lnTo>
                  <a:lnTo>
                    <a:pt x="1968" y="404"/>
                  </a:lnTo>
                  <a:lnTo>
                    <a:pt x="1970" y="404"/>
                  </a:lnTo>
                  <a:lnTo>
                    <a:pt x="1974" y="404"/>
                  </a:lnTo>
                  <a:lnTo>
                    <a:pt x="1974" y="406"/>
                  </a:lnTo>
                  <a:lnTo>
                    <a:pt x="1976" y="404"/>
                  </a:lnTo>
                  <a:lnTo>
                    <a:pt x="1976" y="402"/>
                  </a:lnTo>
                  <a:lnTo>
                    <a:pt x="1976" y="400"/>
                  </a:lnTo>
                  <a:lnTo>
                    <a:pt x="1974" y="398"/>
                  </a:lnTo>
                  <a:lnTo>
                    <a:pt x="1974" y="394"/>
                  </a:lnTo>
                  <a:lnTo>
                    <a:pt x="1974" y="392"/>
                  </a:lnTo>
                  <a:lnTo>
                    <a:pt x="1974" y="388"/>
                  </a:lnTo>
                  <a:lnTo>
                    <a:pt x="1976" y="386"/>
                  </a:lnTo>
                  <a:lnTo>
                    <a:pt x="1976" y="384"/>
                  </a:lnTo>
                  <a:lnTo>
                    <a:pt x="1978" y="384"/>
                  </a:lnTo>
                  <a:lnTo>
                    <a:pt x="1980" y="384"/>
                  </a:lnTo>
                  <a:lnTo>
                    <a:pt x="1980" y="382"/>
                  </a:lnTo>
                  <a:lnTo>
                    <a:pt x="1980" y="380"/>
                  </a:lnTo>
                  <a:lnTo>
                    <a:pt x="1980" y="374"/>
                  </a:lnTo>
                  <a:lnTo>
                    <a:pt x="1980" y="370"/>
                  </a:lnTo>
                  <a:lnTo>
                    <a:pt x="1982" y="368"/>
                  </a:lnTo>
                  <a:lnTo>
                    <a:pt x="1984" y="366"/>
                  </a:lnTo>
                  <a:lnTo>
                    <a:pt x="1986" y="364"/>
                  </a:lnTo>
                  <a:lnTo>
                    <a:pt x="1988" y="362"/>
                  </a:lnTo>
                  <a:lnTo>
                    <a:pt x="1988" y="360"/>
                  </a:lnTo>
                  <a:lnTo>
                    <a:pt x="1988" y="358"/>
                  </a:lnTo>
                  <a:lnTo>
                    <a:pt x="1988" y="356"/>
                  </a:lnTo>
                  <a:lnTo>
                    <a:pt x="1988" y="354"/>
                  </a:lnTo>
                  <a:lnTo>
                    <a:pt x="1990" y="352"/>
                  </a:lnTo>
                  <a:lnTo>
                    <a:pt x="1992" y="348"/>
                  </a:lnTo>
                  <a:lnTo>
                    <a:pt x="1992" y="346"/>
                  </a:lnTo>
                  <a:lnTo>
                    <a:pt x="1992" y="342"/>
                  </a:lnTo>
                  <a:lnTo>
                    <a:pt x="1992" y="340"/>
                  </a:lnTo>
                  <a:lnTo>
                    <a:pt x="1992" y="338"/>
                  </a:lnTo>
                  <a:lnTo>
                    <a:pt x="1994" y="334"/>
                  </a:lnTo>
                  <a:lnTo>
                    <a:pt x="1996" y="334"/>
                  </a:lnTo>
                  <a:lnTo>
                    <a:pt x="1998" y="330"/>
                  </a:lnTo>
                  <a:lnTo>
                    <a:pt x="2000" y="328"/>
                  </a:lnTo>
                  <a:lnTo>
                    <a:pt x="2000" y="324"/>
                  </a:lnTo>
                  <a:lnTo>
                    <a:pt x="2002" y="322"/>
                  </a:lnTo>
                  <a:lnTo>
                    <a:pt x="2002" y="320"/>
                  </a:lnTo>
                  <a:lnTo>
                    <a:pt x="2004" y="314"/>
                  </a:lnTo>
                  <a:lnTo>
                    <a:pt x="2006" y="308"/>
                  </a:lnTo>
                  <a:lnTo>
                    <a:pt x="2006" y="306"/>
                  </a:lnTo>
                  <a:lnTo>
                    <a:pt x="2008" y="304"/>
                  </a:lnTo>
                  <a:lnTo>
                    <a:pt x="2008" y="302"/>
                  </a:lnTo>
                  <a:lnTo>
                    <a:pt x="2010" y="300"/>
                  </a:lnTo>
                  <a:lnTo>
                    <a:pt x="2012" y="298"/>
                  </a:lnTo>
                  <a:lnTo>
                    <a:pt x="2016" y="298"/>
                  </a:lnTo>
                  <a:lnTo>
                    <a:pt x="2016" y="296"/>
                  </a:lnTo>
                  <a:lnTo>
                    <a:pt x="2018" y="294"/>
                  </a:lnTo>
                  <a:lnTo>
                    <a:pt x="2020" y="292"/>
                  </a:lnTo>
                  <a:lnTo>
                    <a:pt x="2024" y="290"/>
                  </a:lnTo>
                  <a:lnTo>
                    <a:pt x="2026" y="288"/>
                  </a:lnTo>
                  <a:lnTo>
                    <a:pt x="2028" y="286"/>
                  </a:lnTo>
                  <a:lnTo>
                    <a:pt x="2030" y="286"/>
                  </a:lnTo>
                  <a:lnTo>
                    <a:pt x="2032" y="286"/>
                  </a:lnTo>
                  <a:lnTo>
                    <a:pt x="2042" y="290"/>
                  </a:lnTo>
                  <a:lnTo>
                    <a:pt x="2046" y="292"/>
                  </a:lnTo>
                  <a:lnTo>
                    <a:pt x="2046" y="290"/>
                  </a:lnTo>
                  <a:lnTo>
                    <a:pt x="2048" y="290"/>
                  </a:lnTo>
                  <a:lnTo>
                    <a:pt x="2048" y="288"/>
                  </a:lnTo>
                  <a:lnTo>
                    <a:pt x="2048" y="286"/>
                  </a:lnTo>
                  <a:lnTo>
                    <a:pt x="2046" y="286"/>
                  </a:lnTo>
                  <a:lnTo>
                    <a:pt x="2046" y="284"/>
                  </a:lnTo>
                  <a:lnTo>
                    <a:pt x="2046" y="282"/>
                  </a:lnTo>
                  <a:lnTo>
                    <a:pt x="2046" y="280"/>
                  </a:lnTo>
                  <a:lnTo>
                    <a:pt x="2048" y="278"/>
                  </a:lnTo>
                  <a:lnTo>
                    <a:pt x="2048" y="274"/>
                  </a:lnTo>
                  <a:lnTo>
                    <a:pt x="2046" y="272"/>
                  </a:lnTo>
                  <a:lnTo>
                    <a:pt x="2044" y="272"/>
                  </a:lnTo>
                  <a:lnTo>
                    <a:pt x="2040" y="268"/>
                  </a:lnTo>
                  <a:lnTo>
                    <a:pt x="2038" y="268"/>
                  </a:lnTo>
                  <a:lnTo>
                    <a:pt x="2036" y="266"/>
                  </a:lnTo>
                  <a:lnTo>
                    <a:pt x="2030" y="266"/>
                  </a:lnTo>
                  <a:lnTo>
                    <a:pt x="2026" y="266"/>
                  </a:lnTo>
                  <a:lnTo>
                    <a:pt x="2024" y="264"/>
                  </a:lnTo>
                  <a:lnTo>
                    <a:pt x="2018" y="262"/>
                  </a:lnTo>
                  <a:lnTo>
                    <a:pt x="2016" y="262"/>
                  </a:lnTo>
                  <a:lnTo>
                    <a:pt x="2014" y="262"/>
                  </a:lnTo>
                  <a:lnTo>
                    <a:pt x="2012" y="260"/>
                  </a:lnTo>
                  <a:lnTo>
                    <a:pt x="2010" y="260"/>
                  </a:lnTo>
                  <a:lnTo>
                    <a:pt x="2010" y="258"/>
                  </a:lnTo>
                  <a:lnTo>
                    <a:pt x="2012" y="256"/>
                  </a:lnTo>
                  <a:lnTo>
                    <a:pt x="2012" y="254"/>
                  </a:lnTo>
                  <a:lnTo>
                    <a:pt x="2012" y="252"/>
                  </a:lnTo>
                  <a:lnTo>
                    <a:pt x="2010" y="252"/>
                  </a:lnTo>
                  <a:lnTo>
                    <a:pt x="2008" y="250"/>
                  </a:lnTo>
                  <a:lnTo>
                    <a:pt x="2008" y="248"/>
                  </a:lnTo>
                  <a:lnTo>
                    <a:pt x="2006" y="246"/>
                  </a:lnTo>
                  <a:lnTo>
                    <a:pt x="2004" y="244"/>
                  </a:lnTo>
                  <a:lnTo>
                    <a:pt x="2002" y="244"/>
                  </a:lnTo>
                  <a:lnTo>
                    <a:pt x="2000" y="244"/>
                  </a:lnTo>
                  <a:lnTo>
                    <a:pt x="2000" y="242"/>
                  </a:lnTo>
                  <a:lnTo>
                    <a:pt x="2000" y="240"/>
                  </a:lnTo>
                  <a:lnTo>
                    <a:pt x="1998" y="238"/>
                  </a:lnTo>
                  <a:lnTo>
                    <a:pt x="1996" y="236"/>
                  </a:lnTo>
                  <a:lnTo>
                    <a:pt x="1994" y="234"/>
                  </a:lnTo>
                  <a:lnTo>
                    <a:pt x="1992" y="234"/>
                  </a:lnTo>
                  <a:lnTo>
                    <a:pt x="1990" y="232"/>
                  </a:lnTo>
                  <a:lnTo>
                    <a:pt x="1988" y="232"/>
                  </a:lnTo>
                  <a:lnTo>
                    <a:pt x="1986" y="236"/>
                  </a:lnTo>
                  <a:lnTo>
                    <a:pt x="1986" y="238"/>
                  </a:lnTo>
                  <a:lnTo>
                    <a:pt x="1984" y="238"/>
                  </a:lnTo>
                  <a:lnTo>
                    <a:pt x="1982" y="238"/>
                  </a:lnTo>
                  <a:lnTo>
                    <a:pt x="1980" y="236"/>
                  </a:lnTo>
                  <a:lnTo>
                    <a:pt x="1980" y="234"/>
                  </a:lnTo>
                  <a:lnTo>
                    <a:pt x="1978" y="234"/>
                  </a:lnTo>
                  <a:lnTo>
                    <a:pt x="1976" y="234"/>
                  </a:lnTo>
                  <a:lnTo>
                    <a:pt x="1974" y="234"/>
                  </a:lnTo>
                  <a:lnTo>
                    <a:pt x="1968" y="236"/>
                  </a:lnTo>
                  <a:lnTo>
                    <a:pt x="1966" y="238"/>
                  </a:lnTo>
                  <a:lnTo>
                    <a:pt x="1964" y="238"/>
                  </a:lnTo>
                  <a:lnTo>
                    <a:pt x="1962" y="240"/>
                  </a:lnTo>
                  <a:lnTo>
                    <a:pt x="1960" y="240"/>
                  </a:lnTo>
                  <a:lnTo>
                    <a:pt x="1958" y="238"/>
                  </a:lnTo>
                  <a:lnTo>
                    <a:pt x="1960" y="238"/>
                  </a:lnTo>
                  <a:lnTo>
                    <a:pt x="1962" y="236"/>
                  </a:lnTo>
                  <a:lnTo>
                    <a:pt x="1964" y="234"/>
                  </a:lnTo>
                  <a:lnTo>
                    <a:pt x="1966" y="234"/>
                  </a:lnTo>
                  <a:lnTo>
                    <a:pt x="1968" y="232"/>
                  </a:lnTo>
                  <a:lnTo>
                    <a:pt x="1968" y="230"/>
                  </a:lnTo>
                  <a:lnTo>
                    <a:pt x="1968" y="228"/>
                  </a:lnTo>
                  <a:lnTo>
                    <a:pt x="1970" y="228"/>
                  </a:lnTo>
                  <a:lnTo>
                    <a:pt x="1972" y="228"/>
                  </a:lnTo>
                  <a:lnTo>
                    <a:pt x="1974" y="228"/>
                  </a:lnTo>
                  <a:lnTo>
                    <a:pt x="1976" y="230"/>
                  </a:lnTo>
                  <a:lnTo>
                    <a:pt x="1978" y="228"/>
                  </a:lnTo>
                  <a:lnTo>
                    <a:pt x="1982" y="228"/>
                  </a:lnTo>
                  <a:lnTo>
                    <a:pt x="1986" y="226"/>
                  </a:lnTo>
                  <a:lnTo>
                    <a:pt x="1988" y="224"/>
                  </a:lnTo>
                  <a:lnTo>
                    <a:pt x="1990" y="224"/>
                  </a:lnTo>
                  <a:lnTo>
                    <a:pt x="1992" y="224"/>
                  </a:lnTo>
                  <a:lnTo>
                    <a:pt x="1994" y="224"/>
                  </a:lnTo>
                  <a:lnTo>
                    <a:pt x="1994" y="222"/>
                  </a:lnTo>
                  <a:lnTo>
                    <a:pt x="1996" y="220"/>
                  </a:lnTo>
                  <a:lnTo>
                    <a:pt x="1998" y="218"/>
                  </a:lnTo>
                  <a:lnTo>
                    <a:pt x="1998" y="214"/>
                  </a:lnTo>
                  <a:lnTo>
                    <a:pt x="1998" y="212"/>
                  </a:lnTo>
                  <a:lnTo>
                    <a:pt x="1998" y="206"/>
                  </a:lnTo>
                  <a:lnTo>
                    <a:pt x="2000" y="204"/>
                  </a:lnTo>
                  <a:lnTo>
                    <a:pt x="2000" y="200"/>
                  </a:lnTo>
                  <a:lnTo>
                    <a:pt x="2000" y="198"/>
                  </a:lnTo>
                  <a:lnTo>
                    <a:pt x="2000" y="194"/>
                  </a:lnTo>
                  <a:lnTo>
                    <a:pt x="2000" y="192"/>
                  </a:lnTo>
                  <a:lnTo>
                    <a:pt x="1998" y="190"/>
                  </a:lnTo>
                  <a:lnTo>
                    <a:pt x="1998" y="188"/>
                  </a:lnTo>
                  <a:lnTo>
                    <a:pt x="1996" y="184"/>
                  </a:lnTo>
                  <a:lnTo>
                    <a:pt x="1992" y="180"/>
                  </a:lnTo>
                  <a:lnTo>
                    <a:pt x="1990" y="176"/>
                  </a:lnTo>
                  <a:lnTo>
                    <a:pt x="1988" y="174"/>
                  </a:lnTo>
                  <a:lnTo>
                    <a:pt x="1986" y="170"/>
                  </a:lnTo>
                  <a:lnTo>
                    <a:pt x="1986" y="168"/>
                  </a:lnTo>
                  <a:lnTo>
                    <a:pt x="1986" y="166"/>
                  </a:lnTo>
                  <a:lnTo>
                    <a:pt x="1988" y="164"/>
                  </a:lnTo>
                  <a:lnTo>
                    <a:pt x="1988" y="162"/>
                  </a:lnTo>
                  <a:lnTo>
                    <a:pt x="1986" y="160"/>
                  </a:lnTo>
                  <a:lnTo>
                    <a:pt x="1986" y="158"/>
                  </a:lnTo>
                  <a:lnTo>
                    <a:pt x="1986" y="156"/>
                  </a:lnTo>
                  <a:lnTo>
                    <a:pt x="1984" y="154"/>
                  </a:lnTo>
                  <a:lnTo>
                    <a:pt x="1986" y="154"/>
                  </a:lnTo>
                  <a:lnTo>
                    <a:pt x="1986" y="156"/>
                  </a:lnTo>
                  <a:lnTo>
                    <a:pt x="1988" y="156"/>
                  </a:lnTo>
                  <a:lnTo>
                    <a:pt x="1990" y="158"/>
                  </a:lnTo>
                  <a:lnTo>
                    <a:pt x="1990" y="156"/>
                  </a:lnTo>
                  <a:lnTo>
                    <a:pt x="1992" y="152"/>
                  </a:lnTo>
                  <a:lnTo>
                    <a:pt x="1992" y="150"/>
                  </a:lnTo>
                  <a:lnTo>
                    <a:pt x="1992" y="148"/>
                  </a:lnTo>
                  <a:lnTo>
                    <a:pt x="1994" y="148"/>
                  </a:lnTo>
                  <a:lnTo>
                    <a:pt x="1994" y="150"/>
                  </a:lnTo>
                  <a:lnTo>
                    <a:pt x="1994" y="152"/>
                  </a:lnTo>
                  <a:lnTo>
                    <a:pt x="1996" y="162"/>
                  </a:lnTo>
                  <a:lnTo>
                    <a:pt x="1996" y="168"/>
                  </a:lnTo>
                  <a:lnTo>
                    <a:pt x="1996" y="170"/>
                  </a:lnTo>
                  <a:lnTo>
                    <a:pt x="1996" y="172"/>
                  </a:lnTo>
                  <a:lnTo>
                    <a:pt x="1998" y="172"/>
                  </a:lnTo>
                  <a:lnTo>
                    <a:pt x="1998" y="174"/>
                  </a:lnTo>
                  <a:lnTo>
                    <a:pt x="2000" y="176"/>
                  </a:lnTo>
                  <a:lnTo>
                    <a:pt x="2002" y="176"/>
                  </a:lnTo>
                  <a:lnTo>
                    <a:pt x="2006" y="178"/>
                  </a:lnTo>
                  <a:lnTo>
                    <a:pt x="2008" y="178"/>
                  </a:lnTo>
                  <a:lnTo>
                    <a:pt x="2012" y="180"/>
                  </a:lnTo>
                  <a:lnTo>
                    <a:pt x="2014" y="182"/>
                  </a:lnTo>
                  <a:lnTo>
                    <a:pt x="2016" y="182"/>
                  </a:lnTo>
                  <a:lnTo>
                    <a:pt x="2020" y="182"/>
                  </a:lnTo>
                  <a:lnTo>
                    <a:pt x="2020" y="180"/>
                  </a:lnTo>
                  <a:lnTo>
                    <a:pt x="2024" y="180"/>
                  </a:lnTo>
                  <a:lnTo>
                    <a:pt x="2024" y="178"/>
                  </a:lnTo>
                  <a:lnTo>
                    <a:pt x="2026" y="176"/>
                  </a:lnTo>
                  <a:lnTo>
                    <a:pt x="2026" y="172"/>
                  </a:lnTo>
                  <a:lnTo>
                    <a:pt x="2028" y="172"/>
                  </a:lnTo>
                  <a:lnTo>
                    <a:pt x="2030" y="170"/>
                  </a:lnTo>
                  <a:lnTo>
                    <a:pt x="2032" y="168"/>
                  </a:lnTo>
                  <a:lnTo>
                    <a:pt x="2034" y="168"/>
                  </a:lnTo>
                  <a:lnTo>
                    <a:pt x="2036" y="170"/>
                  </a:lnTo>
                  <a:lnTo>
                    <a:pt x="2038" y="170"/>
                  </a:lnTo>
                  <a:lnTo>
                    <a:pt x="2038" y="172"/>
                  </a:lnTo>
                  <a:lnTo>
                    <a:pt x="2040" y="176"/>
                  </a:lnTo>
                  <a:lnTo>
                    <a:pt x="2042" y="178"/>
                  </a:lnTo>
                  <a:lnTo>
                    <a:pt x="2044" y="180"/>
                  </a:lnTo>
                  <a:lnTo>
                    <a:pt x="2046" y="182"/>
                  </a:lnTo>
                  <a:lnTo>
                    <a:pt x="2050" y="184"/>
                  </a:lnTo>
                  <a:lnTo>
                    <a:pt x="2054" y="186"/>
                  </a:lnTo>
                  <a:lnTo>
                    <a:pt x="2058" y="188"/>
                  </a:lnTo>
                  <a:lnTo>
                    <a:pt x="2060" y="190"/>
                  </a:lnTo>
                  <a:lnTo>
                    <a:pt x="2064" y="192"/>
                  </a:lnTo>
                  <a:lnTo>
                    <a:pt x="2066" y="192"/>
                  </a:lnTo>
                  <a:lnTo>
                    <a:pt x="2068" y="190"/>
                  </a:lnTo>
                  <a:lnTo>
                    <a:pt x="2070" y="186"/>
                  </a:lnTo>
                  <a:lnTo>
                    <a:pt x="2072" y="184"/>
                  </a:lnTo>
                  <a:lnTo>
                    <a:pt x="2072" y="182"/>
                  </a:lnTo>
                  <a:lnTo>
                    <a:pt x="2074" y="180"/>
                  </a:lnTo>
                  <a:lnTo>
                    <a:pt x="2074" y="182"/>
                  </a:lnTo>
                  <a:lnTo>
                    <a:pt x="2076" y="184"/>
                  </a:lnTo>
                  <a:lnTo>
                    <a:pt x="2078" y="188"/>
                  </a:lnTo>
                  <a:lnTo>
                    <a:pt x="2078" y="190"/>
                  </a:lnTo>
                  <a:lnTo>
                    <a:pt x="2082" y="190"/>
                  </a:lnTo>
                  <a:lnTo>
                    <a:pt x="2084" y="192"/>
                  </a:lnTo>
                  <a:lnTo>
                    <a:pt x="2086" y="192"/>
                  </a:lnTo>
                  <a:lnTo>
                    <a:pt x="2088" y="194"/>
                  </a:lnTo>
                  <a:lnTo>
                    <a:pt x="2090" y="194"/>
                  </a:lnTo>
                  <a:lnTo>
                    <a:pt x="2094" y="194"/>
                  </a:lnTo>
                  <a:lnTo>
                    <a:pt x="2096" y="194"/>
                  </a:lnTo>
                  <a:lnTo>
                    <a:pt x="2098" y="192"/>
                  </a:lnTo>
                  <a:lnTo>
                    <a:pt x="2100" y="190"/>
                  </a:lnTo>
                  <a:lnTo>
                    <a:pt x="2102" y="192"/>
                  </a:lnTo>
                  <a:lnTo>
                    <a:pt x="2104" y="192"/>
                  </a:lnTo>
                  <a:lnTo>
                    <a:pt x="2106" y="192"/>
                  </a:lnTo>
                  <a:lnTo>
                    <a:pt x="2108" y="192"/>
                  </a:lnTo>
                  <a:lnTo>
                    <a:pt x="2108" y="190"/>
                  </a:lnTo>
                  <a:lnTo>
                    <a:pt x="2110" y="190"/>
                  </a:lnTo>
                  <a:lnTo>
                    <a:pt x="2110" y="188"/>
                  </a:lnTo>
                  <a:lnTo>
                    <a:pt x="2108" y="186"/>
                  </a:lnTo>
                  <a:close/>
                  <a:moveTo>
                    <a:pt x="1618" y="670"/>
                  </a:moveTo>
                  <a:lnTo>
                    <a:pt x="1618" y="668"/>
                  </a:lnTo>
                  <a:lnTo>
                    <a:pt x="1616" y="668"/>
                  </a:lnTo>
                  <a:lnTo>
                    <a:pt x="1616" y="670"/>
                  </a:lnTo>
                  <a:lnTo>
                    <a:pt x="1614" y="670"/>
                  </a:lnTo>
                  <a:lnTo>
                    <a:pt x="1614" y="672"/>
                  </a:lnTo>
                  <a:lnTo>
                    <a:pt x="1612" y="672"/>
                  </a:lnTo>
                  <a:lnTo>
                    <a:pt x="1610" y="670"/>
                  </a:lnTo>
                  <a:lnTo>
                    <a:pt x="1610" y="668"/>
                  </a:lnTo>
                  <a:lnTo>
                    <a:pt x="1608" y="666"/>
                  </a:lnTo>
                  <a:lnTo>
                    <a:pt x="1608" y="664"/>
                  </a:lnTo>
                  <a:lnTo>
                    <a:pt x="1608" y="662"/>
                  </a:lnTo>
                  <a:lnTo>
                    <a:pt x="1608" y="660"/>
                  </a:lnTo>
                  <a:lnTo>
                    <a:pt x="1608" y="658"/>
                  </a:lnTo>
                  <a:lnTo>
                    <a:pt x="1608" y="656"/>
                  </a:lnTo>
                  <a:lnTo>
                    <a:pt x="1610" y="656"/>
                  </a:lnTo>
                  <a:lnTo>
                    <a:pt x="1612" y="656"/>
                  </a:lnTo>
                  <a:lnTo>
                    <a:pt x="1614" y="658"/>
                  </a:lnTo>
                  <a:lnTo>
                    <a:pt x="1618" y="660"/>
                  </a:lnTo>
                  <a:lnTo>
                    <a:pt x="1620" y="662"/>
                  </a:lnTo>
                  <a:lnTo>
                    <a:pt x="1622" y="664"/>
                  </a:lnTo>
                  <a:lnTo>
                    <a:pt x="1622" y="666"/>
                  </a:lnTo>
                  <a:lnTo>
                    <a:pt x="1622" y="668"/>
                  </a:lnTo>
                  <a:lnTo>
                    <a:pt x="1620" y="670"/>
                  </a:lnTo>
                  <a:lnTo>
                    <a:pt x="1618" y="670"/>
                  </a:lnTo>
                  <a:close/>
                  <a:moveTo>
                    <a:pt x="1602" y="666"/>
                  </a:moveTo>
                  <a:lnTo>
                    <a:pt x="1602" y="668"/>
                  </a:lnTo>
                  <a:lnTo>
                    <a:pt x="1604" y="670"/>
                  </a:lnTo>
                  <a:lnTo>
                    <a:pt x="1602" y="672"/>
                  </a:lnTo>
                  <a:lnTo>
                    <a:pt x="1602" y="674"/>
                  </a:lnTo>
                  <a:lnTo>
                    <a:pt x="1600" y="674"/>
                  </a:lnTo>
                  <a:lnTo>
                    <a:pt x="1598" y="672"/>
                  </a:lnTo>
                  <a:lnTo>
                    <a:pt x="1598" y="670"/>
                  </a:lnTo>
                  <a:lnTo>
                    <a:pt x="1598" y="668"/>
                  </a:lnTo>
                  <a:lnTo>
                    <a:pt x="1600" y="668"/>
                  </a:lnTo>
                  <a:lnTo>
                    <a:pt x="1600" y="666"/>
                  </a:lnTo>
                  <a:lnTo>
                    <a:pt x="1602" y="666"/>
                  </a:lnTo>
                  <a:close/>
                  <a:moveTo>
                    <a:pt x="1922" y="708"/>
                  </a:moveTo>
                  <a:lnTo>
                    <a:pt x="1924" y="710"/>
                  </a:lnTo>
                  <a:lnTo>
                    <a:pt x="1924" y="712"/>
                  </a:lnTo>
                  <a:lnTo>
                    <a:pt x="1924" y="714"/>
                  </a:lnTo>
                  <a:lnTo>
                    <a:pt x="1924" y="716"/>
                  </a:lnTo>
                  <a:lnTo>
                    <a:pt x="1922" y="716"/>
                  </a:lnTo>
                  <a:lnTo>
                    <a:pt x="1920" y="714"/>
                  </a:lnTo>
                  <a:lnTo>
                    <a:pt x="1920" y="712"/>
                  </a:lnTo>
                  <a:lnTo>
                    <a:pt x="1920" y="710"/>
                  </a:lnTo>
                  <a:lnTo>
                    <a:pt x="1922" y="708"/>
                  </a:lnTo>
                  <a:close/>
                  <a:moveTo>
                    <a:pt x="1922" y="722"/>
                  </a:moveTo>
                  <a:lnTo>
                    <a:pt x="1924" y="722"/>
                  </a:lnTo>
                  <a:lnTo>
                    <a:pt x="1924" y="724"/>
                  </a:lnTo>
                  <a:lnTo>
                    <a:pt x="1922" y="724"/>
                  </a:lnTo>
                  <a:lnTo>
                    <a:pt x="1922" y="726"/>
                  </a:lnTo>
                  <a:lnTo>
                    <a:pt x="1922" y="728"/>
                  </a:lnTo>
                  <a:lnTo>
                    <a:pt x="1920" y="730"/>
                  </a:lnTo>
                  <a:lnTo>
                    <a:pt x="1920" y="734"/>
                  </a:lnTo>
                  <a:lnTo>
                    <a:pt x="1918" y="736"/>
                  </a:lnTo>
                  <a:lnTo>
                    <a:pt x="1916" y="738"/>
                  </a:lnTo>
                  <a:lnTo>
                    <a:pt x="1914" y="736"/>
                  </a:lnTo>
                  <a:lnTo>
                    <a:pt x="1914" y="734"/>
                  </a:lnTo>
                  <a:lnTo>
                    <a:pt x="1914" y="730"/>
                  </a:lnTo>
                  <a:lnTo>
                    <a:pt x="1916" y="728"/>
                  </a:lnTo>
                  <a:lnTo>
                    <a:pt x="1916" y="724"/>
                  </a:lnTo>
                  <a:lnTo>
                    <a:pt x="1916" y="722"/>
                  </a:lnTo>
                  <a:lnTo>
                    <a:pt x="1918" y="720"/>
                  </a:lnTo>
                  <a:lnTo>
                    <a:pt x="1920" y="720"/>
                  </a:lnTo>
                  <a:lnTo>
                    <a:pt x="1922" y="720"/>
                  </a:lnTo>
                  <a:lnTo>
                    <a:pt x="1922" y="722"/>
                  </a:lnTo>
                  <a:close/>
                  <a:moveTo>
                    <a:pt x="1914" y="750"/>
                  </a:moveTo>
                  <a:lnTo>
                    <a:pt x="1916" y="752"/>
                  </a:lnTo>
                  <a:lnTo>
                    <a:pt x="1914" y="758"/>
                  </a:lnTo>
                  <a:lnTo>
                    <a:pt x="1914" y="760"/>
                  </a:lnTo>
                  <a:lnTo>
                    <a:pt x="1912" y="760"/>
                  </a:lnTo>
                  <a:lnTo>
                    <a:pt x="1912" y="758"/>
                  </a:lnTo>
                  <a:lnTo>
                    <a:pt x="1910" y="758"/>
                  </a:lnTo>
                  <a:lnTo>
                    <a:pt x="1908" y="756"/>
                  </a:lnTo>
                  <a:lnTo>
                    <a:pt x="1908" y="754"/>
                  </a:lnTo>
                  <a:lnTo>
                    <a:pt x="1908" y="750"/>
                  </a:lnTo>
                  <a:lnTo>
                    <a:pt x="1908" y="746"/>
                  </a:lnTo>
                  <a:lnTo>
                    <a:pt x="1908" y="744"/>
                  </a:lnTo>
                  <a:lnTo>
                    <a:pt x="1908" y="742"/>
                  </a:lnTo>
                  <a:lnTo>
                    <a:pt x="1910" y="742"/>
                  </a:lnTo>
                  <a:lnTo>
                    <a:pt x="1912" y="744"/>
                  </a:lnTo>
                  <a:lnTo>
                    <a:pt x="1914" y="746"/>
                  </a:lnTo>
                  <a:lnTo>
                    <a:pt x="1914" y="748"/>
                  </a:lnTo>
                  <a:lnTo>
                    <a:pt x="1914" y="750"/>
                  </a:lnTo>
                  <a:close/>
                  <a:moveTo>
                    <a:pt x="2002" y="568"/>
                  </a:moveTo>
                  <a:lnTo>
                    <a:pt x="2004" y="570"/>
                  </a:lnTo>
                  <a:lnTo>
                    <a:pt x="2004" y="572"/>
                  </a:lnTo>
                  <a:lnTo>
                    <a:pt x="2002" y="572"/>
                  </a:lnTo>
                  <a:lnTo>
                    <a:pt x="2000" y="572"/>
                  </a:lnTo>
                  <a:lnTo>
                    <a:pt x="1996" y="572"/>
                  </a:lnTo>
                  <a:lnTo>
                    <a:pt x="1994" y="572"/>
                  </a:lnTo>
                  <a:lnTo>
                    <a:pt x="1992" y="570"/>
                  </a:lnTo>
                  <a:lnTo>
                    <a:pt x="1988" y="568"/>
                  </a:lnTo>
                  <a:lnTo>
                    <a:pt x="1986" y="566"/>
                  </a:lnTo>
                  <a:lnTo>
                    <a:pt x="1984" y="566"/>
                  </a:lnTo>
                  <a:lnTo>
                    <a:pt x="1984" y="564"/>
                  </a:lnTo>
                  <a:lnTo>
                    <a:pt x="1984" y="562"/>
                  </a:lnTo>
                  <a:lnTo>
                    <a:pt x="1984" y="560"/>
                  </a:lnTo>
                  <a:lnTo>
                    <a:pt x="1984" y="558"/>
                  </a:lnTo>
                  <a:lnTo>
                    <a:pt x="1984" y="556"/>
                  </a:lnTo>
                  <a:lnTo>
                    <a:pt x="1984" y="554"/>
                  </a:lnTo>
                  <a:lnTo>
                    <a:pt x="1986" y="554"/>
                  </a:lnTo>
                  <a:lnTo>
                    <a:pt x="1988" y="554"/>
                  </a:lnTo>
                  <a:lnTo>
                    <a:pt x="1990" y="556"/>
                  </a:lnTo>
                  <a:lnTo>
                    <a:pt x="1992" y="558"/>
                  </a:lnTo>
                  <a:lnTo>
                    <a:pt x="1996" y="562"/>
                  </a:lnTo>
                  <a:lnTo>
                    <a:pt x="2000" y="566"/>
                  </a:lnTo>
                  <a:lnTo>
                    <a:pt x="2002" y="568"/>
                  </a:lnTo>
                  <a:close/>
                  <a:moveTo>
                    <a:pt x="2030" y="570"/>
                  </a:moveTo>
                  <a:lnTo>
                    <a:pt x="2032" y="570"/>
                  </a:lnTo>
                  <a:lnTo>
                    <a:pt x="2032" y="572"/>
                  </a:lnTo>
                  <a:lnTo>
                    <a:pt x="2032" y="574"/>
                  </a:lnTo>
                  <a:lnTo>
                    <a:pt x="2030" y="574"/>
                  </a:lnTo>
                  <a:lnTo>
                    <a:pt x="2028" y="574"/>
                  </a:lnTo>
                  <a:lnTo>
                    <a:pt x="2026" y="572"/>
                  </a:lnTo>
                  <a:lnTo>
                    <a:pt x="2024" y="572"/>
                  </a:lnTo>
                  <a:lnTo>
                    <a:pt x="2016" y="572"/>
                  </a:lnTo>
                  <a:lnTo>
                    <a:pt x="2014" y="572"/>
                  </a:lnTo>
                  <a:lnTo>
                    <a:pt x="2012" y="572"/>
                  </a:lnTo>
                  <a:lnTo>
                    <a:pt x="2012" y="570"/>
                  </a:lnTo>
                  <a:lnTo>
                    <a:pt x="2012" y="568"/>
                  </a:lnTo>
                  <a:lnTo>
                    <a:pt x="2012" y="566"/>
                  </a:lnTo>
                  <a:lnTo>
                    <a:pt x="2014" y="566"/>
                  </a:lnTo>
                  <a:lnTo>
                    <a:pt x="2016" y="566"/>
                  </a:lnTo>
                  <a:lnTo>
                    <a:pt x="2018" y="566"/>
                  </a:lnTo>
                  <a:lnTo>
                    <a:pt x="2020" y="568"/>
                  </a:lnTo>
                  <a:lnTo>
                    <a:pt x="2026" y="568"/>
                  </a:lnTo>
                  <a:lnTo>
                    <a:pt x="2028" y="568"/>
                  </a:lnTo>
                  <a:lnTo>
                    <a:pt x="2030" y="570"/>
                  </a:lnTo>
                  <a:close/>
                  <a:moveTo>
                    <a:pt x="1916" y="454"/>
                  </a:moveTo>
                  <a:lnTo>
                    <a:pt x="1918" y="456"/>
                  </a:lnTo>
                  <a:lnTo>
                    <a:pt x="1918" y="458"/>
                  </a:lnTo>
                  <a:lnTo>
                    <a:pt x="1918" y="460"/>
                  </a:lnTo>
                  <a:lnTo>
                    <a:pt x="1918" y="462"/>
                  </a:lnTo>
                  <a:lnTo>
                    <a:pt x="1916" y="466"/>
                  </a:lnTo>
                  <a:lnTo>
                    <a:pt x="1916" y="470"/>
                  </a:lnTo>
                  <a:lnTo>
                    <a:pt x="1914" y="472"/>
                  </a:lnTo>
                  <a:lnTo>
                    <a:pt x="1912" y="474"/>
                  </a:lnTo>
                  <a:lnTo>
                    <a:pt x="1910" y="472"/>
                  </a:lnTo>
                  <a:lnTo>
                    <a:pt x="1908" y="468"/>
                  </a:lnTo>
                  <a:lnTo>
                    <a:pt x="1906" y="462"/>
                  </a:lnTo>
                  <a:lnTo>
                    <a:pt x="1906" y="458"/>
                  </a:lnTo>
                  <a:lnTo>
                    <a:pt x="1906" y="456"/>
                  </a:lnTo>
                  <a:lnTo>
                    <a:pt x="1906" y="452"/>
                  </a:lnTo>
                  <a:lnTo>
                    <a:pt x="1908" y="452"/>
                  </a:lnTo>
                  <a:lnTo>
                    <a:pt x="1908" y="450"/>
                  </a:lnTo>
                  <a:lnTo>
                    <a:pt x="1910" y="450"/>
                  </a:lnTo>
                  <a:lnTo>
                    <a:pt x="1912" y="450"/>
                  </a:lnTo>
                  <a:lnTo>
                    <a:pt x="1914" y="452"/>
                  </a:lnTo>
                  <a:lnTo>
                    <a:pt x="1916" y="454"/>
                  </a:lnTo>
                  <a:close/>
                  <a:moveTo>
                    <a:pt x="1858" y="26"/>
                  </a:moveTo>
                  <a:lnTo>
                    <a:pt x="1856" y="22"/>
                  </a:lnTo>
                  <a:lnTo>
                    <a:pt x="1856" y="20"/>
                  </a:lnTo>
                  <a:lnTo>
                    <a:pt x="1858" y="18"/>
                  </a:lnTo>
                  <a:lnTo>
                    <a:pt x="1858" y="16"/>
                  </a:lnTo>
                  <a:lnTo>
                    <a:pt x="1860" y="14"/>
                  </a:lnTo>
                  <a:lnTo>
                    <a:pt x="1864" y="8"/>
                  </a:lnTo>
                  <a:lnTo>
                    <a:pt x="1868" y="6"/>
                  </a:lnTo>
                  <a:lnTo>
                    <a:pt x="1870" y="4"/>
                  </a:lnTo>
                  <a:lnTo>
                    <a:pt x="1874" y="4"/>
                  </a:lnTo>
                  <a:lnTo>
                    <a:pt x="1876" y="4"/>
                  </a:lnTo>
                  <a:lnTo>
                    <a:pt x="1878" y="4"/>
                  </a:lnTo>
                  <a:lnTo>
                    <a:pt x="1880" y="6"/>
                  </a:lnTo>
                  <a:lnTo>
                    <a:pt x="1882" y="6"/>
                  </a:lnTo>
                  <a:lnTo>
                    <a:pt x="1884" y="4"/>
                  </a:lnTo>
                  <a:lnTo>
                    <a:pt x="1886" y="4"/>
                  </a:lnTo>
                  <a:lnTo>
                    <a:pt x="1888" y="2"/>
                  </a:lnTo>
                  <a:lnTo>
                    <a:pt x="1890" y="0"/>
                  </a:lnTo>
                  <a:lnTo>
                    <a:pt x="1894" y="0"/>
                  </a:lnTo>
                  <a:lnTo>
                    <a:pt x="1896" y="0"/>
                  </a:lnTo>
                  <a:lnTo>
                    <a:pt x="1898" y="2"/>
                  </a:lnTo>
                  <a:lnTo>
                    <a:pt x="1900" y="4"/>
                  </a:lnTo>
                  <a:lnTo>
                    <a:pt x="1902" y="6"/>
                  </a:lnTo>
                  <a:lnTo>
                    <a:pt x="1904" y="10"/>
                  </a:lnTo>
                  <a:lnTo>
                    <a:pt x="1904" y="12"/>
                  </a:lnTo>
                  <a:lnTo>
                    <a:pt x="1904" y="14"/>
                  </a:lnTo>
                  <a:lnTo>
                    <a:pt x="1904" y="16"/>
                  </a:lnTo>
                  <a:lnTo>
                    <a:pt x="1902" y="16"/>
                  </a:lnTo>
                  <a:lnTo>
                    <a:pt x="1898" y="18"/>
                  </a:lnTo>
                  <a:lnTo>
                    <a:pt x="1896" y="20"/>
                  </a:lnTo>
                  <a:lnTo>
                    <a:pt x="1894" y="20"/>
                  </a:lnTo>
                  <a:lnTo>
                    <a:pt x="1890" y="24"/>
                  </a:lnTo>
                  <a:lnTo>
                    <a:pt x="1888" y="24"/>
                  </a:lnTo>
                  <a:lnTo>
                    <a:pt x="1886" y="26"/>
                  </a:lnTo>
                  <a:lnTo>
                    <a:pt x="1884" y="28"/>
                  </a:lnTo>
                  <a:lnTo>
                    <a:pt x="1880" y="28"/>
                  </a:lnTo>
                  <a:lnTo>
                    <a:pt x="1878" y="28"/>
                  </a:lnTo>
                  <a:lnTo>
                    <a:pt x="1874" y="28"/>
                  </a:lnTo>
                  <a:lnTo>
                    <a:pt x="1872" y="28"/>
                  </a:lnTo>
                  <a:lnTo>
                    <a:pt x="1870" y="28"/>
                  </a:lnTo>
                  <a:lnTo>
                    <a:pt x="1868" y="30"/>
                  </a:lnTo>
                  <a:lnTo>
                    <a:pt x="1866" y="32"/>
                  </a:lnTo>
                  <a:lnTo>
                    <a:pt x="1862" y="34"/>
                  </a:lnTo>
                  <a:lnTo>
                    <a:pt x="1860" y="32"/>
                  </a:lnTo>
                  <a:lnTo>
                    <a:pt x="1858" y="28"/>
                  </a:lnTo>
                  <a:lnTo>
                    <a:pt x="1858" y="26"/>
                  </a:lnTo>
                  <a:close/>
                  <a:moveTo>
                    <a:pt x="1748" y="106"/>
                  </a:moveTo>
                  <a:lnTo>
                    <a:pt x="1746" y="104"/>
                  </a:lnTo>
                  <a:lnTo>
                    <a:pt x="1746" y="102"/>
                  </a:lnTo>
                  <a:lnTo>
                    <a:pt x="1746" y="100"/>
                  </a:lnTo>
                  <a:lnTo>
                    <a:pt x="1748" y="100"/>
                  </a:lnTo>
                  <a:lnTo>
                    <a:pt x="1748" y="98"/>
                  </a:lnTo>
                  <a:lnTo>
                    <a:pt x="1750" y="98"/>
                  </a:lnTo>
                  <a:lnTo>
                    <a:pt x="1752" y="96"/>
                  </a:lnTo>
                  <a:lnTo>
                    <a:pt x="1754" y="96"/>
                  </a:lnTo>
                  <a:lnTo>
                    <a:pt x="1756" y="96"/>
                  </a:lnTo>
                  <a:lnTo>
                    <a:pt x="1758" y="98"/>
                  </a:lnTo>
                  <a:lnTo>
                    <a:pt x="1762" y="98"/>
                  </a:lnTo>
                  <a:lnTo>
                    <a:pt x="1764" y="100"/>
                  </a:lnTo>
                  <a:lnTo>
                    <a:pt x="1768" y="102"/>
                  </a:lnTo>
                  <a:lnTo>
                    <a:pt x="1768" y="104"/>
                  </a:lnTo>
                  <a:lnTo>
                    <a:pt x="1770" y="104"/>
                  </a:lnTo>
                  <a:lnTo>
                    <a:pt x="1770" y="106"/>
                  </a:lnTo>
                  <a:lnTo>
                    <a:pt x="1770" y="108"/>
                  </a:lnTo>
                  <a:lnTo>
                    <a:pt x="1768" y="108"/>
                  </a:lnTo>
                  <a:lnTo>
                    <a:pt x="1768" y="110"/>
                  </a:lnTo>
                  <a:lnTo>
                    <a:pt x="1764" y="110"/>
                  </a:lnTo>
                  <a:lnTo>
                    <a:pt x="1762" y="112"/>
                  </a:lnTo>
                  <a:lnTo>
                    <a:pt x="1760" y="112"/>
                  </a:lnTo>
                  <a:lnTo>
                    <a:pt x="1760" y="114"/>
                  </a:lnTo>
                  <a:lnTo>
                    <a:pt x="1758" y="114"/>
                  </a:lnTo>
                  <a:lnTo>
                    <a:pt x="1756" y="116"/>
                  </a:lnTo>
                  <a:lnTo>
                    <a:pt x="1754" y="116"/>
                  </a:lnTo>
                  <a:lnTo>
                    <a:pt x="1754" y="114"/>
                  </a:lnTo>
                  <a:lnTo>
                    <a:pt x="1752" y="114"/>
                  </a:lnTo>
                  <a:lnTo>
                    <a:pt x="1750" y="114"/>
                  </a:lnTo>
                  <a:lnTo>
                    <a:pt x="1748" y="112"/>
                  </a:lnTo>
                  <a:lnTo>
                    <a:pt x="1748" y="110"/>
                  </a:lnTo>
                  <a:lnTo>
                    <a:pt x="1748" y="106"/>
                  </a:lnTo>
                  <a:close/>
                  <a:moveTo>
                    <a:pt x="1390" y="40"/>
                  </a:moveTo>
                  <a:lnTo>
                    <a:pt x="1388" y="38"/>
                  </a:lnTo>
                  <a:lnTo>
                    <a:pt x="1388" y="36"/>
                  </a:lnTo>
                  <a:lnTo>
                    <a:pt x="1388" y="34"/>
                  </a:lnTo>
                  <a:lnTo>
                    <a:pt x="1390" y="34"/>
                  </a:lnTo>
                  <a:lnTo>
                    <a:pt x="1392" y="34"/>
                  </a:lnTo>
                  <a:lnTo>
                    <a:pt x="1394" y="36"/>
                  </a:lnTo>
                  <a:lnTo>
                    <a:pt x="1396" y="38"/>
                  </a:lnTo>
                  <a:lnTo>
                    <a:pt x="1396" y="40"/>
                  </a:lnTo>
                  <a:lnTo>
                    <a:pt x="1398" y="40"/>
                  </a:lnTo>
                  <a:lnTo>
                    <a:pt x="1400" y="40"/>
                  </a:lnTo>
                  <a:lnTo>
                    <a:pt x="1402" y="40"/>
                  </a:lnTo>
                  <a:lnTo>
                    <a:pt x="1402" y="38"/>
                  </a:lnTo>
                  <a:lnTo>
                    <a:pt x="1400" y="36"/>
                  </a:lnTo>
                  <a:lnTo>
                    <a:pt x="1402" y="34"/>
                  </a:lnTo>
                  <a:lnTo>
                    <a:pt x="1404" y="34"/>
                  </a:lnTo>
                  <a:lnTo>
                    <a:pt x="1406" y="32"/>
                  </a:lnTo>
                  <a:lnTo>
                    <a:pt x="1410" y="32"/>
                  </a:lnTo>
                  <a:lnTo>
                    <a:pt x="1414" y="32"/>
                  </a:lnTo>
                  <a:lnTo>
                    <a:pt x="1418" y="32"/>
                  </a:lnTo>
                  <a:lnTo>
                    <a:pt x="1420" y="32"/>
                  </a:lnTo>
                  <a:lnTo>
                    <a:pt x="1422" y="32"/>
                  </a:lnTo>
                  <a:lnTo>
                    <a:pt x="1424" y="34"/>
                  </a:lnTo>
                  <a:lnTo>
                    <a:pt x="1426" y="34"/>
                  </a:lnTo>
                  <a:lnTo>
                    <a:pt x="1428" y="34"/>
                  </a:lnTo>
                  <a:lnTo>
                    <a:pt x="1428" y="32"/>
                  </a:lnTo>
                  <a:lnTo>
                    <a:pt x="1430" y="30"/>
                  </a:lnTo>
                  <a:lnTo>
                    <a:pt x="1430" y="28"/>
                  </a:lnTo>
                  <a:lnTo>
                    <a:pt x="1432" y="26"/>
                  </a:lnTo>
                  <a:lnTo>
                    <a:pt x="1434" y="26"/>
                  </a:lnTo>
                  <a:lnTo>
                    <a:pt x="1436" y="28"/>
                  </a:lnTo>
                  <a:lnTo>
                    <a:pt x="1440" y="28"/>
                  </a:lnTo>
                  <a:lnTo>
                    <a:pt x="1444" y="28"/>
                  </a:lnTo>
                  <a:lnTo>
                    <a:pt x="1448" y="28"/>
                  </a:lnTo>
                  <a:lnTo>
                    <a:pt x="1450" y="28"/>
                  </a:lnTo>
                  <a:lnTo>
                    <a:pt x="1452" y="28"/>
                  </a:lnTo>
                  <a:lnTo>
                    <a:pt x="1452" y="30"/>
                  </a:lnTo>
                  <a:lnTo>
                    <a:pt x="1454" y="30"/>
                  </a:lnTo>
                  <a:lnTo>
                    <a:pt x="1454" y="32"/>
                  </a:lnTo>
                  <a:lnTo>
                    <a:pt x="1454" y="34"/>
                  </a:lnTo>
                  <a:lnTo>
                    <a:pt x="1454" y="36"/>
                  </a:lnTo>
                  <a:lnTo>
                    <a:pt x="1450" y="38"/>
                  </a:lnTo>
                  <a:lnTo>
                    <a:pt x="1446" y="38"/>
                  </a:lnTo>
                  <a:lnTo>
                    <a:pt x="1446" y="40"/>
                  </a:lnTo>
                  <a:lnTo>
                    <a:pt x="1444" y="40"/>
                  </a:lnTo>
                  <a:lnTo>
                    <a:pt x="1442" y="44"/>
                  </a:lnTo>
                  <a:lnTo>
                    <a:pt x="1442" y="48"/>
                  </a:lnTo>
                  <a:lnTo>
                    <a:pt x="1440" y="48"/>
                  </a:lnTo>
                  <a:lnTo>
                    <a:pt x="1440" y="50"/>
                  </a:lnTo>
                  <a:lnTo>
                    <a:pt x="1438" y="50"/>
                  </a:lnTo>
                  <a:lnTo>
                    <a:pt x="1436" y="50"/>
                  </a:lnTo>
                  <a:lnTo>
                    <a:pt x="1432" y="52"/>
                  </a:lnTo>
                  <a:lnTo>
                    <a:pt x="1428" y="52"/>
                  </a:lnTo>
                  <a:lnTo>
                    <a:pt x="1420" y="54"/>
                  </a:lnTo>
                  <a:lnTo>
                    <a:pt x="1416" y="54"/>
                  </a:lnTo>
                  <a:lnTo>
                    <a:pt x="1412" y="54"/>
                  </a:lnTo>
                  <a:lnTo>
                    <a:pt x="1408" y="54"/>
                  </a:lnTo>
                  <a:lnTo>
                    <a:pt x="1404" y="54"/>
                  </a:lnTo>
                  <a:lnTo>
                    <a:pt x="1400" y="54"/>
                  </a:lnTo>
                  <a:lnTo>
                    <a:pt x="1398" y="52"/>
                  </a:lnTo>
                  <a:lnTo>
                    <a:pt x="1396" y="52"/>
                  </a:lnTo>
                  <a:lnTo>
                    <a:pt x="1394" y="48"/>
                  </a:lnTo>
                  <a:lnTo>
                    <a:pt x="1392" y="46"/>
                  </a:lnTo>
                  <a:lnTo>
                    <a:pt x="1390" y="40"/>
                  </a:lnTo>
                  <a:close/>
                  <a:moveTo>
                    <a:pt x="1272" y="82"/>
                  </a:moveTo>
                  <a:lnTo>
                    <a:pt x="1270" y="80"/>
                  </a:lnTo>
                  <a:lnTo>
                    <a:pt x="1270" y="78"/>
                  </a:lnTo>
                  <a:lnTo>
                    <a:pt x="1270" y="76"/>
                  </a:lnTo>
                  <a:lnTo>
                    <a:pt x="1272" y="72"/>
                  </a:lnTo>
                  <a:lnTo>
                    <a:pt x="1272" y="70"/>
                  </a:lnTo>
                  <a:lnTo>
                    <a:pt x="1272" y="68"/>
                  </a:lnTo>
                  <a:lnTo>
                    <a:pt x="1272" y="66"/>
                  </a:lnTo>
                  <a:lnTo>
                    <a:pt x="1272" y="64"/>
                  </a:lnTo>
                  <a:lnTo>
                    <a:pt x="1272" y="62"/>
                  </a:lnTo>
                  <a:lnTo>
                    <a:pt x="1272" y="60"/>
                  </a:lnTo>
                  <a:lnTo>
                    <a:pt x="1272" y="58"/>
                  </a:lnTo>
                  <a:lnTo>
                    <a:pt x="1276" y="58"/>
                  </a:lnTo>
                  <a:lnTo>
                    <a:pt x="1280" y="58"/>
                  </a:lnTo>
                  <a:lnTo>
                    <a:pt x="1284" y="56"/>
                  </a:lnTo>
                  <a:lnTo>
                    <a:pt x="1286" y="56"/>
                  </a:lnTo>
                  <a:lnTo>
                    <a:pt x="1288" y="54"/>
                  </a:lnTo>
                  <a:lnTo>
                    <a:pt x="1292" y="52"/>
                  </a:lnTo>
                  <a:lnTo>
                    <a:pt x="1294" y="52"/>
                  </a:lnTo>
                  <a:lnTo>
                    <a:pt x="1296" y="52"/>
                  </a:lnTo>
                  <a:lnTo>
                    <a:pt x="1296" y="54"/>
                  </a:lnTo>
                  <a:lnTo>
                    <a:pt x="1298" y="54"/>
                  </a:lnTo>
                  <a:lnTo>
                    <a:pt x="1300" y="54"/>
                  </a:lnTo>
                  <a:lnTo>
                    <a:pt x="1306" y="54"/>
                  </a:lnTo>
                  <a:lnTo>
                    <a:pt x="1308" y="54"/>
                  </a:lnTo>
                  <a:lnTo>
                    <a:pt x="1310" y="54"/>
                  </a:lnTo>
                  <a:lnTo>
                    <a:pt x="1312" y="54"/>
                  </a:lnTo>
                  <a:lnTo>
                    <a:pt x="1314" y="56"/>
                  </a:lnTo>
                  <a:lnTo>
                    <a:pt x="1316" y="58"/>
                  </a:lnTo>
                  <a:lnTo>
                    <a:pt x="1316" y="60"/>
                  </a:lnTo>
                  <a:lnTo>
                    <a:pt x="1318" y="60"/>
                  </a:lnTo>
                  <a:lnTo>
                    <a:pt x="1318" y="62"/>
                  </a:lnTo>
                  <a:lnTo>
                    <a:pt x="1320" y="62"/>
                  </a:lnTo>
                  <a:lnTo>
                    <a:pt x="1322" y="60"/>
                  </a:lnTo>
                  <a:lnTo>
                    <a:pt x="1322" y="58"/>
                  </a:lnTo>
                  <a:lnTo>
                    <a:pt x="1322" y="56"/>
                  </a:lnTo>
                  <a:lnTo>
                    <a:pt x="1322" y="54"/>
                  </a:lnTo>
                  <a:lnTo>
                    <a:pt x="1320" y="52"/>
                  </a:lnTo>
                  <a:lnTo>
                    <a:pt x="1318" y="50"/>
                  </a:lnTo>
                  <a:lnTo>
                    <a:pt x="1314" y="48"/>
                  </a:lnTo>
                  <a:lnTo>
                    <a:pt x="1312" y="48"/>
                  </a:lnTo>
                  <a:lnTo>
                    <a:pt x="1310" y="46"/>
                  </a:lnTo>
                  <a:lnTo>
                    <a:pt x="1310" y="44"/>
                  </a:lnTo>
                  <a:lnTo>
                    <a:pt x="1312" y="42"/>
                  </a:lnTo>
                  <a:lnTo>
                    <a:pt x="1314" y="40"/>
                  </a:lnTo>
                  <a:lnTo>
                    <a:pt x="1316" y="38"/>
                  </a:lnTo>
                  <a:lnTo>
                    <a:pt x="1318" y="38"/>
                  </a:lnTo>
                  <a:lnTo>
                    <a:pt x="1322" y="38"/>
                  </a:lnTo>
                  <a:lnTo>
                    <a:pt x="1326" y="38"/>
                  </a:lnTo>
                  <a:lnTo>
                    <a:pt x="1328" y="40"/>
                  </a:lnTo>
                  <a:lnTo>
                    <a:pt x="1330" y="40"/>
                  </a:lnTo>
                  <a:lnTo>
                    <a:pt x="1332" y="40"/>
                  </a:lnTo>
                  <a:lnTo>
                    <a:pt x="1334" y="40"/>
                  </a:lnTo>
                  <a:lnTo>
                    <a:pt x="1336" y="40"/>
                  </a:lnTo>
                  <a:lnTo>
                    <a:pt x="1338" y="40"/>
                  </a:lnTo>
                  <a:lnTo>
                    <a:pt x="1340" y="40"/>
                  </a:lnTo>
                  <a:lnTo>
                    <a:pt x="1342" y="40"/>
                  </a:lnTo>
                  <a:lnTo>
                    <a:pt x="1344" y="38"/>
                  </a:lnTo>
                  <a:lnTo>
                    <a:pt x="1350" y="36"/>
                  </a:lnTo>
                  <a:lnTo>
                    <a:pt x="1352" y="34"/>
                  </a:lnTo>
                  <a:lnTo>
                    <a:pt x="1354" y="34"/>
                  </a:lnTo>
                  <a:lnTo>
                    <a:pt x="1358" y="34"/>
                  </a:lnTo>
                  <a:lnTo>
                    <a:pt x="1360" y="34"/>
                  </a:lnTo>
                  <a:lnTo>
                    <a:pt x="1362" y="36"/>
                  </a:lnTo>
                  <a:lnTo>
                    <a:pt x="1362" y="38"/>
                  </a:lnTo>
                  <a:lnTo>
                    <a:pt x="1364" y="38"/>
                  </a:lnTo>
                  <a:lnTo>
                    <a:pt x="1366" y="38"/>
                  </a:lnTo>
                  <a:lnTo>
                    <a:pt x="1368" y="38"/>
                  </a:lnTo>
                  <a:lnTo>
                    <a:pt x="1370" y="38"/>
                  </a:lnTo>
                  <a:lnTo>
                    <a:pt x="1372" y="38"/>
                  </a:lnTo>
                  <a:lnTo>
                    <a:pt x="1374" y="40"/>
                  </a:lnTo>
                  <a:lnTo>
                    <a:pt x="1376" y="40"/>
                  </a:lnTo>
                  <a:lnTo>
                    <a:pt x="1378" y="42"/>
                  </a:lnTo>
                  <a:lnTo>
                    <a:pt x="1376" y="44"/>
                  </a:lnTo>
                  <a:lnTo>
                    <a:pt x="1374" y="48"/>
                  </a:lnTo>
                  <a:lnTo>
                    <a:pt x="1374" y="50"/>
                  </a:lnTo>
                  <a:lnTo>
                    <a:pt x="1376" y="52"/>
                  </a:lnTo>
                  <a:lnTo>
                    <a:pt x="1376" y="54"/>
                  </a:lnTo>
                  <a:lnTo>
                    <a:pt x="1376" y="56"/>
                  </a:lnTo>
                  <a:lnTo>
                    <a:pt x="1376" y="58"/>
                  </a:lnTo>
                  <a:lnTo>
                    <a:pt x="1374" y="58"/>
                  </a:lnTo>
                  <a:lnTo>
                    <a:pt x="1372" y="62"/>
                  </a:lnTo>
                  <a:lnTo>
                    <a:pt x="1368" y="62"/>
                  </a:lnTo>
                  <a:lnTo>
                    <a:pt x="1366" y="64"/>
                  </a:lnTo>
                  <a:lnTo>
                    <a:pt x="1360" y="64"/>
                  </a:lnTo>
                  <a:lnTo>
                    <a:pt x="1358" y="64"/>
                  </a:lnTo>
                  <a:lnTo>
                    <a:pt x="1356" y="62"/>
                  </a:lnTo>
                  <a:lnTo>
                    <a:pt x="1354" y="62"/>
                  </a:lnTo>
                  <a:lnTo>
                    <a:pt x="1352" y="60"/>
                  </a:lnTo>
                  <a:lnTo>
                    <a:pt x="1350" y="58"/>
                  </a:lnTo>
                  <a:lnTo>
                    <a:pt x="1348" y="58"/>
                  </a:lnTo>
                  <a:lnTo>
                    <a:pt x="1346" y="56"/>
                  </a:lnTo>
                  <a:lnTo>
                    <a:pt x="1344" y="56"/>
                  </a:lnTo>
                  <a:lnTo>
                    <a:pt x="1344" y="54"/>
                  </a:lnTo>
                  <a:lnTo>
                    <a:pt x="1344" y="52"/>
                  </a:lnTo>
                  <a:lnTo>
                    <a:pt x="1344" y="50"/>
                  </a:lnTo>
                  <a:lnTo>
                    <a:pt x="1342" y="50"/>
                  </a:lnTo>
                  <a:lnTo>
                    <a:pt x="1340" y="54"/>
                  </a:lnTo>
                  <a:lnTo>
                    <a:pt x="1338" y="56"/>
                  </a:lnTo>
                  <a:lnTo>
                    <a:pt x="1338" y="58"/>
                  </a:lnTo>
                  <a:lnTo>
                    <a:pt x="1338" y="60"/>
                  </a:lnTo>
                  <a:lnTo>
                    <a:pt x="1338" y="62"/>
                  </a:lnTo>
                  <a:lnTo>
                    <a:pt x="1340" y="64"/>
                  </a:lnTo>
                  <a:lnTo>
                    <a:pt x="1342" y="64"/>
                  </a:lnTo>
                  <a:lnTo>
                    <a:pt x="1342" y="66"/>
                  </a:lnTo>
                  <a:lnTo>
                    <a:pt x="1344" y="68"/>
                  </a:lnTo>
                  <a:lnTo>
                    <a:pt x="1344" y="70"/>
                  </a:lnTo>
                  <a:lnTo>
                    <a:pt x="1346" y="70"/>
                  </a:lnTo>
                  <a:lnTo>
                    <a:pt x="1348" y="72"/>
                  </a:lnTo>
                  <a:lnTo>
                    <a:pt x="1352" y="72"/>
                  </a:lnTo>
                  <a:lnTo>
                    <a:pt x="1356" y="72"/>
                  </a:lnTo>
                  <a:lnTo>
                    <a:pt x="1358" y="72"/>
                  </a:lnTo>
                  <a:lnTo>
                    <a:pt x="1358" y="74"/>
                  </a:lnTo>
                  <a:lnTo>
                    <a:pt x="1356" y="76"/>
                  </a:lnTo>
                  <a:lnTo>
                    <a:pt x="1354" y="76"/>
                  </a:lnTo>
                  <a:lnTo>
                    <a:pt x="1352" y="78"/>
                  </a:lnTo>
                  <a:lnTo>
                    <a:pt x="1348" y="78"/>
                  </a:lnTo>
                  <a:lnTo>
                    <a:pt x="1344" y="80"/>
                  </a:lnTo>
                  <a:lnTo>
                    <a:pt x="1342" y="82"/>
                  </a:lnTo>
                  <a:lnTo>
                    <a:pt x="1340" y="82"/>
                  </a:lnTo>
                  <a:lnTo>
                    <a:pt x="1340" y="84"/>
                  </a:lnTo>
                  <a:lnTo>
                    <a:pt x="1338" y="86"/>
                  </a:lnTo>
                  <a:lnTo>
                    <a:pt x="1334" y="88"/>
                  </a:lnTo>
                  <a:lnTo>
                    <a:pt x="1332" y="90"/>
                  </a:lnTo>
                  <a:lnTo>
                    <a:pt x="1330" y="90"/>
                  </a:lnTo>
                  <a:lnTo>
                    <a:pt x="1328" y="90"/>
                  </a:lnTo>
                  <a:lnTo>
                    <a:pt x="1326" y="90"/>
                  </a:lnTo>
                  <a:lnTo>
                    <a:pt x="1324" y="90"/>
                  </a:lnTo>
                  <a:lnTo>
                    <a:pt x="1324" y="88"/>
                  </a:lnTo>
                  <a:lnTo>
                    <a:pt x="1320" y="86"/>
                  </a:lnTo>
                  <a:lnTo>
                    <a:pt x="1318" y="86"/>
                  </a:lnTo>
                  <a:lnTo>
                    <a:pt x="1318" y="88"/>
                  </a:lnTo>
                  <a:lnTo>
                    <a:pt x="1320" y="90"/>
                  </a:lnTo>
                  <a:lnTo>
                    <a:pt x="1320" y="92"/>
                  </a:lnTo>
                  <a:lnTo>
                    <a:pt x="1322" y="94"/>
                  </a:lnTo>
                  <a:lnTo>
                    <a:pt x="1324" y="96"/>
                  </a:lnTo>
                  <a:lnTo>
                    <a:pt x="1324" y="98"/>
                  </a:lnTo>
                  <a:lnTo>
                    <a:pt x="1322" y="100"/>
                  </a:lnTo>
                  <a:lnTo>
                    <a:pt x="1322" y="104"/>
                  </a:lnTo>
                  <a:lnTo>
                    <a:pt x="1320" y="104"/>
                  </a:lnTo>
                  <a:lnTo>
                    <a:pt x="1320" y="106"/>
                  </a:lnTo>
                  <a:lnTo>
                    <a:pt x="1318" y="106"/>
                  </a:lnTo>
                  <a:lnTo>
                    <a:pt x="1318" y="108"/>
                  </a:lnTo>
                  <a:lnTo>
                    <a:pt x="1316" y="106"/>
                  </a:lnTo>
                  <a:lnTo>
                    <a:pt x="1314" y="106"/>
                  </a:lnTo>
                  <a:lnTo>
                    <a:pt x="1310" y="104"/>
                  </a:lnTo>
                  <a:lnTo>
                    <a:pt x="1306" y="102"/>
                  </a:lnTo>
                  <a:lnTo>
                    <a:pt x="1304" y="102"/>
                  </a:lnTo>
                  <a:lnTo>
                    <a:pt x="1300" y="100"/>
                  </a:lnTo>
                  <a:lnTo>
                    <a:pt x="1298" y="100"/>
                  </a:lnTo>
                  <a:lnTo>
                    <a:pt x="1296" y="100"/>
                  </a:lnTo>
                  <a:lnTo>
                    <a:pt x="1294" y="100"/>
                  </a:lnTo>
                  <a:lnTo>
                    <a:pt x="1292" y="98"/>
                  </a:lnTo>
                  <a:lnTo>
                    <a:pt x="1290" y="98"/>
                  </a:lnTo>
                  <a:lnTo>
                    <a:pt x="1288" y="98"/>
                  </a:lnTo>
                  <a:lnTo>
                    <a:pt x="1286" y="98"/>
                  </a:lnTo>
                  <a:lnTo>
                    <a:pt x="1286" y="96"/>
                  </a:lnTo>
                  <a:lnTo>
                    <a:pt x="1284" y="94"/>
                  </a:lnTo>
                  <a:lnTo>
                    <a:pt x="1280" y="92"/>
                  </a:lnTo>
                  <a:lnTo>
                    <a:pt x="1280" y="90"/>
                  </a:lnTo>
                  <a:lnTo>
                    <a:pt x="1278" y="90"/>
                  </a:lnTo>
                  <a:lnTo>
                    <a:pt x="1276" y="90"/>
                  </a:lnTo>
                  <a:lnTo>
                    <a:pt x="1274" y="90"/>
                  </a:lnTo>
                  <a:lnTo>
                    <a:pt x="1272" y="90"/>
                  </a:lnTo>
                  <a:lnTo>
                    <a:pt x="1272" y="88"/>
                  </a:lnTo>
                  <a:lnTo>
                    <a:pt x="1272" y="86"/>
                  </a:lnTo>
                  <a:lnTo>
                    <a:pt x="1272" y="84"/>
                  </a:lnTo>
                  <a:lnTo>
                    <a:pt x="1272" y="82"/>
                  </a:lnTo>
                  <a:close/>
                  <a:moveTo>
                    <a:pt x="1344" y="120"/>
                  </a:moveTo>
                  <a:lnTo>
                    <a:pt x="1344" y="118"/>
                  </a:lnTo>
                  <a:lnTo>
                    <a:pt x="1342" y="116"/>
                  </a:lnTo>
                  <a:lnTo>
                    <a:pt x="1342" y="114"/>
                  </a:lnTo>
                  <a:lnTo>
                    <a:pt x="1340" y="112"/>
                  </a:lnTo>
                  <a:lnTo>
                    <a:pt x="1342" y="110"/>
                  </a:lnTo>
                  <a:lnTo>
                    <a:pt x="1342" y="108"/>
                  </a:lnTo>
                  <a:lnTo>
                    <a:pt x="1342" y="106"/>
                  </a:lnTo>
                  <a:lnTo>
                    <a:pt x="1344" y="104"/>
                  </a:lnTo>
                  <a:lnTo>
                    <a:pt x="1346" y="104"/>
                  </a:lnTo>
                  <a:lnTo>
                    <a:pt x="1348" y="104"/>
                  </a:lnTo>
                  <a:lnTo>
                    <a:pt x="1350" y="104"/>
                  </a:lnTo>
                  <a:lnTo>
                    <a:pt x="1352" y="104"/>
                  </a:lnTo>
                  <a:lnTo>
                    <a:pt x="1352" y="106"/>
                  </a:lnTo>
                  <a:lnTo>
                    <a:pt x="1354" y="106"/>
                  </a:lnTo>
                  <a:lnTo>
                    <a:pt x="1354" y="108"/>
                  </a:lnTo>
                  <a:lnTo>
                    <a:pt x="1354" y="110"/>
                  </a:lnTo>
                  <a:lnTo>
                    <a:pt x="1352" y="112"/>
                  </a:lnTo>
                  <a:lnTo>
                    <a:pt x="1352" y="114"/>
                  </a:lnTo>
                  <a:lnTo>
                    <a:pt x="1350" y="118"/>
                  </a:lnTo>
                  <a:lnTo>
                    <a:pt x="1350" y="120"/>
                  </a:lnTo>
                  <a:lnTo>
                    <a:pt x="1348" y="120"/>
                  </a:lnTo>
                  <a:lnTo>
                    <a:pt x="1346" y="120"/>
                  </a:lnTo>
                  <a:lnTo>
                    <a:pt x="1344" y="120"/>
                  </a:lnTo>
                  <a:close/>
                  <a:moveTo>
                    <a:pt x="1378" y="110"/>
                  </a:moveTo>
                  <a:lnTo>
                    <a:pt x="1382" y="112"/>
                  </a:lnTo>
                  <a:lnTo>
                    <a:pt x="1388" y="112"/>
                  </a:lnTo>
                  <a:lnTo>
                    <a:pt x="1388" y="114"/>
                  </a:lnTo>
                  <a:lnTo>
                    <a:pt x="1390" y="114"/>
                  </a:lnTo>
                  <a:lnTo>
                    <a:pt x="1392" y="118"/>
                  </a:lnTo>
                  <a:lnTo>
                    <a:pt x="1394" y="118"/>
                  </a:lnTo>
                  <a:lnTo>
                    <a:pt x="1396" y="120"/>
                  </a:lnTo>
                  <a:lnTo>
                    <a:pt x="1398" y="120"/>
                  </a:lnTo>
                  <a:lnTo>
                    <a:pt x="1400" y="120"/>
                  </a:lnTo>
                  <a:lnTo>
                    <a:pt x="1400" y="122"/>
                  </a:lnTo>
                  <a:lnTo>
                    <a:pt x="1398" y="124"/>
                  </a:lnTo>
                  <a:lnTo>
                    <a:pt x="1396" y="124"/>
                  </a:lnTo>
                  <a:lnTo>
                    <a:pt x="1394" y="124"/>
                  </a:lnTo>
                  <a:lnTo>
                    <a:pt x="1392" y="126"/>
                  </a:lnTo>
                  <a:lnTo>
                    <a:pt x="1388" y="128"/>
                  </a:lnTo>
                  <a:lnTo>
                    <a:pt x="1380" y="132"/>
                  </a:lnTo>
                  <a:lnTo>
                    <a:pt x="1378" y="132"/>
                  </a:lnTo>
                  <a:lnTo>
                    <a:pt x="1376" y="132"/>
                  </a:lnTo>
                  <a:lnTo>
                    <a:pt x="1372" y="132"/>
                  </a:lnTo>
                  <a:lnTo>
                    <a:pt x="1368" y="132"/>
                  </a:lnTo>
                  <a:lnTo>
                    <a:pt x="1366" y="132"/>
                  </a:lnTo>
                  <a:lnTo>
                    <a:pt x="1362" y="132"/>
                  </a:lnTo>
                  <a:lnTo>
                    <a:pt x="1358" y="134"/>
                  </a:lnTo>
                  <a:lnTo>
                    <a:pt x="1356" y="134"/>
                  </a:lnTo>
                  <a:lnTo>
                    <a:pt x="1356" y="136"/>
                  </a:lnTo>
                  <a:lnTo>
                    <a:pt x="1354" y="136"/>
                  </a:lnTo>
                  <a:lnTo>
                    <a:pt x="1352" y="134"/>
                  </a:lnTo>
                  <a:lnTo>
                    <a:pt x="1352" y="132"/>
                  </a:lnTo>
                  <a:lnTo>
                    <a:pt x="1354" y="130"/>
                  </a:lnTo>
                  <a:lnTo>
                    <a:pt x="1356" y="128"/>
                  </a:lnTo>
                  <a:lnTo>
                    <a:pt x="1356" y="126"/>
                  </a:lnTo>
                  <a:lnTo>
                    <a:pt x="1356" y="124"/>
                  </a:lnTo>
                  <a:lnTo>
                    <a:pt x="1358" y="120"/>
                  </a:lnTo>
                  <a:lnTo>
                    <a:pt x="1358" y="116"/>
                  </a:lnTo>
                  <a:lnTo>
                    <a:pt x="1360" y="114"/>
                  </a:lnTo>
                  <a:lnTo>
                    <a:pt x="1362" y="112"/>
                  </a:lnTo>
                  <a:lnTo>
                    <a:pt x="1364" y="112"/>
                  </a:lnTo>
                  <a:lnTo>
                    <a:pt x="1366" y="110"/>
                  </a:lnTo>
                  <a:lnTo>
                    <a:pt x="1368" y="110"/>
                  </a:lnTo>
                  <a:lnTo>
                    <a:pt x="1370" y="110"/>
                  </a:lnTo>
                  <a:lnTo>
                    <a:pt x="1374" y="110"/>
                  </a:lnTo>
                  <a:lnTo>
                    <a:pt x="1378" y="110"/>
                  </a:lnTo>
                  <a:close/>
                  <a:moveTo>
                    <a:pt x="1296" y="132"/>
                  </a:moveTo>
                  <a:lnTo>
                    <a:pt x="1298" y="134"/>
                  </a:lnTo>
                  <a:lnTo>
                    <a:pt x="1298" y="136"/>
                  </a:lnTo>
                  <a:lnTo>
                    <a:pt x="1298" y="140"/>
                  </a:lnTo>
                  <a:lnTo>
                    <a:pt x="1296" y="138"/>
                  </a:lnTo>
                  <a:lnTo>
                    <a:pt x="1294" y="138"/>
                  </a:lnTo>
                  <a:lnTo>
                    <a:pt x="1292" y="138"/>
                  </a:lnTo>
                  <a:lnTo>
                    <a:pt x="1290" y="136"/>
                  </a:lnTo>
                  <a:lnTo>
                    <a:pt x="1284" y="132"/>
                  </a:lnTo>
                  <a:lnTo>
                    <a:pt x="1282" y="128"/>
                  </a:lnTo>
                  <a:lnTo>
                    <a:pt x="1282" y="126"/>
                  </a:lnTo>
                  <a:lnTo>
                    <a:pt x="1288" y="128"/>
                  </a:lnTo>
                  <a:lnTo>
                    <a:pt x="1294" y="130"/>
                  </a:lnTo>
                  <a:lnTo>
                    <a:pt x="1296" y="132"/>
                  </a:lnTo>
                  <a:close/>
                  <a:moveTo>
                    <a:pt x="1258" y="84"/>
                  </a:moveTo>
                  <a:lnTo>
                    <a:pt x="1256" y="82"/>
                  </a:lnTo>
                  <a:lnTo>
                    <a:pt x="1256" y="78"/>
                  </a:lnTo>
                  <a:lnTo>
                    <a:pt x="1260" y="82"/>
                  </a:lnTo>
                  <a:lnTo>
                    <a:pt x="1264" y="84"/>
                  </a:lnTo>
                  <a:lnTo>
                    <a:pt x="1266" y="86"/>
                  </a:lnTo>
                  <a:lnTo>
                    <a:pt x="1268" y="88"/>
                  </a:lnTo>
                  <a:lnTo>
                    <a:pt x="1266" y="92"/>
                  </a:lnTo>
                  <a:lnTo>
                    <a:pt x="1266" y="94"/>
                  </a:lnTo>
                  <a:lnTo>
                    <a:pt x="1266" y="96"/>
                  </a:lnTo>
                  <a:lnTo>
                    <a:pt x="1264" y="94"/>
                  </a:lnTo>
                  <a:lnTo>
                    <a:pt x="1264" y="92"/>
                  </a:lnTo>
                  <a:lnTo>
                    <a:pt x="1262" y="90"/>
                  </a:lnTo>
                  <a:lnTo>
                    <a:pt x="1260" y="88"/>
                  </a:lnTo>
                  <a:lnTo>
                    <a:pt x="1258" y="86"/>
                  </a:lnTo>
                  <a:lnTo>
                    <a:pt x="1258" y="84"/>
                  </a:lnTo>
                  <a:close/>
                  <a:moveTo>
                    <a:pt x="1364" y="204"/>
                  </a:moveTo>
                  <a:lnTo>
                    <a:pt x="1362" y="204"/>
                  </a:lnTo>
                  <a:lnTo>
                    <a:pt x="1360" y="204"/>
                  </a:lnTo>
                  <a:lnTo>
                    <a:pt x="1360" y="202"/>
                  </a:lnTo>
                  <a:lnTo>
                    <a:pt x="1362" y="200"/>
                  </a:lnTo>
                  <a:lnTo>
                    <a:pt x="1362" y="198"/>
                  </a:lnTo>
                  <a:lnTo>
                    <a:pt x="1362" y="196"/>
                  </a:lnTo>
                  <a:lnTo>
                    <a:pt x="1364" y="196"/>
                  </a:lnTo>
                  <a:lnTo>
                    <a:pt x="1366" y="194"/>
                  </a:lnTo>
                  <a:lnTo>
                    <a:pt x="1368" y="194"/>
                  </a:lnTo>
                  <a:lnTo>
                    <a:pt x="1372" y="194"/>
                  </a:lnTo>
                  <a:lnTo>
                    <a:pt x="1374" y="196"/>
                  </a:lnTo>
                  <a:lnTo>
                    <a:pt x="1374" y="198"/>
                  </a:lnTo>
                  <a:lnTo>
                    <a:pt x="1372" y="198"/>
                  </a:lnTo>
                  <a:lnTo>
                    <a:pt x="1370" y="198"/>
                  </a:lnTo>
                  <a:lnTo>
                    <a:pt x="1370" y="200"/>
                  </a:lnTo>
                  <a:lnTo>
                    <a:pt x="1370" y="202"/>
                  </a:lnTo>
                  <a:lnTo>
                    <a:pt x="1368" y="202"/>
                  </a:lnTo>
                  <a:lnTo>
                    <a:pt x="1368" y="204"/>
                  </a:lnTo>
                  <a:lnTo>
                    <a:pt x="1366" y="204"/>
                  </a:lnTo>
                  <a:lnTo>
                    <a:pt x="1364" y="204"/>
                  </a:lnTo>
                  <a:close/>
                  <a:moveTo>
                    <a:pt x="1236" y="190"/>
                  </a:moveTo>
                  <a:lnTo>
                    <a:pt x="1234" y="190"/>
                  </a:lnTo>
                  <a:lnTo>
                    <a:pt x="1234" y="188"/>
                  </a:lnTo>
                  <a:lnTo>
                    <a:pt x="1236" y="186"/>
                  </a:lnTo>
                  <a:lnTo>
                    <a:pt x="1238" y="186"/>
                  </a:lnTo>
                  <a:lnTo>
                    <a:pt x="1238" y="188"/>
                  </a:lnTo>
                  <a:lnTo>
                    <a:pt x="1240" y="188"/>
                  </a:lnTo>
                  <a:lnTo>
                    <a:pt x="1240" y="190"/>
                  </a:lnTo>
                  <a:lnTo>
                    <a:pt x="1238" y="190"/>
                  </a:lnTo>
                  <a:lnTo>
                    <a:pt x="1236" y="190"/>
                  </a:lnTo>
                  <a:close/>
                  <a:moveTo>
                    <a:pt x="1234" y="200"/>
                  </a:moveTo>
                  <a:lnTo>
                    <a:pt x="1232" y="200"/>
                  </a:lnTo>
                  <a:lnTo>
                    <a:pt x="1232" y="198"/>
                  </a:lnTo>
                  <a:lnTo>
                    <a:pt x="1234" y="198"/>
                  </a:lnTo>
                  <a:lnTo>
                    <a:pt x="1234" y="196"/>
                  </a:lnTo>
                  <a:lnTo>
                    <a:pt x="1236" y="196"/>
                  </a:lnTo>
                  <a:lnTo>
                    <a:pt x="1238" y="194"/>
                  </a:lnTo>
                  <a:lnTo>
                    <a:pt x="1240" y="194"/>
                  </a:lnTo>
                  <a:lnTo>
                    <a:pt x="1242" y="194"/>
                  </a:lnTo>
                  <a:lnTo>
                    <a:pt x="1242" y="196"/>
                  </a:lnTo>
                  <a:lnTo>
                    <a:pt x="1242" y="198"/>
                  </a:lnTo>
                  <a:lnTo>
                    <a:pt x="1238" y="200"/>
                  </a:lnTo>
                  <a:lnTo>
                    <a:pt x="1236" y="200"/>
                  </a:lnTo>
                  <a:lnTo>
                    <a:pt x="1234" y="200"/>
                  </a:lnTo>
                  <a:close/>
                  <a:moveTo>
                    <a:pt x="1224" y="204"/>
                  </a:moveTo>
                  <a:lnTo>
                    <a:pt x="1226" y="202"/>
                  </a:lnTo>
                  <a:lnTo>
                    <a:pt x="1228" y="202"/>
                  </a:lnTo>
                  <a:lnTo>
                    <a:pt x="1232" y="204"/>
                  </a:lnTo>
                  <a:lnTo>
                    <a:pt x="1234" y="204"/>
                  </a:lnTo>
                  <a:lnTo>
                    <a:pt x="1238" y="204"/>
                  </a:lnTo>
                  <a:lnTo>
                    <a:pt x="1242" y="202"/>
                  </a:lnTo>
                  <a:lnTo>
                    <a:pt x="1246" y="202"/>
                  </a:lnTo>
                  <a:lnTo>
                    <a:pt x="1246" y="204"/>
                  </a:lnTo>
                  <a:lnTo>
                    <a:pt x="1248" y="204"/>
                  </a:lnTo>
                  <a:lnTo>
                    <a:pt x="1248" y="206"/>
                  </a:lnTo>
                  <a:lnTo>
                    <a:pt x="1248" y="208"/>
                  </a:lnTo>
                  <a:lnTo>
                    <a:pt x="1246" y="206"/>
                  </a:lnTo>
                  <a:lnTo>
                    <a:pt x="1244" y="206"/>
                  </a:lnTo>
                  <a:lnTo>
                    <a:pt x="1244" y="208"/>
                  </a:lnTo>
                  <a:lnTo>
                    <a:pt x="1246" y="210"/>
                  </a:lnTo>
                  <a:lnTo>
                    <a:pt x="1248" y="212"/>
                  </a:lnTo>
                  <a:lnTo>
                    <a:pt x="1248" y="214"/>
                  </a:lnTo>
                  <a:lnTo>
                    <a:pt x="1246" y="214"/>
                  </a:lnTo>
                  <a:lnTo>
                    <a:pt x="1244" y="214"/>
                  </a:lnTo>
                  <a:lnTo>
                    <a:pt x="1242" y="214"/>
                  </a:lnTo>
                  <a:lnTo>
                    <a:pt x="1242" y="216"/>
                  </a:lnTo>
                  <a:lnTo>
                    <a:pt x="1240" y="218"/>
                  </a:lnTo>
                  <a:lnTo>
                    <a:pt x="1238" y="218"/>
                  </a:lnTo>
                  <a:lnTo>
                    <a:pt x="1238" y="220"/>
                  </a:lnTo>
                  <a:lnTo>
                    <a:pt x="1236" y="220"/>
                  </a:lnTo>
                  <a:lnTo>
                    <a:pt x="1232" y="218"/>
                  </a:lnTo>
                  <a:lnTo>
                    <a:pt x="1230" y="218"/>
                  </a:lnTo>
                  <a:lnTo>
                    <a:pt x="1226" y="216"/>
                  </a:lnTo>
                  <a:lnTo>
                    <a:pt x="1222" y="216"/>
                  </a:lnTo>
                  <a:lnTo>
                    <a:pt x="1220" y="214"/>
                  </a:lnTo>
                  <a:lnTo>
                    <a:pt x="1220" y="212"/>
                  </a:lnTo>
                  <a:lnTo>
                    <a:pt x="1222" y="208"/>
                  </a:lnTo>
                  <a:lnTo>
                    <a:pt x="1222" y="206"/>
                  </a:lnTo>
                  <a:lnTo>
                    <a:pt x="1222" y="204"/>
                  </a:lnTo>
                  <a:lnTo>
                    <a:pt x="1224" y="204"/>
                  </a:lnTo>
                  <a:close/>
                  <a:moveTo>
                    <a:pt x="1020" y="218"/>
                  </a:moveTo>
                  <a:lnTo>
                    <a:pt x="1018" y="216"/>
                  </a:lnTo>
                  <a:lnTo>
                    <a:pt x="1018" y="214"/>
                  </a:lnTo>
                  <a:lnTo>
                    <a:pt x="1020" y="214"/>
                  </a:lnTo>
                  <a:lnTo>
                    <a:pt x="1020" y="212"/>
                  </a:lnTo>
                  <a:lnTo>
                    <a:pt x="1020" y="210"/>
                  </a:lnTo>
                  <a:lnTo>
                    <a:pt x="1022" y="208"/>
                  </a:lnTo>
                  <a:lnTo>
                    <a:pt x="1024" y="206"/>
                  </a:lnTo>
                  <a:lnTo>
                    <a:pt x="1026" y="206"/>
                  </a:lnTo>
                  <a:lnTo>
                    <a:pt x="1030" y="206"/>
                  </a:lnTo>
                  <a:lnTo>
                    <a:pt x="1032" y="206"/>
                  </a:lnTo>
                  <a:lnTo>
                    <a:pt x="1034" y="206"/>
                  </a:lnTo>
                  <a:lnTo>
                    <a:pt x="1036" y="208"/>
                  </a:lnTo>
                  <a:lnTo>
                    <a:pt x="1036" y="210"/>
                  </a:lnTo>
                  <a:lnTo>
                    <a:pt x="1038" y="210"/>
                  </a:lnTo>
                  <a:lnTo>
                    <a:pt x="1038" y="212"/>
                  </a:lnTo>
                  <a:lnTo>
                    <a:pt x="1036" y="214"/>
                  </a:lnTo>
                  <a:lnTo>
                    <a:pt x="1034" y="214"/>
                  </a:lnTo>
                  <a:lnTo>
                    <a:pt x="1030" y="216"/>
                  </a:lnTo>
                  <a:lnTo>
                    <a:pt x="1028" y="218"/>
                  </a:lnTo>
                  <a:lnTo>
                    <a:pt x="1026" y="218"/>
                  </a:lnTo>
                  <a:lnTo>
                    <a:pt x="1024" y="218"/>
                  </a:lnTo>
                  <a:lnTo>
                    <a:pt x="1022" y="218"/>
                  </a:lnTo>
                  <a:lnTo>
                    <a:pt x="1020" y="218"/>
                  </a:lnTo>
                  <a:close/>
                  <a:moveTo>
                    <a:pt x="814" y="104"/>
                  </a:moveTo>
                  <a:lnTo>
                    <a:pt x="812" y="104"/>
                  </a:lnTo>
                  <a:lnTo>
                    <a:pt x="812" y="102"/>
                  </a:lnTo>
                  <a:lnTo>
                    <a:pt x="814" y="100"/>
                  </a:lnTo>
                  <a:lnTo>
                    <a:pt x="816" y="98"/>
                  </a:lnTo>
                  <a:lnTo>
                    <a:pt x="818" y="96"/>
                  </a:lnTo>
                  <a:lnTo>
                    <a:pt x="820" y="96"/>
                  </a:lnTo>
                  <a:lnTo>
                    <a:pt x="824" y="98"/>
                  </a:lnTo>
                  <a:lnTo>
                    <a:pt x="828" y="98"/>
                  </a:lnTo>
                  <a:lnTo>
                    <a:pt x="830" y="100"/>
                  </a:lnTo>
                  <a:lnTo>
                    <a:pt x="832" y="102"/>
                  </a:lnTo>
                  <a:lnTo>
                    <a:pt x="834" y="102"/>
                  </a:lnTo>
                  <a:lnTo>
                    <a:pt x="834" y="100"/>
                  </a:lnTo>
                  <a:lnTo>
                    <a:pt x="836" y="98"/>
                  </a:lnTo>
                  <a:lnTo>
                    <a:pt x="838" y="98"/>
                  </a:lnTo>
                  <a:lnTo>
                    <a:pt x="842" y="98"/>
                  </a:lnTo>
                  <a:lnTo>
                    <a:pt x="844" y="98"/>
                  </a:lnTo>
                  <a:lnTo>
                    <a:pt x="848" y="100"/>
                  </a:lnTo>
                  <a:lnTo>
                    <a:pt x="850" y="102"/>
                  </a:lnTo>
                  <a:lnTo>
                    <a:pt x="852" y="104"/>
                  </a:lnTo>
                  <a:lnTo>
                    <a:pt x="854" y="104"/>
                  </a:lnTo>
                  <a:lnTo>
                    <a:pt x="854" y="106"/>
                  </a:lnTo>
                  <a:lnTo>
                    <a:pt x="858" y="106"/>
                  </a:lnTo>
                  <a:lnTo>
                    <a:pt x="860" y="106"/>
                  </a:lnTo>
                  <a:lnTo>
                    <a:pt x="862" y="106"/>
                  </a:lnTo>
                  <a:lnTo>
                    <a:pt x="864" y="108"/>
                  </a:lnTo>
                  <a:lnTo>
                    <a:pt x="866" y="108"/>
                  </a:lnTo>
                  <a:lnTo>
                    <a:pt x="866" y="110"/>
                  </a:lnTo>
                  <a:lnTo>
                    <a:pt x="868" y="112"/>
                  </a:lnTo>
                  <a:lnTo>
                    <a:pt x="868" y="114"/>
                  </a:lnTo>
                  <a:lnTo>
                    <a:pt x="868" y="118"/>
                  </a:lnTo>
                  <a:lnTo>
                    <a:pt x="868" y="120"/>
                  </a:lnTo>
                  <a:lnTo>
                    <a:pt x="866" y="122"/>
                  </a:lnTo>
                  <a:lnTo>
                    <a:pt x="864" y="124"/>
                  </a:lnTo>
                  <a:lnTo>
                    <a:pt x="864" y="126"/>
                  </a:lnTo>
                  <a:lnTo>
                    <a:pt x="862" y="126"/>
                  </a:lnTo>
                  <a:lnTo>
                    <a:pt x="860" y="128"/>
                  </a:lnTo>
                  <a:lnTo>
                    <a:pt x="856" y="128"/>
                  </a:lnTo>
                  <a:lnTo>
                    <a:pt x="854" y="130"/>
                  </a:lnTo>
                  <a:lnTo>
                    <a:pt x="852" y="130"/>
                  </a:lnTo>
                  <a:lnTo>
                    <a:pt x="850" y="130"/>
                  </a:lnTo>
                  <a:lnTo>
                    <a:pt x="848" y="130"/>
                  </a:lnTo>
                  <a:lnTo>
                    <a:pt x="846" y="128"/>
                  </a:lnTo>
                  <a:lnTo>
                    <a:pt x="844" y="128"/>
                  </a:lnTo>
                  <a:lnTo>
                    <a:pt x="842" y="130"/>
                  </a:lnTo>
                  <a:lnTo>
                    <a:pt x="840" y="130"/>
                  </a:lnTo>
                  <a:lnTo>
                    <a:pt x="838" y="132"/>
                  </a:lnTo>
                  <a:lnTo>
                    <a:pt x="838" y="134"/>
                  </a:lnTo>
                  <a:lnTo>
                    <a:pt x="838" y="136"/>
                  </a:lnTo>
                  <a:lnTo>
                    <a:pt x="838" y="140"/>
                  </a:lnTo>
                  <a:lnTo>
                    <a:pt x="838" y="142"/>
                  </a:lnTo>
                  <a:lnTo>
                    <a:pt x="836" y="142"/>
                  </a:lnTo>
                  <a:lnTo>
                    <a:pt x="836" y="144"/>
                  </a:lnTo>
                  <a:lnTo>
                    <a:pt x="834" y="144"/>
                  </a:lnTo>
                  <a:lnTo>
                    <a:pt x="832" y="144"/>
                  </a:lnTo>
                  <a:lnTo>
                    <a:pt x="832" y="142"/>
                  </a:lnTo>
                  <a:lnTo>
                    <a:pt x="830" y="138"/>
                  </a:lnTo>
                  <a:lnTo>
                    <a:pt x="830" y="134"/>
                  </a:lnTo>
                  <a:lnTo>
                    <a:pt x="830" y="130"/>
                  </a:lnTo>
                  <a:lnTo>
                    <a:pt x="830" y="128"/>
                  </a:lnTo>
                  <a:lnTo>
                    <a:pt x="828" y="124"/>
                  </a:lnTo>
                  <a:lnTo>
                    <a:pt x="826" y="124"/>
                  </a:lnTo>
                  <a:lnTo>
                    <a:pt x="826" y="122"/>
                  </a:lnTo>
                  <a:lnTo>
                    <a:pt x="826" y="120"/>
                  </a:lnTo>
                  <a:lnTo>
                    <a:pt x="828" y="116"/>
                  </a:lnTo>
                  <a:lnTo>
                    <a:pt x="828" y="114"/>
                  </a:lnTo>
                  <a:lnTo>
                    <a:pt x="828" y="112"/>
                  </a:lnTo>
                  <a:lnTo>
                    <a:pt x="828" y="110"/>
                  </a:lnTo>
                  <a:lnTo>
                    <a:pt x="824" y="108"/>
                  </a:lnTo>
                  <a:lnTo>
                    <a:pt x="820" y="106"/>
                  </a:lnTo>
                  <a:lnTo>
                    <a:pt x="818" y="106"/>
                  </a:lnTo>
                  <a:lnTo>
                    <a:pt x="816" y="106"/>
                  </a:lnTo>
                  <a:lnTo>
                    <a:pt x="814" y="104"/>
                  </a:lnTo>
                  <a:close/>
                  <a:moveTo>
                    <a:pt x="766" y="98"/>
                  </a:moveTo>
                  <a:lnTo>
                    <a:pt x="770" y="98"/>
                  </a:lnTo>
                  <a:lnTo>
                    <a:pt x="774" y="98"/>
                  </a:lnTo>
                  <a:lnTo>
                    <a:pt x="776" y="98"/>
                  </a:lnTo>
                  <a:lnTo>
                    <a:pt x="778" y="100"/>
                  </a:lnTo>
                  <a:lnTo>
                    <a:pt x="780" y="102"/>
                  </a:lnTo>
                  <a:lnTo>
                    <a:pt x="782" y="104"/>
                  </a:lnTo>
                  <a:lnTo>
                    <a:pt x="784" y="104"/>
                  </a:lnTo>
                  <a:lnTo>
                    <a:pt x="786" y="102"/>
                  </a:lnTo>
                  <a:lnTo>
                    <a:pt x="786" y="100"/>
                  </a:lnTo>
                  <a:lnTo>
                    <a:pt x="784" y="98"/>
                  </a:lnTo>
                  <a:lnTo>
                    <a:pt x="780" y="96"/>
                  </a:lnTo>
                  <a:lnTo>
                    <a:pt x="780" y="94"/>
                  </a:lnTo>
                  <a:lnTo>
                    <a:pt x="780" y="92"/>
                  </a:lnTo>
                  <a:lnTo>
                    <a:pt x="782" y="90"/>
                  </a:lnTo>
                  <a:lnTo>
                    <a:pt x="784" y="90"/>
                  </a:lnTo>
                  <a:lnTo>
                    <a:pt x="786" y="88"/>
                  </a:lnTo>
                  <a:lnTo>
                    <a:pt x="788" y="88"/>
                  </a:lnTo>
                  <a:lnTo>
                    <a:pt x="792" y="88"/>
                  </a:lnTo>
                  <a:lnTo>
                    <a:pt x="794" y="88"/>
                  </a:lnTo>
                  <a:lnTo>
                    <a:pt x="796" y="88"/>
                  </a:lnTo>
                  <a:lnTo>
                    <a:pt x="800" y="90"/>
                  </a:lnTo>
                  <a:lnTo>
                    <a:pt x="800" y="92"/>
                  </a:lnTo>
                  <a:lnTo>
                    <a:pt x="800" y="94"/>
                  </a:lnTo>
                  <a:lnTo>
                    <a:pt x="800" y="96"/>
                  </a:lnTo>
                  <a:lnTo>
                    <a:pt x="800" y="98"/>
                  </a:lnTo>
                  <a:lnTo>
                    <a:pt x="800" y="100"/>
                  </a:lnTo>
                  <a:lnTo>
                    <a:pt x="802" y="102"/>
                  </a:lnTo>
                  <a:lnTo>
                    <a:pt x="802" y="104"/>
                  </a:lnTo>
                  <a:lnTo>
                    <a:pt x="804" y="106"/>
                  </a:lnTo>
                  <a:lnTo>
                    <a:pt x="804" y="108"/>
                  </a:lnTo>
                  <a:lnTo>
                    <a:pt x="804" y="110"/>
                  </a:lnTo>
                  <a:lnTo>
                    <a:pt x="802" y="112"/>
                  </a:lnTo>
                  <a:lnTo>
                    <a:pt x="800" y="114"/>
                  </a:lnTo>
                  <a:lnTo>
                    <a:pt x="800" y="116"/>
                  </a:lnTo>
                  <a:lnTo>
                    <a:pt x="802" y="118"/>
                  </a:lnTo>
                  <a:lnTo>
                    <a:pt x="802" y="120"/>
                  </a:lnTo>
                  <a:lnTo>
                    <a:pt x="804" y="120"/>
                  </a:lnTo>
                  <a:lnTo>
                    <a:pt x="804" y="122"/>
                  </a:lnTo>
                  <a:lnTo>
                    <a:pt x="804" y="124"/>
                  </a:lnTo>
                  <a:lnTo>
                    <a:pt x="804" y="126"/>
                  </a:lnTo>
                  <a:lnTo>
                    <a:pt x="804" y="128"/>
                  </a:lnTo>
                  <a:lnTo>
                    <a:pt x="802" y="128"/>
                  </a:lnTo>
                  <a:lnTo>
                    <a:pt x="800" y="128"/>
                  </a:lnTo>
                  <a:lnTo>
                    <a:pt x="798" y="128"/>
                  </a:lnTo>
                  <a:lnTo>
                    <a:pt x="794" y="128"/>
                  </a:lnTo>
                  <a:lnTo>
                    <a:pt x="790" y="128"/>
                  </a:lnTo>
                  <a:lnTo>
                    <a:pt x="788" y="128"/>
                  </a:lnTo>
                  <a:lnTo>
                    <a:pt x="786" y="130"/>
                  </a:lnTo>
                  <a:lnTo>
                    <a:pt x="784" y="130"/>
                  </a:lnTo>
                  <a:lnTo>
                    <a:pt x="780" y="130"/>
                  </a:lnTo>
                  <a:lnTo>
                    <a:pt x="778" y="130"/>
                  </a:lnTo>
                  <a:lnTo>
                    <a:pt x="776" y="128"/>
                  </a:lnTo>
                  <a:lnTo>
                    <a:pt x="776" y="126"/>
                  </a:lnTo>
                  <a:lnTo>
                    <a:pt x="774" y="126"/>
                  </a:lnTo>
                  <a:lnTo>
                    <a:pt x="772" y="126"/>
                  </a:lnTo>
                  <a:lnTo>
                    <a:pt x="768" y="126"/>
                  </a:lnTo>
                  <a:lnTo>
                    <a:pt x="766" y="126"/>
                  </a:lnTo>
                  <a:lnTo>
                    <a:pt x="764" y="126"/>
                  </a:lnTo>
                  <a:lnTo>
                    <a:pt x="762" y="124"/>
                  </a:lnTo>
                  <a:lnTo>
                    <a:pt x="760" y="124"/>
                  </a:lnTo>
                  <a:lnTo>
                    <a:pt x="758" y="122"/>
                  </a:lnTo>
                  <a:lnTo>
                    <a:pt x="756" y="122"/>
                  </a:lnTo>
                  <a:lnTo>
                    <a:pt x="756" y="124"/>
                  </a:lnTo>
                  <a:lnTo>
                    <a:pt x="754" y="128"/>
                  </a:lnTo>
                  <a:lnTo>
                    <a:pt x="754" y="130"/>
                  </a:lnTo>
                  <a:lnTo>
                    <a:pt x="752" y="130"/>
                  </a:lnTo>
                  <a:lnTo>
                    <a:pt x="750" y="130"/>
                  </a:lnTo>
                  <a:lnTo>
                    <a:pt x="746" y="130"/>
                  </a:lnTo>
                  <a:lnTo>
                    <a:pt x="744" y="130"/>
                  </a:lnTo>
                  <a:lnTo>
                    <a:pt x="742" y="128"/>
                  </a:lnTo>
                  <a:lnTo>
                    <a:pt x="740" y="128"/>
                  </a:lnTo>
                  <a:lnTo>
                    <a:pt x="740" y="126"/>
                  </a:lnTo>
                  <a:lnTo>
                    <a:pt x="738" y="128"/>
                  </a:lnTo>
                  <a:lnTo>
                    <a:pt x="736" y="130"/>
                  </a:lnTo>
                  <a:lnTo>
                    <a:pt x="734" y="132"/>
                  </a:lnTo>
                  <a:lnTo>
                    <a:pt x="732" y="130"/>
                  </a:lnTo>
                  <a:lnTo>
                    <a:pt x="732" y="128"/>
                  </a:lnTo>
                  <a:lnTo>
                    <a:pt x="732" y="126"/>
                  </a:lnTo>
                  <a:lnTo>
                    <a:pt x="732" y="124"/>
                  </a:lnTo>
                  <a:lnTo>
                    <a:pt x="736" y="122"/>
                  </a:lnTo>
                  <a:lnTo>
                    <a:pt x="738" y="120"/>
                  </a:lnTo>
                  <a:lnTo>
                    <a:pt x="740" y="120"/>
                  </a:lnTo>
                  <a:lnTo>
                    <a:pt x="742" y="120"/>
                  </a:lnTo>
                  <a:lnTo>
                    <a:pt x="744" y="120"/>
                  </a:lnTo>
                  <a:lnTo>
                    <a:pt x="744" y="118"/>
                  </a:lnTo>
                  <a:lnTo>
                    <a:pt x="746" y="118"/>
                  </a:lnTo>
                  <a:lnTo>
                    <a:pt x="744" y="116"/>
                  </a:lnTo>
                  <a:lnTo>
                    <a:pt x="744" y="114"/>
                  </a:lnTo>
                  <a:lnTo>
                    <a:pt x="744" y="112"/>
                  </a:lnTo>
                  <a:lnTo>
                    <a:pt x="746" y="110"/>
                  </a:lnTo>
                  <a:lnTo>
                    <a:pt x="746" y="108"/>
                  </a:lnTo>
                  <a:lnTo>
                    <a:pt x="750" y="106"/>
                  </a:lnTo>
                  <a:lnTo>
                    <a:pt x="754" y="104"/>
                  </a:lnTo>
                  <a:lnTo>
                    <a:pt x="756" y="104"/>
                  </a:lnTo>
                  <a:lnTo>
                    <a:pt x="758" y="104"/>
                  </a:lnTo>
                  <a:lnTo>
                    <a:pt x="760" y="102"/>
                  </a:lnTo>
                  <a:lnTo>
                    <a:pt x="760" y="100"/>
                  </a:lnTo>
                  <a:lnTo>
                    <a:pt x="762" y="100"/>
                  </a:lnTo>
                  <a:lnTo>
                    <a:pt x="762" y="98"/>
                  </a:lnTo>
                  <a:lnTo>
                    <a:pt x="764" y="98"/>
                  </a:lnTo>
                  <a:lnTo>
                    <a:pt x="766" y="98"/>
                  </a:lnTo>
                  <a:close/>
                  <a:moveTo>
                    <a:pt x="708" y="112"/>
                  </a:moveTo>
                  <a:lnTo>
                    <a:pt x="706" y="110"/>
                  </a:lnTo>
                  <a:lnTo>
                    <a:pt x="706" y="108"/>
                  </a:lnTo>
                  <a:lnTo>
                    <a:pt x="708" y="106"/>
                  </a:lnTo>
                  <a:lnTo>
                    <a:pt x="710" y="106"/>
                  </a:lnTo>
                  <a:lnTo>
                    <a:pt x="712" y="104"/>
                  </a:lnTo>
                  <a:lnTo>
                    <a:pt x="712" y="102"/>
                  </a:lnTo>
                  <a:lnTo>
                    <a:pt x="712" y="100"/>
                  </a:lnTo>
                  <a:lnTo>
                    <a:pt x="712" y="98"/>
                  </a:lnTo>
                  <a:lnTo>
                    <a:pt x="714" y="96"/>
                  </a:lnTo>
                  <a:lnTo>
                    <a:pt x="716" y="96"/>
                  </a:lnTo>
                  <a:lnTo>
                    <a:pt x="720" y="94"/>
                  </a:lnTo>
                  <a:lnTo>
                    <a:pt x="724" y="94"/>
                  </a:lnTo>
                  <a:lnTo>
                    <a:pt x="728" y="94"/>
                  </a:lnTo>
                  <a:lnTo>
                    <a:pt x="730" y="94"/>
                  </a:lnTo>
                  <a:lnTo>
                    <a:pt x="730" y="92"/>
                  </a:lnTo>
                  <a:lnTo>
                    <a:pt x="732" y="92"/>
                  </a:lnTo>
                  <a:lnTo>
                    <a:pt x="730" y="90"/>
                  </a:lnTo>
                  <a:lnTo>
                    <a:pt x="730" y="88"/>
                  </a:lnTo>
                  <a:lnTo>
                    <a:pt x="730" y="86"/>
                  </a:lnTo>
                  <a:lnTo>
                    <a:pt x="730" y="84"/>
                  </a:lnTo>
                  <a:lnTo>
                    <a:pt x="732" y="82"/>
                  </a:lnTo>
                  <a:lnTo>
                    <a:pt x="734" y="82"/>
                  </a:lnTo>
                  <a:lnTo>
                    <a:pt x="736" y="82"/>
                  </a:lnTo>
                  <a:lnTo>
                    <a:pt x="740" y="82"/>
                  </a:lnTo>
                  <a:lnTo>
                    <a:pt x="742" y="82"/>
                  </a:lnTo>
                  <a:lnTo>
                    <a:pt x="746" y="82"/>
                  </a:lnTo>
                  <a:lnTo>
                    <a:pt x="750" y="84"/>
                  </a:lnTo>
                  <a:lnTo>
                    <a:pt x="754" y="84"/>
                  </a:lnTo>
                  <a:lnTo>
                    <a:pt x="756" y="84"/>
                  </a:lnTo>
                  <a:lnTo>
                    <a:pt x="762" y="84"/>
                  </a:lnTo>
                  <a:lnTo>
                    <a:pt x="764" y="84"/>
                  </a:lnTo>
                  <a:lnTo>
                    <a:pt x="766" y="86"/>
                  </a:lnTo>
                  <a:lnTo>
                    <a:pt x="766" y="88"/>
                  </a:lnTo>
                  <a:lnTo>
                    <a:pt x="764" y="90"/>
                  </a:lnTo>
                  <a:lnTo>
                    <a:pt x="764" y="92"/>
                  </a:lnTo>
                  <a:lnTo>
                    <a:pt x="760" y="94"/>
                  </a:lnTo>
                  <a:lnTo>
                    <a:pt x="758" y="96"/>
                  </a:lnTo>
                  <a:lnTo>
                    <a:pt x="756" y="96"/>
                  </a:lnTo>
                  <a:lnTo>
                    <a:pt x="754" y="98"/>
                  </a:lnTo>
                  <a:lnTo>
                    <a:pt x="748" y="102"/>
                  </a:lnTo>
                  <a:lnTo>
                    <a:pt x="738" y="106"/>
                  </a:lnTo>
                  <a:lnTo>
                    <a:pt x="734" y="108"/>
                  </a:lnTo>
                  <a:lnTo>
                    <a:pt x="732" y="108"/>
                  </a:lnTo>
                  <a:lnTo>
                    <a:pt x="732" y="110"/>
                  </a:lnTo>
                  <a:lnTo>
                    <a:pt x="728" y="112"/>
                  </a:lnTo>
                  <a:lnTo>
                    <a:pt x="726" y="114"/>
                  </a:lnTo>
                  <a:lnTo>
                    <a:pt x="726" y="112"/>
                  </a:lnTo>
                  <a:lnTo>
                    <a:pt x="724" y="112"/>
                  </a:lnTo>
                  <a:lnTo>
                    <a:pt x="724" y="110"/>
                  </a:lnTo>
                  <a:lnTo>
                    <a:pt x="722" y="110"/>
                  </a:lnTo>
                  <a:lnTo>
                    <a:pt x="718" y="112"/>
                  </a:lnTo>
                  <a:lnTo>
                    <a:pt x="716" y="112"/>
                  </a:lnTo>
                  <a:lnTo>
                    <a:pt x="712" y="112"/>
                  </a:lnTo>
                  <a:lnTo>
                    <a:pt x="710" y="112"/>
                  </a:lnTo>
                  <a:lnTo>
                    <a:pt x="708" y="112"/>
                  </a:lnTo>
                  <a:close/>
                  <a:moveTo>
                    <a:pt x="700" y="124"/>
                  </a:moveTo>
                  <a:lnTo>
                    <a:pt x="698" y="124"/>
                  </a:lnTo>
                  <a:lnTo>
                    <a:pt x="698" y="122"/>
                  </a:lnTo>
                  <a:lnTo>
                    <a:pt x="698" y="120"/>
                  </a:lnTo>
                  <a:lnTo>
                    <a:pt x="700" y="118"/>
                  </a:lnTo>
                  <a:lnTo>
                    <a:pt x="702" y="118"/>
                  </a:lnTo>
                  <a:lnTo>
                    <a:pt x="706" y="116"/>
                  </a:lnTo>
                  <a:lnTo>
                    <a:pt x="708" y="116"/>
                  </a:lnTo>
                  <a:lnTo>
                    <a:pt x="714" y="116"/>
                  </a:lnTo>
                  <a:lnTo>
                    <a:pt x="716" y="116"/>
                  </a:lnTo>
                  <a:lnTo>
                    <a:pt x="720" y="118"/>
                  </a:lnTo>
                  <a:lnTo>
                    <a:pt x="722" y="118"/>
                  </a:lnTo>
                  <a:lnTo>
                    <a:pt x="722" y="120"/>
                  </a:lnTo>
                  <a:lnTo>
                    <a:pt x="718" y="122"/>
                  </a:lnTo>
                  <a:lnTo>
                    <a:pt x="716" y="122"/>
                  </a:lnTo>
                  <a:lnTo>
                    <a:pt x="716" y="124"/>
                  </a:lnTo>
                  <a:lnTo>
                    <a:pt x="714" y="126"/>
                  </a:lnTo>
                  <a:lnTo>
                    <a:pt x="712" y="128"/>
                  </a:lnTo>
                  <a:lnTo>
                    <a:pt x="710" y="128"/>
                  </a:lnTo>
                  <a:lnTo>
                    <a:pt x="708" y="130"/>
                  </a:lnTo>
                  <a:lnTo>
                    <a:pt x="706" y="130"/>
                  </a:lnTo>
                  <a:lnTo>
                    <a:pt x="706" y="128"/>
                  </a:lnTo>
                  <a:lnTo>
                    <a:pt x="706" y="126"/>
                  </a:lnTo>
                  <a:lnTo>
                    <a:pt x="704" y="126"/>
                  </a:lnTo>
                  <a:lnTo>
                    <a:pt x="704" y="124"/>
                  </a:lnTo>
                  <a:lnTo>
                    <a:pt x="702" y="124"/>
                  </a:lnTo>
                  <a:lnTo>
                    <a:pt x="700" y="124"/>
                  </a:lnTo>
                  <a:close/>
                  <a:moveTo>
                    <a:pt x="804" y="192"/>
                  </a:moveTo>
                  <a:lnTo>
                    <a:pt x="806" y="188"/>
                  </a:lnTo>
                  <a:lnTo>
                    <a:pt x="808" y="186"/>
                  </a:lnTo>
                  <a:lnTo>
                    <a:pt x="810" y="184"/>
                  </a:lnTo>
                  <a:lnTo>
                    <a:pt x="810" y="182"/>
                  </a:lnTo>
                  <a:lnTo>
                    <a:pt x="812" y="180"/>
                  </a:lnTo>
                  <a:lnTo>
                    <a:pt x="814" y="178"/>
                  </a:lnTo>
                  <a:lnTo>
                    <a:pt x="814" y="176"/>
                  </a:lnTo>
                  <a:lnTo>
                    <a:pt x="818" y="176"/>
                  </a:lnTo>
                  <a:lnTo>
                    <a:pt x="820" y="176"/>
                  </a:lnTo>
                  <a:lnTo>
                    <a:pt x="824" y="178"/>
                  </a:lnTo>
                  <a:lnTo>
                    <a:pt x="824" y="180"/>
                  </a:lnTo>
                  <a:lnTo>
                    <a:pt x="820" y="184"/>
                  </a:lnTo>
                  <a:lnTo>
                    <a:pt x="818" y="188"/>
                  </a:lnTo>
                  <a:lnTo>
                    <a:pt x="818" y="190"/>
                  </a:lnTo>
                  <a:lnTo>
                    <a:pt x="816" y="190"/>
                  </a:lnTo>
                  <a:lnTo>
                    <a:pt x="814" y="192"/>
                  </a:lnTo>
                  <a:lnTo>
                    <a:pt x="812" y="192"/>
                  </a:lnTo>
                  <a:lnTo>
                    <a:pt x="810" y="194"/>
                  </a:lnTo>
                  <a:lnTo>
                    <a:pt x="808" y="194"/>
                  </a:lnTo>
                  <a:lnTo>
                    <a:pt x="806" y="194"/>
                  </a:lnTo>
                  <a:lnTo>
                    <a:pt x="804" y="194"/>
                  </a:lnTo>
                  <a:lnTo>
                    <a:pt x="804" y="192"/>
                  </a:lnTo>
                  <a:close/>
                  <a:moveTo>
                    <a:pt x="828" y="192"/>
                  </a:moveTo>
                  <a:lnTo>
                    <a:pt x="826" y="190"/>
                  </a:lnTo>
                  <a:lnTo>
                    <a:pt x="826" y="188"/>
                  </a:lnTo>
                  <a:lnTo>
                    <a:pt x="828" y="186"/>
                  </a:lnTo>
                  <a:lnTo>
                    <a:pt x="830" y="186"/>
                  </a:lnTo>
                  <a:lnTo>
                    <a:pt x="832" y="186"/>
                  </a:lnTo>
                  <a:lnTo>
                    <a:pt x="834" y="186"/>
                  </a:lnTo>
                  <a:lnTo>
                    <a:pt x="836" y="188"/>
                  </a:lnTo>
                  <a:lnTo>
                    <a:pt x="838" y="188"/>
                  </a:lnTo>
                  <a:lnTo>
                    <a:pt x="838" y="190"/>
                  </a:lnTo>
                  <a:lnTo>
                    <a:pt x="838" y="192"/>
                  </a:lnTo>
                  <a:lnTo>
                    <a:pt x="836" y="192"/>
                  </a:lnTo>
                  <a:lnTo>
                    <a:pt x="834" y="192"/>
                  </a:lnTo>
                  <a:lnTo>
                    <a:pt x="832" y="192"/>
                  </a:lnTo>
                  <a:lnTo>
                    <a:pt x="830" y="192"/>
                  </a:lnTo>
                  <a:lnTo>
                    <a:pt x="828" y="192"/>
                  </a:lnTo>
                  <a:close/>
                  <a:moveTo>
                    <a:pt x="826" y="198"/>
                  </a:moveTo>
                  <a:lnTo>
                    <a:pt x="828" y="198"/>
                  </a:lnTo>
                  <a:lnTo>
                    <a:pt x="828" y="200"/>
                  </a:lnTo>
                  <a:lnTo>
                    <a:pt x="828" y="202"/>
                  </a:lnTo>
                  <a:lnTo>
                    <a:pt x="826" y="202"/>
                  </a:lnTo>
                  <a:lnTo>
                    <a:pt x="824" y="204"/>
                  </a:lnTo>
                  <a:lnTo>
                    <a:pt x="818" y="204"/>
                  </a:lnTo>
                  <a:lnTo>
                    <a:pt x="816" y="204"/>
                  </a:lnTo>
                  <a:lnTo>
                    <a:pt x="814" y="206"/>
                  </a:lnTo>
                  <a:lnTo>
                    <a:pt x="812" y="206"/>
                  </a:lnTo>
                  <a:lnTo>
                    <a:pt x="810" y="206"/>
                  </a:lnTo>
                  <a:lnTo>
                    <a:pt x="810" y="204"/>
                  </a:lnTo>
                  <a:lnTo>
                    <a:pt x="812" y="204"/>
                  </a:lnTo>
                  <a:lnTo>
                    <a:pt x="812" y="202"/>
                  </a:lnTo>
                  <a:lnTo>
                    <a:pt x="814" y="202"/>
                  </a:lnTo>
                  <a:lnTo>
                    <a:pt x="816" y="200"/>
                  </a:lnTo>
                  <a:lnTo>
                    <a:pt x="824" y="200"/>
                  </a:lnTo>
                  <a:lnTo>
                    <a:pt x="826" y="198"/>
                  </a:lnTo>
                  <a:close/>
                  <a:moveTo>
                    <a:pt x="790" y="204"/>
                  </a:moveTo>
                  <a:lnTo>
                    <a:pt x="792" y="204"/>
                  </a:lnTo>
                  <a:lnTo>
                    <a:pt x="794" y="206"/>
                  </a:lnTo>
                  <a:lnTo>
                    <a:pt x="792" y="208"/>
                  </a:lnTo>
                  <a:lnTo>
                    <a:pt x="790" y="208"/>
                  </a:lnTo>
                  <a:lnTo>
                    <a:pt x="788" y="210"/>
                  </a:lnTo>
                  <a:lnTo>
                    <a:pt x="786" y="208"/>
                  </a:lnTo>
                  <a:lnTo>
                    <a:pt x="786" y="206"/>
                  </a:lnTo>
                  <a:lnTo>
                    <a:pt x="788" y="204"/>
                  </a:lnTo>
                  <a:lnTo>
                    <a:pt x="790" y="204"/>
                  </a:lnTo>
                  <a:close/>
                  <a:moveTo>
                    <a:pt x="800" y="206"/>
                  </a:moveTo>
                  <a:lnTo>
                    <a:pt x="802" y="206"/>
                  </a:lnTo>
                  <a:lnTo>
                    <a:pt x="802" y="208"/>
                  </a:lnTo>
                  <a:lnTo>
                    <a:pt x="802" y="210"/>
                  </a:lnTo>
                  <a:lnTo>
                    <a:pt x="800" y="210"/>
                  </a:lnTo>
                  <a:lnTo>
                    <a:pt x="798" y="212"/>
                  </a:lnTo>
                  <a:lnTo>
                    <a:pt x="796" y="210"/>
                  </a:lnTo>
                  <a:lnTo>
                    <a:pt x="796" y="208"/>
                  </a:lnTo>
                  <a:lnTo>
                    <a:pt x="798" y="206"/>
                  </a:lnTo>
                  <a:lnTo>
                    <a:pt x="800" y="206"/>
                  </a:lnTo>
                  <a:close/>
                  <a:moveTo>
                    <a:pt x="710" y="286"/>
                  </a:moveTo>
                  <a:lnTo>
                    <a:pt x="710" y="284"/>
                  </a:lnTo>
                  <a:lnTo>
                    <a:pt x="708" y="284"/>
                  </a:lnTo>
                  <a:lnTo>
                    <a:pt x="708" y="282"/>
                  </a:lnTo>
                  <a:lnTo>
                    <a:pt x="710" y="280"/>
                  </a:lnTo>
                  <a:lnTo>
                    <a:pt x="712" y="280"/>
                  </a:lnTo>
                  <a:lnTo>
                    <a:pt x="714" y="280"/>
                  </a:lnTo>
                  <a:lnTo>
                    <a:pt x="716" y="282"/>
                  </a:lnTo>
                  <a:lnTo>
                    <a:pt x="716" y="284"/>
                  </a:lnTo>
                  <a:lnTo>
                    <a:pt x="714" y="284"/>
                  </a:lnTo>
                  <a:lnTo>
                    <a:pt x="712" y="286"/>
                  </a:lnTo>
                  <a:lnTo>
                    <a:pt x="710" y="286"/>
                  </a:lnTo>
                  <a:close/>
                  <a:moveTo>
                    <a:pt x="712" y="296"/>
                  </a:moveTo>
                  <a:lnTo>
                    <a:pt x="710" y="294"/>
                  </a:lnTo>
                  <a:lnTo>
                    <a:pt x="714" y="290"/>
                  </a:lnTo>
                  <a:lnTo>
                    <a:pt x="716" y="290"/>
                  </a:lnTo>
                  <a:lnTo>
                    <a:pt x="718" y="292"/>
                  </a:lnTo>
                  <a:lnTo>
                    <a:pt x="720" y="292"/>
                  </a:lnTo>
                  <a:lnTo>
                    <a:pt x="722" y="294"/>
                  </a:lnTo>
                  <a:lnTo>
                    <a:pt x="722" y="296"/>
                  </a:lnTo>
                  <a:lnTo>
                    <a:pt x="720" y="296"/>
                  </a:lnTo>
                  <a:lnTo>
                    <a:pt x="716" y="296"/>
                  </a:lnTo>
                  <a:lnTo>
                    <a:pt x="714" y="296"/>
                  </a:lnTo>
                  <a:lnTo>
                    <a:pt x="712" y="296"/>
                  </a:lnTo>
                  <a:close/>
                  <a:moveTo>
                    <a:pt x="670" y="288"/>
                  </a:moveTo>
                  <a:lnTo>
                    <a:pt x="668" y="286"/>
                  </a:lnTo>
                  <a:lnTo>
                    <a:pt x="668" y="284"/>
                  </a:lnTo>
                  <a:lnTo>
                    <a:pt x="670" y="284"/>
                  </a:lnTo>
                  <a:lnTo>
                    <a:pt x="672" y="284"/>
                  </a:lnTo>
                  <a:lnTo>
                    <a:pt x="674" y="284"/>
                  </a:lnTo>
                  <a:lnTo>
                    <a:pt x="676" y="286"/>
                  </a:lnTo>
                  <a:lnTo>
                    <a:pt x="678" y="288"/>
                  </a:lnTo>
                  <a:lnTo>
                    <a:pt x="678" y="292"/>
                  </a:lnTo>
                  <a:lnTo>
                    <a:pt x="672" y="290"/>
                  </a:lnTo>
                  <a:lnTo>
                    <a:pt x="670" y="288"/>
                  </a:lnTo>
                  <a:close/>
                  <a:moveTo>
                    <a:pt x="660" y="294"/>
                  </a:moveTo>
                  <a:lnTo>
                    <a:pt x="658" y="294"/>
                  </a:lnTo>
                  <a:lnTo>
                    <a:pt x="658" y="292"/>
                  </a:lnTo>
                  <a:lnTo>
                    <a:pt x="658" y="290"/>
                  </a:lnTo>
                  <a:lnTo>
                    <a:pt x="658" y="288"/>
                  </a:lnTo>
                  <a:lnTo>
                    <a:pt x="660" y="288"/>
                  </a:lnTo>
                  <a:lnTo>
                    <a:pt x="662" y="290"/>
                  </a:lnTo>
                  <a:lnTo>
                    <a:pt x="662" y="292"/>
                  </a:lnTo>
                  <a:lnTo>
                    <a:pt x="662" y="294"/>
                  </a:lnTo>
                  <a:lnTo>
                    <a:pt x="660" y="294"/>
                  </a:lnTo>
                  <a:close/>
                  <a:moveTo>
                    <a:pt x="662" y="310"/>
                  </a:moveTo>
                  <a:lnTo>
                    <a:pt x="664" y="310"/>
                  </a:lnTo>
                  <a:lnTo>
                    <a:pt x="664" y="308"/>
                  </a:lnTo>
                  <a:lnTo>
                    <a:pt x="664" y="306"/>
                  </a:lnTo>
                  <a:lnTo>
                    <a:pt x="664" y="304"/>
                  </a:lnTo>
                  <a:lnTo>
                    <a:pt x="666" y="302"/>
                  </a:lnTo>
                  <a:lnTo>
                    <a:pt x="668" y="302"/>
                  </a:lnTo>
                  <a:lnTo>
                    <a:pt x="670" y="302"/>
                  </a:lnTo>
                  <a:lnTo>
                    <a:pt x="672" y="304"/>
                  </a:lnTo>
                  <a:lnTo>
                    <a:pt x="672" y="306"/>
                  </a:lnTo>
                  <a:lnTo>
                    <a:pt x="674" y="310"/>
                  </a:lnTo>
                  <a:lnTo>
                    <a:pt x="674" y="312"/>
                  </a:lnTo>
                  <a:lnTo>
                    <a:pt x="674" y="314"/>
                  </a:lnTo>
                  <a:lnTo>
                    <a:pt x="674" y="316"/>
                  </a:lnTo>
                  <a:lnTo>
                    <a:pt x="674" y="318"/>
                  </a:lnTo>
                  <a:lnTo>
                    <a:pt x="672" y="318"/>
                  </a:lnTo>
                  <a:lnTo>
                    <a:pt x="670" y="316"/>
                  </a:lnTo>
                  <a:lnTo>
                    <a:pt x="668" y="316"/>
                  </a:lnTo>
                  <a:lnTo>
                    <a:pt x="668" y="314"/>
                  </a:lnTo>
                  <a:lnTo>
                    <a:pt x="664" y="314"/>
                  </a:lnTo>
                  <a:lnTo>
                    <a:pt x="662" y="314"/>
                  </a:lnTo>
                  <a:lnTo>
                    <a:pt x="662" y="312"/>
                  </a:lnTo>
                  <a:lnTo>
                    <a:pt x="662" y="310"/>
                  </a:lnTo>
                  <a:close/>
                  <a:moveTo>
                    <a:pt x="652" y="356"/>
                  </a:moveTo>
                  <a:lnTo>
                    <a:pt x="650" y="354"/>
                  </a:lnTo>
                  <a:lnTo>
                    <a:pt x="650" y="352"/>
                  </a:lnTo>
                  <a:lnTo>
                    <a:pt x="650" y="350"/>
                  </a:lnTo>
                  <a:lnTo>
                    <a:pt x="652" y="348"/>
                  </a:lnTo>
                  <a:lnTo>
                    <a:pt x="654" y="348"/>
                  </a:lnTo>
                  <a:lnTo>
                    <a:pt x="656" y="348"/>
                  </a:lnTo>
                  <a:lnTo>
                    <a:pt x="660" y="350"/>
                  </a:lnTo>
                  <a:lnTo>
                    <a:pt x="662" y="352"/>
                  </a:lnTo>
                  <a:lnTo>
                    <a:pt x="664" y="354"/>
                  </a:lnTo>
                  <a:lnTo>
                    <a:pt x="662" y="356"/>
                  </a:lnTo>
                  <a:lnTo>
                    <a:pt x="662" y="358"/>
                  </a:lnTo>
                  <a:lnTo>
                    <a:pt x="660" y="358"/>
                  </a:lnTo>
                  <a:lnTo>
                    <a:pt x="658" y="358"/>
                  </a:lnTo>
                  <a:lnTo>
                    <a:pt x="656" y="360"/>
                  </a:lnTo>
                  <a:lnTo>
                    <a:pt x="654" y="358"/>
                  </a:lnTo>
                  <a:lnTo>
                    <a:pt x="652" y="356"/>
                  </a:lnTo>
                  <a:close/>
                  <a:moveTo>
                    <a:pt x="614" y="352"/>
                  </a:moveTo>
                  <a:lnTo>
                    <a:pt x="612" y="352"/>
                  </a:lnTo>
                  <a:lnTo>
                    <a:pt x="614" y="350"/>
                  </a:lnTo>
                  <a:lnTo>
                    <a:pt x="614" y="348"/>
                  </a:lnTo>
                  <a:lnTo>
                    <a:pt x="618" y="346"/>
                  </a:lnTo>
                  <a:lnTo>
                    <a:pt x="620" y="346"/>
                  </a:lnTo>
                  <a:lnTo>
                    <a:pt x="622" y="346"/>
                  </a:lnTo>
                  <a:lnTo>
                    <a:pt x="624" y="346"/>
                  </a:lnTo>
                  <a:lnTo>
                    <a:pt x="626" y="348"/>
                  </a:lnTo>
                  <a:lnTo>
                    <a:pt x="626" y="350"/>
                  </a:lnTo>
                  <a:lnTo>
                    <a:pt x="624" y="350"/>
                  </a:lnTo>
                  <a:lnTo>
                    <a:pt x="624" y="352"/>
                  </a:lnTo>
                  <a:lnTo>
                    <a:pt x="622" y="352"/>
                  </a:lnTo>
                  <a:lnTo>
                    <a:pt x="620" y="352"/>
                  </a:lnTo>
                  <a:lnTo>
                    <a:pt x="616" y="352"/>
                  </a:lnTo>
                  <a:lnTo>
                    <a:pt x="614" y="352"/>
                  </a:lnTo>
                  <a:close/>
                  <a:moveTo>
                    <a:pt x="596" y="366"/>
                  </a:moveTo>
                  <a:lnTo>
                    <a:pt x="594" y="366"/>
                  </a:lnTo>
                  <a:lnTo>
                    <a:pt x="594" y="364"/>
                  </a:lnTo>
                  <a:lnTo>
                    <a:pt x="596" y="362"/>
                  </a:lnTo>
                  <a:lnTo>
                    <a:pt x="598" y="362"/>
                  </a:lnTo>
                  <a:lnTo>
                    <a:pt x="600" y="362"/>
                  </a:lnTo>
                  <a:lnTo>
                    <a:pt x="602" y="362"/>
                  </a:lnTo>
                  <a:lnTo>
                    <a:pt x="602" y="364"/>
                  </a:lnTo>
                  <a:lnTo>
                    <a:pt x="604" y="364"/>
                  </a:lnTo>
                  <a:lnTo>
                    <a:pt x="604" y="366"/>
                  </a:lnTo>
                  <a:lnTo>
                    <a:pt x="602" y="368"/>
                  </a:lnTo>
                  <a:lnTo>
                    <a:pt x="600" y="370"/>
                  </a:lnTo>
                  <a:lnTo>
                    <a:pt x="598" y="370"/>
                  </a:lnTo>
                  <a:lnTo>
                    <a:pt x="598" y="368"/>
                  </a:lnTo>
                  <a:lnTo>
                    <a:pt x="596" y="368"/>
                  </a:lnTo>
                  <a:lnTo>
                    <a:pt x="596" y="366"/>
                  </a:lnTo>
                  <a:close/>
                  <a:moveTo>
                    <a:pt x="540" y="372"/>
                  </a:moveTo>
                  <a:lnTo>
                    <a:pt x="538" y="370"/>
                  </a:lnTo>
                  <a:lnTo>
                    <a:pt x="538" y="368"/>
                  </a:lnTo>
                  <a:lnTo>
                    <a:pt x="538" y="366"/>
                  </a:lnTo>
                  <a:lnTo>
                    <a:pt x="540" y="364"/>
                  </a:lnTo>
                  <a:lnTo>
                    <a:pt x="542" y="360"/>
                  </a:lnTo>
                  <a:lnTo>
                    <a:pt x="542" y="358"/>
                  </a:lnTo>
                  <a:lnTo>
                    <a:pt x="544" y="358"/>
                  </a:lnTo>
                  <a:lnTo>
                    <a:pt x="546" y="356"/>
                  </a:lnTo>
                  <a:lnTo>
                    <a:pt x="548" y="356"/>
                  </a:lnTo>
                  <a:lnTo>
                    <a:pt x="550" y="358"/>
                  </a:lnTo>
                  <a:lnTo>
                    <a:pt x="552" y="358"/>
                  </a:lnTo>
                  <a:lnTo>
                    <a:pt x="552" y="360"/>
                  </a:lnTo>
                  <a:lnTo>
                    <a:pt x="552" y="362"/>
                  </a:lnTo>
                  <a:lnTo>
                    <a:pt x="552" y="364"/>
                  </a:lnTo>
                  <a:lnTo>
                    <a:pt x="556" y="364"/>
                  </a:lnTo>
                  <a:lnTo>
                    <a:pt x="560" y="364"/>
                  </a:lnTo>
                  <a:lnTo>
                    <a:pt x="560" y="366"/>
                  </a:lnTo>
                  <a:lnTo>
                    <a:pt x="562" y="366"/>
                  </a:lnTo>
                  <a:lnTo>
                    <a:pt x="562" y="368"/>
                  </a:lnTo>
                  <a:lnTo>
                    <a:pt x="562" y="370"/>
                  </a:lnTo>
                  <a:lnTo>
                    <a:pt x="560" y="370"/>
                  </a:lnTo>
                  <a:lnTo>
                    <a:pt x="560" y="372"/>
                  </a:lnTo>
                  <a:lnTo>
                    <a:pt x="556" y="372"/>
                  </a:lnTo>
                  <a:lnTo>
                    <a:pt x="554" y="372"/>
                  </a:lnTo>
                  <a:lnTo>
                    <a:pt x="552" y="372"/>
                  </a:lnTo>
                  <a:lnTo>
                    <a:pt x="548" y="374"/>
                  </a:lnTo>
                  <a:lnTo>
                    <a:pt x="544" y="374"/>
                  </a:lnTo>
                  <a:lnTo>
                    <a:pt x="542" y="374"/>
                  </a:lnTo>
                  <a:lnTo>
                    <a:pt x="540" y="374"/>
                  </a:lnTo>
                  <a:lnTo>
                    <a:pt x="540" y="372"/>
                  </a:lnTo>
                  <a:close/>
                  <a:moveTo>
                    <a:pt x="722" y="410"/>
                  </a:moveTo>
                  <a:lnTo>
                    <a:pt x="722" y="412"/>
                  </a:lnTo>
                  <a:lnTo>
                    <a:pt x="724" y="414"/>
                  </a:lnTo>
                  <a:lnTo>
                    <a:pt x="724" y="416"/>
                  </a:lnTo>
                  <a:lnTo>
                    <a:pt x="724" y="418"/>
                  </a:lnTo>
                  <a:lnTo>
                    <a:pt x="724" y="420"/>
                  </a:lnTo>
                  <a:lnTo>
                    <a:pt x="722" y="420"/>
                  </a:lnTo>
                  <a:lnTo>
                    <a:pt x="722" y="418"/>
                  </a:lnTo>
                  <a:lnTo>
                    <a:pt x="720" y="414"/>
                  </a:lnTo>
                  <a:lnTo>
                    <a:pt x="718" y="412"/>
                  </a:lnTo>
                  <a:lnTo>
                    <a:pt x="718" y="410"/>
                  </a:lnTo>
                  <a:lnTo>
                    <a:pt x="718" y="408"/>
                  </a:lnTo>
                  <a:lnTo>
                    <a:pt x="720" y="408"/>
                  </a:lnTo>
                  <a:lnTo>
                    <a:pt x="722" y="410"/>
                  </a:lnTo>
                  <a:close/>
                  <a:moveTo>
                    <a:pt x="728" y="410"/>
                  </a:moveTo>
                  <a:lnTo>
                    <a:pt x="726" y="412"/>
                  </a:lnTo>
                  <a:lnTo>
                    <a:pt x="724" y="410"/>
                  </a:lnTo>
                  <a:lnTo>
                    <a:pt x="722" y="408"/>
                  </a:lnTo>
                  <a:lnTo>
                    <a:pt x="724" y="408"/>
                  </a:lnTo>
                  <a:lnTo>
                    <a:pt x="726" y="408"/>
                  </a:lnTo>
                  <a:lnTo>
                    <a:pt x="728" y="408"/>
                  </a:lnTo>
                  <a:lnTo>
                    <a:pt x="728" y="410"/>
                  </a:lnTo>
                  <a:close/>
                  <a:moveTo>
                    <a:pt x="356" y="392"/>
                  </a:moveTo>
                  <a:lnTo>
                    <a:pt x="358" y="390"/>
                  </a:lnTo>
                  <a:lnTo>
                    <a:pt x="358" y="388"/>
                  </a:lnTo>
                  <a:lnTo>
                    <a:pt x="358" y="386"/>
                  </a:lnTo>
                  <a:lnTo>
                    <a:pt x="358" y="384"/>
                  </a:lnTo>
                  <a:lnTo>
                    <a:pt x="360" y="382"/>
                  </a:lnTo>
                  <a:lnTo>
                    <a:pt x="362" y="382"/>
                  </a:lnTo>
                  <a:lnTo>
                    <a:pt x="364" y="380"/>
                  </a:lnTo>
                  <a:lnTo>
                    <a:pt x="364" y="378"/>
                  </a:lnTo>
                  <a:lnTo>
                    <a:pt x="364" y="376"/>
                  </a:lnTo>
                  <a:lnTo>
                    <a:pt x="366" y="376"/>
                  </a:lnTo>
                  <a:lnTo>
                    <a:pt x="368" y="374"/>
                  </a:lnTo>
                  <a:lnTo>
                    <a:pt x="368" y="372"/>
                  </a:lnTo>
                  <a:lnTo>
                    <a:pt x="370" y="372"/>
                  </a:lnTo>
                  <a:lnTo>
                    <a:pt x="370" y="370"/>
                  </a:lnTo>
                  <a:lnTo>
                    <a:pt x="370" y="368"/>
                  </a:lnTo>
                  <a:lnTo>
                    <a:pt x="372" y="366"/>
                  </a:lnTo>
                  <a:lnTo>
                    <a:pt x="374" y="366"/>
                  </a:lnTo>
                  <a:lnTo>
                    <a:pt x="374" y="364"/>
                  </a:lnTo>
                  <a:lnTo>
                    <a:pt x="372" y="362"/>
                  </a:lnTo>
                  <a:lnTo>
                    <a:pt x="368" y="362"/>
                  </a:lnTo>
                  <a:lnTo>
                    <a:pt x="368" y="360"/>
                  </a:lnTo>
                  <a:lnTo>
                    <a:pt x="366" y="360"/>
                  </a:lnTo>
                  <a:lnTo>
                    <a:pt x="366" y="358"/>
                  </a:lnTo>
                  <a:lnTo>
                    <a:pt x="364" y="358"/>
                  </a:lnTo>
                  <a:lnTo>
                    <a:pt x="364" y="356"/>
                  </a:lnTo>
                  <a:lnTo>
                    <a:pt x="364" y="354"/>
                  </a:lnTo>
                  <a:lnTo>
                    <a:pt x="364" y="352"/>
                  </a:lnTo>
                  <a:lnTo>
                    <a:pt x="366" y="350"/>
                  </a:lnTo>
                  <a:lnTo>
                    <a:pt x="368" y="348"/>
                  </a:lnTo>
                  <a:lnTo>
                    <a:pt x="370" y="348"/>
                  </a:lnTo>
                  <a:lnTo>
                    <a:pt x="372" y="348"/>
                  </a:lnTo>
                  <a:lnTo>
                    <a:pt x="374" y="350"/>
                  </a:lnTo>
                  <a:lnTo>
                    <a:pt x="376" y="350"/>
                  </a:lnTo>
                  <a:lnTo>
                    <a:pt x="378" y="350"/>
                  </a:lnTo>
                  <a:lnTo>
                    <a:pt x="380" y="348"/>
                  </a:lnTo>
                  <a:lnTo>
                    <a:pt x="380" y="346"/>
                  </a:lnTo>
                  <a:lnTo>
                    <a:pt x="380" y="344"/>
                  </a:lnTo>
                  <a:lnTo>
                    <a:pt x="380" y="342"/>
                  </a:lnTo>
                  <a:lnTo>
                    <a:pt x="380" y="338"/>
                  </a:lnTo>
                  <a:lnTo>
                    <a:pt x="382" y="336"/>
                  </a:lnTo>
                  <a:lnTo>
                    <a:pt x="386" y="334"/>
                  </a:lnTo>
                  <a:lnTo>
                    <a:pt x="388" y="332"/>
                  </a:lnTo>
                  <a:lnTo>
                    <a:pt x="392" y="330"/>
                  </a:lnTo>
                  <a:lnTo>
                    <a:pt x="394" y="330"/>
                  </a:lnTo>
                  <a:lnTo>
                    <a:pt x="398" y="328"/>
                  </a:lnTo>
                  <a:lnTo>
                    <a:pt x="400" y="326"/>
                  </a:lnTo>
                  <a:lnTo>
                    <a:pt x="400" y="322"/>
                  </a:lnTo>
                  <a:lnTo>
                    <a:pt x="402" y="320"/>
                  </a:lnTo>
                  <a:lnTo>
                    <a:pt x="402" y="318"/>
                  </a:lnTo>
                  <a:lnTo>
                    <a:pt x="404" y="316"/>
                  </a:lnTo>
                  <a:lnTo>
                    <a:pt x="408" y="316"/>
                  </a:lnTo>
                  <a:lnTo>
                    <a:pt x="410" y="314"/>
                  </a:lnTo>
                  <a:lnTo>
                    <a:pt x="414" y="312"/>
                  </a:lnTo>
                  <a:lnTo>
                    <a:pt x="416" y="312"/>
                  </a:lnTo>
                  <a:lnTo>
                    <a:pt x="418" y="312"/>
                  </a:lnTo>
                  <a:lnTo>
                    <a:pt x="418" y="310"/>
                  </a:lnTo>
                  <a:lnTo>
                    <a:pt x="422" y="308"/>
                  </a:lnTo>
                  <a:lnTo>
                    <a:pt x="424" y="308"/>
                  </a:lnTo>
                  <a:lnTo>
                    <a:pt x="428" y="306"/>
                  </a:lnTo>
                  <a:lnTo>
                    <a:pt x="432" y="306"/>
                  </a:lnTo>
                  <a:lnTo>
                    <a:pt x="434" y="306"/>
                  </a:lnTo>
                  <a:lnTo>
                    <a:pt x="436" y="306"/>
                  </a:lnTo>
                  <a:lnTo>
                    <a:pt x="438" y="306"/>
                  </a:lnTo>
                  <a:lnTo>
                    <a:pt x="440" y="304"/>
                  </a:lnTo>
                  <a:lnTo>
                    <a:pt x="442" y="302"/>
                  </a:lnTo>
                  <a:lnTo>
                    <a:pt x="444" y="302"/>
                  </a:lnTo>
                  <a:lnTo>
                    <a:pt x="446" y="300"/>
                  </a:lnTo>
                  <a:lnTo>
                    <a:pt x="450" y="300"/>
                  </a:lnTo>
                  <a:lnTo>
                    <a:pt x="452" y="298"/>
                  </a:lnTo>
                  <a:lnTo>
                    <a:pt x="454" y="296"/>
                  </a:lnTo>
                  <a:lnTo>
                    <a:pt x="456" y="296"/>
                  </a:lnTo>
                  <a:lnTo>
                    <a:pt x="458" y="296"/>
                  </a:lnTo>
                  <a:lnTo>
                    <a:pt x="458" y="294"/>
                  </a:lnTo>
                  <a:lnTo>
                    <a:pt x="460" y="294"/>
                  </a:lnTo>
                  <a:lnTo>
                    <a:pt x="462" y="294"/>
                  </a:lnTo>
                  <a:lnTo>
                    <a:pt x="464" y="292"/>
                  </a:lnTo>
                  <a:lnTo>
                    <a:pt x="466" y="292"/>
                  </a:lnTo>
                  <a:lnTo>
                    <a:pt x="466" y="290"/>
                  </a:lnTo>
                  <a:lnTo>
                    <a:pt x="466" y="288"/>
                  </a:lnTo>
                  <a:lnTo>
                    <a:pt x="466" y="286"/>
                  </a:lnTo>
                  <a:lnTo>
                    <a:pt x="468" y="284"/>
                  </a:lnTo>
                  <a:lnTo>
                    <a:pt x="470" y="280"/>
                  </a:lnTo>
                  <a:lnTo>
                    <a:pt x="472" y="280"/>
                  </a:lnTo>
                  <a:lnTo>
                    <a:pt x="476" y="278"/>
                  </a:lnTo>
                  <a:lnTo>
                    <a:pt x="478" y="278"/>
                  </a:lnTo>
                  <a:lnTo>
                    <a:pt x="482" y="276"/>
                  </a:lnTo>
                  <a:lnTo>
                    <a:pt x="488" y="276"/>
                  </a:lnTo>
                  <a:lnTo>
                    <a:pt x="490" y="276"/>
                  </a:lnTo>
                  <a:lnTo>
                    <a:pt x="494" y="278"/>
                  </a:lnTo>
                  <a:lnTo>
                    <a:pt x="496" y="280"/>
                  </a:lnTo>
                  <a:lnTo>
                    <a:pt x="496" y="282"/>
                  </a:lnTo>
                  <a:lnTo>
                    <a:pt x="498" y="284"/>
                  </a:lnTo>
                  <a:lnTo>
                    <a:pt x="498" y="288"/>
                  </a:lnTo>
                  <a:lnTo>
                    <a:pt x="496" y="290"/>
                  </a:lnTo>
                  <a:lnTo>
                    <a:pt x="496" y="294"/>
                  </a:lnTo>
                  <a:lnTo>
                    <a:pt x="496" y="296"/>
                  </a:lnTo>
                  <a:lnTo>
                    <a:pt x="494" y="298"/>
                  </a:lnTo>
                  <a:lnTo>
                    <a:pt x="492" y="300"/>
                  </a:lnTo>
                  <a:lnTo>
                    <a:pt x="490" y="302"/>
                  </a:lnTo>
                  <a:lnTo>
                    <a:pt x="486" y="304"/>
                  </a:lnTo>
                  <a:lnTo>
                    <a:pt x="484" y="304"/>
                  </a:lnTo>
                  <a:lnTo>
                    <a:pt x="480" y="306"/>
                  </a:lnTo>
                  <a:lnTo>
                    <a:pt x="478" y="306"/>
                  </a:lnTo>
                  <a:lnTo>
                    <a:pt x="476" y="308"/>
                  </a:lnTo>
                  <a:lnTo>
                    <a:pt x="472" y="310"/>
                  </a:lnTo>
                  <a:lnTo>
                    <a:pt x="470" y="312"/>
                  </a:lnTo>
                  <a:lnTo>
                    <a:pt x="466" y="314"/>
                  </a:lnTo>
                  <a:lnTo>
                    <a:pt x="462" y="314"/>
                  </a:lnTo>
                  <a:lnTo>
                    <a:pt x="460" y="314"/>
                  </a:lnTo>
                  <a:lnTo>
                    <a:pt x="458" y="316"/>
                  </a:lnTo>
                  <a:lnTo>
                    <a:pt x="456" y="318"/>
                  </a:lnTo>
                  <a:lnTo>
                    <a:pt x="454" y="320"/>
                  </a:lnTo>
                  <a:lnTo>
                    <a:pt x="452" y="324"/>
                  </a:lnTo>
                  <a:lnTo>
                    <a:pt x="450" y="326"/>
                  </a:lnTo>
                  <a:lnTo>
                    <a:pt x="446" y="330"/>
                  </a:lnTo>
                  <a:lnTo>
                    <a:pt x="444" y="332"/>
                  </a:lnTo>
                  <a:lnTo>
                    <a:pt x="440" y="334"/>
                  </a:lnTo>
                  <a:lnTo>
                    <a:pt x="436" y="334"/>
                  </a:lnTo>
                  <a:lnTo>
                    <a:pt x="434" y="334"/>
                  </a:lnTo>
                  <a:lnTo>
                    <a:pt x="434" y="336"/>
                  </a:lnTo>
                  <a:lnTo>
                    <a:pt x="432" y="334"/>
                  </a:lnTo>
                  <a:lnTo>
                    <a:pt x="430" y="334"/>
                  </a:lnTo>
                  <a:lnTo>
                    <a:pt x="428" y="334"/>
                  </a:lnTo>
                  <a:lnTo>
                    <a:pt x="426" y="336"/>
                  </a:lnTo>
                  <a:lnTo>
                    <a:pt x="426" y="338"/>
                  </a:lnTo>
                  <a:lnTo>
                    <a:pt x="426" y="340"/>
                  </a:lnTo>
                  <a:lnTo>
                    <a:pt x="426" y="344"/>
                  </a:lnTo>
                  <a:lnTo>
                    <a:pt x="426" y="346"/>
                  </a:lnTo>
                  <a:lnTo>
                    <a:pt x="424" y="346"/>
                  </a:lnTo>
                  <a:lnTo>
                    <a:pt x="424" y="348"/>
                  </a:lnTo>
                  <a:lnTo>
                    <a:pt x="422" y="348"/>
                  </a:lnTo>
                  <a:lnTo>
                    <a:pt x="418" y="350"/>
                  </a:lnTo>
                  <a:lnTo>
                    <a:pt x="418" y="352"/>
                  </a:lnTo>
                  <a:lnTo>
                    <a:pt x="418" y="354"/>
                  </a:lnTo>
                  <a:lnTo>
                    <a:pt x="420" y="354"/>
                  </a:lnTo>
                  <a:lnTo>
                    <a:pt x="420" y="356"/>
                  </a:lnTo>
                  <a:lnTo>
                    <a:pt x="420" y="358"/>
                  </a:lnTo>
                  <a:lnTo>
                    <a:pt x="418" y="360"/>
                  </a:lnTo>
                  <a:lnTo>
                    <a:pt x="416" y="362"/>
                  </a:lnTo>
                  <a:lnTo>
                    <a:pt x="414" y="362"/>
                  </a:lnTo>
                  <a:lnTo>
                    <a:pt x="408" y="362"/>
                  </a:lnTo>
                  <a:lnTo>
                    <a:pt x="406" y="362"/>
                  </a:lnTo>
                  <a:lnTo>
                    <a:pt x="404" y="362"/>
                  </a:lnTo>
                  <a:lnTo>
                    <a:pt x="402" y="364"/>
                  </a:lnTo>
                  <a:lnTo>
                    <a:pt x="400" y="366"/>
                  </a:lnTo>
                  <a:lnTo>
                    <a:pt x="398" y="366"/>
                  </a:lnTo>
                  <a:lnTo>
                    <a:pt x="398" y="368"/>
                  </a:lnTo>
                  <a:lnTo>
                    <a:pt x="398" y="370"/>
                  </a:lnTo>
                  <a:lnTo>
                    <a:pt x="398" y="372"/>
                  </a:lnTo>
                  <a:lnTo>
                    <a:pt x="400" y="374"/>
                  </a:lnTo>
                  <a:lnTo>
                    <a:pt x="400" y="376"/>
                  </a:lnTo>
                  <a:lnTo>
                    <a:pt x="398" y="378"/>
                  </a:lnTo>
                  <a:lnTo>
                    <a:pt x="396" y="378"/>
                  </a:lnTo>
                  <a:lnTo>
                    <a:pt x="394" y="380"/>
                  </a:lnTo>
                  <a:lnTo>
                    <a:pt x="392" y="380"/>
                  </a:lnTo>
                  <a:lnTo>
                    <a:pt x="392" y="382"/>
                  </a:lnTo>
                  <a:lnTo>
                    <a:pt x="392" y="384"/>
                  </a:lnTo>
                  <a:lnTo>
                    <a:pt x="394" y="386"/>
                  </a:lnTo>
                  <a:lnTo>
                    <a:pt x="394" y="388"/>
                  </a:lnTo>
                  <a:lnTo>
                    <a:pt x="392" y="388"/>
                  </a:lnTo>
                  <a:lnTo>
                    <a:pt x="392" y="390"/>
                  </a:lnTo>
                  <a:lnTo>
                    <a:pt x="392" y="392"/>
                  </a:lnTo>
                  <a:lnTo>
                    <a:pt x="392" y="396"/>
                  </a:lnTo>
                  <a:lnTo>
                    <a:pt x="392" y="398"/>
                  </a:lnTo>
                  <a:lnTo>
                    <a:pt x="392" y="400"/>
                  </a:lnTo>
                  <a:lnTo>
                    <a:pt x="392" y="402"/>
                  </a:lnTo>
                  <a:lnTo>
                    <a:pt x="390" y="404"/>
                  </a:lnTo>
                  <a:lnTo>
                    <a:pt x="388" y="404"/>
                  </a:lnTo>
                  <a:lnTo>
                    <a:pt x="386" y="406"/>
                  </a:lnTo>
                  <a:lnTo>
                    <a:pt x="384" y="406"/>
                  </a:lnTo>
                  <a:lnTo>
                    <a:pt x="382" y="404"/>
                  </a:lnTo>
                  <a:lnTo>
                    <a:pt x="380" y="404"/>
                  </a:lnTo>
                  <a:lnTo>
                    <a:pt x="378" y="404"/>
                  </a:lnTo>
                  <a:lnTo>
                    <a:pt x="376" y="404"/>
                  </a:lnTo>
                  <a:lnTo>
                    <a:pt x="372" y="406"/>
                  </a:lnTo>
                  <a:lnTo>
                    <a:pt x="370" y="406"/>
                  </a:lnTo>
                  <a:lnTo>
                    <a:pt x="366" y="406"/>
                  </a:lnTo>
                  <a:lnTo>
                    <a:pt x="364" y="404"/>
                  </a:lnTo>
                  <a:lnTo>
                    <a:pt x="362" y="404"/>
                  </a:lnTo>
                  <a:lnTo>
                    <a:pt x="360" y="406"/>
                  </a:lnTo>
                  <a:lnTo>
                    <a:pt x="358" y="406"/>
                  </a:lnTo>
                  <a:lnTo>
                    <a:pt x="356" y="406"/>
                  </a:lnTo>
                  <a:lnTo>
                    <a:pt x="356" y="404"/>
                  </a:lnTo>
                  <a:lnTo>
                    <a:pt x="358" y="404"/>
                  </a:lnTo>
                  <a:lnTo>
                    <a:pt x="360" y="404"/>
                  </a:lnTo>
                  <a:lnTo>
                    <a:pt x="362" y="402"/>
                  </a:lnTo>
                  <a:lnTo>
                    <a:pt x="364" y="400"/>
                  </a:lnTo>
                  <a:lnTo>
                    <a:pt x="366" y="400"/>
                  </a:lnTo>
                  <a:lnTo>
                    <a:pt x="362" y="398"/>
                  </a:lnTo>
                  <a:lnTo>
                    <a:pt x="358" y="398"/>
                  </a:lnTo>
                  <a:lnTo>
                    <a:pt x="356" y="398"/>
                  </a:lnTo>
                  <a:lnTo>
                    <a:pt x="354" y="398"/>
                  </a:lnTo>
                  <a:lnTo>
                    <a:pt x="354" y="396"/>
                  </a:lnTo>
                  <a:lnTo>
                    <a:pt x="354" y="394"/>
                  </a:lnTo>
                  <a:lnTo>
                    <a:pt x="356" y="392"/>
                  </a:lnTo>
                  <a:close/>
                  <a:moveTo>
                    <a:pt x="392" y="480"/>
                  </a:moveTo>
                  <a:lnTo>
                    <a:pt x="392" y="478"/>
                  </a:lnTo>
                  <a:lnTo>
                    <a:pt x="390" y="478"/>
                  </a:lnTo>
                  <a:lnTo>
                    <a:pt x="388" y="478"/>
                  </a:lnTo>
                  <a:lnTo>
                    <a:pt x="386" y="478"/>
                  </a:lnTo>
                  <a:lnTo>
                    <a:pt x="384" y="478"/>
                  </a:lnTo>
                  <a:lnTo>
                    <a:pt x="382" y="480"/>
                  </a:lnTo>
                  <a:lnTo>
                    <a:pt x="380" y="480"/>
                  </a:lnTo>
                  <a:lnTo>
                    <a:pt x="378" y="478"/>
                  </a:lnTo>
                  <a:lnTo>
                    <a:pt x="376" y="478"/>
                  </a:lnTo>
                  <a:lnTo>
                    <a:pt x="372" y="476"/>
                  </a:lnTo>
                  <a:lnTo>
                    <a:pt x="370" y="476"/>
                  </a:lnTo>
                  <a:lnTo>
                    <a:pt x="366" y="472"/>
                  </a:lnTo>
                  <a:lnTo>
                    <a:pt x="368" y="470"/>
                  </a:lnTo>
                  <a:lnTo>
                    <a:pt x="368" y="468"/>
                  </a:lnTo>
                  <a:lnTo>
                    <a:pt x="366" y="468"/>
                  </a:lnTo>
                  <a:lnTo>
                    <a:pt x="364" y="468"/>
                  </a:lnTo>
                  <a:lnTo>
                    <a:pt x="366" y="466"/>
                  </a:lnTo>
                  <a:lnTo>
                    <a:pt x="366" y="464"/>
                  </a:lnTo>
                  <a:lnTo>
                    <a:pt x="364" y="462"/>
                  </a:lnTo>
                  <a:lnTo>
                    <a:pt x="362" y="464"/>
                  </a:lnTo>
                  <a:lnTo>
                    <a:pt x="358" y="464"/>
                  </a:lnTo>
                  <a:lnTo>
                    <a:pt x="356" y="466"/>
                  </a:lnTo>
                  <a:lnTo>
                    <a:pt x="354" y="466"/>
                  </a:lnTo>
                  <a:lnTo>
                    <a:pt x="354" y="464"/>
                  </a:lnTo>
                  <a:lnTo>
                    <a:pt x="352" y="462"/>
                  </a:lnTo>
                  <a:lnTo>
                    <a:pt x="350" y="462"/>
                  </a:lnTo>
                  <a:lnTo>
                    <a:pt x="350" y="464"/>
                  </a:lnTo>
                  <a:lnTo>
                    <a:pt x="350" y="466"/>
                  </a:lnTo>
                  <a:lnTo>
                    <a:pt x="350" y="468"/>
                  </a:lnTo>
                  <a:lnTo>
                    <a:pt x="348" y="468"/>
                  </a:lnTo>
                  <a:lnTo>
                    <a:pt x="346" y="468"/>
                  </a:lnTo>
                  <a:lnTo>
                    <a:pt x="344" y="468"/>
                  </a:lnTo>
                  <a:lnTo>
                    <a:pt x="340" y="466"/>
                  </a:lnTo>
                  <a:lnTo>
                    <a:pt x="338" y="462"/>
                  </a:lnTo>
                  <a:lnTo>
                    <a:pt x="338" y="460"/>
                  </a:lnTo>
                  <a:lnTo>
                    <a:pt x="336" y="456"/>
                  </a:lnTo>
                  <a:lnTo>
                    <a:pt x="334" y="454"/>
                  </a:lnTo>
                  <a:lnTo>
                    <a:pt x="332" y="452"/>
                  </a:lnTo>
                  <a:lnTo>
                    <a:pt x="332" y="450"/>
                  </a:lnTo>
                  <a:lnTo>
                    <a:pt x="332" y="448"/>
                  </a:lnTo>
                  <a:lnTo>
                    <a:pt x="332" y="446"/>
                  </a:lnTo>
                  <a:lnTo>
                    <a:pt x="332" y="444"/>
                  </a:lnTo>
                  <a:lnTo>
                    <a:pt x="334" y="444"/>
                  </a:lnTo>
                  <a:lnTo>
                    <a:pt x="336" y="444"/>
                  </a:lnTo>
                  <a:lnTo>
                    <a:pt x="338" y="444"/>
                  </a:lnTo>
                  <a:lnTo>
                    <a:pt x="340" y="444"/>
                  </a:lnTo>
                  <a:lnTo>
                    <a:pt x="344" y="442"/>
                  </a:lnTo>
                  <a:lnTo>
                    <a:pt x="346" y="442"/>
                  </a:lnTo>
                  <a:lnTo>
                    <a:pt x="346" y="440"/>
                  </a:lnTo>
                  <a:lnTo>
                    <a:pt x="346" y="438"/>
                  </a:lnTo>
                  <a:lnTo>
                    <a:pt x="348" y="438"/>
                  </a:lnTo>
                  <a:lnTo>
                    <a:pt x="350" y="436"/>
                  </a:lnTo>
                  <a:lnTo>
                    <a:pt x="352" y="434"/>
                  </a:lnTo>
                  <a:lnTo>
                    <a:pt x="352" y="432"/>
                  </a:lnTo>
                  <a:lnTo>
                    <a:pt x="352" y="430"/>
                  </a:lnTo>
                  <a:lnTo>
                    <a:pt x="352" y="428"/>
                  </a:lnTo>
                  <a:lnTo>
                    <a:pt x="350" y="428"/>
                  </a:lnTo>
                  <a:lnTo>
                    <a:pt x="350" y="426"/>
                  </a:lnTo>
                  <a:lnTo>
                    <a:pt x="352" y="426"/>
                  </a:lnTo>
                  <a:lnTo>
                    <a:pt x="352" y="424"/>
                  </a:lnTo>
                  <a:lnTo>
                    <a:pt x="352" y="422"/>
                  </a:lnTo>
                  <a:lnTo>
                    <a:pt x="352" y="420"/>
                  </a:lnTo>
                  <a:lnTo>
                    <a:pt x="350" y="420"/>
                  </a:lnTo>
                  <a:lnTo>
                    <a:pt x="348" y="418"/>
                  </a:lnTo>
                  <a:lnTo>
                    <a:pt x="348" y="416"/>
                  </a:lnTo>
                  <a:lnTo>
                    <a:pt x="348" y="414"/>
                  </a:lnTo>
                  <a:lnTo>
                    <a:pt x="350" y="412"/>
                  </a:lnTo>
                  <a:lnTo>
                    <a:pt x="354" y="412"/>
                  </a:lnTo>
                  <a:lnTo>
                    <a:pt x="356" y="410"/>
                  </a:lnTo>
                  <a:lnTo>
                    <a:pt x="358" y="408"/>
                  </a:lnTo>
                  <a:lnTo>
                    <a:pt x="360" y="408"/>
                  </a:lnTo>
                  <a:lnTo>
                    <a:pt x="368" y="410"/>
                  </a:lnTo>
                  <a:lnTo>
                    <a:pt x="372" y="410"/>
                  </a:lnTo>
                  <a:lnTo>
                    <a:pt x="376" y="408"/>
                  </a:lnTo>
                  <a:lnTo>
                    <a:pt x="380" y="408"/>
                  </a:lnTo>
                  <a:lnTo>
                    <a:pt x="382" y="408"/>
                  </a:lnTo>
                  <a:lnTo>
                    <a:pt x="384" y="408"/>
                  </a:lnTo>
                  <a:lnTo>
                    <a:pt x="384" y="410"/>
                  </a:lnTo>
                  <a:lnTo>
                    <a:pt x="386" y="412"/>
                  </a:lnTo>
                  <a:lnTo>
                    <a:pt x="384" y="412"/>
                  </a:lnTo>
                  <a:lnTo>
                    <a:pt x="384" y="414"/>
                  </a:lnTo>
                  <a:lnTo>
                    <a:pt x="382" y="416"/>
                  </a:lnTo>
                  <a:lnTo>
                    <a:pt x="380" y="416"/>
                  </a:lnTo>
                  <a:lnTo>
                    <a:pt x="380" y="418"/>
                  </a:lnTo>
                  <a:lnTo>
                    <a:pt x="380" y="420"/>
                  </a:lnTo>
                  <a:lnTo>
                    <a:pt x="380" y="422"/>
                  </a:lnTo>
                  <a:lnTo>
                    <a:pt x="380" y="424"/>
                  </a:lnTo>
                  <a:lnTo>
                    <a:pt x="378" y="424"/>
                  </a:lnTo>
                  <a:lnTo>
                    <a:pt x="378" y="426"/>
                  </a:lnTo>
                  <a:lnTo>
                    <a:pt x="378" y="428"/>
                  </a:lnTo>
                  <a:lnTo>
                    <a:pt x="378" y="430"/>
                  </a:lnTo>
                  <a:lnTo>
                    <a:pt x="378" y="436"/>
                  </a:lnTo>
                  <a:lnTo>
                    <a:pt x="378" y="438"/>
                  </a:lnTo>
                  <a:lnTo>
                    <a:pt x="378" y="440"/>
                  </a:lnTo>
                  <a:lnTo>
                    <a:pt x="380" y="440"/>
                  </a:lnTo>
                  <a:lnTo>
                    <a:pt x="380" y="442"/>
                  </a:lnTo>
                  <a:lnTo>
                    <a:pt x="382" y="442"/>
                  </a:lnTo>
                  <a:lnTo>
                    <a:pt x="382" y="444"/>
                  </a:lnTo>
                  <a:lnTo>
                    <a:pt x="382" y="446"/>
                  </a:lnTo>
                  <a:lnTo>
                    <a:pt x="382" y="448"/>
                  </a:lnTo>
                  <a:lnTo>
                    <a:pt x="382" y="450"/>
                  </a:lnTo>
                  <a:lnTo>
                    <a:pt x="384" y="452"/>
                  </a:lnTo>
                  <a:lnTo>
                    <a:pt x="386" y="454"/>
                  </a:lnTo>
                  <a:lnTo>
                    <a:pt x="388" y="454"/>
                  </a:lnTo>
                  <a:lnTo>
                    <a:pt x="388" y="456"/>
                  </a:lnTo>
                  <a:lnTo>
                    <a:pt x="390" y="458"/>
                  </a:lnTo>
                  <a:lnTo>
                    <a:pt x="390" y="460"/>
                  </a:lnTo>
                  <a:lnTo>
                    <a:pt x="390" y="462"/>
                  </a:lnTo>
                  <a:lnTo>
                    <a:pt x="392" y="462"/>
                  </a:lnTo>
                  <a:lnTo>
                    <a:pt x="394" y="464"/>
                  </a:lnTo>
                  <a:lnTo>
                    <a:pt x="396" y="464"/>
                  </a:lnTo>
                  <a:lnTo>
                    <a:pt x="398" y="466"/>
                  </a:lnTo>
                  <a:lnTo>
                    <a:pt x="400" y="468"/>
                  </a:lnTo>
                  <a:lnTo>
                    <a:pt x="402" y="468"/>
                  </a:lnTo>
                  <a:lnTo>
                    <a:pt x="406" y="468"/>
                  </a:lnTo>
                  <a:lnTo>
                    <a:pt x="406" y="470"/>
                  </a:lnTo>
                  <a:lnTo>
                    <a:pt x="406" y="474"/>
                  </a:lnTo>
                  <a:lnTo>
                    <a:pt x="406" y="476"/>
                  </a:lnTo>
                  <a:lnTo>
                    <a:pt x="404" y="476"/>
                  </a:lnTo>
                  <a:lnTo>
                    <a:pt x="404" y="478"/>
                  </a:lnTo>
                  <a:lnTo>
                    <a:pt x="402" y="478"/>
                  </a:lnTo>
                  <a:lnTo>
                    <a:pt x="400" y="476"/>
                  </a:lnTo>
                  <a:lnTo>
                    <a:pt x="398" y="476"/>
                  </a:lnTo>
                  <a:lnTo>
                    <a:pt x="396" y="476"/>
                  </a:lnTo>
                  <a:lnTo>
                    <a:pt x="394" y="476"/>
                  </a:lnTo>
                  <a:lnTo>
                    <a:pt x="394" y="478"/>
                  </a:lnTo>
                  <a:lnTo>
                    <a:pt x="392" y="480"/>
                  </a:lnTo>
                  <a:close/>
                  <a:moveTo>
                    <a:pt x="416" y="480"/>
                  </a:moveTo>
                  <a:lnTo>
                    <a:pt x="416" y="478"/>
                  </a:lnTo>
                  <a:lnTo>
                    <a:pt x="414" y="478"/>
                  </a:lnTo>
                  <a:lnTo>
                    <a:pt x="412" y="478"/>
                  </a:lnTo>
                  <a:lnTo>
                    <a:pt x="410" y="478"/>
                  </a:lnTo>
                  <a:lnTo>
                    <a:pt x="410" y="476"/>
                  </a:lnTo>
                  <a:lnTo>
                    <a:pt x="408" y="476"/>
                  </a:lnTo>
                  <a:lnTo>
                    <a:pt x="408" y="474"/>
                  </a:lnTo>
                  <a:lnTo>
                    <a:pt x="410" y="474"/>
                  </a:lnTo>
                  <a:lnTo>
                    <a:pt x="410" y="472"/>
                  </a:lnTo>
                  <a:lnTo>
                    <a:pt x="412" y="472"/>
                  </a:lnTo>
                  <a:lnTo>
                    <a:pt x="416" y="472"/>
                  </a:lnTo>
                  <a:lnTo>
                    <a:pt x="418" y="472"/>
                  </a:lnTo>
                  <a:lnTo>
                    <a:pt x="420" y="472"/>
                  </a:lnTo>
                  <a:lnTo>
                    <a:pt x="420" y="474"/>
                  </a:lnTo>
                  <a:lnTo>
                    <a:pt x="422" y="474"/>
                  </a:lnTo>
                  <a:lnTo>
                    <a:pt x="422" y="476"/>
                  </a:lnTo>
                  <a:lnTo>
                    <a:pt x="420" y="478"/>
                  </a:lnTo>
                  <a:lnTo>
                    <a:pt x="420" y="480"/>
                  </a:lnTo>
                  <a:lnTo>
                    <a:pt x="418" y="480"/>
                  </a:lnTo>
                  <a:lnTo>
                    <a:pt x="416" y="480"/>
                  </a:lnTo>
                  <a:close/>
                  <a:moveTo>
                    <a:pt x="452" y="492"/>
                  </a:moveTo>
                  <a:lnTo>
                    <a:pt x="452" y="490"/>
                  </a:lnTo>
                  <a:lnTo>
                    <a:pt x="450" y="490"/>
                  </a:lnTo>
                  <a:lnTo>
                    <a:pt x="448" y="490"/>
                  </a:lnTo>
                  <a:lnTo>
                    <a:pt x="446" y="490"/>
                  </a:lnTo>
                  <a:lnTo>
                    <a:pt x="444" y="490"/>
                  </a:lnTo>
                  <a:lnTo>
                    <a:pt x="442" y="490"/>
                  </a:lnTo>
                  <a:lnTo>
                    <a:pt x="440" y="488"/>
                  </a:lnTo>
                  <a:lnTo>
                    <a:pt x="438" y="486"/>
                  </a:lnTo>
                  <a:lnTo>
                    <a:pt x="436" y="484"/>
                  </a:lnTo>
                  <a:lnTo>
                    <a:pt x="434" y="484"/>
                  </a:lnTo>
                  <a:lnTo>
                    <a:pt x="432" y="484"/>
                  </a:lnTo>
                  <a:lnTo>
                    <a:pt x="428" y="484"/>
                  </a:lnTo>
                  <a:lnTo>
                    <a:pt x="426" y="482"/>
                  </a:lnTo>
                  <a:lnTo>
                    <a:pt x="426" y="480"/>
                  </a:lnTo>
                  <a:lnTo>
                    <a:pt x="426" y="478"/>
                  </a:lnTo>
                  <a:lnTo>
                    <a:pt x="426" y="476"/>
                  </a:lnTo>
                  <a:lnTo>
                    <a:pt x="426" y="474"/>
                  </a:lnTo>
                  <a:lnTo>
                    <a:pt x="426" y="472"/>
                  </a:lnTo>
                  <a:lnTo>
                    <a:pt x="428" y="472"/>
                  </a:lnTo>
                  <a:lnTo>
                    <a:pt x="432" y="472"/>
                  </a:lnTo>
                  <a:lnTo>
                    <a:pt x="434" y="474"/>
                  </a:lnTo>
                  <a:lnTo>
                    <a:pt x="436" y="474"/>
                  </a:lnTo>
                  <a:lnTo>
                    <a:pt x="440" y="476"/>
                  </a:lnTo>
                  <a:lnTo>
                    <a:pt x="444" y="478"/>
                  </a:lnTo>
                  <a:lnTo>
                    <a:pt x="448" y="480"/>
                  </a:lnTo>
                  <a:lnTo>
                    <a:pt x="452" y="484"/>
                  </a:lnTo>
                  <a:lnTo>
                    <a:pt x="454" y="484"/>
                  </a:lnTo>
                  <a:lnTo>
                    <a:pt x="456" y="486"/>
                  </a:lnTo>
                  <a:lnTo>
                    <a:pt x="458" y="488"/>
                  </a:lnTo>
                  <a:lnTo>
                    <a:pt x="458" y="490"/>
                  </a:lnTo>
                  <a:lnTo>
                    <a:pt x="458" y="492"/>
                  </a:lnTo>
                  <a:lnTo>
                    <a:pt x="456" y="492"/>
                  </a:lnTo>
                  <a:lnTo>
                    <a:pt x="454" y="492"/>
                  </a:lnTo>
                  <a:lnTo>
                    <a:pt x="454" y="494"/>
                  </a:lnTo>
                  <a:lnTo>
                    <a:pt x="452" y="492"/>
                  </a:lnTo>
                  <a:close/>
                  <a:moveTo>
                    <a:pt x="302" y="538"/>
                  </a:moveTo>
                  <a:lnTo>
                    <a:pt x="302" y="536"/>
                  </a:lnTo>
                  <a:lnTo>
                    <a:pt x="300" y="536"/>
                  </a:lnTo>
                  <a:lnTo>
                    <a:pt x="300" y="534"/>
                  </a:lnTo>
                  <a:lnTo>
                    <a:pt x="300" y="532"/>
                  </a:lnTo>
                  <a:lnTo>
                    <a:pt x="300" y="528"/>
                  </a:lnTo>
                  <a:lnTo>
                    <a:pt x="300" y="526"/>
                  </a:lnTo>
                  <a:lnTo>
                    <a:pt x="302" y="524"/>
                  </a:lnTo>
                  <a:lnTo>
                    <a:pt x="304" y="522"/>
                  </a:lnTo>
                  <a:lnTo>
                    <a:pt x="306" y="522"/>
                  </a:lnTo>
                  <a:lnTo>
                    <a:pt x="308" y="522"/>
                  </a:lnTo>
                  <a:lnTo>
                    <a:pt x="312" y="522"/>
                  </a:lnTo>
                  <a:lnTo>
                    <a:pt x="316" y="522"/>
                  </a:lnTo>
                  <a:lnTo>
                    <a:pt x="320" y="522"/>
                  </a:lnTo>
                  <a:lnTo>
                    <a:pt x="322" y="524"/>
                  </a:lnTo>
                  <a:lnTo>
                    <a:pt x="324" y="524"/>
                  </a:lnTo>
                  <a:lnTo>
                    <a:pt x="326" y="526"/>
                  </a:lnTo>
                  <a:lnTo>
                    <a:pt x="326" y="530"/>
                  </a:lnTo>
                  <a:lnTo>
                    <a:pt x="324" y="530"/>
                  </a:lnTo>
                  <a:lnTo>
                    <a:pt x="324" y="532"/>
                  </a:lnTo>
                  <a:lnTo>
                    <a:pt x="322" y="532"/>
                  </a:lnTo>
                  <a:lnTo>
                    <a:pt x="320" y="532"/>
                  </a:lnTo>
                  <a:lnTo>
                    <a:pt x="318" y="532"/>
                  </a:lnTo>
                  <a:lnTo>
                    <a:pt x="316" y="532"/>
                  </a:lnTo>
                  <a:lnTo>
                    <a:pt x="316" y="534"/>
                  </a:lnTo>
                  <a:lnTo>
                    <a:pt x="314" y="536"/>
                  </a:lnTo>
                  <a:lnTo>
                    <a:pt x="314" y="538"/>
                  </a:lnTo>
                  <a:lnTo>
                    <a:pt x="312" y="538"/>
                  </a:lnTo>
                  <a:lnTo>
                    <a:pt x="308" y="538"/>
                  </a:lnTo>
                  <a:lnTo>
                    <a:pt x="306" y="538"/>
                  </a:lnTo>
                  <a:lnTo>
                    <a:pt x="304" y="538"/>
                  </a:lnTo>
                  <a:lnTo>
                    <a:pt x="302" y="538"/>
                  </a:lnTo>
                  <a:close/>
                  <a:moveTo>
                    <a:pt x="290" y="220"/>
                  </a:moveTo>
                  <a:lnTo>
                    <a:pt x="288" y="220"/>
                  </a:lnTo>
                  <a:lnTo>
                    <a:pt x="288" y="218"/>
                  </a:lnTo>
                  <a:lnTo>
                    <a:pt x="290" y="218"/>
                  </a:lnTo>
                  <a:lnTo>
                    <a:pt x="292" y="216"/>
                  </a:lnTo>
                  <a:lnTo>
                    <a:pt x="296" y="216"/>
                  </a:lnTo>
                  <a:lnTo>
                    <a:pt x="298" y="216"/>
                  </a:lnTo>
                  <a:lnTo>
                    <a:pt x="302" y="214"/>
                  </a:lnTo>
                  <a:lnTo>
                    <a:pt x="304" y="214"/>
                  </a:lnTo>
                  <a:lnTo>
                    <a:pt x="306" y="214"/>
                  </a:lnTo>
                  <a:lnTo>
                    <a:pt x="308" y="214"/>
                  </a:lnTo>
                  <a:lnTo>
                    <a:pt x="308" y="216"/>
                  </a:lnTo>
                  <a:lnTo>
                    <a:pt x="308" y="218"/>
                  </a:lnTo>
                  <a:lnTo>
                    <a:pt x="306" y="220"/>
                  </a:lnTo>
                  <a:lnTo>
                    <a:pt x="304" y="220"/>
                  </a:lnTo>
                  <a:lnTo>
                    <a:pt x="302" y="222"/>
                  </a:lnTo>
                  <a:lnTo>
                    <a:pt x="300" y="224"/>
                  </a:lnTo>
                  <a:lnTo>
                    <a:pt x="298" y="224"/>
                  </a:lnTo>
                  <a:lnTo>
                    <a:pt x="296" y="224"/>
                  </a:lnTo>
                  <a:lnTo>
                    <a:pt x="292" y="222"/>
                  </a:lnTo>
                  <a:lnTo>
                    <a:pt x="290" y="222"/>
                  </a:lnTo>
                  <a:lnTo>
                    <a:pt x="290" y="220"/>
                  </a:lnTo>
                  <a:close/>
                  <a:moveTo>
                    <a:pt x="302" y="210"/>
                  </a:moveTo>
                  <a:lnTo>
                    <a:pt x="300" y="210"/>
                  </a:lnTo>
                  <a:lnTo>
                    <a:pt x="300" y="208"/>
                  </a:lnTo>
                  <a:lnTo>
                    <a:pt x="302" y="206"/>
                  </a:lnTo>
                  <a:lnTo>
                    <a:pt x="304" y="204"/>
                  </a:lnTo>
                  <a:lnTo>
                    <a:pt x="306" y="204"/>
                  </a:lnTo>
                  <a:lnTo>
                    <a:pt x="306" y="206"/>
                  </a:lnTo>
                  <a:lnTo>
                    <a:pt x="306" y="208"/>
                  </a:lnTo>
                  <a:lnTo>
                    <a:pt x="304" y="208"/>
                  </a:lnTo>
                  <a:lnTo>
                    <a:pt x="302" y="210"/>
                  </a:lnTo>
                  <a:close/>
                  <a:moveTo>
                    <a:pt x="318" y="168"/>
                  </a:moveTo>
                  <a:lnTo>
                    <a:pt x="316" y="166"/>
                  </a:lnTo>
                  <a:lnTo>
                    <a:pt x="318" y="166"/>
                  </a:lnTo>
                  <a:lnTo>
                    <a:pt x="318" y="164"/>
                  </a:lnTo>
                  <a:lnTo>
                    <a:pt x="322" y="164"/>
                  </a:lnTo>
                  <a:lnTo>
                    <a:pt x="324" y="162"/>
                  </a:lnTo>
                  <a:lnTo>
                    <a:pt x="328" y="162"/>
                  </a:lnTo>
                  <a:lnTo>
                    <a:pt x="330" y="162"/>
                  </a:lnTo>
                  <a:lnTo>
                    <a:pt x="332" y="162"/>
                  </a:lnTo>
                  <a:lnTo>
                    <a:pt x="332" y="164"/>
                  </a:lnTo>
                  <a:lnTo>
                    <a:pt x="332" y="166"/>
                  </a:lnTo>
                  <a:lnTo>
                    <a:pt x="330" y="166"/>
                  </a:lnTo>
                  <a:lnTo>
                    <a:pt x="328" y="168"/>
                  </a:lnTo>
                  <a:lnTo>
                    <a:pt x="326" y="170"/>
                  </a:lnTo>
                  <a:lnTo>
                    <a:pt x="324" y="170"/>
                  </a:lnTo>
                  <a:lnTo>
                    <a:pt x="322" y="170"/>
                  </a:lnTo>
                  <a:lnTo>
                    <a:pt x="318" y="168"/>
                  </a:lnTo>
                  <a:close/>
                  <a:moveTo>
                    <a:pt x="308" y="198"/>
                  </a:moveTo>
                  <a:lnTo>
                    <a:pt x="306" y="196"/>
                  </a:lnTo>
                  <a:lnTo>
                    <a:pt x="306" y="194"/>
                  </a:lnTo>
                  <a:lnTo>
                    <a:pt x="308" y="190"/>
                  </a:lnTo>
                  <a:lnTo>
                    <a:pt x="310" y="190"/>
                  </a:lnTo>
                  <a:lnTo>
                    <a:pt x="312" y="188"/>
                  </a:lnTo>
                  <a:lnTo>
                    <a:pt x="312" y="186"/>
                  </a:lnTo>
                  <a:lnTo>
                    <a:pt x="312" y="184"/>
                  </a:lnTo>
                  <a:lnTo>
                    <a:pt x="312" y="182"/>
                  </a:lnTo>
                  <a:lnTo>
                    <a:pt x="314" y="182"/>
                  </a:lnTo>
                  <a:lnTo>
                    <a:pt x="314" y="180"/>
                  </a:lnTo>
                  <a:lnTo>
                    <a:pt x="312" y="180"/>
                  </a:lnTo>
                  <a:lnTo>
                    <a:pt x="312" y="178"/>
                  </a:lnTo>
                  <a:lnTo>
                    <a:pt x="310" y="178"/>
                  </a:lnTo>
                  <a:lnTo>
                    <a:pt x="310" y="176"/>
                  </a:lnTo>
                  <a:lnTo>
                    <a:pt x="308" y="176"/>
                  </a:lnTo>
                  <a:lnTo>
                    <a:pt x="308" y="174"/>
                  </a:lnTo>
                  <a:lnTo>
                    <a:pt x="310" y="174"/>
                  </a:lnTo>
                  <a:lnTo>
                    <a:pt x="312" y="174"/>
                  </a:lnTo>
                  <a:lnTo>
                    <a:pt x="314" y="174"/>
                  </a:lnTo>
                  <a:lnTo>
                    <a:pt x="316" y="174"/>
                  </a:lnTo>
                  <a:lnTo>
                    <a:pt x="318" y="176"/>
                  </a:lnTo>
                  <a:lnTo>
                    <a:pt x="320" y="176"/>
                  </a:lnTo>
                  <a:lnTo>
                    <a:pt x="322" y="176"/>
                  </a:lnTo>
                  <a:lnTo>
                    <a:pt x="324" y="176"/>
                  </a:lnTo>
                  <a:lnTo>
                    <a:pt x="326" y="176"/>
                  </a:lnTo>
                  <a:lnTo>
                    <a:pt x="330" y="172"/>
                  </a:lnTo>
                  <a:lnTo>
                    <a:pt x="332" y="170"/>
                  </a:lnTo>
                  <a:lnTo>
                    <a:pt x="334" y="170"/>
                  </a:lnTo>
                  <a:lnTo>
                    <a:pt x="336" y="170"/>
                  </a:lnTo>
                  <a:lnTo>
                    <a:pt x="338" y="170"/>
                  </a:lnTo>
                  <a:lnTo>
                    <a:pt x="338" y="172"/>
                  </a:lnTo>
                  <a:lnTo>
                    <a:pt x="338" y="174"/>
                  </a:lnTo>
                  <a:lnTo>
                    <a:pt x="336" y="178"/>
                  </a:lnTo>
                  <a:lnTo>
                    <a:pt x="334" y="180"/>
                  </a:lnTo>
                  <a:lnTo>
                    <a:pt x="330" y="182"/>
                  </a:lnTo>
                  <a:lnTo>
                    <a:pt x="326" y="184"/>
                  </a:lnTo>
                  <a:lnTo>
                    <a:pt x="324" y="184"/>
                  </a:lnTo>
                  <a:lnTo>
                    <a:pt x="322" y="186"/>
                  </a:lnTo>
                  <a:lnTo>
                    <a:pt x="320" y="186"/>
                  </a:lnTo>
                  <a:lnTo>
                    <a:pt x="320" y="188"/>
                  </a:lnTo>
                  <a:lnTo>
                    <a:pt x="320" y="190"/>
                  </a:lnTo>
                  <a:lnTo>
                    <a:pt x="322" y="190"/>
                  </a:lnTo>
                  <a:lnTo>
                    <a:pt x="324" y="190"/>
                  </a:lnTo>
                  <a:lnTo>
                    <a:pt x="326" y="192"/>
                  </a:lnTo>
                  <a:lnTo>
                    <a:pt x="330" y="192"/>
                  </a:lnTo>
                  <a:lnTo>
                    <a:pt x="332" y="192"/>
                  </a:lnTo>
                  <a:lnTo>
                    <a:pt x="334" y="192"/>
                  </a:lnTo>
                  <a:lnTo>
                    <a:pt x="336" y="194"/>
                  </a:lnTo>
                  <a:lnTo>
                    <a:pt x="336" y="196"/>
                  </a:lnTo>
                  <a:lnTo>
                    <a:pt x="334" y="198"/>
                  </a:lnTo>
                  <a:lnTo>
                    <a:pt x="332" y="198"/>
                  </a:lnTo>
                  <a:lnTo>
                    <a:pt x="330" y="198"/>
                  </a:lnTo>
                  <a:lnTo>
                    <a:pt x="326" y="198"/>
                  </a:lnTo>
                  <a:lnTo>
                    <a:pt x="322" y="198"/>
                  </a:lnTo>
                  <a:lnTo>
                    <a:pt x="318" y="198"/>
                  </a:lnTo>
                  <a:lnTo>
                    <a:pt x="310" y="198"/>
                  </a:lnTo>
                  <a:lnTo>
                    <a:pt x="308" y="198"/>
                  </a:lnTo>
                  <a:close/>
                  <a:moveTo>
                    <a:pt x="382" y="156"/>
                  </a:moveTo>
                  <a:lnTo>
                    <a:pt x="380" y="156"/>
                  </a:lnTo>
                  <a:lnTo>
                    <a:pt x="380" y="154"/>
                  </a:lnTo>
                  <a:lnTo>
                    <a:pt x="380" y="152"/>
                  </a:lnTo>
                  <a:lnTo>
                    <a:pt x="382" y="150"/>
                  </a:lnTo>
                  <a:lnTo>
                    <a:pt x="384" y="150"/>
                  </a:lnTo>
                  <a:lnTo>
                    <a:pt x="386" y="150"/>
                  </a:lnTo>
                  <a:lnTo>
                    <a:pt x="388" y="150"/>
                  </a:lnTo>
                  <a:lnTo>
                    <a:pt x="390" y="152"/>
                  </a:lnTo>
                  <a:lnTo>
                    <a:pt x="392" y="152"/>
                  </a:lnTo>
                  <a:lnTo>
                    <a:pt x="392" y="154"/>
                  </a:lnTo>
                  <a:lnTo>
                    <a:pt x="392" y="156"/>
                  </a:lnTo>
                  <a:lnTo>
                    <a:pt x="390" y="158"/>
                  </a:lnTo>
                  <a:lnTo>
                    <a:pt x="388" y="160"/>
                  </a:lnTo>
                  <a:lnTo>
                    <a:pt x="386" y="160"/>
                  </a:lnTo>
                  <a:lnTo>
                    <a:pt x="384" y="158"/>
                  </a:lnTo>
                  <a:lnTo>
                    <a:pt x="382" y="156"/>
                  </a:lnTo>
                  <a:close/>
                  <a:moveTo>
                    <a:pt x="396" y="188"/>
                  </a:moveTo>
                  <a:lnTo>
                    <a:pt x="394" y="188"/>
                  </a:lnTo>
                  <a:lnTo>
                    <a:pt x="394" y="186"/>
                  </a:lnTo>
                  <a:lnTo>
                    <a:pt x="394" y="184"/>
                  </a:lnTo>
                  <a:lnTo>
                    <a:pt x="394" y="182"/>
                  </a:lnTo>
                  <a:lnTo>
                    <a:pt x="396" y="180"/>
                  </a:lnTo>
                  <a:lnTo>
                    <a:pt x="396" y="178"/>
                  </a:lnTo>
                  <a:lnTo>
                    <a:pt x="398" y="178"/>
                  </a:lnTo>
                  <a:lnTo>
                    <a:pt x="402" y="176"/>
                  </a:lnTo>
                  <a:lnTo>
                    <a:pt x="402" y="174"/>
                  </a:lnTo>
                  <a:lnTo>
                    <a:pt x="402" y="172"/>
                  </a:lnTo>
                  <a:lnTo>
                    <a:pt x="402" y="170"/>
                  </a:lnTo>
                  <a:lnTo>
                    <a:pt x="400" y="170"/>
                  </a:lnTo>
                  <a:lnTo>
                    <a:pt x="398" y="168"/>
                  </a:lnTo>
                  <a:lnTo>
                    <a:pt x="398" y="166"/>
                  </a:lnTo>
                  <a:lnTo>
                    <a:pt x="400" y="166"/>
                  </a:lnTo>
                  <a:lnTo>
                    <a:pt x="402" y="164"/>
                  </a:lnTo>
                  <a:lnTo>
                    <a:pt x="404" y="164"/>
                  </a:lnTo>
                  <a:lnTo>
                    <a:pt x="408" y="164"/>
                  </a:lnTo>
                  <a:lnTo>
                    <a:pt x="410" y="166"/>
                  </a:lnTo>
                  <a:lnTo>
                    <a:pt x="414" y="166"/>
                  </a:lnTo>
                  <a:lnTo>
                    <a:pt x="416" y="168"/>
                  </a:lnTo>
                  <a:lnTo>
                    <a:pt x="416" y="170"/>
                  </a:lnTo>
                  <a:lnTo>
                    <a:pt x="418" y="176"/>
                  </a:lnTo>
                  <a:lnTo>
                    <a:pt x="418" y="180"/>
                  </a:lnTo>
                  <a:lnTo>
                    <a:pt x="418" y="182"/>
                  </a:lnTo>
                  <a:lnTo>
                    <a:pt x="418" y="184"/>
                  </a:lnTo>
                  <a:lnTo>
                    <a:pt x="416" y="186"/>
                  </a:lnTo>
                  <a:lnTo>
                    <a:pt x="414" y="186"/>
                  </a:lnTo>
                  <a:lnTo>
                    <a:pt x="412" y="188"/>
                  </a:lnTo>
                  <a:lnTo>
                    <a:pt x="410" y="188"/>
                  </a:lnTo>
                  <a:lnTo>
                    <a:pt x="408" y="190"/>
                  </a:lnTo>
                  <a:lnTo>
                    <a:pt x="406" y="190"/>
                  </a:lnTo>
                  <a:lnTo>
                    <a:pt x="404" y="190"/>
                  </a:lnTo>
                  <a:lnTo>
                    <a:pt x="400" y="190"/>
                  </a:lnTo>
                  <a:lnTo>
                    <a:pt x="396" y="188"/>
                  </a:lnTo>
                  <a:close/>
                  <a:moveTo>
                    <a:pt x="366" y="182"/>
                  </a:moveTo>
                  <a:lnTo>
                    <a:pt x="364" y="180"/>
                  </a:lnTo>
                  <a:lnTo>
                    <a:pt x="364" y="178"/>
                  </a:lnTo>
                  <a:lnTo>
                    <a:pt x="364" y="176"/>
                  </a:lnTo>
                  <a:lnTo>
                    <a:pt x="364" y="174"/>
                  </a:lnTo>
                  <a:lnTo>
                    <a:pt x="364" y="172"/>
                  </a:lnTo>
                  <a:lnTo>
                    <a:pt x="366" y="170"/>
                  </a:lnTo>
                  <a:lnTo>
                    <a:pt x="368" y="170"/>
                  </a:lnTo>
                  <a:lnTo>
                    <a:pt x="370" y="168"/>
                  </a:lnTo>
                  <a:lnTo>
                    <a:pt x="372" y="168"/>
                  </a:lnTo>
                  <a:lnTo>
                    <a:pt x="374" y="170"/>
                  </a:lnTo>
                  <a:lnTo>
                    <a:pt x="374" y="172"/>
                  </a:lnTo>
                  <a:lnTo>
                    <a:pt x="372" y="176"/>
                  </a:lnTo>
                  <a:lnTo>
                    <a:pt x="372" y="178"/>
                  </a:lnTo>
                  <a:lnTo>
                    <a:pt x="370" y="180"/>
                  </a:lnTo>
                  <a:lnTo>
                    <a:pt x="368" y="182"/>
                  </a:lnTo>
                  <a:lnTo>
                    <a:pt x="366" y="182"/>
                  </a:lnTo>
                  <a:close/>
                  <a:moveTo>
                    <a:pt x="338" y="204"/>
                  </a:moveTo>
                  <a:lnTo>
                    <a:pt x="340" y="202"/>
                  </a:lnTo>
                  <a:lnTo>
                    <a:pt x="344" y="200"/>
                  </a:lnTo>
                  <a:lnTo>
                    <a:pt x="346" y="200"/>
                  </a:lnTo>
                  <a:lnTo>
                    <a:pt x="348" y="198"/>
                  </a:lnTo>
                  <a:lnTo>
                    <a:pt x="352" y="196"/>
                  </a:lnTo>
                  <a:lnTo>
                    <a:pt x="354" y="196"/>
                  </a:lnTo>
                  <a:lnTo>
                    <a:pt x="356" y="196"/>
                  </a:lnTo>
                  <a:lnTo>
                    <a:pt x="356" y="198"/>
                  </a:lnTo>
                  <a:lnTo>
                    <a:pt x="356" y="200"/>
                  </a:lnTo>
                  <a:lnTo>
                    <a:pt x="356" y="202"/>
                  </a:lnTo>
                  <a:lnTo>
                    <a:pt x="356" y="204"/>
                  </a:lnTo>
                  <a:lnTo>
                    <a:pt x="354" y="204"/>
                  </a:lnTo>
                  <a:lnTo>
                    <a:pt x="354" y="206"/>
                  </a:lnTo>
                  <a:lnTo>
                    <a:pt x="354" y="208"/>
                  </a:lnTo>
                  <a:lnTo>
                    <a:pt x="354" y="210"/>
                  </a:lnTo>
                  <a:lnTo>
                    <a:pt x="352" y="210"/>
                  </a:lnTo>
                  <a:lnTo>
                    <a:pt x="352" y="212"/>
                  </a:lnTo>
                  <a:lnTo>
                    <a:pt x="350" y="212"/>
                  </a:lnTo>
                  <a:lnTo>
                    <a:pt x="350" y="214"/>
                  </a:lnTo>
                  <a:lnTo>
                    <a:pt x="348" y="214"/>
                  </a:lnTo>
                  <a:lnTo>
                    <a:pt x="346" y="214"/>
                  </a:lnTo>
                  <a:lnTo>
                    <a:pt x="344" y="214"/>
                  </a:lnTo>
                  <a:lnTo>
                    <a:pt x="344" y="212"/>
                  </a:lnTo>
                  <a:lnTo>
                    <a:pt x="340" y="210"/>
                  </a:lnTo>
                  <a:lnTo>
                    <a:pt x="338" y="208"/>
                  </a:lnTo>
                  <a:lnTo>
                    <a:pt x="338" y="206"/>
                  </a:lnTo>
                  <a:lnTo>
                    <a:pt x="338" y="204"/>
                  </a:lnTo>
                  <a:close/>
                  <a:moveTo>
                    <a:pt x="362" y="204"/>
                  </a:moveTo>
                  <a:lnTo>
                    <a:pt x="360" y="200"/>
                  </a:lnTo>
                  <a:lnTo>
                    <a:pt x="360" y="198"/>
                  </a:lnTo>
                  <a:lnTo>
                    <a:pt x="360" y="196"/>
                  </a:lnTo>
                  <a:lnTo>
                    <a:pt x="360" y="194"/>
                  </a:lnTo>
                  <a:lnTo>
                    <a:pt x="362" y="194"/>
                  </a:lnTo>
                  <a:lnTo>
                    <a:pt x="364" y="190"/>
                  </a:lnTo>
                  <a:lnTo>
                    <a:pt x="366" y="188"/>
                  </a:lnTo>
                  <a:lnTo>
                    <a:pt x="368" y="186"/>
                  </a:lnTo>
                  <a:lnTo>
                    <a:pt x="370" y="186"/>
                  </a:lnTo>
                  <a:lnTo>
                    <a:pt x="372" y="184"/>
                  </a:lnTo>
                  <a:lnTo>
                    <a:pt x="376" y="184"/>
                  </a:lnTo>
                  <a:lnTo>
                    <a:pt x="378" y="184"/>
                  </a:lnTo>
                  <a:lnTo>
                    <a:pt x="380" y="184"/>
                  </a:lnTo>
                  <a:lnTo>
                    <a:pt x="384" y="184"/>
                  </a:lnTo>
                  <a:lnTo>
                    <a:pt x="386" y="186"/>
                  </a:lnTo>
                  <a:lnTo>
                    <a:pt x="388" y="186"/>
                  </a:lnTo>
                  <a:lnTo>
                    <a:pt x="388" y="188"/>
                  </a:lnTo>
                  <a:lnTo>
                    <a:pt x="390" y="190"/>
                  </a:lnTo>
                  <a:lnTo>
                    <a:pt x="390" y="192"/>
                  </a:lnTo>
                  <a:lnTo>
                    <a:pt x="388" y="192"/>
                  </a:lnTo>
                  <a:lnTo>
                    <a:pt x="386" y="194"/>
                  </a:lnTo>
                  <a:lnTo>
                    <a:pt x="386" y="196"/>
                  </a:lnTo>
                  <a:lnTo>
                    <a:pt x="386" y="198"/>
                  </a:lnTo>
                  <a:lnTo>
                    <a:pt x="386" y="200"/>
                  </a:lnTo>
                  <a:lnTo>
                    <a:pt x="386" y="202"/>
                  </a:lnTo>
                  <a:lnTo>
                    <a:pt x="384" y="204"/>
                  </a:lnTo>
                  <a:lnTo>
                    <a:pt x="382" y="204"/>
                  </a:lnTo>
                  <a:lnTo>
                    <a:pt x="380" y="204"/>
                  </a:lnTo>
                  <a:lnTo>
                    <a:pt x="378" y="204"/>
                  </a:lnTo>
                  <a:lnTo>
                    <a:pt x="374" y="202"/>
                  </a:lnTo>
                  <a:lnTo>
                    <a:pt x="372" y="202"/>
                  </a:lnTo>
                  <a:lnTo>
                    <a:pt x="370" y="200"/>
                  </a:lnTo>
                  <a:lnTo>
                    <a:pt x="368" y="202"/>
                  </a:lnTo>
                  <a:lnTo>
                    <a:pt x="366" y="202"/>
                  </a:lnTo>
                  <a:lnTo>
                    <a:pt x="364" y="204"/>
                  </a:lnTo>
                  <a:lnTo>
                    <a:pt x="362" y="204"/>
                  </a:lnTo>
                  <a:close/>
                  <a:moveTo>
                    <a:pt x="316" y="214"/>
                  </a:moveTo>
                  <a:lnTo>
                    <a:pt x="314" y="214"/>
                  </a:lnTo>
                  <a:lnTo>
                    <a:pt x="314" y="212"/>
                  </a:lnTo>
                  <a:lnTo>
                    <a:pt x="314" y="210"/>
                  </a:lnTo>
                  <a:lnTo>
                    <a:pt x="316" y="210"/>
                  </a:lnTo>
                  <a:lnTo>
                    <a:pt x="320" y="210"/>
                  </a:lnTo>
                  <a:lnTo>
                    <a:pt x="322" y="210"/>
                  </a:lnTo>
                  <a:lnTo>
                    <a:pt x="324" y="210"/>
                  </a:lnTo>
                  <a:lnTo>
                    <a:pt x="324" y="212"/>
                  </a:lnTo>
                  <a:lnTo>
                    <a:pt x="324" y="214"/>
                  </a:lnTo>
                  <a:lnTo>
                    <a:pt x="322" y="214"/>
                  </a:lnTo>
                  <a:lnTo>
                    <a:pt x="318" y="214"/>
                  </a:lnTo>
                  <a:lnTo>
                    <a:pt x="316" y="214"/>
                  </a:lnTo>
                  <a:close/>
                  <a:moveTo>
                    <a:pt x="338" y="212"/>
                  </a:moveTo>
                  <a:lnTo>
                    <a:pt x="338" y="214"/>
                  </a:lnTo>
                  <a:lnTo>
                    <a:pt x="340" y="214"/>
                  </a:lnTo>
                  <a:lnTo>
                    <a:pt x="340" y="216"/>
                  </a:lnTo>
                  <a:lnTo>
                    <a:pt x="338" y="216"/>
                  </a:lnTo>
                  <a:lnTo>
                    <a:pt x="336" y="216"/>
                  </a:lnTo>
                  <a:lnTo>
                    <a:pt x="334" y="216"/>
                  </a:lnTo>
                  <a:lnTo>
                    <a:pt x="332" y="216"/>
                  </a:lnTo>
                  <a:lnTo>
                    <a:pt x="330" y="214"/>
                  </a:lnTo>
                  <a:lnTo>
                    <a:pt x="328" y="210"/>
                  </a:lnTo>
                  <a:lnTo>
                    <a:pt x="326" y="208"/>
                  </a:lnTo>
                  <a:lnTo>
                    <a:pt x="326" y="206"/>
                  </a:lnTo>
                  <a:lnTo>
                    <a:pt x="330" y="208"/>
                  </a:lnTo>
                  <a:lnTo>
                    <a:pt x="332" y="210"/>
                  </a:lnTo>
                  <a:lnTo>
                    <a:pt x="334" y="212"/>
                  </a:lnTo>
                  <a:lnTo>
                    <a:pt x="338" y="212"/>
                  </a:lnTo>
                  <a:close/>
                  <a:moveTo>
                    <a:pt x="232" y="226"/>
                  </a:moveTo>
                  <a:lnTo>
                    <a:pt x="230" y="224"/>
                  </a:lnTo>
                  <a:lnTo>
                    <a:pt x="230" y="222"/>
                  </a:lnTo>
                  <a:lnTo>
                    <a:pt x="230" y="220"/>
                  </a:lnTo>
                  <a:lnTo>
                    <a:pt x="232" y="220"/>
                  </a:lnTo>
                  <a:lnTo>
                    <a:pt x="234" y="220"/>
                  </a:lnTo>
                  <a:lnTo>
                    <a:pt x="234" y="218"/>
                  </a:lnTo>
                  <a:lnTo>
                    <a:pt x="234" y="216"/>
                  </a:lnTo>
                  <a:lnTo>
                    <a:pt x="234" y="214"/>
                  </a:lnTo>
                  <a:lnTo>
                    <a:pt x="236" y="212"/>
                  </a:lnTo>
                  <a:lnTo>
                    <a:pt x="236" y="210"/>
                  </a:lnTo>
                  <a:lnTo>
                    <a:pt x="238" y="210"/>
                  </a:lnTo>
                  <a:lnTo>
                    <a:pt x="238" y="208"/>
                  </a:lnTo>
                  <a:lnTo>
                    <a:pt x="242" y="208"/>
                  </a:lnTo>
                  <a:lnTo>
                    <a:pt x="246" y="206"/>
                  </a:lnTo>
                  <a:lnTo>
                    <a:pt x="250" y="206"/>
                  </a:lnTo>
                  <a:lnTo>
                    <a:pt x="252" y="206"/>
                  </a:lnTo>
                  <a:lnTo>
                    <a:pt x="252" y="208"/>
                  </a:lnTo>
                  <a:lnTo>
                    <a:pt x="252" y="212"/>
                  </a:lnTo>
                  <a:lnTo>
                    <a:pt x="250" y="214"/>
                  </a:lnTo>
                  <a:lnTo>
                    <a:pt x="248" y="214"/>
                  </a:lnTo>
                  <a:lnTo>
                    <a:pt x="246" y="214"/>
                  </a:lnTo>
                  <a:lnTo>
                    <a:pt x="244" y="216"/>
                  </a:lnTo>
                  <a:lnTo>
                    <a:pt x="242" y="218"/>
                  </a:lnTo>
                  <a:lnTo>
                    <a:pt x="242" y="222"/>
                  </a:lnTo>
                  <a:lnTo>
                    <a:pt x="240" y="224"/>
                  </a:lnTo>
                  <a:lnTo>
                    <a:pt x="240" y="226"/>
                  </a:lnTo>
                  <a:lnTo>
                    <a:pt x="238" y="228"/>
                  </a:lnTo>
                  <a:lnTo>
                    <a:pt x="238" y="230"/>
                  </a:lnTo>
                  <a:lnTo>
                    <a:pt x="236" y="230"/>
                  </a:lnTo>
                  <a:lnTo>
                    <a:pt x="234" y="230"/>
                  </a:lnTo>
                  <a:lnTo>
                    <a:pt x="232" y="226"/>
                  </a:lnTo>
                  <a:close/>
                  <a:moveTo>
                    <a:pt x="250" y="218"/>
                  </a:moveTo>
                  <a:lnTo>
                    <a:pt x="254" y="218"/>
                  </a:lnTo>
                  <a:lnTo>
                    <a:pt x="256" y="220"/>
                  </a:lnTo>
                  <a:lnTo>
                    <a:pt x="258" y="218"/>
                  </a:lnTo>
                  <a:lnTo>
                    <a:pt x="258" y="216"/>
                  </a:lnTo>
                  <a:lnTo>
                    <a:pt x="258" y="214"/>
                  </a:lnTo>
                  <a:lnTo>
                    <a:pt x="258" y="210"/>
                  </a:lnTo>
                  <a:lnTo>
                    <a:pt x="258" y="208"/>
                  </a:lnTo>
                  <a:lnTo>
                    <a:pt x="258" y="206"/>
                  </a:lnTo>
                  <a:lnTo>
                    <a:pt x="260" y="204"/>
                  </a:lnTo>
                  <a:lnTo>
                    <a:pt x="262" y="202"/>
                  </a:lnTo>
                  <a:lnTo>
                    <a:pt x="264" y="202"/>
                  </a:lnTo>
                  <a:lnTo>
                    <a:pt x="264" y="200"/>
                  </a:lnTo>
                  <a:lnTo>
                    <a:pt x="266" y="200"/>
                  </a:lnTo>
                  <a:lnTo>
                    <a:pt x="268" y="200"/>
                  </a:lnTo>
                  <a:lnTo>
                    <a:pt x="270" y="202"/>
                  </a:lnTo>
                  <a:lnTo>
                    <a:pt x="272" y="202"/>
                  </a:lnTo>
                  <a:lnTo>
                    <a:pt x="272" y="204"/>
                  </a:lnTo>
                  <a:lnTo>
                    <a:pt x="274" y="208"/>
                  </a:lnTo>
                  <a:lnTo>
                    <a:pt x="274" y="210"/>
                  </a:lnTo>
                  <a:lnTo>
                    <a:pt x="272" y="210"/>
                  </a:lnTo>
                  <a:lnTo>
                    <a:pt x="272" y="212"/>
                  </a:lnTo>
                  <a:lnTo>
                    <a:pt x="272" y="214"/>
                  </a:lnTo>
                  <a:lnTo>
                    <a:pt x="270" y="214"/>
                  </a:lnTo>
                  <a:lnTo>
                    <a:pt x="268" y="214"/>
                  </a:lnTo>
                  <a:lnTo>
                    <a:pt x="266" y="214"/>
                  </a:lnTo>
                  <a:lnTo>
                    <a:pt x="264" y="214"/>
                  </a:lnTo>
                  <a:lnTo>
                    <a:pt x="264" y="216"/>
                  </a:lnTo>
                  <a:lnTo>
                    <a:pt x="264" y="218"/>
                  </a:lnTo>
                  <a:lnTo>
                    <a:pt x="264" y="220"/>
                  </a:lnTo>
                  <a:lnTo>
                    <a:pt x="264" y="222"/>
                  </a:lnTo>
                  <a:lnTo>
                    <a:pt x="266" y="224"/>
                  </a:lnTo>
                  <a:lnTo>
                    <a:pt x="266" y="226"/>
                  </a:lnTo>
                  <a:lnTo>
                    <a:pt x="266" y="228"/>
                  </a:lnTo>
                  <a:lnTo>
                    <a:pt x="264" y="232"/>
                  </a:lnTo>
                  <a:lnTo>
                    <a:pt x="264" y="234"/>
                  </a:lnTo>
                  <a:lnTo>
                    <a:pt x="262" y="234"/>
                  </a:lnTo>
                  <a:lnTo>
                    <a:pt x="260" y="234"/>
                  </a:lnTo>
                  <a:lnTo>
                    <a:pt x="258" y="232"/>
                  </a:lnTo>
                  <a:lnTo>
                    <a:pt x="258" y="230"/>
                  </a:lnTo>
                  <a:lnTo>
                    <a:pt x="256" y="230"/>
                  </a:lnTo>
                  <a:lnTo>
                    <a:pt x="256" y="232"/>
                  </a:lnTo>
                  <a:lnTo>
                    <a:pt x="256" y="234"/>
                  </a:lnTo>
                  <a:lnTo>
                    <a:pt x="254" y="236"/>
                  </a:lnTo>
                  <a:lnTo>
                    <a:pt x="252" y="236"/>
                  </a:lnTo>
                  <a:lnTo>
                    <a:pt x="252" y="234"/>
                  </a:lnTo>
                  <a:lnTo>
                    <a:pt x="250" y="234"/>
                  </a:lnTo>
                  <a:lnTo>
                    <a:pt x="248" y="234"/>
                  </a:lnTo>
                  <a:lnTo>
                    <a:pt x="246" y="234"/>
                  </a:lnTo>
                  <a:lnTo>
                    <a:pt x="244" y="232"/>
                  </a:lnTo>
                  <a:lnTo>
                    <a:pt x="242" y="230"/>
                  </a:lnTo>
                  <a:lnTo>
                    <a:pt x="242" y="228"/>
                  </a:lnTo>
                  <a:lnTo>
                    <a:pt x="244" y="226"/>
                  </a:lnTo>
                  <a:lnTo>
                    <a:pt x="244" y="224"/>
                  </a:lnTo>
                  <a:lnTo>
                    <a:pt x="246" y="224"/>
                  </a:lnTo>
                  <a:lnTo>
                    <a:pt x="248" y="226"/>
                  </a:lnTo>
                  <a:lnTo>
                    <a:pt x="250" y="226"/>
                  </a:lnTo>
                  <a:lnTo>
                    <a:pt x="252" y="226"/>
                  </a:lnTo>
                  <a:lnTo>
                    <a:pt x="252" y="224"/>
                  </a:lnTo>
                  <a:lnTo>
                    <a:pt x="248" y="222"/>
                  </a:lnTo>
                  <a:lnTo>
                    <a:pt x="248" y="220"/>
                  </a:lnTo>
                  <a:lnTo>
                    <a:pt x="248" y="218"/>
                  </a:lnTo>
                  <a:lnTo>
                    <a:pt x="250" y="218"/>
                  </a:lnTo>
                  <a:close/>
                  <a:moveTo>
                    <a:pt x="276" y="222"/>
                  </a:moveTo>
                  <a:lnTo>
                    <a:pt x="276" y="224"/>
                  </a:lnTo>
                  <a:lnTo>
                    <a:pt x="278" y="224"/>
                  </a:lnTo>
                  <a:lnTo>
                    <a:pt x="280" y="224"/>
                  </a:lnTo>
                  <a:lnTo>
                    <a:pt x="280" y="226"/>
                  </a:lnTo>
                  <a:lnTo>
                    <a:pt x="280" y="228"/>
                  </a:lnTo>
                  <a:lnTo>
                    <a:pt x="278" y="230"/>
                  </a:lnTo>
                  <a:lnTo>
                    <a:pt x="276" y="232"/>
                  </a:lnTo>
                  <a:lnTo>
                    <a:pt x="276" y="234"/>
                  </a:lnTo>
                  <a:lnTo>
                    <a:pt x="274" y="234"/>
                  </a:lnTo>
                  <a:lnTo>
                    <a:pt x="272" y="234"/>
                  </a:lnTo>
                  <a:lnTo>
                    <a:pt x="272" y="232"/>
                  </a:lnTo>
                  <a:lnTo>
                    <a:pt x="272" y="228"/>
                  </a:lnTo>
                  <a:lnTo>
                    <a:pt x="272" y="224"/>
                  </a:lnTo>
                  <a:lnTo>
                    <a:pt x="272" y="222"/>
                  </a:lnTo>
                  <a:lnTo>
                    <a:pt x="274" y="222"/>
                  </a:lnTo>
                  <a:lnTo>
                    <a:pt x="276" y="222"/>
                  </a:lnTo>
                  <a:close/>
                  <a:moveTo>
                    <a:pt x="250" y="1072"/>
                  </a:moveTo>
                  <a:lnTo>
                    <a:pt x="252" y="1072"/>
                  </a:lnTo>
                  <a:lnTo>
                    <a:pt x="252" y="1074"/>
                  </a:lnTo>
                  <a:lnTo>
                    <a:pt x="252" y="1076"/>
                  </a:lnTo>
                  <a:lnTo>
                    <a:pt x="252" y="1078"/>
                  </a:lnTo>
                  <a:lnTo>
                    <a:pt x="252" y="1080"/>
                  </a:lnTo>
                  <a:lnTo>
                    <a:pt x="252" y="1082"/>
                  </a:lnTo>
                  <a:lnTo>
                    <a:pt x="250" y="1082"/>
                  </a:lnTo>
                  <a:lnTo>
                    <a:pt x="248" y="1082"/>
                  </a:lnTo>
                  <a:lnTo>
                    <a:pt x="246" y="1082"/>
                  </a:lnTo>
                  <a:lnTo>
                    <a:pt x="244" y="1082"/>
                  </a:lnTo>
                  <a:lnTo>
                    <a:pt x="240" y="1080"/>
                  </a:lnTo>
                  <a:lnTo>
                    <a:pt x="238" y="1080"/>
                  </a:lnTo>
                  <a:lnTo>
                    <a:pt x="236" y="1082"/>
                  </a:lnTo>
                  <a:lnTo>
                    <a:pt x="234" y="1082"/>
                  </a:lnTo>
                  <a:lnTo>
                    <a:pt x="232" y="1084"/>
                  </a:lnTo>
                  <a:lnTo>
                    <a:pt x="230" y="1086"/>
                  </a:lnTo>
                  <a:lnTo>
                    <a:pt x="228" y="1086"/>
                  </a:lnTo>
                  <a:lnTo>
                    <a:pt x="226" y="1090"/>
                  </a:lnTo>
                  <a:lnTo>
                    <a:pt x="224" y="1092"/>
                  </a:lnTo>
                  <a:lnTo>
                    <a:pt x="220" y="1094"/>
                  </a:lnTo>
                  <a:lnTo>
                    <a:pt x="216" y="1096"/>
                  </a:lnTo>
                  <a:lnTo>
                    <a:pt x="212" y="1096"/>
                  </a:lnTo>
                  <a:lnTo>
                    <a:pt x="210" y="1096"/>
                  </a:lnTo>
                  <a:lnTo>
                    <a:pt x="210" y="1094"/>
                  </a:lnTo>
                  <a:lnTo>
                    <a:pt x="208" y="1092"/>
                  </a:lnTo>
                  <a:lnTo>
                    <a:pt x="208" y="1088"/>
                  </a:lnTo>
                  <a:lnTo>
                    <a:pt x="208" y="1086"/>
                  </a:lnTo>
                  <a:lnTo>
                    <a:pt x="208" y="1084"/>
                  </a:lnTo>
                  <a:lnTo>
                    <a:pt x="208" y="1082"/>
                  </a:lnTo>
                  <a:lnTo>
                    <a:pt x="208" y="1080"/>
                  </a:lnTo>
                  <a:lnTo>
                    <a:pt x="208" y="1078"/>
                  </a:lnTo>
                  <a:lnTo>
                    <a:pt x="206" y="1078"/>
                  </a:lnTo>
                  <a:lnTo>
                    <a:pt x="204" y="1076"/>
                  </a:lnTo>
                  <a:lnTo>
                    <a:pt x="202" y="1076"/>
                  </a:lnTo>
                  <a:lnTo>
                    <a:pt x="198" y="1076"/>
                  </a:lnTo>
                  <a:lnTo>
                    <a:pt x="196" y="1076"/>
                  </a:lnTo>
                  <a:lnTo>
                    <a:pt x="194" y="1076"/>
                  </a:lnTo>
                  <a:lnTo>
                    <a:pt x="194" y="1074"/>
                  </a:lnTo>
                  <a:lnTo>
                    <a:pt x="194" y="1072"/>
                  </a:lnTo>
                  <a:lnTo>
                    <a:pt x="198" y="1070"/>
                  </a:lnTo>
                  <a:lnTo>
                    <a:pt x="200" y="1066"/>
                  </a:lnTo>
                  <a:lnTo>
                    <a:pt x="202" y="1066"/>
                  </a:lnTo>
                  <a:lnTo>
                    <a:pt x="206" y="1064"/>
                  </a:lnTo>
                  <a:lnTo>
                    <a:pt x="208" y="1064"/>
                  </a:lnTo>
                  <a:lnTo>
                    <a:pt x="208" y="1062"/>
                  </a:lnTo>
                  <a:lnTo>
                    <a:pt x="214" y="1058"/>
                  </a:lnTo>
                  <a:lnTo>
                    <a:pt x="216" y="1060"/>
                  </a:lnTo>
                  <a:lnTo>
                    <a:pt x="218" y="1060"/>
                  </a:lnTo>
                  <a:lnTo>
                    <a:pt x="220" y="1060"/>
                  </a:lnTo>
                  <a:lnTo>
                    <a:pt x="224" y="1060"/>
                  </a:lnTo>
                  <a:lnTo>
                    <a:pt x="226" y="1060"/>
                  </a:lnTo>
                  <a:lnTo>
                    <a:pt x="228" y="1060"/>
                  </a:lnTo>
                  <a:lnTo>
                    <a:pt x="228" y="1062"/>
                  </a:lnTo>
                  <a:lnTo>
                    <a:pt x="230" y="1062"/>
                  </a:lnTo>
                  <a:lnTo>
                    <a:pt x="232" y="1066"/>
                  </a:lnTo>
                  <a:lnTo>
                    <a:pt x="234" y="1068"/>
                  </a:lnTo>
                  <a:lnTo>
                    <a:pt x="236" y="1070"/>
                  </a:lnTo>
                  <a:lnTo>
                    <a:pt x="236" y="1072"/>
                  </a:lnTo>
                  <a:lnTo>
                    <a:pt x="238" y="1072"/>
                  </a:lnTo>
                  <a:lnTo>
                    <a:pt x="240" y="1072"/>
                  </a:lnTo>
                  <a:lnTo>
                    <a:pt x="242" y="1072"/>
                  </a:lnTo>
                  <a:lnTo>
                    <a:pt x="244" y="1070"/>
                  </a:lnTo>
                  <a:lnTo>
                    <a:pt x="246" y="1068"/>
                  </a:lnTo>
                  <a:lnTo>
                    <a:pt x="248" y="1068"/>
                  </a:lnTo>
                  <a:lnTo>
                    <a:pt x="248" y="1070"/>
                  </a:lnTo>
                  <a:lnTo>
                    <a:pt x="250" y="1070"/>
                  </a:lnTo>
                  <a:lnTo>
                    <a:pt x="250" y="1072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96" name="Freeform 1123"/>
            <p:cNvSpPr>
              <a:spLocks/>
            </p:cNvSpPr>
            <p:nvPr/>
          </p:nvSpPr>
          <p:spPr bwMode="auto">
            <a:xfrm>
              <a:off x="4770603" y="2857062"/>
              <a:ext cx="409107" cy="227282"/>
            </a:xfrm>
            <a:custGeom>
              <a:avLst/>
              <a:gdLst>
                <a:gd name="T0" fmla="*/ 244 w 252"/>
                <a:gd name="T1" fmla="*/ 44 h 140"/>
                <a:gd name="T2" fmla="*/ 232 w 252"/>
                <a:gd name="T3" fmla="*/ 42 h 140"/>
                <a:gd name="T4" fmla="*/ 220 w 252"/>
                <a:gd name="T5" fmla="*/ 42 h 140"/>
                <a:gd name="T6" fmla="*/ 206 w 252"/>
                <a:gd name="T7" fmla="*/ 38 h 140"/>
                <a:gd name="T8" fmla="*/ 186 w 252"/>
                <a:gd name="T9" fmla="*/ 38 h 140"/>
                <a:gd name="T10" fmla="*/ 178 w 252"/>
                <a:gd name="T11" fmla="*/ 30 h 140"/>
                <a:gd name="T12" fmla="*/ 172 w 252"/>
                <a:gd name="T13" fmla="*/ 20 h 140"/>
                <a:gd name="T14" fmla="*/ 160 w 252"/>
                <a:gd name="T15" fmla="*/ 18 h 140"/>
                <a:gd name="T16" fmla="*/ 162 w 252"/>
                <a:gd name="T17" fmla="*/ 10 h 140"/>
                <a:gd name="T18" fmla="*/ 160 w 252"/>
                <a:gd name="T19" fmla="*/ 2 h 140"/>
                <a:gd name="T20" fmla="*/ 136 w 252"/>
                <a:gd name="T21" fmla="*/ 0 h 140"/>
                <a:gd name="T22" fmla="*/ 120 w 252"/>
                <a:gd name="T23" fmla="*/ 4 h 140"/>
                <a:gd name="T24" fmla="*/ 112 w 252"/>
                <a:gd name="T25" fmla="*/ 6 h 140"/>
                <a:gd name="T26" fmla="*/ 110 w 252"/>
                <a:gd name="T27" fmla="*/ 18 h 140"/>
                <a:gd name="T28" fmla="*/ 96 w 252"/>
                <a:gd name="T29" fmla="*/ 20 h 140"/>
                <a:gd name="T30" fmla="*/ 84 w 252"/>
                <a:gd name="T31" fmla="*/ 18 h 140"/>
                <a:gd name="T32" fmla="*/ 72 w 252"/>
                <a:gd name="T33" fmla="*/ 16 h 140"/>
                <a:gd name="T34" fmla="*/ 64 w 252"/>
                <a:gd name="T35" fmla="*/ 14 h 140"/>
                <a:gd name="T36" fmla="*/ 46 w 252"/>
                <a:gd name="T37" fmla="*/ 12 h 140"/>
                <a:gd name="T38" fmla="*/ 32 w 252"/>
                <a:gd name="T39" fmla="*/ 10 h 140"/>
                <a:gd name="T40" fmla="*/ 16 w 252"/>
                <a:gd name="T41" fmla="*/ 16 h 140"/>
                <a:gd name="T42" fmla="*/ 20 w 252"/>
                <a:gd name="T43" fmla="*/ 36 h 140"/>
                <a:gd name="T44" fmla="*/ 14 w 252"/>
                <a:gd name="T45" fmla="*/ 48 h 140"/>
                <a:gd name="T46" fmla="*/ 8 w 252"/>
                <a:gd name="T47" fmla="*/ 60 h 140"/>
                <a:gd name="T48" fmla="*/ 4 w 252"/>
                <a:gd name="T49" fmla="*/ 66 h 140"/>
                <a:gd name="T50" fmla="*/ 2 w 252"/>
                <a:gd name="T51" fmla="*/ 74 h 140"/>
                <a:gd name="T52" fmla="*/ 6 w 252"/>
                <a:gd name="T53" fmla="*/ 88 h 140"/>
                <a:gd name="T54" fmla="*/ 18 w 252"/>
                <a:gd name="T55" fmla="*/ 90 h 140"/>
                <a:gd name="T56" fmla="*/ 32 w 252"/>
                <a:gd name="T57" fmla="*/ 96 h 140"/>
                <a:gd name="T58" fmla="*/ 60 w 252"/>
                <a:gd name="T59" fmla="*/ 90 h 140"/>
                <a:gd name="T60" fmla="*/ 72 w 252"/>
                <a:gd name="T61" fmla="*/ 82 h 140"/>
                <a:gd name="T62" fmla="*/ 82 w 252"/>
                <a:gd name="T63" fmla="*/ 84 h 140"/>
                <a:gd name="T64" fmla="*/ 92 w 252"/>
                <a:gd name="T65" fmla="*/ 92 h 140"/>
                <a:gd name="T66" fmla="*/ 98 w 252"/>
                <a:gd name="T67" fmla="*/ 102 h 140"/>
                <a:gd name="T68" fmla="*/ 104 w 252"/>
                <a:gd name="T69" fmla="*/ 114 h 140"/>
                <a:gd name="T70" fmla="*/ 94 w 252"/>
                <a:gd name="T71" fmla="*/ 120 h 140"/>
                <a:gd name="T72" fmla="*/ 88 w 252"/>
                <a:gd name="T73" fmla="*/ 132 h 140"/>
                <a:gd name="T74" fmla="*/ 94 w 252"/>
                <a:gd name="T75" fmla="*/ 140 h 140"/>
                <a:gd name="T76" fmla="*/ 104 w 252"/>
                <a:gd name="T77" fmla="*/ 138 h 140"/>
                <a:gd name="T78" fmla="*/ 114 w 252"/>
                <a:gd name="T79" fmla="*/ 132 h 140"/>
                <a:gd name="T80" fmla="*/ 128 w 252"/>
                <a:gd name="T81" fmla="*/ 114 h 140"/>
                <a:gd name="T82" fmla="*/ 142 w 252"/>
                <a:gd name="T83" fmla="*/ 112 h 140"/>
                <a:gd name="T84" fmla="*/ 136 w 252"/>
                <a:gd name="T85" fmla="*/ 116 h 140"/>
                <a:gd name="T86" fmla="*/ 142 w 252"/>
                <a:gd name="T87" fmla="*/ 122 h 140"/>
                <a:gd name="T88" fmla="*/ 150 w 252"/>
                <a:gd name="T89" fmla="*/ 124 h 140"/>
                <a:gd name="T90" fmla="*/ 158 w 252"/>
                <a:gd name="T91" fmla="*/ 128 h 140"/>
                <a:gd name="T92" fmla="*/ 166 w 252"/>
                <a:gd name="T93" fmla="*/ 120 h 140"/>
                <a:gd name="T94" fmla="*/ 174 w 252"/>
                <a:gd name="T95" fmla="*/ 118 h 140"/>
                <a:gd name="T96" fmla="*/ 182 w 252"/>
                <a:gd name="T97" fmla="*/ 120 h 140"/>
                <a:gd name="T98" fmla="*/ 186 w 252"/>
                <a:gd name="T99" fmla="*/ 114 h 140"/>
                <a:gd name="T100" fmla="*/ 200 w 252"/>
                <a:gd name="T101" fmla="*/ 106 h 140"/>
                <a:gd name="T102" fmla="*/ 222 w 252"/>
                <a:gd name="T103" fmla="*/ 96 h 140"/>
                <a:gd name="T104" fmla="*/ 228 w 252"/>
                <a:gd name="T105" fmla="*/ 88 h 140"/>
                <a:gd name="T106" fmla="*/ 244 w 252"/>
                <a:gd name="T107" fmla="*/ 82 h 140"/>
                <a:gd name="T108" fmla="*/ 246 w 252"/>
                <a:gd name="T109" fmla="*/ 72 h 140"/>
                <a:gd name="T110" fmla="*/ 248 w 252"/>
                <a:gd name="T111" fmla="*/ 58 h 140"/>
                <a:gd name="T112" fmla="*/ 252 w 252"/>
                <a:gd name="T113" fmla="*/ 5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52" h="140">
                  <a:moveTo>
                    <a:pt x="252" y="50"/>
                  </a:moveTo>
                  <a:lnTo>
                    <a:pt x="252" y="48"/>
                  </a:lnTo>
                  <a:lnTo>
                    <a:pt x="250" y="46"/>
                  </a:lnTo>
                  <a:lnTo>
                    <a:pt x="250" y="46"/>
                  </a:lnTo>
                  <a:lnTo>
                    <a:pt x="248" y="44"/>
                  </a:lnTo>
                  <a:lnTo>
                    <a:pt x="244" y="44"/>
                  </a:lnTo>
                  <a:lnTo>
                    <a:pt x="242" y="44"/>
                  </a:lnTo>
                  <a:lnTo>
                    <a:pt x="238" y="44"/>
                  </a:lnTo>
                  <a:lnTo>
                    <a:pt x="236" y="44"/>
                  </a:lnTo>
                  <a:lnTo>
                    <a:pt x="234" y="42"/>
                  </a:lnTo>
                  <a:lnTo>
                    <a:pt x="232" y="42"/>
                  </a:lnTo>
                  <a:lnTo>
                    <a:pt x="232" y="42"/>
                  </a:lnTo>
                  <a:lnTo>
                    <a:pt x="230" y="42"/>
                  </a:lnTo>
                  <a:lnTo>
                    <a:pt x="230" y="42"/>
                  </a:lnTo>
                  <a:lnTo>
                    <a:pt x="228" y="42"/>
                  </a:lnTo>
                  <a:lnTo>
                    <a:pt x="226" y="42"/>
                  </a:lnTo>
                  <a:lnTo>
                    <a:pt x="224" y="42"/>
                  </a:lnTo>
                  <a:lnTo>
                    <a:pt x="220" y="42"/>
                  </a:lnTo>
                  <a:lnTo>
                    <a:pt x="216" y="42"/>
                  </a:lnTo>
                  <a:lnTo>
                    <a:pt x="214" y="42"/>
                  </a:lnTo>
                  <a:lnTo>
                    <a:pt x="212" y="42"/>
                  </a:lnTo>
                  <a:lnTo>
                    <a:pt x="210" y="40"/>
                  </a:lnTo>
                  <a:lnTo>
                    <a:pt x="208" y="40"/>
                  </a:lnTo>
                  <a:lnTo>
                    <a:pt x="206" y="38"/>
                  </a:lnTo>
                  <a:lnTo>
                    <a:pt x="202" y="36"/>
                  </a:lnTo>
                  <a:lnTo>
                    <a:pt x="198" y="36"/>
                  </a:lnTo>
                  <a:lnTo>
                    <a:pt x="196" y="36"/>
                  </a:lnTo>
                  <a:lnTo>
                    <a:pt x="192" y="36"/>
                  </a:lnTo>
                  <a:lnTo>
                    <a:pt x="188" y="38"/>
                  </a:lnTo>
                  <a:lnTo>
                    <a:pt x="186" y="38"/>
                  </a:lnTo>
                  <a:lnTo>
                    <a:pt x="186" y="38"/>
                  </a:lnTo>
                  <a:lnTo>
                    <a:pt x="184" y="36"/>
                  </a:lnTo>
                  <a:lnTo>
                    <a:pt x="184" y="36"/>
                  </a:lnTo>
                  <a:lnTo>
                    <a:pt x="180" y="34"/>
                  </a:lnTo>
                  <a:lnTo>
                    <a:pt x="178" y="30"/>
                  </a:lnTo>
                  <a:lnTo>
                    <a:pt x="178" y="30"/>
                  </a:lnTo>
                  <a:lnTo>
                    <a:pt x="176" y="28"/>
                  </a:lnTo>
                  <a:lnTo>
                    <a:pt x="176" y="26"/>
                  </a:lnTo>
                  <a:lnTo>
                    <a:pt x="176" y="24"/>
                  </a:lnTo>
                  <a:lnTo>
                    <a:pt x="174" y="22"/>
                  </a:lnTo>
                  <a:lnTo>
                    <a:pt x="174" y="22"/>
                  </a:lnTo>
                  <a:lnTo>
                    <a:pt x="172" y="20"/>
                  </a:lnTo>
                  <a:lnTo>
                    <a:pt x="170" y="20"/>
                  </a:lnTo>
                  <a:lnTo>
                    <a:pt x="168" y="20"/>
                  </a:lnTo>
                  <a:lnTo>
                    <a:pt x="164" y="20"/>
                  </a:lnTo>
                  <a:lnTo>
                    <a:pt x="162" y="20"/>
                  </a:lnTo>
                  <a:lnTo>
                    <a:pt x="162" y="20"/>
                  </a:lnTo>
                  <a:lnTo>
                    <a:pt x="160" y="18"/>
                  </a:lnTo>
                  <a:lnTo>
                    <a:pt x="160" y="18"/>
                  </a:lnTo>
                  <a:lnTo>
                    <a:pt x="160" y="16"/>
                  </a:lnTo>
                  <a:lnTo>
                    <a:pt x="160" y="16"/>
                  </a:lnTo>
                  <a:lnTo>
                    <a:pt x="160" y="14"/>
                  </a:lnTo>
                  <a:lnTo>
                    <a:pt x="160" y="12"/>
                  </a:lnTo>
                  <a:lnTo>
                    <a:pt x="162" y="10"/>
                  </a:lnTo>
                  <a:lnTo>
                    <a:pt x="162" y="8"/>
                  </a:lnTo>
                  <a:lnTo>
                    <a:pt x="162" y="6"/>
                  </a:lnTo>
                  <a:lnTo>
                    <a:pt x="162" y="6"/>
                  </a:lnTo>
                  <a:lnTo>
                    <a:pt x="160" y="4"/>
                  </a:lnTo>
                  <a:lnTo>
                    <a:pt x="160" y="2"/>
                  </a:lnTo>
                  <a:lnTo>
                    <a:pt x="160" y="2"/>
                  </a:lnTo>
                  <a:lnTo>
                    <a:pt x="156" y="0"/>
                  </a:lnTo>
                  <a:lnTo>
                    <a:pt x="152" y="0"/>
                  </a:lnTo>
                  <a:lnTo>
                    <a:pt x="144" y="0"/>
                  </a:lnTo>
                  <a:lnTo>
                    <a:pt x="140" y="0"/>
                  </a:lnTo>
                  <a:lnTo>
                    <a:pt x="138" y="0"/>
                  </a:lnTo>
                  <a:lnTo>
                    <a:pt x="136" y="0"/>
                  </a:lnTo>
                  <a:lnTo>
                    <a:pt x="134" y="0"/>
                  </a:lnTo>
                  <a:lnTo>
                    <a:pt x="130" y="0"/>
                  </a:lnTo>
                  <a:lnTo>
                    <a:pt x="126" y="0"/>
                  </a:lnTo>
                  <a:lnTo>
                    <a:pt x="124" y="2"/>
                  </a:lnTo>
                  <a:lnTo>
                    <a:pt x="122" y="2"/>
                  </a:lnTo>
                  <a:lnTo>
                    <a:pt x="120" y="4"/>
                  </a:lnTo>
                  <a:lnTo>
                    <a:pt x="118" y="2"/>
                  </a:lnTo>
                  <a:lnTo>
                    <a:pt x="118" y="4"/>
                  </a:lnTo>
                  <a:lnTo>
                    <a:pt x="116" y="4"/>
                  </a:lnTo>
                  <a:lnTo>
                    <a:pt x="114" y="4"/>
                  </a:lnTo>
                  <a:lnTo>
                    <a:pt x="114" y="4"/>
                  </a:lnTo>
                  <a:lnTo>
                    <a:pt x="112" y="6"/>
                  </a:lnTo>
                  <a:lnTo>
                    <a:pt x="112" y="8"/>
                  </a:lnTo>
                  <a:lnTo>
                    <a:pt x="112" y="10"/>
                  </a:lnTo>
                  <a:lnTo>
                    <a:pt x="112" y="12"/>
                  </a:lnTo>
                  <a:lnTo>
                    <a:pt x="112" y="16"/>
                  </a:lnTo>
                  <a:lnTo>
                    <a:pt x="112" y="18"/>
                  </a:lnTo>
                  <a:lnTo>
                    <a:pt x="110" y="18"/>
                  </a:lnTo>
                  <a:lnTo>
                    <a:pt x="108" y="20"/>
                  </a:lnTo>
                  <a:lnTo>
                    <a:pt x="108" y="20"/>
                  </a:lnTo>
                  <a:lnTo>
                    <a:pt x="106" y="20"/>
                  </a:lnTo>
                  <a:lnTo>
                    <a:pt x="104" y="20"/>
                  </a:lnTo>
                  <a:lnTo>
                    <a:pt x="100" y="20"/>
                  </a:lnTo>
                  <a:lnTo>
                    <a:pt x="96" y="20"/>
                  </a:lnTo>
                  <a:lnTo>
                    <a:pt x="94" y="18"/>
                  </a:lnTo>
                  <a:lnTo>
                    <a:pt x="92" y="18"/>
                  </a:lnTo>
                  <a:lnTo>
                    <a:pt x="88" y="20"/>
                  </a:lnTo>
                  <a:lnTo>
                    <a:pt x="86" y="20"/>
                  </a:lnTo>
                  <a:lnTo>
                    <a:pt x="84" y="20"/>
                  </a:lnTo>
                  <a:lnTo>
                    <a:pt x="84" y="18"/>
                  </a:lnTo>
                  <a:lnTo>
                    <a:pt x="82" y="18"/>
                  </a:lnTo>
                  <a:lnTo>
                    <a:pt x="80" y="18"/>
                  </a:lnTo>
                  <a:lnTo>
                    <a:pt x="78" y="16"/>
                  </a:lnTo>
                  <a:lnTo>
                    <a:pt x="76" y="16"/>
                  </a:lnTo>
                  <a:lnTo>
                    <a:pt x="74" y="16"/>
                  </a:lnTo>
                  <a:lnTo>
                    <a:pt x="72" y="16"/>
                  </a:lnTo>
                  <a:lnTo>
                    <a:pt x="70" y="18"/>
                  </a:lnTo>
                  <a:lnTo>
                    <a:pt x="68" y="18"/>
                  </a:lnTo>
                  <a:lnTo>
                    <a:pt x="66" y="18"/>
                  </a:lnTo>
                  <a:lnTo>
                    <a:pt x="66" y="16"/>
                  </a:lnTo>
                  <a:lnTo>
                    <a:pt x="64" y="16"/>
                  </a:lnTo>
                  <a:lnTo>
                    <a:pt x="64" y="14"/>
                  </a:lnTo>
                  <a:lnTo>
                    <a:pt x="62" y="14"/>
                  </a:lnTo>
                  <a:lnTo>
                    <a:pt x="58" y="12"/>
                  </a:lnTo>
                  <a:lnTo>
                    <a:pt x="56" y="12"/>
                  </a:lnTo>
                  <a:lnTo>
                    <a:pt x="54" y="10"/>
                  </a:lnTo>
                  <a:lnTo>
                    <a:pt x="48" y="10"/>
                  </a:lnTo>
                  <a:lnTo>
                    <a:pt x="46" y="12"/>
                  </a:lnTo>
                  <a:lnTo>
                    <a:pt x="42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36" y="10"/>
                  </a:lnTo>
                  <a:lnTo>
                    <a:pt x="34" y="10"/>
                  </a:lnTo>
                  <a:lnTo>
                    <a:pt x="32" y="10"/>
                  </a:lnTo>
                  <a:lnTo>
                    <a:pt x="30" y="10"/>
                  </a:lnTo>
                  <a:lnTo>
                    <a:pt x="30" y="12"/>
                  </a:lnTo>
                  <a:lnTo>
                    <a:pt x="26" y="12"/>
                  </a:lnTo>
                  <a:lnTo>
                    <a:pt x="22" y="14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4" y="18"/>
                  </a:lnTo>
                  <a:lnTo>
                    <a:pt x="14" y="24"/>
                  </a:lnTo>
                  <a:lnTo>
                    <a:pt x="16" y="26"/>
                  </a:lnTo>
                  <a:lnTo>
                    <a:pt x="16" y="30"/>
                  </a:lnTo>
                  <a:lnTo>
                    <a:pt x="18" y="34"/>
                  </a:lnTo>
                  <a:lnTo>
                    <a:pt x="20" y="36"/>
                  </a:lnTo>
                  <a:lnTo>
                    <a:pt x="20" y="38"/>
                  </a:lnTo>
                  <a:lnTo>
                    <a:pt x="20" y="42"/>
                  </a:lnTo>
                  <a:lnTo>
                    <a:pt x="18" y="44"/>
                  </a:lnTo>
                  <a:lnTo>
                    <a:pt x="18" y="46"/>
                  </a:lnTo>
                  <a:lnTo>
                    <a:pt x="16" y="48"/>
                  </a:lnTo>
                  <a:lnTo>
                    <a:pt x="14" y="48"/>
                  </a:lnTo>
                  <a:lnTo>
                    <a:pt x="12" y="50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0" y="54"/>
                  </a:lnTo>
                  <a:lnTo>
                    <a:pt x="10" y="56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2"/>
                  </a:lnTo>
                  <a:lnTo>
                    <a:pt x="6" y="62"/>
                  </a:lnTo>
                  <a:lnTo>
                    <a:pt x="6" y="64"/>
                  </a:lnTo>
                  <a:lnTo>
                    <a:pt x="6" y="66"/>
                  </a:lnTo>
                  <a:lnTo>
                    <a:pt x="4" y="66"/>
                  </a:lnTo>
                  <a:lnTo>
                    <a:pt x="4" y="68"/>
                  </a:lnTo>
                  <a:lnTo>
                    <a:pt x="6" y="70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2" y="76"/>
                  </a:lnTo>
                  <a:lnTo>
                    <a:pt x="2" y="74"/>
                  </a:lnTo>
                  <a:lnTo>
                    <a:pt x="0" y="80"/>
                  </a:lnTo>
                  <a:lnTo>
                    <a:pt x="0" y="82"/>
                  </a:lnTo>
                  <a:lnTo>
                    <a:pt x="0" y="84"/>
                  </a:lnTo>
                  <a:lnTo>
                    <a:pt x="0" y="86"/>
                  </a:lnTo>
                  <a:lnTo>
                    <a:pt x="2" y="86"/>
                  </a:lnTo>
                  <a:lnTo>
                    <a:pt x="6" y="88"/>
                  </a:lnTo>
                  <a:lnTo>
                    <a:pt x="8" y="90"/>
                  </a:lnTo>
                  <a:lnTo>
                    <a:pt x="8" y="90"/>
                  </a:lnTo>
                  <a:lnTo>
                    <a:pt x="8" y="92"/>
                  </a:lnTo>
                  <a:lnTo>
                    <a:pt x="12" y="90"/>
                  </a:lnTo>
                  <a:lnTo>
                    <a:pt x="16" y="90"/>
                  </a:lnTo>
                  <a:lnTo>
                    <a:pt x="18" y="90"/>
                  </a:lnTo>
                  <a:lnTo>
                    <a:pt x="22" y="90"/>
                  </a:lnTo>
                  <a:lnTo>
                    <a:pt x="24" y="92"/>
                  </a:lnTo>
                  <a:lnTo>
                    <a:pt x="26" y="94"/>
                  </a:lnTo>
                  <a:lnTo>
                    <a:pt x="28" y="94"/>
                  </a:lnTo>
                  <a:lnTo>
                    <a:pt x="30" y="94"/>
                  </a:lnTo>
                  <a:lnTo>
                    <a:pt x="32" y="96"/>
                  </a:lnTo>
                  <a:lnTo>
                    <a:pt x="36" y="96"/>
                  </a:lnTo>
                  <a:lnTo>
                    <a:pt x="40" y="94"/>
                  </a:lnTo>
                  <a:lnTo>
                    <a:pt x="44" y="94"/>
                  </a:lnTo>
                  <a:lnTo>
                    <a:pt x="50" y="92"/>
                  </a:lnTo>
                  <a:lnTo>
                    <a:pt x="56" y="92"/>
                  </a:lnTo>
                  <a:lnTo>
                    <a:pt x="60" y="90"/>
                  </a:lnTo>
                  <a:lnTo>
                    <a:pt x="62" y="90"/>
                  </a:lnTo>
                  <a:lnTo>
                    <a:pt x="64" y="86"/>
                  </a:lnTo>
                  <a:lnTo>
                    <a:pt x="66" y="84"/>
                  </a:lnTo>
                  <a:lnTo>
                    <a:pt x="68" y="84"/>
                  </a:lnTo>
                  <a:lnTo>
                    <a:pt x="68" y="84"/>
                  </a:lnTo>
                  <a:lnTo>
                    <a:pt x="72" y="82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8" y="84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2" y="84"/>
                  </a:lnTo>
                  <a:lnTo>
                    <a:pt x="84" y="84"/>
                  </a:lnTo>
                  <a:lnTo>
                    <a:pt x="84" y="86"/>
                  </a:lnTo>
                  <a:lnTo>
                    <a:pt x="86" y="88"/>
                  </a:lnTo>
                  <a:lnTo>
                    <a:pt x="86" y="88"/>
                  </a:lnTo>
                  <a:lnTo>
                    <a:pt x="90" y="90"/>
                  </a:lnTo>
                  <a:lnTo>
                    <a:pt x="92" y="92"/>
                  </a:lnTo>
                  <a:lnTo>
                    <a:pt x="92" y="94"/>
                  </a:lnTo>
                  <a:lnTo>
                    <a:pt x="94" y="96"/>
                  </a:lnTo>
                  <a:lnTo>
                    <a:pt x="94" y="98"/>
                  </a:lnTo>
                  <a:lnTo>
                    <a:pt x="94" y="98"/>
                  </a:lnTo>
                  <a:lnTo>
                    <a:pt x="96" y="100"/>
                  </a:lnTo>
                  <a:lnTo>
                    <a:pt x="98" y="102"/>
                  </a:lnTo>
                  <a:lnTo>
                    <a:pt x="100" y="104"/>
                  </a:lnTo>
                  <a:lnTo>
                    <a:pt x="102" y="108"/>
                  </a:lnTo>
                  <a:lnTo>
                    <a:pt x="104" y="110"/>
                  </a:lnTo>
                  <a:lnTo>
                    <a:pt x="104" y="110"/>
                  </a:lnTo>
                  <a:lnTo>
                    <a:pt x="104" y="112"/>
                  </a:lnTo>
                  <a:lnTo>
                    <a:pt x="104" y="114"/>
                  </a:lnTo>
                  <a:lnTo>
                    <a:pt x="102" y="114"/>
                  </a:lnTo>
                  <a:lnTo>
                    <a:pt x="102" y="116"/>
                  </a:lnTo>
                  <a:lnTo>
                    <a:pt x="100" y="116"/>
                  </a:lnTo>
                  <a:lnTo>
                    <a:pt x="98" y="118"/>
                  </a:lnTo>
                  <a:lnTo>
                    <a:pt x="96" y="118"/>
                  </a:lnTo>
                  <a:lnTo>
                    <a:pt x="94" y="120"/>
                  </a:lnTo>
                  <a:lnTo>
                    <a:pt x="92" y="120"/>
                  </a:lnTo>
                  <a:lnTo>
                    <a:pt x="92" y="124"/>
                  </a:lnTo>
                  <a:lnTo>
                    <a:pt x="90" y="128"/>
                  </a:lnTo>
                  <a:lnTo>
                    <a:pt x="90" y="130"/>
                  </a:lnTo>
                  <a:lnTo>
                    <a:pt x="90" y="130"/>
                  </a:lnTo>
                  <a:lnTo>
                    <a:pt x="88" y="132"/>
                  </a:lnTo>
                  <a:lnTo>
                    <a:pt x="90" y="134"/>
                  </a:lnTo>
                  <a:lnTo>
                    <a:pt x="90" y="136"/>
                  </a:lnTo>
                  <a:lnTo>
                    <a:pt x="90" y="138"/>
                  </a:lnTo>
                  <a:lnTo>
                    <a:pt x="90" y="138"/>
                  </a:lnTo>
                  <a:lnTo>
                    <a:pt x="92" y="138"/>
                  </a:lnTo>
                  <a:lnTo>
                    <a:pt x="94" y="140"/>
                  </a:lnTo>
                  <a:lnTo>
                    <a:pt x="96" y="140"/>
                  </a:lnTo>
                  <a:lnTo>
                    <a:pt x="96" y="140"/>
                  </a:lnTo>
                  <a:lnTo>
                    <a:pt x="98" y="138"/>
                  </a:lnTo>
                  <a:lnTo>
                    <a:pt x="100" y="138"/>
                  </a:lnTo>
                  <a:lnTo>
                    <a:pt x="102" y="138"/>
                  </a:lnTo>
                  <a:lnTo>
                    <a:pt x="104" y="138"/>
                  </a:lnTo>
                  <a:lnTo>
                    <a:pt x="106" y="140"/>
                  </a:lnTo>
                  <a:lnTo>
                    <a:pt x="108" y="140"/>
                  </a:lnTo>
                  <a:lnTo>
                    <a:pt x="110" y="138"/>
                  </a:lnTo>
                  <a:lnTo>
                    <a:pt x="110" y="138"/>
                  </a:lnTo>
                  <a:lnTo>
                    <a:pt x="112" y="136"/>
                  </a:lnTo>
                  <a:lnTo>
                    <a:pt x="114" y="132"/>
                  </a:lnTo>
                  <a:lnTo>
                    <a:pt x="116" y="130"/>
                  </a:lnTo>
                  <a:lnTo>
                    <a:pt x="118" y="126"/>
                  </a:lnTo>
                  <a:lnTo>
                    <a:pt x="122" y="118"/>
                  </a:lnTo>
                  <a:lnTo>
                    <a:pt x="124" y="116"/>
                  </a:lnTo>
                  <a:lnTo>
                    <a:pt x="126" y="114"/>
                  </a:lnTo>
                  <a:lnTo>
                    <a:pt x="128" y="114"/>
                  </a:lnTo>
                  <a:lnTo>
                    <a:pt x="132" y="112"/>
                  </a:lnTo>
                  <a:lnTo>
                    <a:pt x="134" y="112"/>
                  </a:lnTo>
                  <a:lnTo>
                    <a:pt x="138" y="110"/>
                  </a:lnTo>
                  <a:lnTo>
                    <a:pt x="140" y="110"/>
                  </a:lnTo>
                  <a:lnTo>
                    <a:pt x="142" y="110"/>
                  </a:lnTo>
                  <a:lnTo>
                    <a:pt x="142" y="112"/>
                  </a:lnTo>
                  <a:lnTo>
                    <a:pt x="142" y="112"/>
                  </a:lnTo>
                  <a:lnTo>
                    <a:pt x="142" y="114"/>
                  </a:lnTo>
                  <a:lnTo>
                    <a:pt x="142" y="114"/>
                  </a:lnTo>
                  <a:lnTo>
                    <a:pt x="140" y="114"/>
                  </a:lnTo>
                  <a:lnTo>
                    <a:pt x="136" y="116"/>
                  </a:lnTo>
                  <a:lnTo>
                    <a:pt x="136" y="116"/>
                  </a:lnTo>
                  <a:lnTo>
                    <a:pt x="136" y="118"/>
                  </a:lnTo>
                  <a:lnTo>
                    <a:pt x="136" y="118"/>
                  </a:lnTo>
                  <a:lnTo>
                    <a:pt x="136" y="120"/>
                  </a:lnTo>
                  <a:lnTo>
                    <a:pt x="138" y="122"/>
                  </a:lnTo>
                  <a:lnTo>
                    <a:pt x="140" y="122"/>
                  </a:lnTo>
                  <a:lnTo>
                    <a:pt x="142" y="122"/>
                  </a:lnTo>
                  <a:lnTo>
                    <a:pt x="144" y="122"/>
                  </a:lnTo>
                  <a:lnTo>
                    <a:pt x="144" y="120"/>
                  </a:lnTo>
                  <a:lnTo>
                    <a:pt x="146" y="120"/>
                  </a:lnTo>
                  <a:lnTo>
                    <a:pt x="148" y="122"/>
                  </a:lnTo>
                  <a:lnTo>
                    <a:pt x="148" y="122"/>
                  </a:lnTo>
                  <a:lnTo>
                    <a:pt x="150" y="124"/>
                  </a:lnTo>
                  <a:lnTo>
                    <a:pt x="152" y="124"/>
                  </a:lnTo>
                  <a:lnTo>
                    <a:pt x="154" y="124"/>
                  </a:lnTo>
                  <a:lnTo>
                    <a:pt x="156" y="126"/>
                  </a:lnTo>
                  <a:lnTo>
                    <a:pt x="158" y="126"/>
                  </a:lnTo>
                  <a:lnTo>
                    <a:pt x="158" y="128"/>
                  </a:lnTo>
                  <a:lnTo>
                    <a:pt x="158" y="128"/>
                  </a:lnTo>
                  <a:lnTo>
                    <a:pt x="164" y="124"/>
                  </a:lnTo>
                  <a:lnTo>
                    <a:pt x="164" y="124"/>
                  </a:lnTo>
                  <a:lnTo>
                    <a:pt x="164" y="122"/>
                  </a:lnTo>
                  <a:lnTo>
                    <a:pt x="164" y="120"/>
                  </a:lnTo>
                  <a:lnTo>
                    <a:pt x="164" y="120"/>
                  </a:lnTo>
                  <a:lnTo>
                    <a:pt x="166" y="120"/>
                  </a:lnTo>
                  <a:lnTo>
                    <a:pt x="166" y="120"/>
                  </a:lnTo>
                  <a:lnTo>
                    <a:pt x="168" y="120"/>
                  </a:lnTo>
                  <a:lnTo>
                    <a:pt x="170" y="120"/>
                  </a:lnTo>
                  <a:lnTo>
                    <a:pt x="172" y="120"/>
                  </a:lnTo>
                  <a:lnTo>
                    <a:pt x="172" y="120"/>
                  </a:lnTo>
                  <a:lnTo>
                    <a:pt x="174" y="118"/>
                  </a:lnTo>
                  <a:lnTo>
                    <a:pt x="174" y="118"/>
                  </a:lnTo>
                  <a:lnTo>
                    <a:pt x="176" y="118"/>
                  </a:lnTo>
                  <a:lnTo>
                    <a:pt x="178" y="118"/>
                  </a:lnTo>
                  <a:lnTo>
                    <a:pt x="178" y="120"/>
                  </a:lnTo>
                  <a:lnTo>
                    <a:pt x="180" y="120"/>
                  </a:lnTo>
                  <a:lnTo>
                    <a:pt x="182" y="120"/>
                  </a:lnTo>
                  <a:lnTo>
                    <a:pt x="182" y="120"/>
                  </a:lnTo>
                  <a:lnTo>
                    <a:pt x="184" y="120"/>
                  </a:lnTo>
                  <a:lnTo>
                    <a:pt x="184" y="118"/>
                  </a:lnTo>
                  <a:lnTo>
                    <a:pt x="184" y="116"/>
                  </a:lnTo>
                  <a:lnTo>
                    <a:pt x="186" y="114"/>
                  </a:lnTo>
                  <a:lnTo>
                    <a:pt x="186" y="114"/>
                  </a:lnTo>
                  <a:lnTo>
                    <a:pt x="188" y="112"/>
                  </a:lnTo>
                  <a:lnTo>
                    <a:pt x="190" y="110"/>
                  </a:lnTo>
                  <a:lnTo>
                    <a:pt x="192" y="110"/>
                  </a:lnTo>
                  <a:lnTo>
                    <a:pt x="196" y="108"/>
                  </a:lnTo>
                  <a:lnTo>
                    <a:pt x="198" y="108"/>
                  </a:lnTo>
                  <a:lnTo>
                    <a:pt x="200" y="106"/>
                  </a:lnTo>
                  <a:lnTo>
                    <a:pt x="210" y="100"/>
                  </a:lnTo>
                  <a:lnTo>
                    <a:pt x="214" y="98"/>
                  </a:lnTo>
                  <a:lnTo>
                    <a:pt x="214" y="98"/>
                  </a:lnTo>
                  <a:lnTo>
                    <a:pt x="216" y="96"/>
                  </a:lnTo>
                  <a:lnTo>
                    <a:pt x="220" y="96"/>
                  </a:lnTo>
                  <a:lnTo>
                    <a:pt x="222" y="96"/>
                  </a:lnTo>
                  <a:lnTo>
                    <a:pt x="222" y="94"/>
                  </a:lnTo>
                  <a:lnTo>
                    <a:pt x="224" y="94"/>
                  </a:lnTo>
                  <a:lnTo>
                    <a:pt x="224" y="92"/>
                  </a:lnTo>
                  <a:lnTo>
                    <a:pt x="226" y="90"/>
                  </a:lnTo>
                  <a:lnTo>
                    <a:pt x="226" y="90"/>
                  </a:lnTo>
                  <a:lnTo>
                    <a:pt x="228" y="88"/>
                  </a:lnTo>
                  <a:lnTo>
                    <a:pt x="228" y="86"/>
                  </a:lnTo>
                  <a:lnTo>
                    <a:pt x="230" y="86"/>
                  </a:lnTo>
                  <a:lnTo>
                    <a:pt x="236" y="86"/>
                  </a:lnTo>
                  <a:lnTo>
                    <a:pt x="238" y="84"/>
                  </a:lnTo>
                  <a:lnTo>
                    <a:pt x="242" y="84"/>
                  </a:lnTo>
                  <a:lnTo>
                    <a:pt x="244" y="82"/>
                  </a:lnTo>
                  <a:lnTo>
                    <a:pt x="246" y="82"/>
                  </a:lnTo>
                  <a:lnTo>
                    <a:pt x="246" y="80"/>
                  </a:lnTo>
                  <a:lnTo>
                    <a:pt x="246" y="80"/>
                  </a:lnTo>
                  <a:lnTo>
                    <a:pt x="246" y="78"/>
                  </a:lnTo>
                  <a:lnTo>
                    <a:pt x="246" y="76"/>
                  </a:lnTo>
                  <a:lnTo>
                    <a:pt x="246" y="72"/>
                  </a:lnTo>
                  <a:lnTo>
                    <a:pt x="246" y="70"/>
                  </a:lnTo>
                  <a:lnTo>
                    <a:pt x="246" y="66"/>
                  </a:lnTo>
                  <a:lnTo>
                    <a:pt x="246" y="62"/>
                  </a:lnTo>
                  <a:lnTo>
                    <a:pt x="246" y="60"/>
                  </a:lnTo>
                  <a:lnTo>
                    <a:pt x="246" y="58"/>
                  </a:lnTo>
                  <a:lnTo>
                    <a:pt x="248" y="58"/>
                  </a:lnTo>
                  <a:lnTo>
                    <a:pt x="250" y="54"/>
                  </a:lnTo>
                  <a:lnTo>
                    <a:pt x="250" y="54"/>
                  </a:lnTo>
                  <a:lnTo>
                    <a:pt x="252" y="52"/>
                  </a:lnTo>
                  <a:lnTo>
                    <a:pt x="252" y="52"/>
                  </a:lnTo>
                  <a:lnTo>
                    <a:pt x="252" y="50"/>
                  </a:lnTo>
                  <a:lnTo>
                    <a:pt x="252" y="50"/>
                  </a:lnTo>
                  <a:lnTo>
                    <a:pt x="252" y="5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</p:grpSp>
      <p:sp>
        <p:nvSpPr>
          <p:cNvPr id="643" name="TextBox 642"/>
          <p:cNvSpPr txBox="1"/>
          <p:nvPr/>
        </p:nvSpPr>
        <p:spPr>
          <a:xfrm flipH="1">
            <a:off x="1550546" y="1823414"/>
            <a:ext cx="1213566" cy="461665"/>
          </a:xfrm>
          <a:prstGeom prst="rect">
            <a:avLst/>
          </a:prstGeom>
          <a:solidFill>
            <a:schemeClr val="bg1"/>
          </a:solidFill>
        </p:spPr>
        <p:txBody>
          <a:bodyPr wrap="square" lIns="0" rIns="0" rtlCol="0">
            <a:spAutoFit/>
          </a:bodyPr>
          <a:lstStyle/>
          <a:p>
            <a:pPr marL="82550" marR="0" lvl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rPr>
              <a:t>Международные</a:t>
            </a:r>
            <a:b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rPr>
            </a:b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rPr>
              <a:t>стандарты</a:t>
            </a:r>
          </a:p>
        </p:txBody>
      </p:sp>
      <p:sp>
        <p:nvSpPr>
          <p:cNvPr id="644" name="TextBox 643"/>
          <p:cNvSpPr txBox="1"/>
          <p:nvPr/>
        </p:nvSpPr>
        <p:spPr>
          <a:xfrm flipH="1">
            <a:off x="4198451" y="1805566"/>
            <a:ext cx="1293262" cy="461665"/>
          </a:xfrm>
          <a:prstGeom prst="rect">
            <a:avLst/>
          </a:prstGeom>
          <a:solidFill>
            <a:schemeClr val="bg1"/>
          </a:solidFill>
        </p:spPr>
        <p:txBody>
          <a:bodyPr wrap="square" lIns="0" rIns="0" rtlCol="0">
            <a:spAutoFit/>
          </a:bodyPr>
          <a:lstStyle>
            <a:defPPr>
              <a:defRPr lang="ru-RU"/>
            </a:defPPr>
            <a:lvl1pPr marL="82550" marR="0" lvl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kern="0" cap="none" spc="0" normalizeH="0" baseline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defRPr>
            </a:lvl1pPr>
          </a:lstStyle>
          <a:p>
            <a:r>
              <a:rPr lang="ru-RU" dirty="0"/>
              <a:t>Российское регулирование</a:t>
            </a:r>
          </a:p>
        </p:txBody>
      </p:sp>
      <p:grpSp>
        <p:nvGrpSpPr>
          <p:cNvPr id="645" name="russia"/>
          <p:cNvGrpSpPr>
            <a:grpSpLocks noChangeAspect="1"/>
          </p:cNvGrpSpPr>
          <p:nvPr/>
        </p:nvGrpSpPr>
        <p:grpSpPr bwMode="auto">
          <a:xfrm>
            <a:off x="3099533" y="1805928"/>
            <a:ext cx="907612" cy="478732"/>
            <a:chOff x="676" y="1056"/>
            <a:chExt cx="4406" cy="2324"/>
          </a:xfrm>
          <a:solidFill>
            <a:srgbClr val="0070BA"/>
          </a:solidFill>
        </p:grpSpPr>
        <p:sp>
          <p:nvSpPr>
            <p:cNvPr id="646" name="Freeform 5"/>
            <p:cNvSpPr>
              <a:spLocks/>
            </p:cNvSpPr>
            <p:nvPr/>
          </p:nvSpPr>
          <p:spPr bwMode="auto">
            <a:xfrm>
              <a:off x="2944" y="2388"/>
              <a:ext cx="746" cy="775"/>
            </a:xfrm>
            <a:custGeom>
              <a:avLst/>
              <a:gdLst>
                <a:gd name="T0" fmla="*/ 705 w 746"/>
                <a:gd name="T1" fmla="*/ 217 h 775"/>
                <a:gd name="T2" fmla="*/ 671 w 746"/>
                <a:gd name="T3" fmla="*/ 227 h 775"/>
                <a:gd name="T4" fmla="*/ 617 w 746"/>
                <a:gd name="T5" fmla="*/ 183 h 775"/>
                <a:gd name="T6" fmla="*/ 585 w 746"/>
                <a:gd name="T7" fmla="*/ 221 h 775"/>
                <a:gd name="T8" fmla="*/ 563 w 746"/>
                <a:gd name="T9" fmla="*/ 267 h 775"/>
                <a:gd name="T10" fmla="*/ 537 w 746"/>
                <a:gd name="T11" fmla="*/ 267 h 775"/>
                <a:gd name="T12" fmla="*/ 486 w 746"/>
                <a:gd name="T13" fmla="*/ 283 h 775"/>
                <a:gd name="T14" fmla="*/ 468 w 746"/>
                <a:gd name="T15" fmla="*/ 299 h 775"/>
                <a:gd name="T16" fmla="*/ 442 w 746"/>
                <a:gd name="T17" fmla="*/ 253 h 775"/>
                <a:gd name="T18" fmla="*/ 456 w 746"/>
                <a:gd name="T19" fmla="*/ 174 h 775"/>
                <a:gd name="T20" fmla="*/ 424 w 746"/>
                <a:gd name="T21" fmla="*/ 132 h 775"/>
                <a:gd name="T22" fmla="*/ 426 w 746"/>
                <a:gd name="T23" fmla="*/ 104 h 775"/>
                <a:gd name="T24" fmla="*/ 418 w 746"/>
                <a:gd name="T25" fmla="*/ 82 h 775"/>
                <a:gd name="T26" fmla="*/ 404 w 746"/>
                <a:gd name="T27" fmla="*/ 48 h 775"/>
                <a:gd name="T28" fmla="*/ 374 w 746"/>
                <a:gd name="T29" fmla="*/ 34 h 775"/>
                <a:gd name="T30" fmla="*/ 374 w 746"/>
                <a:gd name="T31" fmla="*/ 4 h 775"/>
                <a:gd name="T32" fmla="*/ 330 w 746"/>
                <a:gd name="T33" fmla="*/ 26 h 775"/>
                <a:gd name="T34" fmla="*/ 330 w 746"/>
                <a:gd name="T35" fmla="*/ 138 h 775"/>
                <a:gd name="T36" fmla="*/ 296 w 746"/>
                <a:gd name="T37" fmla="*/ 239 h 775"/>
                <a:gd name="T38" fmla="*/ 298 w 746"/>
                <a:gd name="T39" fmla="*/ 331 h 775"/>
                <a:gd name="T40" fmla="*/ 239 w 746"/>
                <a:gd name="T41" fmla="*/ 301 h 775"/>
                <a:gd name="T42" fmla="*/ 221 w 746"/>
                <a:gd name="T43" fmla="*/ 335 h 775"/>
                <a:gd name="T44" fmla="*/ 191 w 746"/>
                <a:gd name="T45" fmla="*/ 367 h 775"/>
                <a:gd name="T46" fmla="*/ 175 w 746"/>
                <a:gd name="T47" fmla="*/ 405 h 775"/>
                <a:gd name="T48" fmla="*/ 149 w 746"/>
                <a:gd name="T49" fmla="*/ 383 h 775"/>
                <a:gd name="T50" fmla="*/ 121 w 746"/>
                <a:gd name="T51" fmla="*/ 393 h 775"/>
                <a:gd name="T52" fmla="*/ 65 w 746"/>
                <a:gd name="T53" fmla="*/ 438 h 775"/>
                <a:gd name="T54" fmla="*/ 51 w 746"/>
                <a:gd name="T55" fmla="*/ 492 h 775"/>
                <a:gd name="T56" fmla="*/ 34 w 746"/>
                <a:gd name="T57" fmla="*/ 534 h 775"/>
                <a:gd name="T58" fmla="*/ 8 w 746"/>
                <a:gd name="T59" fmla="*/ 580 h 775"/>
                <a:gd name="T60" fmla="*/ 12 w 746"/>
                <a:gd name="T61" fmla="*/ 618 h 775"/>
                <a:gd name="T62" fmla="*/ 36 w 746"/>
                <a:gd name="T63" fmla="*/ 628 h 775"/>
                <a:gd name="T64" fmla="*/ 73 w 746"/>
                <a:gd name="T65" fmla="*/ 655 h 775"/>
                <a:gd name="T66" fmla="*/ 99 w 746"/>
                <a:gd name="T67" fmla="*/ 663 h 775"/>
                <a:gd name="T68" fmla="*/ 129 w 746"/>
                <a:gd name="T69" fmla="*/ 663 h 775"/>
                <a:gd name="T70" fmla="*/ 149 w 746"/>
                <a:gd name="T71" fmla="*/ 651 h 775"/>
                <a:gd name="T72" fmla="*/ 203 w 746"/>
                <a:gd name="T73" fmla="*/ 711 h 775"/>
                <a:gd name="T74" fmla="*/ 235 w 746"/>
                <a:gd name="T75" fmla="*/ 715 h 775"/>
                <a:gd name="T76" fmla="*/ 267 w 746"/>
                <a:gd name="T77" fmla="*/ 751 h 775"/>
                <a:gd name="T78" fmla="*/ 292 w 746"/>
                <a:gd name="T79" fmla="*/ 775 h 775"/>
                <a:gd name="T80" fmla="*/ 310 w 746"/>
                <a:gd name="T81" fmla="*/ 759 h 775"/>
                <a:gd name="T82" fmla="*/ 434 w 746"/>
                <a:gd name="T83" fmla="*/ 653 h 775"/>
                <a:gd name="T84" fmla="*/ 446 w 746"/>
                <a:gd name="T85" fmla="*/ 524 h 775"/>
                <a:gd name="T86" fmla="*/ 450 w 746"/>
                <a:gd name="T87" fmla="*/ 468 h 775"/>
                <a:gd name="T88" fmla="*/ 454 w 746"/>
                <a:gd name="T89" fmla="*/ 436 h 775"/>
                <a:gd name="T90" fmla="*/ 478 w 746"/>
                <a:gd name="T91" fmla="*/ 418 h 775"/>
                <a:gd name="T92" fmla="*/ 517 w 746"/>
                <a:gd name="T93" fmla="*/ 424 h 775"/>
                <a:gd name="T94" fmla="*/ 555 w 746"/>
                <a:gd name="T95" fmla="*/ 405 h 775"/>
                <a:gd name="T96" fmla="*/ 577 w 746"/>
                <a:gd name="T97" fmla="*/ 420 h 775"/>
                <a:gd name="T98" fmla="*/ 613 w 746"/>
                <a:gd name="T99" fmla="*/ 422 h 775"/>
                <a:gd name="T100" fmla="*/ 631 w 746"/>
                <a:gd name="T101" fmla="*/ 411 h 775"/>
                <a:gd name="T102" fmla="*/ 669 w 746"/>
                <a:gd name="T103" fmla="*/ 371 h 775"/>
                <a:gd name="T104" fmla="*/ 685 w 746"/>
                <a:gd name="T105" fmla="*/ 389 h 775"/>
                <a:gd name="T106" fmla="*/ 720 w 746"/>
                <a:gd name="T107" fmla="*/ 375 h 775"/>
                <a:gd name="T108" fmla="*/ 720 w 746"/>
                <a:gd name="T109" fmla="*/ 349 h 775"/>
                <a:gd name="T110" fmla="*/ 697 w 746"/>
                <a:gd name="T111" fmla="*/ 325 h 775"/>
                <a:gd name="T112" fmla="*/ 703 w 746"/>
                <a:gd name="T113" fmla="*/ 303 h 775"/>
                <a:gd name="T114" fmla="*/ 718 w 746"/>
                <a:gd name="T115" fmla="*/ 285 h 775"/>
                <a:gd name="T116" fmla="*/ 742 w 746"/>
                <a:gd name="T117" fmla="*/ 269 h 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46" h="775">
                  <a:moveTo>
                    <a:pt x="742" y="269"/>
                  </a:moveTo>
                  <a:lnTo>
                    <a:pt x="730" y="267"/>
                  </a:lnTo>
                  <a:lnTo>
                    <a:pt x="720" y="239"/>
                  </a:lnTo>
                  <a:lnTo>
                    <a:pt x="720" y="231"/>
                  </a:lnTo>
                  <a:lnTo>
                    <a:pt x="716" y="223"/>
                  </a:lnTo>
                  <a:lnTo>
                    <a:pt x="714" y="221"/>
                  </a:lnTo>
                  <a:lnTo>
                    <a:pt x="712" y="219"/>
                  </a:lnTo>
                  <a:lnTo>
                    <a:pt x="705" y="217"/>
                  </a:lnTo>
                  <a:lnTo>
                    <a:pt x="703" y="219"/>
                  </a:lnTo>
                  <a:lnTo>
                    <a:pt x="699" y="221"/>
                  </a:lnTo>
                  <a:lnTo>
                    <a:pt x="695" y="221"/>
                  </a:lnTo>
                  <a:lnTo>
                    <a:pt x="687" y="223"/>
                  </a:lnTo>
                  <a:lnTo>
                    <a:pt x="681" y="227"/>
                  </a:lnTo>
                  <a:lnTo>
                    <a:pt x="675" y="229"/>
                  </a:lnTo>
                  <a:lnTo>
                    <a:pt x="673" y="227"/>
                  </a:lnTo>
                  <a:lnTo>
                    <a:pt x="671" y="227"/>
                  </a:lnTo>
                  <a:lnTo>
                    <a:pt x="669" y="217"/>
                  </a:lnTo>
                  <a:lnTo>
                    <a:pt x="667" y="213"/>
                  </a:lnTo>
                  <a:lnTo>
                    <a:pt x="661" y="209"/>
                  </a:lnTo>
                  <a:lnTo>
                    <a:pt x="667" y="197"/>
                  </a:lnTo>
                  <a:lnTo>
                    <a:pt x="653" y="191"/>
                  </a:lnTo>
                  <a:lnTo>
                    <a:pt x="641" y="187"/>
                  </a:lnTo>
                  <a:lnTo>
                    <a:pt x="635" y="185"/>
                  </a:lnTo>
                  <a:lnTo>
                    <a:pt x="617" y="183"/>
                  </a:lnTo>
                  <a:lnTo>
                    <a:pt x="609" y="183"/>
                  </a:lnTo>
                  <a:lnTo>
                    <a:pt x="607" y="185"/>
                  </a:lnTo>
                  <a:lnTo>
                    <a:pt x="603" y="187"/>
                  </a:lnTo>
                  <a:lnTo>
                    <a:pt x="601" y="189"/>
                  </a:lnTo>
                  <a:lnTo>
                    <a:pt x="599" y="193"/>
                  </a:lnTo>
                  <a:lnTo>
                    <a:pt x="593" y="205"/>
                  </a:lnTo>
                  <a:lnTo>
                    <a:pt x="589" y="217"/>
                  </a:lnTo>
                  <a:lnTo>
                    <a:pt x="585" y="221"/>
                  </a:lnTo>
                  <a:lnTo>
                    <a:pt x="581" y="227"/>
                  </a:lnTo>
                  <a:lnTo>
                    <a:pt x="575" y="235"/>
                  </a:lnTo>
                  <a:lnTo>
                    <a:pt x="567" y="243"/>
                  </a:lnTo>
                  <a:lnTo>
                    <a:pt x="563" y="253"/>
                  </a:lnTo>
                  <a:lnTo>
                    <a:pt x="563" y="257"/>
                  </a:lnTo>
                  <a:lnTo>
                    <a:pt x="563" y="259"/>
                  </a:lnTo>
                  <a:lnTo>
                    <a:pt x="563" y="263"/>
                  </a:lnTo>
                  <a:lnTo>
                    <a:pt x="563" y="267"/>
                  </a:lnTo>
                  <a:lnTo>
                    <a:pt x="563" y="273"/>
                  </a:lnTo>
                  <a:lnTo>
                    <a:pt x="561" y="275"/>
                  </a:lnTo>
                  <a:lnTo>
                    <a:pt x="559" y="277"/>
                  </a:lnTo>
                  <a:lnTo>
                    <a:pt x="553" y="277"/>
                  </a:lnTo>
                  <a:lnTo>
                    <a:pt x="547" y="281"/>
                  </a:lnTo>
                  <a:lnTo>
                    <a:pt x="543" y="285"/>
                  </a:lnTo>
                  <a:lnTo>
                    <a:pt x="539" y="275"/>
                  </a:lnTo>
                  <a:lnTo>
                    <a:pt x="537" y="267"/>
                  </a:lnTo>
                  <a:lnTo>
                    <a:pt x="535" y="267"/>
                  </a:lnTo>
                  <a:lnTo>
                    <a:pt x="531" y="265"/>
                  </a:lnTo>
                  <a:lnTo>
                    <a:pt x="525" y="267"/>
                  </a:lnTo>
                  <a:lnTo>
                    <a:pt x="521" y="269"/>
                  </a:lnTo>
                  <a:lnTo>
                    <a:pt x="509" y="277"/>
                  </a:lnTo>
                  <a:lnTo>
                    <a:pt x="495" y="281"/>
                  </a:lnTo>
                  <a:lnTo>
                    <a:pt x="487" y="283"/>
                  </a:lnTo>
                  <a:lnTo>
                    <a:pt x="486" y="283"/>
                  </a:lnTo>
                  <a:lnTo>
                    <a:pt x="480" y="283"/>
                  </a:lnTo>
                  <a:lnTo>
                    <a:pt x="478" y="285"/>
                  </a:lnTo>
                  <a:lnTo>
                    <a:pt x="476" y="287"/>
                  </a:lnTo>
                  <a:lnTo>
                    <a:pt x="476" y="289"/>
                  </a:lnTo>
                  <a:lnTo>
                    <a:pt x="476" y="295"/>
                  </a:lnTo>
                  <a:lnTo>
                    <a:pt x="474" y="297"/>
                  </a:lnTo>
                  <a:lnTo>
                    <a:pt x="472" y="297"/>
                  </a:lnTo>
                  <a:lnTo>
                    <a:pt x="468" y="299"/>
                  </a:lnTo>
                  <a:lnTo>
                    <a:pt x="458" y="297"/>
                  </a:lnTo>
                  <a:lnTo>
                    <a:pt x="450" y="295"/>
                  </a:lnTo>
                  <a:lnTo>
                    <a:pt x="442" y="289"/>
                  </a:lnTo>
                  <a:lnTo>
                    <a:pt x="436" y="283"/>
                  </a:lnTo>
                  <a:lnTo>
                    <a:pt x="436" y="281"/>
                  </a:lnTo>
                  <a:lnTo>
                    <a:pt x="436" y="275"/>
                  </a:lnTo>
                  <a:lnTo>
                    <a:pt x="440" y="263"/>
                  </a:lnTo>
                  <a:lnTo>
                    <a:pt x="442" y="253"/>
                  </a:lnTo>
                  <a:lnTo>
                    <a:pt x="444" y="239"/>
                  </a:lnTo>
                  <a:lnTo>
                    <a:pt x="444" y="227"/>
                  </a:lnTo>
                  <a:lnTo>
                    <a:pt x="446" y="217"/>
                  </a:lnTo>
                  <a:lnTo>
                    <a:pt x="454" y="199"/>
                  </a:lnTo>
                  <a:lnTo>
                    <a:pt x="458" y="185"/>
                  </a:lnTo>
                  <a:lnTo>
                    <a:pt x="458" y="178"/>
                  </a:lnTo>
                  <a:lnTo>
                    <a:pt x="458" y="174"/>
                  </a:lnTo>
                  <a:lnTo>
                    <a:pt x="456" y="174"/>
                  </a:lnTo>
                  <a:lnTo>
                    <a:pt x="442" y="166"/>
                  </a:lnTo>
                  <a:lnTo>
                    <a:pt x="434" y="162"/>
                  </a:lnTo>
                  <a:lnTo>
                    <a:pt x="432" y="158"/>
                  </a:lnTo>
                  <a:lnTo>
                    <a:pt x="430" y="154"/>
                  </a:lnTo>
                  <a:lnTo>
                    <a:pt x="428" y="150"/>
                  </a:lnTo>
                  <a:lnTo>
                    <a:pt x="426" y="142"/>
                  </a:lnTo>
                  <a:lnTo>
                    <a:pt x="424" y="138"/>
                  </a:lnTo>
                  <a:lnTo>
                    <a:pt x="424" y="132"/>
                  </a:lnTo>
                  <a:lnTo>
                    <a:pt x="426" y="132"/>
                  </a:lnTo>
                  <a:lnTo>
                    <a:pt x="430" y="126"/>
                  </a:lnTo>
                  <a:lnTo>
                    <a:pt x="432" y="118"/>
                  </a:lnTo>
                  <a:lnTo>
                    <a:pt x="432" y="114"/>
                  </a:lnTo>
                  <a:lnTo>
                    <a:pt x="432" y="112"/>
                  </a:lnTo>
                  <a:lnTo>
                    <a:pt x="432" y="106"/>
                  </a:lnTo>
                  <a:lnTo>
                    <a:pt x="428" y="106"/>
                  </a:lnTo>
                  <a:lnTo>
                    <a:pt x="426" y="104"/>
                  </a:lnTo>
                  <a:lnTo>
                    <a:pt x="422" y="104"/>
                  </a:lnTo>
                  <a:lnTo>
                    <a:pt x="416" y="104"/>
                  </a:lnTo>
                  <a:lnTo>
                    <a:pt x="412" y="104"/>
                  </a:lnTo>
                  <a:lnTo>
                    <a:pt x="410" y="102"/>
                  </a:lnTo>
                  <a:lnTo>
                    <a:pt x="410" y="100"/>
                  </a:lnTo>
                  <a:lnTo>
                    <a:pt x="410" y="96"/>
                  </a:lnTo>
                  <a:lnTo>
                    <a:pt x="416" y="86"/>
                  </a:lnTo>
                  <a:lnTo>
                    <a:pt x="418" y="82"/>
                  </a:lnTo>
                  <a:lnTo>
                    <a:pt x="418" y="78"/>
                  </a:lnTo>
                  <a:lnTo>
                    <a:pt x="418" y="78"/>
                  </a:lnTo>
                  <a:lnTo>
                    <a:pt x="416" y="76"/>
                  </a:lnTo>
                  <a:lnTo>
                    <a:pt x="412" y="72"/>
                  </a:lnTo>
                  <a:lnTo>
                    <a:pt x="410" y="70"/>
                  </a:lnTo>
                  <a:lnTo>
                    <a:pt x="408" y="58"/>
                  </a:lnTo>
                  <a:lnTo>
                    <a:pt x="406" y="54"/>
                  </a:lnTo>
                  <a:lnTo>
                    <a:pt x="404" y="48"/>
                  </a:lnTo>
                  <a:lnTo>
                    <a:pt x="400" y="46"/>
                  </a:lnTo>
                  <a:lnTo>
                    <a:pt x="396" y="44"/>
                  </a:lnTo>
                  <a:lnTo>
                    <a:pt x="384" y="38"/>
                  </a:lnTo>
                  <a:lnTo>
                    <a:pt x="376" y="38"/>
                  </a:lnTo>
                  <a:lnTo>
                    <a:pt x="370" y="38"/>
                  </a:lnTo>
                  <a:lnTo>
                    <a:pt x="370" y="38"/>
                  </a:lnTo>
                  <a:lnTo>
                    <a:pt x="370" y="34"/>
                  </a:lnTo>
                  <a:lnTo>
                    <a:pt x="374" y="34"/>
                  </a:lnTo>
                  <a:lnTo>
                    <a:pt x="376" y="32"/>
                  </a:lnTo>
                  <a:lnTo>
                    <a:pt x="382" y="30"/>
                  </a:lnTo>
                  <a:lnTo>
                    <a:pt x="384" y="30"/>
                  </a:lnTo>
                  <a:lnTo>
                    <a:pt x="386" y="28"/>
                  </a:lnTo>
                  <a:lnTo>
                    <a:pt x="386" y="26"/>
                  </a:lnTo>
                  <a:lnTo>
                    <a:pt x="384" y="22"/>
                  </a:lnTo>
                  <a:lnTo>
                    <a:pt x="374" y="0"/>
                  </a:lnTo>
                  <a:lnTo>
                    <a:pt x="374" y="4"/>
                  </a:lnTo>
                  <a:lnTo>
                    <a:pt x="374" y="8"/>
                  </a:lnTo>
                  <a:lnTo>
                    <a:pt x="372" y="10"/>
                  </a:lnTo>
                  <a:lnTo>
                    <a:pt x="370" y="12"/>
                  </a:lnTo>
                  <a:lnTo>
                    <a:pt x="364" y="12"/>
                  </a:lnTo>
                  <a:lnTo>
                    <a:pt x="358" y="16"/>
                  </a:lnTo>
                  <a:lnTo>
                    <a:pt x="352" y="22"/>
                  </a:lnTo>
                  <a:lnTo>
                    <a:pt x="342" y="30"/>
                  </a:lnTo>
                  <a:lnTo>
                    <a:pt x="330" y="26"/>
                  </a:lnTo>
                  <a:lnTo>
                    <a:pt x="328" y="48"/>
                  </a:lnTo>
                  <a:lnTo>
                    <a:pt x="328" y="70"/>
                  </a:lnTo>
                  <a:lnTo>
                    <a:pt x="320" y="78"/>
                  </a:lnTo>
                  <a:lnTo>
                    <a:pt x="330" y="92"/>
                  </a:lnTo>
                  <a:lnTo>
                    <a:pt x="334" y="98"/>
                  </a:lnTo>
                  <a:lnTo>
                    <a:pt x="338" y="102"/>
                  </a:lnTo>
                  <a:lnTo>
                    <a:pt x="330" y="120"/>
                  </a:lnTo>
                  <a:lnTo>
                    <a:pt x="330" y="138"/>
                  </a:lnTo>
                  <a:lnTo>
                    <a:pt x="318" y="150"/>
                  </a:lnTo>
                  <a:lnTo>
                    <a:pt x="318" y="158"/>
                  </a:lnTo>
                  <a:lnTo>
                    <a:pt x="292" y="178"/>
                  </a:lnTo>
                  <a:lnTo>
                    <a:pt x="280" y="205"/>
                  </a:lnTo>
                  <a:lnTo>
                    <a:pt x="284" y="219"/>
                  </a:lnTo>
                  <a:lnTo>
                    <a:pt x="288" y="231"/>
                  </a:lnTo>
                  <a:lnTo>
                    <a:pt x="292" y="237"/>
                  </a:lnTo>
                  <a:lnTo>
                    <a:pt x="296" y="239"/>
                  </a:lnTo>
                  <a:lnTo>
                    <a:pt x="304" y="241"/>
                  </a:lnTo>
                  <a:lnTo>
                    <a:pt x="314" y="241"/>
                  </a:lnTo>
                  <a:lnTo>
                    <a:pt x="314" y="263"/>
                  </a:lnTo>
                  <a:lnTo>
                    <a:pt x="298" y="269"/>
                  </a:lnTo>
                  <a:lnTo>
                    <a:pt x="302" y="287"/>
                  </a:lnTo>
                  <a:lnTo>
                    <a:pt x="314" y="299"/>
                  </a:lnTo>
                  <a:lnTo>
                    <a:pt x="308" y="313"/>
                  </a:lnTo>
                  <a:lnTo>
                    <a:pt x="298" y="331"/>
                  </a:lnTo>
                  <a:lnTo>
                    <a:pt x="292" y="337"/>
                  </a:lnTo>
                  <a:lnTo>
                    <a:pt x="286" y="341"/>
                  </a:lnTo>
                  <a:lnTo>
                    <a:pt x="284" y="341"/>
                  </a:lnTo>
                  <a:lnTo>
                    <a:pt x="282" y="337"/>
                  </a:lnTo>
                  <a:lnTo>
                    <a:pt x="278" y="333"/>
                  </a:lnTo>
                  <a:lnTo>
                    <a:pt x="268" y="329"/>
                  </a:lnTo>
                  <a:lnTo>
                    <a:pt x="259" y="323"/>
                  </a:lnTo>
                  <a:lnTo>
                    <a:pt x="239" y="301"/>
                  </a:lnTo>
                  <a:lnTo>
                    <a:pt x="229" y="307"/>
                  </a:lnTo>
                  <a:lnTo>
                    <a:pt x="225" y="311"/>
                  </a:lnTo>
                  <a:lnTo>
                    <a:pt x="223" y="315"/>
                  </a:lnTo>
                  <a:lnTo>
                    <a:pt x="223" y="321"/>
                  </a:lnTo>
                  <a:lnTo>
                    <a:pt x="225" y="325"/>
                  </a:lnTo>
                  <a:lnTo>
                    <a:pt x="225" y="331"/>
                  </a:lnTo>
                  <a:lnTo>
                    <a:pt x="223" y="333"/>
                  </a:lnTo>
                  <a:lnTo>
                    <a:pt x="221" y="335"/>
                  </a:lnTo>
                  <a:lnTo>
                    <a:pt x="215" y="341"/>
                  </a:lnTo>
                  <a:lnTo>
                    <a:pt x="213" y="345"/>
                  </a:lnTo>
                  <a:lnTo>
                    <a:pt x="207" y="349"/>
                  </a:lnTo>
                  <a:lnTo>
                    <a:pt x="203" y="349"/>
                  </a:lnTo>
                  <a:lnTo>
                    <a:pt x="201" y="353"/>
                  </a:lnTo>
                  <a:lnTo>
                    <a:pt x="199" y="357"/>
                  </a:lnTo>
                  <a:lnTo>
                    <a:pt x="195" y="361"/>
                  </a:lnTo>
                  <a:lnTo>
                    <a:pt x="191" y="367"/>
                  </a:lnTo>
                  <a:lnTo>
                    <a:pt x="187" y="371"/>
                  </a:lnTo>
                  <a:lnTo>
                    <a:pt x="183" y="375"/>
                  </a:lnTo>
                  <a:lnTo>
                    <a:pt x="181" y="375"/>
                  </a:lnTo>
                  <a:lnTo>
                    <a:pt x="179" y="379"/>
                  </a:lnTo>
                  <a:lnTo>
                    <a:pt x="175" y="383"/>
                  </a:lnTo>
                  <a:lnTo>
                    <a:pt x="173" y="387"/>
                  </a:lnTo>
                  <a:lnTo>
                    <a:pt x="173" y="393"/>
                  </a:lnTo>
                  <a:lnTo>
                    <a:pt x="175" y="405"/>
                  </a:lnTo>
                  <a:lnTo>
                    <a:pt x="175" y="411"/>
                  </a:lnTo>
                  <a:lnTo>
                    <a:pt x="175" y="411"/>
                  </a:lnTo>
                  <a:lnTo>
                    <a:pt x="173" y="411"/>
                  </a:lnTo>
                  <a:lnTo>
                    <a:pt x="167" y="405"/>
                  </a:lnTo>
                  <a:lnTo>
                    <a:pt x="159" y="401"/>
                  </a:lnTo>
                  <a:lnTo>
                    <a:pt x="149" y="391"/>
                  </a:lnTo>
                  <a:lnTo>
                    <a:pt x="149" y="389"/>
                  </a:lnTo>
                  <a:lnTo>
                    <a:pt x="149" y="383"/>
                  </a:lnTo>
                  <a:lnTo>
                    <a:pt x="149" y="379"/>
                  </a:lnTo>
                  <a:lnTo>
                    <a:pt x="149" y="375"/>
                  </a:lnTo>
                  <a:lnTo>
                    <a:pt x="147" y="375"/>
                  </a:lnTo>
                  <a:lnTo>
                    <a:pt x="145" y="375"/>
                  </a:lnTo>
                  <a:lnTo>
                    <a:pt x="139" y="375"/>
                  </a:lnTo>
                  <a:lnTo>
                    <a:pt x="135" y="375"/>
                  </a:lnTo>
                  <a:lnTo>
                    <a:pt x="127" y="383"/>
                  </a:lnTo>
                  <a:lnTo>
                    <a:pt x="121" y="393"/>
                  </a:lnTo>
                  <a:lnTo>
                    <a:pt x="115" y="395"/>
                  </a:lnTo>
                  <a:lnTo>
                    <a:pt x="113" y="397"/>
                  </a:lnTo>
                  <a:lnTo>
                    <a:pt x="105" y="395"/>
                  </a:lnTo>
                  <a:lnTo>
                    <a:pt x="93" y="393"/>
                  </a:lnTo>
                  <a:lnTo>
                    <a:pt x="81" y="389"/>
                  </a:lnTo>
                  <a:lnTo>
                    <a:pt x="55" y="432"/>
                  </a:lnTo>
                  <a:lnTo>
                    <a:pt x="59" y="434"/>
                  </a:lnTo>
                  <a:lnTo>
                    <a:pt x="65" y="438"/>
                  </a:lnTo>
                  <a:lnTo>
                    <a:pt x="67" y="440"/>
                  </a:lnTo>
                  <a:lnTo>
                    <a:pt x="69" y="444"/>
                  </a:lnTo>
                  <a:lnTo>
                    <a:pt x="73" y="448"/>
                  </a:lnTo>
                  <a:lnTo>
                    <a:pt x="69" y="454"/>
                  </a:lnTo>
                  <a:lnTo>
                    <a:pt x="65" y="464"/>
                  </a:lnTo>
                  <a:lnTo>
                    <a:pt x="59" y="472"/>
                  </a:lnTo>
                  <a:lnTo>
                    <a:pt x="55" y="482"/>
                  </a:lnTo>
                  <a:lnTo>
                    <a:pt x="51" y="492"/>
                  </a:lnTo>
                  <a:lnTo>
                    <a:pt x="47" y="496"/>
                  </a:lnTo>
                  <a:lnTo>
                    <a:pt x="46" y="500"/>
                  </a:lnTo>
                  <a:lnTo>
                    <a:pt x="44" y="504"/>
                  </a:lnTo>
                  <a:lnTo>
                    <a:pt x="40" y="506"/>
                  </a:lnTo>
                  <a:lnTo>
                    <a:pt x="40" y="508"/>
                  </a:lnTo>
                  <a:lnTo>
                    <a:pt x="38" y="514"/>
                  </a:lnTo>
                  <a:lnTo>
                    <a:pt x="38" y="526"/>
                  </a:lnTo>
                  <a:lnTo>
                    <a:pt x="34" y="534"/>
                  </a:lnTo>
                  <a:lnTo>
                    <a:pt x="32" y="538"/>
                  </a:lnTo>
                  <a:lnTo>
                    <a:pt x="30" y="546"/>
                  </a:lnTo>
                  <a:lnTo>
                    <a:pt x="30" y="554"/>
                  </a:lnTo>
                  <a:lnTo>
                    <a:pt x="28" y="562"/>
                  </a:lnTo>
                  <a:lnTo>
                    <a:pt x="22" y="566"/>
                  </a:lnTo>
                  <a:lnTo>
                    <a:pt x="18" y="574"/>
                  </a:lnTo>
                  <a:lnTo>
                    <a:pt x="14" y="576"/>
                  </a:lnTo>
                  <a:lnTo>
                    <a:pt x="8" y="580"/>
                  </a:lnTo>
                  <a:lnTo>
                    <a:pt x="2" y="582"/>
                  </a:lnTo>
                  <a:lnTo>
                    <a:pt x="0" y="584"/>
                  </a:lnTo>
                  <a:lnTo>
                    <a:pt x="0" y="586"/>
                  </a:lnTo>
                  <a:lnTo>
                    <a:pt x="0" y="594"/>
                  </a:lnTo>
                  <a:lnTo>
                    <a:pt x="2" y="604"/>
                  </a:lnTo>
                  <a:lnTo>
                    <a:pt x="6" y="608"/>
                  </a:lnTo>
                  <a:lnTo>
                    <a:pt x="8" y="616"/>
                  </a:lnTo>
                  <a:lnTo>
                    <a:pt x="12" y="618"/>
                  </a:lnTo>
                  <a:lnTo>
                    <a:pt x="16" y="622"/>
                  </a:lnTo>
                  <a:lnTo>
                    <a:pt x="20" y="624"/>
                  </a:lnTo>
                  <a:lnTo>
                    <a:pt x="24" y="628"/>
                  </a:lnTo>
                  <a:lnTo>
                    <a:pt x="24" y="630"/>
                  </a:lnTo>
                  <a:lnTo>
                    <a:pt x="28" y="626"/>
                  </a:lnTo>
                  <a:lnTo>
                    <a:pt x="30" y="626"/>
                  </a:lnTo>
                  <a:lnTo>
                    <a:pt x="32" y="626"/>
                  </a:lnTo>
                  <a:lnTo>
                    <a:pt x="36" y="628"/>
                  </a:lnTo>
                  <a:lnTo>
                    <a:pt x="40" y="632"/>
                  </a:lnTo>
                  <a:lnTo>
                    <a:pt x="44" y="634"/>
                  </a:lnTo>
                  <a:lnTo>
                    <a:pt x="46" y="640"/>
                  </a:lnTo>
                  <a:lnTo>
                    <a:pt x="46" y="644"/>
                  </a:lnTo>
                  <a:lnTo>
                    <a:pt x="47" y="646"/>
                  </a:lnTo>
                  <a:lnTo>
                    <a:pt x="57" y="647"/>
                  </a:lnTo>
                  <a:lnTo>
                    <a:pt x="63" y="649"/>
                  </a:lnTo>
                  <a:lnTo>
                    <a:pt x="73" y="655"/>
                  </a:lnTo>
                  <a:lnTo>
                    <a:pt x="75" y="661"/>
                  </a:lnTo>
                  <a:lnTo>
                    <a:pt x="77" y="661"/>
                  </a:lnTo>
                  <a:lnTo>
                    <a:pt x="77" y="663"/>
                  </a:lnTo>
                  <a:lnTo>
                    <a:pt x="81" y="665"/>
                  </a:lnTo>
                  <a:lnTo>
                    <a:pt x="87" y="665"/>
                  </a:lnTo>
                  <a:lnTo>
                    <a:pt x="91" y="661"/>
                  </a:lnTo>
                  <a:lnTo>
                    <a:pt x="97" y="661"/>
                  </a:lnTo>
                  <a:lnTo>
                    <a:pt x="99" y="663"/>
                  </a:lnTo>
                  <a:lnTo>
                    <a:pt x="105" y="669"/>
                  </a:lnTo>
                  <a:lnTo>
                    <a:pt x="109" y="675"/>
                  </a:lnTo>
                  <a:lnTo>
                    <a:pt x="111" y="675"/>
                  </a:lnTo>
                  <a:lnTo>
                    <a:pt x="113" y="673"/>
                  </a:lnTo>
                  <a:lnTo>
                    <a:pt x="119" y="669"/>
                  </a:lnTo>
                  <a:lnTo>
                    <a:pt x="121" y="667"/>
                  </a:lnTo>
                  <a:lnTo>
                    <a:pt x="125" y="665"/>
                  </a:lnTo>
                  <a:lnTo>
                    <a:pt x="129" y="663"/>
                  </a:lnTo>
                  <a:lnTo>
                    <a:pt x="133" y="661"/>
                  </a:lnTo>
                  <a:lnTo>
                    <a:pt x="135" y="661"/>
                  </a:lnTo>
                  <a:lnTo>
                    <a:pt x="135" y="657"/>
                  </a:lnTo>
                  <a:lnTo>
                    <a:pt x="135" y="655"/>
                  </a:lnTo>
                  <a:lnTo>
                    <a:pt x="139" y="653"/>
                  </a:lnTo>
                  <a:lnTo>
                    <a:pt x="145" y="651"/>
                  </a:lnTo>
                  <a:lnTo>
                    <a:pt x="149" y="651"/>
                  </a:lnTo>
                  <a:lnTo>
                    <a:pt x="149" y="651"/>
                  </a:lnTo>
                  <a:lnTo>
                    <a:pt x="151" y="651"/>
                  </a:lnTo>
                  <a:lnTo>
                    <a:pt x="149" y="661"/>
                  </a:lnTo>
                  <a:lnTo>
                    <a:pt x="151" y="663"/>
                  </a:lnTo>
                  <a:lnTo>
                    <a:pt x="153" y="665"/>
                  </a:lnTo>
                  <a:lnTo>
                    <a:pt x="173" y="679"/>
                  </a:lnTo>
                  <a:lnTo>
                    <a:pt x="195" y="695"/>
                  </a:lnTo>
                  <a:lnTo>
                    <a:pt x="199" y="701"/>
                  </a:lnTo>
                  <a:lnTo>
                    <a:pt x="203" y="711"/>
                  </a:lnTo>
                  <a:lnTo>
                    <a:pt x="207" y="715"/>
                  </a:lnTo>
                  <a:lnTo>
                    <a:pt x="213" y="717"/>
                  </a:lnTo>
                  <a:lnTo>
                    <a:pt x="213" y="717"/>
                  </a:lnTo>
                  <a:lnTo>
                    <a:pt x="219" y="715"/>
                  </a:lnTo>
                  <a:lnTo>
                    <a:pt x="221" y="713"/>
                  </a:lnTo>
                  <a:lnTo>
                    <a:pt x="225" y="713"/>
                  </a:lnTo>
                  <a:lnTo>
                    <a:pt x="229" y="715"/>
                  </a:lnTo>
                  <a:lnTo>
                    <a:pt x="235" y="715"/>
                  </a:lnTo>
                  <a:lnTo>
                    <a:pt x="235" y="719"/>
                  </a:lnTo>
                  <a:lnTo>
                    <a:pt x="239" y="721"/>
                  </a:lnTo>
                  <a:lnTo>
                    <a:pt x="241" y="723"/>
                  </a:lnTo>
                  <a:lnTo>
                    <a:pt x="249" y="733"/>
                  </a:lnTo>
                  <a:lnTo>
                    <a:pt x="257" y="735"/>
                  </a:lnTo>
                  <a:lnTo>
                    <a:pt x="259" y="737"/>
                  </a:lnTo>
                  <a:lnTo>
                    <a:pt x="261" y="739"/>
                  </a:lnTo>
                  <a:lnTo>
                    <a:pt x="267" y="751"/>
                  </a:lnTo>
                  <a:lnTo>
                    <a:pt x="268" y="755"/>
                  </a:lnTo>
                  <a:lnTo>
                    <a:pt x="270" y="759"/>
                  </a:lnTo>
                  <a:lnTo>
                    <a:pt x="272" y="759"/>
                  </a:lnTo>
                  <a:lnTo>
                    <a:pt x="280" y="759"/>
                  </a:lnTo>
                  <a:lnTo>
                    <a:pt x="284" y="761"/>
                  </a:lnTo>
                  <a:lnTo>
                    <a:pt x="288" y="765"/>
                  </a:lnTo>
                  <a:lnTo>
                    <a:pt x="292" y="771"/>
                  </a:lnTo>
                  <a:lnTo>
                    <a:pt x="292" y="775"/>
                  </a:lnTo>
                  <a:lnTo>
                    <a:pt x="294" y="775"/>
                  </a:lnTo>
                  <a:lnTo>
                    <a:pt x="296" y="775"/>
                  </a:lnTo>
                  <a:lnTo>
                    <a:pt x="306" y="767"/>
                  </a:lnTo>
                  <a:lnTo>
                    <a:pt x="316" y="765"/>
                  </a:lnTo>
                  <a:lnTo>
                    <a:pt x="324" y="761"/>
                  </a:lnTo>
                  <a:lnTo>
                    <a:pt x="320" y="761"/>
                  </a:lnTo>
                  <a:lnTo>
                    <a:pt x="320" y="761"/>
                  </a:lnTo>
                  <a:lnTo>
                    <a:pt x="310" y="759"/>
                  </a:lnTo>
                  <a:lnTo>
                    <a:pt x="320" y="761"/>
                  </a:lnTo>
                  <a:lnTo>
                    <a:pt x="324" y="751"/>
                  </a:lnTo>
                  <a:lnTo>
                    <a:pt x="324" y="745"/>
                  </a:lnTo>
                  <a:lnTo>
                    <a:pt x="342" y="733"/>
                  </a:lnTo>
                  <a:lnTo>
                    <a:pt x="370" y="711"/>
                  </a:lnTo>
                  <a:lnTo>
                    <a:pt x="386" y="691"/>
                  </a:lnTo>
                  <a:lnTo>
                    <a:pt x="410" y="671"/>
                  </a:lnTo>
                  <a:lnTo>
                    <a:pt x="434" y="653"/>
                  </a:lnTo>
                  <a:lnTo>
                    <a:pt x="442" y="634"/>
                  </a:lnTo>
                  <a:lnTo>
                    <a:pt x="452" y="606"/>
                  </a:lnTo>
                  <a:lnTo>
                    <a:pt x="454" y="586"/>
                  </a:lnTo>
                  <a:lnTo>
                    <a:pt x="452" y="560"/>
                  </a:lnTo>
                  <a:lnTo>
                    <a:pt x="454" y="556"/>
                  </a:lnTo>
                  <a:lnTo>
                    <a:pt x="450" y="546"/>
                  </a:lnTo>
                  <a:lnTo>
                    <a:pt x="446" y="532"/>
                  </a:lnTo>
                  <a:lnTo>
                    <a:pt x="446" y="524"/>
                  </a:lnTo>
                  <a:lnTo>
                    <a:pt x="446" y="514"/>
                  </a:lnTo>
                  <a:lnTo>
                    <a:pt x="444" y="510"/>
                  </a:lnTo>
                  <a:lnTo>
                    <a:pt x="446" y="504"/>
                  </a:lnTo>
                  <a:lnTo>
                    <a:pt x="450" y="490"/>
                  </a:lnTo>
                  <a:lnTo>
                    <a:pt x="452" y="486"/>
                  </a:lnTo>
                  <a:lnTo>
                    <a:pt x="454" y="482"/>
                  </a:lnTo>
                  <a:lnTo>
                    <a:pt x="462" y="482"/>
                  </a:lnTo>
                  <a:lnTo>
                    <a:pt x="450" y="468"/>
                  </a:lnTo>
                  <a:lnTo>
                    <a:pt x="446" y="466"/>
                  </a:lnTo>
                  <a:lnTo>
                    <a:pt x="442" y="464"/>
                  </a:lnTo>
                  <a:lnTo>
                    <a:pt x="436" y="462"/>
                  </a:lnTo>
                  <a:lnTo>
                    <a:pt x="436" y="456"/>
                  </a:lnTo>
                  <a:lnTo>
                    <a:pt x="440" y="448"/>
                  </a:lnTo>
                  <a:lnTo>
                    <a:pt x="444" y="442"/>
                  </a:lnTo>
                  <a:lnTo>
                    <a:pt x="450" y="438"/>
                  </a:lnTo>
                  <a:lnTo>
                    <a:pt x="454" y="436"/>
                  </a:lnTo>
                  <a:lnTo>
                    <a:pt x="466" y="434"/>
                  </a:lnTo>
                  <a:lnTo>
                    <a:pt x="470" y="434"/>
                  </a:lnTo>
                  <a:lnTo>
                    <a:pt x="472" y="432"/>
                  </a:lnTo>
                  <a:lnTo>
                    <a:pt x="474" y="426"/>
                  </a:lnTo>
                  <a:lnTo>
                    <a:pt x="476" y="424"/>
                  </a:lnTo>
                  <a:lnTo>
                    <a:pt x="476" y="420"/>
                  </a:lnTo>
                  <a:lnTo>
                    <a:pt x="476" y="418"/>
                  </a:lnTo>
                  <a:lnTo>
                    <a:pt x="478" y="418"/>
                  </a:lnTo>
                  <a:lnTo>
                    <a:pt x="482" y="418"/>
                  </a:lnTo>
                  <a:lnTo>
                    <a:pt x="489" y="418"/>
                  </a:lnTo>
                  <a:lnTo>
                    <a:pt x="491" y="420"/>
                  </a:lnTo>
                  <a:lnTo>
                    <a:pt x="495" y="420"/>
                  </a:lnTo>
                  <a:lnTo>
                    <a:pt x="499" y="420"/>
                  </a:lnTo>
                  <a:lnTo>
                    <a:pt x="507" y="422"/>
                  </a:lnTo>
                  <a:lnTo>
                    <a:pt x="513" y="424"/>
                  </a:lnTo>
                  <a:lnTo>
                    <a:pt x="517" y="424"/>
                  </a:lnTo>
                  <a:lnTo>
                    <a:pt x="519" y="422"/>
                  </a:lnTo>
                  <a:lnTo>
                    <a:pt x="521" y="420"/>
                  </a:lnTo>
                  <a:lnTo>
                    <a:pt x="525" y="411"/>
                  </a:lnTo>
                  <a:lnTo>
                    <a:pt x="529" y="405"/>
                  </a:lnTo>
                  <a:lnTo>
                    <a:pt x="531" y="405"/>
                  </a:lnTo>
                  <a:lnTo>
                    <a:pt x="539" y="405"/>
                  </a:lnTo>
                  <a:lnTo>
                    <a:pt x="549" y="409"/>
                  </a:lnTo>
                  <a:lnTo>
                    <a:pt x="555" y="405"/>
                  </a:lnTo>
                  <a:lnTo>
                    <a:pt x="559" y="403"/>
                  </a:lnTo>
                  <a:lnTo>
                    <a:pt x="561" y="403"/>
                  </a:lnTo>
                  <a:lnTo>
                    <a:pt x="563" y="405"/>
                  </a:lnTo>
                  <a:lnTo>
                    <a:pt x="563" y="405"/>
                  </a:lnTo>
                  <a:lnTo>
                    <a:pt x="563" y="411"/>
                  </a:lnTo>
                  <a:lnTo>
                    <a:pt x="565" y="414"/>
                  </a:lnTo>
                  <a:lnTo>
                    <a:pt x="569" y="418"/>
                  </a:lnTo>
                  <a:lnTo>
                    <a:pt x="577" y="420"/>
                  </a:lnTo>
                  <a:lnTo>
                    <a:pt x="581" y="422"/>
                  </a:lnTo>
                  <a:lnTo>
                    <a:pt x="585" y="422"/>
                  </a:lnTo>
                  <a:lnTo>
                    <a:pt x="587" y="420"/>
                  </a:lnTo>
                  <a:lnTo>
                    <a:pt x="589" y="420"/>
                  </a:lnTo>
                  <a:lnTo>
                    <a:pt x="601" y="424"/>
                  </a:lnTo>
                  <a:lnTo>
                    <a:pt x="609" y="424"/>
                  </a:lnTo>
                  <a:lnTo>
                    <a:pt x="613" y="424"/>
                  </a:lnTo>
                  <a:lnTo>
                    <a:pt x="613" y="422"/>
                  </a:lnTo>
                  <a:lnTo>
                    <a:pt x="615" y="418"/>
                  </a:lnTo>
                  <a:lnTo>
                    <a:pt x="615" y="414"/>
                  </a:lnTo>
                  <a:lnTo>
                    <a:pt x="615" y="411"/>
                  </a:lnTo>
                  <a:lnTo>
                    <a:pt x="615" y="411"/>
                  </a:lnTo>
                  <a:lnTo>
                    <a:pt x="617" y="411"/>
                  </a:lnTo>
                  <a:lnTo>
                    <a:pt x="623" y="411"/>
                  </a:lnTo>
                  <a:lnTo>
                    <a:pt x="629" y="411"/>
                  </a:lnTo>
                  <a:lnTo>
                    <a:pt x="631" y="411"/>
                  </a:lnTo>
                  <a:lnTo>
                    <a:pt x="633" y="411"/>
                  </a:lnTo>
                  <a:lnTo>
                    <a:pt x="635" y="405"/>
                  </a:lnTo>
                  <a:lnTo>
                    <a:pt x="635" y="403"/>
                  </a:lnTo>
                  <a:lnTo>
                    <a:pt x="641" y="381"/>
                  </a:lnTo>
                  <a:lnTo>
                    <a:pt x="649" y="381"/>
                  </a:lnTo>
                  <a:lnTo>
                    <a:pt x="653" y="379"/>
                  </a:lnTo>
                  <a:lnTo>
                    <a:pt x="659" y="377"/>
                  </a:lnTo>
                  <a:lnTo>
                    <a:pt x="669" y="371"/>
                  </a:lnTo>
                  <a:lnTo>
                    <a:pt x="675" y="367"/>
                  </a:lnTo>
                  <a:lnTo>
                    <a:pt x="681" y="361"/>
                  </a:lnTo>
                  <a:lnTo>
                    <a:pt x="663" y="381"/>
                  </a:lnTo>
                  <a:lnTo>
                    <a:pt x="667" y="383"/>
                  </a:lnTo>
                  <a:lnTo>
                    <a:pt x="669" y="383"/>
                  </a:lnTo>
                  <a:lnTo>
                    <a:pt x="673" y="387"/>
                  </a:lnTo>
                  <a:lnTo>
                    <a:pt x="679" y="391"/>
                  </a:lnTo>
                  <a:lnTo>
                    <a:pt x="685" y="389"/>
                  </a:lnTo>
                  <a:lnTo>
                    <a:pt x="697" y="389"/>
                  </a:lnTo>
                  <a:lnTo>
                    <a:pt x="703" y="387"/>
                  </a:lnTo>
                  <a:lnTo>
                    <a:pt x="705" y="383"/>
                  </a:lnTo>
                  <a:lnTo>
                    <a:pt x="708" y="379"/>
                  </a:lnTo>
                  <a:lnTo>
                    <a:pt x="714" y="375"/>
                  </a:lnTo>
                  <a:lnTo>
                    <a:pt x="718" y="375"/>
                  </a:lnTo>
                  <a:lnTo>
                    <a:pt x="720" y="377"/>
                  </a:lnTo>
                  <a:lnTo>
                    <a:pt x="720" y="375"/>
                  </a:lnTo>
                  <a:lnTo>
                    <a:pt x="722" y="371"/>
                  </a:lnTo>
                  <a:lnTo>
                    <a:pt x="722" y="369"/>
                  </a:lnTo>
                  <a:lnTo>
                    <a:pt x="720" y="367"/>
                  </a:lnTo>
                  <a:lnTo>
                    <a:pt x="720" y="361"/>
                  </a:lnTo>
                  <a:lnTo>
                    <a:pt x="720" y="357"/>
                  </a:lnTo>
                  <a:lnTo>
                    <a:pt x="720" y="357"/>
                  </a:lnTo>
                  <a:lnTo>
                    <a:pt x="720" y="353"/>
                  </a:lnTo>
                  <a:lnTo>
                    <a:pt x="720" y="349"/>
                  </a:lnTo>
                  <a:lnTo>
                    <a:pt x="720" y="349"/>
                  </a:lnTo>
                  <a:lnTo>
                    <a:pt x="718" y="349"/>
                  </a:lnTo>
                  <a:lnTo>
                    <a:pt x="716" y="349"/>
                  </a:lnTo>
                  <a:lnTo>
                    <a:pt x="712" y="353"/>
                  </a:lnTo>
                  <a:lnTo>
                    <a:pt x="701" y="337"/>
                  </a:lnTo>
                  <a:lnTo>
                    <a:pt x="697" y="333"/>
                  </a:lnTo>
                  <a:lnTo>
                    <a:pt x="697" y="329"/>
                  </a:lnTo>
                  <a:lnTo>
                    <a:pt x="697" y="325"/>
                  </a:lnTo>
                  <a:lnTo>
                    <a:pt x="701" y="323"/>
                  </a:lnTo>
                  <a:lnTo>
                    <a:pt x="701" y="321"/>
                  </a:lnTo>
                  <a:lnTo>
                    <a:pt x="703" y="319"/>
                  </a:lnTo>
                  <a:lnTo>
                    <a:pt x="701" y="311"/>
                  </a:lnTo>
                  <a:lnTo>
                    <a:pt x="699" y="307"/>
                  </a:lnTo>
                  <a:lnTo>
                    <a:pt x="699" y="303"/>
                  </a:lnTo>
                  <a:lnTo>
                    <a:pt x="701" y="303"/>
                  </a:lnTo>
                  <a:lnTo>
                    <a:pt x="703" y="303"/>
                  </a:lnTo>
                  <a:lnTo>
                    <a:pt x="701" y="299"/>
                  </a:lnTo>
                  <a:lnTo>
                    <a:pt x="699" y="297"/>
                  </a:lnTo>
                  <a:lnTo>
                    <a:pt x="699" y="295"/>
                  </a:lnTo>
                  <a:lnTo>
                    <a:pt x="701" y="295"/>
                  </a:lnTo>
                  <a:lnTo>
                    <a:pt x="705" y="287"/>
                  </a:lnTo>
                  <a:lnTo>
                    <a:pt x="708" y="285"/>
                  </a:lnTo>
                  <a:lnTo>
                    <a:pt x="712" y="285"/>
                  </a:lnTo>
                  <a:lnTo>
                    <a:pt x="718" y="285"/>
                  </a:lnTo>
                  <a:lnTo>
                    <a:pt x="724" y="289"/>
                  </a:lnTo>
                  <a:lnTo>
                    <a:pt x="730" y="289"/>
                  </a:lnTo>
                  <a:lnTo>
                    <a:pt x="732" y="291"/>
                  </a:lnTo>
                  <a:lnTo>
                    <a:pt x="740" y="289"/>
                  </a:lnTo>
                  <a:lnTo>
                    <a:pt x="746" y="287"/>
                  </a:lnTo>
                  <a:lnTo>
                    <a:pt x="746" y="285"/>
                  </a:lnTo>
                  <a:lnTo>
                    <a:pt x="742" y="269"/>
                  </a:lnTo>
                  <a:lnTo>
                    <a:pt x="742" y="269"/>
                  </a:lnTo>
                  <a:lnTo>
                    <a:pt x="742" y="269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47" name="Freeform 6"/>
            <p:cNvSpPr>
              <a:spLocks/>
            </p:cNvSpPr>
            <p:nvPr/>
          </p:nvSpPr>
          <p:spPr bwMode="auto">
            <a:xfrm>
              <a:off x="3035" y="2749"/>
              <a:ext cx="637" cy="474"/>
            </a:xfrm>
            <a:custGeom>
              <a:avLst/>
              <a:gdLst>
                <a:gd name="T0" fmla="*/ 612 w 637"/>
                <a:gd name="T1" fmla="*/ 111 h 474"/>
                <a:gd name="T2" fmla="*/ 572 w 637"/>
                <a:gd name="T3" fmla="*/ 50 h 474"/>
                <a:gd name="T4" fmla="*/ 570 w 637"/>
                <a:gd name="T5" fmla="*/ 34 h 474"/>
                <a:gd name="T6" fmla="*/ 590 w 637"/>
                <a:gd name="T7" fmla="*/ 0 h 474"/>
                <a:gd name="T8" fmla="*/ 550 w 637"/>
                <a:gd name="T9" fmla="*/ 20 h 474"/>
                <a:gd name="T10" fmla="*/ 532 w 637"/>
                <a:gd name="T11" fmla="*/ 50 h 474"/>
                <a:gd name="T12" fmla="*/ 522 w 637"/>
                <a:gd name="T13" fmla="*/ 61 h 474"/>
                <a:gd name="T14" fmla="*/ 494 w 637"/>
                <a:gd name="T15" fmla="*/ 61 h 474"/>
                <a:gd name="T16" fmla="*/ 472 w 637"/>
                <a:gd name="T17" fmla="*/ 44 h 474"/>
                <a:gd name="T18" fmla="*/ 448 w 637"/>
                <a:gd name="T19" fmla="*/ 44 h 474"/>
                <a:gd name="T20" fmla="*/ 426 w 637"/>
                <a:gd name="T21" fmla="*/ 63 h 474"/>
                <a:gd name="T22" fmla="*/ 398 w 637"/>
                <a:gd name="T23" fmla="*/ 57 h 474"/>
                <a:gd name="T24" fmla="*/ 383 w 637"/>
                <a:gd name="T25" fmla="*/ 65 h 474"/>
                <a:gd name="T26" fmla="*/ 353 w 637"/>
                <a:gd name="T27" fmla="*/ 81 h 474"/>
                <a:gd name="T28" fmla="*/ 359 w 637"/>
                <a:gd name="T29" fmla="*/ 107 h 474"/>
                <a:gd name="T30" fmla="*/ 353 w 637"/>
                <a:gd name="T31" fmla="*/ 149 h 474"/>
                <a:gd name="T32" fmla="*/ 363 w 637"/>
                <a:gd name="T33" fmla="*/ 195 h 474"/>
                <a:gd name="T34" fmla="*/ 319 w 637"/>
                <a:gd name="T35" fmla="*/ 310 h 474"/>
                <a:gd name="T36" fmla="*/ 229 w 637"/>
                <a:gd name="T37" fmla="*/ 400 h 474"/>
                <a:gd name="T38" fmla="*/ 201 w 637"/>
                <a:gd name="T39" fmla="*/ 414 h 474"/>
                <a:gd name="T40" fmla="*/ 179 w 637"/>
                <a:gd name="T41" fmla="*/ 398 h 474"/>
                <a:gd name="T42" fmla="*/ 158 w 637"/>
                <a:gd name="T43" fmla="*/ 372 h 474"/>
                <a:gd name="T44" fmla="*/ 134 w 637"/>
                <a:gd name="T45" fmla="*/ 352 h 474"/>
                <a:gd name="T46" fmla="*/ 112 w 637"/>
                <a:gd name="T47" fmla="*/ 350 h 474"/>
                <a:gd name="T48" fmla="*/ 58 w 637"/>
                <a:gd name="T49" fmla="*/ 300 h 474"/>
                <a:gd name="T50" fmla="*/ 44 w 637"/>
                <a:gd name="T51" fmla="*/ 294 h 474"/>
                <a:gd name="T52" fmla="*/ 30 w 637"/>
                <a:gd name="T53" fmla="*/ 306 h 474"/>
                <a:gd name="T54" fmla="*/ 12 w 637"/>
                <a:gd name="T55" fmla="*/ 314 h 474"/>
                <a:gd name="T56" fmla="*/ 12 w 637"/>
                <a:gd name="T57" fmla="*/ 360 h 474"/>
                <a:gd name="T58" fmla="*/ 36 w 637"/>
                <a:gd name="T59" fmla="*/ 376 h 474"/>
                <a:gd name="T60" fmla="*/ 104 w 637"/>
                <a:gd name="T61" fmla="*/ 398 h 474"/>
                <a:gd name="T62" fmla="*/ 134 w 637"/>
                <a:gd name="T63" fmla="*/ 428 h 474"/>
                <a:gd name="T64" fmla="*/ 168 w 637"/>
                <a:gd name="T65" fmla="*/ 466 h 474"/>
                <a:gd name="T66" fmla="*/ 195 w 637"/>
                <a:gd name="T67" fmla="*/ 474 h 474"/>
                <a:gd name="T68" fmla="*/ 239 w 637"/>
                <a:gd name="T69" fmla="*/ 460 h 474"/>
                <a:gd name="T70" fmla="*/ 273 w 637"/>
                <a:gd name="T71" fmla="*/ 452 h 474"/>
                <a:gd name="T72" fmla="*/ 307 w 637"/>
                <a:gd name="T73" fmla="*/ 454 h 474"/>
                <a:gd name="T74" fmla="*/ 333 w 637"/>
                <a:gd name="T75" fmla="*/ 470 h 474"/>
                <a:gd name="T76" fmla="*/ 359 w 637"/>
                <a:gd name="T77" fmla="*/ 466 h 474"/>
                <a:gd name="T78" fmla="*/ 373 w 637"/>
                <a:gd name="T79" fmla="*/ 444 h 474"/>
                <a:gd name="T80" fmla="*/ 379 w 637"/>
                <a:gd name="T81" fmla="*/ 432 h 474"/>
                <a:gd name="T82" fmla="*/ 379 w 637"/>
                <a:gd name="T83" fmla="*/ 406 h 474"/>
                <a:gd name="T84" fmla="*/ 377 w 637"/>
                <a:gd name="T85" fmla="*/ 398 h 474"/>
                <a:gd name="T86" fmla="*/ 396 w 637"/>
                <a:gd name="T87" fmla="*/ 380 h 474"/>
                <a:gd name="T88" fmla="*/ 418 w 637"/>
                <a:gd name="T89" fmla="*/ 378 h 474"/>
                <a:gd name="T90" fmla="*/ 456 w 637"/>
                <a:gd name="T91" fmla="*/ 372 h 474"/>
                <a:gd name="T92" fmla="*/ 464 w 637"/>
                <a:gd name="T93" fmla="*/ 356 h 474"/>
                <a:gd name="T94" fmla="*/ 496 w 637"/>
                <a:gd name="T95" fmla="*/ 324 h 474"/>
                <a:gd name="T96" fmla="*/ 516 w 637"/>
                <a:gd name="T97" fmla="*/ 314 h 474"/>
                <a:gd name="T98" fmla="*/ 538 w 637"/>
                <a:gd name="T99" fmla="*/ 300 h 474"/>
                <a:gd name="T100" fmla="*/ 560 w 637"/>
                <a:gd name="T101" fmla="*/ 288 h 474"/>
                <a:gd name="T102" fmla="*/ 572 w 637"/>
                <a:gd name="T103" fmla="*/ 259 h 474"/>
                <a:gd name="T104" fmla="*/ 550 w 637"/>
                <a:gd name="T105" fmla="*/ 237 h 474"/>
                <a:gd name="T106" fmla="*/ 584 w 637"/>
                <a:gd name="T107" fmla="*/ 195 h 474"/>
                <a:gd name="T108" fmla="*/ 621 w 637"/>
                <a:gd name="T109" fmla="*/ 163 h 474"/>
                <a:gd name="T110" fmla="*/ 637 w 637"/>
                <a:gd name="T111" fmla="*/ 141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37" h="474">
                  <a:moveTo>
                    <a:pt x="635" y="127"/>
                  </a:moveTo>
                  <a:lnTo>
                    <a:pt x="633" y="123"/>
                  </a:lnTo>
                  <a:lnTo>
                    <a:pt x="629" y="119"/>
                  </a:lnTo>
                  <a:lnTo>
                    <a:pt x="617" y="111"/>
                  </a:lnTo>
                  <a:lnTo>
                    <a:pt x="614" y="111"/>
                  </a:lnTo>
                  <a:lnTo>
                    <a:pt x="612" y="111"/>
                  </a:lnTo>
                  <a:lnTo>
                    <a:pt x="600" y="111"/>
                  </a:lnTo>
                  <a:lnTo>
                    <a:pt x="590" y="93"/>
                  </a:lnTo>
                  <a:lnTo>
                    <a:pt x="580" y="65"/>
                  </a:lnTo>
                  <a:lnTo>
                    <a:pt x="578" y="53"/>
                  </a:lnTo>
                  <a:lnTo>
                    <a:pt x="580" y="53"/>
                  </a:lnTo>
                  <a:lnTo>
                    <a:pt x="572" y="50"/>
                  </a:lnTo>
                  <a:lnTo>
                    <a:pt x="568" y="44"/>
                  </a:lnTo>
                  <a:lnTo>
                    <a:pt x="566" y="44"/>
                  </a:lnTo>
                  <a:lnTo>
                    <a:pt x="566" y="44"/>
                  </a:lnTo>
                  <a:lnTo>
                    <a:pt x="568" y="40"/>
                  </a:lnTo>
                  <a:lnTo>
                    <a:pt x="570" y="38"/>
                  </a:lnTo>
                  <a:lnTo>
                    <a:pt x="570" y="34"/>
                  </a:lnTo>
                  <a:lnTo>
                    <a:pt x="570" y="30"/>
                  </a:lnTo>
                  <a:lnTo>
                    <a:pt x="570" y="28"/>
                  </a:lnTo>
                  <a:lnTo>
                    <a:pt x="572" y="22"/>
                  </a:lnTo>
                  <a:lnTo>
                    <a:pt x="576" y="22"/>
                  </a:lnTo>
                  <a:lnTo>
                    <a:pt x="572" y="20"/>
                  </a:lnTo>
                  <a:lnTo>
                    <a:pt x="590" y="0"/>
                  </a:lnTo>
                  <a:lnTo>
                    <a:pt x="584" y="6"/>
                  </a:lnTo>
                  <a:lnTo>
                    <a:pt x="578" y="10"/>
                  </a:lnTo>
                  <a:lnTo>
                    <a:pt x="568" y="16"/>
                  </a:lnTo>
                  <a:lnTo>
                    <a:pt x="562" y="18"/>
                  </a:lnTo>
                  <a:lnTo>
                    <a:pt x="558" y="20"/>
                  </a:lnTo>
                  <a:lnTo>
                    <a:pt x="550" y="20"/>
                  </a:lnTo>
                  <a:lnTo>
                    <a:pt x="544" y="42"/>
                  </a:lnTo>
                  <a:lnTo>
                    <a:pt x="544" y="44"/>
                  </a:lnTo>
                  <a:lnTo>
                    <a:pt x="542" y="50"/>
                  </a:lnTo>
                  <a:lnTo>
                    <a:pt x="540" y="50"/>
                  </a:lnTo>
                  <a:lnTo>
                    <a:pt x="538" y="50"/>
                  </a:lnTo>
                  <a:lnTo>
                    <a:pt x="532" y="50"/>
                  </a:lnTo>
                  <a:lnTo>
                    <a:pt x="526" y="50"/>
                  </a:lnTo>
                  <a:lnTo>
                    <a:pt x="524" y="50"/>
                  </a:lnTo>
                  <a:lnTo>
                    <a:pt x="524" y="50"/>
                  </a:lnTo>
                  <a:lnTo>
                    <a:pt x="524" y="53"/>
                  </a:lnTo>
                  <a:lnTo>
                    <a:pt x="524" y="57"/>
                  </a:lnTo>
                  <a:lnTo>
                    <a:pt x="522" y="61"/>
                  </a:lnTo>
                  <a:lnTo>
                    <a:pt x="522" y="63"/>
                  </a:lnTo>
                  <a:lnTo>
                    <a:pt x="518" y="63"/>
                  </a:lnTo>
                  <a:lnTo>
                    <a:pt x="510" y="63"/>
                  </a:lnTo>
                  <a:lnTo>
                    <a:pt x="498" y="59"/>
                  </a:lnTo>
                  <a:lnTo>
                    <a:pt x="496" y="59"/>
                  </a:lnTo>
                  <a:lnTo>
                    <a:pt x="494" y="61"/>
                  </a:lnTo>
                  <a:lnTo>
                    <a:pt x="490" y="61"/>
                  </a:lnTo>
                  <a:lnTo>
                    <a:pt x="486" y="59"/>
                  </a:lnTo>
                  <a:lnTo>
                    <a:pt x="478" y="57"/>
                  </a:lnTo>
                  <a:lnTo>
                    <a:pt x="474" y="53"/>
                  </a:lnTo>
                  <a:lnTo>
                    <a:pt x="472" y="50"/>
                  </a:lnTo>
                  <a:lnTo>
                    <a:pt x="472" y="44"/>
                  </a:lnTo>
                  <a:lnTo>
                    <a:pt x="472" y="44"/>
                  </a:lnTo>
                  <a:lnTo>
                    <a:pt x="470" y="42"/>
                  </a:lnTo>
                  <a:lnTo>
                    <a:pt x="468" y="42"/>
                  </a:lnTo>
                  <a:lnTo>
                    <a:pt x="464" y="44"/>
                  </a:lnTo>
                  <a:lnTo>
                    <a:pt x="458" y="48"/>
                  </a:lnTo>
                  <a:lnTo>
                    <a:pt x="448" y="44"/>
                  </a:lnTo>
                  <a:lnTo>
                    <a:pt x="440" y="44"/>
                  </a:lnTo>
                  <a:lnTo>
                    <a:pt x="438" y="44"/>
                  </a:lnTo>
                  <a:lnTo>
                    <a:pt x="434" y="50"/>
                  </a:lnTo>
                  <a:lnTo>
                    <a:pt x="430" y="59"/>
                  </a:lnTo>
                  <a:lnTo>
                    <a:pt x="428" y="61"/>
                  </a:lnTo>
                  <a:lnTo>
                    <a:pt x="426" y="63"/>
                  </a:lnTo>
                  <a:lnTo>
                    <a:pt x="422" y="63"/>
                  </a:lnTo>
                  <a:lnTo>
                    <a:pt x="416" y="61"/>
                  </a:lnTo>
                  <a:lnTo>
                    <a:pt x="408" y="59"/>
                  </a:lnTo>
                  <a:lnTo>
                    <a:pt x="404" y="59"/>
                  </a:lnTo>
                  <a:lnTo>
                    <a:pt x="400" y="59"/>
                  </a:lnTo>
                  <a:lnTo>
                    <a:pt x="398" y="57"/>
                  </a:lnTo>
                  <a:lnTo>
                    <a:pt x="391" y="57"/>
                  </a:lnTo>
                  <a:lnTo>
                    <a:pt x="387" y="57"/>
                  </a:lnTo>
                  <a:lnTo>
                    <a:pt x="385" y="57"/>
                  </a:lnTo>
                  <a:lnTo>
                    <a:pt x="385" y="59"/>
                  </a:lnTo>
                  <a:lnTo>
                    <a:pt x="385" y="63"/>
                  </a:lnTo>
                  <a:lnTo>
                    <a:pt x="383" y="65"/>
                  </a:lnTo>
                  <a:lnTo>
                    <a:pt x="381" y="71"/>
                  </a:lnTo>
                  <a:lnTo>
                    <a:pt x="379" y="73"/>
                  </a:lnTo>
                  <a:lnTo>
                    <a:pt x="375" y="73"/>
                  </a:lnTo>
                  <a:lnTo>
                    <a:pt x="363" y="75"/>
                  </a:lnTo>
                  <a:lnTo>
                    <a:pt x="359" y="77"/>
                  </a:lnTo>
                  <a:lnTo>
                    <a:pt x="353" y="81"/>
                  </a:lnTo>
                  <a:lnTo>
                    <a:pt x="349" y="87"/>
                  </a:lnTo>
                  <a:lnTo>
                    <a:pt x="345" y="95"/>
                  </a:lnTo>
                  <a:lnTo>
                    <a:pt x="345" y="101"/>
                  </a:lnTo>
                  <a:lnTo>
                    <a:pt x="351" y="103"/>
                  </a:lnTo>
                  <a:lnTo>
                    <a:pt x="355" y="105"/>
                  </a:lnTo>
                  <a:lnTo>
                    <a:pt x="359" y="107"/>
                  </a:lnTo>
                  <a:lnTo>
                    <a:pt x="371" y="121"/>
                  </a:lnTo>
                  <a:lnTo>
                    <a:pt x="363" y="121"/>
                  </a:lnTo>
                  <a:lnTo>
                    <a:pt x="361" y="125"/>
                  </a:lnTo>
                  <a:lnTo>
                    <a:pt x="359" y="129"/>
                  </a:lnTo>
                  <a:lnTo>
                    <a:pt x="355" y="143"/>
                  </a:lnTo>
                  <a:lnTo>
                    <a:pt x="353" y="149"/>
                  </a:lnTo>
                  <a:lnTo>
                    <a:pt x="355" y="153"/>
                  </a:lnTo>
                  <a:lnTo>
                    <a:pt x="355" y="163"/>
                  </a:lnTo>
                  <a:lnTo>
                    <a:pt x="355" y="171"/>
                  </a:lnTo>
                  <a:lnTo>
                    <a:pt x="359" y="185"/>
                  </a:lnTo>
                  <a:lnTo>
                    <a:pt x="363" y="195"/>
                  </a:lnTo>
                  <a:lnTo>
                    <a:pt x="363" y="195"/>
                  </a:lnTo>
                  <a:lnTo>
                    <a:pt x="361" y="199"/>
                  </a:lnTo>
                  <a:lnTo>
                    <a:pt x="363" y="225"/>
                  </a:lnTo>
                  <a:lnTo>
                    <a:pt x="361" y="245"/>
                  </a:lnTo>
                  <a:lnTo>
                    <a:pt x="351" y="273"/>
                  </a:lnTo>
                  <a:lnTo>
                    <a:pt x="343" y="292"/>
                  </a:lnTo>
                  <a:lnTo>
                    <a:pt x="319" y="310"/>
                  </a:lnTo>
                  <a:lnTo>
                    <a:pt x="295" y="330"/>
                  </a:lnTo>
                  <a:lnTo>
                    <a:pt x="279" y="350"/>
                  </a:lnTo>
                  <a:lnTo>
                    <a:pt x="251" y="372"/>
                  </a:lnTo>
                  <a:lnTo>
                    <a:pt x="233" y="384"/>
                  </a:lnTo>
                  <a:lnTo>
                    <a:pt x="233" y="390"/>
                  </a:lnTo>
                  <a:lnTo>
                    <a:pt x="229" y="400"/>
                  </a:lnTo>
                  <a:lnTo>
                    <a:pt x="233" y="400"/>
                  </a:lnTo>
                  <a:lnTo>
                    <a:pt x="225" y="404"/>
                  </a:lnTo>
                  <a:lnTo>
                    <a:pt x="215" y="406"/>
                  </a:lnTo>
                  <a:lnTo>
                    <a:pt x="205" y="414"/>
                  </a:lnTo>
                  <a:lnTo>
                    <a:pt x="203" y="414"/>
                  </a:lnTo>
                  <a:lnTo>
                    <a:pt x="201" y="414"/>
                  </a:lnTo>
                  <a:lnTo>
                    <a:pt x="201" y="410"/>
                  </a:lnTo>
                  <a:lnTo>
                    <a:pt x="197" y="404"/>
                  </a:lnTo>
                  <a:lnTo>
                    <a:pt x="193" y="400"/>
                  </a:lnTo>
                  <a:lnTo>
                    <a:pt x="189" y="398"/>
                  </a:lnTo>
                  <a:lnTo>
                    <a:pt x="181" y="398"/>
                  </a:lnTo>
                  <a:lnTo>
                    <a:pt x="179" y="398"/>
                  </a:lnTo>
                  <a:lnTo>
                    <a:pt x="177" y="394"/>
                  </a:lnTo>
                  <a:lnTo>
                    <a:pt x="176" y="390"/>
                  </a:lnTo>
                  <a:lnTo>
                    <a:pt x="170" y="378"/>
                  </a:lnTo>
                  <a:lnTo>
                    <a:pt x="168" y="376"/>
                  </a:lnTo>
                  <a:lnTo>
                    <a:pt x="166" y="374"/>
                  </a:lnTo>
                  <a:lnTo>
                    <a:pt x="158" y="372"/>
                  </a:lnTo>
                  <a:lnTo>
                    <a:pt x="150" y="362"/>
                  </a:lnTo>
                  <a:lnTo>
                    <a:pt x="148" y="360"/>
                  </a:lnTo>
                  <a:lnTo>
                    <a:pt x="144" y="358"/>
                  </a:lnTo>
                  <a:lnTo>
                    <a:pt x="144" y="354"/>
                  </a:lnTo>
                  <a:lnTo>
                    <a:pt x="138" y="354"/>
                  </a:lnTo>
                  <a:lnTo>
                    <a:pt x="134" y="352"/>
                  </a:lnTo>
                  <a:lnTo>
                    <a:pt x="130" y="352"/>
                  </a:lnTo>
                  <a:lnTo>
                    <a:pt x="128" y="354"/>
                  </a:lnTo>
                  <a:lnTo>
                    <a:pt x="122" y="356"/>
                  </a:lnTo>
                  <a:lnTo>
                    <a:pt x="122" y="356"/>
                  </a:lnTo>
                  <a:lnTo>
                    <a:pt x="116" y="354"/>
                  </a:lnTo>
                  <a:lnTo>
                    <a:pt x="112" y="350"/>
                  </a:lnTo>
                  <a:lnTo>
                    <a:pt x="108" y="340"/>
                  </a:lnTo>
                  <a:lnTo>
                    <a:pt x="104" y="334"/>
                  </a:lnTo>
                  <a:lnTo>
                    <a:pt x="82" y="318"/>
                  </a:lnTo>
                  <a:lnTo>
                    <a:pt x="62" y="304"/>
                  </a:lnTo>
                  <a:lnTo>
                    <a:pt x="60" y="302"/>
                  </a:lnTo>
                  <a:lnTo>
                    <a:pt x="58" y="300"/>
                  </a:lnTo>
                  <a:lnTo>
                    <a:pt x="60" y="290"/>
                  </a:lnTo>
                  <a:lnTo>
                    <a:pt x="58" y="290"/>
                  </a:lnTo>
                  <a:lnTo>
                    <a:pt x="58" y="290"/>
                  </a:lnTo>
                  <a:lnTo>
                    <a:pt x="54" y="290"/>
                  </a:lnTo>
                  <a:lnTo>
                    <a:pt x="48" y="292"/>
                  </a:lnTo>
                  <a:lnTo>
                    <a:pt x="44" y="294"/>
                  </a:lnTo>
                  <a:lnTo>
                    <a:pt x="44" y="296"/>
                  </a:lnTo>
                  <a:lnTo>
                    <a:pt x="44" y="300"/>
                  </a:lnTo>
                  <a:lnTo>
                    <a:pt x="42" y="300"/>
                  </a:lnTo>
                  <a:lnTo>
                    <a:pt x="38" y="302"/>
                  </a:lnTo>
                  <a:lnTo>
                    <a:pt x="34" y="304"/>
                  </a:lnTo>
                  <a:lnTo>
                    <a:pt x="30" y="306"/>
                  </a:lnTo>
                  <a:lnTo>
                    <a:pt x="28" y="308"/>
                  </a:lnTo>
                  <a:lnTo>
                    <a:pt x="22" y="312"/>
                  </a:lnTo>
                  <a:lnTo>
                    <a:pt x="20" y="314"/>
                  </a:lnTo>
                  <a:lnTo>
                    <a:pt x="18" y="314"/>
                  </a:lnTo>
                  <a:lnTo>
                    <a:pt x="18" y="316"/>
                  </a:lnTo>
                  <a:lnTo>
                    <a:pt x="12" y="314"/>
                  </a:lnTo>
                  <a:lnTo>
                    <a:pt x="8" y="324"/>
                  </a:lnTo>
                  <a:lnTo>
                    <a:pt x="10" y="330"/>
                  </a:lnTo>
                  <a:lnTo>
                    <a:pt x="0" y="342"/>
                  </a:lnTo>
                  <a:lnTo>
                    <a:pt x="6" y="358"/>
                  </a:lnTo>
                  <a:lnTo>
                    <a:pt x="8" y="358"/>
                  </a:lnTo>
                  <a:lnTo>
                    <a:pt x="12" y="360"/>
                  </a:lnTo>
                  <a:lnTo>
                    <a:pt x="14" y="362"/>
                  </a:lnTo>
                  <a:lnTo>
                    <a:pt x="16" y="364"/>
                  </a:lnTo>
                  <a:lnTo>
                    <a:pt x="20" y="368"/>
                  </a:lnTo>
                  <a:lnTo>
                    <a:pt x="28" y="372"/>
                  </a:lnTo>
                  <a:lnTo>
                    <a:pt x="32" y="372"/>
                  </a:lnTo>
                  <a:lnTo>
                    <a:pt x="36" y="376"/>
                  </a:lnTo>
                  <a:lnTo>
                    <a:pt x="40" y="378"/>
                  </a:lnTo>
                  <a:lnTo>
                    <a:pt x="44" y="380"/>
                  </a:lnTo>
                  <a:lnTo>
                    <a:pt x="48" y="380"/>
                  </a:lnTo>
                  <a:lnTo>
                    <a:pt x="62" y="384"/>
                  </a:lnTo>
                  <a:lnTo>
                    <a:pt x="82" y="390"/>
                  </a:lnTo>
                  <a:lnTo>
                    <a:pt x="104" y="398"/>
                  </a:lnTo>
                  <a:lnTo>
                    <a:pt x="122" y="402"/>
                  </a:lnTo>
                  <a:lnTo>
                    <a:pt x="126" y="404"/>
                  </a:lnTo>
                  <a:lnTo>
                    <a:pt x="128" y="404"/>
                  </a:lnTo>
                  <a:lnTo>
                    <a:pt x="130" y="406"/>
                  </a:lnTo>
                  <a:lnTo>
                    <a:pt x="130" y="410"/>
                  </a:lnTo>
                  <a:lnTo>
                    <a:pt x="134" y="428"/>
                  </a:lnTo>
                  <a:lnTo>
                    <a:pt x="138" y="442"/>
                  </a:lnTo>
                  <a:lnTo>
                    <a:pt x="144" y="446"/>
                  </a:lnTo>
                  <a:lnTo>
                    <a:pt x="146" y="448"/>
                  </a:lnTo>
                  <a:lnTo>
                    <a:pt x="158" y="460"/>
                  </a:lnTo>
                  <a:lnTo>
                    <a:pt x="162" y="464"/>
                  </a:lnTo>
                  <a:lnTo>
                    <a:pt x="168" y="466"/>
                  </a:lnTo>
                  <a:lnTo>
                    <a:pt x="176" y="466"/>
                  </a:lnTo>
                  <a:lnTo>
                    <a:pt x="177" y="466"/>
                  </a:lnTo>
                  <a:lnTo>
                    <a:pt x="179" y="466"/>
                  </a:lnTo>
                  <a:lnTo>
                    <a:pt x="187" y="470"/>
                  </a:lnTo>
                  <a:lnTo>
                    <a:pt x="191" y="472"/>
                  </a:lnTo>
                  <a:lnTo>
                    <a:pt x="195" y="474"/>
                  </a:lnTo>
                  <a:lnTo>
                    <a:pt x="201" y="474"/>
                  </a:lnTo>
                  <a:lnTo>
                    <a:pt x="211" y="474"/>
                  </a:lnTo>
                  <a:lnTo>
                    <a:pt x="215" y="470"/>
                  </a:lnTo>
                  <a:lnTo>
                    <a:pt x="223" y="466"/>
                  </a:lnTo>
                  <a:lnTo>
                    <a:pt x="229" y="462"/>
                  </a:lnTo>
                  <a:lnTo>
                    <a:pt x="239" y="460"/>
                  </a:lnTo>
                  <a:lnTo>
                    <a:pt x="247" y="454"/>
                  </a:lnTo>
                  <a:lnTo>
                    <a:pt x="251" y="454"/>
                  </a:lnTo>
                  <a:lnTo>
                    <a:pt x="253" y="452"/>
                  </a:lnTo>
                  <a:lnTo>
                    <a:pt x="257" y="452"/>
                  </a:lnTo>
                  <a:lnTo>
                    <a:pt x="261" y="452"/>
                  </a:lnTo>
                  <a:lnTo>
                    <a:pt x="273" y="452"/>
                  </a:lnTo>
                  <a:lnTo>
                    <a:pt x="283" y="452"/>
                  </a:lnTo>
                  <a:lnTo>
                    <a:pt x="287" y="454"/>
                  </a:lnTo>
                  <a:lnTo>
                    <a:pt x="291" y="456"/>
                  </a:lnTo>
                  <a:lnTo>
                    <a:pt x="293" y="460"/>
                  </a:lnTo>
                  <a:lnTo>
                    <a:pt x="297" y="456"/>
                  </a:lnTo>
                  <a:lnTo>
                    <a:pt x="307" y="454"/>
                  </a:lnTo>
                  <a:lnTo>
                    <a:pt x="311" y="454"/>
                  </a:lnTo>
                  <a:lnTo>
                    <a:pt x="315" y="454"/>
                  </a:lnTo>
                  <a:lnTo>
                    <a:pt x="319" y="456"/>
                  </a:lnTo>
                  <a:lnTo>
                    <a:pt x="329" y="462"/>
                  </a:lnTo>
                  <a:lnTo>
                    <a:pt x="333" y="466"/>
                  </a:lnTo>
                  <a:lnTo>
                    <a:pt x="333" y="470"/>
                  </a:lnTo>
                  <a:lnTo>
                    <a:pt x="333" y="474"/>
                  </a:lnTo>
                  <a:lnTo>
                    <a:pt x="339" y="474"/>
                  </a:lnTo>
                  <a:lnTo>
                    <a:pt x="345" y="474"/>
                  </a:lnTo>
                  <a:lnTo>
                    <a:pt x="357" y="474"/>
                  </a:lnTo>
                  <a:lnTo>
                    <a:pt x="359" y="470"/>
                  </a:lnTo>
                  <a:lnTo>
                    <a:pt x="359" y="466"/>
                  </a:lnTo>
                  <a:lnTo>
                    <a:pt x="357" y="464"/>
                  </a:lnTo>
                  <a:lnTo>
                    <a:pt x="359" y="462"/>
                  </a:lnTo>
                  <a:lnTo>
                    <a:pt x="363" y="454"/>
                  </a:lnTo>
                  <a:lnTo>
                    <a:pt x="367" y="450"/>
                  </a:lnTo>
                  <a:lnTo>
                    <a:pt x="371" y="446"/>
                  </a:lnTo>
                  <a:lnTo>
                    <a:pt x="373" y="444"/>
                  </a:lnTo>
                  <a:lnTo>
                    <a:pt x="377" y="444"/>
                  </a:lnTo>
                  <a:lnTo>
                    <a:pt x="385" y="444"/>
                  </a:lnTo>
                  <a:lnTo>
                    <a:pt x="387" y="442"/>
                  </a:lnTo>
                  <a:lnTo>
                    <a:pt x="391" y="440"/>
                  </a:lnTo>
                  <a:lnTo>
                    <a:pt x="391" y="438"/>
                  </a:lnTo>
                  <a:lnTo>
                    <a:pt x="379" y="432"/>
                  </a:lnTo>
                  <a:lnTo>
                    <a:pt x="371" y="428"/>
                  </a:lnTo>
                  <a:lnTo>
                    <a:pt x="367" y="426"/>
                  </a:lnTo>
                  <a:lnTo>
                    <a:pt x="367" y="426"/>
                  </a:lnTo>
                  <a:lnTo>
                    <a:pt x="373" y="414"/>
                  </a:lnTo>
                  <a:lnTo>
                    <a:pt x="375" y="410"/>
                  </a:lnTo>
                  <a:lnTo>
                    <a:pt x="379" y="406"/>
                  </a:lnTo>
                  <a:lnTo>
                    <a:pt x="381" y="406"/>
                  </a:lnTo>
                  <a:lnTo>
                    <a:pt x="383" y="404"/>
                  </a:lnTo>
                  <a:lnTo>
                    <a:pt x="381" y="404"/>
                  </a:lnTo>
                  <a:lnTo>
                    <a:pt x="381" y="400"/>
                  </a:lnTo>
                  <a:lnTo>
                    <a:pt x="377" y="400"/>
                  </a:lnTo>
                  <a:lnTo>
                    <a:pt x="377" y="398"/>
                  </a:lnTo>
                  <a:lnTo>
                    <a:pt x="377" y="396"/>
                  </a:lnTo>
                  <a:lnTo>
                    <a:pt x="377" y="386"/>
                  </a:lnTo>
                  <a:lnTo>
                    <a:pt x="377" y="384"/>
                  </a:lnTo>
                  <a:lnTo>
                    <a:pt x="381" y="380"/>
                  </a:lnTo>
                  <a:lnTo>
                    <a:pt x="387" y="380"/>
                  </a:lnTo>
                  <a:lnTo>
                    <a:pt x="396" y="380"/>
                  </a:lnTo>
                  <a:lnTo>
                    <a:pt x="396" y="380"/>
                  </a:lnTo>
                  <a:lnTo>
                    <a:pt x="400" y="380"/>
                  </a:lnTo>
                  <a:lnTo>
                    <a:pt x="406" y="384"/>
                  </a:lnTo>
                  <a:lnTo>
                    <a:pt x="408" y="384"/>
                  </a:lnTo>
                  <a:lnTo>
                    <a:pt x="412" y="382"/>
                  </a:lnTo>
                  <a:lnTo>
                    <a:pt x="418" y="378"/>
                  </a:lnTo>
                  <a:lnTo>
                    <a:pt x="426" y="372"/>
                  </a:lnTo>
                  <a:lnTo>
                    <a:pt x="432" y="368"/>
                  </a:lnTo>
                  <a:lnTo>
                    <a:pt x="440" y="368"/>
                  </a:lnTo>
                  <a:lnTo>
                    <a:pt x="446" y="368"/>
                  </a:lnTo>
                  <a:lnTo>
                    <a:pt x="450" y="370"/>
                  </a:lnTo>
                  <a:lnTo>
                    <a:pt x="456" y="372"/>
                  </a:lnTo>
                  <a:lnTo>
                    <a:pt x="458" y="372"/>
                  </a:lnTo>
                  <a:lnTo>
                    <a:pt x="462" y="370"/>
                  </a:lnTo>
                  <a:lnTo>
                    <a:pt x="462" y="368"/>
                  </a:lnTo>
                  <a:lnTo>
                    <a:pt x="462" y="362"/>
                  </a:lnTo>
                  <a:lnTo>
                    <a:pt x="462" y="360"/>
                  </a:lnTo>
                  <a:lnTo>
                    <a:pt x="464" y="356"/>
                  </a:lnTo>
                  <a:lnTo>
                    <a:pt x="476" y="348"/>
                  </a:lnTo>
                  <a:lnTo>
                    <a:pt x="486" y="340"/>
                  </a:lnTo>
                  <a:lnTo>
                    <a:pt x="490" y="336"/>
                  </a:lnTo>
                  <a:lnTo>
                    <a:pt x="494" y="330"/>
                  </a:lnTo>
                  <a:lnTo>
                    <a:pt x="494" y="328"/>
                  </a:lnTo>
                  <a:lnTo>
                    <a:pt x="496" y="324"/>
                  </a:lnTo>
                  <a:lnTo>
                    <a:pt x="498" y="318"/>
                  </a:lnTo>
                  <a:lnTo>
                    <a:pt x="502" y="314"/>
                  </a:lnTo>
                  <a:lnTo>
                    <a:pt x="504" y="314"/>
                  </a:lnTo>
                  <a:lnTo>
                    <a:pt x="510" y="316"/>
                  </a:lnTo>
                  <a:lnTo>
                    <a:pt x="512" y="316"/>
                  </a:lnTo>
                  <a:lnTo>
                    <a:pt x="516" y="314"/>
                  </a:lnTo>
                  <a:lnTo>
                    <a:pt x="518" y="312"/>
                  </a:lnTo>
                  <a:lnTo>
                    <a:pt x="522" y="310"/>
                  </a:lnTo>
                  <a:lnTo>
                    <a:pt x="530" y="308"/>
                  </a:lnTo>
                  <a:lnTo>
                    <a:pt x="532" y="306"/>
                  </a:lnTo>
                  <a:lnTo>
                    <a:pt x="536" y="304"/>
                  </a:lnTo>
                  <a:lnTo>
                    <a:pt x="538" y="300"/>
                  </a:lnTo>
                  <a:lnTo>
                    <a:pt x="540" y="300"/>
                  </a:lnTo>
                  <a:lnTo>
                    <a:pt x="548" y="296"/>
                  </a:lnTo>
                  <a:lnTo>
                    <a:pt x="550" y="294"/>
                  </a:lnTo>
                  <a:lnTo>
                    <a:pt x="554" y="294"/>
                  </a:lnTo>
                  <a:lnTo>
                    <a:pt x="556" y="290"/>
                  </a:lnTo>
                  <a:lnTo>
                    <a:pt x="560" y="288"/>
                  </a:lnTo>
                  <a:lnTo>
                    <a:pt x="564" y="286"/>
                  </a:lnTo>
                  <a:lnTo>
                    <a:pt x="568" y="285"/>
                  </a:lnTo>
                  <a:lnTo>
                    <a:pt x="570" y="283"/>
                  </a:lnTo>
                  <a:lnTo>
                    <a:pt x="570" y="279"/>
                  </a:lnTo>
                  <a:lnTo>
                    <a:pt x="572" y="267"/>
                  </a:lnTo>
                  <a:lnTo>
                    <a:pt x="572" y="259"/>
                  </a:lnTo>
                  <a:lnTo>
                    <a:pt x="570" y="257"/>
                  </a:lnTo>
                  <a:lnTo>
                    <a:pt x="568" y="255"/>
                  </a:lnTo>
                  <a:lnTo>
                    <a:pt x="562" y="249"/>
                  </a:lnTo>
                  <a:lnTo>
                    <a:pt x="558" y="247"/>
                  </a:lnTo>
                  <a:lnTo>
                    <a:pt x="556" y="243"/>
                  </a:lnTo>
                  <a:lnTo>
                    <a:pt x="550" y="237"/>
                  </a:lnTo>
                  <a:lnTo>
                    <a:pt x="550" y="227"/>
                  </a:lnTo>
                  <a:lnTo>
                    <a:pt x="550" y="225"/>
                  </a:lnTo>
                  <a:lnTo>
                    <a:pt x="556" y="221"/>
                  </a:lnTo>
                  <a:lnTo>
                    <a:pt x="568" y="215"/>
                  </a:lnTo>
                  <a:lnTo>
                    <a:pt x="580" y="201"/>
                  </a:lnTo>
                  <a:lnTo>
                    <a:pt x="584" y="195"/>
                  </a:lnTo>
                  <a:lnTo>
                    <a:pt x="588" y="189"/>
                  </a:lnTo>
                  <a:lnTo>
                    <a:pt x="592" y="179"/>
                  </a:lnTo>
                  <a:lnTo>
                    <a:pt x="600" y="173"/>
                  </a:lnTo>
                  <a:lnTo>
                    <a:pt x="604" y="169"/>
                  </a:lnTo>
                  <a:lnTo>
                    <a:pt x="608" y="165"/>
                  </a:lnTo>
                  <a:lnTo>
                    <a:pt x="621" y="163"/>
                  </a:lnTo>
                  <a:lnTo>
                    <a:pt x="625" y="159"/>
                  </a:lnTo>
                  <a:lnTo>
                    <a:pt x="629" y="155"/>
                  </a:lnTo>
                  <a:lnTo>
                    <a:pt x="633" y="153"/>
                  </a:lnTo>
                  <a:lnTo>
                    <a:pt x="637" y="149"/>
                  </a:lnTo>
                  <a:lnTo>
                    <a:pt x="637" y="145"/>
                  </a:lnTo>
                  <a:lnTo>
                    <a:pt x="637" y="141"/>
                  </a:lnTo>
                  <a:lnTo>
                    <a:pt x="635" y="127"/>
                  </a:lnTo>
                  <a:lnTo>
                    <a:pt x="635" y="127"/>
                  </a:lnTo>
                  <a:lnTo>
                    <a:pt x="635" y="127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48" name="Freeform 7"/>
            <p:cNvSpPr>
              <a:spLocks/>
            </p:cNvSpPr>
            <p:nvPr/>
          </p:nvSpPr>
          <p:spPr bwMode="auto">
            <a:xfrm>
              <a:off x="3818" y="2968"/>
              <a:ext cx="12" cy="8"/>
            </a:xfrm>
            <a:custGeom>
              <a:avLst/>
              <a:gdLst>
                <a:gd name="T0" fmla="*/ 8 w 12"/>
                <a:gd name="T1" fmla="*/ 8 h 8"/>
                <a:gd name="T2" fmla="*/ 8 w 12"/>
                <a:gd name="T3" fmla="*/ 8 h 8"/>
                <a:gd name="T4" fmla="*/ 12 w 12"/>
                <a:gd name="T5" fmla="*/ 8 h 8"/>
                <a:gd name="T6" fmla="*/ 2 w 12"/>
                <a:gd name="T7" fmla="*/ 0 h 8"/>
                <a:gd name="T8" fmla="*/ 2 w 12"/>
                <a:gd name="T9" fmla="*/ 0 h 8"/>
                <a:gd name="T10" fmla="*/ 0 w 12"/>
                <a:gd name="T11" fmla="*/ 6 h 8"/>
                <a:gd name="T12" fmla="*/ 0 w 12"/>
                <a:gd name="T13" fmla="*/ 6 h 8"/>
                <a:gd name="T14" fmla="*/ 0 w 12"/>
                <a:gd name="T15" fmla="*/ 8 h 8"/>
                <a:gd name="T16" fmla="*/ 4 w 12"/>
                <a:gd name="T17" fmla="*/ 8 h 8"/>
                <a:gd name="T18" fmla="*/ 6 w 12"/>
                <a:gd name="T19" fmla="*/ 8 h 8"/>
                <a:gd name="T20" fmla="*/ 8 w 12"/>
                <a:gd name="T21" fmla="*/ 8 h 8"/>
                <a:gd name="T22" fmla="*/ 8 w 12"/>
                <a:gd name="T23" fmla="*/ 8 h 8"/>
                <a:gd name="T24" fmla="*/ 8 w 12"/>
                <a:gd name="T25" fmla="*/ 8 h 8"/>
                <a:gd name="T26" fmla="*/ 8 w 12"/>
                <a:gd name="T27" fmla="*/ 8 h 8"/>
                <a:gd name="T28" fmla="*/ 8 w 12"/>
                <a:gd name="T2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8">
                  <a:moveTo>
                    <a:pt x="8" y="8"/>
                  </a:moveTo>
                  <a:lnTo>
                    <a:pt x="8" y="8"/>
                  </a:lnTo>
                  <a:lnTo>
                    <a:pt x="12" y="8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4" y="8"/>
                  </a:lnTo>
                  <a:lnTo>
                    <a:pt x="6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49" name="Freeform 8"/>
            <p:cNvSpPr>
              <a:spLocks/>
            </p:cNvSpPr>
            <p:nvPr/>
          </p:nvSpPr>
          <p:spPr bwMode="auto">
            <a:xfrm>
              <a:off x="1510" y="2175"/>
              <a:ext cx="120" cy="108"/>
            </a:xfrm>
            <a:custGeom>
              <a:avLst/>
              <a:gdLst>
                <a:gd name="T0" fmla="*/ 118 w 120"/>
                <a:gd name="T1" fmla="*/ 86 h 108"/>
                <a:gd name="T2" fmla="*/ 110 w 120"/>
                <a:gd name="T3" fmla="*/ 66 h 108"/>
                <a:gd name="T4" fmla="*/ 120 w 120"/>
                <a:gd name="T5" fmla="*/ 58 h 108"/>
                <a:gd name="T6" fmla="*/ 110 w 120"/>
                <a:gd name="T7" fmla="*/ 52 h 108"/>
                <a:gd name="T8" fmla="*/ 106 w 120"/>
                <a:gd name="T9" fmla="*/ 60 h 108"/>
                <a:gd name="T10" fmla="*/ 102 w 120"/>
                <a:gd name="T11" fmla="*/ 54 h 108"/>
                <a:gd name="T12" fmla="*/ 94 w 120"/>
                <a:gd name="T13" fmla="*/ 42 h 108"/>
                <a:gd name="T14" fmla="*/ 76 w 120"/>
                <a:gd name="T15" fmla="*/ 38 h 108"/>
                <a:gd name="T16" fmla="*/ 64 w 120"/>
                <a:gd name="T17" fmla="*/ 36 h 108"/>
                <a:gd name="T18" fmla="*/ 56 w 120"/>
                <a:gd name="T19" fmla="*/ 24 h 108"/>
                <a:gd name="T20" fmla="*/ 50 w 120"/>
                <a:gd name="T21" fmla="*/ 14 h 108"/>
                <a:gd name="T22" fmla="*/ 48 w 120"/>
                <a:gd name="T23" fmla="*/ 12 h 108"/>
                <a:gd name="T24" fmla="*/ 42 w 120"/>
                <a:gd name="T25" fmla="*/ 10 h 108"/>
                <a:gd name="T26" fmla="*/ 38 w 120"/>
                <a:gd name="T27" fmla="*/ 8 h 108"/>
                <a:gd name="T28" fmla="*/ 30 w 120"/>
                <a:gd name="T29" fmla="*/ 0 h 108"/>
                <a:gd name="T30" fmla="*/ 26 w 120"/>
                <a:gd name="T31" fmla="*/ 0 h 108"/>
                <a:gd name="T32" fmla="*/ 16 w 120"/>
                <a:gd name="T33" fmla="*/ 10 h 108"/>
                <a:gd name="T34" fmla="*/ 14 w 120"/>
                <a:gd name="T35" fmla="*/ 10 h 108"/>
                <a:gd name="T36" fmla="*/ 8 w 120"/>
                <a:gd name="T37" fmla="*/ 8 h 108"/>
                <a:gd name="T38" fmla="*/ 6 w 120"/>
                <a:gd name="T39" fmla="*/ 8 h 108"/>
                <a:gd name="T40" fmla="*/ 6 w 120"/>
                <a:gd name="T41" fmla="*/ 14 h 108"/>
                <a:gd name="T42" fmla="*/ 6 w 120"/>
                <a:gd name="T43" fmla="*/ 20 h 108"/>
                <a:gd name="T44" fmla="*/ 4 w 120"/>
                <a:gd name="T45" fmla="*/ 22 h 108"/>
                <a:gd name="T46" fmla="*/ 0 w 120"/>
                <a:gd name="T47" fmla="*/ 24 h 108"/>
                <a:gd name="T48" fmla="*/ 0 w 120"/>
                <a:gd name="T49" fmla="*/ 32 h 108"/>
                <a:gd name="T50" fmla="*/ 0 w 120"/>
                <a:gd name="T51" fmla="*/ 40 h 108"/>
                <a:gd name="T52" fmla="*/ 14 w 120"/>
                <a:gd name="T53" fmla="*/ 46 h 108"/>
                <a:gd name="T54" fmla="*/ 20 w 120"/>
                <a:gd name="T55" fmla="*/ 48 h 108"/>
                <a:gd name="T56" fmla="*/ 26 w 120"/>
                <a:gd name="T57" fmla="*/ 48 h 108"/>
                <a:gd name="T58" fmla="*/ 34 w 120"/>
                <a:gd name="T59" fmla="*/ 56 h 108"/>
                <a:gd name="T60" fmla="*/ 34 w 120"/>
                <a:gd name="T61" fmla="*/ 58 h 108"/>
                <a:gd name="T62" fmla="*/ 34 w 120"/>
                <a:gd name="T63" fmla="*/ 60 h 108"/>
                <a:gd name="T64" fmla="*/ 36 w 120"/>
                <a:gd name="T65" fmla="*/ 66 h 108"/>
                <a:gd name="T66" fmla="*/ 38 w 120"/>
                <a:gd name="T67" fmla="*/ 68 h 108"/>
                <a:gd name="T68" fmla="*/ 38 w 120"/>
                <a:gd name="T69" fmla="*/ 74 h 108"/>
                <a:gd name="T70" fmla="*/ 38 w 120"/>
                <a:gd name="T71" fmla="*/ 82 h 108"/>
                <a:gd name="T72" fmla="*/ 38 w 120"/>
                <a:gd name="T73" fmla="*/ 88 h 108"/>
                <a:gd name="T74" fmla="*/ 40 w 120"/>
                <a:gd name="T75" fmla="*/ 92 h 108"/>
                <a:gd name="T76" fmla="*/ 42 w 120"/>
                <a:gd name="T77" fmla="*/ 100 h 108"/>
                <a:gd name="T78" fmla="*/ 56 w 120"/>
                <a:gd name="T79" fmla="*/ 100 h 108"/>
                <a:gd name="T80" fmla="*/ 72 w 120"/>
                <a:gd name="T81" fmla="*/ 94 h 108"/>
                <a:gd name="T82" fmla="*/ 82 w 120"/>
                <a:gd name="T83" fmla="*/ 94 h 108"/>
                <a:gd name="T84" fmla="*/ 94 w 120"/>
                <a:gd name="T85" fmla="*/ 100 h 108"/>
                <a:gd name="T86" fmla="*/ 100 w 120"/>
                <a:gd name="T87" fmla="*/ 104 h 108"/>
                <a:gd name="T88" fmla="*/ 112 w 120"/>
                <a:gd name="T89" fmla="*/ 108 h 108"/>
                <a:gd name="T90" fmla="*/ 112 w 120"/>
                <a:gd name="T91" fmla="*/ 104 h 108"/>
                <a:gd name="T92" fmla="*/ 120 w 120"/>
                <a:gd name="T93" fmla="*/ 90 h 108"/>
                <a:gd name="T94" fmla="*/ 120 w 120"/>
                <a:gd name="T95" fmla="*/ 9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0" h="108">
                  <a:moveTo>
                    <a:pt x="120" y="90"/>
                  </a:moveTo>
                  <a:lnTo>
                    <a:pt x="118" y="86"/>
                  </a:lnTo>
                  <a:lnTo>
                    <a:pt x="120" y="76"/>
                  </a:lnTo>
                  <a:lnTo>
                    <a:pt x="110" y="66"/>
                  </a:lnTo>
                  <a:lnTo>
                    <a:pt x="116" y="60"/>
                  </a:lnTo>
                  <a:lnTo>
                    <a:pt x="120" y="58"/>
                  </a:lnTo>
                  <a:lnTo>
                    <a:pt x="120" y="52"/>
                  </a:lnTo>
                  <a:lnTo>
                    <a:pt x="110" y="52"/>
                  </a:lnTo>
                  <a:lnTo>
                    <a:pt x="110" y="56"/>
                  </a:lnTo>
                  <a:lnTo>
                    <a:pt x="106" y="60"/>
                  </a:lnTo>
                  <a:lnTo>
                    <a:pt x="102" y="58"/>
                  </a:lnTo>
                  <a:lnTo>
                    <a:pt x="102" y="54"/>
                  </a:lnTo>
                  <a:lnTo>
                    <a:pt x="102" y="48"/>
                  </a:lnTo>
                  <a:lnTo>
                    <a:pt x="94" y="42"/>
                  </a:lnTo>
                  <a:lnTo>
                    <a:pt x="80" y="42"/>
                  </a:lnTo>
                  <a:lnTo>
                    <a:pt x="76" y="38"/>
                  </a:lnTo>
                  <a:lnTo>
                    <a:pt x="76" y="34"/>
                  </a:lnTo>
                  <a:lnTo>
                    <a:pt x="64" y="36"/>
                  </a:lnTo>
                  <a:lnTo>
                    <a:pt x="52" y="30"/>
                  </a:lnTo>
                  <a:lnTo>
                    <a:pt x="56" y="2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48" y="12"/>
                  </a:lnTo>
                  <a:lnTo>
                    <a:pt x="46" y="10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38" y="8"/>
                  </a:lnTo>
                  <a:lnTo>
                    <a:pt x="34" y="6"/>
                  </a:lnTo>
                  <a:lnTo>
                    <a:pt x="30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0" y="6"/>
                  </a:lnTo>
                  <a:lnTo>
                    <a:pt x="16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0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12"/>
                  </a:lnTo>
                  <a:lnTo>
                    <a:pt x="6" y="14"/>
                  </a:lnTo>
                  <a:lnTo>
                    <a:pt x="8" y="18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4" y="22"/>
                  </a:lnTo>
                  <a:lnTo>
                    <a:pt x="2" y="22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32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8" y="44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20" y="48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32" y="52"/>
                  </a:lnTo>
                  <a:lnTo>
                    <a:pt x="34" y="56"/>
                  </a:lnTo>
                  <a:lnTo>
                    <a:pt x="36" y="56"/>
                  </a:lnTo>
                  <a:lnTo>
                    <a:pt x="34" y="58"/>
                  </a:lnTo>
                  <a:lnTo>
                    <a:pt x="34" y="58"/>
                  </a:lnTo>
                  <a:lnTo>
                    <a:pt x="34" y="60"/>
                  </a:lnTo>
                  <a:lnTo>
                    <a:pt x="34" y="64"/>
                  </a:lnTo>
                  <a:lnTo>
                    <a:pt x="36" y="66"/>
                  </a:lnTo>
                  <a:lnTo>
                    <a:pt x="38" y="68"/>
                  </a:lnTo>
                  <a:lnTo>
                    <a:pt x="38" y="68"/>
                  </a:lnTo>
                  <a:lnTo>
                    <a:pt x="38" y="74"/>
                  </a:lnTo>
                  <a:lnTo>
                    <a:pt x="38" y="74"/>
                  </a:lnTo>
                  <a:lnTo>
                    <a:pt x="38" y="82"/>
                  </a:lnTo>
                  <a:lnTo>
                    <a:pt x="38" y="82"/>
                  </a:lnTo>
                  <a:lnTo>
                    <a:pt x="38" y="84"/>
                  </a:lnTo>
                  <a:lnTo>
                    <a:pt x="38" y="88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2" y="100"/>
                  </a:lnTo>
                  <a:lnTo>
                    <a:pt x="42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64" y="98"/>
                  </a:lnTo>
                  <a:lnTo>
                    <a:pt x="72" y="94"/>
                  </a:lnTo>
                  <a:lnTo>
                    <a:pt x="76" y="94"/>
                  </a:lnTo>
                  <a:lnTo>
                    <a:pt x="82" y="94"/>
                  </a:lnTo>
                  <a:lnTo>
                    <a:pt x="82" y="94"/>
                  </a:lnTo>
                  <a:lnTo>
                    <a:pt x="94" y="100"/>
                  </a:lnTo>
                  <a:lnTo>
                    <a:pt x="98" y="100"/>
                  </a:lnTo>
                  <a:lnTo>
                    <a:pt x="100" y="104"/>
                  </a:lnTo>
                  <a:lnTo>
                    <a:pt x="102" y="106"/>
                  </a:lnTo>
                  <a:lnTo>
                    <a:pt x="112" y="108"/>
                  </a:lnTo>
                  <a:lnTo>
                    <a:pt x="116" y="106"/>
                  </a:lnTo>
                  <a:lnTo>
                    <a:pt x="112" y="104"/>
                  </a:lnTo>
                  <a:lnTo>
                    <a:pt x="120" y="90"/>
                  </a:lnTo>
                  <a:lnTo>
                    <a:pt x="120" y="90"/>
                  </a:lnTo>
                  <a:lnTo>
                    <a:pt x="120" y="90"/>
                  </a:lnTo>
                  <a:lnTo>
                    <a:pt x="120" y="9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50" name="Freeform 9"/>
            <p:cNvSpPr>
              <a:spLocks/>
            </p:cNvSpPr>
            <p:nvPr/>
          </p:nvSpPr>
          <p:spPr bwMode="auto">
            <a:xfrm>
              <a:off x="1634" y="2241"/>
              <a:ext cx="143" cy="145"/>
            </a:xfrm>
            <a:custGeom>
              <a:avLst/>
              <a:gdLst>
                <a:gd name="T0" fmla="*/ 131 w 143"/>
                <a:gd name="T1" fmla="*/ 16 h 145"/>
                <a:gd name="T2" fmla="*/ 121 w 143"/>
                <a:gd name="T3" fmla="*/ 18 h 145"/>
                <a:gd name="T4" fmla="*/ 115 w 143"/>
                <a:gd name="T5" fmla="*/ 12 h 145"/>
                <a:gd name="T6" fmla="*/ 109 w 143"/>
                <a:gd name="T7" fmla="*/ 2 h 145"/>
                <a:gd name="T8" fmla="*/ 105 w 143"/>
                <a:gd name="T9" fmla="*/ 0 h 145"/>
                <a:gd name="T10" fmla="*/ 93 w 143"/>
                <a:gd name="T11" fmla="*/ 0 h 145"/>
                <a:gd name="T12" fmla="*/ 89 w 143"/>
                <a:gd name="T13" fmla="*/ 2 h 145"/>
                <a:gd name="T14" fmla="*/ 85 w 143"/>
                <a:gd name="T15" fmla="*/ 12 h 145"/>
                <a:gd name="T16" fmla="*/ 81 w 143"/>
                <a:gd name="T17" fmla="*/ 18 h 145"/>
                <a:gd name="T18" fmla="*/ 71 w 143"/>
                <a:gd name="T19" fmla="*/ 28 h 145"/>
                <a:gd name="T20" fmla="*/ 63 w 143"/>
                <a:gd name="T21" fmla="*/ 32 h 145"/>
                <a:gd name="T22" fmla="*/ 49 w 143"/>
                <a:gd name="T23" fmla="*/ 26 h 145"/>
                <a:gd name="T24" fmla="*/ 30 w 143"/>
                <a:gd name="T25" fmla="*/ 56 h 145"/>
                <a:gd name="T26" fmla="*/ 18 w 143"/>
                <a:gd name="T27" fmla="*/ 60 h 145"/>
                <a:gd name="T28" fmla="*/ 8 w 143"/>
                <a:gd name="T29" fmla="*/ 64 h 145"/>
                <a:gd name="T30" fmla="*/ 6 w 143"/>
                <a:gd name="T31" fmla="*/ 66 h 145"/>
                <a:gd name="T32" fmla="*/ 6 w 143"/>
                <a:gd name="T33" fmla="*/ 80 h 145"/>
                <a:gd name="T34" fmla="*/ 4 w 143"/>
                <a:gd name="T35" fmla="*/ 90 h 145"/>
                <a:gd name="T36" fmla="*/ 10 w 143"/>
                <a:gd name="T37" fmla="*/ 111 h 145"/>
                <a:gd name="T38" fmla="*/ 28 w 143"/>
                <a:gd name="T39" fmla="*/ 117 h 145"/>
                <a:gd name="T40" fmla="*/ 32 w 143"/>
                <a:gd name="T41" fmla="*/ 105 h 145"/>
                <a:gd name="T42" fmla="*/ 53 w 143"/>
                <a:gd name="T43" fmla="*/ 107 h 145"/>
                <a:gd name="T44" fmla="*/ 43 w 143"/>
                <a:gd name="T45" fmla="*/ 125 h 145"/>
                <a:gd name="T46" fmla="*/ 55 w 143"/>
                <a:gd name="T47" fmla="*/ 129 h 145"/>
                <a:gd name="T48" fmla="*/ 53 w 143"/>
                <a:gd name="T49" fmla="*/ 131 h 145"/>
                <a:gd name="T50" fmla="*/ 45 w 143"/>
                <a:gd name="T51" fmla="*/ 133 h 145"/>
                <a:gd name="T52" fmla="*/ 43 w 143"/>
                <a:gd name="T53" fmla="*/ 137 h 145"/>
                <a:gd name="T54" fmla="*/ 45 w 143"/>
                <a:gd name="T55" fmla="*/ 145 h 145"/>
                <a:gd name="T56" fmla="*/ 71 w 143"/>
                <a:gd name="T57" fmla="*/ 145 h 145"/>
                <a:gd name="T58" fmla="*/ 87 w 143"/>
                <a:gd name="T59" fmla="*/ 135 h 145"/>
                <a:gd name="T60" fmla="*/ 85 w 143"/>
                <a:gd name="T61" fmla="*/ 129 h 145"/>
                <a:gd name="T62" fmla="*/ 85 w 143"/>
                <a:gd name="T63" fmla="*/ 123 h 145"/>
                <a:gd name="T64" fmla="*/ 77 w 143"/>
                <a:gd name="T65" fmla="*/ 119 h 145"/>
                <a:gd name="T66" fmla="*/ 81 w 143"/>
                <a:gd name="T67" fmla="*/ 115 h 145"/>
                <a:gd name="T68" fmla="*/ 83 w 143"/>
                <a:gd name="T69" fmla="*/ 113 h 145"/>
                <a:gd name="T70" fmla="*/ 85 w 143"/>
                <a:gd name="T71" fmla="*/ 109 h 145"/>
                <a:gd name="T72" fmla="*/ 87 w 143"/>
                <a:gd name="T73" fmla="*/ 109 h 145"/>
                <a:gd name="T74" fmla="*/ 91 w 143"/>
                <a:gd name="T75" fmla="*/ 111 h 145"/>
                <a:gd name="T76" fmla="*/ 97 w 143"/>
                <a:gd name="T77" fmla="*/ 109 h 145"/>
                <a:gd name="T78" fmla="*/ 109 w 143"/>
                <a:gd name="T79" fmla="*/ 105 h 145"/>
                <a:gd name="T80" fmla="*/ 111 w 143"/>
                <a:gd name="T81" fmla="*/ 101 h 145"/>
                <a:gd name="T82" fmla="*/ 113 w 143"/>
                <a:gd name="T83" fmla="*/ 92 h 145"/>
                <a:gd name="T84" fmla="*/ 113 w 143"/>
                <a:gd name="T85" fmla="*/ 88 h 145"/>
                <a:gd name="T86" fmla="*/ 117 w 143"/>
                <a:gd name="T87" fmla="*/ 82 h 145"/>
                <a:gd name="T88" fmla="*/ 117 w 143"/>
                <a:gd name="T89" fmla="*/ 78 h 145"/>
                <a:gd name="T90" fmla="*/ 119 w 143"/>
                <a:gd name="T91" fmla="*/ 78 h 145"/>
                <a:gd name="T92" fmla="*/ 131 w 143"/>
                <a:gd name="T93" fmla="*/ 70 h 145"/>
                <a:gd name="T94" fmla="*/ 131 w 143"/>
                <a:gd name="T95" fmla="*/ 66 h 145"/>
                <a:gd name="T96" fmla="*/ 133 w 143"/>
                <a:gd name="T97" fmla="*/ 50 h 145"/>
                <a:gd name="T98" fmla="*/ 135 w 143"/>
                <a:gd name="T99" fmla="*/ 46 h 145"/>
                <a:gd name="T100" fmla="*/ 133 w 143"/>
                <a:gd name="T101" fmla="*/ 24 h 145"/>
                <a:gd name="T102" fmla="*/ 131 w 143"/>
                <a:gd name="T103" fmla="*/ 16 h 145"/>
                <a:gd name="T104" fmla="*/ 131 w 143"/>
                <a:gd name="T105" fmla="*/ 16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3" h="145">
                  <a:moveTo>
                    <a:pt x="131" y="16"/>
                  </a:moveTo>
                  <a:lnTo>
                    <a:pt x="131" y="16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17" y="16"/>
                  </a:lnTo>
                  <a:lnTo>
                    <a:pt x="115" y="12"/>
                  </a:lnTo>
                  <a:lnTo>
                    <a:pt x="109" y="2"/>
                  </a:lnTo>
                  <a:lnTo>
                    <a:pt x="109" y="2"/>
                  </a:lnTo>
                  <a:lnTo>
                    <a:pt x="107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89" y="2"/>
                  </a:lnTo>
                  <a:lnTo>
                    <a:pt x="87" y="8"/>
                  </a:lnTo>
                  <a:lnTo>
                    <a:pt x="85" y="12"/>
                  </a:lnTo>
                  <a:lnTo>
                    <a:pt x="85" y="12"/>
                  </a:lnTo>
                  <a:lnTo>
                    <a:pt x="81" y="18"/>
                  </a:lnTo>
                  <a:lnTo>
                    <a:pt x="71" y="28"/>
                  </a:lnTo>
                  <a:lnTo>
                    <a:pt x="71" y="28"/>
                  </a:lnTo>
                  <a:lnTo>
                    <a:pt x="67" y="32"/>
                  </a:lnTo>
                  <a:lnTo>
                    <a:pt x="63" y="32"/>
                  </a:lnTo>
                  <a:lnTo>
                    <a:pt x="59" y="32"/>
                  </a:lnTo>
                  <a:lnTo>
                    <a:pt x="49" y="26"/>
                  </a:lnTo>
                  <a:lnTo>
                    <a:pt x="37" y="32"/>
                  </a:lnTo>
                  <a:lnTo>
                    <a:pt x="30" y="56"/>
                  </a:lnTo>
                  <a:lnTo>
                    <a:pt x="24" y="62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6" y="66"/>
                  </a:lnTo>
                  <a:lnTo>
                    <a:pt x="6" y="70"/>
                  </a:lnTo>
                  <a:lnTo>
                    <a:pt x="6" y="80"/>
                  </a:lnTo>
                  <a:lnTo>
                    <a:pt x="2" y="86"/>
                  </a:lnTo>
                  <a:lnTo>
                    <a:pt x="4" y="90"/>
                  </a:lnTo>
                  <a:lnTo>
                    <a:pt x="0" y="95"/>
                  </a:lnTo>
                  <a:lnTo>
                    <a:pt x="10" y="111"/>
                  </a:lnTo>
                  <a:lnTo>
                    <a:pt x="20" y="109"/>
                  </a:lnTo>
                  <a:lnTo>
                    <a:pt x="28" y="117"/>
                  </a:lnTo>
                  <a:lnTo>
                    <a:pt x="34" y="117"/>
                  </a:lnTo>
                  <a:lnTo>
                    <a:pt x="32" y="105"/>
                  </a:lnTo>
                  <a:lnTo>
                    <a:pt x="49" y="105"/>
                  </a:lnTo>
                  <a:lnTo>
                    <a:pt x="53" y="107"/>
                  </a:lnTo>
                  <a:lnTo>
                    <a:pt x="41" y="113"/>
                  </a:lnTo>
                  <a:lnTo>
                    <a:pt x="43" y="125"/>
                  </a:lnTo>
                  <a:lnTo>
                    <a:pt x="53" y="123"/>
                  </a:lnTo>
                  <a:lnTo>
                    <a:pt x="55" y="129"/>
                  </a:lnTo>
                  <a:lnTo>
                    <a:pt x="53" y="131"/>
                  </a:lnTo>
                  <a:lnTo>
                    <a:pt x="53" y="131"/>
                  </a:lnTo>
                  <a:lnTo>
                    <a:pt x="45" y="133"/>
                  </a:lnTo>
                  <a:lnTo>
                    <a:pt x="45" y="133"/>
                  </a:lnTo>
                  <a:lnTo>
                    <a:pt x="43" y="135"/>
                  </a:lnTo>
                  <a:lnTo>
                    <a:pt x="43" y="137"/>
                  </a:lnTo>
                  <a:lnTo>
                    <a:pt x="43" y="139"/>
                  </a:lnTo>
                  <a:lnTo>
                    <a:pt x="45" y="145"/>
                  </a:lnTo>
                  <a:lnTo>
                    <a:pt x="53" y="141"/>
                  </a:lnTo>
                  <a:lnTo>
                    <a:pt x="71" y="145"/>
                  </a:lnTo>
                  <a:lnTo>
                    <a:pt x="87" y="135"/>
                  </a:lnTo>
                  <a:lnTo>
                    <a:pt x="87" y="135"/>
                  </a:lnTo>
                  <a:lnTo>
                    <a:pt x="85" y="131"/>
                  </a:lnTo>
                  <a:lnTo>
                    <a:pt x="85" y="129"/>
                  </a:lnTo>
                  <a:lnTo>
                    <a:pt x="85" y="123"/>
                  </a:lnTo>
                  <a:lnTo>
                    <a:pt x="85" y="123"/>
                  </a:lnTo>
                  <a:lnTo>
                    <a:pt x="83" y="123"/>
                  </a:lnTo>
                  <a:lnTo>
                    <a:pt x="77" y="119"/>
                  </a:lnTo>
                  <a:lnTo>
                    <a:pt x="77" y="117"/>
                  </a:lnTo>
                  <a:lnTo>
                    <a:pt x="81" y="115"/>
                  </a:lnTo>
                  <a:lnTo>
                    <a:pt x="81" y="115"/>
                  </a:lnTo>
                  <a:lnTo>
                    <a:pt x="83" y="113"/>
                  </a:lnTo>
                  <a:lnTo>
                    <a:pt x="85" y="111"/>
                  </a:lnTo>
                  <a:lnTo>
                    <a:pt x="85" y="109"/>
                  </a:lnTo>
                  <a:lnTo>
                    <a:pt x="87" y="109"/>
                  </a:lnTo>
                  <a:lnTo>
                    <a:pt x="87" y="109"/>
                  </a:lnTo>
                  <a:lnTo>
                    <a:pt x="89" y="111"/>
                  </a:lnTo>
                  <a:lnTo>
                    <a:pt x="91" y="111"/>
                  </a:lnTo>
                  <a:lnTo>
                    <a:pt x="97" y="109"/>
                  </a:lnTo>
                  <a:lnTo>
                    <a:pt x="97" y="109"/>
                  </a:lnTo>
                  <a:lnTo>
                    <a:pt x="107" y="105"/>
                  </a:lnTo>
                  <a:lnTo>
                    <a:pt x="109" y="105"/>
                  </a:lnTo>
                  <a:lnTo>
                    <a:pt x="111" y="101"/>
                  </a:lnTo>
                  <a:lnTo>
                    <a:pt x="111" y="101"/>
                  </a:lnTo>
                  <a:lnTo>
                    <a:pt x="111" y="94"/>
                  </a:lnTo>
                  <a:lnTo>
                    <a:pt x="113" y="92"/>
                  </a:lnTo>
                  <a:lnTo>
                    <a:pt x="113" y="88"/>
                  </a:lnTo>
                  <a:lnTo>
                    <a:pt x="113" y="88"/>
                  </a:lnTo>
                  <a:lnTo>
                    <a:pt x="117" y="86"/>
                  </a:lnTo>
                  <a:lnTo>
                    <a:pt x="117" y="82"/>
                  </a:lnTo>
                  <a:lnTo>
                    <a:pt x="117" y="80"/>
                  </a:lnTo>
                  <a:lnTo>
                    <a:pt x="117" y="78"/>
                  </a:lnTo>
                  <a:lnTo>
                    <a:pt x="119" y="78"/>
                  </a:lnTo>
                  <a:lnTo>
                    <a:pt x="119" y="78"/>
                  </a:lnTo>
                  <a:lnTo>
                    <a:pt x="127" y="72"/>
                  </a:lnTo>
                  <a:lnTo>
                    <a:pt x="131" y="70"/>
                  </a:lnTo>
                  <a:lnTo>
                    <a:pt x="131" y="66"/>
                  </a:lnTo>
                  <a:lnTo>
                    <a:pt x="131" y="66"/>
                  </a:lnTo>
                  <a:lnTo>
                    <a:pt x="131" y="58"/>
                  </a:lnTo>
                  <a:lnTo>
                    <a:pt x="133" y="50"/>
                  </a:lnTo>
                  <a:lnTo>
                    <a:pt x="135" y="46"/>
                  </a:lnTo>
                  <a:lnTo>
                    <a:pt x="135" y="46"/>
                  </a:lnTo>
                  <a:lnTo>
                    <a:pt x="143" y="34"/>
                  </a:lnTo>
                  <a:lnTo>
                    <a:pt x="133" y="24"/>
                  </a:lnTo>
                  <a:lnTo>
                    <a:pt x="131" y="16"/>
                  </a:lnTo>
                  <a:lnTo>
                    <a:pt x="131" y="16"/>
                  </a:lnTo>
                  <a:lnTo>
                    <a:pt x="131" y="16"/>
                  </a:lnTo>
                  <a:lnTo>
                    <a:pt x="131" y="16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51" name="Freeform 10"/>
            <p:cNvSpPr>
              <a:spLocks/>
            </p:cNvSpPr>
            <p:nvPr/>
          </p:nvSpPr>
          <p:spPr bwMode="auto">
            <a:xfrm>
              <a:off x="1711" y="1851"/>
              <a:ext cx="655" cy="370"/>
            </a:xfrm>
            <a:custGeom>
              <a:avLst/>
              <a:gdLst>
                <a:gd name="T0" fmla="*/ 536 w 655"/>
                <a:gd name="T1" fmla="*/ 201 h 370"/>
                <a:gd name="T2" fmla="*/ 584 w 655"/>
                <a:gd name="T3" fmla="*/ 189 h 370"/>
                <a:gd name="T4" fmla="*/ 623 w 655"/>
                <a:gd name="T5" fmla="*/ 175 h 370"/>
                <a:gd name="T6" fmla="*/ 649 w 655"/>
                <a:gd name="T7" fmla="*/ 151 h 370"/>
                <a:gd name="T8" fmla="*/ 641 w 655"/>
                <a:gd name="T9" fmla="*/ 143 h 370"/>
                <a:gd name="T10" fmla="*/ 639 w 655"/>
                <a:gd name="T11" fmla="*/ 129 h 370"/>
                <a:gd name="T12" fmla="*/ 655 w 655"/>
                <a:gd name="T13" fmla="*/ 115 h 370"/>
                <a:gd name="T14" fmla="*/ 637 w 655"/>
                <a:gd name="T15" fmla="*/ 109 h 370"/>
                <a:gd name="T16" fmla="*/ 614 w 655"/>
                <a:gd name="T17" fmla="*/ 119 h 370"/>
                <a:gd name="T18" fmla="*/ 588 w 655"/>
                <a:gd name="T19" fmla="*/ 127 h 370"/>
                <a:gd name="T20" fmla="*/ 576 w 655"/>
                <a:gd name="T21" fmla="*/ 137 h 370"/>
                <a:gd name="T22" fmla="*/ 538 w 655"/>
                <a:gd name="T23" fmla="*/ 139 h 370"/>
                <a:gd name="T24" fmla="*/ 393 w 655"/>
                <a:gd name="T25" fmla="*/ 35 h 370"/>
                <a:gd name="T26" fmla="*/ 351 w 655"/>
                <a:gd name="T27" fmla="*/ 6 h 370"/>
                <a:gd name="T28" fmla="*/ 269 w 655"/>
                <a:gd name="T29" fmla="*/ 0 h 370"/>
                <a:gd name="T30" fmla="*/ 219 w 655"/>
                <a:gd name="T31" fmla="*/ 79 h 370"/>
                <a:gd name="T32" fmla="*/ 179 w 655"/>
                <a:gd name="T33" fmla="*/ 63 h 370"/>
                <a:gd name="T34" fmla="*/ 162 w 655"/>
                <a:gd name="T35" fmla="*/ 41 h 370"/>
                <a:gd name="T36" fmla="*/ 126 w 655"/>
                <a:gd name="T37" fmla="*/ 25 h 370"/>
                <a:gd name="T38" fmla="*/ 134 w 655"/>
                <a:gd name="T39" fmla="*/ 57 h 370"/>
                <a:gd name="T40" fmla="*/ 120 w 655"/>
                <a:gd name="T41" fmla="*/ 87 h 370"/>
                <a:gd name="T42" fmla="*/ 102 w 655"/>
                <a:gd name="T43" fmla="*/ 105 h 370"/>
                <a:gd name="T44" fmla="*/ 84 w 655"/>
                <a:gd name="T45" fmla="*/ 129 h 370"/>
                <a:gd name="T46" fmla="*/ 82 w 655"/>
                <a:gd name="T47" fmla="*/ 137 h 370"/>
                <a:gd name="T48" fmla="*/ 102 w 655"/>
                <a:gd name="T49" fmla="*/ 151 h 370"/>
                <a:gd name="T50" fmla="*/ 148 w 655"/>
                <a:gd name="T51" fmla="*/ 155 h 370"/>
                <a:gd name="T52" fmla="*/ 54 w 655"/>
                <a:gd name="T53" fmla="*/ 207 h 370"/>
                <a:gd name="T54" fmla="*/ 32 w 655"/>
                <a:gd name="T55" fmla="*/ 227 h 370"/>
                <a:gd name="T56" fmla="*/ 28 w 655"/>
                <a:gd name="T57" fmla="*/ 241 h 370"/>
                <a:gd name="T58" fmla="*/ 8 w 655"/>
                <a:gd name="T59" fmla="*/ 276 h 370"/>
                <a:gd name="T60" fmla="*/ 8 w 655"/>
                <a:gd name="T61" fmla="*/ 294 h 370"/>
                <a:gd name="T62" fmla="*/ 4 w 655"/>
                <a:gd name="T63" fmla="*/ 312 h 370"/>
                <a:gd name="T64" fmla="*/ 24 w 655"/>
                <a:gd name="T65" fmla="*/ 294 h 370"/>
                <a:gd name="T66" fmla="*/ 36 w 655"/>
                <a:gd name="T67" fmla="*/ 288 h 370"/>
                <a:gd name="T68" fmla="*/ 64 w 655"/>
                <a:gd name="T69" fmla="*/ 298 h 370"/>
                <a:gd name="T70" fmla="*/ 76 w 655"/>
                <a:gd name="T71" fmla="*/ 306 h 370"/>
                <a:gd name="T72" fmla="*/ 104 w 655"/>
                <a:gd name="T73" fmla="*/ 312 h 370"/>
                <a:gd name="T74" fmla="*/ 126 w 655"/>
                <a:gd name="T75" fmla="*/ 288 h 370"/>
                <a:gd name="T76" fmla="*/ 150 w 655"/>
                <a:gd name="T77" fmla="*/ 286 h 370"/>
                <a:gd name="T78" fmla="*/ 187 w 655"/>
                <a:gd name="T79" fmla="*/ 336 h 370"/>
                <a:gd name="T80" fmla="*/ 227 w 655"/>
                <a:gd name="T81" fmla="*/ 340 h 370"/>
                <a:gd name="T82" fmla="*/ 257 w 655"/>
                <a:gd name="T83" fmla="*/ 340 h 370"/>
                <a:gd name="T84" fmla="*/ 295 w 655"/>
                <a:gd name="T85" fmla="*/ 370 h 370"/>
                <a:gd name="T86" fmla="*/ 327 w 655"/>
                <a:gd name="T87" fmla="*/ 358 h 370"/>
                <a:gd name="T88" fmla="*/ 339 w 655"/>
                <a:gd name="T89" fmla="*/ 340 h 370"/>
                <a:gd name="T90" fmla="*/ 345 w 655"/>
                <a:gd name="T91" fmla="*/ 332 h 370"/>
                <a:gd name="T92" fmla="*/ 355 w 655"/>
                <a:gd name="T93" fmla="*/ 310 h 370"/>
                <a:gd name="T94" fmla="*/ 375 w 655"/>
                <a:gd name="T95" fmla="*/ 280 h 370"/>
                <a:gd name="T96" fmla="*/ 402 w 655"/>
                <a:gd name="T97" fmla="*/ 262 h 370"/>
                <a:gd name="T98" fmla="*/ 408 w 655"/>
                <a:gd name="T99" fmla="*/ 239 h 370"/>
                <a:gd name="T100" fmla="*/ 444 w 655"/>
                <a:gd name="T101" fmla="*/ 219 h 370"/>
                <a:gd name="T102" fmla="*/ 450 w 655"/>
                <a:gd name="T103" fmla="*/ 231 h 370"/>
                <a:gd name="T104" fmla="*/ 502 w 655"/>
                <a:gd name="T105" fmla="*/ 209 h 370"/>
                <a:gd name="T106" fmla="*/ 520 w 655"/>
                <a:gd name="T107" fmla="*/ 211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55" h="370">
                  <a:moveTo>
                    <a:pt x="520" y="211"/>
                  </a:moveTo>
                  <a:lnTo>
                    <a:pt x="520" y="211"/>
                  </a:lnTo>
                  <a:lnTo>
                    <a:pt x="522" y="209"/>
                  </a:lnTo>
                  <a:lnTo>
                    <a:pt x="524" y="207"/>
                  </a:lnTo>
                  <a:lnTo>
                    <a:pt x="530" y="205"/>
                  </a:lnTo>
                  <a:lnTo>
                    <a:pt x="536" y="201"/>
                  </a:lnTo>
                  <a:lnTo>
                    <a:pt x="536" y="201"/>
                  </a:lnTo>
                  <a:lnTo>
                    <a:pt x="554" y="193"/>
                  </a:lnTo>
                  <a:lnTo>
                    <a:pt x="562" y="189"/>
                  </a:lnTo>
                  <a:lnTo>
                    <a:pt x="568" y="187"/>
                  </a:lnTo>
                  <a:lnTo>
                    <a:pt x="568" y="187"/>
                  </a:lnTo>
                  <a:lnTo>
                    <a:pt x="584" y="189"/>
                  </a:lnTo>
                  <a:lnTo>
                    <a:pt x="584" y="189"/>
                  </a:lnTo>
                  <a:lnTo>
                    <a:pt x="596" y="187"/>
                  </a:lnTo>
                  <a:lnTo>
                    <a:pt x="606" y="185"/>
                  </a:lnTo>
                  <a:lnTo>
                    <a:pt x="606" y="185"/>
                  </a:lnTo>
                  <a:lnTo>
                    <a:pt x="618" y="179"/>
                  </a:lnTo>
                  <a:lnTo>
                    <a:pt x="623" y="175"/>
                  </a:lnTo>
                  <a:lnTo>
                    <a:pt x="629" y="173"/>
                  </a:lnTo>
                  <a:lnTo>
                    <a:pt x="629" y="173"/>
                  </a:lnTo>
                  <a:lnTo>
                    <a:pt x="631" y="173"/>
                  </a:lnTo>
                  <a:lnTo>
                    <a:pt x="635" y="167"/>
                  </a:lnTo>
                  <a:lnTo>
                    <a:pt x="639" y="161"/>
                  </a:lnTo>
                  <a:lnTo>
                    <a:pt x="649" y="151"/>
                  </a:lnTo>
                  <a:lnTo>
                    <a:pt x="649" y="151"/>
                  </a:lnTo>
                  <a:lnTo>
                    <a:pt x="651" y="147"/>
                  </a:lnTo>
                  <a:lnTo>
                    <a:pt x="649" y="147"/>
                  </a:lnTo>
                  <a:lnTo>
                    <a:pt x="645" y="143"/>
                  </a:lnTo>
                  <a:lnTo>
                    <a:pt x="641" y="143"/>
                  </a:lnTo>
                  <a:lnTo>
                    <a:pt x="641" y="143"/>
                  </a:lnTo>
                  <a:lnTo>
                    <a:pt x="639" y="143"/>
                  </a:lnTo>
                  <a:lnTo>
                    <a:pt x="637" y="141"/>
                  </a:lnTo>
                  <a:lnTo>
                    <a:pt x="637" y="139"/>
                  </a:lnTo>
                  <a:lnTo>
                    <a:pt x="637" y="133"/>
                  </a:lnTo>
                  <a:lnTo>
                    <a:pt x="637" y="133"/>
                  </a:lnTo>
                  <a:lnTo>
                    <a:pt x="639" y="129"/>
                  </a:lnTo>
                  <a:lnTo>
                    <a:pt x="645" y="127"/>
                  </a:lnTo>
                  <a:lnTo>
                    <a:pt x="647" y="121"/>
                  </a:lnTo>
                  <a:lnTo>
                    <a:pt x="651" y="119"/>
                  </a:lnTo>
                  <a:lnTo>
                    <a:pt x="651" y="119"/>
                  </a:lnTo>
                  <a:lnTo>
                    <a:pt x="653" y="119"/>
                  </a:lnTo>
                  <a:lnTo>
                    <a:pt x="655" y="115"/>
                  </a:lnTo>
                  <a:lnTo>
                    <a:pt x="655" y="113"/>
                  </a:lnTo>
                  <a:lnTo>
                    <a:pt x="655" y="113"/>
                  </a:lnTo>
                  <a:lnTo>
                    <a:pt x="647" y="111"/>
                  </a:lnTo>
                  <a:lnTo>
                    <a:pt x="639" y="109"/>
                  </a:lnTo>
                  <a:lnTo>
                    <a:pt x="639" y="109"/>
                  </a:lnTo>
                  <a:lnTo>
                    <a:pt x="637" y="109"/>
                  </a:lnTo>
                  <a:lnTo>
                    <a:pt x="631" y="111"/>
                  </a:lnTo>
                  <a:lnTo>
                    <a:pt x="625" y="115"/>
                  </a:lnTo>
                  <a:lnTo>
                    <a:pt x="625" y="115"/>
                  </a:lnTo>
                  <a:lnTo>
                    <a:pt x="618" y="117"/>
                  </a:lnTo>
                  <a:lnTo>
                    <a:pt x="616" y="117"/>
                  </a:lnTo>
                  <a:lnTo>
                    <a:pt x="614" y="119"/>
                  </a:lnTo>
                  <a:lnTo>
                    <a:pt x="610" y="119"/>
                  </a:lnTo>
                  <a:lnTo>
                    <a:pt x="610" y="119"/>
                  </a:lnTo>
                  <a:lnTo>
                    <a:pt x="610" y="125"/>
                  </a:lnTo>
                  <a:lnTo>
                    <a:pt x="608" y="125"/>
                  </a:lnTo>
                  <a:lnTo>
                    <a:pt x="602" y="125"/>
                  </a:lnTo>
                  <a:lnTo>
                    <a:pt x="588" y="127"/>
                  </a:lnTo>
                  <a:lnTo>
                    <a:pt x="588" y="127"/>
                  </a:lnTo>
                  <a:lnTo>
                    <a:pt x="584" y="129"/>
                  </a:lnTo>
                  <a:lnTo>
                    <a:pt x="582" y="131"/>
                  </a:lnTo>
                  <a:lnTo>
                    <a:pt x="576" y="137"/>
                  </a:lnTo>
                  <a:lnTo>
                    <a:pt x="576" y="137"/>
                  </a:lnTo>
                  <a:lnTo>
                    <a:pt x="576" y="137"/>
                  </a:lnTo>
                  <a:lnTo>
                    <a:pt x="570" y="139"/>
                  </a:lnTo>
                  <a:lnTo>
                    <a:pt x="562" y="139"/>
                  </a:lnTo>
                  <a:lnTo>
                    <a:pt x="554" y="137"/>
                  </a:lnTo>
                  <a:lnTo>
                    <a:pt x="546" y="137"/>
                  </a:lnTo>
                  <a:lnTo>
                    <a:pt x="546" y="137"/>
                  </a:lnTo>
                  <a:lnTo>
                    <a:pt x="538" y="139"/>
                  </a:lnTo>
                  <a:lnTo>
                    <a:pt x="538" y="139"/>
                  </a:lnTo>
                  <a:lnTo>
                    <a:pt x="512" y="125"/>
                  </a:lnTo>
                  <a:lnTo>
                    <a:pt x="470" y="95"/>
                  </a:lnTo>
                  <a:lnTo>
                    <a:pt x="404" y="47"/>
                  </a:lnTo>
                  <a:lnTo>
                    <a:pt x="404" y="47"/>
                  </a:lnTo>
                  <a:lnTo>
                    <a:pt x="393" y="35"/>
                  </a:lnTo>
                  <a:lnTo>
                    <a:pt x="379" y="21"/>
                  </a:lnTo>
                  <a:lnTo>
                    <a:pt x="365" y="10"/>
                  </a:lnTo>
                  <a:lnTo>
                    <a:pt x="365" y="10"/>
                  </a:lnTo>
                  <a:lnTo>
                    <a:pt x="359" y="10"/>
                  </a:lnTo>
                  <a:lnTo>
                    <a:pt x="355" y="6"/>
                  </a:lnTo>
                  <a:lnTo>
                    <a:pt x="351" y="6"/>
                  </a:lnTo>
                  <a:lnTo>
                    <a:pt x="351" y="6"/>
                  </a:lnTo>
                  <a:lnTo>
                    <a:pt x="351" y="6"/>
                  </a:lnTo>
                  <a:lnTo>
                    <a:pt x="351" y="6"/>
                  </a:lnTo>
                  <a:lnTo>
                    <a:pt x="345" y="6"/>
                  </a:lnTo>
                  <a:lnTo>
                    <a:pt x="341" y="12"/>
                  </a:lnTo>
                  <a:lnTo>
                    <a:pt x="269" y="0"/>
                  </a:lnTo>
                  <a:lnTo>
                    <a:pt x="237" y="37"/>
                  </a:lnTo>
                  <a:lnTo>
                    <a:pt x="247" y="47"/>
                  </a:lnTo>
                  <a:lnTo>
                    <a:pt x="241" y="69"/>
                  </a:lnTo>
                  <a:lnTo>
                    <a:pt x="245" y="79"/>
                  </a:lnTo>
                  <a:lnTo>
                    <a:pt x="233" y="91"/>
                  </a:lnTo>
                  <a:lnTo>
                    <a:pt x="219" y="79"/>
                  </a:lnTo>
                  <a:lnTo>
                    <a:pt x="211" y="81"/>
                  </a:lnTo>
                  <a:lnTo>
                    <a:pt x="201" y="69"/>
                  </a:lnTo>
                  <a:lnTo>
                    <a:pt x="195" y="73"/>
                  </a:lnTo>
                  <a:lnTo>
                    <a:pt x="189" y="67"/>
                  </a:lnTo>
                  <a:lnTo>
                    <a:pt x="181" y="71"/>
                  </a:lnTo>
                  <a:lnTo>
                    <a:pt x="179" y="63"/>
                  </a:lnTo>
                  <a:lnTo>
                    <a:pt x="179" y="63"/>
                  </a:lnTo>
                  <a:lnTo>
                    <a:pt x="179" y="61"/>
                  </a:lnTo>
                  <a:lnTo>
                    <a:pt x="179" y="57"/>
                  </a:lnTo>
                  <a:lnTo>
                    <a:pt x="179" y="51"/>
                  </a:lnTo>
                  <a:lnTo>
                    <a:pt x="179" y="51"/>
                  </a:lnTo>
                  <a:lnTo>
                    <a:pt x="162" y="41"/>
                  </a:lnTo>
                  <a:lnTo>
                    <a:pt x="152" y="29"/>
                  </a:lnTo>
                  <a:lnTo>
                    <a:pt x="130" y="18"/>
                  </a:lnTo>
                  <a:lnTo>
                    <a:pt x="130" y="18"/>
                  </a:lnTo>
                  <a:lnTo>
                    <a:pt x="128" y="21"/>
                  </a:lnTo>
                  <a:lnTo>
                    <a:pt x="126" y="23"/>
                  </a:lnTo>
                  <a:lnTo>
                    <a:pt x="126" y="25"/>
                  </a:lnTo>
                  <a:lnTo>
                    <a:pt x="126" y="25"/>
                  </a:lnTo>
                  <a:lnTo>
                    <a:pt x="126" y="35"/>
                  </a:lnTo>
                  <a:lnTo>
                    <a:pt x="130" y="43"/>
                  </a:lnTo>
                  <a:lnTo>
                    <a:pt x="132" y="49"/>
                  </a:lnTo>
                  <a:lnTo>
                    <a:pt x="134" y="57"/>
                  </a:lnTo>
                  <a:lnTo>
                    <a:pt x="134" y="57"/>
                  </a:lnTo>
                  <a:lnTo>
                    <a:pt x="134" y="61"/>
                  </a:lnTo>
                  <a:lnTo>
                    <a:pt x="132" y="67"/>
                  </a:lnTo>
                  <a:lnTo>
                    <a:pt x="130" y="75"/>
                  </a:lnTo>
                  <a:lnTo>
                    <a:pt x="130" y="75"/>
                  </a:lnTo>
                  <a:lnTo>
                    <a:pt x="120" y="87"/>
                  </a:lnTo>
                  <a:lnTo>
                    <a:pt x="120" y="87"/>
                  </a:lnTo>
                  <a:lnTo>
                    <a:pt x="124" y="103"/>
                  </a:lnTo>
                  <a:lnTo>
                    <a:pt x="124" y="103"/>
                  </a:lnTo>
                  <a:lnTo>
                    <a:pt x="124" y="103"/>
                  </a:lnTo>
                  <a:lnTo>
                    <a:pt x="122" y="103"/>
                  </a:lnTo>
                  <a:lnTo>
                    <a:pt x="112" y="103"/>
                  </a:lnTo>
                  <a:lnTo>
                    <a:pt x="102" y="105"/>
                  </a:lnTo>
                  <a:lnTo>
                    <a:pt x="96" y="115"/>
                  </a:lnTo>
                  <a:lnTo>
                    <a:pt x="96" y="115"/>
                  </a:lnTo>
                  <a:lnTo>
                    <a:pt x="88" y="121"/>
                  </a:lnTo>
                  <a:lnTo>
                    <a:pt x="84" y="127"/>
                  </a:lnTo>
                  <a:lnTo>
                    <a:pt x="84" y="127"/>
                  </a:lnTo>
                  <a:lnTo>
                    <a:pt x="84" y="129"/>
                  </a:lnTo>
                  <a:lnTo>
                    <a:pt x="84" y="131"/>
                  </a:lnTo>
                  <a:lnTo>
                    <a:pt x="86" y="133"/>
                  </a:lnTo>
                  <a:lnTo>
                    <a:pt x="86" y="133"/>
                  </a:lnTo>
                  <a:lnTo>
                    <a:pt x="80" y="135"/>
                  </a:lnTo>
                  <a:lnTo>
                    <a:pt x="80" y="135"/>
                  </a:lnTo>
                  <a:lnTo>
                    <a:pt x="82" y="137"/>
                  </a:lnTo>
                  <a:lnTo>
                    <a:pt x="84" y="141"/>
                  </a:lnTo>
                  <a:lnTo>
                    <a:pt x="90" y="139"/>
                  </a:lnTo>
                  <a:lnTo>
                    <a:pt x="90" y="139"/>
                  </a:lnTo>
                  <a:lnTo>
                    <a:pt x="98" y="143"/>
                  </a:lnTo>
                  <a:lnTo>
                    <a:pt x="102" y="151"/>
                  </a:lnTo>
                  <a:lnTo>
                    <a:pt x="102" y="151"/>
                  </a:lnTo>
                  <a:lnTo>
                    <a:pt x="108" y="147"/>
                  </a:lnTo>
                  <a:lnTo>
                    <a:pt x="106" y="141"/>
                  </a:lnTo>
                  <a:lnTo>
                    <a:pt x="122" y="133"/>
                  </a:lnTo>
                  <a:lnTo>
                    <a:pt x="126" y="139"/>
                  </a:lnTo>
                  <a:lnTo>
                    <a:pt x="132" y="135"/>
                  </a:lnTo>
                  <a:lnTo>
                    <a:pt x="148" y="155"/>
                  </a:lnTo>
                  <a:lnTo>
                    <a:pt x="122" y="175"/>
                  </a:lnTo>
                  <a:lnTo>
                    <a:pt x="114" y="175"/>
                  </a:lnTo>
                  <a:lnTo>
                    <a:pt x="92" y="189"/>
                  </a:lnTo>
                  <a:lnTo>
                    <a:pt x="98" y="203"/>
                  </a:lnTo>
                  <a:lnTo>
                    <a:pt x="78" y="217"/>
                  </a:lnTo>
                  <a:lnTo>
                    <a:pt x="54" y="207"/>
                  </a:lnTo>
                  <a:lnTo>
                    <a:pt x="44" y="209"/>
                  </a:lnTo>
                  <a:lnTo>
                    <a:pt x="44" y="215"/>
                  </a:lnTo>
                  <a:lnTo>
                    <a:pt x="44" y="215"/>
                  </a:lnTo>
                  <a:lnTo>
                    <a:pt x="40" y="219"/>
                  </a:lnTo>
                  <a:lnTo>
                    <a:pt x="36" y="225"/>
                  </a:lnTo>
                  <a:lnTo>
                    <a:pt x="32" y="227"/>
                  </a:lnTo>
                  <a:lnTo>
                    <a:pt x="32" y="227"/>
                  </a:lnTo>
                  <a:lnTo>
                    <a:pt x="30" y="231"/>
                  </a:lnTo>
                  <a:lnTo>
                    <a:pt x="30" y="233"/>
                  </a:lnTo>
                  <a:lnTo>
                    <a:pt x="30" y="241"/>
                  </a:lnTo>
                  <a:lnTo>
                    <a:pt x="30" y="241"/>
                  </a:lnTo>
                  <a:lnTo>
                    <a:pt x="28" y="241"/>
                  </a:lnTo>
                  <a:lnTo>
                    <a:pt x="24" y="243"/>
                  </a:lnTo>
                  <a:lnTo>
                    <a:pt x="20" y="243"/>
                  </a:lnTo>
                  <a:lnTo>
                    <a:pt x="20" y="243"/>
                  </a:lnTo>
                  <a:lnTo>
                    <a:pt x="10" y="253"/>
                  </a:lnTo>
                  <a:lnTo>
                    <a:pt x="0" y="260"/>
                  </a:lnTo>
                  <a:lnTo>
                    <a:pt x="8" y="276"/>
                  </a:lnTo>
                  <a:lnTo>
                    <a:pt x="4" y="280"/>
                  </a:lnTo>
                  <a:lnTo>
                    <a:pt x="4" y="280"/>
                  </a:lnTo>
                  <a:lnTo>
                    <a:pt x="8" y="288"/>
                  </a:lnTo>
                  <a:lnTo>
                    <a:pt x="8" y="288"/>
                  </a:lnTo>
                  <a:lnTo>
                    <a:pt x="8" y="290"/>
                  </a:lnTo>
                  <a:lnTo>
                    <a:pt x="8" y="294"/>
                  </a:lnTo>
                  <a:lnTo>
                    <a:pt x="6" y="298"/>
                  </a:lnTo>
                  <a:lnTo>
                    <a:pt x="4" y="302"/>
                  </a:lnTo>
                  <a:lnTo>
                    <a:pt x="4" y="302"/>
                  </a:lnTo>
                  <a:lnTo>
                    <a:pt x="4" y="306"/>
                  </a:lnTo>
                  <a:lnTo>
                    <a:pt x="4" y="308"/>
                  </a:lnTo>
                  <a:lnTo>
                    <a:pt x="4" y="312"/>
                  </a:lnTo>
                  <a:lnTo>
                    <a:pt x="6" y="312"/>
                  </a:lnTo>
                  <a:lnTo>
                    <a:pt x="6" y="312"/>
                  </a:lnTo>
                  <a:lnTo>
                    <a:pt x="12" y="306"/>
                  </a:lnTo>
                  <a:lnTo>
                    <a:pt x="20" y="296"/>
                  </a:lnTo>
                  <a:lnTo>
                    <a:pt x="20" y="296"/>
                  </a:lnTo>
                  <a:lnTo>
                    <a:pt x="24" y="294"/>
                  </a:lnTo>
                  <a:lnTo>
                    <a:pt x="30" y="294"/>
                  </a:lnTo>
                  <a:lnTo>
                    <a:pt x="30" y="294"/>
                  </a:lnTo>
                  <a:lnTo>
                    <a:pt x="32" y="294"/>
                  </a:lnTo>
                  <a:lnTo>
                    <a:pt x="34" y="292"/>
                  </a:lnTo>
                  <a:lnTo>
                    <a:pt x="36" y="288"/>
                  </a:lnTo>
                  <a:lnTo>
                    <a:pt x="36" y="288"/>
                  </a:lnTo>
                  <a:lnTo>
                    <a:pt x="36" y="288"/>
                  </a:lnTo>
                  <a:lnTo>
                    <a:pt x="36" y="290"/>
                  </a:lnTo>
                  <a:lnTo>
                    <a:pt x="38" y="292"/>
                  </a:lnTo>
                  <a:lnTo>
                    <a:pt x="52" y="298"/>
                  </a:lnTo>
                  <a:lnTo>
                    <a:pt x="52" y="298"/>
                  </a:lnTo>
                  <a:lnTo>
                    <a:pt x="64" y="298"/>
                  </a:lnTo>
                  <a:lnTo>
                    <a:pt x="64" y="298"/>
                  </a:lnTo>
                  <a:lnTo>
                    <a:pt x="70" y="298"/>
                  </a:lnTo>
                  <a:lnTo>
                    <a:pt x="70" y="298"/>
                  </a:lnTo>
                  <a:lnTo>
                    <a:pt x="74" y="300"/>
                  </a:lnTo>
                  <a:lnTo>
                    <a:pt x="74" y="300"/>
                  </a:lnTo>
                  <a:lnTo>
                    <a:pt x="76" y="306"/>
                  </a:lnTo>
                  <a:lnTo>
                    <a:pt x="76" y="308"/>
                  </a:lnTo>
                  <a:lnTo>
                    <a:pt x="74" y="312"/>
                  </a:lnTo>
                  <a:lnTo>
                    <a:pt x="100" y="308"/>
                  </a:lnTo>
                  <a:lnTo>
                    <a:pt x="102" y="308"/>
                  </a:lnTo>
                  <a:lnTo>
                    <a:pt x="104" y="314"/>
                  </a:lnTo>
                  <a:lnTo>
                    <a:pt x="104" y="312"/>
                  </a:lnTo>
                  <a:lnTo>
                    <a:pt x="112" y="308"/>
                  </a:lnTo>
                  <a:lnTo>
                    <a:pt x="108" y="300"/>
                  </a:lnTo>
                  <a:lnTo>
                    <a:pt x="108" y="296"/>
                  </a:lnTo>
                  <a:lnTo>
                    <a:pt x="106" y="288"/>
                  </a:lnTo>
                  <a:lnTo>
                    <a:pt x="116" y="278"/>
                  </a:lnTo>
                  <a:lnTo>
                    <a:pt x="126" y="288"/>
                  </a:lnTo>
                  <a:lnTo>
                    <a:pt x="132" y="286"/>
                  </a:lnTo>
                  <a:lnTo>
                    <a:pt x="142" y="290"/>
                  </a:lnTo>
                  <a:lnTo>
                    <a:pt x="142" y="290"/>
                  </a:lnTo>
                  <a:lnTo>
                    <a:pt x="144" y="288"/>
                  </a:lnTo>
                  <a:lnTo>
                    <a:pt x="150" y="286"/>
                  </a:lnTo>
                  <a:lnTo>
                    <a:pt x="150" y="286"/>
                  </a:lnTo>
                  <a:lnTo>
                    <a:pt x="154" y="292"/>
                  </a:lnTo>
                  <a:lnTo>
                    <a:pt x="158" y="298"/>
                  </a:lnTo>
                  <a:lnTo>
                    <a:pt x="152" y="306"/>
                  </a:lnTo>
                  <a:lnTo>
                    <a:pt x="158" y="314"/>
                  </a:lnTo>
                  <a:lnTo>
                    <a:pt x="168" y="312"/>
                  </a:lnTo>
                  <a:lnTo>
                    <a:pt x="187" y="336"/>
                  </a:lnTo>
                  <a:lnTo>
                    <a:pt x="193" y="330"/>
                  </a:lnTo>
                  <a:lnTo>
                    <a:pt x="195" y="332"/>
                  </a:lnTo>
                  <a:lnTo>
                    <a:pt x="201" y="326"/>
                  </a:lnTo>
                  <a:lnTo>
                    <a:pt x="211" y="338"/>
                  </a:lnTo>
                  <a:lnTo>
                    <a:pt x="219" y="332"/>
                  </a:lnTo>
                  <a:lnTo>
                    <a:pt x="227" y="340"/>
                  </a:lnTo>
                  <a:lnTo>
                    <a:pt x="237" y="334"/>
                  </a:lnTo>
                  <a:lnTo>
                    <a:pt x="241" y="338"/>
                  </a:lnTo>
                  <a:lnTo>
                    <a:pt x="245" y="334"/>
                  </a:lnTo>
                  <a:lnTo>
                    <a:pt x="245" y="334"/>
                  </a:lnTo>
                  <a:lnTo>
                    <a:pt x="249" y="336"/>
                  </a:lnTo>
                  <a:lnTo>
                    <a:pt x="257" y="340"/>
                  </a:lnTo>
                  <a:lnTo>
                    <a:pt x="257" y="340"/>
                  </a:lnTo>
                  <a:lnTo>
                    <a:pt x="263" y="346"/>
                  </a:lnTo>
                  <a:lnTo>
                    <a:pt x="273" y="356"/>
                  </a:lnTo>
                  <a:lnTo>
                    <a:pt x="291" y="368"/>
                  </a:lnTo>
                  <a:lnTo>
                    <a:pt x="291" y="368"/>
                  </a:lnTo>
                  <a:lnTo>
                    <a:pt x="295" y="370"/>
                  </a:lnTo>
                  <a:lnTo>
                    <a:pt x="303" y="370"/>
                  </a:lnTo>
                  <a:lnTo>
                    <a:pt x="309" y="368"/>
                  </a:lnTo>
                  <a:lnTo>
                    <a:pt x="309" y="368"/>
                  </a:lnTo>
                  <a:lnTo>
                    <a:pt x="327" y="360"/>
                  </a:lnTo>
                  <a:lnTo>
                    <a:pt x="327" y="360"/>
                  </a:lnTo>
                  <a:lnTo>
                    <a:pt x="327" y="358"/>
                  </a:lnTo>
                  <a:lnTo>
                    <a:pt x="327" y="358"/>
                  </a:lnTo>
                  <a:lnTo>
                    <a:pt x="329" y="358"/>
                  </a:lnTo>
                  <a:lnTo>
                    <a:pt x="331" y="354"/>
                  </a:lnTo>
                  <a:lnTo>
                    <a:pt x="335" y="346"/>
                  </a:lnTo>
                  <a:lnTo>
                    <a:pt x="335" y="346"/>
                  </a:lnTo>
                  <a:lnTo>
                    <a:pt x="339" y="340"/>
                  </a:lnTo>
                  <a:lnTo>
                    <a:pt x="343" y="338"/>
                  </a:lnTo>
                  <a:lnTo>
                    <a:pt x="343" y="338"/>
                  </a:lnTo>
                  <a:lnTo>
                    <a:pt x="343" y="338"/>
                  </a:lnTo>
                  <a:lnTo>
                    <a:pt x="345" y="338"/>
                  </a:lnTo>
                  <a:lnTo>
                    <a:pt x="345" y="336"/>
                  </a:lnTo>
                  <a:lnTo>
                    <a:pt x="345" y="332"/>
                  </a:lnTo>
                  <a:lnTo>
                    <a:pt x="345" y="330"/>
                  </a:lnTo>
                  <a:lnTo>
                    <a:pt x="345" y="330"/>
                  </a:lnTo>
                  <a:lnTo>
                    <a:pt x="355" y="316"/>
                  </a:lnTo>
                  <a:lnTo>
                    <a:pt x="355" y="316"/>
                  </a:lnTo>
                  <a:lnTo>
                    <a:pt x="355" y="312"/>
                  </a:lnTo>
                  <a:lnTo>
                    <a:pt x="355" y="310"/>
                  </a:lnTo>
                  <a:lnTo>
                    <a:pt x="355" y="302"/>
                  </a:lnTo>
                  <a:lnTo>
                    <a:pt x="355" y="302"/>
                  </a:lnTo>
                  <a:lnTo>
                    <a:pt x="357" y="298"/>
                  </a:lnTo>
                  <a:lnTo>
                    <a:pt x="363" y="294"/>
                  </a:lnTo>
                  <a:lnTo>
                    <a:pt x="375" y="280"/>
                  </a:lnTo>
                  <a:lnTo>
                    <a:pt x="375" y="280"/>
                  </a:lnTo>
                  <a:lnTo>
                    <a:pt x="387" y="272"/>
                  </a:lnTo>
                  <a:lnTo>
                    <a:pt x="393" y="268"/>
                  </a:lnTo>
                  <a:lnTo>
                    <a:pt x="397" y="266"/>
                  </a:lnTo>
                  <a:lnTo>
                    <a:pt x="397" y="266"/>
                  </a:lnTo>
                  <a:lnTo>
                    <a:pt x="398" y="264"/>
                  </a:lnTo>
                  <a:lnTo>
                    <a:pt x="402" y="262"/>
                  </a:lnTo>
                  <a:lnTo>
                    <a:pt x="404" y="260"/>
                  </a:lnTo>
                  <a:lnTo>
                    <a:pt x="404" y="256"/>
                  </a:lnTo>
                  <a:lnTo>
                    <a:pt x="404" y="256"/>
                  </a:lnTo>
                  <a:lnTo>
                    <a:pt x="404" y="247"/>
                  </a:lnTo>
                  <a:lnTo>
                    <a:pt x="408" y="239"/>
                  </a:lnTo>
                  <a:lnTo>
                    <a:pt x="408" y="239"/>
                  </a:lnTo>
                  <a:lnTo>
                    <a:pt x="418" y="231"/>
                  </a:lnTo>
                  <a:lnTo>
                    <a:pt x="424" y="223"/>
                  </a:lnTo>
                  <a:lnTo>
                    <a:pt x="424" y="223"/>
                  </a:lnTo>
                  <a:lnTo>
                    <a:pt x="428" y="223"/>
                  </a:lnTo>
                  <a:lnTo>
                    <a:pt x="434" y="221"/>
                  </a:lnTo>
                  <a:lnTo>
                    <a:pt x="444" y="219"/>
                  </a:lnTo>
                  <a:lnTo>
                    <a:pt x="444" y="219"/>
                  </a:lnTo>
                  <a:lnTo>
                    <a:pt x="446" y="221"/>
                  </a:lnTo>
                  <a:lnTo>
                    <a:pt x="448" y="225"/>
                  </a:lnTo>
                  <a:lnTo>
                    <a:pt x="448" y="229"/>
                  </a:lnTo>
                  <a:lnTo>
                    <a:pt x="448" y="229"/>
                  </a:lnTo>
                  <a:lnTo>
                    <a:pt x="450" y="231"/>
                  </a:lnTo>
                  <a:lnTo>
                    <a:pt x="462" y="227"/>
                  </a:lnTo>
                  <a:lnTo>
                    <a:pt x="462" y="227"/>
                  </a:lnTo>
                  <a:lnTo>
                    <a:pt x="494" y="211"/>
                  </a:lnTo>
                  <a:lnTo>
                    <a:pt x="494" y="211"/>
                  </a:lnTo>
                  <a:lnTo>
                    <a:pt x="498" y="209"/>
                  </a:lnTo>
                  <a:lnTo>
                    <a:pt x="502" y="209"/>
                  </a:lnTo>
                  <a:lnTo>
                    <a:pt x="502" y="209"/>
                  </a:lnTo>
                  <a:lnTo>
                    <a:pt x="508" y="209"/>
                  </a:lnTo>
                  <a:lnTo>
                    <a:pt x="512" y="209"/>
                  </a:lnTo>
                  <a:lnTo>
                    <a:pt x="520" y="211"/>
                  </a:lnTo>
                  <a:lnTo>
                    <a:pt x="520" y="211"/>
                  </a:lnTo>
                  <a:lnTo>
                    <a:pt x="520" y="211"/>
                  </a:lnTo>
                  <a:lnTo>
                    <a:pt x="520" y="211"/>
                  </a:lnTo>
                  <a:lnTo>
                    <a:pt x="520" y="211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52" name="Freeform 11"/>
            <p:cNvSpPr>
              <a:spLocks/>
            </p:cNvSpPr>
            <p:nvPr/>
          </p:nvSpPr>
          <p:spPr bwMode="auto">
            <a:xfrm>
              <a:off x="1711" y="2129"/>
              <a:ext cx="327" cy="315"/>
            </a:xfrm>
            <a:custGeom>
              <a:avLst/>
              <a:gdLst>
                <a:gd name="T0" fmla="*/ 263 w 327"/>
                <a:gd name="T1" fmla="*/ 68 h 315"/>
                <a:gd name="T2" fmla="*/ 245 w 327"/>
                <a:gd name="T3" fmla="*/ 56 h 315"/>
                <a:gd name="T4" fmla="*/ 219 w 327"/>
                <a:gd name="T5" fmla="*/ 54 h 315"/>
                <a:gd name="T6" fmla="*/ 193 w 327"/>
                <a:gd name="T7" fmla="*/ 52 h 315"/>
                <a:gd name="T8" fmla="*/ 152 w 327"/>
                <a:gd name="T9" fmla="*/ 28 h 315"/>
                <a:gd name="T10" fmla="*/ 150 w 327"/>
                <a:gd name="T11" fmla="*/ 8 h 315"/>
                <a:gd name="T12" fmla="*/ 132 w 327"/>
                <a:gd name="T13" fmla="*/ 8 h 315"/>
                <a:gd name="T14" fmla="*/ 108 w 327"/>
                <a:gd name="T15" fmla="*/ 18 h 315"/>
                <a:gd name="T16" fmla="*/ 106 w 327"/>
                <a:gd name="T17" fmla="*/ 42 h 315"/>
                <a:gd name="T18" fmla="*/ 128 w 327"/>
                <a:gd name="T19" fmla="*/ 64 h 315"/>
                <a:gd name="T20" fmla="*/ 120 w 327"/>
                <a:gd name="T21" fmla="*/ 80 h 315"/>
                <a:gd name="T22" fmla="*/ 92 w 327"/>
                <a:gd name="T23" fmla="*/ 92 h 315"/>
                <a:gd name="T24" fmla="*/ 84 w 327"/>
                <a:gd name="T25" fmla="*/ 106 h 315"/>
                <a:gd name="T26" fmla="*/ 92 w 327"/>
                <a:gd name="T27" fmla="*/ 114 h 315"/>
                <a:gd name="T28" fmla="*/ 88 w 327"/>
                <a:gd name="T29" fmla="*/ 124 h 315"/>
                <a:gd name="T30" fmla="*/ 80 w 327"/>
                <a:gd name="T31" fmla="*/ 132 h 315"/>
                <a:gd name="T32" fmla="*/ 74 w 327"/>
                <a:gd name="T33" fmla="*/ 138 h 315"/>
                <a:gd name="T34" fmla="*/ 58 w 327"/>
                <a:gd name="T35" fmla="*/ 158 h 315"/>
                <a:gd name="T36" fmla="*/ 54 w 327"/>
                <a:gd name="T37" fmla="*/ 178 h 315"/>
                <a:gd name="T38" fmla="*/ 42 w 327"/>
                <a:gd name="T39" fmla="*/ 190 h 315"/>
                <a:gd name="T40" fmla="*/ 40 w 327"/>
                <a:gd name="T41" fmla="*/ 198 h 315"/>
                <a:gd name="T42" fmla="*/ 34 w 327"/>
                <a:gd name="T43" fmla="*/ 206 h 315"/>
                <a:gd name="T44" fmla="*/ 30 w 327"/>
                <a:gd name="T45" fmla="*/ 217 h 315"/>
                <a:gd name="T46" fmla="*/ 12 w 327"/>
                <a:gd name="T47" fmla="*/ 223 h 315"/>
                <a:gd name="T48" fmla="*/ 8 w 327"/>
                <a:gd name="T49" fmla="*/ 223 h 315"/>
                <a:gd name="T50" fmla="*/ 0 w 327"/>
                <a:gd name="T51" fmla="*/ 229 h 315"/>
                <a:gd name="T52" fmla="*/ 8 w 327"/>
                <a:gd name="T53" fmla="*/ 235 h 315"/>
                <a:gd name="T54" fmla="*/ 10 w 327"/>
                <a:gd name="T55" fmla="*/ 247 h 315"/>
                <a:gd name="T56" fmla="*/ 16 w 327"/>
                <a:gd name="T57" fmla="*/ 249 h 315"/>
                <a:gd name="T58" fmla="*/ 20 w 327"/>
                <a:gd name="T59" fmla="*/ 265 h 315"/>
                <a:gd name="T60" fmla="*/ 30 w 327"/>
                <a:gd name="T61" fmla="*/ 269 h 315"/>
                <a:gd name="T62" fmla="*/ 46 w 327"/>
                <a:gd name="T63" fmla="*/ 281 h 315"/>
                <a:gd name="T64" fmla="*/ 50 w 327"/>
                <a:gd name="T65" fmla="*/ 293 h 315"/>
                <a:gd name="T66" fmla="*/ 60 w 327"/>
                <a:gd name="T67" fmla="*/ 295 h 315"/>
                <a:gd name="T68" fmla="*/ 58 w 327"/>
                <a:gd name="T69" fmla="*/ 315 h 315"/>
                <a:gd name="T70" fmla="*/ 68 w 327"/>
                <a:gd name="T71" fmla="*/ 315 h 315"/>
                <a:gd name="T72" fmla="*/ 80 w 327"/>
                <a:gd name="T73" fmla="*/ 313 h 315"/>
                <a:gd name="T74" fmla="*/ 90 w 327"/>
                <a:gd name="T75" fmla="*/ 297 h 315"/>
                <a:gd name="T76" fmla="*/ 96 w 327"/>
                <a:gd name="T77" fmla="*/ 285 h 315"/>
                <a:gd name="T78" fmla="*/ 104 w 327"/>
                <a:gd name="T79" fmla="*/ 289 h 315"/>
                <a:gd name="T80" fmla="*/ 112 w 327"/>
                <a:gd name="T81" fmla="*/ 293 h 315"/>
                <a:gd name="T82" fmla="*/ 130 w 327"/>
                <a:gd name="T83" fmla="*/ 277 h 315"/>
                <a:gd name="T84" fmla="*/ 146 w 327"/>
                <a:gd name="T85" fmla="*/ 261 h 315"/>
                <a:gd name="T86" fmla="*/ 156 w 327"/>
                <a:gd name="T87" fmla="*/ 269 h 315"/>
                <a:gd name="T88" fmla="*/ 166 w 327"/>
                <a:gd name="T89" fmla="*/ 269 h 315"/>
                <a:gd name="T90" fmla="*/ 172 w 327"/>
                <a:gd name="T91" fmla="*/ 259 h 315"/>
                <a:gd name="T92" fmla="*/ 183 w 327"/>
                <a:gd name="T93" fmla="*/ 247 h 315"/>
                <a:gd name="T94" fmla="*/ 201 w 327"/>
                <a:gd name="T95" fmla="*/ 247 h 315"/>
                <a:gd name="T96" fmla="*/ 207 w 327"/>
                <a:gd name="T97" fmla="*/ 243 h 315"/>
                <a:gd name="T98" fmla="*/ 211 w 327"/>
                <a:gd name="T99" fmla="*/ 221 h 315"/>
                <a:gd name="T100" fmla="*/ 225 w 327"/>
                <a:gd name="T101" fmla="*/ 211 h 315"/>
                <a:gd name="T102" fmla="*/ 215 w 327"/>
                <a:gd name="T103" fmla="*/ 196 h 315"/>
                <a:gd name="T104" fmla="*/ 215 w 327"/>
                <a:gd name="T105" fmla="*/ 182 h 315"/>
                <a:gd name="T106" fmla="*/ 233 w 327"/>
                <a:gd name="T107" fmla="*/ 176 h 315"/>
                <a:gd name="T108" fmla="*/ 245 w 327"/>
                <a:gd name="T109" fmla="*/ 168 h 315"/>
                <a:gd name="T110" fmla="*/ 289 w 327"/>
                <a:gd name="T111" fmla="*/ 132 h 315"/>
                <a:gd name="T112" fmla="*/ 295 w 327"/>
                <a:gd name="T113" fmla="*/ 114 h 315"/>
                <a:gd name="T114" fmla="*/ 309 w 327"/>
                <a:gd name="T115" fmla="*/ 94 h 315"/>
                <a:gd name="T116" fmla="*/ 327 w 327"/>
                <a:gd name="T117" fmla="*/ 82 h 315"/>
                <a:gd name="T118" fmla="*/ 295 w 327"/>
                <a:gd name="T119" fmla="*/ 92 h 315"/>
                <a:gd name="T120" fmla="*/ 291 w 327"/>
                <a:gd name="T121" fmla="*/ 90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27" h="315">
                  <a:moveTo>
                    <a:pt x="291" y="90"/>
                  </a:moveTo>
                  <a:lnTo>
                    <a:pt x="291" y="90"/>
                  </a:lnTo>
                  <a:lnTo>
                    <a:pt x="273" y="78"/>
                  </a:lnTo>
                  <a:lnTo>
                    <a:pt x="263" y="68"/>
                  </a:lnTo>
                  <a:lnTo>
                    <a:pt x="257" y="62"/>
                  </a:lnTo>
                  <a:lnTo>
                    <a:pt x="257" y="62"/>
                  </a:lnTo>
                  <a:lnTo>
                    <a:pt x="249" y="58"/>
                  </a:lnTo>
                  <a:lnTo>
                    <a:pt x="245" y="56"/>
                  </a:lnTo>
                  <a:lnTo>
                    <a:pt x="241" y="60"/>
                  </a:lnTo>
                  <a:lnTo>
                    <a:pt x="237" y="56"/>
                  </a:lnTo>
                  <a:lnTo>
                    <a:pt x="227" y="62"/>
                  </a:lnTo>
                  <a:lnTo>
                    <a:pt x="219" y="54"/>
                  </a:lnTo>
                  <a:lnTo>
                    <a:pt x="211" y="60"/>
                  </a:lnTo>
                  <a:lnTo>
                    <a:pt x="201" y="48"/>
                  </a:lnTo>
                  <a:lnTo>
                    <a:pt x="195" y="54"/>
                  </a:lnTo>
                  <a:lnTo>
                    <a:pt x="193" y="52"/>
                  </a:lnTo>
                  <a:lnTo>
                    <a:pt x="187" y="58"/>
                  </a:lnTo>
                  <a:lnTo>
                    <a:pt x="168" y="34"/>
                  </a:lnTo>
                  <a:lnTo>
                    <a:pt x="158" y="36"/>
                  </a:lnTo>
                  <a:lnTo>
                    <a:pt x="152" y="28"/>
                  </a:lnTo>
                  <a:lnTo>
                    <a:pt x="158" y="20"/>
                  </a:lnTo>
                  <a:lnTo>
                    <a:pt x="158" y="20"/>
                  </a:lnTo>
                  <a:lnTo>
                    <a:pt x="154" y="14"/>
                  </a:lnTo>
                  <a:lnTo>
                    <a:pt x="150" y="8"/>
                  </a:lnTo>
                  <a:lnTo>
                    <a:pt x="150" y="8"/>
                  </a:lnTo>
                  <a:lnTo>
                    <a:pt x="144" y="10"/>
                  </a:lnTo>
                  <a:lnTo>
                    <a:pt x="142" y="12"/>
                  </a:lnTo>
                  <a:lnTo>
                    <a:pt x="132" y="8"/>
                  </a:lnTo>
                  <a:lnTo>
                    <a:pt x="126" y="10"/>
                  </a:lnTo>
                  <a:lnTo>
                    <a:pt x="116" y="0"/>
                  </a:lnTo>
                  <a:lnTo>
                    <a:pt x="106" y="10"/>
                  </a:lnTo>
                  <a:lnTo>
                    <a:pt x="108" y="18"/>
                  </a:lnTo>
                  <a:lnTo>
                    <a:pt x="108" y="22"/>
                  </a:lnTo>
                  <a:lnTo>
                    <a:pt x="112" y="30"/>
                  </a:lnTo>
                  <a:lnTo>
                    <a:pt x="104" y="34"/>
                  </a:lnTo>
                  <a:lnTo>
                    <a:pt x="106" y="42"/>
                  </a:lnTo>
                  <a:lnTo>
                    <a:pt x="106" y="42"/>
                  </a:lnTo>
                  <a:lnTo>
                    <a:pt x="126" y="60"/>
                  </a:lnTo>
                  <a:lnTo>
                    <a:pt x="126" y="60"/>
                  </a:lnTo>
                  <a:lnTo>
                    <a:pt x="128" y="64"/>
                  </a:lnTo>
                  <a:lnTo>
                    <a:pt x="128" y="68"/>
                  </a:lnTo>
                  <a:lnTo>
                    <a:pt x="126" y="74"/>
                  </a:lnTo>
                  <a:lnTo>
                    <a:pt x="120" y="80"/>
                  </a:lnTo>
                  <a:lnTo>
                    <a:pt x="120" y="80"/>
                  </a:lnTo>
                  <a:lnTo>
                    <a:pt x="110" y="84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92" y="92"/>
                  </a:lnTo>
                  <a:lnTo>
                    <a:pt x="88" y="98"/>
                  </a:lnTo>
                  <a:lnTo>
                    <a:pt x="84" y="102"/>
                  </a:lnTo>
                  <a:lnTo>
                    <a:pt x="84" y="102"/>
                  </a:lnTo>
                  <a:lnTo>
                    <a:pt x="84" y="106"/>
                  </a:lnTo>
                  <a:lnTo>
                    <a:pt x="84" y="108"/>
                  </a:lnTo>
                  <a:lnTo>
                    <a:pt x="88" y="112"/>
                  </a:lnTo>
                  <a:lnTo>
                    <a:pt x="90" y="114"/>
                  </a:lnTo>
                  <a:lnTo>
                    <a:pt x="92" y="114"/>
                  </a:lnTo>
                  <a:lnTo>
                    <a:pt x="92" y="116"/>
                  </a:lnTo>
                  <a:lnTo>
                    <a:pt x="92" y="116"/>
                  </a:lnTo>
                  <a:lnTo>
                    <a:pt x="92" y="122"/>
                  </a:lnTo>
                  <a:lnTo>
                    <a:pt x="88" y="124"/>
                  </a:lnTo>
                  <a:lnTo>
                    <a:pt x="84" y="128"/>
                  </a:lnTo>
                  <a:lnTo>
                    <a:pt x="82" y="130"/>
                  </a:lnTo>
                  <a:lnTo>
                    <a:pt x="82" y="130"/>
                  </a:lnTo>
                  <a:lnTo>
                    <a:pt x="80" y="132"/>
                  </a:lnTo>
                  <a:lnTo>
                    <a:pt x="80" y="134"/>
                  </a:lnTo>
                  <a:lnTo>
                    <a:pt x="78" y="136"/>
                  </a:lnTo>
                  <a:lnTo>
                    <a:pt x="74" y="138"/>
                  </a:lnTo>
                  <a:lnTo>
                    <a:pt x="74" y="138"/>
                  </a:lnTo>
                  <a:lnTo>
                    <a:pt x="66" y="146"/>
                  </a:lnTo>
                  <a:lnTo>
                    <a:pt x="66" y="146"/>
                  </a:lnTo>
                  <a:lnTo>
                    <a:pt x="58" y="158"/>
                  </a:lnTo>
                  <a:lnTo>
                    <a:pt x="58" y="158"/>
                  </a:lnTo>
                  <a:lnTo>
                    <a:pt x="56" y="162"/>
                  </a:lnTo>
                  <a:lnTo>
                    <a:pt x="54" y="170"/>
                  </a:lnTo>
                  <a:lnTo>
                    <a:pt x="54" y="178"/>
                  </a:lnTo>
                  <a:lnTo>
                    <a:pt x="54" y="178"/>
                  </a:lnTo>
                  <a:lnTo>
                    <a:pt x="54" y="182"/>
                  </a:lnTo>
                  <a:lnTo>
                    <a:pt x="50" y="184"/>
                  </a:lnTo>
                  <a:lnTo>
                    <a:pt x="42" y="190"/>
                  </a:lnTo>
                  <a:lnTo>
                    <a:pt x="42" y="190"/>
                  </a:lnTo>
                  <a:lnTo>
                    <a:pt x="40" y="190"/>
                  </a:lnTo>
                  <a:lnTo>
                    <a:pt x="40" y="192"/>
                  </a:lnTo>
                  <a:lnTo>
                    <a:pt x="40" y="194"/>
                  </a:lnTo>
                  <a:lnTo>
                    <a:pt x="40" y="198"/>
                  </a:lnTo>
                  <a:lnTo>
                    <a:pt x="36" y="200"/>
                  </a:lnTo>
                  <a:lnTo>
                    <a:pt x="36" y="200"/>
                  </a:lnTo>
                  <a:lnTo>
                    <a:pt x="36" y="204"/>
                  </a:lnTo>
                  <a:lnTo>
                    <a:pt x="34" y="206"/>
                  </a:lnTo>
                  <a:lnTo>
                    <a:pt x="34" y="213"/>
                  </a:lnTo>
                  <a:lnTo>
                    <a:pt x="34" y="213"/>
                  </a:lnTo>
                  <a:lnTo>
                    <a:pt x="32" y="217"/>
                  </a:lnTo>
                  <a:lnTo>
                    <a:pt x="30" y="217"/>
                  </a:lnTo>
                  <a:lnTo>
                    <a:pt x="20" y="221"/>
                  </a:lnTo>
                  <a:lnTo>
                    <a:pt x="20" y="221"/>
                  </a:lnTo>
                  <a:lnTo>
                    <a:pt x="14" y="223"/>
                  </a:lnTo>
                  <a:lnTo>
                    <a:pt x="12" y="223"/>
                  </a:lnTo>
                  <a:lnTo>
                    <a:pt x="10" y="221"/>
                  </a:lnTo>
                  <a:lnTo>
                    <a:pt x="10" y="221"/>
                  </a:lnTo>
                  <a:lnTo>
                    <a:pt x="8" y="221"/>
                  </a:lnTo>
                  <a:lnTo>
                    <a:pt x="8" y="223"/>
                  </a:lnTo>
                  <a:lnTo>
                    <a:pt x="6" y="225"/>
                  </a:lnTo>
                  <a:lnTo>
                    <a:pt x="4" y="227"/>
                  </a:lnTo>
                  <a:lnTo>
                    <a:pt x="4" y="227"/>
                  </a:lnTo>
                  <a:lnTo>
                    <a:pt x="0" y="229"/>
                  </a:lnTo>
                  <a:lnTo>
                    <a:pt x="0" y="231"/>
                  </a:lnTo>
                  <a:lnTo>
                    <a:pt x="6" y="235"/>
                  </a:lnTo>
                  <a:lnTo>
                    <a:pt x="8" y="235"/>
                  </a:lnTo>
                  <a:lnTo>
                    <a:pt x="8" y="235"/>
                  </a:lnTo>
                  <a:lnTo>
                    <a:pt x="8" y="241"/>
                  </a:lnTo>
                  <a:lnTo>
                    <a:pt x="8" y="243"/>
                  </a:lnTo>
                  <a:lnTo>
                    <a:pt x="10" y="247"/>
                  </a:lnTo>
                  <a:lnTo>
                    <a:pt x="10" y="247"/>
                  </a:lnTo>
                  <a:lnTo>
                    <a:pt x="12" y="249"/>
                  </a:lnTo>
                  <a:lnTo>
                    <a:pt x="12" y="249"/>
                  </a:lnTo>
                  <a:lnTo>
                    <a:pt x="12" y="249"/>
                  </a:lnTo>
                  <a:lnTo>
                    <a:pt x="16" y="249"/>
                  </a:lnTo>
                  <a:lnTo>
                    <a:pt x="16" y="251"/>
                  </a:lnTo>
                  <a:lnTo>
                    <a:pt x="20" y="257"/>
                  </a:lnTo>
                  <a:lnTo>
                    <a:pt x="20" y="261"/>
                  </a:lnTo>
                  <a:lnTo>
                    <a:pt x="20" y="265"/>
                  </a:lnTo>
                  <a:lnTo>
                    <a:pt x="20" y="265"/>
                  </a:lnTo>
                  <a:lnTo>
                    <a:pt x="20" y="267"/>
                  </a:lnTo>
                  <a:lnTo>
                    <a:pt x="22" y="267"/>
                  </a:lnTo>
                  <a:lnTo>
                    <a:pt x="30" y="269"/>
                  </a:lnTo>
                  <a:lnTo>
                    <a:pt x="40" y="275"/>
                  </a:lnTo>
                  <a:lnTo>
                    <a:pt x="40" y="275"/>
                  </a:lnTo>
                  <a:lnTo>
                    <a:pt x="44" y="275"/>
                  </a:lnTo>
                  <a:lnTo>
                    <a:pt x="46" y="281"/>
                  </a:lnTo>
                  <a:lnTo>
                    <a:pt x="44" y="287"/>
                  </a:lnTo>
                  <a:lnTo>
                    <a:pt x="44" y="287"/>
                  </a:lnTo>
                  <a:lnTo>
                    <a:pt x="46" y="291"/>
                  </a:lnTo>
                  <a:lnTo>
                    <a:pt x="50" y="293"/>
                  </a:lnTo>
                  <a:lnTo>
                    <a:pt x="58" y="293"/>
                  </a:lnTo>
                  <a:lnTo>
                    <a:pt x="58" y="293"/>
                  </a:lnTo>
                  <a:lnTo>
                    <a:pt x="60" y="293"/>
                  </a:lnTo>
                  <a:lnTo>
                    <a:pt x="60" y="295"/>
                  </a:lnTo>
                  <a:lnTo>
                    <a:pt x="60" y="303"/>
                  </a:lnTo>
                  <a:lnTo>
                    <a:pt x="58" y="309"/>
                  </a:lnTo>
                  <a:lnTo>
                    <a:pt x="58" y="311"/>
                  </a:lnTo>
                  <a:lnTo>
                    <a:pt x="58" y="315"/>
                  </a:lnTo>
                  <a:lnTo>
                    <a:pt x="58" y="315"/>
                  </a:lnTo>
                  <a:lnTo>
                    <a:pt x="60" y="315"/>
                  </a:lnTo>
                  <a:lnTo>
                    <a:pt x="62" y="315"/>
                  </a:lnTo>
                  <a:lnTo>
                    <a:pt x="68" y="315"/>
                  </a:lnTo>
                  <a:lnTo>
                    <a:pt x="80" y="313"/>
                  </a:lnTo>
                  <a:lnTo>
                    <a:pt x="80" y="313"/>
                  </a:lnTo>
                  <a:lnTo>
                    <a:pt x="80" y="313"/>
                  </a:lnTo>
                  <a:lnTo>
                    <a:pt x="80" y="313"/>
                  </a:lnTo>
                  <a:lnTo>
                    <a:pt x="88" y="305"/>
                  </a:lnTo>
                  <a:lnTo>
                    <a:pt x="88" y="305"/>
                  </a:lnTo>
                  <a:lnTo>
                    <a:pt x="90" y="303"/>
                  </a:lnTo>
                  <a:lnTo>
                    <a:pt x="90" y="297"/>
                  </a:lnTo>
                  <a:lnTo>
                    <a:pt x="92" y="293"/>
                  </a:lnTo>
                  <a:lnTo>
                    <a:pt x="92" y="289"/>
                  </a:lnTo>
                  <a:lnTo>
                    <a:pt x="92" y="287"/>
                  </a:lnTo>
                  <a:lnTo>
                    <a:pt x="96" y="285"/>
                  </a:lnTo>
                  <a:lnTo>
                    <a:pt x="96" y="285"/>
                  </a:lnTo>
                  <a:lnTo>
                    <a:pt x="98" y="285"/>
                  </a:lnTo>
                  <a:lnTo>
                    <a:pt x="102" y="287"/>
                  </a:lnTo>
                  <a:lnTo>
                    <a:pt x="104" y="289"/>
                  </a:lnTo>
                  <a:lnTo>
                    <a:pt x="108" y="293"/>
                  </a:lnTo>
                  <a:lnTo>
                    <a:pt x="110" y="293"/>
                  </a:lnTo>
                  <a:lnTo>
                    <a:pt x="112" y="293"/>
                  </a:lnTo>
                  <a:lnTo>
                    <a:pt x="112" y="293"/>
                  </a:lnTo>
                  <a:lnTo>
                    <a:pt x="120" y="289"/>
                  </a:lnTo>
                  <a:lnTo>
                    <a:pt x="124" y="285"/>
                  </a:lnTo>
                  <a:lnTo>
                    <a:pt x="130" y="277"/>
                  </a:lnTo>
                  <a:lnTo>
                    <a:pt x="130" y="277"/>
                  </a:lnTo>
                  <a:lnTo>
                    <a:pt x="132" y="271"/>
                  </a:lnTo>
                  <a:lnTo>
                    <a:pt x="138" y="265"/>
                  </a:lnTo>
                  <a:lnTo>
                    <a:pt x="138" y="265"/>
                  </a:lnTo>
                  <a:lnTo>
                    <a:pt x="146" y="261"/>
                  </a:lnTo>
                  <a:lnTo>
                    <a:pt x="148" y="261"/>
                  </a:lnTo>
                  <a:lnTo>
                    <a:pt x="150" y="263"/>
                  </a:lnTo>
                  <a:lnTo>
                    <a:pt x="150" y="263"/>
                  </a:lnTo>
                  <a:lnTo>
                    <a:pt x="156" y="269"/>
                  </a:lnTo>
                  <a:lnTo>
                    <a:pt x="158" y="271"/>
                  </a:lnTo>
                  <a:lnTo>
                    <a:pt x="160" y="271"/>
                  </a:lnTo>
                  <a:lnTo>
                    <a:pt x="160" y="271"/>
                  </a:lnTo>
                  <a:lnTo>
                    <a:pt x="166" y="269"/>
                  </a:lnTo>
                  <a:lnTo>
                    <a:pt x="170" y="267"/>
                  </a:lnTo>
                  <a:lnTo>
                    <a:pt x="172" y="263"/>
                  </a:lnTo>
                  <a:lnTo>
                    <a:pt x="172" y="259"/>
                  </a:lnTo>
                  <a:lnTo>
                    <a:pt x="172" y="259"/>
                  </a:lnTo>
                  <a:lnTo>
                    <a:pt x="172" y="259"/>
                  </a:lnTo>
                  <a:lnTo>
                    <a:pt x="174" y="257"/>
                  </a:lnTo>
                  <a:lnTo>
                    <a:pt x="177" y="251"/>
                  </a:lnTo>
                  <a:lnTo>
                    <a:pt x="183" y="247"/>
                  </a:lnTo>
                  <a:lnTo>
                    <a:pt x="187" y="245"/>
                  </a:lnTo>
                  <a:lnTo>
                    <a:pt x="187" y="245"/>
                  </a:lnTo>
                  <a:lnTo>
                    <a:pt x="197" y="247"/>
                  </a:lnTo>
                  <a:lnTo>
                    <a:pt x="201" y="247"/>
                  </a:lnTo>
                  <a:lnTo>
                    <a:pt x="205" y="247"/>
                  </a:lnTo>
                  <a:lnTo>
                    <a:pt x="205" y="245"/>
                  </a:lnTo>
                  <a:lnTo>
                    <a:pt x="205" y="245"/>
                  </a:lnTo>
                  <a:lnTo>
                    <a:pt x="207" y="243"/>
                  </a:lnTo>
                  <a:lnTo>
                    <a:pt x="211" y="241"/>
                  </a:lnTo>
                  <a:lnTo>
                    <a:pt x="211" y="231"/>
                  </a:lnTo>
                  <a:lnTo>
                    <a:pt x="211" y="225"/>
                  </a:lnTo>
                  <a:lnTo>
                    <a:pt x="211" y="221"/>
                  </a:lnTo>
                  <a:lnTo>
                    <a:pt x="213" y="219"/>
                  </a:lnTo>
                  <a:lnTo>
                    <a:pt x="213" y="219"/>
                  </a:lnTo>
                  <a:lnTo>
                    <a:pt x="223" y="213"/>
                  </a:lnTo>
                  <a:lnTo>
                    <a:pt x="225" y="211"/>
                  </a:lnTo>
                  <a:lnTo>
                    <a:pt x="223" y="206"/>
                  </a:lnTo>
                  <a:lnTo>
                    <a:pt x="223" y="206"/>
                  </a:lnTo>
                  <a:lnTo>
                    <a:pt x="219" y="200"/>
                  </a:lnTo>
                  <a:lnTo>
                    <a:pt x="215" y="196"/>
                  </a:lnTo>
                  <a:lnTo>
                    <a:pt x="215" y="192"/>
                  </a:lnTo>
                  <a:lnTo>
                    <a:pt x="213" y="192"/>
                  </a:lnTo>
                  <a:lnTo>
                    <a:pt x="215" y="186"/>
                  </a:lnTo>
                  <a:lnTo>
                    <a:pt x="215" y="182"/>
                  </a:lnTo>
                  <a:lnTo>
                    <a:pt x="215" y="182"/>
                  </a:lnTo>
                  <a:lnTo>
                    <a:pt x="219" y="180"/>
                  </a:lnTo>
                  <a:lnTo>
                    <a:pt x="223" y="178"/>
                  </a:lnTo>
                  <a:lnTo>
                    <a:pt x="233" y="176"/>
                  </a:lnTo>
                  <a:lnTo>
                    <a:pt x="239" y="172"/>
                  </a:lnTo>
                  <a:lnTo>
                    <a:pt x="243" y="170"/>
                  </a:lnTo>
                  <a:lnTo>
                    <a:pt x="245" y="168"/>
                  </a:lnTo>
                  <a:lnTo>
                    <a:pt x="245" y="168"/>
                  </a:lnTo>
                  <a:lnTo>
                    <a:pt x="257" y="158"/>
                  </a:lnTo>
                  <a:lnTo>
                    <a:pt x="269" y="148"/>
                  </a:lnTo>
                  <a:lnTo>
                    <a:pt x="285" y="136"/>
                  </a:lnTo>
                  <a:lnTo>
                    <a:pt x="289" y="132"/>
                  </a:lnTo>
                  <a:lnTo>
                    <a:pt x="291" y="128"/>
                  </a:lnTo>
                  <a:lnTo>
                    <a:pt x="291" y="128"/>
                  </a:lnTo>
                  <a:lnTo>
                    <a:pt x="293" y="122"/>
                  </a:lnTo>
                  <a:lnTo>
                    <a:pt x="295" y="114"/>
                  </a:lnTo>
                  <a:lnTo>
                    <a:pt x="297" y="106"/>
                  </a:lnTo>
                  <a:lnTo>
                    <a:pt x="303" y="100"/>
                  </a:lnTo>
                  <a:lnTo>
                    <a:pt x="303" y="100"/>
                  </a:lnTo>
                  <a:lnTo>
                    <a:pt x="309" y="94"/>
                  </a:lnTo>
                  <a:lnTo>
                    <a:pt x="315" y="90"/>
                  </a:lnTo>
                  <a:lnTo>
                    <a:pt x="327" y="84"/>
                  </a:lnTo>
                  <a:lnTo>
                    <a:pt x="327" y="82"/>
                  </a:lnTo>
                  <a:lnTo>
                    <a:pt x="327" y="82"/>
                  </a:lnTo>
                  <a:lnTo>
                    <a:pt x="309" y="90"/>
                  </a:lnTo>
                  <a:lnTo>
                    <a:pt x="309" y="90"/>
                  </a:lnTo>
                  <a:lnTo>
                    <a:pt x="303" y="92"/>
                  </a:lnTo>
                  <a:lnTo>
                    <a:pt x="295" y="92"/>
                  </a:lnTo>
                  <a:lnTo>
                    <a:pt x="291" y="90"/>
                  </a:lnTo>
                  <a:lnTo>
                    <a:pt x="291" y="90"/>
                  </a:lnTo>
                  <a:lnTo>
                    <a:pt x="291" y="90"/>
                  </a:lnTo>
                  <a:lnTo>
                    <a:pt x="291" y="90"/>
                  </a:lnTo>
                  <a:lnTo>
                    <a:pt x="291" y="9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53" name="Freeform 12"/>
            <p:cNvSpPr>
              <a:spLocks/>
            </p:cNvSpPr>
            <p:nvPr/>
          </p:nvSpPr>
          <p:spPr bwMode="auto">
            <a:xfrm>
              <a:off x="1423" y="2366"/>
              <a:ext cx="171" cy="144"/>
            </a:xfrm>
            <a:custGeom>
              <a:avLst/>
              <a:gdLst>
                <a:gd name="T0" fmla="*/ 165 w 171"/>
                <a:gd name="T1" fmla="*/ 56 h 144"/>
                <a:gd name="T2" fmla="*/ 161 w 171"/>
                <a:gd name="T3" fmla="*/ 56 h 144"/>
                <a:gd name="T4" fmla="*/ 161 w 171"/>
                <a:gd name="T5" fmla="*/ 46 h 144"/>
                <a:gd name="T6" fmla="*/ 159 w 171"/>
                <a:gd name="T7" fmla="*/ 38 h 144"/>
                <a:gd name="T8" fmla="*/ 153 w 171"/>
                <a:gd name="T9" fmla="*/ 26 h 144"/>
                <a:gd name="T10" fmla="*/ 143 w 171"/>
                <a:gd name="T11" fmla="*/ 24 h 144"/>
                <a:gd name="T12" fmla="*/ 139 w 171"/>
                <a:gd name="T13" fmla="*/ 26 h 144"/>
                <a:gd name="T14" fmla="*/ 135 w 171"/>
                <a:gd name="T15" fmla="*/ 30 h 144"/>
                <a:gd name="T16" fmla="*/ 129 w 171"/>
                <a:gd name="T17" fmla="*/ 24 h 144"/>
                <a:gd name="T18" fmla="*/ 125 w 171"/>
                <a:gd name="T19" fmla="*/ 22 h 144"/>
                <a:gd name="T20" fmla="*/ 119 w 171"/>
                <a:gd name="T21" fmla="*/ 20 h 144"/>
                <a:gd name="T22" fmla="*/ 117 w 171"/>
                <a:gd name="T23" fmla="*/ 6 h 144"/>
                <a:gd name="T24" fmla="*/ 113 w 171"/>
                <a:gd name="T25" fmla="*/ 6 h 144"/>
                <a:gd name="T26" fmla="*/ 107 w 171"/>
                <a:gd name="T27" fmla="*/ 20 h 144"/>
                <a:gd name="T28" fmla="*/ 91 w 171"/>
                <a:gd name="T29" fmla="*/ 26 h 144"/>
                <a:gd name="T30" fmla="*/ 79 w 171"/>
                <a:gd name="T31" fmla="*/ 24 h 144"/>
                <a:gd name="T32" fmla="*/ 73 w 171"/>
                <a:gd name="T33" fmla="*/ 14 h 144"/>
                <a:gd name="T34" fmla="*/ 69 w 171"/>
                <a:gd name="T35" fmla="*/ 8 h 144"/>
                <a:gd name="T36" fmla="*/ 55 w 171"/>
                <a:gd name="T37" fmla="*/ 8 h 144"/>
                <a:gd name="T38" fmla="*/ 49 w 171"/>
                <a:gd name="T39" fmla="*/ 4 h 144"/>
                <a:gd name="T40" fmla="*/ 37 w 171"/>
                <a:gd name="T41" fmla="*/ 2 h 144"/>
                <a:gd name="T42" fmla="*/ 29 w 171"/>
                <a:gd name="T43" fmla="*/ 4 h 144"/>
                <a:gd name="T44" fmla="*/ 24 w 171"/>
                <a:gd name="T45" fmla="*/ 2 h 144"/>
                <a:gd name="T46" fmla="*/ 14 w 171"/>
                <a:gd name="T47" fmla="*/ 4 h 144"/>
                <a:gd name="T48" fmla="*/ 10 w 171"/>
                <a:gd name="T49" fmla="*/ 12 h 144"/>
                <a:gd name="T50" fmla="*/ 8 w 171"/>
                <a:gd name="T51" fmla="*/ 22 h 144"/>
                <a:gd name="T52" fmla="*/ 2 w 171"/>
                <a:gd name="T53" fmla="*/ 32 h 144"/>
                <a:gd name="T54" fmla="*/ 2 w 171"/>
                <a:gd name="T55" fmla="*/ 34 h 144"/>
                <a:gd name="T56" fmla="*/ 0 w 171"/>
                <a:gd name="T57" fmla="*/ 40 h 144"/>
                <a:gd name="T58" fmla="*/ 2 w 171"/>
                <a:gd name="T59" fmla="*/ 52 h 144"/>
                <a:gd name="T60" fmla="*/ 2 w 171"/>
                <a:gd name="T61" fmla="*/ 66 h 144"/>
                <a:gd name="T62" fmla="*/ 12 w 171"/>
                <a:gd name="T63" fmla="*/ 82 h 144"/>
                <a:gd name="T64" fmla="*/ 14 w 171"/>
                <a:gd name="T65" fmla="*/ 96 h 144"/>
                <a:gd name="T66" fmla="*/ 20 w 171"/>
                <a:gd name="T67" fmla="*/ 112 h 144"/>
                <a:gd name="T68" fmla="*/ 20 w 171"/>
                <a:gd name="T69" fmla="*/ 120 h 144"/>
                <a:gd name="T70" fmla="*/ 24 w 171"/>
                <a:gd name="T71" fmla="*/ 126 h 144"/>
                <a:gd name="T72" fmla="*/ 25 w 171"/>
                <a:gd name="T73" fmla="*/ 136 h 144"/>
                <a:gd name="T74" fmla="*/ 22 w 171"/>
                <a:gd name="T75" fmla="*/ 144 h 144"/>
                <a:gd name="T76" fmla="*/ 29 w 171"/>
                <a:gd name="T77" fmla="*/ 138 h 144"/>
                <a:gd name="T78" fmla="*/ 53 w 171"/>
                <a:gd name="T79" fmla="*/ 140 h 144"/>
                <a:gd name="T80" fmla="*/ 61 w 171"/>
                <a:gd name="T81" fmla="*/ 136 h 144"/>
                <a:gd name="T82" fmla="*/ 71 w 171"/>
                <a:gd name="T83" fmla="*/ 128 h 144"/>
                <a:gd name="T84" fmla="*/ 75 w 171"/>
                <a:gd name="T85" fmla="*/ 120 h 144"/>
                <a:gd name="T86" fmla="*/ 81 w 171"/>
                <a:gd name="T87" fmla="*/ 122 h 144"/>
                <a:gd name="T88" fmla="*/ 89 w 171"/>
                <a:gd name="T89" fmla="*/ 118 h 144"/>
                <a:gd name="T90" fmla="*/ 101 w 171"/>
                <a:gd name="T91" fmla="*/ 116 h 144"/>
                <a:gd name="T92" fmla="*/ 117 w 171"/>
                <a:gd name="T93" fmla="*/ 108 h 144"/>
                <a:gd name="T94" fmla="*/ 129 w 171"/>
                <a:gd name="T95" fmla="*/ 96 h 144"/>
                <a:gd name="T96" fmla="*/ 145 w 171"/>
                <a:gd name="T97" fmla="*/ 84 h 144"/>
                <a:gd name="T98" fmla="*/ 153 w 171"/>
                <a:gd name="T99" fmla="*/ 78 h 144"/>
                <a:gd name="T100" fmla="*/ 163 w 171"/>
                <a:gd name="T101" fmla="*/ 70 h 144"/>
                <a:gd name="T102" fmla="*/ 171 w 171"/>
                <a:gd name="T103" fmla="*/ 66 h 144"/>
                <a:gd name="T104" fmla="*/ 171 w 171"/>
                <a:gd name="T105" fmla="*/ 58 h 144"/>
                <a:gd name="T106" fmla="*/ 169 w 171"/>
                <a:gd name="T107" fmla="*/ 56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71" h="144">
                  <a:moveTo>
                    <a:pt x="169" y="56"/>
                  </a:moveTo>
                  <a:lnTo>
                    <a:pt x="169" y="56"/>
                  </a:lnTo>
                  <a:lnTo>
                    <a:pt x="165" y="56"/>
                  </a:lnTo>
                  <a:lnTo>
                    <a:pt x="163" y="56"/>
                  </a:lnTo>
                  <a:lnTo>
                    <a:pt x="161" y="56"/>
                  </a:lnTo>
                  <a:lnTo>
                    <a:pt x="161" y="56"/>
                  </a:lnTo>
                  <a:lnTo>
                    <a:pt x="161" y="56"/>
                  </a:lnTo>
                  <a:lnTo>
                    <a:pt x="161" y="48"/>
                  </a:lnTo>
                  <a:lnTo>
                    <a:pt x="161" y="46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9" y="38"/>
                  </a:lnTo>
                  <a:lnTo>
                    <a:pt x="157" y="34"/>
                  </a:lnTo>
                  <a:lnTo>
                    <a:pt x="153" y="30"/>
                  </a:lnTo>
                  <a:lnTo>
                    <a:pt x="153" y="26"/>
                  </a:lnTo>
                  <a:lnTo>
                    <a:pt x="153" y="26"/>
                  </a:lnTo>
                  <a:lnTo>
                    <a:pt x="147" y="24"/>
                  </a:lnTo>
                  <a:lnTo>
                    <a:pt x="143" y="24"/>
                  </a:lnTo>
                  <a:lnTo>
                    <a:pt x="143" y="24"/>
                  </a:lnTo>
                  <a:lnTo>
                    <a:pt x="141" y="24"/>
                  </a:lnTo>
                  <a:lnTo>
                    <a:pt x="139" y="26"/>
                  </a:lnTo>
                  <a:lnTo>
                    <a:pt x="139" y="26"/>
                  </a:lnTo>
                  <a:lnTo>
                    <a:pt x="135" y="30"/>
                  </a:lnTo>
                  <a:lnTo>
                    <a:pt x="135" y="30"/>
                  </a:lnTo>
                  <a:lnTo>
                    <a:pt x="133" y="28"/>
                  </a:lnTo>
                  <a:lnTo>
                    <a:pt x="133" y="28"/>
                  </a:lnTo>
                  <a:lnTo>
                    <a:pt x="129" y="24"/>
                  </a:lnTo>
                  <a:lnTo>
                    <a:pt x="129" y="22"/>
                  </a:lnTo>
                  <a:lnTo>
                    <a:pt x="125" y="22"/>
                  </a:lnTo>
                  <a:lnTo>
                    <a:pt x="125" y="22"/>
                  </a:lnTo>
                  <a:lnTo>
                    <a:pt x="121" y="22"/>
                  </a:lnTo>
                  <a:lnTo>
                    <a:pt x="119" y="22"/>
                  </a:lnTo>
                  <a:lnTo>
                    <a:pt x="119" y="20"/>
                  </a:lnTo>
                  <a:lnTo>
                    <a:pt x="119" y="20"/>
                  </a:lnTo>
                  <a:lnTo>
                    <a:pt x="119" y="10"/>
                  </a:lnTo>
                  <a:lnTo>
                    <a:pt x="117" y="6"/>
                  </a:lnTo>
                  <a:lnTo>
                    <a:pt x="117" y="6"/>
                  </a:lnTo>
                  <a:lnTo>
                    <a:pt x="117" y="6"/>
                  </a:lnTo>
                  <a:lnTo>
                    <a:pt x="113" y="6"/>
                  </a:lnTo>
                  <a:lnTo>
                    <a:pt x="113" y="10"/>
                  </a:lnTo>
                  <a:lnTo>
                    <a:pt x="107" y="20"/>
                  </a:lnTo>
                  <a:lnTo>
                    <a:pt x="107" y="20"/>
                  </a:lnTo>
                  <a:lnTo>
                    <a:pt x="99" y="24"/>
                  </a:lnTo>
                  <a:lnTo>
                    <a:pt x="95" y="26"/>
                  </a:lnTo>
                  <a:lnTo>
                    <a:pt x="91" y="26"/>
                  </a:lnTo>
                  <a:lnTo>
                    <a:pt x="91" y="26"/>
                  </a:lnTo>
                  <a:lnTo>
                    <a:pt x="81" y="26"/>
                  </a:lnTo>
                  <a:lnTo>
                    <a:pt x="79" y="24"/>
                  </a:lnTo>
                  <a:lnTo>
                    <a:pt x="77" y="22"/>
                  </a:lnTo>
                  <a:lnTo>
                    <a:pt x="77" y="22"/>
                  </a:lnTo>
                  <a:lnTo>
                    <a:pt x="73" y="14"/>
                  </a:lnTo>
                  <a:lnTo>
                    <a:pt x="71" y="10"/>
                  </a:lnTo>
                  <a:lnTo>
                    <a:pt x="69" y="8"/>
                  </a:lnTo>
                  <a:lnTo>
                    <a:pt x="69" y="8"/>
                  </a:lnTo>
                  <a:lnTo>
                    <a:pt x="65" y="8"/>
                  </a:lnTo>
                  <a:lnTo>
                    <a:pt x="59" y="8"/>
                  </a:lnTo>
                  <a:lnTo>
                    <a:pt x="55" y="8"/>
                  </a:lnTo>
                  <a:lnTo>
                    <a:pt x="51" y="6"/>
                  </a:lnTo>
                  <a:lnTo>
                    <a:pt x="51" y="6"/>
                  </a:lnTo>
                  <a:lnTo>
                    <a:pt x="49" y="4"/>
                  </a:lnTo>
                  <a:lnTo>
                    <a:pt x="45" y="2"/>
                  </a:lnTo>
                  <a:lnTo>
                    <a:pt x="41" y="0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1" y="4"/>
                  </a:lnTo>
                  <a:lnTo>
                    <a:pt x="29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4" y="2"/>
                  </a:lnTo>
                  <a:lnTo>
                    <a:pt x="22" y="2"/>
                  </a:lnTo>
                  <a:lnTo>
                    <a:pt x="20" y="2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6"/>
                  </a:lnTo>
                  <a:lnTo>
                    <a:pt x="10" y="12"/>
                  </a:lnTo>
                  <a:lnTo>
                    <a:pt x="10" y="20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0" y="38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2" y="48"/>
                  </a:lnTo>
                  <a:lnTo>
                    <a:pt x="2" y="50"/>
                  </a:lnTo>
                  <a:lnTo>
                    <a:pt x="2" y="52"/>
                  </a:lnTo>
                  <a:lnTo>
                    <a:pt x="2" y="52"/>
                  </a:lnTo>
                  <a:lnTo>
                    <a:pt x="2" y="60"/>
                  </a:lnTo>
                  <a:lnTo>
                    <a:pt x="2" y="66"/>
                  </a:lnTo>
                  <a:lnTo>
                    <a:pt x="10" y="76"/>
                  </a:lnTo>
                  <a:lnTo>
                    <a:pt x="10" y="76"/>
                  </a:lnTo>
                  <a:lnTo>
                    <a:pt x="12" y="82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4" y="96"/>
                  </a:lnTo>
                  <a:lnTo>
                    <a:pt x="16" y="102"/>
                  </a:lnTo>
                  <a:lnTo>
                    <a:pt x="20" y="106"/>
                  </a:lnTo>
                  <a:lnTo>
                    <a:pt x="20" y="112"/>
                  </a:lnTo>
                  <a:lnTo>
                    <a:pt x="20" y="112"/>
                  </a:lnTo>
                  <a:lnTo>
                    <a:pt x="20" y="116"/>
                  </a:lnTo>
                  <a:lnTo>
                    <a:pt x="20" y="120"/>
                  </a:lnTo>
                  <a:lnTo>
                    <a:pt x="22" y="124"/>
                  </a:lnTo>
                  <a:lnTo>
                    <a:pt x="24" y="126"/>
                  </a:lnTo>
                  <a:lnTo>
                    <a:pt x="24" y="126"/>
                  </a:lnTo>
                  <a:lnTo>
                    <a:pt x="27" y="128"/>
                  </a:lnTo>
                  <a:lnTo>
                    <a:pt x="27" y="134"/>
                  </a:lnTo>
                  <a:lnTo>
                    <a:pt x="25" y="136"/>
                  </a:lnTo>
                  <a:lnTo>
                    <a:pt x="25" y="136"/>
                  </a:lnTo>
                  <a:lnTo>
                    <a:pt x="22" y="144"/>
                  </a:lnTo>
                  <a:lnTo>
                    <a:pt x="22" y="144"/>
                  </a:lnTo>
                  <a:lnTo>
                    <a:pt x="25" y="140"/>
                  </a:lnTo>
                  <a:lnTo>
                    <a:pt x="29" y="138"/>
                  </a:lnTo>
                  <a:lnTo>
                    <a:pt x="29" y="138"/>
                  </a:lnTo>
                  <a:lnTo>
                    <a:pt x="41" y="140"/>
                  </a:lnTo>
                  <a:lnTo>
                    <a:pt x="49" y="142"/>
                  </a:lnTo>
                  <a:lnTo>
                    <a:pt x="53" y="140"/>
                  </a:lnTo>
                  <a:lnTo>
                    <a:pt x="53" y="140"/>
                  </a:lnTo>
                  <a:lnTo>
                    <a:pt x="57" y="138"/>
                  </a:lnTo>
                  <a:lnTo>
                    <a:pt x="61" y="136"/>
                  </a:lnTo>
                  <a:lnTo>
                    <a:pt x="67" y="130"/>
                  </a:lnTo>
                  <a:lnTo>
                    <a:pt x="67" y="130"/>
                  </a:lnTo>
                  <a:lnTo>
                    <a:pt x="71" y="128"/>
                  </a:lnTo>
                  <a:lnTo>
                    <a:pt x="71" y="124"/>
                  </a:lnTo>
                  <a:lnTo>
                    <a:pt x="75" y="122"/>
                  </a:lnTo>
                  <a:lnTo>
                    <a:pt x="75" y="120"/>
                  </a:lnTo>
                  <a:lnTo>
                    <a:pt x="75" y="120"/>
                  </a:lnTo>
                  <a:lnTo>
                    <a:pt x="79" y="122"/>
                  </a:lnTo>
                  <a:lnTo>
                    <a:pt x="81" y="122"/>
                  </a:lnTo>
                  <a:lnTo>
                    <a:pt x="83" y="120"/>
                  </a:lnTo>
                  <a:lnTo>
                    <a:pt x="83" y="120"/>
                  </a:lnTo>
                  <a:lnTo>
                    <a:pt x="89" y="118"/>
                  </a:lnTo>
                  <a:lnTo>
                    <a:pt x="93" y="116"/>
                  </a:lnTo>
                  <a:lnTo>
                    <a:pt x="101" y="116"/>
                  </a:lnTo>
                  <a:lnTo>
                    <a:pt x="101" y="116"/>
                  </a:lnTo>
                  <a:lnTo>
                    <a:pt x="107" y="114"/>
                  </a:lnTo>
                  <a:lnTo>
                    <a:pt x="117" y="108"/>
                  </a:lnTo>
                  <a:lnTo>
                    <a:pt x="117" y="108"/>
                  </a:lnTo>
                  <a:lnTo>
                    <a:pt x="123" y="102"/>
                  </a:lnTo>
                  <a:lnTo>
                    <a:pt x="125" y="98"/>
                  </a:lnTo>
                  <a:lnTo>
                    <a:pt x="129" y="96"/>
                  </a:lnTo>
                  <a:lnTo>
                    <a:pt x="129" y="96"/>
                  </a:lnTo>
                  <a:lnTo>
                    <a:pt x="135" y="92"/>
                  </a:lnTo>
                  <a:lnTo>
                    <a:pt x="145" y="84"/>
                  </a:lnTo>
                  <a:lnTo>
                    <a:pt x="145" y="84"/>
                  </a:lnTo>
                  <a:lnTo>
                    <a:pt x="149" y="82"/>
                  </a:lnTo>
                  <a:lnTo>
                    <a:pt x="153" y="78"/>
                  </a:lnTo>
                  <a:lnTo>
                    <a:pt x="159" y="72"/>
                  </a:lnTo>
                  <a:lnTo>
                    <a:pt x="159" y="72"/>
                  </a:lnTo>
                  <a:lnTo>
                    <a:pt x="163" y="70"/>
                  </a:lnTo>
                  <a:lnTo>
                    <a:pt x="169" y="68"/>
                  </a:lnTo>
                  <a:lnTo>
                    <a:pt x="169" y="68"/>
                  </a:lnTo>
                  <a:lnTo>
                    <a:pt x="171" y="66"/>
                  </a:lnTo>
                  <a:lnTo>
                    <a:pt x="171" y="66"/>
                  </a:lnTo>
                  <a:lnTo>
                    <a:pt x="171" y="60"/>
                  </a:lnTo>
                  <a:lnTo>
                    <a:pt x="171" y="58"/>
                  </a:lnTo>
                  <a:lnTo>
                    <a:pt x="169" y="56"/>
                  </a:lnTo>
                  <a:lnTo>
                    <a:pt x="169" y="56"/>
                  </a:lnTo>
                  <a:lnTo>
                    <a:pt x="169" y="56"/>
                  </a:lnTo>
                  <a:lnTo>
                    <a:pt x="169" y="56"/>
                  </a:lnTo>
                  <a:lnTo>
                    <a:pt x="169" y="56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54" name="Freeform 13"/>
            <p:cNvSpPr>
              <a:spLocks/>
            </p:cNvSpPr>
            <p:nvPr/>
          </p:nvSpPr>
          <p:spPr bwMode="auto">
            <a:xfrm>
              <a:off x="1381" y="2279"/>
              <a:ext cx="159" cy="119"/>
            </a:xfrm>
            <a:custGeom>
              <a:avLst/>
              <a:gdLst>
                <a:gd name="T0" fmla="*/ 56 w 159"/>
                <a:gd name="T1" fmla="*/ 91 h 119"/>
                <a:gd name="T2" fmla="*/ 64 w 159"/>
                <a:gd name="T3" fmla="*/ 89 h 119"/>
                <a:gd name="T4" fmla="*/ 69 w 159"/>
                <a:gd name="T5" fmla="*/ 91 h 119"/>
                <a:gd name="T6" fmla="*/ 71 w 159"/>
                <a:gd name="T7" fmla="*/ 91 h 119"/>
                <a:gd name="T8" fmla="*/ 79 w 159"/>
                <a:gd name="T9" fmla="*/ 89 h 119"/>
                <a:gd name="T10" fmla="*/ 83 w 159"/>
                <a:gd name="T11" fmla="*/ 87 h 119"/>
                <a:gd name="T12" fmla="*/ 91 w 159"/>
                <a:gd name="T13" fmla="*/ 91 h 119"/>
                <a:gd name="T14" fmla="*/ 93 w 159"/>
                <a:gd name="T15" fmla="*/ 93 h 119"/>
                <a:gd name="T16" fmla="*/ 101 w 159"/>
                <a:gd name="T17" fmla="*/ 95 h 119"/>
                <a:gd name="T18" fmla="*/ 111 w 159"/>
                <a:gd name="T19" fmla="*/ 95 h 119"/>
                <a:gd name="T20" fmla="*/ 113 w 159"/>
                <a:gd name="T21" fmla="*/ 97 h 119"/>
                <a:gd name="T22" fmla="*/ 119 w 159"/>
                <a:gd name="T23" fmla="*/ 109 h 119"/>
                <a:gd name="T24" fmla="*/ 121 w 159"/>
                <a:gd name="T25" fmla="*/ 111 h 119"/>
                <a:gd name="T26" fmla="*/ 133 w 159"/>
                <a:gd name="T27" fmla="*/ 113 h 119"/>
                <a:gd name="T28" fmla="*/ 137 w 159"/>
                <a:gd name="T29" fmla="*/ 113 h 119"/>
                <a:gd name="T30" fmla="*/ 149 w 159"/>
                <a:gd name="T31" fmla="*/ 107 h 119"/>
                <a:gd name="T32" fmla="*/ 155 w 159"/>
                <a:gd name="T33" fmla="*/ 97 h 119"/>
                <a:gd name="T34" fmla="*/ 159 w 159"/>
                <a:gd name="T35" fmla="*/ 93 h 119"/>
                <a:gd name="T36" fmla="*/ 149 w 159"/>
                <a:gd name="T37" fmla="*/ 67 h 119"/>
                <a:gd name="T38" fmla="*/ 121 w 159"/>
                <a:gd name="T39" fmla="*/ 46 h 119"/>
                <a:gd name="T40" fmla="*/ 103 w 159"/>
                <a:gd name="T41" fmla="*/ 32 h 119"/>
                <a:gd name="T42" fmla="*/ 95 w 159"/>
                <a:gd name="T43" fmla="*/ 20 h 119"/>
                <a:gd name="T44" fmla="*/ 79 w 159"/>
                <a:gd name="T45" fmla="*/ 2 h 119"/>
                <a:gd name="T46" fmla="*/ 69 w 159"/>
                <a:gd name="T47" fmla="*/ 10 h 119"/>
                <a:gd name="T48" fmla="*/ 40 w 159"/>
                <a:gd name="T49" fmla="*/ 8 h 119"/>
                <a:gd name="T50" fmla="*/ 28 w 159"/>
                <a:gd name="T51" fmla="*/ 10 h 119"/>
                <a:gd name="T52" fmla="*/ 30 w 159"/>
                <a:gd name="T53" fmla="*/ 12 h 119"/>
                <a:gd name="T54" fmla="*/ 40 w 159"/>
                <a:gd name="T55" fmla="*/ 18 h 119"/>
                <a:gd name="T56" fmla="*/ 38 w 159"/>
                <a:gd name="T57" fmla="*/ 22 h 119"/>
                <a:gd name="T58" fmla="*/ 32 w 159"/>
                <a:gd name="T59" fmla="*/ 30 h 119"/>
                <a:gd name="T60" fmla="*/ 32 w 159"/>
                <a:gd name="T61" fmla="*/ 36 h 119"/>
                <a:gd name="T62" fmla="*/ 30 w 159"/>
                <a:gd name="T63" fmla="*/ 42 h 119"/>
                <a:gd name="T64" fmla="*/ 28 w 159"/>
                <a:gd name="T65" fmla="*/ 46 h 119"/>
                <a:gd name="T66" fmla="*/ 28 w 159"/>
                <a:gd name="T67" fmla="*/ 54 h 119"/>
                <a:gd name="T68" fmla="*/ 28 w 159"/>
                <a:gd name="T69" fmla="*/ 65 h 119"/>
                <a:gd name="T70" fmla="*/ 26 w 159"/>
                <a:gd name="T71" fmla="*/ 67 h 119"/>
                <a:gd name="T72" fmla="*/ 24 w 159"/>
                <a:gd name="T73" fmla="*/ 73 h 119"/>
                <a:gd name="T74" fmla="*/ 20 w 159"/>
                <a:gd name="T75" fmla="*/ 77 h 119"/>
                <a:gd name="T76" fmla="*/ 12 w 159"/>
                <a:gd name="T77" fmla="*/ 81 h 119"/>
                <a:gd name="T78" fmla="*/ 10 w 159"/>
                <a:gd name="T79" fmla="*/ 89 h 119"/>
                <a:gd name="T80" fmla="*/ 6 w 159"/>
                <a:gd name="T81" fmla="*/ 91 h 119"/>
                <a:gd name="T82" fmla="*/ 2 w 159"/>
                <a:gd name="T83" fmla="*/ 91 h 119"/>
                <a:gd name="T84" fmla="*/ 0 w 159"/>
                <a:gd name="T85" fmla="*/ 91 h 119"/>
                <a:gd name="T86" fmla="*/ 2 w 159"/>
                <a:gd name="T87" fmla="*/ 95 h 119"/>
                <a:gd name="T88" fmla="*/ 6 w 159"/>
                <a:gd name="T89" fmla="*/ 103 h 119"/>
                <a:gd name="T90" fmla="*/ 16 w 159"/>
                <a:gd name="T91" fmla="*/ 111 h 119"/>
                <a:gd name="T92" fmla="*/ 28 w 159"/>
                <a:gd name="T93" fmla="*/ 113 h 119"/>
                <a:gd name="T94" fmla="*/ 34 w 159"/>
                <a:gd name="T95" fmla="*/ 115 h 119"/>
                <a:gd name="T96" fmla="*/ 42 w 159"/>
                <a:gd name="T97" fmla="*/ 119 h 119"/>
                <a:gd name="T98" fmla="*/ 50 w 159"/>
                <a:gd name="T99" fmla="*/ 109 h 119"/>
                <a:gd name="T100" fmla="*/ 52 w 159"/>
                <a:gd name="T101" fmla="*/ 99 h 119"/>
                <a:gd name="T102" fmla="*/ 56 w 159"/>
                <a:gd name="T103" fmla="*/ 91 h 119"/>
                <a:gd name="T104" fmla="*/ 56 w 159"/>
                <a:gd name="T105" fmla="*/ 91 h 119"/>
                <a:gd name="T106" fmla="*/ 56 w 159"/>
                <a:gd name="T107" fmla="*/ 91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59" h="119">
                  <a:moveTo>
                    <a:pt x="56" y="91"/>
                  </a:moveTo>
                  <a:lnTo>
                    <a:pt x="56" y="91"/>
                  </a:lnTo>
                  <a:lnTo>
                    <a:pt x="62" y="89"/>
                  </a:lnTo>
                  <a:lnTo>
                    <a:pt x="64" y="89"/>
                  </a:lnTo>
                  <a:lnTo>
                    <a:pt x="66" y="89"/>
                  </a:lnTo>
                  <a:lnTo>
                    <a:pt x="69" y="91"/>
                  </a:lnTo>
                  <a:lnTo>
                    <a:pt x="69" y="91"/>
                  </a:lnTo>
                  <a:lnTo>
                    <a:pt x="71" y="91"/>
                  </a:lnTo>
                  <a:lnTo>
                    <a:pt x="73" y="91"/>
                  </a:lnTo>
                  <a:lnTo>
                    <a:pt x="79" y="89"/>
                  </a:lnTo>
                  <a:lnTo>
                    <a:pt x="79" y="89"/>
                  </a:lnTo>
                  <a:lnTo>
                    <a:pt x="83" y="87"/>
                  </a:lnTo>
                  <a:lnTo>
                    <a:pt x="87" y="89"/>
                  </a:lnTo>
                  <a:lnTo>
                    <a:pt x="91" y="91"/>
                  </a:lnTo>
                  <a:lnTo>
                    <a:pt x="93" y="93"/>
                  </a:lnTo>
                  <a:lnTo>
                    <a:pt x="93" y="93"/>
                  </a:lnTo>
                  <a:lnTo>
                    <a:pt x="97" y="95"/>
                  </a:lnTo>
                  <a:lnTo>
                    <a:pt x="101" y="95"/>
                  </a:lnTo>
                  <a:lnTo>
                    <a:pt x="107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13" y="97"/>
                  </a:lnTo>
                  <a:lnTo>
                    <a:pt x="115" y="101"/>
                  </a:lnTo>
                  <a:lnTo>
                    <a:pt x="119" y="109"/>
                  </a:lnTo>
                  <a:lnTo>
                    <a:pt x="119" y="109"/>
                  </a:lnTo>
                  <a:lnTo>
                    <a:pt x="121" y="111"/>
                  </a:lnTo>
                  <a:lnTo>
                    <a:pt x="123" y="113"/>
                  </a:lnTo>
                  <a:lnTo>
                    <a:pt x="133" y="113"/>
                  </a:lnTo>
                  <a:lnTo>
                    <a:pt x="133" y="113"/>
                  </a:lnTo>
                  <a:lnTo>
                    <a:pt x="137" y="113"/>
                  </a:lnTo>
                  <a:lnTo>
                    <a:pt x="141" y="111"/>
                  </a:lnTo>
                  <a:lnTo>
                    <a:pt x="149" y="107"/>
                  </a:lnTo>
                  <a:lnTo>
                    <a:pt x="149" y="107"/>
                  </a:lnTo>
                  <a:lnTo>
                    <a:pt x="155" y="97"/>
                  </a:lnTo>
                  <a:lnTo>
                    <a:pt x="155" y="93"/>
                  </a:lnTo>
                  <a:lnTo>
                    <a:pt x="159" y="93"/>
                  </a:lnTo>
                  <a:lnTo>
                    <a:pt x="149" y="85"/>
                  </a:lnTo>
                  <a:lnTo>
                    <a:pt x="149" y="67"/>
                  </a:lnTo>
                  <a:lnTo>
                    <a:pt x="141" y="56"/>
                  </a:lnTo>
                  <a:lnTo>
                    <a:pt x="121" y="46"/>
                  </a:lnTo>
                  <a:lnTo>
                    <a:pt x="113" y="32"/>
                  </a:lnTo>
                  <a:lnTo>
                    <a:pt x="103" y="32"/>
                  </a:lnTo>
                  <a:lnTo>
                    <a:pt x="93" y="24"/>
                  </a:lnTo>
                  <a:lnTo>
                    <a:pt x="95" y="20"/>
                  </a:lnTo>
                  <a:lnTo>
                    <a:pt x="93" y="22"/>
                  </a:lnTo>
                  <a:lnTo>
                    <a:pt x="79" y="2"/>
                  </a:lnTo>
                  <a:lnTo>
                    <a:pt x="75" y="0"/>
                  </a:lnTo>
                  <a:lnTo>
                    <a:pt x="69" y="10"/>
                  </a:lnTo>
                  <a:lnTo>
                    <a:pt x="62" y="16"/>
                  </a:lnTo>
                  <a:lnTo>
                    <a:pt x="40" y="8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8" y="16"/>
                  </a:lnTo>
                  <a:lnTo>
                    <a:pt x="40" y="18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4" y="26"/>
                  </a:lnTo>
                  <a:lnTo>
                    <a:pt x="32" y="30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42"/>
                  </a:lnTo>
                  <a:lnTo>
                    <a:pt x="30" y="42"/>
                  </a:lnTo>
                  <a:lnTo>
                    <a:pt x="28" y="46"/>
                  </a:lnTo>
                  <a:lnTo>
                    <a:pt x="28" y="46"/>
                  </a:lnTo>
                  <a:lnTo>
                    <a:pt x="28" y="48"/>
                  </a:lnTo>
                  <a:lnTo>
                    <a:pt x="28" y="54"/>
                  </a:lnTo>
                  <a:lnTo>
                    <a:pt x="28" y="57"/>
                  </a:lnTo>
                  <a:lnTo>
                    <a:pt x="28" y="65"/>
                  </a:lnTo>
                  <a:lnTo>
                    <a:pt x="28" y="65"/>
                  </a:lnTo>
                  <a:lnTo>
                    <a:pt x="26" y="67"/>
                  </a:lnTo>
                  <a:lnTo>
                    <a:pt x="24" y="73"/>
                  </a:lnTo>
                  <a:lnTo>
                    <a:pt x="24" y="73"/>
                  </a:lnTo>
                  <a:lnTo>
                    <a:pt x="20" y="75"/>
                  </a:lnTo>
                  <a:lnTo>
                    <a:pt x="20" y="77"/>
                  </a:lnTo>
                  <a:lnTo>
                    <a:pt x="16" y="79"/>
                  </a:lnTo>
                  <a:lnTo>
                    <a:pt x="12" y="81"/>
                  </a:lnTo>
                  <a:lnTo>
                    <a:pt x="12" y="81"/>
                  </a:lnTo>
                  <a:lnTo>
                    <a:pt x="10" y="89"/>
                  </a:lnTo>
                  <a:lnTo>
                    <a:pt x="8" y="91"/>
                  </a:lnTo>
                  <a:lnTo>
                    <a:pt x="6" y="91"/>
                  </a:lnTo>
                  <a:lnTo>
                    <a:pt x="6" y="91"/>
                  </a:lnTo>
                  <a:lnTo>
                    <a:pt x="2" y="91"/>
                  </a:lnTo>
                  <a:lnTo>
                    <a:pt x="0" y="91"/>
                  </a:lnTo>
                  <a:lnTo>
                    <a:pt x="0" y="91"/>
                  </a:lnTo>
                  <a:lnTo>
                    <a:pt x="2" y="95"/>
                  </a:lnTo>
                  <a:lnTo>
                    <a:pt x="2" y="95"/>
                  </a:lnTo>
                  <a:lnTo>
                    <a:pt x="4" y="99"/>
                  </a:lnTo>
                  <a:lnTo>
                    <a:pt x="6" y="103"/>
                  </a:lnTo>
                  <a:lnTo>
                    <a:pt x="10" y="109"/>
                  </a:lnTo>
                  <a:lnTo>
                    <a:pt x="16" y="111"/>
                  </a:lnTo>
                  <a:lnTo>
                    <a:pt x="16" y="111"/>
                  </a:lnTo>
                  <a:lnTo>
                    <a:pt x="28" y="113"/>
                  </a:lnTo>
                  <a:lnTo>
                    <a:pt x="28" y="113"/>
                  </a:lnTo>
                  <a:lnTo>
                    <a:pt x="34" y="115"/>
                  </a:lnTo>
                  <a:lnTo>
                    <a:pt x="42" y="119"/>
                  </a:lnTo>
                  <a:lnTo>
                    <a:pt x="42" y="119"/>
                  </a:lnTo>
                  <a:lnTo>
                    <a:pt x="50" y="109"/>
                  </a:lnTo>
                  <a:lnTo>
                    <a:pt x="50" y="109"/>
                  </a:lnTo>
                  <a:lnTo>
                    <a:pt x="52" y="107"/>
                  </a:lnTo>
                  <a:lnTo>
                    <a:pt x="52" y="99"/>
                  </a:lnTo>
                  <a:lnTo>
                    <a:pt x="56" y="93"/>
                  </a:lnTo>
                  <a:lnTo>
                    <a:pt x="56" y="91"/>
                  </a:lnTo>
                  <a:lnTo>
                    <a:pt x="56" y="91"/>
                  </a:lnTo>
                  <a:lnTo>
                    <a:pt x="56" y="91"/>
                  </a:lnTo>
                  <a:lnTo>
                    <a:pt x="56" y="91"/>
                  </a:lnTo>
                  <a:lnTo>
                    <a:pt x="56" y="91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55" name="Freeform 14"/>
            <p:cNvSpPr>
              <a:spLocks/>
            </p:cNvSpPr>
            <p:nvPr/>
          </p:nvSpPr>
          <p:spPr bwMode="auto">
            <a:xfrm>
              <a:off x="1687" y="2661"/>
              <a:ext cx="10" cy="22"/>
            </a:xfrm>
            <a:custGeom>
              <a:avLst/>
              <a:gdLst>
                <a:gd name="T0" fmla="*/ 0 w 10"/>
                <a:gd name="T1" fmla="*/ 4 h 22"/>
                <a:gd name="T2" fmla="*/ 0 w 10"/>
                <a:gd name="T3" fmla="*/ 22 h 22"/>
                <a:gd name="T4" fmla="*/ 0 w 10"/>
                <a:gd name="T5" fmla="*/ 22 h 22"/>
                <a:gd name="T6" fmla="*/ 10 w 10"/>
                <a:gd name="T7" fmla="*/ 0 h 22"/>
                <a:gd name="T8" fmla="*/ 0 w 10"/>
                <a:gd name="T9" fmla="*/ 2 h 22"/>
                <a:gd name="T10" fmla="*/ 0 w 10"/>
                <a:gd name="T11" fmla="*/ 4 h 22"/>
                <a:gd name="T12" fmla="*/ 0 w 10"/>
                <a:gd name="T13" fmla="*/ 4 h 22"/>
                <a:gd name="T14" fmla="*/ 0 w 10"/>
                <a:gd name="T15" fmla="*/ 4 h 22"/>
                <a:gd name="T16" fmla="*/ 0 w 10"/>
                <a:gd name="T17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22">
                  <a:moveTo>
                    <a:pt x="0" y="4"/>
                  </a:moveTo>
                  <a:lnTo>
                    <a:pt x="0" y="22"/>
                  </a:lnTo>
                  <a:lnTo>
                    <a:pt x="0" y="22"/>
                  </a:lnTo>
                  <a:lnTo>
                    <a:pt x="10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56" name="Freeform 15"/>
            <p:cNvSpPr>
              <a:spLocks/>
            </p:cNvSpPr>
            <p:nvPr/>
          </p:nvSpPr>
          <p:spPr bwMode="auto">
            <a:xfrm>
              <a:off x="1474" y="2269"/>
              <a:ext cx="215" cy="203"/>
            </a:xfrm>
            <a:custGeom>
              <a:avLst/>
              <a:gdLst>
                <a:gd name="T0" fmla="*/ 158 w 215"/>
                <a:gd name="T1" fmla="*/ 173 h 203"/>
                <a:gd name="T2" fmla="*/ 164 w 215"/>
                <a:gd name="T3" fmla="*/ 167 h 203"/>
                <a:gd name="T4" fmla="*/ 164 w 215"/>
                <a:gd name="T5" fmla="*/ 149 h 203"/>
                <a:gd name="T6" fmla="*/ 166 w 215"/>
                <a:gd name="T7" fmla="*/ 145 h 203"/>
                <a:gd name="T8" fmla="*/ 174 w 215"/>
                <a:gd name="T9" fmla="*/ 145 h 203"/>
                <a:gd name="T10" fmla="*/ 182 w 215"/>
                <a:gd name="T11" fmla="*/ 147 h 203"/>
                <a:gd name="T12" fmla="*/ 190 w 215"/>
                <a:gd name="T13" fmla="*/ 145 h 203"/>
                <a:gd name="T14" fmla="*/ 197 w 215"/>
                <a:gd name="T15" fmla="*/ 145 h 203"/>
                <a:gd name="T16" fmla="*/ 201 w 215"/>
                <a:gd name="T17" fmla="*/ 141 h 203"/>
                <a:gd name="T18" fmla="*/ 215 w 215"/>
                <a:gd name="T19" fmla="*/ 135 h 203"/>
                <a:gd name="T20" fmla="*/ 209 w 215"/>
                <a:gd name="T21" fmla="*/ 123 h 203"/>
                <a:gd name="T22" fmla="*/ 205 w 215"/>
                <a:gd name="T23" fmla="*/ 117 h 203"/>
                <a:gd name="T24" fmla="*/ 203 w 215"/>
                <a:gd name="T25" fmla="*/ 109 h 203"/>
                <a:gd name="T26" fmla="*/ 205 w 215"/>
                <a:gd name="T27" fmla="*/ 105 h 203"/>
                <a:gd name="T28" fmla="*/ 213 w 215"/>
                <a:gd name="T29" fmla="*/ 95 h 203"/>
                <a:gd name="T30" fmla="*/ 213 w 215"/>
                <a:gd name="T31" fmla="*/ 79 h 203"/>
                <a:gd name="T32" fmla="*/ 194 w 215"/>
                <a:gd name="T33" fmla="*/ 89 h 203"/>
                <a:gd name="T34" fmla="*/ 170 w 215"/>
                <a:gd name="T35" fmla="*/ 83 h 203"/>
                <a:gd name="T36" fmla="*/ 162 w 215"/>
                <a:gd name="T37" fmla="*/ 58 h 203"/>
                <a:gd name="T38" fmla="*/ 160 w 215"/>
                <a:gd name="T39" fmla="*/ 36 h 203"/>
                <a:gd name="T40" fmla="*/ 156 w 215"/>
                <a:gd name="T41" fmla="*/ 14 h 203"/>
                <a:gd name="T42" fmla="*/ 138 w 215"/>
                <a:gd name="T43" fmla="*/ 12 h 203"/>
                <a:gd name="T44" fmla="*/ 130 w 215"/>
                <a:gd name="T45" fmla="*/ 6 h 203"/>
                <a:gd name="T46" fmla="*/ 118 w 215"/>
                <a:gd name="T47" fmla="*/ 0 h 203"/>
                <a:gd name="T48" fmla="*/ 100 w 215"/>
                <a:gd name="T49" fmla="*/ 4 h 203"/>
                <a:gd name="T50" fmla="*/ 78 w 215"/>
                <a:gd name="T51" fmla="*/ 6 h 203"/>
                <a:gd name="T52" fmla="*/ 48 w 215"/>
                <a:gd name="T53" fmla="*/ 10 h 203"/>
                <a:gd name="T54" fmla="*/ 20 w 215"/>
                <a:gd name="T55" fmla="*/ 32 h 203"/>
                <a:gd name="T56" fmla="*/ 0 w 215"/>
                <a:gd name="T57" fmla="*/ 34 h 203"/>
                <a:gd name="T58" fmla="*/ 28 w 215"/>
                <a:gd name="T59" fmla="*/ 56 h 203"/>
                <a:gd name="T60" fmla="*/ 56 w 215"/>
                <a:gd name="T61" fmla="*/ 95 h 203"/>
                <a:gd name="T62" fmla="*/ 66 w 215"/>
                <a:gd name="T63" fmla="*/ 103 h 203"/>
                <a:gd name="T64" fmla="*/ 68 w 215"/>
                <a:gd name="T65" fmla="*/ 117 h 203"/>
                <a:gd name="T66" fmla="*/ 74 w 215"/>
                <a:gd name="T67" fmla="*/ 119 h 203"/>
                <a:gd name="T68" fmla="*/ 78 w 215"/>
                <a:gd name="T69" fmla="*/ 121 h 203"/>
                <a:gd name="T70" fmla="*/ 84 w 215"/>
                <a:gd name="T71" fmla="*/ 127 h 203"/>
                <a:gd name="T72" fmla="*/ 88 w 215"/>
                <a:gd name="T73" fmla="*/ 123 h 203"/>
                <a:gd name="T74" fmla="*/ 92 w 215"/>
                <a:gd name="T75" fmla="*/ 121 h 203"/>
                <a:gd name="T76" fmla="*/ 102 w 215"/>
                <a:gd name="T77" fmla="*/ 123 h 203"/>
                <a:gd name="T78" fmla="*/ 108 w 215"/>
                <a:gd name="T79" fmla="*/ 135 h 203"/>
                <a:gd name="T80" fmla="*/ 110 w 215"/>
                <a:gd name="T81" fmla="*/ 143 h 203"/>
                <a:gd name="T82" fmla="*/ 110 w 215"/>
                <a:gd name="T83" fmla="*/ 153 h 203"/>
                <a:gd name="T84" fmla="*/ 114 w 215"/>
                <a:gd name="T85" fmla="*/ 153 h 203"/>
                <a:gd name="T86" fmla="*/ 120 w 215"/>
                <a:gd name="T87" fmla="*/ 155 h 203"/>
                <a:gd name="T88" fmla="*/ 120 w 215"/>
                <a:gd name="T89" fmla="*/ 163 h 203"/>
                <a:gd name="T90" fmla="*/ 120 w 215"/>
                <a:gd name="T91" fmla="*/ 167 h 203"/>
                <a:gd name="T92" fmla="*/ 124 w 215"/>
                <a:gd name="T93" fmla="*/ 185 h 203"/>
                <a:gd name="T94" fmla="*/ 130 w 215"/>
                <a:gd name="T95" fmla="*/ 199 h 203"/>
                <a:gd name="T96" fmla="*/ 136 w 215"/>
                <a:gd name="T97" fmla="*/ 193 h 203"/>
                <a:gd name="T98" fmla="*/ 142 w 215"/>
                <a:gd name="T99" fmla="*/ 177 h 203"/>
                <a:gd name="T100" fmla="*/ 146 w 215"/>
                <a:gd name="T101" fmla="*/ 175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15" h="203">
                  <a:moveTo>
                    <a:pt x="146" y="175"/>
                  </a:moveTo>
                  <a:lnTo>
                    <a:pt x="146" y="175"/>
                  </a:lnTo>
                  <a:lnTo>
                    <a:pt x="158" y="173"/>
                  </a:lnTo>
                  <a:lnTo>
                    <a:pt x="162" y="171"/>
                  </a:lnTo>
                  <a:lnTo>
                    <a:pt x="162" y="171"/>
                  </a:lnTo>
                  <a:lnTo>
                    <a:pt x="164" y="167"/>
                  </a:lnTo>
                  <a:lnTo>
                    <a:pt x="164" y="167"/>
                  </a:lnTo>
                  <a:lnTo>
                    <a:pt x="164" y="155"/>
                  </a:lnTo>
                  <a:lnTo>
                    <a:pt x="164" y="149"/>
                  </a:lnTo>
                  <a:lnTo>
                    <a:pt x="164" y="147"/>
                  </a:lnTo>
                  <a:lnTo>
                    <a:pt x="166" y="145"/>
                  </a:lnTo>
                  <a:lnTo>
                    <a:pt x="166" y="145"/>
                  </a:lnTo>
                  <a:lnTo>
                    <a:pt x="168" y="145"/>
                  </a:lnTo>
                  <a:lnTo>
                    <a:pt x="170" y="145"/>
                  </a:lnTo>
                  <a:lnTo>
                    <a:pt x="174" y="145"/>
                  </a:lnTo>
                  <a:lnTo>
                    <a:pt x="178" y="149"/>
                  </a:lnTo>
                  <a:lnTo>
                    <a:pt x="178" y="149"/>
                  </a:lnTo>
                  <a:lnTo>
                    <a:pt x="182" y="147"/>
                  </a:lnTo>
                  <a:lnTo>
                    <a:pt x="182" y="147"/>
                  </a:lnTo>
                  <a:lnTo>
                    <a:pt x="186" y="147"/>
                  </a:lnTo>
                  <a:lnTo>
                    <a:pt x="190" y="145"/>
                  </a:lnTo>
                  <a:lnTo>
                    <a:pt x="194" y="147"/>
                  </a:lnTo>
                  <a:lnTo>
                    <a:pt x="194" y="147"/>
                  </a:lnTo>
                  <a:lnTo>
                    <a:pt x="197" y="145"/>
                  </a:lnTo>
                  <a:lnTo>
                    <a:pt x="197" y="143"/>
                  </a:lnTo>
                  <a:lnTo>
                    <a:pt x="201" y="141"/>
                  </a:lnTo>
                  <a:lnTo>
                    <a:pt x="201" y="141"/>
                  </a:lnTo>
                  <a:lnTo>
                    <a:pt x="205" y="141"/>
                  </a:lnTo>
                  <a:lnTo>
                    <a:pt x="211" y="141"/>
                  </a:lnTo>
                  <a:lnTo>
                    <a:pt x="215" y="135"/>
                  </a:lnTo>
                  <a:lnTo>
                    <a:pt x="215" y="135"/>
                  </a:lnTo>
                  <a:lnTo>
                    <a:pt x="213" y="129"/>
                  </a:lnTo>
                  <a:lnTo>
                    <a:pt x="209" y="123"/>
                  </a:lnTo>
                  <a:lnTo>
                    <a:pt x="207" y="119"/>
                  </a:lnTo>
                  <a:lnTo>
                    <a:pt x="207" y="119"/>
                  </a:lnTo>
                  <a:lnTo>
                    <a:pt x="205" y="117"/>
                  </a:lnTo>
                  <a:lnTo>
                    <a:pt x="205" y="117"/>
                  </a:lnTo>
                  <a:lnTo>
                    <a:pt x="203" y="111"/>
                  </a:lnTo>
                  <a:lnTo>
                    <a:pt x="203" y="109"/>
                  </a:lnTo>
                  <a:lnTo>
                    <a:pt x="203" y="107"/>
                  </a:lnTo>
                  <a:lnTo>
                    <a:pt x="205" y="105"/>
                  </a:lnTo>
                  <a:lnTo>
                    <a:pt x="205" y="105"/>
                  </a:lnTo>
                  <a:lnTo>
                    <a:pt x="213" y="103"/>
                  </a:lnTo>
                  <a:lnTo>
                    <a:pt x="215" y="101"/>
                  </a:lnTo>
                  <a:lnTo>
                    <a:pt x="213" y="95"/>
                  </a:lnTo>
                  <a:lnTo>
                    <a:pt x="203" y="97"/>
                  </a:lnTo>
                  <a:lnTo>
                    <a:pt x="201" y="85"/>
                  </a:lnTo>
                  <a:lnTo>
                    <a:pt x="213" y="79"/>
                  </a:lnTo>
                  <a:lnTo>
                    <a:pt x="209" y="77"/>
                  </a:lnTo>
                  <a:lnTo>
                    <a:pt x="192" y="77"/>
                  </a:lnTo>
                  <a:lnTo>
                    <a:pt x="194" y="89"/>
                  </a:lnTo>
                  <a:lnTo>
                    <a:pt x="188" y="89"/>
                  </a:lnTo>
                  <a:lnTo>
                    <a:pt x="180" y="81"/>
                  </a:lnTo>
                  <a:lnTo>
                    <a:pt x="170" y="83"/>
                  </a:lnTo>
                  <a:lnTo>
                    <a:pt x="160" y="67"/>
                  </a:lnTo>
                  <a:lnTo>
                    <a:pt x="164" y="62"/>
                  </a:lnTo>
                  <a:lnTo>
                    <a:pt x="162" y="58"/>
                  </a:lnTo>
                  <a:lnTo>
                    <a:pt x="156" y="52"/>
                  </a:lnTo>
                  <a:lnTo>
                    <a:pt x="154" y="42"/>
                  </a:lnTo>
                  <a:lnTo>
                    <a:pt x="160" y="36"/>
                  </a:lnTo>
                  <a:lnTo>
                    <a:pt x="158" y="34"/>
                  </a:lnTo>
                  <a:lnTo>
                    <a:pt x="154" y="32"/>
                  </a:lnTo>
                  <a:lnTo>
                    <a:pt x="156" y="14"/>
                  </a:lnTo>
                  <a:lnTo>
                    <a:pt x="152" y="12"/>
                  </a:lnTo>
                  <a:lnTo>
                    <a:pt x="148" y="14"/>
                  </a:lnTo>
                  <a:lnTo>
                    <a:pt x="138" y="12"/>
                  </a:lnTo>
                  <a:lnTo>
                    <a:pt x="136" y="10"/>
                  </a:lnTo>
                  <a:lnTo>
                    <a:pt x="134" y="6"/>
                  </a:lnTo>
                  <a:lnTo>
                    <a:pt x="130" y="6"/>
                  </a:lnTo>
                  <a:lnTo>
                    <a:pt x="130" y="6"/>
                  </a:lnTo>
                  <a:lnTo>
                    <a:pt x="118" y="0"/>
                  </a:lnTo>
                  <a:lnTo>
                    <a:pt x="118" y="0"/>
                  </a:lnTo>
                  <a:lnTo>
                    <a:pt x="112" y="0"/>
                  </a:lnTo>
                  <a:lnTo>
                    <a:pt x="108" y="0"/>
                  </a:lnTo>
                  <a:lnTo>
                    <a:pt x="100" y="4"/>
                  </a:lnTo>
                  <a:lnTo>
                    <a:pt x="92" y="6"/>
                  </a:lnTo>
                  <a:lnTo>
                    <a:pt x="92" y="6"/>
                  </a:lnTo>
                  <a:lnTo>
                    <a:pt x="78" y="6"/>
                  </a:lnTo>
                  <a:lnTo>
                    <a:pt x="78" y="6"/>
                  </a:lnTo>
                  <a:lnTo>
                    <a:pt x="70" y="4"/>
                  </a:lnTo>
                  <a:lnTo>
                    <a:pt x="48" y="10"/>
                  </a:lnTo>
                  <a:lnTo>
                    <a:pt x="32" y="12"/>
                  </a:lnTo>
                  <a:lnTo>
                    <a:pt x="40" y="28"/>
                  </a:lnTo>
                  <a:lnTo>
                    <a:pt x="20" y="32"/>
                  </a:lnTo>
                  <a:lnTo>
                    <a:pt x="14" y="26"/>
                  </a:lnTo>
                  <a:lnTo>
                    <a:pt x="2" y="30"/>
                  </a:lnTo>
                  <a:lnTo>
                    <a:pt x="0" y="34"/>
                  </a:lnTo>
                  <a:lnTo>
                    <a:pt x="10" y="42"/>
                  </a:lnTo>
                  <a:lnTo>
                    <a:pt x="20" y="42"/>
                  </a:lnTo>
                  <a:lnTo>
                    <a:pt x="28" y="56"/>
                  </a:lnTo>
                  <a:lnTo>
                    <a:pt x="48" y="66"/>
                  </a:lnTo>
                  <a:lnTo>
                    <a:pt x="56" y="77"/>
                  </a:lnTo>
                  <a:lnTo>
                    <a:pt x="56" y="95"/>
                  </a:lnTo>
                  <a:lnTo>
                    <a:pt x="66" y="103"/>
                  </a:lnTo>
                  <a:lnTo>
                    <a:pt x="66" y="103"/>
                  </a:lnTo>
                  <a:lnTo>
                    <a:pt x="66" y="103"/>
                  </a:lnTo>
                  <a:lnTo>
                    <a:pt x="68" y="107"/>
                  </a:lnTo>
                  <a:lnTo>
                    <a:pt x="68" y="117"/>
                  </a:lnTo>
                  <a:lnTo>
                    <a:pt x="68" y="117"/>
                  </a:lnTo>
                  <a:lnTo>
                    <a:pt x="68" y="119"/>
                  </a:lnTo>
                  <a:lnTo>
                    <a:pt x="70" y="119"/>
                  </a:lnTo>
                  <a:lnTo>
                    <a:pt x="74" y="119"/>
                  </a:lnTo>
                  <a:lnTo>
                    <a:pt x="74" y="119"/>
                  </a:lnTo>
                  <a:lnTo>
                    <a:pt x="78" y="119"/>
                  </a:lnTo>
                  <a:lnTo>
                    <a:pt x="78" y="121"/>
                  </a:lnTo>
                  <a:lnTo>
                    <a:pt x="82" y="125"/>
                  </a:lnTo>
                  <a:lnTo>
                    <a:pt x="82" y="125"/>
                  </a:lnTo>
                  <a:lnTo>
                    <a:pt x="84" y="127"/>
                  </a:lnTo>
                  <a:lnTo>
                    <a:pt x="84" y="127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90" y="121"/>
                  </a:lnTo>
                  <a:lnTo>
                    <a:pt x="92" y="121"/>
                  </a:lnTo>
                  <a:lnTo>
                    <a:pt x="92" y="121"/>
                  </a:lnTo>
                  <a:lnTo>
                    <a:pt x="96" y="121"/>
                  </a:lnTo>
                  <a:lnTo>
                    <a:pt x="102" y="123"/>
                  </a:lnTo>
                  <a:lnTo>
                    <a:pt x="102" y="123"/>
                  </a:lnTo>
                  <a:lnTo>
                    <a:pt x="102" y="127"/>
                  </a:lnTo>
                  <a:lnTo>
                    <a:pt x="106" y="131"/>
                  </a:lnTo>
                  <a:lnTo>
                    <a:pt x="108" y="135"/>
                  </a:lnTo>
                  <a:lnTo>
                    <a:pt x="108" y="141"/>
                  </a:lnTo>
                  <a:lnTo>
                    <a:pt x="108" y="141"/>
                  </a:lnTo>
                  <a:lnTo>
                    <a:pt x="110" y="143"/>
                  </a:lnTo>
                  <a:lnTo>
                    <a:pt x="110" y="145"/>
                  </a:lnTo>
                  <a:lnTo>
                    <a:pt x="110" y="153"/>
                  </a:lnTo>
                  <a:lnTo>
                    <a:pt x="110" y="153"/>
                  </a:lnTo>
                  <a:lnTo>
                    <a:pt x="110" y="153"/>
                  </a:lnTo>
                  <a:lnTo>
                    <a:pt x="112" y="153"/>
                  </a:lnTo>
                  <a:lnTo>
                    <a:pt x="114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20" y="155"/>
                  </a:lnTo>
                  <a:lnTo>
                    <a:pt x="120" y="157"/>
                  </a:lnTo>
                  <a:lnTo>
                    <a:pt x="120" y="163"/>
                  </a:lnTo>
                  <a:lnTo>
                    <a:pt x="120" y="163"/>
                  </a:lnTo>
                  <a:lnTo>
                    <a:pt x="118" y="165"/>
                  </a:lnTo>
                  <a:lnTo>
                    <a:pt x="118" y="165"/>
                  </a:lnTo>
                  <a:lnTo>
                    <a:pt x="120" y="167"/>
                  </a:lnTo>
                  <a:lnTo>
                    <a:pt x="122" y="167"/>
                  </a:lnTo>
                  <a:lnTo>
                    <a:pt x="122" y="167"/>
                  </a:lnTo>
                  <a:lnTo>
                    <a:pt x="124" y="185"/>
                  </a:lnTo>
                  <a:lnTo>
                    <a:pt x="124" y="193"/>
                  </a:lnTo>
                  <a:lnTo>
                    <a:pt x="130" y="199"/>
                  </a:lnTo>
                  <a:lnTo>
                    <a:pt x="130" y="199"/>
                  </a:lnTo>
                  <a:lnTo>
                    <a:pt x="130" y="203"/>
                  </a:lnTo>
                  <a:lnTo>
                    <a:pt x="130" y="203"/>
                  </a:lnTo>
                  <a:lnTo>
                    <a:pt x="136" y="193"/>
                  </a:lnTo>
                  <a:lnTo>
                    <a:pt x="136" y="193"/>
                  </a:lnTo>
                  <a:lnTo>
                    <a:pt x="140" y="181"/>
                  </a:lnTo>
                  <a:lnTo>
                    <a:pt x="142" y="177"/>
                  </a:lnTo>
                  <a:lnTo>
                    <a:pt x="146" y="175"/>
                  </a:lnTo>
                  <a:lnTo>
                    <a:pt x="146" y="175"/>
                  </a:lnTo>
                  <a:lnTo>
                    <a:pt x="146" y="175"/>
                  </a:lnTo>
                  <a:lnTo>
                    <a:pt x="146" y="175"/>
                  </a:lnTo>
                  <a:lnTo>
                    <a:pt x="146" y="175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57" name="Freeform 16"/>
            <p:cNvSpPr>
              <a:spLocks/>
            </p:cNvSpPr>
            <p:nvPr/>
          </p:nvSpPr>
          <p:spPr bwMode="auto">
            <a:xfrm>
              <a:off x="1088" y="2030"/>
              <a:ext cx="106" cy="115"/>
            </a:xfrm>
            <a:custGeom>
              <a:avLst/>
              <a:gdLst>
                <a:gd name="T0" fmla="*/ 54 w 106"/>
                <a:gd name="T1" fmla="*/ 113 h 115"/>
                <a:gd name="T2" fmla="*/ 66 w 106"/>
                <a:gd name="T3" fmla="*/ 113 h 115"/>
                <a:gd name="T4" fmla="*/ 70 w 106"/>
                <a:gd name="T5" fmla="*/ 113 h 115"/>
                <a:gd name="T6" fmla="*/ 74 w 106"/>
                <a:gd name="T7" fmla="*/ 107 h 115"/>
                <a:gd name="T8" fmla="*/ 80 w 106"/>
                <a:gd name="T9" fmla="*/ 101 h 115"/>
                <a:gd name="T10" fmla="*/ 80 w 106"/>
                <a:gd name="T11" fmla="*/ 93 h 115"/>
                <a:gd name="T12" fmla="*/ 80 w 106"/>
                <a:gd name="T13" fmla="*/ 91 h 115"/>
                <a:gd name="T14" fmla="*/ 90 w 106"/>
                <a:gd name="T15" fmla="*/ 91 h 115"/>
                <a:gd name="T16" fmla="*/ 94 w 106"/>
                <a:gd name="T17" fmla="*/ 89 h 115"/>
                <a:gd name="T18" fmla="*/ 98 w 106"/>
                <a:gd name="T19" fmla="*/ 87 h 115"/>
                <a:gd name="T20" fmla="*/ 104 w 106"/>
                <a:gd name="T21" fmla="*/ 83 h 115"/>
                <a:gd name="T22" fmla="*/ 98 w 106"/>
                <a:gd name="T23" fmla="*/ 74 h 115"/>
                <a:gd name="T24" fmla="*/ 98 w 106"/>
                <a:gd name="T25" fmla="*/ 74 h 115"/>
                <a:gd name="T26" fmla="*/ 106 w 106"/>
                <a:gd name="T27" fmla="*/ 68 h 115"/>
                <a:gd name="T28" fmla="*/ 96 w 106"/>
                <a:gd name="T29" fmla="*/ 56 h 115"/>
                <a:gd name="T30" fmla="*/ 90 w 106"/>
                <a:gd name="T31" fmla="*/ 44 h 115"/>
                <a:gd name="T32" fmla="*/ 92 w 106"/>
                <a:gd name="T33" fmla="*/ 36 h 115"/>
                <a:gd name="T34" fmla="*/ 90 w 106"/>
                <a:gd name="T35" fmla="*/ 36 h 115"/>
                <a:gd name="T36" fmla="*/ 88 w 106"/>
                <a:gd name="T37" fmla="*/ 28 h 115"/>
                <a:gd name="T38" fmla="*/ 90 w 106"/>
                <a:gd name="T39" fmla="*/ 24 h 115"/>
                <a:gd name="T40" fmla="*/ 92 w 106"/>
                <a:gd name="T41" fmla="*/ 18 h 115"/>
                <a:gd name="T42" fmla="*/ 90 w 106"/>
                <a:gd name="T43" fmla="*/ 14 h 115"/>
                <a:gd name="T44" fmla="*/ 90 w 106"/>
                <a:gd name="T45" fmla="*/ 8 h 115"/>
                <a:gd name="T46" fmla="*/ 88 w 106"/>
                <a:gd name="T47" fmla="*/ 8 h 115"/>
                <a:gd name="T48" fmla="*/ 80 w 106"/>
                <a:gd name="T49" fmla="*/ 6 h 115"/>
                <a:gd name="T50" fmla="*/ 72 w 106"/>
                <a:gd name="T51" fmla="*/ 2 h 115"/>
                <a:gd name="T52" fmla="*/ 64 w 106"/>
                <a:gd name="T53" fmla="*/ 2 h 115"/>
                <a:gd name="T54" fmla="*/ 54 w 106"/>
                <a:gd name="T55" fmla="*/ 0 h 115"/>
                <a:gd name="T56" fmla="*/ 52 w 106"/>
                <a:gd name="T57" fmla="*/ 0 h 115"/>
                <a:gd name="T58" fmla="*/ 50 w 106"/>
                <a:gd name="T59" fmla="*/ 4 h 115"/>
                <a:gd name="T60" fmla="*/ 48 w 106"/>
                <a:gd name="T61" fmla="*/ 8 h 115"/>
                <a:gd name="T62" fmla="*/ 44 w 106"/>
                <a:gd name="T63" fmla="*/ 6 h 115"/>
                <a:gd name="T64" fmla="*/ 34 w 106"/>
                <a:gd name="T65" fmla="*/ 2 h 115"/>
                <a:gd name="T66" fmla="*/ 28 w 106"/>
                <a:gd name="T67" fmla="*/ 2 h 115"/>
                <a:gd name="T68" fmla="*/ 28 w 106"/>
                <a:gd name="T69" fmla="*/ 6 h 115"/>
                <a:gd name="T70" fmla="*/ 28 w 106"/>
                <a:gd name="T71" fmla="*/ 14 h 115"/>
                <a:gd name="T72" fmla="*/ 24 w 106"/>
                <a:gd name="T73" fmla="*/ 18 h 115"/>
                <a:gd name="T74" fmla="*/ 16 w 106"/>
                <a:gd name="T75" fmla="*/ 18 h 115"/>
                <a:gd name="T76" fmla="*/ 8 w 106"/>
                <a:gd name="T77" fmla="*/ 22 h 115"/>
                <a:gd name="T78" fmla="*/ 0 w 106"/>
                <a:gd name="T79" fmla="*/ 26 h 115"/>
                <a:gd name="T80" fmla="*/ 0 w 106"/>
                <a:gd name="T81" fmla="*/ 26 h 115"/>
                <a:gd name="T82" fmla="*/ 2 w 106"/>
                <a:gd name="T83" fmla="*/ 26 h 115"/>
                <a:gd name="T84" fmla="*/ 8 w 106"/>
                <a:gd name="T85" fmla="*/ 26 h 115"/>
                <a:gd name="T86" fmla="*/ 12 w 106"/>
                <a:gd name="T87" fmla="*/ 26 h 115"/>
                <a:gd name="T88" fmla="*/ 22 w 106"/>
                <a:gd name="T89" fmla="*/ 36 h 115"/>
                <a:gd name="T90" fmla="*/ 24 w 106"/>
                <a:gd name="T91" fmla="*/ 40 h 115"/>
                <a:gd name="T92" fmla="*/ 22 w 106"/>
                <a:gd name="T93" fmla="*/ 44 h 115"/>
                <a:gd name="T94" fmla="*/ 22 w 106"/>
                <a:gd name="T95" fmla="*/ 50 h 115"/>
                <a:gd name="T96" fmla="*/ 24 w 106"/>
                <a:gd name="T97" fmla="*/ 54 h 115"/>
                <a:gd name="T98" fmla="*/ 34 w 106"/>
                <a:gd name="T99" fmla="*/ 60 h 115"/>
                <a:gd name="T100" fmla="*/ 36 w 106"/>
                <a:gd name="T101" fmla="*/ 62 h 115"/>
                <a:gd name="T102" fmla="*/ 36 w 106"/>
                <a:gd name="T103" fmla="*/ 70 h 115"/>
                <a:gd name="T104" fmla="*/ 36 w 106"/>
                <a:gd name="T105" fmla="*/ 77 h 115"/>
                <a:gd name="T106" fmla="*/ 42 w 106"/>
                <a:gd name="T107" fmla="*/ 93 h 115"/>
                <a:gd name="T108" fmla="*/ 42 w 106"/>
                <a:gd name="T109" fmla="*/ 99 h 115"/>
                <a:gd name="T110" fmla="*/ 44 w 106"/>
                <a:gd name="T111" fmla="*/ 109 h 115"/>
                <a:gd name="T112" fmla="*/ 48 w 106"/>
                <a:gd name="T113" fmla="*/ 115 h 115"/>
                <a:gd name="T114" fmla="*/ 48 w 106"/>
                <a:gd name="T115" fmla="*/ 115 h 115"/>
                <a:gd name="T116" fmla="*/ 52 w 106"/>
                <a:gd name="T117" fmla="*/ 115 h 115"/>
                <a:gd name="T118" fmla="*/ 54 w 106"/>
                <a:gd name="T119" fmla="*/ 113 h 115"/>
                <a:gd name="T120" fmla="*/ 54 w 106"/>
                <a:gd name="T121" fmla="*/ 113 h 115"/>
                <a:gd name="T122" fmla="*/ 54 w 106"/>
                <a:gd name="T123" fmla="*/ 113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6" h="115">
                  <a:moveTo>
                    <a:pt x="54" y="113"/>
                  </a:moveTo>
                  <a:lnTo>
                    <a:pt x="54" y="113"/>
                  </a:lnTo>
                  <a:lnTo>
                    <a:pt x="58" y="111"/>
                  </a:lnTo>
                  <a:lnTo>
                    <a:pt x="66" y="113"/>
                  </a:lnTo>
                  <a:lnTo>
                    <a:pt x="66" y="113"/>
                  </a:lnTo>
                  <a:lnTo>
                    <a:pt x="70" y="113"/>
                  </a:lnTo>
                  <a:lnTo>
                    <a:pt x="74" y="113"/>
                  </a:lnTo>
                  <a:lnTo>
                    <a:pt x="74" y="107"/>
                  </a:lnTo>
                  <a:lnTo>
                    <a:pt x="74" y="107"/>
                  </a:lnTo>
                  <a:lnTo>
                    <a:pt x="80" y="101"/>
                  </a:lnTo>
                  <a:lnTo>
                    <a:pt x="80" y="97"/>
                  </a:lnTo>
                  <a:lnTo>
                    <a:pt x="80" y="93"/>
                  </a:lnTo>
                  <a:lnTo>
                    <a:pt x="80" y="93"/>
                  </a:lnTo>
                  <a:lnTo>
                    <a:pt x="80" y="91"/>
                  </a:lnTo>
                  <a:lnTo>
                    <a:pt x="82" y="91"/>
                  </a:lnTo>
                  <a:lnTo>
                    <a:pt x="90" y="91"/>
                  </a:lnTo>
                  <a:lnTo>
                    <a:pt x="90" y="91"/>
                  </a:lnTo>
                  <a:lnTo>
                    <a:pt x="94" y="89"/>
                  </a:lnTo>
                  <a:lnTo>
                    <a:pt x="96" y="87"/>
                  </a:lnTo>
                  <a:lnTo>
                    <a:pt x="98" y="87"/>
                  </a:lnTo>
                  <a:lnTo>
                    <a:pt x="104" y="83"/>
                  </a:lnTo>
                  <a:lnTo>
                    <a:pt x="104" y="83"/>
                  </a:lnTo>
                  <a:lnTo>
                    <a:pt x="100" y="77"/>
                  </a:lnTo>
                  <a:lnTo>
                    <a:pt x="98" y="74"/>
                  </a:lnTo>
                  <a:lnTo>
                    <a:pt x="98" y="74"/>
                  </a:lnTo>
                  <a:lnTo>
                    <a:pt x="98" y="74"/>
                  </a:lnTo>
                  <a:lnTo>
                    <a:pt x="104" y="70"/>
                  </a:lnTo>
                  <a:lnTo>
                    <a:pt x="106" y="68"/>
                  </a:lnTo>
                  <a:lnTo>
                    <a:pt x="96" y="56"/>
                  </a:lnTo>
                  <a:lnTo>
                    <a:pt x="96" y="56"/>
                  </a:lnTo>
                  <a:lnTo>
                    <a:pt x="92" y="50"/>
                  </a:lnTo>
                  <a:lnTo>
                    <a:pt x="90" y="44"/>
                  </a:lnTo>
                  <a:lnTo>
                    <a:pt x="90" y="44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0" y="36"/>
                  </a:lnTo>
                  <a:lnTo>
                    <a:pt x="88" y="30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90" y="24"/>
                  </a:lnTo>
                  <a:lnTo>
                    <a:pt x="92" y="22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0" y="14"/>
                  </a:lnTo>
                  <a:lnTo>
                    <a:pt x="90" y="8"/>
                  </a:lnTo>
                  <a:lnTo>
                    <a:pt x="90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6" y="8"/>
                  </a:lnTo>
                  <a:lnTo>
                    <a:pt x="80" y="6"/>
                  </a:lnTo>
                  <a:lnTo>
                    <a:pt x="74" y="2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64" y="2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2" y="2"/>
                  </a:lnTo>
                  <a:lnTo>
                    <a:pt x="50" y="4"/>
                  </a:lnTo>
                  <a:lnTo>
                    <a:pt x="48" y="6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4" y="6"/>
                  </a:lnTo>
                  <a:lnTo>
                    <a:pt x="40" y="6"/>
                  </a:lnTo>
                  <a:lnTo>
                    <a:pt x="34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4"/>
                  </a:lnTo>
                  <a:lnTo>
                    <a:pt x="28" y="6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4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2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26"/>
                  </a:lnTo>
                  <a:lnTo>
                    <a:pt x="4" y="26"/>
                  </a:lnTo>
                  <a:lnTo>
                    <a:pt x="8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8" y="30"/>
                  </a:lnTo>
                  <a:lnTo>
                    <a:pt x="22" y="36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2" y="42"/>
                  </a:lnTo>
                  <a:lnTo>
                    <a:pt x="22" y="44"/>
                  </a:lnTo>
                  <a:lnTo>
                    <a:pt x="20" y="48"/>
                  </a:lnTo>
                  <a:lnTo>
                    <a:pt x="22" y="50"/>
                  </a:lnTo>
                  <a:lnTo>
                    <a:pt x="22" y="50"/>
                  </a:lnTo>
                  <a:lnTo>
                    <a:pt x="24" y="54"/>
                  </a:lnTo>
                  <a:lnTo>
                    <a:pt x="28" y="56"/>
                  </a:lnTo>
                  <a:lnTo>
                    <a:pt x="34" y="60"/>
                  </a:lnTo>
                  <a:lnTo>
                    <a:pt x="36" y="62"/>
                  </a:lnTo>
                  <a:lnTo>
                    <a:pt x="36" y="62"/>
                  </a:lnTo>
                  <a:lnTo>
                    <a:pt x="36" y="66"/>
                  </a:lnTo>
                  <a:lnTo>
                    <a:pt x="36" y="70"/>
                  </a:lnTo>
                  <a:lnTo>
                    <a:pt x="36" y="77"/>
                  </a:lnTo>
                  <a:lnTo>
                    <a:pt x="36" y="77"/>
                  </a:lnTo>
                  <a:lnTo>
                    <a:pt x="40" y="87"/>
                  </a:lnTo>
                  <a:lnTo>
                    <a:pt x="42" y="93"/>
                  </a:lnTo>
                  <a:lnTo>
                    <a:pt x="42" y="99"/>
                  </a:lnTo>
                  <a:lnTo>
                    <a:pt x="42" y="99"/>
                  </a:lnTo>
                  <a:lnTo>
                    <a:pt x="42" y="107"/>
                  </a:lnTo>
                  <a:lnTo>
                    <a:pt x="44" y="109"/>
                  </a:lnTo>
                  <a:lnTo>
                    <a:pt x="48" y="115"/>
                  </a:lnTo>
                  <a:lnTo>
                    <a:pt x="48" y="115"/>
                  </a:lnTo>
                  <a:lnTo>
                    <a:pt x="48" y="115"/>
                  </a:lnTo>
                  <a:lnTo>
                    <a:pt x="48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2" y="113"/>
                  </a:lnTo>
                  <a:lnTo>
                    <a:pt x="54" y="113"/>
                  </a:lnTo>
                  <a:lnTo>
                    <a:pt x="54" y="113"/>
                  </a:lnTo>
                  <a:lnTo>
                    <a:pt x="54" y="113"/>
                  </a:lnTo>
                  <a:lnTo>
                    <a:pt x="54" y="113"/>
                  </a:lnTo>
                  <a:lnTo>
                    <a:pt x="54" y="113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58" name="Freeform 17"/>
            <p:cNvSpPr>
              <a:spLocks/>
            </p:cNvSpPr>
            <p:nvPr/>
          </p:nvSpPr>
          <p:spPr bwMode="auto">
            <a:xfrm>
              <a:off x="1140" y="1944"/>
              <a:ext cx="133" cy="100"/>
            </a:xfrm>
            <a:custGeom>
              <a:avLst/>
              <a:gdLst>
                <a:gd name="T0" fmla="*/ 38 w 133"/>
                <a:gd name="T1" fmla="*/ 94 h 100"/>
                <a:gd name="T2" fmla="*/ 44 w 133"/>
                <a:gd name="T3" fmla="*/ 92 h 100"/>
                <a:gd name="T4" fmla="*/ 54 w 133"/>
                <a:gd name="T5" fmla="*/ 88 h 100"/>
                <a:gd name="T6" fmla="*/ 74 w 133"/>
                <a:gd name="T7" fmla="*/ 88 h 100"/>
                <a:gd name="T8" fmla="*/ 80 w 133"/>
                <a:gd name="T9" fmla="*/ 90 h 100"/>
                <a:gd name="T10" fmla="*/ 93 w 133"/>
                <a:gd name="T11" fmla="*/ 100 h 100"/>
                <a:gd name="T12" fmla="*/ 97 w 133"/>
                <a:gd name="T13" fmla="*/ 94 h 100"/>
                <a:gd name="T14" fmla="*/ 101 w 133"/>
                <a:gd name="T15" fmla="*/ 92 h 100"/>
                <a:gd name="T16" fmla="*/ 109 w 133"/>
                <a:gd name="T17" fmla="*/ 94 h 100"/>
                <a:gd name="T18" fmla="*/ 119 w 133"/>
                <a:gd name="T19" fmla="*/ 92 h 100"/>
                <a:gd name="T20" fmla="*/ 123 w 133"/>
                <a:gd name="T21" fmla="*/ 90 h 100"/>
                <a:gd name="T22" fmla="*/ 123 w 133"/>
                <a:gd name="T23" fmla="*/ 86 h 100"/>
                <a:gd name="T24" fmla="*/ 133 w 133"/>
                <a:gd name="T25" fmla="*/ 74 h 100"/>
                <a:gd name="T26" fmla="*/ 133 w 133"/>
                <a:gd name="T27" fmla="*/ 66 h 100"/>
                <a:gd name="T28" fmla="*/ 133 w 133"/>
                <a:gd name="T29" fmla="*/ 66 h 100"/>
                <a:gd name="T30" fmla="*/ 131 w 133"/>
                <a:gd name="T31" fmla="*/ 58 h 100"/>
                <a:gd name="T32" fmla="*/ 129 w 133"/>
                <a:gd name="T33" fmla="*/ 54 h 100"/>
                <a:gd name="T34" fmla="*/ 115 w 133"/>
                <a:gd name="T35" fmla="*/ 44 h 100"/>
                <a:gd name="T36" fmla="*/ 111 w 133"/>
                <a:gd name="T37" fmla="*/ 36 h 100"/>
                <a:gd name="T38" fmla="*/ 105 w 133"/>
                <a:gd name="T39" fmla="*/ 26 h 100"/>
                <a:gd name="T40" fmla="*/ 103 w 133"/>
                <a:gd name="T41" fmla="*/ 24 h 100"/>
                <a:gd name="T42" fmla="*/ 99 w 133"/>
                <a:gd name="T43" fmla="*/ 26 h 100"/>
                <a:gd name="T44" fmla="*/ 80 w 133"/>
                <a:gd name="T45" fmla="*/ 24 h 100"/>
                <a:gd name="T46" fmla="*/ 70 w 133"/>
                <a:gd name="T47" fmla="*/ 26 h 100"/>
                <a:gd name="T48" fmla="*/ 66 w 133"/>
                <a:gd name="T49" fmla="*/ 26 h 100"/>
                <a:gd name="T50" fmla="*/ 62 w 133"/>
                <a:gd name="T51" fmla="*/ 18 h 100"/>
                <a:gd name="T52" fmla="*/ 54 w 133"/>
                <a:gd name="T53" fmla="*/ 22 h 100"/>
                <a:gd name="T54" fmla="*/ 46 w 133"/>
                <a:gd name="T55" fmla="*/ 18 h 100"/>
                <a:gd name="T56" fmla="*/ 40 w 133"/>
                <a:gd name="T57" fmla="*/ 4 h 100"/>
                <a:gd name="T58" fmla="*/ 32 w 133"/>
                <a:gd name="T59" fmla="*/ 2 h 100"/>
                <a:gd name="T60" fmla="*/ 28 w 133"/>
                <a:gd name="T61" fmla="*/ 10 h 100"/>
                <a:gd name="T62" fmla="*/ 28 w 133"/>
                <a:gd name="T63" fmla="*/ 12 h 100"/>
                <a:gd name="T64" fmla="*/ 14 w 133"/>
                <a:gd name="T65" fmla="*/ 12 h 100"/>
                <a:gd name="T66" fmla="*/ 8 w 133"/>
                <a:gd name="T67" fmla="*/ 12 h 100"/>
                <a:gd name="T68" fmla="*/ 12 w 133"/>
                <a:gd name="T69" fmla="*/ 16 h 100"/>
                <a:gd name="T70" fmla="*/ 10 w 133"/>
                <a:gd name="T71" fmla="*/ 26 h 100"/>
                <a:gd name="T72" fmla="*/ 10 w 133"/>
                <a:gd name="T73" fmla="*/ 32 h 100"/>
                <a:gd name="T74" fmla="*/ 14 w 133"/>
                <a:gd name="T75" fmla="*/ 44 h 100"/>
                <a:gd name="T76" fmla="*/ 10 w 133"/>
                <a:gd name="T77" fmla="*/ 56 h 100"/>
                <a:gd name="T78" fmla="*/ 0 w 133"/>
                <a:gd name="T79" fmla="*/ 64 h 100"/>
                <a:gd name="T80" fmla="*/ 0 w 133"/>
                <a:gd name="T81" fmla="*/ 74 h 100"/>
                <a:gd name="T82" fmla="*/ 6 w 133"/>
                <a:gd name="T83" fmla="*/ 82 h 100"/>
                <a:gd name="T84" fmla="*/ 2 w 133"/>
                <a:gd name="T85" fmla="*/ 86 h 100"/>
                <a:gd name="T86" fmla="*/ 20 w 133"/>
                <a:gd name="T87" fmla="*/ 88 h 100"/>
                <a:gd name="T88" fmla="*/ 28 w 133"/>
                <a:gd name="T89" fmla="*/ 92 h 100"/>
                <a:gd name="T90" fmla="*/ 36 w 133"/>
                <a:gd name="T91" fmla="*/ 94 h 100"/>
                <a:gd name="T92" fmla="*/ 36 w 133"/>
                <a:gd name="T93" fmla="*/ 94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33" h="100">
                  <a:moveTo>
                    <a:pt x="36" y="94"/>
                  </a:moveTo>
                  <a:lnTo>
                    <a:pt x="36" y="94"/>
                  </a:lnTo>
                  <a:lnTo>
                    <a:pt x="38" y="94"/>
                  </a:lnTo>
                  <a:lnTo>
                    <a:pt x="38" y="94"/>
                  </a:lnTo>
                  <a:lnTo>
                    <a:pt x="42" y="94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6" y="88"/>
                  </a:lnTo>
                  <a:lnTo>
                    <a:pt x="54" y="88"/>
                  </a:lnTo>
                  <a:lnTo>
                    <a:pt x="54" y="88"/>
                  </a:lnTo>
                  <a:lnTo>
                    <a:pt x="66" y="88"/>
                  </a:lnTo>
                  <a:lnTo>
                    <a:pt x="74" y="88"/>
                  </a:lnTo>
                  <a:lnTo>
                    <a:pt x="78" y="88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87" y="96"/>
                  </a:lnTo>
                  <a:lnTo>
                    <a:pt x="89" y="100"/>
                  </a:lnTo>
                  <a:lnTo>
                    <a:pt x="93" y="100"/>
                  </a:lnTo>
                  <a:lnTo>
                    <a:pt x="93" y="100"/>
                  </a:lnTo>
                  <a:lnTo>
                    <a:pt x="93" y="96"/>
                  </a:lnTo>
                  <a:lnTo>
                    <a:pt x="97" y="94"/>
                  </a:lnTo>
                  <a:lnTo>
                    <a:pt x="99" y="92"/>
                  </a:lnTo>
                  <a:lnTo>
                    <a:pt x="101" y="92"/>
                  </a:lnTo>
                  <a:lnTo>
                    <a:pt x="101" y="92"/>
                  </a:lnTo>
                  <a:lnTo>
                    <a:pt x="103" y="92"/>
                  </a:lnTo>
                  <a:lnTo>
                    <a:pt x="105" y="94"/>
                  </a:lnTo>
                  <a:lnTo>
                    <a:pt x="109" y="94"/>
                  </a:lnTo>
                  <a:lnTo>
                    <a:pt x="111" y="94"/>
                  </a:lnTo>
                  <a:lnTo>
                    <a:pt x="111" y="94"/>
                  </a:lnTo>
                  <a:lnTo>
                    <a:pt x="119" y="92"/>
                  </a:lnTo>
                  <a:lnTo>
                    <a:pt x="125" y="92"/>
                  </a:lnTo>
                  <a:lnTo>
                    <a:pt x="125" y="92"/>
                  </a:lnTo>
                  <a:lnTo>
                    <a:pt x="123" y="90"/>
                  </a:lnTo>
                  <a:lnTo>
                    <a:pt x="123" y="90"/>
                  </a:lnTo>
                  <a:lnTo>
                    <a:pt x="123" y="88"/>
                  </a:lnTo>
                  <a:lnTo>
                    <a:pt x="123" y="86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3" y="74"/>
                  </a:lnTo>
                  <a:lnTo>
                    <a:pt x="133" y="72"/>
                  </a:lnTo>
                  <a:lnTo>
                    <a:pt x="133" y="66"/>
                  </a:lnTo>
                  <a:lnTo>
                    <a:pt x="133" y="66"/>
                  </a:lnTo>
                  <a:lnTo>
                    <a:pt x="133" y="66"/>
                  </a:lnTo>
                  <a:lnTo>
                    <a:pt x="133" y="66"/>
                  </a:lnTo>
                  <a:lnTo>
                    <a:pt x="133" y="66"/>
                  </a:lnTo>
                  <a:lnTo>
                    <a:pt x="131" y="64"/>
                  </a:lnTo>
                  <a:lnTo>
                    <a:pt x="131" y="64"/>
                  </a:lnTo>
                  <a:lnTo>
                    <a:pt x="131" y="58"/>
                  </a:lnTo>
                  <a:lnTo>
                    <a:pt x="131" y="56"/>
                  </a:lnTo>
                  <a:lnTo>
                    <a:pt x="131" y="54"/>
                  </a:lnTo>
                  <a:lnTo>
                    <a:pt x="129" y="54"/>
                  </a:lnTo>
                  <a:lnTo>
                    <a:pt x="129" y="54"/>
                  </a:lnTo>
                  <a:lnTo>
                    <a:pt x="121" y="48"/>
                  </a:lnTo>
                  <a:lnTo>
                    <a:pt x="115" y="44"/>
                  </a:lnTo>
                  <a:lnTo>
                    <a:pt x="113" y="40"/>
                  </a:lnTo>
                  <a:lnTo>
                    <a:pt x="113" y="40"/>
                  </a:lnTo>
                  <a:lnTo>
                    <a:pt x="111" y="36"/>
                  </a:lnTo>
                  <a:lnTo>
                    <a:pt x="107" y="32"/>
                  </a:lnTo>
                  <a:lnTo>
                    <a:pt x="107" y="32"/>
                  </a:lnTo>
                  <a:lnTo>
                    <a:pt x="105" y="26"/>
                  </a:lnTo>
                  <a:lnTo>
                    <a:pt x="105" y="22"/>
                  </a:lnTo>
                  <a:lnTo>
                    <a:pt x="105" y="22"/>
                  </a:lnTo>
                  <a:lnTo>
                    <a:pt x="103" y="24"/>
                  </a:lnTo>
                  <a:lnTo>
                    <a:pt x="103" y="24"/>
                  </a:lnTo>
                  <a:lnTo>
                    <a:pt x="103" y="26"/>
                  </a:lnTo>
                  <a:lnTo>
                    <a:pt x="99" y="26"/>
                  </a:lnTo>
                  <a:lnTo>
                    <a:pt x="89" y="26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78" y="24"/>
                  </a:lnTo>
                  <a:lnTo>
                    <a:pt x="76" y="26"/>
                  </a:lnTo>
                  <a:lnTo>
                    <a:pt x="70" y="26"/>
                  </a:lnTo>
                  <a:lnTo>
                    <a:pt x="70" y="26"/>
                  </a:lnTo>
                  <a:lnTo>
                    <a:pt x="68" y="26"/>
                  </a:lnTo>
                  <a:lnTo>
                    <a:pt x="66" y="26"/>
                  </a:lnTo>
                  <a:lnTo>
                    <a:pt x="62" y="20"/>
                  </a:lnTo>
                  <a:lnTo>
                    <a:pt x="62" y="20"/>
                  </a:lnTo>
                  <a:lnTo>
                    <a:pt x="62" y="18"/>
                  </a:lnTo>
                  <a:lnTo>
                    <a:pt x="60" y="18"/>
                  </a:lnTo>
                  <a:lnTo>
                    <a:pt x="54" y="22"/>
                  </a:lnTo>
                  <a:lnTo>
                    <a:pt x="54" y="22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46" y="18"/>
                  </a:lnTo>
                  <a:lnTo>
                    <a:pt x="46" y="18"/>
                  </a:lnTo>
                  <a:lnTo>
                    <a:pt x="44" y="8"/>
                  </a:lnTo>
                  <a:lnTo>
                    <a:pt x="40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2" y="2"/>
                  </a:lnTo>
                  <a:lnTo>
                    <a:pt x="32" y="4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2"/>
                  </a:lnTo>
                  <a:lnTo>
                    <a:pt x="22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0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0" y="14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4" y="18"/>
                  </a:lnTo>
                  <a:lnTo>
                    <a:pt x="14" y="22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32"/>
                  </a:lnTo>
                  <a:lnTo>
                    <a:pt x="10" y="36"/>
                  </a:lnTo>
                  <a:lnTo>
                    <a:pt x="14" y="40"/>
                  </a:lnTo>
                  <a:lnTo>
                    <a:pt x="14" y="44"/>
                  </a:lnTo>
                  <a:lnTo>
                    <a:pt x="14" y="44"/>
                  </a:lnTo>
                  <a:lnTo>
                    <a:pt x="14" y="50"/>
                  </a:lnTo>
                  <a:lnTo>
                    <a:pt x="10" y="56"/>
                  </a:lnTo>
                  <a:lnTo>
                    <a:pt x="6" y="60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70"/>
                  </a:lnTo>
                  <a:lnTo>
                    <a:pt x="0" y="72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6" y="82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12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2" y="88"/>
                  </a:lnTo>
                  <a:lnTo>
                    <a:pt x="28" y="92"/>
                  </a:lnTo>
                  <a:lnTo>
                    <a:pt x="34" y="94"/>
                  </a:lnTo>
                  <a:lnTo>
                    <a:pt x="36" y="94"/>
                  </a:lnTo>
                  <a:lnTo>
                    <a:pt x="36" y="94"/>
                  </a:lnTo>
                  <a:lnTo>
                    <a:pt x="36" y="94"/>
                  </a:lnTo>
                  <a:lnTo>
                    <a:pt x="36" y="94"/>
                  </a:lnTo>
                  <a:lnTo>
                    <a:pt x="36" y="94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59" name="Freeform 18"/>
            <p:cNvSpPr>
              <a:spLocks/>
            </p:cNvSpPr>
            <p:nvPr/>
          </p:nvSpPr>
          <p:spPr bwMode="auto">
            <a:xfrm>
              <a:off x="1198" y="2167"/>
              <a:ext cx="121" cy="128"/>
            </a:xfrm>
            <a:custGeom>
              <a:avLst/>
              <a:gdLst>
                <a:gd name="T0" fmla="*/ 95 w 121"/>
                <a:gd name="T1" fmla="*/ 112 h 128"/>
                <a:gd name="T2" fmla="*/ 95 w 121"/>
                <a:gd name="T3" fmla="*/ 108 h 128"/>
                <a:gd name="T4" fmla="*/ 99 w 121"/>
                <a:gd name="T5" fmla="*/ 72 h 128"/>
                <a:gd name="T6" fmla="*/ 103 w 121"/>
                <a:gd name="T7" fmla="*/ 60 h 128"/>
                <a:gd name="T8" fmla="*/ 109 w 121"/>
                <a:gd name="T9" fmla="*/ 54 h 128"/>
                <a:gd name="T10" fmla="*/ 107 w 121"/>
                <a:gd name="T11" fmla="*/ 48 h 128"/>
                <a:gd name="T12" fmla="*/ 113 w 121"/>
                <a:gd name="T13" fmla="*/ 42 h 128"/>
                <a:gd name="T14" fmla="*/ 117 w 121"/>
                <a:gd name="T15" fmla="*/ 36 h 128"/>
                <a:gd name="T16" fmla="*/ 121 w 121"/>
                <a:gd name="T17" fmla="*/ 38 h 128"/>
                <a:gd name="T18" fmla="*/ 115 w 121"/>
                <a:gd name="T19" fmla="*/ 30 h 128"/>
                <a:gd name="T20" fmla="*/ 103 w 121"/>
                <a:gd name="T21" fmla="*/ 20 h 128"/>
                <a:gd name="T22" fmla="*/ 99 w 121"/>
                <a:gd name="T23" fmla="*/ 20 h 128"/>
                <a:gd name="T24" fmla="*/ 91 w 121"/>
                <a:gd name="T25" fmla="*/ 24 h 128"/>
                <a:gd name="T26" fmla="*/ 89 w 121"/>
                <a:gd name="T27" fmla="*/ 24 h 128"/>
                <a:gd name="T28" fmla="*/ 85 w 121"/>
                <a:gd name="T29" fmla="*/ 22 h 128"/>
                <a:gd name="T30" fmla="*/ 85 w 121"/>
                <a:gd name="T31" fmla="*/ 16 h 128"/>
                <a:gd name="T32" fmla="*/ 85 w 121"/>
                <a:gd name="T33" fmla="*/ 14 h 128"/>
                <a:gd name="T34" fmla="*/ 79 w 121"/>
                <a:gd name="T35" fmla="*/ 8 h 128"/>
                <a:gd name="T36" fmla="*/ 73 w 121"/>
                <a:gd name="T37" fmla="*/ 4 h 128"/>
                <a:gd name="T38" fmla="*/ 63 w 121"/>
                <a:gd name="T39" fmla="*/ 2 h 128"/>
                <a:gd name="T40" fmla="*/ 53 w 121"/>
                <a:gd name="T41" fmla="*/ 0 h 128"/>
                <a:gd name="T42" fmla="*/ 31 w 121"/>
                <a:gd name="T43" fmla="*/ 16 h 128"/>
                <a:gd name="T44" fmla="*/ 22 w 121"/>
                <a:gd name="T45" fmla="*/ 22 h 128"/>
                <a:gd name="T46" fmla="*/ 20 w 121"/>
                <a:gd name="T47" fmla="*/ 30 h 128"/>
                <a:gd name="T48" fmla="*/ 18 w 121"/>
                <a:gd name="T49" fmla="*/ 46 h 128"/>
                <a:gd name="T50" fmla="*/ 18 w 121"/>
                <a:gd name="T51" fmla="*/ 50 h 128"/>
                <a:gd name="T52" fmla="*/ 18 w 121"/>
                <a:gd name="T53" fmla="*/ 56 h 128"/>
                <a:gd name="T54" fmla="*/ 16 w 121"/>
                <a:gd name="T55" fmla="*/ 56 h 128"/>
                <a:gd name="T56" fmla="*/ 2 w 121"/>
                <a:gd name="T57" fmla="*/ 64 h 128"/>
                <a:gd name="T58" fmla="*/ 6 w 121"/>
                <a:gd name="T59" fmla="*/ 72 h 128"/>
                <a:gd name="T60" fmla="*/ 8 w 121"/>
                <a:gd name="T61" fmla="*/ 86 h 128"/>
                <a:gd name="T62" fmla="*/ 12 w 121"/>
                <a:gd name="T63" fmla="*/ 94 h 128"/>
                <a:gd name="T64" fmla="*/ 18 w 121"/>
                <a:gd name="T65" fmla="*/ 100 h 128"/>
                <a:gd name="T66" fmla="*/ 20 w 121"/>
                <a:gd name="T67" fmla="*/ 108 h 128"/>
                <a:gd name="T68" fmla="*/ 22 w 121"/>
                <a:gd name="T69" fmla="*/ 114 h 128"/>
                <a:gd name="T70" fmla="*/ 26 w 121"/>
                <a:gd name="T71" fmla="*/ 118 h 128"/>
                <a:gd name="T72" fmla="*/ 28 w 121"/>
                <a:gd name="T73" fmla="*/ 122 h 128"/>
                <a:gd name="T74" fmla="*/ 31 w 121"/>
                <a:gd name="T75" fmla="*/ 124 h 128"/>
                <a:gd name="T76" fmla="*/ 39 w 121"/>
                <a:gd name="T77" fmla="*/ 128 h 128"/>
                <a:gd name="T78" fmla="*/ 47 w 121"/>
                <a:gd name="T79" fmla="*/ 124 h 128"/>
                <a:gd name="T80" fmla="*/ 65 w 121"/>
                <a:gd name="T81" fmla="*/ 116 h 128"/>
                <a:gd name="T82" fmla="*/ 73 w 121"/>
                <a:gd name="T83" fmla="*/ 114 h 128"/>
                <a:gd name="T84" fmla="*/ 79 w 121"/>
                <a:gd name="T85" fmla="*/ 114 h 128"/>
                <a:gd name="T86" fmla="*/ 89 w 121"/>
                <a:gd name="T87" fmla="*/ 110 h 128"/>
                <a:gd name="T88" fmla="*/ 91 w 121"/>
                <a:gd name="T89" fmla="*/ 110 h 128"/>
                <a:gd name="T90" fmla="*/ 95 w 121"/>
                <a:gd name="T91" fmla="*/ 112 h 128"/>
                <a:gd name="T92" fmla="*/ 95 w 121"/>
                <a:gd name="T93" fmla="*/ 112 h 128"/>
                <a:gd name="T94" fmla="*/ 95 w 121"/>
                <a:gd name="T95" fmla="*/ 112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1" h="128">
                  <a:moveTo>
                    <a:pt x="95" y="112"/>
                  </a:moveTo>
                  <a:lnTo>
                    <a:pt x="95" y="112"/>
                  </a:lnTo>
                  <a:lnTo>
                    <a:pt x="95" y="108"/>
                  </a:lnTo>
                  <a:lnTo>
                    <a:pt x="95" y="108"/>
                  </a:lnTo>
                  <a:lnTo>
                    <a:pt x="99" y="72"/>
                  </a:lnTo>
                  <a:lnTo>
                    <a:pt x="99" y="72"/>
                  </a:lnTo>
                  <a:lnTo>
                    <a:pt x="103" y="64"/>
                  </a:lnTo>
                  <a:lnTo>
                    <a:pt x="103" y="60"/>
                  </a:lnTo>
                  <a:lnTo>
                    <a:pt x="103" y="60"/>
                  </a:lnTo>
                  <a:lnTo>
                    <a:pt x="109" y="54"/>
                  </a:lnTo>
                  <a:lnTo>
                    <a:pt x="107" y="48"/>
                  </a:lnTo>
                  <a:lnTo>
                    <a:pt x="107" y="48"/>
                  </a:lnTo>
                  <a:lnTo>
                    <a:pt x="109" y="46"/>
                  </a:lnTo>
                  <a:lnTo>
                    <a:pt x="113" y="42"/>
                  </a:lnTo>
                  <a:lnTo>
                    <a:pt x="117" y="36"/>
                  </a:lnTo>
                  <a:lnTo>
                    <a:pt x="117" y="36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15" y="30"/>
                  </a:lnTo>
                  <a:lnTo>
                    <a:pt x="109" y="22"/>
                  </a:lnTo>
                  <a:lnTo>
                    <a:pt x="103" y="20"/>
                  </a:lnTo>
                  <a:lnTo>
                    <a:pt x="103" y="20"/>
                  </a:lnTo>
                  <a:lnTo>
                    <a:pt x="99" y="20"/>
                  </a:lnTo>
                  <a:lnTo>
                    <a:pt x="97" y="22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89" y="24"/>
                  </a:lnTo>
                  <a:lnTo>
                    <a:pt x="87" y="24"/>
                  </a:lnTo>
                  <a:lnTo>
                    <a:pt x="85" y="22"/>
                  </a:lnTo>
                  <a:lnTo>
                    <a:pt x="81" y="18"/>
                  </a:lnTo>
                  <a:lnTo>
                    <a:pt x="85" y="16"/>
                  </a:lnTo>
                  <a:lnTo>
                    <a:pt x="85" y="16"/>
                  </a:lnTo>
                  <a:lnTo>
                    <a:pt x="85" y="14"/>
                  </a:lnTo>
                  <a:lnTo>
                    <a:pt x="85" y="14"/>
                  </a:lnTo>
                  <a:lnTo>
                    <a:pt x="79" y="8"/>
                  </a:lnTo>
                  <a:lnTo>
                    <a:pt x="75" y="6"/>
                  </a:lnTo>
                  <a:lnTo>
                    <a:pt x="73" y="4"/>
                  </a:lnTo>
                  <a:lnTo>
                    <a:pt x="73" y="4"/>
                  </a:lnTo>
                  <a:lnTo>
                    <a:pt x="63" y="2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35" y="10"/>
                  </a:lnTo>
                  <a:lnTo>
                    <a:pt x="31" y="16"/>
                  </a:lnTo>
                  <a:lnTo>
                    <a:pt x="28" y="18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0" y="30"/>
                  </a:lnTo>
                  <a:lnTo>
                    <a:pt x="18" y="38"/>
                  </a:lnTo>
                  <a:lnTo>
                    <a:pt x="18" y="46"/>
                  </a:lnTo>
                  <a:lnTo>
                    <a:pt x="18" y="46"/>
                  </a:lnTo>
                  <a:lnTo>
                    <a:pt x="18" y="50"/>
                  </a:lnTo>
                  <a:lnTo>
                    <a:pt x="18" y="54"/>
                  </a:lnTo>
                  <a:lnTo>
                    <a:pt x="18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8" y="60"/>
                  </a:lnTo>
                  <a:lnTo>
                    <a:pt x="2" y="64"/>
                  </a:lnTo>
                  <a:lnTo>
                    <a:pt x="2" y="64"/>
                  </a:lnTo>
                  <a:lnTo>
                    <a:pt x="6" y="72"/>
                  </a:lnTo>
                  <a:lnTo>
                    <a:pt x="0" y="82"/>
                  </a:lnTo>
                  <a:lnTo>
                    <a:pt x="8" y="86"/>
                  </a:lnTo>
                  <a:lnTo>
                    <a:pt x="8" y="86"/>
                  </a:lnTo>
                  <a:lnTo>
                    <a:pt x="12" y="94"/>
                  </a:lnTo>
                  <a:lnTo>
                    <a:pt x="12" y="94"/>
                  </a:lnTo>
                  <a:lnTo>
                    <a:pt x="18" y="100"/>
                  </a:lnTo>
                  <a:lnTo>
                    <a:pt x="20" y="108"/>
                  </a:lnTo>
                  <a:lnTo>
                    <a:pt x="20" y="108"/>
                  </a:lnTo>
                  <a:lnTo>
                    <a:pt x="20" y="112"/>
                  </a:lnTo>
                  <a:lnTo>
                    <a:pt x="22" y="114"/>
                  </a:lnTo>
                  <a:lnTo>
                    <a:pt x="24" y="114"/>
                  </a:lnTo>
                  <a:lnTo>
                    <a:pt x="26" y="118"/>
                  </a:lnTo>
                  <a:lnTo>
                    <a:pt x="26" y="118"/>
                  </a:lnTo>
                  <a:lnTo>
                    <a:pt x="28" y="122"/>
                  </a:lnTo>
                  <a:lnTo>
                    <a:pt x="31" y="124"/>
                  </a:lnTo>
                  <a:lnTo>
                    <a:pt x="31" y="124"/>
                  </a:lnTo>
                  <a:lnTo>
                    <a:pt x="33" y="128"/>
                  </a:lnTo>
                  <a:lnTo>
                    <a:pt x="39" y="128"/>
                  </a:lnTo>
                  <a:lnTo>
                    <a:pt x="39" y="128"/>
                  </a:lnTo>
                  <a:lnTo>
                    <a:pt x="47" y="124"/>
                  </a:lnTo>
                  <a:lnTo>
                    <a:pt x="55" y="120"/>
                  </a:lnTo>
                  <a:lnTo>
                    <a:pt x="65" y="116"/>
                  </a:lnTo>
                  <a:lnTo>
                    <a:pt x="73" y="114"/>
                  </a:lnTo>
                  <a:lnTo>
                    <a:pt x="73" y="114"/>
                  </a:lnTo>
                  <a:lnTo>
                    <a:pt x="79" y="114"/>
                  </a:lnTo>
                  <a:lnTo>
                    <a:pt x="79" y="114"/>
                  </a:lnTo>
                  <a:lnTo>
                    <a:pt x="85" y="112"/>
                  </a:lnTo>
                  <a:lnTo>
                    <a:pt x="89" y="110"/>
                  </a:lnTo>
                  <a:lnTo>
                    <a:pt x="89" y="110"/>
                  </a:lnTo>
                  <a:lnTo>
                    <a:pt x="91" y="110"/>
                  </a:lnTo>
                  <a:lnTo>
                    <a:pt x="95" y="110"/>
                  </a:lnTo>
                  <a:lnTo>
                    <a:pt x="95" y="112"/>
                  </a:lnTo>
                  <a:lnTo>
                    <a:pt x="95" y="112"/>
                  </a:lnTo>
                  <a:lnTo>
                    <a:pt x="95" y="112"/>
                  </a:lnTo>
                  <a:lnTo>
                    <a:pt x="95" y="112"/>
                  </a:lnTo>
                  <a:lnTo>
                    <a:pt x="95" y="112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60" name="Freeform 19"/>
            <p:cNvSpPr>
              <a:spLocks/>
            </p:cNvSpPr>
            <p:nvPr/>
          </p:nvSpPr>
          <p:spPr bwMode="auto">
            <a:xfrm>
              <a:off x="1249" y="1719"/>
              <a:ext cx="178" cy="161"/>
            </a:xfrm>
            <a:custGeom>
              <a:avLst/>
              <a:gdLst>
                <a:gd name="T0" fmla="*/ 34 w 178"/>
                <a:gd name="T1" fmla="*/ 104 h 161"/>
                <a:gd name="T2" fmla="*/ 48 w 178"/>
                <a:gd name="T3" fmla="*/ 108 h 161"/>
                <a:gd name="T4" fmla="*/ 66 w 178"/>
                <a:gd name="T5" fmla="*/ 116 h 161"/>
                <a:gd name="T6" fmla="*/ 70 w 178"/>
                <a:gd name="T7" fmla="*/ 122 h 161"/>
                <a:gd name="T8" fmla="*/ 76 w 178"/>
                <a:gd name="T9" fmla="*/ 120 h 161"/>
                <a:gd name="T10" fmla="*/ 96 w 178"/>
                <a:gd name="T11" fmla="*/ 116 h 161"/>
                <a:gd name="T12" fmla="*/ 104 w 178"/>
                <a:gd name="T13" fmla="*/ 116 h 161"/>
                <a:gd name="T14" fmla="*/ 110 w 178"/>
                <a:gd name="T15" fmla="*/ 114 h 161"/>
                <a:gd name="T16" fmla="*/ 118 w 178"/>
                <a:gd name="T17" fmla="*/ 124 h 161"/>
                <a:gd name="T18" fmla="*/ 124 w 178"/>
                <a:gd name="T19" fmla="*/ 134 h 161"/>
                <a:gd name="T20" fmla="*/ 130 w 178"/>
                <a:gd name="T21" fmla="*/ 138 h 161"/>
                <a:gd name="T22" fmla="*/ 134 w 178"/>
                <a:gd name="T23" fmla="*/ 144 h 161"/>
                <a:gd name="T24" fmla="*/ 152 w 178"/>
                <a:gd name="T25" fmla="*/ 150 h 161"/>
                <a:gd name="T26" fmla="*/ 160 w 178"/>
                <a:gd name="T27" fmla="*/ 155 h 161"/>
                <a:gd name="T28" fmla="*/ 174 w 178"/>
                <a:gd name="T29" fmla="*/ 161 h 161"/>
                <a:gd name="T30" fmla="*/ 178 w 178"/>
                <a:gd name="T31" fmla="*/ 159 h 161"/>
                <a:gd name="T32" fmla="*/ 176 w 178"/>
                <a:gd name="T33" fmla="*/ 146 h 161"/>
                <a:gd name="T34" fmla="*/ 172 w 178"/>
                <a:gd name="T35" fmla="*/ 132 h 161"/>
                <a:gd name="T36" fmla="*/ 166 w 178"/>
                <a:gd name="T37" fmla="*/ 126 h 161"/>
                <a:gd name="T38" fmla="*/ 170 w 178"/>
                <a:gd name="T39" fmla="*/ 114 h 161"/>
                <a:gd name="T40" fmla="*/ 172 w 178"/>
                <a:gd name="T41" fmla="*/ 100 h 161"/>
                <a:gd name="T42" fmla="*/ 164 w 178"/>
                <a:gd name="T43" fmla="*/ 86 h 161"/>
                <a:gd name="T44" fmla="*/ 166 w 178"/>
                <a:gd name="T45" fmla="*/ 76 h 161"/>
                <a:gd name="T46" fmla="*/ 166 w 178"/>
                <a:gd name="T47" fmla="*/ 68 h 161"/>
                <a:gd name="T48" fmla="*/ 160 w 178"/>
                <a:gd name="T49" fmla="*/ 64 h 161"/>
                <a:gd name="T50" fmla="*/ 156 w 178"/>
                <a:gd name="T51" fmla="*/ 54 h 161"/>
                <a:gd name="T52" fmla="*/ 148 w 178"/>
                <a:gd name="T53" fmla="*/ 54 h 161"/>
                <a:gd name="T54" fmla="*/ 138 w 178"/>
                <a:gd name="T55" fmla="*/ 56 h 161"/>
                <a:gd name="T56" fmla="*/ 138 w 178"/>
                <a:gd name="T57" fmla="*/ 40 h 161"/>
                <a:gd name="T58" fmla="*/ 138 w 178"/>
                <a:gd name="T59" fmla="*/ 30 h 161"/>
                <a:gd name="T60" fmla="*/ 132 w 178"/>
                <a:gd name="T61" fmla="*/ 18 h 161"/>
                <a:gd name="T62" fmla="*/ 124 w 178"/>
                <a:gd name="T63" fmla="*/ 22 h 161"/>
                <a:gd name="T64" fmla="*/ 112 w 178"/>
                <a:gd name="T65" fmla="*/ 18 h 161"/>
                <a:gd name="T66" fmla="*/ 106 w 178"/>
                <a:gd name="T67" fmla="*/ 14 h 161"/>
                <a:gd name="T68" fmla="*/ 94 w 178"/>
                <a:gd name="T69" fmla="*/ 14 h 161"/>
                <a:gd name="T70" fmla="*/ 84 w 178"/>
                <a:gd name="T71" fmla="*/ 6 h 161"/>
                <a:gd name="T72" fmla="*/ 82 w 178"/>
                <a:gd name="T73" fmla="*/ 0 h 161"/>
                <a:gd name="T74" fmla="*/ 72 w 178"/>
                <a:gd name="T75" fmla="*/ 4 h 161"/>
                <a:gd name="T76" fmla="*/ 68 w 178"/>
                <a:gd name="T77" fmla="*/ 8 h 161"/>
                <a:gd name="T78" fmla="*/ 62 w 178"/>
                <a:gd name="T79" fmla="*/ 6 h 161"/>
                <a:gd name="T80" fmla="*/ 58 w 178"/>
                <a:gd name="T81" fmla="*/ 4 h 161"/>
                <a:gd name="T82" fmla="*/ 46 w 178"/>
                <a:gd name="T83" fmla="*/ 4 h 161"/>
                <a:gd name="T84" fmla="*/ 40 w 178"/>
                <a:gd name="T85" fmla="*/ 6 h 161"/>
                <a:gd name="T86" fmla="*/ 40 w 178"/>
                <a:gd name="T87" fmla="*/ 14 h 161"/>
                <a:gd name="T88" fmla="*/ 40 w 178"/>
                <a:gd name="T89" fmla="*/ 24 h 161"/>
                <a:gd name="T90" fmla="*/ 42 w 178"/>
                <a:gd name="T91" fmla="*/ 32 h 161"/>
                <a:gd name="T92" fmla="*/ 38 w 178"/>
                <a:gd name="T93" fmla="*/ 40 h 161"/>
                <a:gd name="T94" fmla="*/ 28 w 178"/>
                <a:gd name="T95" fmla="*/ 50 h 161"/>
                <a:gd name="T96" fmla="*/ 22 w 178"/>
                <a:gd name="T97" fmla="*/ 46 h 161"/>
                <a:gd name="T98" fmla="*/ 18 w 178"/>
                <a:gd name="T99" fmla="*/ 50 h 161"/>
                <a:gd name="T100" fmla="*/ 14 w 178"/>
                <a:gd name="T101" fmla="*/ 58 h 161"/>
                <a:gd name="T102" fmla="*/ 12 w 178"/>
                <a:gd name="T103" fmla="*/ 60 h 161"/>
                <a:gd name="T104" fmla="*/ 2 w 178"/>
                <a:gd name="T105" fmla="*/ 62 h 161"/>
                <a:gd name="T106" fmla="*/ 0 w 178"/>
                <a:gd name="T107" fmla="*/ 70 h 161"/>
                <a:gd name="T108" fmla="*/ 2 w 178"/>
                <a:gd name="T109" fmla="*/ 76 h 161"/>
                <a:gd name="T110" fmla="*/ 6 w 178"/>
                <a:gd name="T111" fmla="*/ 82 h 161"/>
                <a:gd name="T112" fmla="*/ 26 w 178"/>
                <a:gd name="T113" fmla="*/ 100 h 161"/>
                <a:gd name="T114" fmla="*/ 26 w 178"/>
                <a:gd name="T115" fmla="*/ 10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8" h="161">
                  <a:moveTo>
                    <a:pt x="26" y="100"/>
                  </a:moveTo>
                  <a:lnTo>
                    <a:pt x="26" y="100"/>
                  </a:lnTo>
                  <a:lnTo>
                    <a:pt x="34" y="104"/>
                  </a:lnTo>
                  <a:lnTo>
                    <a:pt x="38" y="106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56" y="112"/>
                  </a:lnTo>
                  <a:lnTo>
                    <a:pt x="60" y="112"/>
                  </a:lnTo>
                  <a:lnTo>
                    <a:pt x="66" y="116"/>
                  </a:lnTo>
                  <a:lnTo>
                    <a:pt x="66" y="116"/>
                  </a:lnTo>
                  <a:lnTo>
                    <a:pt x="68" y="122"/>
                  </a:lnTo>
                  <a:lnTo>
                    <a:pt x="70" y="122"/>
                  </a:lnTo>
                  <a:lnTo>
                    <a:pt x="74" y="122"/>
                  </a:lnTo>
                  <a:lnTo>
                    <a:pt x="76" y="120"/>
                  </a:lnTo>
                  <a:lnTo>
                    <a:pt x="76" y="120"/>
                  </a:lnTo>
                  <a:lnTo>
                    <a:pt x="84" y="116"/>
                  </a:lnTo>
                  <a:lnTo>
                    <a:pt x="88" y="116"/>
                  </a:lnTo>
                  <a:lnTo>
                    <a:pt x="96" y="116"/>
                  </a:lnTo>
                  <a:lnTo>
                    <a:pt x="96" y="116"/>
                  </a:lnTo>
                  <a:lnTo>
                    <a:pt x="102" y="116"/>
                  </a:lnTo>
                  <a:lnTo>
                    <a:pt x="104" y="116"/>
                  </a:lnTo>
                  <a:lnTo>
                    <a:pt x="106" y="114"/>
                  </a:lnTo>
                  <a:lnTo>
                    <a:pt x="110" y="114"/>
                  </a:lnTo>
                  <a:lnTo>
                    <a:pt x="110" y="114"/>
                  </a:lnTo>
                  <a:lnTo>
                    <a:pt x="114" y="116"/>
                  </a:lnTo>
                  <a:lnTo>
                    <a:pt x="116" y="116"/>
                  </a:lnTo>
                  <a:lnTo>
                    <a:pt x="118" y="124"/>
                  </a:lnTo>
                  <a:lnTo>
                    <a:pt x="118" y="124"/>
                  </a:lnTo>
                  <a:lnTo>
                    <a:pt x="120" y="132"/>
                  </a:lnTo>
                  <a:lnTo>
                    <a:pt x="124" y="134"/>
                  </a:lnTo>
                  <a:lnTo>
                    <a:pt x="126" y="138"/>
                  </a:lnTo>
                  <a:lnTo>
                    <a:pt x="126" y="138"/>
                  </a:lnTo>
                  <a:lnTo>
                    <a:pt x="130" y="138"/>
                  </a:lnTo>
                  <a:lnTo>
                    <a:pt x="132" y="142"/>
                  </a:lnTo>
                  <a:lnTo>
                    <a:pt x="134" y="144"/>
                  </a:lnTo>
                  <a:lnTo>
                    <a:pt x="134" y="144"/>
                  </a:lnTo>
                  <a:lnTo>
                    <a:pt x="138" y="146"/>
                  </a:lnTo>
                  <a:lnTo>
                    <a:pt x="142" y="148"/>
                  </a:lnTo>
                  <a:lnTo>
                    <a:pt x="152" y="150"/>
                  </a:lnTo>
                  <a:lnTo>
                    <a:pt x="152" y="150"/>
                  </a:lnTo>
                  <a:lnTo>
                    <a:pt x="156" y="152"/>
                  </a:lnTo>
                  <a:lnTo>
                    <a:pt x="160" y="155"/>
                  </a:lnTo>
                  <a:lnTo>
                    <a:pt x="170" y="159"/>
                  </a:lnTo>
                  <a:lnTo>
                    <a:pt x="170" y="159"/>
                  </a:lnTo>
                  <a:lnTo>
                    <a:pt x="174" y="161"/>
                  </a:lnTo>
                  <a:lnTo>
                    <a:pt x="174" y="161"/>
                  </a:lnTo>
                  <a:lnTo>
                    <a:pt x="176" y="159"/>
                  </a:lnTo>
                  <a:lnTo>
                    <a:pt x="178" y="159"/>
                  </a:lnTo>
                  <a:lnTo>
                    <a:pt x="178" y="155"/>
                  </a:lnTo>
                  <a:lnTo>
                    <a:pt x="176" y="146"/>
                  </a:lnTo>
                  <a:lnTo>
                    <a:pt x="176" y="146"/>
                  </a:lnTo>
                  <a:lnTo>
                    <a:pt x="176" y="138"/>
                  </a:lnTo>
                  <a:lnTo>
                    <a:pt x="172" y="132"/>
                  </a:lnTo>
                  <a:lnTo>
                    <a:pt x="172" y="132"/>
                  </a:lnTo>
                  <a:lnTo>
                    <a:pt x="170" y="130"/>
                  </a:lnTo>
                  <a:lnTo>
                    <a:pt x="170" y="130"/>
                  </a:lnTo>
                  <a:lnTo>
                    <a:pt x="166" y="126"/>
                  </a:lnTo>
                  <a:lnTo>
                    <a:pt x="166" y="122"/>
                  </a:lnTo>
                  <a:lnTo>
                    <a:pt x="166" y="122"/>
                  </a:lnTo>
                  <a:lnTo>
                    <a:pt x="170" y="114"/>
                  </a:lnTo>
                  <a:lnTo>
                    <a:pt x="174" y="108"/>
                  </a:lnTo>
                  <a:lnTo>
                    <a:pt x="174" y="108"/>
                  </a:lnTo>
                  <a:lnTo>
                    <a:pt x="172" y="100"/>
                  </a:lnTo>
                  <a:lnTo>
                    <a:pt x="170" y="90"/>
                  </a:lnTo>
                  <a:lnTo>
                    <a:pt x="164" y="86"/>
                  </a:lnTo>
                  <a:lnTo>
                    <a:pt x="164" y="86"/>
                  </a:lnTo>
                  <a:lnTo>
                    <a:pt x="162" y="84"/>
                  </a:lnTo>
                  <a:lnTo>
                    <a:pt x="164" y="82"/>
                  </a:lnTo>
                  <a:lnTo>
                    <a:pt x="166" y="76"/>
                  </a:lnTo>
                  <a:lnTo>
                    <a:pt x="166" y="76"/>
                  </a:lnTo>
                  <a:lnTo>
                    <a:pt x="166" y="70"/>
                  </a:lnTo>
                  <a:lnTo>
                    <a:pt x="166" y="68"/>
                  </a:lnTo>
                  <a:lnTo>
                    <a:pt x="164" y="66"/>
                  </a:lnTo>
                  <a:lnTo>
                    <a:pt x="160" y="64"/>
                  </a:lnTo>
                  <a:lnTo>
                    <a:pt x="160" y="64"/>
                  </a:lnTo>
                  <a:lnTo>
                    <a:pt x="160" y="62"/>
                  </a:lnTo>
                  <a:lnTo>
                    <a:pt x="158" y="58"/>
                  </a:lnTo>
                  <a:lnTo>
                    <a:pt x="156" y="54"/>
                  </a:lnTo>
                  <a:lnTo>
                    <a:pt x="154" y="52"/>
                  </a:lnTo>
                  <a:lnTo>
                    <a:pt x="154" y="52"/>
                  </a:lnTo>
                  <a:lnTo>
                    <a:pt x="148" y="54"/>
                  </a:lnTo>
                  <a:lnTo>
                    <a:pt x="140" y="56"/>
                  </a:lnTo>
                  <a:lnTo>
                    <a:pt x="140" y="56"/>
                  </a:lnTo>
                  <a:lnTo>
                    <a:pt x="138" y="56"/>
                  </a:lnTo>
                  <a:lnTo>
                    <a:pt x="138" y="54"/>
                  </a:lnTo>
                  <a:lnTo>
                    <a:pt x="138" y="52"/>
                  </a:lnTo>
                  <a:lnTo>
                    <a:pt x="138" y="40"/>
                  </a:lnTo>
                  <a:lnTo>
                    <a:pt x="138" y="40"/>
                  </a:lnTo>
                  <a:lnTo>
                    <a:pt x="138" y="36"/>
                  </a:lnTo>
                  <a:lnTo>
                    <a:pt x="138" y="30"/>
                  </a:lnTo>
                  <a:lnTo>
                    <a:pt x="134" y="20"/>
                  </a:lnTo>
                  <a:lnTo>
                    <a:pt x="134" y="20"/>
                  </a:lnTo>
                  <a:lnTo>
                    <a:pt x="132" y="18"/>
                  </a:lnTo>
                  <a:lnTo>
                    <a:pt x="130" y="18"/>
                  </a:lnTo>
                  <a:lnTo>
                    <a:pt x="124" y="22"/>
                  </a:lnTo>
                  <a:lnTo>
                    <a:pt x="124" y="22"/>
                  </a:lnTo>
                  <a:lnTo>
                    <a:pt x="120" y="24"/>
                  </a:lnTo>
                  <a:lnTo>
                    <a:pt x="116" y="22"/>
                  </a:lnTo>
                  <a:lnTo>
                    <a:pt x="112" y="18"/>
                  </a:lnTo>
                  <a:lnTo>
                    <a:pt x="112" y="18"/>
                  </a:lnTo>
                  <a:lnTo>
                    <a:pt x="110" y="16"/>
                  </a:lnTo>
                  <a:lnTo>
                    <a:pt x="106" y="14"/>
                  </a:lnTo>
                  <a:lnTo>
                    <a:pt x="98" y="14"/>
                  </a:lnTo>
                  <a:lnTo>
                    <a:pt x="94" y="14"/>
                  </a:lnTo>
                  <a:lnTo>
                    <a:pt x="94" y="14"/>
                  </a:lnTo>
                  <a:lnTo>
                    <a:pt x="90" y="14"/>
                  </a:lnTo>
                  <a:lnTo>
                    <a:pt x="86" y="10"/>
                  </a:lnTo>
                  <a:lnTo>
                    <a:pt x="84" y="6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2" y="0"/>
                  </a:lnTo>
                  <a:lnTo>
                    <a:pt x="80" y="0"/>
                  </a:lnTo>
                  <a:lnTo>
                    <a:pt x="74" y="0"/>
                  </a:lnTo>
                  <a:lnTo>
                    <a:pt x="72" y="4"/>
                  </a:lnTo>
                  <a:lnTo>
                    <a:pt x="68" y="6"/>
                  </a:lnTo>
                  <a:lnTo>
                    <a:pt x="68" y="6"/>
                  </a:lnTo>
                  <a:lnTo>
                    <a:pt x="68" y="8"/>
                  </a:lnTo>
                  <a:lnTo>
                    <a:pt x="66" y="8"/>
                  </a:lnTo>
                  <a:lnTo>
                    <a:pt x="64" y="6"/>
                  </a:lnTo>
                  <a:lnTo>
                    <a:pt x="62" y="6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52" y="4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2" y="4"/>
                  </a:lnTo>
                  <a:lnTo>
                    <a:pt x="40" y="6"/>
                  </a:lnTo>
                  <a:lnTo>
                    <a:pt x="40" y="10"/>
                  </a:lnTo>
                  <a:lnTo>
                    <a:pt x="40" y="10"/>
                  </a:lnTo>
                  <a:lnTo>
                    <a:pt x="40" y="14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6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4" y="44"/>
                  </a:lnTo>
                  <a:lnTo>
                    <a:pt x="28" y="50"/>
                  </a:lnTo>
                  <a:lnTo>
                    <a:pt x="28" y="50"/>
                  </a:lnTo>
                  <a:lnTo>
                    <a:pt x="24" y="50"/>
                  </a:lnTo>
                  <a:lnTo>
                    <a:pt x="24" y="50"/>
                  </a:lnTo>
                  <a:lnTo>
                    <a:pt x="22" y="46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18" y="50"/>
                  </a:lnTo>
                  <a:lnTo>
                    <a:pt x="14" y="52"/>
                  </a:lnTo>
                  <a:lnTo>
                    <a:pt x="14" y="54"/>
                  </a:lnTo>
                  <a:lnTo>
                    <a:pt x="14" y="58"/>
                  </a:lnTo>
                  <a:lnTo>
                    <a:pt x="14" y="58"/>
                  </a:lnTo>
                  <a:lnTo>
                    <a:pt x="14" y="60"/>
                  </a:lnTo>
                  <a:lnTo>
                    <a:pt x="12" y="60"/>
                  </a:lnTo>
                  <a:lnTo>
                    <a:pt x="6" y="60"/>
                  </a:lnTo>
                  <a:lnTo>
                    <a:pt x="2" y="62"/>
                  </a:lnTo>
                  <a:lnTo>
                    <a:pt x="2" y="62"/>
                  </a:lnTo>
                  <a:lnTo>
                    <a:pt x="2" y="64"/>
                  </a:lnTo>
                  <a:lnTo>
                    <a:pt x="0" y="66"/>
                  </a:lnTo>
                  <a:lnTo>
                    <a:pt x="0" y="70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6" y="82"/>
                  </a:lnTo>
                  <a:lnTo>
                    <a:pt x="6" y="82"/>
                  </a:lnTo>
                  <a:lnTo>
                    <a:pt x="10" y="86"/>
                  </a:lnTo>
                  <a:lnTo>
                    <a:pt x="14" y="88"/>
                  </a:lnTo>
                  <a:lnTo>
                    <a:pt x="26" y="100"/>
                  </a:lnTo>
                  <a:lnTo>
                    <a:pt x="26" y="100"/>
                  </a:lnTo>
                  <a:lnTo>
                    <a:pt x="26" y="100"/>
                  </a:lnTo>
                  <a:lnTo>
                    <a:pt x="26" y="100"/>
                  </a:lnTo>
                  <a:lnTo>
                    <a:pt x="26" y="10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61" name="Freeform 20"/>
            <p:cNvSpPr>
              <a:spLocks/>
            </p:cNvSpPr>
            <p:nvPr/>
          </p:nvSpPr>
          <p:spPr bwMode="auto">
            <a:xfrm>
              <a:off x="1456" y="2215"/>
              <a:ext cx="96" cy="86"/>
            </a:xfrm>
            <a:custGeom>
              <a:avLst/>
              <a:gdLst>
                <a:gd name="T0" fmla="*/ 92 w 96"/>
                <a:gd name="T1" fmla="*/ 42 h 86"/>
                <a:gd name="T2" fmla="*/ 92 w 96"/>
                <a:gd name="T3" fmla="*/ 34 h 86"/>
                <a:gd name="T4" fmla="*/ 92 w 96"/>
                <a:gd name="T5" fmla="*/ 28 h 86"/>
                <a:gd name="T6" fmla="*/ 88 w 96"/>
                <a:gd name="T7" fmla="*/ 24 h 86"/>
                <a:gd name="T8" fmla="*/ 88 w 96"/>
                <a:gd name="T9" fmla="*/ 18 h 86"/>
                <a:gd name="T10" fmla="*/ 90 w 96"/>
                <a:gd name="T11" fmla="*/ 16 h 86"/>
                <a:gd name="T12" fmla="*/ 86 w 96"/>
                <a:gd name="T13" fmla="*/ 12 h 86"/>
                <a:gd name="T14" fmla="*/ 80 w 96"/>
                <a:gd name="T15" fmla="*/ 8 h 86"/>
                <a:gd name="T16" fmla="*/ 68 w 96"/>
                <a:gd name="T17" fmla="*/ 6 h 86"/>
                <a:gd name="T18" fmla="*/ 62 w 96"/>
                <a:gd name="T19" fmla="*/ 4 h 86"/>
                <a:gd name="T20" fmla="*/ 54 w 96"/>
                <a:gd name="T21" fmla="*/ 0 h 86"/>
                <a:gd name="T22" fmla="*/ 48 w 96"/>
                <a:gd name="T23" fmla="*/ 4 h 86"/>
                <a:gd name="T24" fmla="*/ 42 w 96"/>
                <a:gd name="T25" fmla="*/ 6 h 86"/>
                <a:gd name="T26" fmla="*/ 34 w 96"/>
                <a:gd name="T27" fmla="*/ 8 h 86"/>
                <a:gd name="T28" fmla="*/ 32 w 96"/>
                <a:gd name="T29" fmla="*/ 12 h 86"/>
                <a:gd name="T30" fmla="*/ 28 w 96"/>
                <a:gd name="T31" fmla="*/ 20 h 86"/>
                <a:gd name="T32" fmla="*/ 32 w 96"/>
                <a:gd name="T33" fmla="*/ 26 h 86"/>
                <a:gd name="T34" fmla="*/ 32 w 96"/>
                <a:gd name="T35" fmla="*/ 28 h 86"/>
                <a:gd name="T36" fmla="*/ 32 w 96"/>
                <a:gd name="T37" fmla="*/ 28 h 86"/>
                <a:gd name="T38" fmla="*/ 22 w 96"/>
                <a:gd name="T39" fmla="*/ 30 h 86"/>
                <a:gd name="T40" fmla="*/ 20 w 96"/>
                <a:gd name="T41" fmla="*/ 30 h 86"/>
                <a:gd name="T42" fmla="*/ 16 w 96"/>
                <a:gd name="T43" fmla="*/ 30 h 86"/>
                <a:gd name="T44" fmla="*/ 12 w 96"/>
                <a:gd name="T45" fmla="*/ 34 h 86"/>
                <a:gd name="T46" fmla="*/ 8 w 96"/>
                <a:gd name="T47" fmla="*/ 46 h 86"/>
                <a:gd name="T48" fmla="*/ 0 w 96"/>
                <a:gd name="T49" fmla="*/ 64 h 86"/>
                <a:gd name="T50" fmla="*/ 18 w 96"/>
                <a:gd name="T51" fmla="*/ 86 h 86"/>
                <a:gd name="T52" fmla="*/ 32 w 96"/>
                <a:gd name="T53" fmla="*/ 80 h 86"/>
                <a:gd name="T54" fmla="*/ 58 w 96"/>
                <a:gd name="T55" fmla="*/ 82 h 86"/>
                <a:gd name="T56" fmla="*/ 66 w 96"/>
                <a:gd name="T57" fmla="*/ 64 h 86"/>
                <a:gd name="T58" fmla="*/ 88 w 96"/>
                <a:gd name="T59" fmla="*/ 58 h 86"/>
                <a:gd name="T60" fmla="*/ 96 w 96"/>
                <a:gd name="T61" fmla="*/ 60 h 86"/>
                <a:gd name="T62" fmla="*/ 94 w 96"/>
                <a:gd name="T63" fmla="*/ 52 h 86"/>
                <a:gd name="T64" fmla="*/ 92 w 96"/>
                <a:gd name="T65" fmla="*/ 44 h 86"/>
                <a:gd name="T66" fmla="*/ 92 w 96"/>
                <a:gd name="T67" fmla="*/ 42 h 86"/>
                <a:gd name="T68" fmla="*/ 92 w 96"/>
                <a:gd name="T69" fmla="*/ 42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6" h="86">
                  <a:moveTo>
                    <a:pt x="92" y="42"/>
                  </a:moveTo>
                  <a:lnTo>
                    <a:pt x="92" y="42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90" y="26"/>
                  </a:lnTo>
                  <a:lnTo>
                    <a:pt x="88" y="24"/>
                  </a:lnTo>
                  <a:lnTo>
                    <a:pt x="88" y="20"/>
                  </a:lnTo>
                  <a:lnTo>
                    <a:pt x="88" y="18"/>
                  </a:lnTo>
                  <a:lnTo>
                    <a:pt x="88" y="18"/>
                  </a:lnTo>
                  <a:lnTo>
                    <a:pt x="90" y="16"/>
                  </a:lnTo>
                  <a:lnTo>
                    <a:pt x="88" y="16"/>
                  </a:lnTo>
                  <a:lnTo>
                    <a:pt x="86" y="12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74" y="8"/>
                  </a:lnTo>
                  <a:lnTo>
                    <a:pt x="68" y="6"/>
                  </a:lnTo>
                  <a:lnTo>
                    <a:pt x="68" y="6"/>
                  </a:lnTo>
                  <a:lnTo>
                    <a:pt x="62" y="4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0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2" y="6"/>
                  </a:lnTo>
                  <a:lnTo>
                    <a:pt x="38" y="6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2" y="12"/>
                  </a:lnTo>
                  <a:lnTo>
                    <a:pt x="28" y="14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32" y="26"/>
                  </a:lnTo>
                  <a:lnTo>
                    <a:pt x="34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26" y="28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2" y="34"/>
                  </a:lnTo>
                  <a:lnTo>
                    <a:pt x="10" y="36"/>
                  </a:lnTo>
                  <a:lnTo>
                    <a:pt x="8" y="4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4" y="66"/>
                  </a:lnTo>
                  <a:lnTo>
                    <a:pt x="18" y="86"/>
                  </a:lnTo>
                  <a:lnTo>
                    <a:pt x="20" y="84"/>
                  </a:lnTo>
                  <a:lnTo>
                    <a:pt x="32" y="80"/>
                  </a:lnTo>
                  <a:lnTo>
                    <a:pt x="38" y="86"/>
                  </a:lnTo>
                  <a:lnTo>
                    <a:pt x="58" y="82"/>
                  </a:lnTo>
                  <a:lnTo>
                    <a:pt x="50" y="66"/>
                  </a:lnTo>
                  <a:lnTo>
                    <a:pt x="66" y="64"/>
                  </a:lnTo>
                  <a:lnTo>
                    <a:pt x="88" y="58"/>
                  </a:lnTo>
                  <a:lnTo>
                    <a:pt x="88" y="58"/>
                  </a:lnTo>
                  <a:lnTo>
                    <a:pt x="96" y="60"/>
                  </a:lnTo>
                  <a:lnTo>
                    <a:pt x="96" y="60"/>
                  </a:lnTo>
                  <a:lnTo>
                    <a:pt x="94" y="52"/>
                  </a:lnTo>
                  <a:lnTo>
                    <a:pt x="94" y="52"/>
                  </a:lnTo>
                  <a:lnTo>
                    <a:pt x="92" y="48"/>
                  </a:lnTo>
                  <a:lnTo>
                    <a:pt x="92" y="44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42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62" name="Freeform 21"/>
            <p:cNvSpPr>
              <a:spLocks/>
            </p:cNvSpPr>
            <p:nvPr/>
          </p:nvSpPr>
          <p:spPr bwMode="auto">
            <a:xfrm>
              <a:off x="1391" y="2014"/>
              <a:ext cx="113" cy="103"/>
            </a:xfrm>
            <a:custGeom>
              <a:avLst/>
              <a:gdLst>
                <a:gd name="T0" fmla="*/ 61 w 113"/>
                <a:gd name="T1" fmla="*/ 103 h 103"/>
                <a:gd name="T2" fmla="*/ 65 w 113"/>
                <a:gd name="T3" fmla="*/ 103 h 103"/>
                <a:gd name="T4" fmla="*/ 69 w 113"/>
                <a:gd name="T5" fmla="*/ 99 h 103"/>
                <a:gd name="T6" fmla="*/ 73 w 113"/>
                <a:gd name="T7" fmla="*/ 93 h 103"/>
                <a:gd name="T8" fmla="*/ 79 w 113"/>
                <a:gd name="T9" fmla="*/ 91 h 103"/>
                <a:gd name="T10" fmla="*/ 85 w 113"/>
                <a:gd name="T11" fmla="*/ 91 h 103"/>
                <a:gd name="T12" fmla="*/ 91 w 113"/>
                <a:gd name="T13" fmla="*/ 90 h 103"/>
                <a:gd name="T14" fmla="*/ 103 w 113"/>
                <a:gd name="T15" fmla="*/ 72 h 103"/>
                <a:gd name="T16" fmla="*/ 103 w 113"/>
                <a:gd name="T17" fmla="*/ 70 h 103"/>
                <a:gd name="T18" fmla="*/ 107 w 113"/>
                <a:gd name="T19" fmla="*/ 64 h 103"/>
                <a:gd name="T20" fmla="*/ 113 w 113"/>
                <a:gd name="T21" fmla="*/ 60 h 103"/>
                <a:gd name="T22" fmla="*/ 113 w 113"/>
                <a:gd name="T23" fmla="*/ 56 h 103"/>
                <a:gd name="T24" fmla="*/ 107 w 113"/>
                <a:gd name="T25" fmla="*/ 52 h 103"/>
                <a:gd name="T26" fmla="*/ 103 w 113"/>
                <a:gd name="T27" fmla="*/ 46 h 103"/>
                <a:gd name="T28" fmla="*/ 99 w 113"/>
                <a:gd name="T29" fmla="*/ 44 h 103"/>
                <a:gd name="T30" fmla="*/ 91 w 113"/>
                <a:gd name="T31" fmla="*/ 30 h 103"/>
                <a:gd name="T32" fmla="*/ 91 w 113"/>
                <a:gd name="T33" fmla="*/ 30 h 103"/>
                <a:gd name="T34" fmla="*/ 87 w 113"/>
                <a:gd name="T35" fmla="*/ 30 h 103"/>
                <a:gd name="T36" fmla="*/ 77 w 113"/>
                <a:gd name="T37" fmla="*/ 36 h 103"/>
                <a:gd name="T38" fmla="*/ 75 w 113"/>
                <a:gd name="T39" fmla="*/ 34 h 103"/>
                <a:gd name="T40" fmla="*/ 63 w 113"/>
                <a:gd name="T41" fmla="*/ 26 h 103"/>
                <a:gd name="T42" fmla="*/ 56 w 113"/>
                <a:gd name="T43" fmla="*/ 18 h 103"/>
                <a:gd name="T44" fmla="*/ 54 w 113"/>
                <a:gd name="T45" fmla="*/ 16 h 103"/>
                <a:gd name="T46" fmla="*/ 52 w 113"/>
                <a:gd name="T47" fmla="*/ 12 h 103"/>
                <a:gd name="T48" fmla="*/ 44 w 113"/>
                <a:gd name="T49" fmla="*/ 12 h 103"/>
                <a:gd name="T50" fmla="*/ 36 w 113"/>
                <a:gd name="T51" fmla="*/ 10 h 103"/>
                <a:gd name="T52" fmla="*/ 24 w 113"/>
                <a:gd name="T53" fmla="*/ 0 h 103"/>
                <a:gd name="T54" fmla="*/ 20 w 113"/>
                <a:gd name="T55" fmla="*/ 0 h 103"/>
                <a:gd name="T56" fmla="*/ 8 w 113"/>
                <a:gd name="T57" fmla="*/ 4 h 103"/>
                <a:gd name="T58" fmla="*/ 10 w 113"/>
                <a:gd name="T59" fmla="*/ 12 h 103"/>
                <a:gd name="T60" fmla="*/ 14 w 113"/>
                <a:gd name="T61" fmla="*/ 16 h 103"/>
                <a:gd name="T62" fmla="*/ 14 w 113"/>
                <a:gd name="T63" fmla="*/ 22 h 103"/>
                <a:gd name="T64" fmla="*/ 6 w 113"/>
                <a:gd name="T65" fmla="*/ 30 h 103"/>
                <a:gd name="T66" fmla="*/ 0 w 113"/>
                <a:gd name="T67" fmla="*/ 34 h 103"/>
                <a:gd name="T68" fmla="*/ 2 w 113"/>
                <a:gd name="T69" fmla="*/ 38 h 103"/>
                <a:gd name="T70" fmla="*/ 10 w 113"/>
                <a:gd name="T71" fmla="*/ 40 h 103"/>
                <a:gd name="T72" fmla="*/ 14 w 113"/>
                <a:gd name="T73" fmla="*/ 42 h 103"/>
                <a:gd name="T74" fmla="*/ 22 w 113"/>
                <a:gd name="T75" fmla="*/ 46 h 103"/>
                <a:gd name="T76" fmla="*/ 24 w 113"/>
                <a:gd name="T77" fmla="*/ 52 h 103"/>
                <a:gd name="T78" fmla="*/ 30 w 113"/>
                <a:gd name="T79" fmla="*/ 64 h 103"/>
                <a:gd name="T80" fmla="*/ 38 w 113"/>
                <a:gd name="T81" fmla="*/ 76 h 103"/>
                <a:gd name="T82" fmla="*/ 42 w 113"/>
                <a:gd name="T83" fmla="*/ 82 h 103"/>
                <a:gd name="T84" fmla="*/ 42 w 113"/>
                <a:gd name="T85" fmla="*/ 86 h 103"/>
                <a:gd name="T86" fmla="*/ 42 w 113"/>
                <a:gd name="T87" fmla="*/ 90 h 103"/>
                <a:gd name="T88" fmla="*/ 52 w 113"/>
                <a:gd name="T89" fmla="*/ 91 h 103"/>
                <a:gd name="T90" fmla="*/ 54 w 113"/>
                <a:gd name="T91" fmla="*/ 93 h 103"/>
                <a:gd name="T92" fmla="*/ 59 w 113"/>
                <a:gd name="T93" fmla="*/ 103 h 103"/>
                <a:gd name="T94" fmla="*/ 61 w 113"/>
                <a:gd name="T95" fmla="*/ 103 h 103"/>
                <a:gd name="T96" fmla="*/ 61 w 113"/>
                <a:gd name="T97" fmla="*/ 103 h 103"/>
                <a:gd name="T98" fmla="*/ 61 w 113"/>
                <a:gd name="T99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3" h="103">
                  <a:moveTo>
                    <a:pt x="61" y="103"/>
                  </a:moveTo>
                  <a:lnTo>
                    <a:pt x="61" y="103"/>
                  </a:lnTo>
                  <a:lnTo>
                    <a:pt x="63" y="103"/>
                  </a:lnTo>
                  <a:lnTo>
                    <a:pt x="65" y="103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73" y="97"/>
                  </a:lnTo>
                  <a:lnTo>
                    <a:pt x="73" y="93"/>
                  </a:lnTo>
                  <a:lnTo>
                    <a:pt x="75" y="91"/>
                  </a:lnTo>
                  <a:lnTo>
                    <a:pt x="79" y="91"/>
                  </a:lnTo>
                  <a:lnTo>
                    <a:pt x="79" y="91"/>
                  </a:lnTo>
                  <a:lnTo>
                    <a:pt x="85" y="91"/>
                  </a:lnTo>
                  <a:lnTo>
                    <a:pt x="91" y="90"/>
                  </a:lnTo>
                  <a:lnTo>
                    <a:pt x="91" y="90"/>
                  </a:lnTo>
                  <a:lnTo>
                    <a:pt x="101" y="78"/>
                  </a:lnTo>
                  <a:lnTo>
                    <a:pt x="103" y="72"/>
                  </a:lnTo>
                  <a:lnTo>
                    <a:pt x="103" y="70"/>
                  </a:lnTo>
                  <a:lnTo>
                    <a:pt x="103" y="70"/>
                  </a:lnTo>
                  <a:lnTo>
                    <a:pt x="103" y="68"/>
                  </a:lnTo>
                  <a:lnTo>
                    <a:pt x="107" y="64"/>
                  </a:lnTo>
                  <a:lnTo>
                    <a:pt x="113" y="60"/>
                  </a:lnTo>
                  <a:lnTo>
                    <a:pt x="113" y="60"/>
                  </a:lnTo>
                  <a:lnTo>
                    <a:pt x="113" y="58"/>
                  </a:lnTo>
                  <a:lnTo>
                    <a:pt x="113" y="56"/>
                  </a:lnTo>
                  <a:lnTo>
                    <a:pt x="113" y="54"/>
                  </a:lnTo>
                  <a:lnTo>
                    <a:pt x="107" y="52"/>
                  </a:lnTo>
                  <a:lnTo>
                    <a:pt x="103" y="46"/>
                  </a:lnTo>
                  <a:lnTo>
                    <a:pt x="103" y="46"/>
                  </a:lnTo>
                  <a:lnTo>
                    <a:pt x="99" y="46"/>
                  </a:lnTo>
                  <a:lnTo>
                    <a:pt x="99" y="44"/>
                  </a:lnTo>
                  <a:lnTo>
                    <a:pt x="93" y="40"/>
                  </a:lnTo>
                  <a:lnTo>
                    <a:pt x="91" y="30"/>
                  </a:lnTo>
                  <a:lnTo>
                    <a:pt x="91" y="30"/>
                  </a:lnTo>
                  <a:lnTo>
                    <a:pt x="91" y="30"/>
                  </a:lnTo>
                  <a:lnTo>
                    <a:pt x="89" y="30"/>
                  </a:lnTo>
                  <a:lnTo>
                    <a:pt x="87" y="30"/>
                  </a:lnTo>
                  <a:lnTo>
                    <a:pt x="85" y="34"/>
                  </a:lnTo>
                  <a:lnTo>
                    <a:pt x="77" y="36"/>
                  </a:lnTo>
                  <a:lnTo>
                    <a:pt x="77" y="36"/>
                  </a:lnTo>
                  <a:lnTo>
                    <a:pt x="75" y="34"/>
                  </a:lnTo>
                  <a:lnTo>
                    <a:pt x="73" y="34"/>
                  </a:lnTo>
                  <a:lnTo>
                    <a:pt x="63" y="26"/>
                  </a:lnTo>
                  <a:lnTo>
                    <a:pt x="59" y="22"/>
                  </a:lnTo>
                  <a:lnTo>
                    <a:pt x="56" y="18"/>
                  </a:lnTo>
                  <a:lnTo>
                    <a:pt x="56" y="18"/>
                  </a:lnTo>
                  <a:lnTo>
                    <a:pt x="54" y="16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2" y="12"/>
                  </a:lnTo>
                  <a:lnTo>
                    <a:pt x="36" y="10"/>
                  </a:lnTo>
                  <a:lnTo>
                    <a:pt x="32" y="4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0" y="0"/>
                  </a:lnTo>
                  <a:lnTo>
                    <a:pt x="16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10" y="12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20"/>
                  </a:lnTo>
                  <a:lnTo>
                    <a:pt x="14" y="22"/>
                  </a:lnTo>
                  <a:lnTo>
                    <a:pt x="10" y="24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0" y="34"/>
                  </a:lnTo>
                  <a:lnTo>
                    <a:pt x="0" y="36"/>
                  </a:lnTo>
                  <a:lnTo>
                    <a:pt x="2" y="38"/>
                  </a:lnTo>
                  <a:lnTo>
                    <a:pt x="8" y="38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14" y="42"/>
                  </a:lnTo>
                  <a:lnTo>
                    <a:pt x="18" y="44"/>
                  </a:lnTo>
                  <a:lnTo>
                    <a:pt x="22" y="46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8" y="58"/>
                  </a:lnTo>
                  <a:lnTo>
                    <a:pt x="30" y="64"/>
                  </a:lnTo>
                  <a:lnTo>
                    <a:pt x="34" y="70"/>
                  </a:lnTo>
                  <a:lnTo>
                    <a:pt x="38" y="76"/>
                  </a:lnTo>
                  <a:lnTo>
                    <a:pt x="38" y="76"/>
                  </a:lnTo>
                  <a:lnTo>
                    <a:pt x="42" y="82"/>
                  </a:lnTo>
                  <a:lnTo>
                    <a:pt x="44" y="84"/>
                  </a:lnTo>
                  <a:lnTo>
                    <a:pt x="42" y="86"/>
                  </a:lnTo>
                  <a:lnTo>
                    <a:pt x="42" y="86"/>
                  </a:lnTo>
                  <a:lnTo>
                    <a:pt x="42" y="90"/>
                  </a:lnTo>
                  <a:lnTo>
                    <a:pt x="44" y="90"/>
                  </a:lnTo>
                  <a:lnTo>
                    <a:pt x="52" y="91"/>
                  </a:lnTo>
                  <a:lnTo>
                    <a:pt x="52" y="91"/>
                  </a:lnTo>
                  <a:lnTo>
                    <a:pt x="54" y="93"/>
                  </a:lnTo>
                  <a:lnTo>
                    <a:pt x="56" y="97"/>
                  </a:lnTo>
                  <a:lnTo>
                    <a:pt x="59" y="103"/>
                  </a:lnTo>
                  <a:lnTo>
                    <a:pt x="59" y="103"/>
                  </a:lnTo>
                  <a:lnTo>
                    <a:pt x="61" y="103"/>
                  </a:lnTo>
                  <a:lnTo>
                    <a:pt x="61" y="103"/>
                  </a:lnTo>
                  <a:lnTo>
                    <a:pt x="61" y="103"/>
                  </a:lnTo>
                  <a:lnTo>
                    <a:pt x="61" y="103"/>
                  </a:lnTo>
                  <a:lnTo>
                    <a:pt x="61" y="103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63" name="Freeform 22"/>
            <p:cNvSpPr>
              <a:spLocks/>
            </p:cNvSpPr>
            <p:nvPr/>
          </p:nvSpPr>
          <p:spPr bwMode="auto">
            <a:xfrm>
              <a:off x="3830" y="2974"/>
              <a:ext cx="14" cy="10"/>
            </a:xfrm>
            <a:custGeom>
              <a:avLst/>
              <a:gdLst>
                <a:gd name="T0" fmla="*/ 10 w 14"/>
                <a:gd name="T1" fmla="*/ 2 h 10"/>
                <a:gd name="T2" fmla="*/ 10 w 14"/>
                <a:gd name="T3" fmla="*/ 2 h 10"/>
                <a:gd name="T4" fmla="*/ 4 w 14"/>
                <a:gd name="T5" fmla="*/ 0 h 10"/>
                <a:gd name="T6" fmla="*/ 0 w 14"/>
                <a:gd name="T7" fmla="*/ 2 h 10"/>
                <a:gd name="T8" fmla="*/ 14 w 14"/>
                <a:gd name="T9" fmla="*/ 10 h 10"/>
                <a:gd name="T10" fmla="*/ 14 w 14"/>
                <a:gd name="T11" fmla="*/ 10 h 10"/>
                <a:gd name="T12" fmla="*/ 14 w 14"/>
                <a:gd name="T13" fmla="*/ 6 h 10"/>
                <a:gd name="T14" fmla="*/ 10 w 14"/>
                <a:gd name="T15" fmla="*/ 2 h 10"/>
                <a:gd name="T16" fmla="*/ 10 w 14"/>
                <a:gd name="T17" fmla="*/ 2 h 10"/>
                <a:gd name="T18" fmla="*/ 10 w 14"/>
                <a:gd name="T19" fmla="*/ 2 h 10"/>
                <a:gd name="T20" fmla="*/ 10 w 14"/>
                <a:gd name="T21" fmla="*/ 2 h 10"/>
                <a:gd name="T22" fmla="*/ 10 w 14"/>
                <a:gd name="T23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" h="10">
                  <a:moveTo>
                    <a:pt x="10" y="2"/>
                  </a:moveTo>
                  <a:lnTo>
                    <a:pt x="10" y="2"/>
                  </a:lnTo>
                  <a:lnTo>
                    <a:pt x="4" y="0"/>
                  </a:lnTo>
                  <a:lnTo>
                    <a:pt x="0" y="2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4" y="6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64" name="Freeform 23"/>
            <p:cNvSpPr>
              <a:spLocks/>
            </p:cNvSpPr>
            <p:nvPr/>
          </p:nvSpPr>
          <p:spPr bwMode="auto">
            <a:xfrm>
              <a:off x="1321" y="2171"/>
              <a:ext cx="145" cy="124"/>
            </a:xfrm>
            <a:custGeom>
              <a:avLst/>
              <a:gdLst>
                <a:gd name="T0" fmla="*/ 145 w 145"/>
                <a:gd name="T1" fmla="*/ 80 h 124"/>
                <a:gd name="T2" fmla="*/ 139 w 145"/>
                <a:gd name="T3" fmla="*/ 82 h 124"/>
                <a:gd name="T4" fmla="*/ 131 w 145"/>
                <a:gd name="T5" fmla="*/ 78 h 124"/>
                <a:gd name="T6" fmla="*/ 137 w 145"/>
                <a:gd name="T7" fmla="*/ 72 h 124"/>
                <a:gd name="T8" fmla="*/ 137 w 145"/>
                <a:gd name="T9" fmla="*/ 70 h 124"/>
                <a:gd name="T10" fmla="*/ 131 w 145"/>
                <a:gd name="T11" fmla="*/ 66 h 124"/>
                <a:gd name="T12" fmla="*/ 122 w 145"/>
                <a:gd name="T13" fmla="*/ 72 h 124"/>
                <a:gd name="T14" fmla="*/ 108 w 145"/>
                <a:gd name="T15" fmla="*/ 68 h 124"/>
                <a:gd name="T16" fmla="*/ 100 w 145"/>
                <a:gd name="T17" fmla="*/ 72 h 124"/>
                <a:gd name="T18" fmla="*/ 98 w 145"/>
                <a:gd name="T19" fmla="*/ 78 h 124"/>
                <a:gd name="T20" fmla="*/ 90 w 145"/>
                <a:gd name="T21" fmla="*/ 72 h 124"/>
                <a:gd name="T22" fmla="*/ 90 w 145"/>
                <a:gd name="T23" fmla="*/ 68 h 124"/>
                <a:gd name="T24" fmla="*/ 82 w 145"/>
                <a:gd name="T25" fmla="*/ 58 h 124"/>
                <a:gd name="T26" fmla="*/ 80 w 145"/>
                <a:gd name="T27" fmla="*/ 48 h 124"/>
                <a:gd name="T28" fmla="*/ 80 w 145"/>
                <a:gd name="T29" fmla="*/ 22 h 124"/>
                <a:gd name="T30" fmla="*/ 72 w 145"/>
                <a:gd name="T31" fmla="*/ 18 h 124"/>
                <a:gd name="T32" fmla="*/ 58 w 145"/>
                <a:gd name="T33" fmla="*/ 14 h 124"/>
                <a:gd name="T34" fmla="*/ 48 w 145"/>
                <a:gd name="T35" fmla="*/ 0 h 124"/>
                <a:gd name="T36" fmla="*/ 44 w 145"/>
                <a:gd name="T37" fmla="*/ 0 h 124"/>
                <a:gd name="T38" fmla="*/ 46 w 145"/>
                <a:gd name="T39" fmla="*/ 14 h 124"/>
                <a:gd name="T40" fmla="*/ 40 w 145"/>
                <a:gd name="T41" fmla="*/ 18 h 124"/>
                <a:gd name="T42" fmla="*/ 36 w 145"/>
                <a:gd name="T43" fmla="*/ 18 h 124"/>
                <a:gd name="T44" fmla="*/ 26 w 145"/>
                <a:gd name="T45" fmla="*/ 22 h 124"/>
                <a:gd name="T46" fmla="*/ 20 w 145"/>
                <a:gd name="T47" fmla="*/ 20 h 124"/>
                <a:gd name="T48" fmla="*/ 16 w 145"/>
                <a:gd name="T49" fmla="*/ 22 h 124"/>
                <a:gd name="T50" fmla="*/ 20 w 145"/>
                <a:gd name="T51" fmla="*/ 26 h 124"/>
                <a:gd name="T52" fmla="*/ 20 w 145"/>
                <a:gd name="T53" fmla="*/ 28 h 124"/>
                <a:gd name="T54" fmla="*/ 14 w 145"/>
                <a:gd name="T55" fmla="*/ 28 h 124"/>
                <a:gd name="T56" fmla="*/ 12 w 145"/>
                <a:gd name="T57" fmla="*/ 34 h 124"/>
                <a:gd name="T58" fmla="*/ 8 w 145"/>
                <a:gd name="T59" fmla="*/ 38 h 124"/>
                <a:gd name="T60" fmla="*/ 2 w 145"/>
                <a:gd name="T61" fmla="*/ 42 h 124"/>
                <a:gd name="T62" fmla="*/ 12 w 145"/>
                <a:gd name="T63" fmla="*/ 44 h 124"/>
                <a:gd name="T64" fmla="*/ 18 w 145"/>
                <a:gd name="T65" fmla="*/ 52 h 124"/>
                <a:gd name="T66" fmla="*/ 30 w 145"/>
                <a:gd name="T67" fmla="*/ 56 h 124"/>
                <a:gd name="T68" fmla="*/ 36 w 145"/>
                <a:gd name="T69" fmla="*/ 60 h 124"/>
                <a:gd name="T70" fmla="*/ 40 w 145"/>
                <a:gd name="T71" fmla="*/ 72 h 124"/>
                <a:gd name="T72" fmla="*/ 38 w 145"/>
                <a:gd name="T73" fmla="*/ 82 h 124"/>
                <a:gd name="T74" fmla="*/ 44 w 145"/>
                <a:gd name="T75" fmla="*/ 96 h 124"/>
                <a:gd name="T76" fmla="*/ 52 w 145"/>
                <a:gd name="T77" fmla="*/ 102 h 124"/>
                <a:gd name="T78" fmla="*/ 58 w 145"/>
                <a:gd name="T79" fmla="*/ 96 h 124"/>
                <a:gd name="T80" fmla="*/ 64 w 145"/>
                <a:gd name="T81" fmla="*/ 94 h 124"/>
                <a:gd name="T82" fmla="*/ 78 w 145"/>
                <a:gd name="T83" fmla="*/ 108 h 124"/>
                <a:gd name="T84" fmla="*/ 88 w 145"/>
                <a:gd name="T85" fmla="*/ 118 h 124"/>
                <a:gd name="T86" fmla="*/ 129 w 145"/>
                <a:gd name="T87" fmla="*/ 118 h 124"/>
                <a:gd name="T88" fmla="*/ 143 w 145"/>
                <a:gd name="T89" fmla="*/ 90 h 124"/>
                <a:gd name="T90" fmla="*/ 143 w 145"/>
                <a:gd name="T91" fmla="*/ 9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45" h="124">
                  <a:moveTo>
                    <a:pt x="143" y="90"/>
                  </a:moveTo>
                  <a:lnTo>
                    <a:pt x="145" y="80"/>
                  </a:lnTo>
                  <a:lnTo>
                    <a:pt x="145" y="80"/>
                  </a:lnTo>
                  <a:lnTo>
                    <a:pt x="143" y="82"/>
                  </a:lnTo>
                  <a:lnTo>
                    <a:pt x="143" y="82"/>
                  </a:lnTo>
                  <a:lnTo>
                    <a:pt x="139" y="82"/>
                  </a:lnTo>
                  <a:lnTo>
                    <a:pt x="139" y="82"/>
                  </a:lnTo>
                  <a:lnTo>
                    <a:pt x="133" y="78"/>
                  </a:lnTo>
                  <a:lnTo>
                    <a:pt x="131" y="78"/>
                  </a:lnTo>
                  <a:lnTo>
                    <a:pt x="131" y="74"/>
                  </a:lnTo>
                  <a:lnTo>
                    <a:pt x="131" y="74"/>
                  </a:lnTo>
                  <a:lnTo>
                    <a:pt x="137" y="72"/>
                  </a:lnTo>
                  <a:lnTo>
                    <a:pt x="137" y="72"/>
                  </a:lnTo>
                  <a:lnTo>
                    <a:pt x="137" y="70"/>
                  </a:lnTo>
                  <a:lnTo>
                    <a:pt x="137" y="70"/>
                  </a:lnTo>
                  <a:lnTo>
                    <a:pt x="135" y="68"/>
                  </a:lnTo>
                  <a:lnTo>
                    <a:pt x="131" y="66"/>
                  </a:lnTo>
                  <a:lnTo>
                    <a:pt x="131" y="66"/>
                  </a:lnTo>
                  <a:lnTo>
                    <a:pt x="129" y="68"/>
                  </a:lnTo>
                  <a:lnTo>
                    <a:pt x="126" y="68"/>
                  </a:lnTo>
                  <a:lnTo>
                    <a:pt x="122" y="72"/>
                  </a:lnTo>
                  <a:lnTo>
                    <a:pt x="114" y="70"/>
                  </a:lnTo>
                  <a:lnTo>
                    <a:pt x="110" y="70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4" y="70"/>
                  </a:lnTo>
                  <a:lnTo>
                    <a:pt x="100" y="72"/>
                  </a:lnTo>
                  <a:lnTo>
                    <a:pt x="100" y="74"/>
                  </a:lnTo>
                  <a:lnTo>
                    <a:pt x="100" y="74"/>
                  </a:lnTo>
                  <a:lnTo>
                    <a:pt x="98" y="78"/>
                  </a:lnTo>
                  <a:lnTo>
                    <a:pt x="98" y="78"/>
                  </a:lnTo>
                  <a:lnTo>
                    <a:pt x="90" y="72"/>
                  </a:lnTo>
                  <a:lnTo>
                    <a:pt x="90" y="72"/>
                  </a:lnTo>
                  <a:lnTo>
                    <a:pt x="88" y="70"/>
                  </a:lnTo>
                  <a:lnTo>
                    <a:pt x="88" y="68"/>
                  </a:lnTo>
                  <a:lnTo>
                    <a:pt x="90" y="68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2" y="58"/>
                  </a:lnTo>
                  <a:lnTo>
                    <a:pt x="80" y="52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34"/>
                  </a:lnTo>
                  <a:lnTo>
                    <a:pt x="80" y="26"/>
                  </a:lnTo>
                  <a:lnTo>
                    <a:pt x="80" y="22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2" y="18"/>
                  </a:lnTo>
                  <a:lnTo>
                    <a:pt x="68" y="18"/>
                  </a:lnTo>
                  <a:lnTo>
                    <a:pt x="62" y="18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6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6" y="12"/>
                  </a:lnTo>
                  <a:lnTo>
                    <a:pt x="46" y="14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0" y="18"/>
                  </a:lnTo>
                  <a:lnTo>
                    <a:pt x="40" y="16"/>
                  </a:lnTo>
                  <a:lnTo>
                    <a:pt x="38" y="16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0" y="20"/>
                  </a:lnTo>
                  <a:lnTo>
                    <a:pt x="26" y="22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18" y="20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20" y="24"/>
                  </a:lnTo>
                  <a:lnTo>
                    <a:pt x="20" y="26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4" y="28"/>
                  </a:lnTo>
                  <a:lnTo>
                    <a:pt x="14" y="28"/>
                  </a:lnTo>
                  <a:lnTo>
                    <a:pt x="12" y="28"/>
                  </a:lnTo>
                  <a:lnTo>
                    <a:pt x="12" y="34"/>
                  </a:lnTo>
                  <a:lnTo>
                    <a:pt x="10" y="36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2" y="42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8" y="52"/>
                  </a:lnTo>
                  <a:lnTo>
                    <a:pt x="22" y="52"/>
                  </a:lnTo>
                  <a:lnTo>
                    <a:pt x="26" y="52"/>
                  </a:lnTo>
                  <a:lnTo>
                    <a:pt x="30" y="56"/>
                  </a:lnTo>
                  <a:lnTo>
                    <a:pt x="30" y="56"/>
                  </a:lnTo>
                  <a:lnTo>
                    <a:pt x="34" y="58"/>
                  </a:lnTo>
                  <a:lnTo>
                    <a:pt x="36" y="60"/>
                  </a:lnTo>
                  <a:lnTo>
                    <a:pt x="38" y="68"/>
                  </a:lnTo>
                  <a:lnTo>
                    <a:pt x="38" y="68"/>
                  </a:lnTo>
                  <a:lnTo>
                    <a:pt x="40" y="72"/>
                  </a:lnTo>
                  <a:lnTo>
                    <a:pt x="38" y="78"/>
                  </a:lnTo>
                  <a:lnTo>
                    <a:pt x="38" y="78"/>
                  </a:lnTo>
                  <a:lnTo>
                    <a:pt x="38" y="82"/>
                  </a:lnTo>
                  <a:lnTo>
                    <a:pt x="40" y="88"/>
                  </a:lnTo>
                  <a:lnTo>
                    <a:pt x="40" y="94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8" y="102"/>
                  </a:lnTo>
                  <a:lnTo>
                    <a:pt x="52" y="102"/>
                  </a:lnTo>
                  <a:lnTo>
                    <a:pt x="54" y="98"/>
                  </a:lnTo>
                  <a:lnTo>
                    <a:pt x="54" y="98"/>
                  </a:lnTo>
                  <a:lnTo>
                    <a:pt x="58" y="96"/>
                  </a:lnTo>
                  <a:lnTo>
                    <a:pt x="60" y="94"/>
                  </a:lnTo>
                  <a:lnTo>
                    <a:pt x="64" y="94"/>
                  </a:lnTo>
                  <a:lnTo>
                    <a:pt x="64" y="94"/>
                  </a:lnTo>
                  <a:lnTo>
                    <a:pt x="66" y="96"/>
                  </a:lnTo>
                  <a:lnTo>
                    <a:pt x="70" y="98"/>
                  </a:lnTo>
                  <a:lnTo>
                    <a:pt x="78" y="108"/>
                  </a:lnTo>
                  <a:lnTo>
                    <a:pt x="78" y="108"/>
                  </a:lnTo>
                  <a:lnTo>
                    <a:pt x="82" y="114"/>
                  </a:lnTo>
                  <a:lnTo>
                    <a:pt x="88" y="118"/>
                  </a:lnTo>
                  <a:lnTo>
                    <a:pt x="100" y="116"/>
                  </a:lnTo>
                  <a:lnTo>
                    <a:pt x="122" y="124"/>
                  </a:lnTo>
                  <a:lnTo>
                    <a:pt x="129" y="118"/>
                  </a:lnTo>
                  <a:lnTo>
                    <a:pt x="135" y="108"/>
                  </a:lnTo>
                  <a:lnTo>
                    <a:pt x="135" y="108"/>
                  </a:lnTo>
                  <a:lnTo>
                    <a:pt x="143" y="90"/>
                  </a:lnTo>
                  <a:lnTo>
                    <a:pt x="143" y="90"/>
                  </a:lnTo>
                  <a:lnTo>
                    <a:pt x="143" y="90"/>
                  </a:lnTo>
                  <a:lnTo>
                    <a:pt x="143" y="9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65" name="Freeform 24"/>
            <p:cNvSpPr>
              <a:spLocks/>
            </p:cNvSpPr>
            <p:nvPr/>
          </p:nvSpPr>
          <p:spPr bwMode="auto">
            <a:xfrm>
              <a:off x="1598" y="2376"/>
              <a:ext cx="239" cy="307"/>
            </a:xfrm>
            <a:custGeom>
              <a:avLst/>
              <a:gdLst>
                <a:gd name="T0" fmla="*/ 193 w 239"/>
                <a:gd name="T1" fmla="*/ 78 h 307"/>
                <a:gd name="T2" fmla="*/ 193 w 239"/>
                <a:gd name="T3" fmla="*/ 66 h 307"/>
                <a:gd name="T4" fmla="*/ 171 w 239"/>
                <a:gd name="T5" fmla="*/ 64 h 307"/>
                <a:gd name="T6" fmla="*/ 171 w 239"/>
                <a:gd name="T7" fmla="*/ 46 h 307"/>
                <a:gd name="T8" fmla="*/ 157 w 239"/>
                <a:gd name="T9" fmla="*/ 28 h 307"/>
                <a:gd name="T10" fmla="*/ 133 w 239"/>
                <a:gd name="T11" fmla="*/ 18 h 307"/>
                <a:gd name="T12" fmla="*/ 125 w 239"/>
                <a:gd name="T13" fmla="*/ 2 h 307"/>
                <a:gd name="T14" fmla="*/ 81 w 239"/>
                <a:gd name="T15" fmla="*/ 10 h 307"/>
                <a:gd name="T16" fmla="*/ 91 w 239"/>
                <a:gd name="T17" fmla="*/ 28 h 307"/>
                <a:gd name="T18" fmla="*/ 73 w 239"/>
                <a:gd name="T19" fmla="*/ 36 h 307"/>
                <a:gd name="T20" fmla="*/ 58 w 239"/>
                <a:gd name="T21" fmla="*/ 40 h 307"/>
                <a:gd name="T22" fmla="*/ 44 w 239"/>
                <a:gd name="T23" fmla="*/ 38 h 307"/>
                <a:gd name="T24" fmla="*/ 40 w 239"/>
                <a:gd name="T25" fmla="*/ 60 h 307"/>
                <a:gd name="T26" fmla="*/ 22 w 239"/>
                <a:gd name="T27" fmla="*/ 68 h 307"/>
                <a:gd name="T28" fmla="*/ 6 w 239"/>
                <a:gd name="T29" fmla="*/ 96 h 307"/>
                <a:gd name="T30" fmla="*/ 4 w 239"/>
                <a:gd name="T31" fmla="*/ 114 h 307"/>
                <a:gd name="T32" fmla="*/ 6 w 239"/>
                <a:gd name="T33" fmla="*/ 140 h 307"/>
                <a:gd name="T34" fmla="*/ 10 w 239"/>
                <a:gd name="T35" fmla="*/ 154 h 307"/>
                <a:gd name="T36" fmla="*/ 14 w 239"/>
                <a:gd name="T37" fmla="*/ 162 h 307"/>
                <a:gd name="T38" fmla="*/ 12 w 239"/>
                <a:gd name="T39" fmla="*/ 184 h 307"/>
                <a:gd name="T40" fmla="*/ 8 w 239"/>
                <a:gd name="T41" fmla="*/ 195 h 307"/>
                <a:gd name="T42" fmla="*/ 0 w 239"/>
                <a:gd name="T43" fmla="*/ 209 h 307"/>
                <a:gd name="T44" fmla="*/ 16 w 239"/>
                <a:gd name="T45" fmla="*/ 217 h 307"/>
                <a:gd name="T46" fmla="*/ 30 w 239"/>
                <a:gd name="T47" fmla="*/ 225 h 307"/>
                <a:gd name="T48" fmla="*/ 18 w 239"/>
                <a:gd name="T49" fmla="*/ 239 h 307"/>
                <a:gd name="T50" fmla="*/ 22 w 239"/>
                <a:gd name="T51" fmla="*/ 249 h 307"/>
                <a:gd name="T52" fmla="*/ 12 w 239"/>
                <a:gd name="T53" fmla="*/ 269 h 307"/>
                <a:gd name="T54" fmla="*/ 16 w 239"/>
                <a:gd name="T55" fmla="*/ 271 h 307"/>
                <a:gd name="T56" fmla="*/ 22 w 239"/>
                <a:gd name="T57" fmla="*/ 281 h 307"/>
                <a:gd name="T58" fmla="*/ 44 w 239"/>
                <a:gd name="T59" fmla="*/ 281 h 307"/>
                <a:gd name="T60" fmla="*/ 58 w 239"/>
                <a:gd name="T61" fmla="*/ 301 h 307"/>
                <a:gd name="T62" fmla="*/ 89 w 239"/>
                <a:gd name="T63" fmla="*/ 287 h 307"/>
                <a:gd name="T64" fmla="*/ 111 w 239"/>
                <a:gd name="T65" fmla="*/ 261 h 307"/>
                <a:gd name="T66" fmla="*/ 131 w 239"/>
                <a:gd name="T67" fmla="*/ 243 h 307"/>
                <a:gd name="T68" fmla="*/ 153 w 239"/>
                <a:gd name="T69" fmla="*/ 217 h 307"/>
                <a:gd name="T70" fmla="*/ 175 w 239"/>
                <a:gd name="T71" fmla="*/ 209 h 307"/>
                <a:gd name="T72" fmla="*/ 191 w 239"/>
                <a:gd name="T73" fmla="*/ 203 h 307"/>
                <a:gd name="T74" fmla="*/ 211 w 239"/>
                <a:gd name="T75" fmla="*/ 188 h 307"/>
                <a:gd name="T76" fmla="*/ 203 w 239"/>
                <a:gd name="T77" fmla="*/ 180 h 307"/>
                <a:gd name="T78" fmla="*/ 175 w 239"/>
                <a:gd name="T79" fmla="*/ 180 h 307"/>
                <a:gd name="T80" fmla="*/ 141 w 239"/>
                <a:gd name="T81" fmla="*/ 170 h 307"/>
                <a:gd name="T82" fmla="*/ 143 w 239"/>
                <a:gd name="T83" fmla="*/ 150 h 307"/>
                <a:gd name="T84" fmla="*/ 133 w 239"/>
                <a:gd name="T85" fmla="*/ 128 h 307"/>
                <a:gd name="T86" fmla="*/ 149 w 239"/>
                <a:gd name="T87" fmla="*/ 114 h 307"/>
                <a:gd name="T88" fmla="*/ 169 w 239"/>
                <a:gd name="T89" fmla="*/ 126 h 307"/>
                <a:gd name="T90" fmla="*/ 165 w 239"/>
                <a:gd name="T91" fmla="*/ 140 h 307"/>
                <a:gd name="T92" fmla="*/ 175 w 239"/>
                <a:gd name="T93" fmla="*/ 140 h 307"/>
                <a:gd name="T94" fmla="*/ 179 w 239"/>
                <a:gd name="T95" fmla="*/ 154 h 307"/>
                <a:gd name="T96" fmla="*/ 191 w 239"/>
                <a:gd name="T97" fmla="*/ 144 h 307"/>
                <a:gd name="T98" fmla="*/ 209 w 239"/>
                <a:gd name="T99" fmla="*/ 144 h 307"/>
                <a:gd name="T100" fmla="*/ 225 w 239"/>
                <a:gd name="T101" fmla="*/ 150 h 307"/>
                <a:gd name="T102" fmla="*/ 219 w 239"/>
                <a:gd name="T103" fmla="*/ 132 h 307"/>
                <a:gd name="T104" fmla="*/ 229 w 239"/>
                <a:gd name="T105" fmla="*/ 118 h 307"/>
                <a:gd name="T106" fmla="*/ 233 w 239"/>
                <a:gd name="T107" fmla="*/ 110 h 307"/>
                <a:gd name="T108" fmla="*/ 205 w 239"/>
                <a:gd name="T109" fmla="*/ 90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39" h="307">
                  <a:moveTo>
                    <a:pt x="205" y="90"/>
                  </a:moveTo>
                  <a:lnTo>
                    <a:pt x="205" y="90"/>
                  </a:lnTo>
                  <a:lnTo>
                    <a:pt x="197" y="86"/>
                  </a:lnTo>
                  <a:lnTo>
                    <a:pt x="193" y="82"/>
                  </a:lnTo>
                  <a:lnTo>
                    <a:pt x="193" y="78"/>
                  </a:lnTo>
                  <a:lnTo>
                    <a:pt x="193" y="78"/>
                  </a:lnTo>
                  <a:lnTo>
                    <a:pt x="193" y="70"/>
                  </a:lnTo>
                  <a:lnTo>
                    <a:pt x="195" y="68"/>
                  </a:lnTo>
                  <a:lnTo>
                    <a:pt x="193" y="66"/>
                  </a:lnTo>
                  <a:lnTo>
                    <a:pt x="193" y="66"/>
                  </a:lnTo>
                  <a:lnTo>
                    <a:pt x="193" y="66"/>
                  </a:lnTo>
                  <a:lnTo>
                    <a:pt x="193" y="66"/>
                  </a:lnTo>
                  <a:lnTo>
                    <a:pt x="181" y="68"/>
                  </a:lnTo>
                  <a:lnTo>
                    <a:pt x="175" y="68"/>
                  </a:lnTo>
                  <a:lnTo>
                    <a:pt x="173" y="68"/>
                  </a:lnTo>
                  <a:lnTo>
                    <a:pt x="171" y="68"/>
                  </a:lnTo>
                  <a:lnTo>
                    <a:pt x="171" y="68"/>
                  </a:lnTo>
                  <a:lnTo>
                    <a:pt x="171" y="64"/>
                  </a:lnTo>
                  <a:lnTo>
                    <a:pt x="171" y="62"/>
                  </a:lnTo>
                  <a:lnTo>
                    <a:pt x="173" y="56"/>
                  </a:lnTo>
                  <a:lnTo>
                    <a:pt x="173" y="48"/>
                  </a:lnTo>
                  <a:lnTo>
                    <a:pt x="173" y="46"/>
                  </a:lnTo>
                  <a:lnTo>
                    <a:pt x="171" y="46"/>
                  </a:lnTo>
                  <a:lnTo>
                    <a:pt x="171" y="46"/>
                  </a:lnTo>
                  <a:lnTo>
                    <a:pt x="163" y="46"/>
                  </a:lnTo>
                  <a:lnTo>
                    <a:pt x="159" y="44"/>
                  </a:lnTo>
                  <a:lnTo>
                    <a:pt x="157" y="40"/>
                  </a:lnTo>
                  <a:lnTo>
                    <a:pt x="157" y="40"/>
                  </a:lnTo>
                  <a:lnTo>
                    <a:pt x="159" y="34"/>
                  </a:lnTo>
                  <a:lnTo>
                    <a:pt x="157" y="28"/>
                  </a:lnTo>
                  <a:lnTo>
                    <a:pt x="153" y="28"/>
                  </a:lnTo>
                  <a:lnTo>
                    <a:pt x="153" y="28"/>
                  </a:lnTo>
                  <a:lnTo>
                    <a:pt x="143" y="22"/>
                  </a:lnTo>
                  <a:lnTo>
                    <a:pt x="135" y="20"/>
                  </a:lnTo>
                  <a:lnTo>
                    <a:pt x="133" y="20"/>
                  </a:lnTo>
                  <a:lnTo>
                    <a:pt x="133" y="18"/>
                  </a:lnTo>
                  <a:lnTo>
                    <a:pt x="133" y="18"/>
                  </a:lnTo>
                  <a:lnTo>
                    <a:pt x="133" y="14"/>
                  </a:lnTo>
                  <a:lnTo>
                    <a:pt x="133" y="10"/>
                  </a:lnTo>
                  <a:lnTo>
                    <a:pt x="129" y="4"/>
                  </a:lnTo>
                  <a:lnTo>
                    <a:pt x="129" y="2"/>
                  </a:lnTo>
                  <a:lnTo>
                    <a:pt x="125" y="2"/>
                  </a:lnTo>
                  <a:lnTo>
                    <a:pt x="125" y="2"/>
                  </a:lnTo>
                  <a:lnTo>
                    <a:pt x="125" y="2"/>
                  </a:lnTo>
                  <a:lnTo>
                    <a:pt x="123" y="0"/>
                  </a:lnTo>
                  <a:lnTo>
                    <a:pt x="107" y="10"/>
                  </a:lnTo>
                  <a:lnTo>
                    <a:pt x="89" y="6"/>
                  </a:lnTo>
                  <a:lnTo>
                    <a:pt x="81" y="10"/>
                  </a:lnTo>
                  <a:lnTo>
                    <a:pt x="81" y="10"/>
                  </a:lnTo>
                  <a:lnTo>
                    <a:pt x="83" y="12"/>
                  </a:lnTo>
                  <a:lnTo>
                    <a:pt x="83" y="12"/>
                  </a:lnTo>
                  <a:lnTo>
                    <a:pt x="85" y="16"/>
                  </a:lnTo>
                  <a:lnTo>
                    <a:pt x="89" y="22"/>
                  </a:lnTo>
                  <a:lnTo>
                    <a:pt x="91" y="28"/>
                  </a:lnTo>
                  <a:lnTo>
                    <a:pt x="91" y="28"/>
                  </a:lnTo>
                  <a:lnTo>
                    <a:pt x="87" y="34"/>
                  </a:lnTo>
                  <a:lnTo>
                    <a:pt x="81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3" y="36"/>
                  </a:lnTo>
                  <a:lnTo>
                    <a:pt x="73" y="38"/>
                  </a:lnTo>
                  <a:lnTo>
                    <a:pt x="70" y="40"/>
                  </a:lnTo>
                  <a:lnTo>
                    <a:pt x="70" y="40"/>
                  </a:lnTo>
                  <a:lnTo>
                    <a:pt x="66" y="38"/>
                  </a:lnTo>
                  <a:lnTo>
                    <a:pt x="62" y="40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54" y="42"/>
                  </a:lnTo>
                  <a:lnTo>
                    <a:pt x="54" y="42"/>
                  </a:lnTo>
                  <a:lnTo>
                    <a:pt x="50" y="38"/>
                  </a:lnTo>
                  <a:lnTo>
                    <a:pt x="46" y="38"/>
                  </a:lnTo>
                  <a:lnTo>
                    <a:pt x="44" y="38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0" y="40"/>
                  </a:lnTo>
                  <a:lnTo>
                    <a:pt x="40" y="42"/>
                  </a:lnTo>
                  <a:lnTo>
                    <a:pt x="40" y="48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38" y="64"/>
                  </a:lnTo>
                  <a:lnTo>
                    <a:pt x="38" y="64"/>
                  </a:lnTo>
                  <a:lnTo>
                    <a:pt x="34" y="66"/>
                  </a:lnTo>
                  <a:lnTo>
                    <a:pt x="22" y="68"/>
                  </a:lnTo>
                  <a:lnTo>
                    <a:pt x="22" y="68"/>
                  </a:lnTo>
                  <a:lnTo>
                    <a:pt x="18" y="70"/>
                  </a:lnTo>
                  <a:lnTo>
                    <a:pt x="16" y="74"/>
                  </a:lnTo>
                  <a:lnTo>
                    <a:pt x="12" y="86"/>
                  </a:lnTo>
                  <a:lnTo>
                    <a:pt x="12" y="86"/>
                  </a:lnTo>
                  <a:lnTo>
                    <a:pt x="6" y="96"/>
                  </a:lnTo>
                  <a:lnTo>
                    <a:pt x="6" y="96"/>
                  </a:lnTo>
                  <a:lnTo>
                    <a:pt x="4" y="98"/>
                  </a:lnTo>
                  <a:lnTo>
                    <a:pt x="4" y="98"/>
                  </a:lnTo>
                  <a:lnTo>
                    <a:pt x="0" y="104"/>
                  </a:lnTo>
                  <a:lnTo>
                    <a:pt x="0" y="108"/>
                  </a:lnTo>
                  <a:lnTo>
                    <a:pt x="4" y="114"/>
                  </a:lnTo>
                  <a:lnTo>
                    <a:pt x="4" y="114"/>
                  </a:lnTo>
                  <a:lnTo>
                    <a:pt x="4" y="120"/>
                  </a:lnTo>
                  <a:lnTo>
                    <a:pt x="4" y="128"/>
                  </a:lnTo>
                  <a:lnTo>
                    <a:pt x="0" y="136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6" y="140"/>
                  </a:lnTo>
                  <a:lnTo>
                    <a:pt x="8" y="144"/>
                  </a:lnTo>
                  <a:lnTo>
                    <a:pt x="10" y="144"/>
                  </a:lnTo>
                  <a:lnTo>
                    <a:pt x="10" y="144"/>
                  </a:lnTo>
                  <a:lnTo>
                    <a:pt x="10" y="150"/>
                  </a:lnTo>
                  <a:lnTo>
                    <a:pt x="8" y="152"/>
                  </a:lnTo>
                  <a:lnTo>
                    <a:pt x="10" y="154"/>
                  </a:lnTo>
                  <a:lnTo>
                    <a:pt x="10" y="154"/>
                  </a:lnTo>
                  <a:lnTo>
                    <a:pt x="10" y="156"/>
                  </a:lnTo>
                  <a:lnTo>
                    <a:pt x="12" y="158"/>
                  </a:lnTo>
                  <a:lnTo>
                    <a:pt x="14" y="160"/>
                  </a:lnTo>
                  <a:lnTo>
                    <a:pt x="14" y="162"/>
                  </a:lnTo>
                  <a:lnTo>
                    <a:pt x="14" y="162"/>
                  </a:lnTo>
                  <a:lnTo>
                    <a:pt x="14" y="166"/>
                  </a:lnTo>
                  <a:lnTo>
                    <a:pt x="14" y="170"/>
                  </a:lnTo>
                  <a:lnTo>
                    <a:pt x="12" y="174"/>
                  </a:lnTo>
                  <a:lnTo>
                    <a:pt x="12" y="180"/>
                  </a:lnTo>
                  <a:lnTo>
                    <a:pt x="12" y="180"/>
                  </a:lnTo>
                  <a:lnTo>
                    <a:pt x="12" y="184"/>
                  </a:lnTo>
                  <a:lnTo>
                    <a:pt x="12" y="188"/>
                  </a:lnTo>
                  <a:lnTo>
                    <a:pt x="14" y="190"/>
                  </a:lnTo>
                  <a:lnTo>
                    <a:pt x="14" y="190"/>
                  </a:lnTo>
                  <a:lnTo>
                    <a:pt x="14" y="193"/>
                  </a:lnTo>
                  <a:lnTo>
                    <a:pt x="12" y="195"/>
                  </a:lnTo>
                  <a:lnTo>
                    <a:pt x="8" y="195"/>
                  </a:lnTo>
                  <a:lnTo>
                    <a:pt x="8" y="195"/>
                  </a:lnTo>
                  <a:lnTo>
                    <a:pt x="6" y="195"/>
                  </a:lnTo>
                  <a:lnTo>
                    <a:pt x="6" y="197"/>
                  </a:lnTo>
                  <a:lnTo>
                    <a:pt x="6" y="201"/>
                  </a:lnTo>
                  <a:lnTo>
                    <a:pt x="10" y="203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8" y="217"/>
                  </a:lnTo>
                  <a:lnTo>
                    <a:pt x="8" y="217"/>
                  </a:lnTo>
                  <a:lnTo>
                    <a:pt x="10" y="219"/>
                  </a:lnTo>
                  <a:lnTo>
                    <a:pt x="12" y="219"/>
                  </a:lnTo>
                  <a:lnTo>
                    <a:pt x="16" y="217"/>
                  </a:lnTo>
                  <a:lnTo>
                    <a:pt x="22" y="215"/>
                  </a:lnTo>
                  <a:lnTo>
                    <a:pt x="28" y="215"/>
                  </a:lnTo>
                  <a:lnTo>
                    <a:pt x="28" y="215"/>
                  </a:lnTo>
                  <a:lnTo>
                    <a:pt x="28" y="217"/>
                  </a:lnTo>
                  <a:lnTo>
                    <a:pt x="30" y="219"/>
                  </a:lnTo>
                  <a:lnTo>
                    <a:pt x="30" y="225"/>
                  </a:lnTo>
                  <a:lnTo>
                    <a:pt x="30" y="225"/>
                  </a:lnTo>
                  <a:lnTo>
                    <a:pt x="24" y="231"/>
                  </a:lnTo>
                  <a:lnTo>
                    <a:pt x="22" y="233"/>
                  </a:lnTo>
                  <a:lnTo>
                    <a:pt x="18" y="239"/>
                  </a:lnTo>
                  <a:lnTo>
                    <a:pt x="18" y="239"/>
                  </a:lnTo>
                  <a:lnTo>
                    <a:pt x="18" y="239"/>
                  </a:lnTo>
                  <a:lnTo>
                    <a:pt x="18" y="243"/>
                  </a:lnTo>
                  <a:lnTo>
                    <a:pt x="18" y="245"/>
                  </a:lnTo>
                  <a:lnTo>
                    <a:pt x="22" y="247"/>
                  </a:lnTo>
                  <a:lnTo>
                    <a:pt x="22" y="247"/>
                  </a:lnTo>
                  <a:lnTo>
                    <a:pt x="22" y="247"/>
                  </a:lnTo>
                  <a:lnTo>
                    <a:pt x="22" y="249"/>
                  </a:lnTo>
                  <a:lnTo>
                    <a:pt x="22" y="253"/>
                  </a:lnTo>
                  <a:lnTo>
                    <a:pt x="20" y="255"/>
                  </a:lnTo>
                  <a:lnTo>
                    <a:pt x="18" y="261"/>
                  </a:lnTo>
                  <a:lnTo>
                    <a:pt x="18" y="261"/>
                  </a:lnTo>
                  <a:lnTo>
                    <a:pt x="14" y="265"/>
                  </a:lnTo>
                  <a:lnTo>
                    <a:pt x="12" y="269"/>
                  </a:lnTo>
                  <a:lnTo>
                    <a:pt x="10" y="277"/>
                  </a:lnTo>
                  <a:lnTo>
                    <a:pt x="10" y="277"/>
                  </a:lnTo>
                  <a:lnTo>
                    <a:pt x="10" y="279"/>
                  </a:lnTo>
                  <a:lnTo>
                    <a:pt x="10" y="279"/>
                  </a:lnTo>
                  <a:lnTo>
                    <a:pt x="12" y="275"/>
                  </a:lnTo>
                  <a:lnTo>
                    <a:pt x="16" y="271"/>
                  </a:lnTo>
                  <a:lnTo>
                    <a:pt x="16" y="271"/>
                  </a:lnTo>
                  <a:lnTo>
                    <a:pt x="18" y="275"/>
                  </a:lnTo>
                  <a:lnTo>
                    <a:pt x="20" y="277"/>
                  </a:lnTo>
                  <a:lnTo>
                    <a:pt x="22" y="279"/>
                  </a:lnTo>
                  <a:lnTo>
                    <a:pt x="22" y="279"/>
                  </a:lnTo>
                  <a:lnTo>
                    <a:pt x="22" y="281"/>
                  </a:lnTo>
                  <a:lnTo>
                    <a:pt x="28" y="285"/>
                  </a:lnTo>
                  <a:lnTo>
                    <a:pt x="36" y="289"/>
                  </a:lnTo>
                  <a:lnTo>
                    <a:pt x="36" y="289"/>
                  </a:lnTo>
                  <a:lnTo>
                    <a:pt x="38" y="287"/>
                  </a:lnTo>
                  <a:lnTo>
                    <a:pt x="40" y="285"/>
                  </a:lnTo>
                  <a:lnTo>
                    <a:pt x="44" y="281"/>
                  </a:lnTo>
                  <a:lnTo>
                    <a:pt x="44" y="281"/>
                  </a:lnTo>
                  <a:lnTo>
                    <a:pt x="50" y="289"/>
                  </a:lnTo>
                  <a:lnTo>
                    <a:pt x="54" y="293"/>
                  </a:lnTo>
                  <a:lnTo>
                    <a:pt x="58" y="299"/>
                  </a:lnTo>
                  <a:lnTo>
                    <a:pt x="58" y="299"/>
                  </a:lnTo>
                  <a:lnTo>
                    <a:pt x="58" y="301"/>
                  </a:lnTo>
                  <a:lnTo>
                    <a:pt x="58" y="303"/>
                  </a:lnTo>
                  <a:lnTo>
                    <a:pt x="64" y="307"/>
                  </a:lnTo>
                  <a:lnTo>
                    <a:pt x="68" y="307"/>
                  </a:lnTo>
                  <a:lnTo>
                    <a:pt x="79" y="297"/>
                  </a:lnTo>
                  <a:lnTo>
                    <a:pt x="89" y="289"/>
                  </a:lnTo>
                  <a:lnTo>
                    <a:pt x="89" y="287"/>
                  </a:lnTo>
                  <a:lnTo>
                    <a:pt x="99" y="285"/>
                  </a:lnTo>
                  <a:lnTo>
                    <a:pt x="99" y="285"/>
                  </a:lnTo>
                  <a:lnTo>
                    <a:pt x="103" y="275"/>
                  </a:lnTo>
                  <a:lnTo>
                    <a:pt x="103" y="275"/>
                  </a:lnTo>
                  <a:lnTo>
                    <a:pt x="107" y="265"/>
                  </a:lnTo>
                  <a:lnTo>
                    <a:pt x="111" y="261"/>
                  </a:lnTo>
                  <a:lnTo>
                    <a:pt x="113" y="255"/>
                  </a:lnTo>
                  <a:lnTo>
                    <a:pt x="113" y="255"/>
                  </a:lnTo>
                  <a:lnTo>
                    <a:pt x="123" y="249"/>
                  </a:lnTo>
                  <a:lnTo>
                    <a:pt x="129" y="247"/>
                  </a:lnTo>
                  <a:lnTo>
                    <a:pt x="131" y="243"/>
                  </a:lnTo>
                  <a:lnTo>
                    <a:pt x="131" y="243"/>
                  </a:lnTo>
                  <a:lnTo>
                    <a:pt x="135" y="231"/>
                  </a:lnTo>
                  <a:lnTo>
                    <a:pt x="141" y="227"/>
                  </a:lnTo>
                  <a:lnTo>
                    <a:pt x="145" y="221"/>
                  </a:lnTo>
                  <a:lnTo>
                    <a:pt x="145" y="221"/>
                  </a:lnTo>
                  <a:lnTo>
                    <a:pt x="149" y="217"/>
                  </a:lnTo>
                  <a:lnTo>
                    <a:pt x="153" y="217"/>
                  </a:lnTo>
                  <a:lnTo>
                    <a:pt x="163" y="209"/>
                  </a:lnTo>
                  <a:lnTo>
                    <a:pt x="163" y="209"/>
                  </a:lnTo>
                  <a:lnTo>
                    <a:pt x="167" y="207"/>
                  </a:lnTo>
                  <a:lnTo>
                    <a:pt x="169" y="207"/>
                  </a:lnTo>
                  <a:lnTo>
                    <a:pt x="171" y="207"/>
                  </a:lnTo>
                  <a:lnTo>
                    <a:pt x="175" y="209"/>
                  </a:lnTo>
                  <a:lnTo>
                    <a:pt x="175" y="209"/>
                  </a:lnTo>
                  <a:lnTo>
                    <a:pt x="183" y="215"/>
                  </a:lnTo>
                  <a:lnTo>
                    <a:pt x="187" y="215"/>
                  </a:lnTo>
                  <a:lnTo>
                    <a:pt x="189" y="211"/>
                  </a:lnTo>
                  <a:lnTo>
                    <a:pt x="189" y="211"/>
                  </a:lnTo>
                  <a:lnTo>
                    <a:pt x="191" y="203"/>
                  </a:lnTo>
                  <a:lnTo>
                    <a:pt x="191" y="203"/>
                  </a:lnTo>
                  <a:lnTo>
                    <a:pt x="193" y="199"/>
                  </a:lnTo>
                  <a:lnTo>
                    <a:pt x="193" y="199"/>
                  </a:lnTo>
                  <a:lnTo>
                    <a:pt x="201" y="193"/>
                  </a:lnTo>
                  <a:lnTo>
                    <a:pt x="211" y="188"/>
                  </a:lnTo>
                  <a:lnTo>
                    <a:pt x="211" y="188"/>
                  </a:lnTo>
                  <a:lnTo>
                    <a:pt x="215" y="186"/>
                  </a:lnTo>
                  <a:lnTo>
                    <a:pt x="215" y="184"/>
                  </a:lnTo>
                  <a:lnTo>
                    <a:pt x="213" y="184"/>
                  </a:lnTo>
                  <a:lnTo>
                    <a:pt x="213" y="184"/>
                  </a:lnTo>
                  <a:lnTo>
                    <a:pt x="205" y="182"/>
                  </a:lnTo>
                  <a:lnTo>
                    <a:pt x="203" y="180"/>
                  </a:lnTo>
                  <a:lnTo>
                    <a:pt x="197" y="182"/>
                  </a:lnTo>
                  <a:lnTo>
                    <a:pt x="197" y="182"/>
                  </a:lnTo>
                  <a:lnTo>
                    <a:pt x="189" y="184"/>
                  </a:lnTo>
                  <a:lnTo>
                    <a:pt x="183" y="182"/>
                  </a:lnTo>
                  <a:lnTo>
                    <a:pt x="175" y="180"/>
                  </a:lnTo>
                  <a:lnTo>
                    <a:pt x="175" y="180"/>
                  </a:lnTo>
                  <a:lnTo>
                    <a:pt x="165" y="174"/>
                  </a:lnTo>
                  <a:lnTo>
                    <a:pt x="159" y="172"/>
                  </a:lnTo>
                  <a:lnTo>
                    <a:pt x="155" y="170"/>
                  </a:lnTo>
                  <a:lnTo>
                    <a:pt x="155" y="170"/>
                  </a:lnTo>
                  <a:lnTo>
                    <a:pt x="145" y="170"/>
                  </a:lnTo>
                  <a:lnTo>
                    <a:pt x="141" y="170"/>
                  </a:lnTo>
                  <a:lnTo>
                    <a:pt x="141" y="166"/>
                  </a:lnTo>
                  <a:lnTo>
                    <a:pt x="141" y="166"/>
                  </a:lnTo>
                  <a:lnTo>
                    <a:pt x="141" y="166"/>
                  </a:lnTo>
                  <a:lnTo>
                    <a:pt x="143" y="160"/>
                  </a:lnTo>
                  <a:lnTo>
                    <a:pt x="143" y="154"/>
                  </a:lnTo>
                  <a:lnTo>
                    <a:pt x="143" y="150"/>
                  </a:lnTo>
                  <a:lnTo>
                    <a:pt x="141" y="142"/>
                  </a:lnTo>
                  <a:lnTo>
                    <a:pt x="141" y="142"/>
                  </a:lnTo>
                  <a:lnTo>
                    <a:pt x="135" y="138"/>
                  </a:lnTo>
                  <a:lnTo>
                    <a:pt x="133" y="132"/>
                  </a:lnTo>
                  <a:lnTo>
                    <a:pt x="133" y="128"/>
                  </a:lnTo>
                  <a:lnTo>
                    <a:pt x="133" y="128"/>
                  </a:lnTo>
                  <a:lnTo>
                    <a:pt x="135" y="126"/>
                  </a:lnTo>
                  <a:lnTo>
                    <a:pt x="135" y="126"/>
                  </a:lnTo>
                  <a:lnTo>
                    <a:pt x="141" y="124"/>
                  </a:lnTo>
                  <a:lnTo>
                    <a:pt x="145" y="118"/>
                  </a:lnTo>
                  <a:lnTo>
                    <a:pt x="147" y="114"/>
                  </a:lnTo>
                  <a:lnTo>
                    <a:pt x="149" y="114"/>
                  </a:lnTo>
                  <a:lnTo>
                    <a:pt x="153" y="114"/>
                  </a:lnTo>
                  <a:lnTo>
                    <a:pt x="153" y="114"/>
                  </a:lnTo>
                  <a:lnTo>
                    <a:pt x="163" y="118"/>
                  </a:lnTo>
                  <a:lnTo>
                    <a:pt x="167" y="124"/>
                  </a:lnTo>
                  <a:lnTo>
                    <a:pt x="167" y="124"/>
                  </a:lnTo>
                  <a:lnTo>
                    <a:pt x="169" y="126"/>
                  </a:lnTo>
                  <a:lnTo>
                    <a:pt x="169" y="128"/>
                  </a:lnTo>
                  <a:lnTo>
                    <a:pt x="167" y="132"/>
                  </a:lnTo>
                  <a:lnTo>
                    <a:pt x="165" y="136"/>
                  </a:lnTo>
                  <a:lnTo>
                    <a:pt x="165" y="138"/>
                  </a:lnTo>
                  <a:lnTo>
                    <a:pt x="165" y="140"/>
                  </a:lnTo>
                  <a:lnTo>
                    <a:pt x="165" y="140"/>
                  </a:lnTo>
                  <a:lnTo>
                    <a:pt x="167" y="142"/>
                  </a:lnTo>
                  <a:lnTo>
                    <a:pt x="167" y="142"/>
                  </a:lnTo>
                  <a:lnTo>
                    <a:pt x="171" y="140"/>
                  </a:lnTo>
                  <a:lnTo>
                    <a:pt x="173" y="138"/>
                  </a:lnTo>
                  <a:lnTo>
                    <a:pt x="175" y="138"/>
                  </a:lnTo>
                  <a:lnTo>
                    <a:pt x="175" y="140"/>
                  </a:lnTo>
                  <a:lnTo>
                    <a:pt x="175" y="140"/>
                  </a:lnTo>
                  <a:lnTo>
                    <a:pt x="175" y="144"/>
                  </a:lnTo>
                  <a:lnTo>
                    <a:pt x="175" y="150"/>
                  </a:lnTo>
                  <a:lnTo>
                    <a:pt x="175" y="154"/>
                  </a:lnTo>
                  <a:lnTo>
                    <a:pt x="177" y="154"/>
                  </a:lnTo>
                  <a:lnTo>
                    <a:pt x="179" y="154"/>
                  </a:lnTo>
                  <a:lnTo>
                    <a:pt x="179" y="154"/>
                  </a:lnTo>
                  <a:lnTo>
                    <a:pt x="181" y="154"/>
                  </a:lnTo>
                  <a:lnTo>
                    <a:pt x="183" y="154"/>
                  </a:lnTo>
                  <a:lnTo>
                    <a:pt x="187" y="150"/>
                  </a:lnTo>
                  <a:lnTo>
                    <a:pt x="191" y="144"/>
                  </a:lnTo>
                  <a:lnTo>
                    <a:pt x="191" y="144"/>
                  </a:lnTo>
                  <a:lnTo>
                    <a:pt x="193" y="144"/>
                  </a:lnTo>
                  <a:lnTo>
                    <a:pt x="193" y="144"/>
                  </a:lnTo>
                  <a:lnTo>
                    <a:pt x="201" y="148"/>
                  </a:lnTo>
                  <a:lnTo>
                    <a:pt x="205" y="148"/>
                  </a:lnTo>
                  <a:lnTo>
                    <a:pt x="209" y="144"/>
                  </a:lnTo>
                  <a:lnTo>
                    <a:pt x="209" y="144"/>
                  </a:lnTo>
                  <a:lnTo>
                    <a:pt x="211" y="142"/>
                  </a:lnTo>
                  <a:lnTo>
                    <a:pt x="213" y="142"/>
                  </a:lnTo>
                  <a:lnTo>
                    <a:pt x="215" y="144"/>
                  </a:lnTo>
                  <a:lnTo>
                    <a:pt x="215" y="144"/>
                  </a:lnTo>
                  <a:lnTo>
                    <a:pt x="221" y="150"/>
                  </a:lnTo>
                  <a:lnTo>
                    <a:pt x="225" y="150"/>
                  </a:lnTo>
                  <a:lnTo>
                    <a:pt x="225" y="150"/>
                  </a:lnTo>
                  <a:lnTo>
                    <a:pt x="225" y="148"/>
                  </a:lnTo>
                  <a:lnTo>
                    <a:pt x="225" y="148"/>
                  </a:lnTo>
                  <a:lnTo>
                    <a:pt x="221" y="138"/>
                  </a:lnTo>
                  <a:lnTo>
                    <a:pt x="219" y="134"/>
                  </a:lnTo>
                  <a:lnTo>
                    <a:pt x="219" y="132"/>
                  </a:lnTo>
                  <a:lnTo>
                    <a:pt x="221" y="130"/>
                  </a:lnTo>
                  <a:lnTo>
                    <a:pt x="221" y="130"/>
                  </a:lnTo>
                  <a:lnTo>
                    <a:pt x="223" y="128"/>
                  </a:lnTo>
                  <a:lnTo>
                    <a:pt x="225" y="124"/>
                  </a:lnTo>
                  <a:lnTo>
                    <a:pt x="227" y="120"/>
                  </a:lnTo>
                  <a:lnTo>
                    <a:pt x="229" y="118"/>
                  </a:lnTo>
                  <a:lnTo>
                    <a:pt x="229" y="118"/>
                  </a:lnTo>
                  <a:lnTo>
                    <a:pt x="237" y="116"/>
                  </a:lnTo>
                  <a:lnTo>
                    <a:pt x="239" y="114"/>
                  </a:lnTo>
                  <a:lnTo>
                    <a:pt x="237" y="112"/>
                  </a:lnTo>
                  <a:lnTo>
                    <a:pt x="237" y="112"/>
                  </a:lnTo>
                  <a:lnTo>
                    <a:pt x="233" y="110"/>
                  </a:lnTo>
                  <a:lnTo>
                    <a:pt x="227" y="108"/>
                  </a:lnTo>
                  <a:lnTo>
                    <a:pt x="227" y="108"/>
                  </a:lnTo>
                  <a:lnTo>
                    <a:pt x="223" y="106"/>
                  </a:lnTo>
                  <a:lnTo>
                    <a:pt x="223" y="106"/>
                  </a:lnTo>
                  <a:lnTo>
                    <a:pt x="217" y="98"/>
                  </a:lnTo>
                  <a:lnTo>
                    <a:pt x="205" y="90"/>
                  </a:lnTo>
                  <a:lnTo>
                    <a:pt x="205" y="90"/>
                  </a:lnTo>
                  <a:lnTo>
                    <a:pt x="205" y="90"/>
                  </a:lnTo>
                  <a:lnTo>
                    <a:pt x="205" y="90"/>
                  </a:lnTo>
                  <a:lnTo>
                    <a:pt x="205" y="9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66" name="Freeform 25"/>
            <p:cNvSpPr>
              <a:spLocks/>
            </p:cNvSpPr>
            <p:nvPr/>
          </p:nvSpPr>
          <p:spPr bwMode="auto">
            <a:xfrm>
              <a:off x="887" y="2474"/>
              <a:ext cx="139" cy="215"/>
            </a:xfrm>
            <a:custGeom>
              <a:avLst/>
              <a:gdLst>
                <a:gd name="T0" fmla="*/ 56 w 139"/>
                <a:gd name="T1" fmla="*/ 6 h 215"/>
                <a:gd name="T2" fmla="*/ 50 w 139"/>
                <a:gd name="T3" fmla="*/ 8 h 215"/>
                <a:gd name="T4" fmla="*/ 46 w 139"/>
                <a:gd name="T5" fmla="*/ 10 h 215"/>
                <a:gd name="T6" fmla="*/ 40 w 139"/>
                <a:gd name="T7" fmla="*/ 6 h 215"/>
                <a:gd name="T8" fmla="*/ 34 w 139"/>
                <a:gd name="T9" fmla="*/ 0 h 215"/>
                <a:gd name="T10" fmla="*/ 24 w 139"/>
                <a:gd name="T11" fmla="*/ 12 h 215"/>
                <a:gd name="T12" fmla="*/ 20 w 139"/>
                <a:gd name="T13" fmla="*/ 22 h 215"/>
                <a:gd name="T14" fmla="*/ 24 w 139"/>
                <a:gd name="T15" fmla="*/ 34 h 215"/>
                <a:gd name="T16" fmla="*/ 20 w 139"/>
                <a:gd name="T17" fmla="*/ 42 h 215"/>
                <a:gd name="T18" fmla="*/ 20 w 139"/>
                <a:gd name="T19" fmla="*/ 56 h 215"/>
                <a:gd name="T20" fmla="*/ 16 w 139"/>
                <a:gd name="T21" fmla="*/ 56 h 215"/>
                <a:gd name="T22" fmla="*/ 4 w 139"/>
                <a:gd name="T23" fmla="*/ 58 h 215"/>
                <a:gd name="T24" fmla="*/ 4 w 139"/>
                <a:gd name="T25" fmla="*/ 74 h 215"/>
                <a:gd name="T26" fmla="*/ 8 w 139"/>
                <a:gd name="T27" fmla="*/ 82 h 215"/>
                <a:gd name="T28" fmla="*/ 10 w 139"/>
                <a:gd name="T29" fmla="*/ 86 h 215"/>
                <a:gd name="T30" fmla="*/ 12 w 139"/>
                <a:gd name="T31" fmla="*/ 92 h 215"/>
                <a:gd name="T32" fmla="*/ 16 w 139"/>
                <a:gd name="T33" fmla="*/ 101 h 215"/>
                <a:gd name="T34" fmla="*/ 20 w 139"/>
                <a:gd name="T35" fmla="*/ 103 h 215"/>
                <a:gd name="T36" fmla="*/ 20 w 139"/>
                <a:gd name="T37" fmla="*/ 105 h 215"/>
                <a:gd name="T38" fmla="*/ 4 w 139"/>
                <a:gd name="T39" fmla="*/ 105 h 215"/>
                <a:gd name="T40" fmla="*/ 0 w 139"/>
                <a:gd name="T41" fmla="*/ 109 h 215"/>
                <a:gd name="T42" fmla="*/ 4 w 139"/>
                <a:gd name="T43" fmla="*/ 123 h 215"/>
                <a:gd name="T44" fmla="*/ 0 w 139"/>
                <a:gd name="T45" fmla="*/ 129 h 215"/>
                <a:gd name="T46" fmla="*/ 0 w 139"/>
                <a:gd name="T47" fmla="*/ 133 h 215"/>
                <a:gd name="T48" fmla="*/ 14 w 139"/>
                <a:gd name="T49" fmla="*/ 135 h 215"/>
                <a:gd name="T50" fmla="*/ 20 w 139"/>
                <a:gd name="T51" fmla="*/ 141 h 215"/>
                <a:gd name="T52" fmla="*/ 24 w 139"/>
                <a:gd name="T53" fmla="*/ 157 h 215"/>
                <a:gd name="T54" fmla="*/ 42 w 139"/>
                <a:gd name="T55" fmla="*/ 163 h 215"/>
                <a:gd name="T56" fmla="*/ 46 w 139"/>
                <a:gd name="T57" fmla="*/ 171 h 215"/>
                <a:gd name="T58" fmla="*/ 50 w 139"/>
                <a:gd name="T59" fmla="*/ 177 h 215"/>
                <a:gd name="T60" fmla="*/ 46 w 139"/>
                <a:gd name="T61" fmla="*/ 179 h 215"/>
                <a:gd name="T62" fmla="*/ 48 w 139"/>
                <a:gd name="T63" fmla="*/ 181 h 215"/>
                <a:gd name="T64" fmla="*/ 56 w 139"/>
                <a:gd name="T65" fmla="*/ 191 h 215"/>
                <a:gd name="T66" fmla="*/ 60 w 139"/>
                <a:gd name="T67" fmla="*/ 199 h 215"/>
                <a:gd name="T68" fmla="*/ 64 w 139"/>
                <a:gd name="T69" fmla="*/ 209 h 215"/>
                <a:gd name="T70" fmla="*/ 68 w 139"/>
                <a:gd name="T71" fmla="*/ 209 h 215"/>
                <a:gd name="T72" fmla="*/ 72 w 139"/>
                <a:gd name="T73" fmla="*/ 203 h 215"/>
                <a:gd name="T74" fmla="*/ 78 w 139"/>
                <a:gd name="T75" fmla="*/ 203 h 215"/>
                <a:gd name="T76" fmla="*/ 78 w 139"/>
                <a:gd name="T77" fmla="*/ 211 h 215"/>
                <a:gd name="T78" fmla="*/ 100 w 139"/>
                <a:gd name="T79" fmla="*/ 205 h 215"/>
                <a:gd name="T80" fmla="*/ 100 w 139"/>
                <a:gd name="T81" fmla="*/ 195 h 215"/>
                <a:gd name="T82" fmla="*/ 110 w 139"/>
                <a:gd name="T83" fmla="*/ 181 h 215"/>
                <a:gd name="T84" fmla="*/ 135 w 139"/>
                <a:gd name="T85" fmla="*/ 179 h 215"/>
                <a:gd name="T86" fmla="*/ 137 w 139"/>
                <a:gd name="T87" fmla="*/ 179 h 215"/>
                <a:gd name="T88" fmla="*/ 139 w 139"/>
                <a:gd name="T89" fmla="*/ 171 h 215"/>
                <a:gd name="T90" fmla="*/ 125 w 139"/>
                <a:gd name="T91" fmla="*/ 125 h 215"/>
                <a:gd name="T92" fmla="*/ 123 w 139"/>
                <a:gd name="T93" fmla="*/ 105 h 215"/>
                <a:gd name="T94" fmla="*/ 123 w 139"/>
                <a:gd name="T95" fmla="*/ 97 h 215"/>
                <a:gd name="T96" fmla="*/ 127 w 139"/>
                <a:gd name="T97" fmla="*/ 84 h 215"/>
                <a:gd name="T98" fmla="*/ 114 w 139"/>
                <a:gd name="T99" fmla="*/ 52 h 215"/>
                <a:gd name="T100" fmla="*/ 108 w 139"/>
                <a:gd name="T101" fmla="*/ 44 h 215"/>
                <a:gd name="T102" fmla="*/ 88 w 139"/>
                <a:gd name="T103" fmla="*/ 38 h 215"/>
                <a:gd name="T104" fmla="*/ 92 w 139"/>
                <a:gd name="T105" fmla="*/ 30 h 215"/>
                <a:gd name="T106" fmla="*/ 82 w 139"/>
                <a:gd name="T107" fmla="*/ 30 h 215"/>
                <a:gd name="T108" fmla="*/ 72 w 139"/>
                <a:gd name="T109" fmla="*/ 20 h 215"/>
                <a:gd name="T110" fmla="*/ 62 w 139"/>
                <a:gd name="T111" fmla="*/ 10 h 215"/>
                <a:gd name="T112" fmla="*/ 62 w 139"/>
                <a:gd name="T113" fmla="*/ 10 h 215"/>
                <a:gd name="T114" fmla="*/ 60 w 139"/>
                <a:gd name="T115" fmla="*/ 8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9" h="215">
                  <a:moveTo>
                    <a:pt x="60" y="8"/>
                  </a:moveTo>
                  <a:lnTo>
                    <a:pt x="60" y="8"/>
                  </a:lnTo>
                  <a:lnTo>
                    <a:pt x="56" y="6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0" y="8"/>
                  </a:lnTo>
                  <a:lnTo>
                    <a:pt x="46" y="10"/>
                  </a:lnTo>
                  <a:lnTo>
                    <a:pt x="46" y="10"/>
                  </a:lnTo>
                  <a:lnTo>
                    <a:pt x="46" y="10"/>
                  </a:lnTo>
                  <a:lnTo>
                    <a:pt x="46" y="10"/>
                  </a:lnTo>
                  <a:lnTo>
                    <a:pt x="42" y="8"/>
                  </a:lnTo>
                  <a:lnTo>
                    <a:pt x="40" y="6"/>
                  </a:lnTo>
                  <a:lnTo>
                    <a:pt x="38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2" y="6"/>
                  </a:lnTo>
                  <a:lnTo>
                    <a:pt x="30" y="8"/>
                  </a:lnTo>
                  <a:lnTo>
                    <a:pt x="24" y="12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0" y="22"/>
                  </a:lnTo>
                  <a:lnTo>
                    <a:pt x="18" y="26"/>
                  </a:lnTo>
                  <a:lnTo>
                    <a:pt x="24" y="34"/>
                  </a:lnTo>
                  <a:lnTo>
                    <a:pt x="24" y="34"/>
                  </a:lnTo>
                  <a:lnTo>
                    <a:pt x="22" y="36"/>
                  </a:lnTo>
                  <a:lnTo>
                    <a:pt x="20" y="40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0" y="52"/>
                  </a:lnTo>
                  <a:lnTo>
                    <a:pt x="20" y="56"/>
                  </a:lnTo>
                  <a:lnTo>
                    <a:pt x="18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0" y="56"/>
                  </a:lnTo>
                  <a:lnTo>
                    <a:pt x="8" y="56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2" y="72"/>
                  </a:lnTo>
                  <a:lnTo>
                    <a:pt x="4" y="74"/>
                  </a:lnTo>
                  <a:lnTo>
                    <a:pt x="10" y="80"/>
                  </a:lnTo>
                  <a:lnTo>
                    <a:pt x="10" y="80"/>
                  </a:lnTo>
                  <a:lnTo>
                    <a:pt x="8" y="82"/>
                  </a:lnTo>
                  <a:lnTo>
                    <a:pt x="8" y="84"/>
                  </a:lnTo>
                  <a:lnTo>
                    <a:pt x="10" y="86"/>
                  </a:lnTo>
                  <a:lnTo>
                    <a:pt x="10" y="86"/>
                  </a:lnTo>
                  <a:lnTo>
                    <a:pt x="10" y="86"/>
                  </a:lnTo>
                  <a:lnTo>
                    <a:pt x="12" y="88"/>
                  </a:lnTo>
                  <a:lnTo>
                    <a:pt x="12" y="92"/>
                  </a:lnTo>
                  <a:lnTo>
                    <a:pt x="12" y="97"/>
                  </a:lnTo>
                  <a:lnTo>
                    <a:pt x="12" y="99"/>
                  </a:lnTo>
                  <a:lnTo>
                    <a:pt x="16" y="101"/>
                  </a:lnTo>
                  <a:lnTo>
                    <a:pt x="16" y="101"/>
                  </a:lnTo>
                  <a:lnTo>
                    <a:pt x="20" y="101"/>
                  </a:lnTo>
                  <a:lnTo>
                    <a:pt x="20" y="103"/>
                  </a:lnTo>
                  <a:lnTo>
                    <a:pt x="22" y="105"/>
                  </a:lnTo>
                  <a:lnTo>
                    <a:pt x="20" y="105"/>
                  </a:lnTo>
                  <a:lnTo>
                    <a:pt x="20" y="105"/>
                  </a:lnTo>
                  <a:lnTo>
                    <a:pt x="18" y="107"/>
                  </a:lnTo>
                  <a:lnTo>
                    <a:pt x="12" y="107"/>
                  </a:lnTo>
                  <a:lnTo>
                    <a:pt x="4" y="105"/>
                  </a:lnTo>
                  <a:lnTo>
                    <a:pt x="0" y="107"/>
                  </a:lnTo>
                  <a:lnTo>
                    <a:pt x="0" y="107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9"/>
                  </a:lnTo>
                  <a:lnTo>
                    <a:pt x="4" y="123"/>
                  </a:lnTo>
                  <a:lnTo>
                    <a:pt x="4" y="123"/>
                  </a:lnTo>
                  <a:lnTo>
                    <a:pt x="2" y="127"/>
                  </a:lnTo>
                  <a:lnTo>
                    <a:pt x="0" y="129"/>
                  </a:lnTo>
                  <a:lnTo>
                    <a:pt x="0" y="133"/>
                  </a:lnTo>
                  <a:lnTo>
                    <a:pt x="0" y="133"/>
                  </a:lnTo>
                  <a:lnTo>
                    <a:pt x="0" y="133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14" y="135"/>
                  </a:lnTo>
                  <a:lnTo>
                    <a:pt x="18" y="137"/>
                  </a:lnTo>
                  <a:lnTo>
                    <a:pt x="20" y="141"/>
                  </a:lnTo>
                  <a:lnTo>
                    <a:pt x="20" y="141"/>
                  </a:lnTo>
                  <a:lnTo>
                    <a:pt x="20" y="149"/>
                  </a:lnTo>
                  <a:lnTo>
                    <a:pt x="24" y="157"/>
                  </a:lnTo>
                  <a:lnTo>
                    <a:pt x="24" y="157"/>
                  </a:lnTo>
                  <a:lnTo>
                    <a:pt x="30" y="159"/>
                  </a:lnTo>
                  <a:lnTo>
                    <a:pt x="34" y="163"/>
                  </a:lnTo>
                  <a:lnTo>
                    <a:pt x="42" y="163"/>
                  </a:lnTo>
                  <a:lnTo>
                    <a:pt x="42" y="163"/>
                  </a:lnTo>
                  <a:lnTo>
                    <a:pt x="44" y="167"/>
                  </a:lnTo>
                  <a:lnTo>
                    <a:pt x="46" y="171"/>
                  </a:lnTo>
                  <a:lnTo>
                    <a:pt x="50" y="175"/>
                  </a:lnTo>
                  <a:lnTo>
                    <a:pt x="50" y="177"/>
                  </a:lnTo>
                  <a:lnTo>
                    <a:pt x="50" y="177"/>
                  </a:lnTo>
                  <a:lnTo>
                    <a:pt x="50" y="177"/>
                  </a:lnTo>
                  <a:lnTo>
                    <a:pt x="50" y="177"/>
                  </a:lnTo>
                  <a:lnTo>
                    <a:pt x="46" y="179"/>
                  </a:lnTo>
                  <a:lnTo>
                    <a:pt x="46" y="179"/>
                  </a:lnTo>
                  <a:lnTo>
                    <a:pt x="46" y="181"/>
                  </a:lnTo>
                  <a:lnTo>
                    <a:pt x="48" y="181"/>
                  </a:lnTo>
                  <a:lnTo>
                    <a:pt x="48" y="181"/>
                  </a:lnTo>
                  <a:lnTo>
                    <a:pt x="54" y="187"/>
                  </a:lnTo>
                  <a:lnTo>
                    <a:pt x="56" y="191"/>
                  </a:lnTo>
                  <a:lnTo>
                    <a:pt x="60" y="199"/>
                  </a:lnTo>
                  <a:lnTo>
                    <a:pt x="60" y="199"/>
                  </a:lnTo>
                  <a:lnTo>
                    <a:pt x="60" y="199"/>
                  </a:lnTo>
                  <a:lnTo>
                    <a:pt x="60" y="199"/>
                  </a:lnTo>
                  <a:lnTo>
                    <a:pt x="62" y="203"/>
                  </a:lnTo>
                  <a:lnTo>
                    <a:pt x="64" y="209"/>
                  </a:lnTo>
                  <a:lnTo>
                    <a:pt x="66" y="211"/>
                  </a:lnTo>
                  <a:lnTo>
                    <a:pt x="68" y="211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70" y="203"/>
                  </a:lnTo>
                  <a:lnTo>
                    <a:pt x="72" y="203"/>
                  </a:lnTo>
                  <a:lnTo>
                    <a:pt x="76" y="201"/>
                  </a:lnTo>
                  <a:lnTo>
                    <a:pt x="78" y="203"/>
                  </a:lnTo>
                  <a:lnTo>
                    <a:pt x="78" y="203"/>
                  </a:lnTo>
                  <a:lnTo>
                    <a:pt x="80" y="205"/>
                  </a:lnTo>
                  <a:lnTo>
                    <a:pt x="78" y="209"/>
                  </a:lnTo>
                  <a:lnTo>
                    <a:pt x="78" y="211"/>
                  </a:lnTo>
                  <a:lnTo>
                    <a:pt x="84" y="215"/>
                  </a:lnTo>
                  <a:lnTo>
                    <a:pt x="88" y="213"/>
                  </a:lnTo>
                  <a:lnTo>
                    <a:pt x="100" y="205"/>
                  </a:lnTo>
                  <a:lnTo>
                    <a:pt x="88" y="191"/>
                  </a:lnTo>
                  <a:lnTo>
                    <a:pt x="92" y="191"/>
                  </a:lnTo>
                  <a:lnTo>
                    <a:pt x="100" y="195"/>
                  </a:lnTo>
                  <a:lnTo>
                    <a:pt x="108" y="195"/>
                  </a:lnTo>
                  <a:lnTo>
                    <a:pt x="102" y="187"/>
                  </a:lnTo>
                  <a:lnTo>
                    <a:pt x="110" y="181"/>
                  </a:lnTo>
                  <a:lnTo>
                    <a:pt x="114" y="187"/>
                  </a:lnTo>
                  <a:lnTo>
                    <a:pt x="127" y="183"/>
                  </a:lnTo>
                  <a:lnTo>
                    <a:pt x="135" y="179"/>
                  </a:lnTo>
                  <a:lnTo>
                    <a:pt x="137" y="179"/>
                  </a:lnTo>
                  <a:lnTo>
                    <a:pt x="137" y="179"/>
                  </a:lnTo>
                  <a:lnTo>
                    <a:pt x="137" y="179"/>
                  </a:lnTo>
                  <a:lnTo>
                    <a:pt x="137" y="179"/>
                  </a:lnTo>
                  <a:lnTo>
                    <a:pt x="139" y="175"/>
                  </a:lnTo>
                  <a:lnTo>
                    <a:pt x="139" y="171"/>
                  </a:lnTo>
                  <a:lnTo>
                    <a:pt x="139" y="167"/>
                  </a:lnTo>
                  <a:lnTo>
                    <a:pt x="139" y="167"/>
                  </a:lnTo>
                  <a:lnTo>
                    <a:pt x="125" y="125"/>
                  </a:lnTo>
                  <a:lnTo>
                    <a:pt x="125" y="125"/>
                  </a:lnTo>
                  <a:lnTo>
                    <a:pt x="123" y="113"/>
                  </a:lnTo>
                  <a:lnTo>
                    <a:pt x="123" y="105"/>
                  </a:lnTo>
                  <a:lnTo>
                    <a:pt x="123" y="101"/>
                  </a:lnTo>
                  <a:lnTo>
                    <a:pt x="123" y="101"/>
                  </a:lnTo>
                  <a:lnTo>
                    <a:pt x="123" y="97"/>
                  </a:lnTo>
                  <a:lnTo>
                    <a:pt x="127" y="92"/>
                  </a:lnTo>
                  <a:lnTo>
                    <a:pt x="127" y="88"/>
                  </a:lnTo>
                  <a:lnTo>
                    <a:pt x="127" y="84"/>
                  </a:lnTo>
                  <a:lnTo>
                    <a:pt x="127" y="84"/>
                  </a:lnTo>
                  <a:lnTo>
                    <a:pt x="121" y="66"/>
                  </a:lnTo>
                  <a:lnTo>
                    <a:pt x="114" y="52"/>
                  </a:lnTo>
                  <a:lnTo>
                    <a:pt x="114" y="52"/>
                  </a:lnTo>
                  <a:lnTo>
                    <a:pt x="114" y="46"/>
                  </a:lnTo>
                  <a:lnTo>
                    <a:pt x="108" y="44"/>
                  </a:lnTo>
                  <a:lnTo>
                    <a:pt x="108" y="44"/>
                  </a:lnTo>
                  <a:lnTo>
                    <a:pt x="96" y="42"/>
                  </a:lnTo>
                  <a:lnTo>
                    <a:pt x="88" y="38"/>
                  </a:lnTo>
                  <a:lnTo>
                    <a:pt x="88" y="38"/>
                  </a:lnTo>
                  <a:lnTo>
                    <a:pt x="86" y="36"/>
                  </a:lnTo>
                  <a:lnTo>
                    <a:pt x="92" y="30"/>
                  </a:lnTo>
                  <a:lnTo>
                    <a:pt x="86" y="28"/>
                  </a:lnTo>
                  <a:lnTo>
                    <a:pt x="82" y="30"/>
                  </a:lnTo>
                  <a:lnTo>
                    <a:pt x="82" y="30"/>
                  </a:lnTo>
                  <a:lnTo>
                    <a:pt x="78" y="28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0" y="18"/>
                  </a:lnTo>
                  <a:lnTo>
                    <a:pt x="68" y="14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67" name="Freeform 26"/>
            <p:cNvSpPr>
              <a:spLocks/>
            </p:cNvSpPr>
            <p:nvPr/>
          </p:nvSpPr>
          <p:spPr bwMode="auto">
            <a:xfrm>
              <a:off x="1245" y="1932"/>
              <a:ext cx="130" cy="168"/>
            </a:xfrm>
            <a:custGeom>
              <a:avLst/>
              <a:gdLst>
                <a:gd name="T0" fmla="*/ 10 w 130"/>
                <a:gd name="T1" fmla="*/ 56 h 168"/>
                <a:gd name="T2" fmla="*/ 24 w 130"/>
                <a:gd name="T3" fmla="*/ 66 h 168"/>
                <a:gd name="T4" fmla="*/ 26 w 130"/>
                <a:gd name="T5" fmla="*/ 70 h 168"/>
                <a:gd name="T6" fmla="*/ 28 w 130"/>
                <a:gd name="T7" fmla="*/ 78 h 168"/>
                <a:gd name="T8" fmla="*/ 28 w 130"/>
                <a:gd name="T9" fmla="*/ 78 h 168"/>
                <a:gd name="T10" fmla="*/ 28 w 130"/>
                <a:gd name="T11" fmla="*/ 86 h 168"/>
                <a:gd name="T12" fmla="*/ 18 w 130"/>
                <a:gd name="T13" fmla="*/ 98 h 168"/>
                <a:gd name="T14" fmla="*/ 18 w 130"/>
                <a:gd name="T15" fmla="*/ 102 h 168"/>
                <a:gd name="T16" fmla="*/ 28 w 130"/>
                <a:gd name="T17" fmla="*/ 120 h 168"/>
                <a:gd name="T18" fmla="*/ 30 w 130"/>
                <a:gd name="T19" fmla="*/ 126 h 168"/>
                <a:gd name="T20" fmla="*/ 28 w 130"/>
                <a:gd name="T21" fmla="*/ 134 h 168"/>
                <a:gd name="T22" fmla="*/ 32 w 130"/>
                <a:gd name="T23" fmla="*/ 144 h 168"/>
                <a:gd name="T24" fmla="*/ 26 w 130"/>
                <a:gd name="T25" fmla="*/ 146 h 168"/>
                <a:gd name="T26" fmla="*/ 22 w 130"/>
                <a:gd name="T27" fmla="*/ 150 h 168"/>
                <a:gd name="T28" fmla="*/ 18 w 130"/>
                <a:gd name="T29" fmla="*/ 160 h 168"/>
                <a:gd name="T30" fmla="*/ 20 w 130"/>
                <a:gd name="T31" fmla="*/ 162 h 168"/>
                <a:gd name="T32" fmla="*/ 26 w 130"/>
                <a:gd name="T33" fmla="*/ 164 h 168"/>
                <a:gd name="T34" fmla="*/ 28 w 130"/>
                <a:gd name="T35" fmla="*/ 164 h 168"/>
                <a:gd name="T36" fmla="*/ 38 w 130"/>
                <a:gd name="T37" fmla="*/ 158 h 168"/>
                <a:gd name="T38" fmla="*/ 42 w 130"/>
                <a:gd name="T39" fmla="*/ 154 h 168"/>
                <a:gd name="T40" fmla="*/ 50 w 130"/>
                <a:gd name="T41" fmla="*/ 160 h 168"/>
                <a:gd name="T42" fmla="*/ 56 w 130"/>
                <a:gd name="T43" fmla="*/ 162 h 168"/>
                <a:gd name="T44" fmla="*/ 68 w 130"/>
                <a:gd name="T45" fmla="*/ 160 h 168"/>
                <a:gd name="T46" fmla="*/ 74 w 130"/>
                <a:gd name="T47" fmla="*/ 160 h 168"/>
                <a:gd name="T48" fmla="*/ 78 w 130"/>
                <a:gd name="T49" fmla="*/ 164 h 168"/>
                <a:gd name="T50" fmla="*/ 84 w 130"/>
                <a:gd name="T51" fmla="*/ 162 h 168"/>
                <a:gd name="T52" fmla="*/ 88 w 130"/>
                <a:gd name="T53" fmla="*/ 160 h 168"/>
                <a:gd name="T54" fmla="*/ 98 w 130"/>
                <a:gd name="T55" fmla="*/ 168 h 168"/>
                <a:gd name="T56" fmla="*/ 102 w 130"/>
                <a:gd name="T57" fmla="*/ 168 h 168"/>
                <a:gd name="T58" fmla="*/ 106 w 130"/>
                <a:gd name="T59" fmla="*/ 158 h 168"/>
                <a:gd name="T60" fmla="*/ 110 w 130"/>
                <a:gd name="T61" fmla="*/ 152 h 168"/>
                <a:gd name="T62" fmla="*/ 112 w 130"/>
                <a:gd name="T63" fmla="*/ 150 h 168"/>
                <a:gd name="T64" fmla="*/ 116 w 130"/>
                <a:gd name="T65" fmla="*/ 138 h 168"/>
                <a:gd name="T66" fmla="*/ 112 w 130"/>
                <a:gd name="T67" fmla="*/ 130 h 168"/>
                <a:gd name="T68" fmla="*/ 106 w 130"/>
                <a:gd name="T69" fmla="*/ 126 h 168"/>
                <a:gd name="T70" fmla="*/ 102 w 130"/>
                <a:gd name="T71" fmla="*/ 114 h 168"/>
                <a:gd name="T72" fmla="*/ 98 w 130"/>
                <a:gd name="T73" fmla="*/ 100 h 168"/>
                <a:gd name="T74" fmla="*/ 106 w 130"/>
                <a:gd name="T75" fmla="*/ 92 h 168"/>
                <a:gd name="T76" fmla="*/ 112 w 130"/>
                <a:gd name="T77" fmla="*/ 80 h 168"/>
                <a:gd name="T78" fmla="*/ 124 w 130"/>
                <a:gd name="T79" fmla="*/ 68 h 168"/>
                <a:gd name="T80" fmla="*/ 130 w 130"/>
                <a:gd name="T81" fmla="*/ 62 h 168"/>
                <a:gd name="T82" fmla="*/ 130 w 130"/>
                <a:gd name="T83" fmla="*/ 54 h 168"/>
                <a:gd name="T84" fmla="*/ 128 w 130"/>
                <a:gd name="T85" fmla="*/ 44 h 168"/>
                <a:gd name="T86" fmla="*/ 118 w 130"/>
                <a:gd name="T87" fmla="*/ 38 h 168"/>
                <a:gd name="T88" fmla="*/ 110 w 130"/>
                <a:gd name="T89" fmla="*/ 34 h 168"/>
                <a:gd name="T90" fmla="*/ 98 w 130"/>
                <a:gd name="T91" fmla="*/ 30 h 168"/>
                <a:gd name="T92" fmla="*/ 84 w 130"/>
                <a:gd name="T93" fmla="*/ 28 h 168"/>
                <a:gd name="T94" fmla="*/ 66 w 130"/>
                <a:gd name="T95" fmla="*/ 16 h 168"/>
                <a:gd name="T96" fmla="*/ 66 w 130"/>
                <a:gd name="T97" fmla="*/ 6 h 168"/>
                <a:gd name="T98" fmla="*/ 64 w 130"/>
                <a:gd name="T99" fmla="*/ 0 h 168"/>
                <a:gd name="T100" fmla="*/ 56 w 130"/>
                <a:gd name="T101" fmla="*/ 2 h 168"/>
                <a:gd name="T102" fmla="*/ 52 w 130"/>
                <a:gd name="T103" fmla="*/ 4 h 168"/>
                <a:gd name="T104" fmla="*/ 40 w 130"/>
                <a:gd name="T105" fmla="*/ 6 h 168"/>
                <a:gd name="T106" fmla="*/ 32 w 130"/>
                <a:gd name="T107" fmla="*/ 6 h 168"/>
                <a:gd name="T108" fmla="*/ 26 w 130"/>
                <a:gd name="T109" fmla="*/ 22 h 168"/>
                <a:gd name="T110" fmla="*/ 16 w 130"/>
                <a:gd name="T111" fmla="*/ 24 h 168"/>
                <a:gd name="T112" fmla="*/ 6 w 130"/>
                <a:gd name="T113" fmla="*/ 28 h 168"/>
                <a:gd name="T114" fmla="*/ 0 w 130"/>
                <a:gd name="T115" fmla="*/ 38 h 168"/>
                <a:gd name="T116" fmla="*/ 6 w 130"/>
                <a:gd name="T117" fmla="*/ 48 h 168"/>
                <a:gd name="T118" fmla="*/ 8 w 130"/>
                <a:gd name="T119" fmla="*/ 52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30" h="168">
                  <a:moveTo>
                    <a:pt x="8" y="52"/>
                  </a:moveTo>
                  <a:lnTo>
                    <a:pt x="8" y="52"/>
                  </a:lnTo>
                  <a:lnTo>
                    <a:pt x="10" y="56"/>
                  </a:lnTo>
                  <a:lnTo>
                    <a:pt x="16" y="60"/>
                  </a:lnTo>
                  <a:lnTo>
                    <a:pt x="24" y="66"/>
                  </a:lnTo>
                  <a:lnTo>
                    <a:pt x="24" y="66"/>
                  </a:lnTo>
                  <a:lnTo>
                    <a:pt x="26" y="66"/>
                  </a:lnTo>
                  <a:lnTo>
                    <a:pt x="26" y="68"/>
                  </a:lnTo>
                  <a:lnTo>
                    <a:pt x="26" y="70"/>
                  </a:lnTo>
                  <a:lnTo>
                    <a:pt x="26" y="76"/>
                  </a:lnTo>
                  <a:lnTo>
                    <a:pt x="26" y="76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8" y="84"/>
                  </a:lnTo>
                  <a:lnTo>
                    <a:pt x="28" y="86"/>
                  </a:lnTo>
                  <a:lnTo>
                    <a:pt x="26" y="92"/>
                  </a:lnTo>
                  <a:lnTo>
                    <a:pt x="26" y="92"/>
                  </a:lnTo>
                  <a:lnTo>
                    <a:pt x="18" y="98"/>
                  </a:lnTo>
                  <a:lnTo>
                    <a:pt x="18" y="100"/>
                  </a:lnTo>
                  <a:lnTo>
                    <a:pt x="18" y="102"/>
                  </a:lnTo>
                  <a:lnTo>
                    <a:pt x="18" y="102"/>
                  </a:lnTo>
                  <a:lnTo>
                    <a:pt x="20" y="104"/>
                  </a:lnTo>
                  <a:lnTo>
                    <a:pt x="20" y="104"/>
                  </a:lnTo>
                  <a:lnTo>
                    <a:pt x="28" y="120"/>
                  </a:lnTo>
                  <a:lnTo>
                    <a:pt x="28" y="120"/>
                  </a:lnTo>
                  <a:lnTo>
                    <a:pt x="30" y="124"/>
                  </a:lnTo>
                  <a:lnTo>
                    <a:pt x="30" y="126"/>
                  </a:lnTo>
                  <a:lnTo>
                    <a:pt x="28" y="130"/>
                  </a:lnTo>
                  <a:lnTo>
                    <a:pt x="28" y="130"/>
                  </a:lnTo>
                  <a:lnTo>
                    <a:pt x="28" y="134"/>
                  </a:lnTo>
                  <a:lnTo>
                    <a:pt x="30" y="138"/>
                  </a:lnTo>
                  <a:lnTo>
                    <a:pt x="32" y="142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28" y="146"/>
                  </a:lnTo>
                  <a:lnTo>
                    <a:pt x="26" y="146"/>
                  </a:lnTo>
                  <a:lnTo>
                    <a:pt x="24" y="146"/>
                  </a:lnTo>
                  <a:lnTo>
                    <a:pt x="22" y="150"/>
                  </a:lnTo>
                  <a:lnTo>
                    <a:pt x="22" y="150"/>
                  </a:lnTo>
                  <a:lnTo>
                    <a:pt x="18" y="154"/>
                  </a:lnTo>
                  <a:lnTo>
                    <a:pt x="18" y="160"/>
                  </a:lnTo>
                  <a:lnTo>
                    <a:pt x="18" y="160"/>
                  </a:lnTo>
                  <a:lnTo>
                    <a:pt x="18" y="160"/>
                  </a:lnTo>
                  <a:lnTo>
                    <a:pt x="20" y="162"/>
                  </a:lnTo>
                  <a:lnTo>
                    <a:pt x="20" y="162"/>
                  </a:lnTo>
                  <a:lnTo>
                    <a:pt x="22" y="160"/>
                  </a:lnTo>
                  <a:lnTo>
                    <a:pt x="22" y="162"/>
                  </a:lnTo>
                  <a:lnTo>
                    <a:pt x="26" y="164"/>
                  </a:lnTo>
                  <a:lnTo>
                    <a:pt x="26" y="164"/>
                  </a:lnTo>
                  <a:lnTo>
                    <a:pt x="28" y="166"/>
                  </a:lnTo>
                  <a:lnTo>
                    <a:pt x="28" y="164"/>
                  </a:lnTo>
                  <a:lnTo>
                    <a:pt x="32" y="160"/>
                  </a:lnTo>
                  <a:lnTo>
                    <a:pt x="32" y="160"/>
                  </a:lnTo>
                  <a:lnTo>
                    <a:pt x="38" y="158"/>
                  </a:lnTo>
                  <a:lnTo>
                    <a:pt x="42" y="154"/>
                  </a:lnTo>
                  <a:lnTo>
                    <a:pt x="42" y="154"/>
                  </a:lnTo>
                  <a:lnTo>
                    <a:pt x="42" y="154"/>
                  </a:lnTo>
                  <a:lnTo>
                    <a:pt x="42" y="154"/>
                  </a:lnTo>
                  <a:lnTo>
                    <a:pt x="46" y="158"/>
                  </a:lnTo>
                  <a:lnTo>
                    <a:pt x="50" y="160"/>
                  </a:lnTo>
                  <a:lnTo>
                    <a:pt x="52" y="160"/>
                  </a:lnTo>
                  <a:lnTo>
                    <a:pt x="56" y="162"/>
                  </a:lnTo>
                  <a:lnTo>
                    <a:pt x="56" y="162"/>
                  </a:lnTo>
                  <a:lnTo>
                    <a:pt x="62" y="162"/>
                  </a:lnTo>
                  <a:lnTo>
                    <a:pt x="66" y="160"/>
                  </a:lnTo>
                  <a:lnTo>
                    <a:pt x="68" y="160"/>
                  </a:lnTo>
                  <a:lnTo>
                    <a:pt x="70" y="158"/>
                  </a:lnTo>
                  <a:lnTo>
                    <a:pt x="70" y="158"/>
                  </a:lnTo>
                  <a:lnTo>
                    <a:pt x="74" y="160"/>
                  </a:lnTo>
                  <a:lnTo>
                    <a:pt x="76" y="160"/>
                  </a:lnTo>
                  <a:lnTo>
                    <a:pt x="78" y="162"/>
                  </a:lnTo>
                  <a:lnTo>
                    <a:pt x="78" y="164"/>
                  </a:lnTo>
                  <a:lnTo>
                    <a:pt x="78" y="164"/>
                  </a:lnTo>
                  <a:lnTo>
                    <a:pt x="80" y="164"/>
                  </a:lnTo>
                  <a:lnTo>
                    <a:pt x="84" y="162"/>
                  </a:lnTo>
                  <a:lnTo>
                    <a:pt x="84" y="160"/>
                  </a:lnTo>
                  <a:lnTo>
                    <a:pt x="88" y="160"/>
                  </a:lnTo>
                  <a:lnTo>
                    <a:pt x="88" y="160"/>
                  </a:lnTo>
                  <a:lnTo>
                    <a:pt x="92" y="160"/>
                  </a:lnTo>
                  <a:lnTo>
                    <a:pt x="94" y="162"/>
                  </a:lnTo>
                  <a:lnTo>
                    <a:pt x="98" y="168"/>
                  </a:lnTo>
                  <a:lnTo>
                    <a:pt x="98" y="168"/>
                  </a:lnTo>
                  <a:lnTo>
                    <a:pt x="102" y="168"/>
                  </a:lnTo>
                  <a:lnTo>
                    <a:pt x="102" y="168"/>
                  </a:lnTo>
                  <a:lnTo>
                    <a:pt x="102" y="168"/>
                  </a:lnTo>
                  <a:lnTo>
                    <a:pt x="102" y="164"/>
                  </a:lnTo>
                  <a:lnTo>
                    <a:pt x="106" y="158"/>
                  </a:lnTo>
                  <a:lnTo>
                    <a:pt x="106" y="158"/>
                  </a:lnTo>
                  <a:lnTo>
                    <a:pt x="108" y="154"/>
                  </a:lnTo>
                  <a:lnTo>
                    <a:pt x="110" y="152"/>
                  </a:lnTo>
                  <a:lnTo>
                    <a:pt x="110" y="150"/>
                  </a:lnTo>
                  <a:lnTo>
                    <a:pt x="112" y="150"/>
                  </a:lnTo>
                  <a:lnTo>
                    <a:pt x="112" y="150"/>
                  </a:lnTo>
                  <a:lnTo>
                    <a:pt x="114" y="148"/>
                  </a:lnTo>
                  <a:lnTo>
                    <a:pt x="116" y="146"/>
                  </a:lnTo>
                  <a:lnTo>
                    <a:pt x="116" y="138"/>
                  </a:lnTo>
                  <a:lnTo>
                    <a:pt x="116" y="138"/>
                  </a:lnTo>
                  <a:lnTo>
                    <a:pt x="114" y="134"/>
                  </a:lnTo>
                  <a:lnTo>
                    <a:pt x="112" y="130"/>
                  </a:lnTo>
                  <a:lnTo>
                    <a:pt x="110" y="128"/>
                  </a:lnTo>
                  <a:lnTo>
                    <a:pt x="106" y="126"/>
                  </a:lnTo>
                  <a:lnTo>
                    <a:pt x="106" y="126"/>
                  </a:lnTo>
                  <a:lnTo>
                    <a:pt x="102" y="124"/>
                  </a:lnTo>
                  <a:lnTo>
                    <a:pt x="102" y="120"/>
                  </a:lnTo>
                  <a:lnTo>
                    <a:pt x="102" y="114"/>
                  </a:lnTo>
                  <a:lnTo>
                    <a:pt x="102" y="114"/>
                  </a:lnTo>
                  <a:lnTo>
                    <a:pt x="100" y="104"/>
                  </a:lnTo>
                  <a:lnTo>
                    <a:pt x="98" y="100"/>
                  </a:lnTo>
                  <a:lnTo>
                    <a:pt x="98" y="98"/>
                  </a:lnTo>
                  <a:lnTo>
                    <a:pt x="98" y="98"/>
                  </a:lnTo>
                  <a:lnTo>
                    <a:pt x="106" y="92"/>
                  </a:lnTo>
                  <a:lnTo>
                    <a:pt x="110" y="84"/>
                  </a:lnTo>
                  <a:lnTo>
                    <a:pt x="110" y="84"/>
                  </a:lnTo>
                  <a:lnTo>
                    <a:pt x="112" y="80"/>
                  </a:lnTo>
                  <a:lnTo>
                    <a:pt x="118" y="74"/>
                  </a:lnTo>
                  <a:lnTo>
                    <a:pt x="118" y="74"/>
                  </a:lnTo>
                  <a:lnTo>
                    <a:pt x="124" y="68"/>
                  </a:lnTo>
                  <a:lnTo>
                    <a:pt x="128" y="66"/>
                  </a:lnTo>
                  <a:lnTo>
                    <a:pt x="130" y="62"/>
                  </a:lnTo>
                  <a:lnTo>
                    <a:pt x="130" y="62"/>
                  </a:lnTo>
                  <a:lnTo>
                    <a:pt x="130" y="60"/>
                  </a:lnTo>
                  <a:lnTo>
                    <a:pt x="130" y="60"/>
                  </a:lnTo>
                  <a:lnTo>
                    <a:pt x="130" y="54"/>
                  </a:lnTo>
                  <a:lnTo>
                    <a:pt x="128" y="46"/>
                  </a:lnTo>
                  <a:lnTo>
                    <a:pt x="128" y="46"/>
                  </a:lnTo>
                  <a:lnTo>
                    <a:pt x="128" y="44"/>
                  </a:lnTo>
                  <a:lnTo>
                    <a:pt x="124" y="40"/>
                  </a:lnTo>
                  <a:lnTo>
                    <a:pt x="118" y="38"/>
                  </a:lnTo>
                  <a:lnTo>
                    <a:pt x="118" y="38"/>
                  </a:lnTo>
                  <a:lnTo>
                    <a:pt x="114" y="38"/>
                  </a:lnTo>
                  <a:lnTo>
                    <a:pt x="114" y="36"/>
                  </a:lnTo>
                  <a:lnTo>
                    <a:pt x="110" y="34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98" y="30"/>
                  </a:lnTo>
                  <a:lnTo>
                    <a:pt x="88" y="30"/>
                  </a:lnTo>
                  <a:lnTo>
                    <a:pt x="88" y="30"/>
                  </a:lnTo>
                  <a:lnTo>
                    <a:pt x="84" y="28"/>
                  </a:lnTo>
                  <a:lnTo>
                    <a:pt x="78" y="24"/>
                  </a:lnTo>
                  <a:lnTo>
                    <a:pt x="66" y="16"/>
                  </a:lnTo>
                  <a:lnTo>
                    <a:pt x="66" y="16"/>
                  </a:lnTo>
                  <a:lnTo>
                    <a:pt x="64" y="12"/>
                  </a:lnTo>
                  <a:lnTo>
                    <a:pt x="64" y="10"/>
                  </a:lnTo>
                  <a:lnTo>
                    <a:pt x="66" y="6"/>
                  </a:lnTo>
                  <a:lnTo>
                    <a:pt x="66" y="2"/>
                  </a:lnTo>
                  <a:lnTo>
                    <a:pt x="66" y="2"/>
                  </a:lnTo>
                  <a:lnTo>
                    <a:pt x="64" y="0"/>
                  </a:lnTo>
                  <a:lnTo>
                    <a:pt x="62" y="0"/>
                  </a:lnTo>
                  <a:lnTo>
                    <a:pt x="60" y="2"/>
                  </a:lnTo>
                  <a:lnTo>
                    <a:pt x="56" y="2"/>
                  </a:lnTo>
                  <a:lnTo>
                    <a:pt x="56" y="2"/>
                  </a:lnTo>
                  <a:lnTo>
                    <a:pt x="54" y="4"/>
                  </a:lnTo>
                  <a:lnTo>
                    <a:pt x="52" y="4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0" y="6"/>
                  </a:lnTo>
                  <a:lnTo>
                    <a:pt x="34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6" y="22"/>
                  </a:lnTo>
                  <a:lnTo>
                    <a:pt x="22" y="22"/>
                  </a:lnTo>
                  <a:lnTo>
                    <a:pt x="18" y="22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0" y="24"/>
                  </a:lnTo>
                  <a:lnTo>
                    <a:pt x="6" y="28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8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6" y="48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68" name="Freeform 27"/>
            <p:cNvSpPr>
              <a:spLocks/>
            </p:cNvSpPr>
            <p:nvPr/>
          </p:nvSpPr>
          <p:spPr bwMode="auto">
            <a:xfrm>
              <a:off x="1176" y="2032"/>
              <a:ext cx="101" cy="97"/>
            </a:xfrm>
            <a:custGeom>
              <a:avLst/>
              <a:gdLst>
                <a:gd name="T0" fmla="*/ 75 w 101"/>
                <a:gd name="T1" fmla="*/ 79 h 97"/>
                <a:gd name="T2" fmla="*/ 79 w 101"/>
                <a:gd name="T3" fmla="*/ 75 h 97"/>
                <a:gd name="T4" fmla="*/ 79 w 101"/>
                <a:gd name="T5" fmla="*/ 72 h 97"/>
                <a:gd name="T6" fmla="*/ 85 w 101"/>
                <a:gd name="T7" fmla="*/ 68 h 97"/>
                <a:gd name="T8" fmla="*/ 89 w 101"/>
                <a:gd name="T9" fmla="*/ 62 h 97"/>
                <a:gd name="T10" fmla="*/ 89 w 101"/>
                <a:gd name="T11" fmla="*/ 62 h 97"/>
                <a:gd name="T12" fmla="*/ 87 w 101"/>
                <a:gd name="T13" fmla="*/ 60 h 97"/>
                <a:gd name="T14" fmla="*/ 87 w 101"/>
                <a:gd name="T15" fmla="*/ 54 h 97"/>
                <a:gd name="T16" fmla="*/ 91 w 101"/>
                <a:gd name="T17" fmla="*/ 50 h 97"/>
                <a:gd name="T18" fmla="*/ 95 w 101"/>
                <a:gd name="T19" fmla="*/ 46 h 97"/>
                <a:gd name="T20" fmla="*/ 101 w 101"/>
                <a:gd name="T21" fmla="*/ 44 h 97"/>
                <a:gd name="T22" fmla="*/ 101 w 101"/>
                <a:gd name="T23" fmla="*/ 42 h 97"/>
                <a:gd name="T24" fmla="*/ 97 w 101"/>
                <a:gd name="T25" fmla="*/ 34 h 97"/>
                <a:gd name="T26" fmla="*/ 97 w 101"/>
                <a:gd name="T27" fmla="*/ 30 h 97"/>
                <a:gd name="T28" fmla="*/ 99 w 101"/>
                <a:gd name="T29" fmla="*/ 24 h 97"/>
                <a:gd name="T30" fmla="*/ 97 w 101"/>
                <a:gd name="T31" fmla="*/ 20 h 97"/>
                <a:gd name="T32" fmla="*/ 89 w 101"/>
                <a:gd name="T33" fmla="*/ 4 h 97"/>
                <a:gd name="T34" fmla="*/ 75 w 101"/>
                <a:gd name="T35" fmla="*/ 6 h 97"/>
                <a:gd name="T36" fmla="*/ 73 w 101"/>
                <a:gd name="T37" fmla="*/ 6 h 97"/>
                <a:gd name="T38" fmla="*/ 67 w 101"/>
                <a:gd name="T39" fmla="*/ 4 h 97"/>
                <a:gd name="T40" fmla="*/ 65 w 101"/>
                <a:gd name="T41" fmla="*/ 4 h 97"/>
                <a:gd name="T42" fmla="*/ 61 w 101"/>
                <a:gd name="T43" fmla="*/ 6 h 97"/>
                <a:gd name="T44" fmla="*/ 57 w 101"/>
                <a:gd name="T45" fmla="*/ 12 h 97"/>
                <a:gd name="T46" fmla="*/ 53 w 101"/>
                <a:gd name="T47" fmla="*/ 12 h 97"/>
                <a:gd name="T48" fmla="*/ 44 w 101"/>
                <a:gd name="T49" fmla="*/ 2 h 97"/>
                <a:gd name="T50" fmla="*/ 42 w 101"/>
                <a:gd name="T51" fmla="*/ 0 h 97"/>
                <a:gd name="T52" fmla="*/ 30 w 101"/>
                <a:gd name="T53" fmla="*/ 0 h 97"/>
                <a:gd name="T54" fmla="*/ 18 w 101"/>
                <a:gd name="T55" fmla="*/ 0 h 97"/>
                <a:gd name="T56" fmla="*/ 8 w 101"/>
                <a:gd name="T57" fmla="*/ 4 h 97"/>
                <a:gd name="T58" fmla="*/ 6 w 101"/>
                <a:gd name="T59" fmla="*/ 6 h 97"/>
                <a:gd name="T60" fmla="*/ 2 w 101"/>
                <a:gd name="T61" fmla="*/ 6 h 97"/>
                <a:gd name="T62" fmla="*/ 4 w 101"/>
                <a:gd name="T63" fmla="*/ 16 h 97"/>
                <a:gd name="T64" fmla="*/ 4 w 101"/>
                <a:gd name="T65" fmla="*/ 20 h 97"/>
                <a:gd name="T66" fmla="*/ 0 w 101"/>
                <a:gd name="T67" fmla="*/ 26 h 97"/>
                <a:gd name="T68" fmla="*/ 0 w 101"/>
                <a:gd name="T69" fmla="*/ 28 h 97"/>
                <a:gd name="T70" fmla="*/ 4 w 101"/>
                <a:gd name="T71" fmla="*/ 34 h 97"/>
                <a:gd name="T72" fmla="*/ 2 w 101"/>
                <a:gd name="T73" fmla="*/ 42 h 97"/>
                <a:gd name="T74" fmla="*/ 4 w 101"/>
                <a:gd name="T75" fmla="*/ 48 h 97"/>
                <a:gd name="T76" fmla="*/ 18 w 101"/>
                <a:gd name="T77" fmla="*/ 66 h 97"/>
                <a:gd name="T78" fmla="*/ 16 w 101"/>
                <a:gd name="T79" fmla="*/ 68 h 97"/>
                <a:gd name="T80" fmla="*/ 10 w 101"/>
                <a:gd name="T81" fmla="*/ 72 h 97"/>
                <a:gd name="T82" fmla="*/ 12 w 101"/>
                <a:gd name="T83" fmla="*/ 75 h 97"/>
                <a:gd name="T84" fmla="*/ 16 w 101"/>
                <a:gd name="T85" fmla="*/ 81 h 97"/>
                <a:gd name="T86" fmla="*/ 16 w 101"/>
                <a:gd name="T87" fmla="*/ 81 h 97"/>
                <a:gd name="T88" fmla="*/ 22 w 101"/>
                <a:gd name="T89" fmla="*/ 85 h 97"/>
                <a:gd name="T90" fmla="*/ 24 w 101"/>
                <a:gd name="T91" fmla="*/ 91 h 97"/>
                <a:gd name="T92" fmla="*/ 28 w 101"/>
                <a:gd name="T93" fmla="*/ 97 h 97"/>
                <a:gd name="T94" fmla="*/ 34 w 101"/>
                <a:gd name="T95" fmla="*/ 97 h 97"/>
                <a:gd name="T96" fmla="*/ 40 w 101"/>
                <a:gd name="T97" fmla="*/ 95 h 97"/>
                <a:gd name="T98" fmla="*/ 44 w 101"/>
                <a:gd name="T99" fmla="*/ 93 h 97"/>
                <a:gd name="T100" fmla="*/ 46 w 101"/>
                <a:gd name="T101" fmla="*/ 93 h 97"/>
                <a:gd name="T102" fmla="*/ 50 w 101"/>
                <a:gd name="T103" fmla="*/ 91 h 97"/>
                <a:gd name="T104" fmla="*/ 53 w 101"/>
                <a:gd name="T105" fmla="*/ 89 h 97"/>
                <a:gd name="T106" fmla="*/ 57 w 101"/>
                <a:gd name="T107" fmla="*/ 91 h 97"/>
                <a:gd name="T108" fmla="*/ 69 w 101"/>
                <a:gd name="T109" fmla="*/ 85 h 97"/>
                <a:gd name="T110" fmla="*/ 71 w 101"/>
                <a:gd name="T111" fmla="*/ 81 h 97"/>
                <a:gd name="T112" fmla="*/ 75 w 101"/>
                <a:gd name="T113" fmla="*/ 79 h 97"/>
                <a:gd name="T114" fmla="*/ 75 w 101"/>
                <a:gd name="T115" fmla="*/ 79 h 97"/>
                <a:gd name="T116" fmla="*/ 75 w 101"/>
                <a:gd name="T117" fmla="*/ 7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1" h="97">
                  <a:moveTo>
                    <a:pt x="75" y="79"/>
                  </a:moveTo>
                  <a:lnTo>
                    <a:pt x="75" y="79"/>
                  </a:lnTo>
                  <a:lnTo>
                    <a:pt x="77" y="79"/>
                  </a:lnTo>
                  <a:lnTo>
                    <a:pt x="79" y="75"/>
                  </a:lnTo>
                  <a:lnTo>
                    <a:pt x="79" y="75"/>
                  </a:lnTo>
                  <a:lnTo>
                    <a:pt x="79" y="72"/>
                  </a:lnTo>
                  <a:lnTo>
                    <a:pt x="79" y="72"/>
                  </a:lnTo>
                  <a:lnTo>
                    <a:pt x="85" y="68"/>
                  </a:lnTo>
                  <a:lnTo>
                    <a:pt x="89" y="62"/>
                  </a:lnTo>
                  <a:lnTo>
                    <a:pt x="89" y="62"/>
                  </a:lnTo>
                  <a:lnTo>
                    <a:pt x="89" y="62"/>
                  </a:lnTo>
                  <a:lnTo>
                    <a:pt x="89" y="62"/>
                  </a:lnTo>
                  <a:lnTo>
                    <a:pt x="87" y="60"/>
                  </a:lnTo>
                  <a:lnTo>
                    <a:pt x="87" y="60"/>
                  </a:lnTo>
                  <a:lnTo>
                    <a:pt x="87" y="60"/>
                  </a:lnTo>
                  <a:lnTo>
                    <a:pt x="87" y="54"/>
                  </a:lnTo>
                  <a:lnTo>
                    <a:pt x="91" y="50"/>
                  </a:lnTo>
                  <a:lnTo>
                    <a:pt x="91" y="50"/>
                  </a:lnTo>
                  <a:lnTo>
                    <a:pt x="93" y="46"/>
                  </a:lnTo>
                  <a:lnTo>
                    <a:pt x="95" y="46"/>
                  </a:lnTo>
                  <a:lnTo>
                    <a:pt x="97" y="46"/>
                  </a:lnTo>
                  <a:lnTo>
                    <a:pt x="101" y="44"/>
                  </a:lnTo>
                  <a:lnTo>
                    <a:pt x="101" y="44"/>
                  </a:lnTo>
                  <a:lnTo>
                    <a:pt x="101" y="42"/>
                  </a:lnTo>
                  <a:lnTo>
                    <a:pt x="99" y="38"/>
                  </a:lnTo>
                  <a:lnTo>
                    <a:pt x="97" y="34"/>
                  </a:lnTo>
                  <a:lnTo>
                    <a:pt x="97" y="30"/>
                  </a:lnTo>
                  <a:lnTo>
                    <a:pt x="97" y="30"/>
                  </a:lnTo>
                  <a:lnTo>
                    <a:pt x="99" y="26"/>
                  </a:lnTo>
                  <a:lnTo>
                    <a:pt x="99" y="24"/>
                  </a:lnTo>
                  <a:lnTo>
                    <a:pt x="97" y="20"/>
                  </a:lnTo>
                  <a:lnTo>
                    <a:pt x="97" y="20"/>
                  </a:lnTo>
                  <a:lnTo>
                    <a:pt x="89" y="4"/>
                  </a:lnTo>
                  <a:lnTo>
                    <a:pt x="89" y="4"/>
                  </a:lnTo>
                  <a:lnTo>
                    <a:pt x="83" y="4"/>
                  </a:lnTo>
                  <a:lnTo>
                    <a:pt x="75" y="6"/>
                  </a:lnTo>
                  <a:lnTo>
                    <a:pt x="75" y="6"/>
                  </a:lnTo>
                  <a:lnTo>
                    <a:pt x="73" y="6"/>
                  </a:lnTo>
                  <a:lnTo>
                    <a:pt x="69" y="6"/>
                  </a:lnTo>
                  <a:lnTo>
                    <a:pt x="67" y="4"/>
                  </a:lnTo>
                  <a:lnTo>
                    <a:pt x="65" y="4"/>
                  </a:lnTo>
                  <a:lnTo>
                    <a:pt x="65" y="4"/>
                  </a:lnTo>
                  <a:lnTo>
                    <a:pt x="63" y="4"/>
                  </a:lnTo>
                  <a:lnTo>
                    <a:pt x="61" y="6"/>
                  </a:lnTo>
                  <a:lnTo>
                    <a:pt x="57" y="8"/>
                  </a:lnTo>
                  <a:lnTo>
                    <a:pt x="57" y="12"/>
                  </a:lnTo>
                  <a:lnTo>
                    <a:pt x="57" y="12"/>
                  </a:lnTo>
                  <a:lnTo>
                    <a:pt x="53" y="12"/>
                  </a:lnTo>
                  <a:lnTo>
                    <a:pt x="51" y="8"/>
                  </a:lnTo>
                  <a:lnTo>
                    <a:pt x="44" y="2"/>
                  </a:lnTo>
                  <a:lnTo>
                    <a:pt x="44" y="2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0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6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12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20"/>
                  </a:lnTo>
                  <a:lnTo>
                    <a:pt x="2" y="22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8"/>
                  </a:lnTo>
                  <a:lnTo>
                    <a:pt x="2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4" y="48"/>
                  </a:lnTo>
                  <a:lnTo>
                    <a:pt x="8" y="54"/>
                  </a:lnTo>
                  <a:lnTo>
                    <a:pt x="18" y="66"/>
                  </a:lnTo>
                  <a:lnTo>
                    <a:pt x="18" y="66"/>
                  </a:lnTo>
                  <a:lnTo>
                    <a:pt x="16" y="68"/>
                  </a:lnTo>
                  <a:lnTo>
                    <a:pt x="10" y="72"/>
                  </a:lnTo>
                  <a:lnTo>
                    <a:pt x="10" y="72"/>
                  </a:lnTo>
                  <a:lnTo>
                    <a:pt x="10" y="72"/>
                  </a:lnTo>
                  <a:lnTo>
                    <a:pt x="12" y="75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20" y="83"/>
                  </a:lnTo>
                  <a:lnTo>
                    <a:pt x="22" y="85"/>
                  </a:lnTo>
                  <a:lnTo>
                    <a:pt x="24" y="91"/>
                  </a:lnTo>
                  <a:lnTo>
                    <a:pt x="24" y="91"/>
                  </a:lnTo>
                  <a:lnTo>
                    <a:pt x="26" y="95"/>
                  </a:lnTo>
                  <a:lnTo>
                    <a:pt x="28" y="97"/>
                  </a:lnTo>
                  <a:lnTo>
                    <a:pt x="34" y="97"/>
                  </a:lnTo>
                  <a:lnTo>
                    <a:pt x="34" y="97"/>
                  </a:lnTo>
                  <a:lnTo>
                    <a:pt x="38" y="97"/>
                  </a:lnTo>
                  <a:lnTo>
                    <a:pt x="40" y="95"/>
                  </a:lnTo>
                  <a:lnTo>
                    <a:pt x="42" y="93"/>
                  </a:lnTo>
                  <a:lnTo>
                    <a:pt x="44" y="93"/>
                  </a:lnTo>
                  <a:lnTo>
                    <a:pt x="44" y="93"/>
                  </a:lnTo>
                  <a:lnTo>
                    <a:pt x="46" y="93"/>
                  </a:lnTo>
                  <a:lnTo>
                    <a:pt x="48" y="91"/>
                  </a:lnTo>
                  <a:lnTo>
                    <a:pt x="50" y="91"/>
                  </a:lnTo>
                  <a:lnTo>
                    <a:pt x="50" y="91"/>
                  </a:lnTo>
                  <a:lnTo>
                    <a:pt x="53" y="89"/>
                  </a:lnTo>
                  <a:lnTo>
                    <a:pt x="55" y="89"/>
                  </a:lnTo>
                  <a:lnTo>
                    <a:pt x="57" y="91"/>
                  </a:lnTo>
                  <a:lnTo>
                    <a:pt x="57" y="91"/>
                  </a:lnTo>
                  <a:lnTo>
                    <a:pt x="69" y="85"/>
                  </a:lnTo>
                  <a:lnTo>
                    <a:pt x="69" y="85"/>
                  </a:lnTo>
                  <a:lnTo>
                    <a:pt x="71" y="81"/>
                  </a:lnTo>
                  <a:lnTo>
                    <a:pt x="71" y="81"/>
                  </a:lnTo>
                  <a:lnTo>
                    <a:pt x="75" y="79"/>
                  </a:lnTo>
                  <a:lnTo>
                    <a:pt x="75" y="79"/>
                  </a:lnTo>
                  <a:lnTo>
                    <a:pt x="75" y="79"/>
                  </a:lnTo>
                  <a:lnTo>
                    <a:pt x="75" y="79"/>
                  </a:lnTo>
                  <a:lnTo>
                    <a:pt x="75" y="79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69" name="Freeform 28"/>
            <p:cNvSpPr>
              <a:spLocks/>
            </p:cNvSpPr>
            <p:nvPr/>
          </p:nvSpPr>
          <p:spPr bwMode="auto">
            <a:xfrm>
              <a:off x="1277" y="2203"/>
              <a:ext cx="144" cy="167"/>
            </a:xfrm>
            <a:custGeom>
              <a:avLst/>
              <a:gdLst>
                <a:gd name="T0" fmla="*/ 112 w 144"/>
                <a:gd name="T1" fmla="*/ 167 h 167"/>
                <a:gd name="T2" fmla="*/ 116 w 144"/>
                <a:gd name="T3" fmla="*/ 157 h 167"/>
                <a:gd name="T4" fmla="*/ 124 w 144"/>
                <a:gd name="T5" fmla="*/ 151 h 167"/>
                <a:gd name="T6" fmla="*/ 130 w 144"/>
                <a:gd name="T7" fmla="*/ 143 h 167"/>
                <a:gd name="T8" fmla="*/ 132 w 144"/>
                <a:gd name="T9" fmla="*/ 133 h 167"/>
                <a:gd name="T10" fmla="*/ 132 w 144"/>
                <a:gd name="T11" fmla="*/ 122 h 167"/>
                <a:gd name="T12" fmla="*/ 136 w 144"/>
                <a:gd name="T13" fmla="*/ 118 h 167"/>
                <a:gd name="T14" fmla="*/ 136 w 144"/>
                <a:gd name="T15" fmla="*/ 106 h 167"/>
                <a:gd name="T16" fmla="*/ 142 w 144"/>
                <a:gd name="T17" fmla="*/ 98 h 167"/>
                <a:gd name="T18" fmla="*/ 134 w 144"/>
                <a:gd name="T19" fmla="*/ 88 h 167"/>
                <a:gd name="T20" fmla="*/ 132 w 144"/>
                <a:gd name="T21" fmla="*/ 86 h 167"/>
                <a:gd name="T22" fmla="*/ 122 w 144"/>
                <a:gd name="T23" fmla="*/ 76 h 167"/>
                <a:gd name="T24" fmla="*/ 108 w 144"/>
                <a:gd name="T25" fmla="*/ 62 h 167"/>
                <a:gd name="T26" fmla="*/ 102 w 144"/>
                <a:gd name="T27" fmla="*/ 64 h 167"/>
                <a:gd name="T28" fmla="*/ 96 w 144"/>
                <a:gd name="T29" fmla="*/ 70 h 167"/>
                <a:gd name="T30" fmla="*/ 88 w 144"/>
                <a:gd name="T31" fmla="*/ 64 h 167"/>
                <a:gd name="T32" fmla="*/ 82 w 144"/>
                <a:gd name="T33" fmla="*/ 50 h 167"/>
                <a:gd name="T34" fmla="*/ 84 w 144"/>
                <a:gd name="T35" fmla="*/ 40 h 167"/>
                <a:gd name="T36" fmla="*/ 80 w 144"/>
                <a:gd name="T37" fmla="*/ 28 h 167"/>
                <a:gd name="T38" fmla="*/ 74 w 144"/>
                <a:gd name="T39" fmla="*/ 24 h 167"/>
                <a:gd name="T40" fmla="*/ 62 w 144"/>
                <a:gd name="T41" fmla="*/ 20 h 167"/>
                <a:gd name="T42" fmla="*/ 56 w 144"/>
                <a:gd name="T43" fmla="*/ 12 h 167"/>
                <a:gd name="T44" fmla="*/ 46 w 144"/>
                <a:gd name="T45" fmla="*/ 10 h 167"/>
                <a:gd name="T46" fmla="*/ 42 w 144"/>
                <a:gd name="T47" fmla="*/ 2 h 167"/>
                <a:gd name="T48" fmla="*/ 38 w 144"/>
                <a:gd name="T49" fmla="*/ 0 h 167"/>
                <a:gd name="T50" fmla="*/ 28 w 144"/>
                <a:gd name="T51" fmla="*/ 12 h 167"/>
                <a:gd name="T52" fmla="*/ 24 w 144"/>
                <a:gd name="T53" fmla="*/ 24 h 167"/>
                <a:gd name="T54" fmla="*/ 20 w 144"/>
                <a:gd name="T55" fmla="*/ 36 h 167"/>
                <a:gd name="T56" fmla="*/ 16 w 144"/>
                <a:gd name="T57" fmla="*/ 72 h 167"/>
                <a:gd name="T58" fmla="*/ 16 w 144"/>
                <a:gd name="T59" fmla="*/ 74 h 167"/>
                <a:gd name="T60" fmla="*/ 10 w 144"/>
                <a:gd name="T61" fmla="*/ 74 h 167"/>
                <a:gd name="T62" fmla="*/ 0 w 144"/>
                <a:gd name="T63" fmla="*/ 78 h 167"/>
                <a:gd name="T64" fmla="*/ 10 w 144"/>
                <a:gd name="T65" fmla="*/ 86 h 167"/>
                <a:gd name="T66" fmla="*/ 20 w 144"/>
                <a:gd name="T67" fmla="*/ 100 h 167"/>
                <a:gd name="T68" fmla="*/ 24 w 144"/>
                <a:gd name="T69" fmla="*/ 108 h 167"/>
                <a:gd name="T70" fmla="*/ 32 w 144"/>
                <a:gd name="T71" fmla="*/ 116 h 167"/>
                <a:gd name="T72" fmla="*/ 40 w 144"/>
                <a:gd name="T73" fmla="*/ 112 h 167"/>
                <a:gd name="T74" fmla="*/ 44 w 144"/>
                <a:gd name="T75" fmla="*/ 122 h 167"/>
                <a:gd name="T76" fmla="*/ 46 w 144"/>
                <a:gd name="T77" fmla="*/ 130 h 167"/>
                <a:gd name="T78" fmla="*/ 60 w 144"/>
                <a:gd name="T79" fmla="*/ 139 h 167"/>
                <a:gd name="T80" fmla="*/ 70 w 144"/>
                <a:gd name="T81" fmla="*/ 143 h 167"/>
                <a:gd name="T82" fmla="*/ 70 w 144"/>
                <a:gd name="T83" fmla="*/ 153 h 167"/>
                <a:gd name="T84" fmla="*/ 78 w 144"/>
                <a:gd name="T85" fmla="*/ 155 h 167"/>
                <a:gd name="T86" fmla="*/ 92 w 144"/>
                <a:gd name="T87" fmla="*/ 153 h 167"/>
                <a:gd name="T88" fmla="*/ 98 w 144"/>
                <a:gd name="T89" fmla="*/ 161 h 167"/>
                <a:gd name="T90" fmla="*/ 102 w 144"/>
                <a:gd name="T91" fmla="*/ 167 h 167"/>
                <a:gd name="T92" fmla="*/ 106 w 144"/>
                <a:gd name="T93" fmla="*/ 167 h 167"/>
                <a:gd name="T94" fmla="*/ 110 w 144"/>
                <a:gd name="T95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44" h="167">
                  <a:moveTo>
                    <a:pt x="110" y="167"/>
                  </a:moveTo>
                  <a:lnTo>
                    <a:pt x="110" y="167"/>
                  </a:lnTo>
                  <a:lnTo>
                    <a:pt x="112" y="167"/>
                  </a:lnTo>
                  <a:lnTo>
                    <a:pt x="114" y="165"/>
                  </a:lnTo>
                  <a:lnTo>
                    <a:pt x="116" y="157"/>
                  </a:lnTo>
                  <a:lnTo>
                    <a:pt x="116" y="157"/>
                  </a:lnTo>
                  <a:lnTo>
                    <a:pt x="120" y="155"/>
                  </a:lnTo>
                  <a:lnTo>
                    <a:pt x="124" y="153"/>
                  </a:lnTo>
                  <a:lnTo>
                    <a:pt x="124" y="151"/>
                  </a:lnTo>
                  <a:lnTo>
                    <a:pt x="128" y="149"/>
                  </a:lnTo>
                  <a:lnTo>
                    <a:pt x="128" y="149"/>
                  </a:lnTo>
                  <a:lnTo>
                    <a:pt x="130" y="143"/>
                  </a:lnTo>
                  <a:lnTo>
                    <a:pt x="132" y="141"/>
                  </a:lnTo>
                  <a:lnTo>
                    <a:pt x="132" y="141"/>
                  </a:lnTo>
                  <a:lnTo>
                    <a:pt x="132" y="133"/>
                  </a:lnTo>
                  <a:lnTo>
                    <a:pt x="132" y="130"/>
                  </a:lnTo>
                  <a:lnTo>
                    <a:pt x="132" y="124"/>
                  </a:lnTo>
                  <a:lnTo>
                    <a:pt x="132" y="122"/>
                  </a:lnTo>
                  <a:lnTo>
                    <a:pt x="132" y="122"/>
                  </a:lnTo>
                  <a:lnTo>
                    <a:pt x="134" y="118"/>
                  </a:lnTo>
                  <a:lnTo>
                    <a:pt x="136" y="118"/>
                  </a:lnTo>
                  <a:lnTo>
                    <a:pt x="136" y="112"/>
                  </a:lnTo>
                  <a:lnTo>
                    <a:pt x="136" y="112"/>
                  </a:lnTo>
                  <a:lnTo>
                    <a:pt x="136" y="106"/>
                  </a:lnTo>
                  <a:lnTo>
                    <a:pt x="138" y="102"/>
                  </a:lnTo>
                  <a:lnTo>
                    <a:pt x="142" y="98"/>
                  </a:lnTo>
                  <a:lnTo>
                    <a:pt x="142" y="98"/>
                  </a:lnTo>
                  <a:lnTo>
                    <a:pt x="144" y="94"/>
                  </a:lnTo>
                  <a:lnTo>
                    <a:pt x="142" y="92"/>
                  </a:lnTo>
                  <a:lnTo>
                    <a:pt x="134" y="88"/>
                  </a:lnTo>
                  <a:lnTo>
                    <a:pt x="134" y="88"/>
                  </a:lnTo>
                  <a:lnTo>
                    <a:pt x="132" y="86"/>
                  </a:lnTo>
                  <a:lnTo>
                    <a:pt x="132" y="86"/>
                  </a:lnTo>
                  <a:lnTo>
                    <a:pt x="126" y="82"/>
                  </a:lnTo>
                  <a:lnTo>
                    <a:pt x="122" y="76"/>
                  </a:lnTo>
                  <a:lnTo>
                    <a:pt x="122" y="76"/>
                  </a:lnTo>
                  <a:lnTo>
                    <a:pt x="114" y="66"/>
                  </a:lnTo>
                  <a:lnTo>
                    <a:pt x="110" y="64"/>
                  </a:lnTo>
                  <a:lnTo>
                    <a:pt x="108" y="62"/>
                  </a:lnTo>
                  <a:lnTo>
                    <a:pt x="108" y="62"/>
                  </a:lnTo>
                  <a:lnTo>
                    <a:pt x="104" y="62"/>
                  </a:lnTo>
                  <a:lnTo>
                    <a:pt x="102" y="64"/>
                  </a:lnTo>
                  <a:lnTo>
                    <a:pt x="98" y="66"/>
                  </a:lnTo>
                  <a:lnTo>
                    <a:pt x="98" y="66"/>
                  </a:lnTo>
                  <a:lnTo>
                    <a:pt x="96" y="70"/>
                  </a:lnTo>
                  <a:lnTo>
                    <a:pt x="92" y="70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4" y="62"/>
                  </a:lnTo>
                  <a:lnTo>
                    <a:pt x="84" y="56"/>
                  </a:lnTo>
                  <a:lnTo>
                    <a:pt x="82" y="50"/>
                  </a:lnTo>
                  <a:lnTo>
                    <a:pt x="82" y="46"/>
                  </a:lnTo>
                  <a:lnTo>
                    <a:pt x="82" y="46"/>
                  </a:lnTo>
                  <a:lnTo>
                    <a:pt x="84" y="40"/>
                  </a:lnTo>
                  <a:lnTo>
                    <a:pt x="82" y="36"/>
                  </a:lnTo>
                  <a:lnTo>
                    <a:pt x="82" y="36"/>
                  </a:lnTo>
                  <a:lnTo>
                    <a:pt x="80" y="28"/>
                  </a:lnTo>
                  <a:lnTo>
                    <a:pt x="78" y="26"/>
                  </a:lnTo>
                  <a:lnTo>
                    <a:pt x="74" y="24"/>
                  </a:lnTo>
                  <a:lnTo>
                    <a:pt x="74" y="24"/>
                  </a:lnTo>
                  <a:lnTo>
                    <a:pt x="70" y="20"/>
                  </a:lnTo>
                  <a:lnTo>
                    <a:pt x="66" y="20"/>
                  </a:lnTo>
                  <a:lnTo>
                    <a:pt x="62" y="20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6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46" y="1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4" y="6"/>
                  </a:lnTo>
                  <a:lnTo>
                    <a:pt x="30" y="10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0" y="18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4"/>
                  </a:lnTo>
                  <a:lnTo>
                    <a:pt x="12" y="74"/>
                  </a:lnTo>
                  <a:lnTo>
                    <a:pt x="10" y="74"/>
                  </a:lnTo>
                  <a:lnTo>
                    <a:pt x="10" y="74"/>
                  </a:lnTo>
                  <a:lnTo>
                    <a:pt x="6" y="7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6" y="82"/>
                  </a:lnTo>
                  <a:lnTo>
                    <a:pt x="6" y="82"/>
                  </a:lnTo>
                  <a:lnTo>
                    <a:pt x="10" y="86"/>
                  </a:lnTo>
                  <a:lnTo>
                    <a:pt x="12" y="94"/>
                  </a:lnTo>
                  <a:lnTo>
                    <a:pt x="12" y="94"/>
                  </a:lnTo>
                  <a:lnTo>
                    <a:pt x="20" y="100"/>
                  </a:lnTo>
                  <a:lnTo>
                    <a:pt x="20" y="104"/>
                  </a:lnTo>
                  <a:lnTo>
                    <a:pt x="24" y="108"/>
                  </a:lnTo>
                  <a:lnTo>
                    <a:pt x="24" y="108"/>
                  </a:lnTo>
                  <a:lnTo>
                    <a:pt x="24" y="112"/>
                  </a:lnTo>
                  <a:lnTo>
                    <a:pt x="30" y="116"/>
                  </a:lnTo>
                  <a:lnTo>
                    <a:pt x="32" y="116"/>
                  </a:lnTo>
                  <a:lnTo>
                    <a:pt x="36" y="112"/>
                  </a:lnTo>
                  <a:lnTo>
                    <a:pt x="36" y="112"/>
                  </a:lnTo>
                  <a:lnTo>
                    <a:pt x="40" y="112"/>
                  </a:lnTo>
                  <a:lnTo>
                    <a:pt x="42" y="116"/>
                  </a:lnTo>
                  <a:lnTo>
                    <a:pt x="44" y="118"/>
                  </a:lnTo>
                  <a:lnTo>
                    <a:pt x="44" y="122"/>
                  </a:lnTo>
                  <a:lnTo>
                    <a:pt x="44" y="122"/>
                  </a:lnTo>
                  <a:lnTo>
                    <a:pt x="46" y="128"/>
                  </a:lnTo>
                  <a:lnTo>
                    <a:pt x="46" y="130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60" y="139"/>
                  </a:lnTo>
                  <a:lnTo>
                    <a:pt x="66" y="143"/>
                  </a:lnTo>
                  <a:lnTo>
                    <a:pt x="66" y="143"/>
                  </a:lnTo>
                  <a:lnTo>
                    <a:pt x="70" y="143"/>
                  </a:lnTo>
                  <a:lnTo>
                    <a:pt x="70" y="145"/>
                  </a:lnTo>
                  <a:lnTo>
                    <a:pt x="70" y="149"/>
                  </a:lnTo>
                  <a:lnTo>
                    <a:pt x="70" y="153"/>
                  </a:lnTo>
                  <a:lnTo>
                    <a:pt x="70" y="153"/>
                  </a:lnTo>
                  <a:lnTo>
                    <a:pt x="74" y="155"/>
                  </a:lnTo>
                  <a:lnTo>
                    <a:pt x="78" y="155"/>
                  </a:lnTo>
                  <a:lnTo>
                    <a:pt x="88" y="153"/>
                  </a:lnTo>
                  <a:lnTo>
                    <a:pt x="88" y="153"/>
                  </a:lnTo>
                  <a:lnTo>
                    <a:pt x="92" y="153"/>
                  </a:lnTo>
                  <a:lnTo>
                    <a:pt x="92" y="153"/>
                  </a:lnTo>
                  <a:lnTo>
                    <a:pt x="98" y="155"/>
                  </a:lnTo>
                  <a:lnTo>
                    <a:pt x="98" y="161"/>
                  </a:lnTo>
                  <a:lnTo>
                    <a:pt x="102" y="167"/>
                  </a:lnTo>
                  <a:lnTo>
                    <a:pt x="102" y="167"/>
                  </a:lnTo>
                  <a:lnTo>
                    <a:pt x="102" y="167"/>
                  </a:lnTo>
                  <a:lnTo>
                    <a:pt x="104" y="167"/>
                  </a:lnTo>
                  <a:lnTo>
                    <a:pt x="104" y="167"/>
                  </a:lnTo>
                  <a:lnTo>
                    <a:pt x="106" y="167"/>
                  </a:lnTo>
                  <a:lnTo>
                    <a:pt x="110" y="167"/>
                  </a:lnTo>
                  <a:lnTo>
                    <a:pt x="110" y="167"/>
                  </a:lnTo>
                  <a:lnTo>
                    <a:pt x="110" y="167"/>
                  </a:lnTo>
                  <a:lnTo>
                    <a:pt x="110" y="167"/>
                  </a:lnTo>
                  <a:lnTo>
                    <a:pt x="110" y="167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70" name="Freeform 29"/>
            <p:cNvSpPr>
              <a:spLocks/>
            </p:cNvSpPr>
            <p:nvPr/>
          </p:nvSpPr>
          <p:spPr bwMode="auto">
            <a:xfrm>
              <a:off x="1136" y="2113"/>
              <a:ext cx="123" cy="118"/>
            </a:xfrm>
            <a:custGeom>
              <a:avLst/>
              <a:gdLst>
                <a:gd name="T0" fmla="*/ 80 w 123"/>
                <a:gd name="T1" fmla="*/ 100 h 118"/>
                <a:gd name="T2" fmla="*/ 82 w 123"/>
                <a:gd name="T3" fmla="*/ 84 h 118"/>
                <a:gd name="T4" fmla="*/ 90 w 123"/>
                <a:gd name="T5" fmla="*/ 72 h 118"/>
                <a:gd name="T6" fmla="*/ 97 w 123"/>
                <a:gd name="T7" fmla="*/ 64 h 118"/>
                <a:gd name="T8" fmla="*/ 115 w 123"/>
                <a:gd name="T9" fmla="*/ 54 h 118"/>
                <a:gd name="T10" fmla="*/ 117 w 123"/>
                <a:gd name="T11" fmla="*/ 46 h 118"/>
                <a:gd name="T12" fmla="*/ 123 w 123"/>
                <a:gd name="T13" fmla="*/ 40 h 118"/>
                <a:gd name="T14" fmla="*/ 119 w 123"/>
                <a:gd name="T15" fmla="*/ 34 h 118"/>
                <a:gd name="T16" fmla="*/ 115 w 123"/>
                <a:gd name="T17" fmla="*/ 30 h 118"/>
                <a:gd name="T18" fmla="*/ 107 w 123"/>
                <a:gd name="T19" fmla="*/ 32 h 118"/>
                <a:gd name="T20" fmla="*/ 97 w 123"/>
                <a:gd name="T21" fmla="*/ 24 h 118"/>
                <a:gd name="T22" fmla="*/ 97 w 123"/>
                <a:gd name="T23" fmla="*/ 22 h 118"/>
                <a:gd name="T24" fmla="*/ 97 w 123"/>
                <a:gd name="T25" fmla="*/ 14 h 118"/>
                <a:gd name="T26" fmla="*/ 97 w 123"/>
                <a:gd name="T27" fmla="*/ 10 h 118"/>
                <a:gd name="T28" fmla="*/ 95 w 123"/>
                <a:gd name="T29" fmla="*/ 8 h 118"/>
                <a:gd name="T30" fmla="*/ 90 w 123"/>
                <a:gd name="T31" fmla="*/ 10 h 118"/>
                <a:gd name="T32" fmla="*/ 88 w 123"/>
                <a:gd name="T33" fmla="*/ 10 h 118"/>
                <a:gd name="T34" fmla="*/ 84 w 123"/>
                <a:gd name="T35" fmla="*/ 12 h 118"/>
                <a:gd name="T36" fmla="*/ 82 w 123"/>
                <a:gd name="T37" fmla="*/ 12 h 118"/>
                <a:gd name="T38" fmla="*/ 78 w 123"/>
                <a:gd name="T39" fmla="*/ 16 h 118"/>
                <a:gd name="T40" fmla="*/ 74 w 123"/>
                <a:gd name="T41" fmla="*/ 16 h 118"/>
                <a:gd name="T42" fmla="*/ 66 w 123"/>
                <a:gd name="T43" fmla="*/ 14 h 118"/>
                <a:gd name="T44" fmla="*/ 64 w 123"/>
                <a:gd name="T45" fmla="*/ 10 h 118"/>
                <a:gd name="T46" fmla="*/ 60 w 123"/>
                <a:gd name="T47" fmla="*/ 2 h 118"/>
                <a:gd name="T48" fmla="*/ 56 w 123"/>
                <a:gd name="T49" fmla="*/ 0 h 118"/>
                <a:gd name="T50" fmla="*/ 56 w 123"/>
                <a:gd name="T51" fmla="*/ 0 h 118"/>
                <a:gd name="T52" fmla="*/ 48 w 123"/>
                <a:gd name="T53" fmla="*/ 4 h 118"/>
                <a:gd name="T54" fmla="*/ 42 w 123"/>
                <a:gd name="T55" fmla="*/ 8 h 118"/>
                <a:gd name="T56" fmla="*/ 34 w 123"/>
                <a:gd name="T57" fmla="*/ 8 h 118"/>
                <a:gd name="T58" fmla="*/ 32 w 123"/>
                <a:gd name="T59" fmla="*/ 10 h 118"/>
                <a:gd name="T60" fmla="*/ 32 w 123"/>
                <a:gd name="T61" fmla="*/ 14 h 118"/>
                <a:gd name="T62" fmla="*/ 26 w 123"/>
                <a:gd name="T63" fmla="*/ 24 h 118"/>
                <a:gd name="T64" fmla="*/ 26 w 123"/>
                <a:gd name="T65" fmla="*/ 30 h 118"/>
                <a:gd name="T66" fmla="*/ 18 w 123"/>
                <a:gd name="T67" fmla="*/ 30 h 118"/>
                <a:gd name="T68" fmla="*/ 10 w 123"/>
                <a:gd name="T69" fmla="*/ 28 h 118"/>
                <a:gd name="T70" fmla="*/ 6 w 123"/>
                <a:gd name="T71" fmla="*/ 30 h 118"/>
                <a:gd name="T72" fmla="*/ 4 w 123"/>
                <a:gd name="T73" fmla="*/ 32 h 118"/>
                <a:gd name="T74" fmla="*/ 0 w 123"/>
                <a:gd name="T75" fmla="*/ 32 h 118"/>
                <a:gd name="T76" fmla="*/ 0 w 123"/>
                <a:gd name="T77" fmla="*/ 38 h 118"/>
                <a:gd name="T78" fmla="*/ 2 w 123"/>
                <a:gd name="T79" fmla="*/ 44 h 118"/>
                <a:gd name="T80" fmla="*/ 4 w 123"/>
                <a:gd name="T81" fmla="*/ 48 h 118"/>
                <a:gd name="T82" fmla="*/ 10 w 123"/>
                <a:gd name="T83" fmla="*/ 50 h 118"/>
                <a:gd name="T84" fmla="*/ 12 w 123"/>
                <a:gd name="T85" fmla="*/ 50 h 118"/>
                <a:gd name="T86" fmla="*/ 14 w 123"/>
                <a:gd name="T87" fmla="*/ 50 h 118"/>
                <a:gd name="T88" fmla="*/ 20 w 123"/>
                <a:gd name="T89" fmla="*/ 52 h 118"/>
                <a:gd name="T90" fmla="*/ 26 w 123"/>
                <a:gd name="T91" fmla="*/ 54 h 118"/>
                <a:gd name="T92" fmla="*/ 32 w 123"/>
                <a:gd name="T93" fmla="*/ 58 h 118"/>
                <a:gd name="T94" fmla="*/ 32 w 123"/>
                <a:gd name="T95" fmla="*/ 68 h 118"/>
                <a:gd name="T96" fmla="*/ 36 w 123"/>
                <a:gd name="T97" fmla="*/ 76 h 118"/>
                <a:gd name="T98" fmla="*/ 36 w 123"/>
                <a:gd name="T99" fmla="*/ 76 h 118"/>
                <a:gd name="T100" fmla="*/ 40 w 123"/>
                <a:gd name="T101" fmla="*/ 80 h 118"/>
                <a:gd name="T102" fmla="*/ 44 w 123"/>
                <a:gd name="T103" fmla="*/ 96 h 118"/>
                <a:gd name="T104" fmla="*/ 48 w 123"/>
                <a:gd name="T105" fmla="*/ 100 h 118"/>
                <a:gd name="T106" fmla="*/ 56 w 123"/>
                <a:gd name="T107" fmla="*/ 106 h 118"/>
                <a:gd name="T108" fmla="*/ 62 w 123"/>
                <a:gd name="T109" fmla="*/ 114 h 118"/>
                <a:gd name="T110" fmla="*/ 64 w 123"/>
                <a:gd name="T111" fmla="*/ 118 h 118"/>
                <a:gd name="T112" fmla="*/ 78 w 123"/>
                <a:gd name="T113" fmla="*/ 110 h 118"/>
                <a:gd name="T114" fmla="*/ 80 w 123"/>
                <a:gd name="T115" fmla="*/ 110 h 118"/>
                <a:gd name="T116" fmla="*/ 80 w 123"/>
                <a:gd name="T117" fmla="*/ 104 h 118"/>
                <a:gd name="T118" fmla="*/ 80 w 123"/>
                <a:gd name="T119" fmla="*/ 100 h 118"/>
                <a:gd name="T120" fmla="*/ 80 w 123"/>
                <a:gd name="T121" fmla="*/ 10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3" h="118">
                  <a:moveTo>
                    <a:pt x="80" y="100"/>
                  </a:moveTo>
                  <a:lnTo>
                    <a:pt x="80" y="100"/>
                  </a:lnTo>
                  <a:lnTo>
                    <a:pt x="80" y="92"/>
                  </a:lnTo>
                  <a:lnTo>
                    <a:pt x="82" y="84"/>
                  </a:lnTo>
                  <a:lnTo>
                    <a:pt x="84" y="76"/>
                  </a:lnTo>
                  <a:lnTo>
                    <a:pt x="90" y="72"/>
                  </a:lnTo>
                  <a:lnTo>
                    <a:pt x="93" y="70"/>
                  </a:lnTo>
                  <a:lnTo>
                    <a:pt x="97" y="64"/>
                  </a:lnTo>
                  <a:lnTo>
                    <a:pt x="115" y="54"/>
                  </a:lnTo>
                  <a:lnTo>
                    <a:pt x="115" y="54"/>
                  </a:lnTo>
                  <a:lnTo>
                    <a:pt x="117" y="46"/>
                  </a:lnTo>
                  <a:lnTo>
                    <a:pt x="117" y="46"/>
                  </a:lnTo>
                  <a:lnTo>
                    <a:pt x="123" y="40"/>
                  </a:lnTo>
                  <a:lnTo>
                    <a:pt x="123" y="40"/>
                  </a:lnTo>
                  <a:lnTo>
                    <a:pt x="123" y="36"/>
                  </a:lnTo>
                  <a:lnTo>
                    <a:pt x="119" y="34"/>
                  </a:lnTo>
                  <a:lnTo>
                    <a:pt x="115" y="30"/>
                  </a:lnTo>
                  <a:lnTo>
                    <a:pt x="115" y="30"/>
                  </a:lnTo>
                  <a:lnTo>
                    <a:pt x="115" y="30"/>
                  </a:lnTo>
                  <a:lnTo>
                    <a:pt x="107" y="32"/>
                  </a:lnTo>
                  <a:lnTo>
                    <a:pt x="107" y="32"/>
                  </a:lnTo>
                  <a:lnTo>
                    <a:pt x="97" y="24"/>
                  </a:lnTo>
                  <a:lnTo>
                    <a:pt x="97" y="24"/>
                  </a:lnTo>
                  <a:lnTo>
                    <a:pt x="97" y="22"/>
                  </a:lnTo>
                  <a:lnTo>
                    <a:pt x="97" y="18"/>
                  </a:lnTo>
                  <a:lnTo>
                    <a:pt x="97" y="14"/>
                  </a:lnTo>
                  <a:lnTo>
                    <a:pt x="101" y="12"/>
                  </a:lnTo>
                  <a:lnTo>
                    <a:pt x="97" y="10"/>
                  </a:lnTo>
                  <a:lnTo>
                    <a:pt x="97" y="10"/>
                  </a:lnTo>
                  <a:lnTo>
                    <a:pt x="95" y="8"/>
                  </a:lnTo>
                  <a:lnTo>
                    <a:pt x="93" y="8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88" y="10"/>
                  </a:lnTo>
                  <a:lnTo>
                    <a:pt x="86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2" y="12"/>
                  </a:lnTo>
                  <a:lnTo>
                    <a:pt x="80" y="14"/>
                  </a:lnTo>
                  <a:lnTo>
                    <a:pt x="78" y="16"/>
                  </a:lnTo>
                  <a:lnTo>
                    <a:pt x="74" y="16"/>
                  </a:lnTo>
                  <a:lnTo>
                    <a:pt x="74" y="16"/>
                  </a:lnTo>
                  <a:lnTo>
                    <a:pt x="68" y="16"/>
                  </a:lnTo>
                  <a:lnTo>
                    <a:pt x="66" y="14"/>
                  </a:lnTo>
                  <a:lnTo>
                    <a:pt x="64" y="10"/>
                  </a:lnTo>
                  <a:lnTo>
                    <a:pt x="64" y="10"/>
                  </a:lnTo>
                  <a:lnTo>
                    <a:pt x="62" y="4"/>
                  </a:lnTo>
                  <a:lnTo>
                    <a:pt x="60" y="2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0" y="4"/>
                  </a:lnTo>
                  <a:lnTo>
                    <a:pt x="48" y="4"/>
                  </a:lnTo>
                  <a:lnTo>
                    <a:pt x="46" y="6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34" y="8"/>
                  </a:lnTo>
                  <a:lnTo>
                    <a:pt x="32" y="8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2" y="14"/>
                  </a:lnTo>
                  <a:lnTo>
                    <a:pt x="32" y="18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6" y="30"/>
                  </a:lnTo>
                  <a:lnTo>
                    <a:pt x="22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0" y="28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4" y="30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2" y="44"/>
                  </a:lnTo>
                  <a:lnTo>
                    <a:pt x="2" y="46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10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6" y="50"/>
                  </a:lnTo>
                  <a:lnTo>
                    <a:pt x="20" y="52"/>
                  </a:lnTo>
                  <a:lnTo>
                    <a:pt x="26" y="54"/>
                  </a:lnTo>
                  <a:lnTo>
                    <a:pt x="26" y="54"/>
                  </a:lnTo>
                  <a:lnTo>
                    <a:pt x="28" y="58"/>
                  </a:lnTo>
                  <a:lnTo>
                    <a:pt x="32" y="58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2" y="74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8" y="100"/>
                  </a:lnTo>
                  <a:lnTo>
                    <a:pt x="56" y="106"/>
                  </a:lnTo>
                  <a:lnTo>
                    <a:pt x="56" y="106"/>
                  </a:lnTo>
                  <a:lnTo>
                    <a:pt x="62" y="114"/>
                  </a:lnTo>
                  <a:lnTo>
                    <a:pt x="62" y="114"/>
                  </a:lnTo>
                  <a:lnTo>
                    <a:pt x="64" y="118"/>
                  </a:lnTo>
                  <a:lnTo>
                    <a:pt x="64" y="118"/>
                  </a:lnTo>
                  <a:lnTo>
                    <a:pt x="70" y="114"/>
                  </a:lnTo>
                  <a:lnTo>
                    <a:pt x="78" y="110"/>
                  </a:lnTo>
                  <a:lnTo>
                    <a:pt x="78" y="110"/>
                  </a:lnTo>
                  <a:lnTo>
                    <a:pt x="80" y="110"/>
                  </a:lnTo>
                  <a:lnTo>
                    <a:pt x="80" y="108"/>
                  </a:lnTo>
                  <a:lnTo>
                    <a:pt x="80" y="104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71" name="Freeform 30"/>
            <p:cNvSpPr>
              <a:spLocks/>
            </p:cNvSpPr>
            <p:nvPr/>
          </p:nvSpPr>
          <p:spPr bwMode="auto">
            <a:xfrm>
              <a:off x="1560" y="2034"/>
              <a:ext cx="279" cy="293"/>
            </a:xfrm>
            <a:custGeom>
              <a:avLst/>
              <a:gdLst>
                <a:gd name="T0" fmla="*/ 137 w 279"/>
                <a:gd name="T1" fmla="*/ 20 h 293"/>
                <a:gd name="T2" fmla="*/ 123 w 279"/>
                <a:gd name="T3" fmla="*/ 22 h 293"/>
                <a:gd name="T4" fmla="*/ 127 w 279"/>
                <a:gd name="T5" fmla="*/ 26 h 293"/>
                <a:gd name="T6" fmla="*/ 137 w 279"/>
                <a:gd name="T7" fmla="*/ 32 h 293"/>
                <a:gd name="T8" fmla="*/ 119 w 279"/>
                <a:gd name="T9" fmla="*/ 58 h 293"/>
                <a:gd name="T10" fmla="*/ 104 w 279"/>
                <a:gd name="T11" fmla="*/ 81 h 293"/>
                <a:gd name="T12" fmla="*/ 84 w 279"/>
                <a:gd name="T13" fmla="*/ 93 h 293"/>
                <a:gd name="T14" fmla="*/ 56 w 279"/>
                <a:gd name="T15" fmla="*/ 93 h 293"/>
                <a:gd name="T16" fmla="*/ 38 w 279"/>
                <a:gd name="T17" fmla="*/ 105 h 293"/>
                <a:gd name="T18" fmla="*/ 46 w 279"/>
                <a:gd name="T19" fmla="*/ 147 h 293"/>
                <a:gd name="T20" fmla="*/ 26 w 279"/>
                <a:gd name="T21" fmla="*/ 135 h 293"/>
                <a:gd name="T22" fmla="*/ 10 w 279"/>
                <a:gd name="T23" fmla="*/ 149 h 293"/>
                <a:gd name="T24" fmla="*/ 6 w 279"/>
                <a:gd name="T25" fmla="*/ 165 h 293"/>
                <a:gd name="T26" fmla="*/ 26 w 279"/>
                <a:gd name="T27" fmla="*/ 179 h 293"/>
                <a:gd name="T28" fmla="*/ 52 w 279"/>
                <a:gd name="T29" fmla="*/ 195 h 293"/>
                <a:gd name="T30" fmla="*/ 60 w 279"/>
                <a:gd name="T31" fmla="*/ 193 h 293"/>
                <a:gd name="T32" fmla="*/ 60 w 279"/>
                <a:gd name="T33" fmla="*/ 207 h 293"/>
                <a:gd name="T34" fmla="*/ 62 w 279"/>
                <a:gd name="T35" fmla="*/ 245 h 293"/>
                <a:gd name="T36" fmla="*/ 72 w 279"/>
                <a:gd name="T37" fmla="*/ 269 h 293"/>
                <a:gd name="T38" fmla="*/ 76 w 279"/>
                <a:gd name="T39" fmla="*/ 293 h 293"/>
                <a:gd name="T40" fmla="*/ 80 w 279"/>
                <a:gd name="T41" fmla="*/ 273 h 293"/>
                <a:gd name="T42" fmla="*/ 98 w 279"/>
                <a:gd name="T43" fmla="*/ 269 h 293"/>
                <a:gd name="T44" fmla="*/ 133 w 279"/>
                <a:gd name="T45" fmla="*/ 239 h 293"/>
                <a:gd name="T46" fmla="*/ 145 w 279"/>
                <a:gd name="T47" fmla="*/ 235 h 293"/>
                <a:gd name="T48" fmla="*/ 159 w 279"/>
                <a:gd name="T49" fmla="*/ 219 h 293"/>
                <a:gd name="T50" fmla="*/ 167 w 279"/>
                <a:gd name="T51" fmla="*/ 207 h 293"/>
                <a:gd name="T52" fmla="*/ 183 w 279"/>
                <a:gd name="T53" fmla="*/ 209 h 293"/>
                <a:gd name="T54" fmla="*/ 195 w 279"/>
                <a:gd name="T55" fmla="*/ 225 h 293"/>
                <a:gd name="T56" fmla="*/ 217 w 279"/>
                <a:gd name="T57" fmla="*/ 241 h 293"/>
                <a:gd name="T58" fmla="*/ 229 w 279"/>
                <a:gd name="T59" fmla="*/ 231 h 293"/>
                <a:gd name="T60" fmla="*/ 233 w 279"/>
                <a:gd name="T61" fmla="*/ 225 h 293"/>
                <a:gd name="T62" fmla="*/ 243 w 279"/>
                <a:gd name="T63" fmla="*/ 211 h 293"/>
                <a:gd name="T64" fmla="*/ 239 w 279"/>
                <a:gd name="T65" fmla="*/ 207 h 293"/>
                <a:gd name="T66" fmla="*/ 235 w 279"/>
                <a:gd name="T67" fmla="*/ 197 h 293"/>
                <a:gd name="T68" fmla="*/ 255 w 279"/>
                <a:gd name="T69" fmla="*/ 183 h 293"/>
                <a:gd name="T70" fmla="*/ 277 w 279"/>
                <a:gd name="T71" fmla="*/ 169 h 293"/>
                <a:gd name="T72" fmla="*/ 277 w 279"/>
                <a:gd name="T73" fmla="*/ 155 h 293"/>
                <a:gd name="T74" fmla="*/ 253 w 279"/>
                <a:gd name="T75" fmla="*/ 125 h 293"/>
                <a:gd name="T76" fmla="*/ 227 w 279"/>
                <a:gd name="T77" fmla="*/ 125 h 293"/>
                <a:gd name="T78" fmla="*/ 221 w 279"/>
                <a:gd name="T79" fmla="*/ 115 h 293"/>
                <a:gd name="T80" fmla="*/ 203 w 279"/>
                <a:gd name="T81" fmla="*/ 115 h 293"/>
                <a:gd name="T82" fmla="*/ 187 w 279"/>
                <a:gd name="T83" fmla="*/ 105 h 293"/>
                <a:gd name="T84" fmla="*/ 183 w 279"/>
                <a:gd name="T85" fmla="*/ 111 h 293"/>
                <a:gd name="T86" fmla="*/ 171 w 279"/>
                <a:gd name="T87" fmla="*/ 113 h 293"/>
                <a:gd name="T88" fmla="*/ 157 w 279"/>
                <a:gd name="T89" fmla="*/ 129 h 293"/>
                <a:gd name="T90" fmla="*/ 155 w 279"/>
                <a:gd name="T91" fmla="*/ 119 h 293"/>
                <a:gd name="T92" fmla="*/ 159 w 279"/>
                <a:gd name="T93" fmla="*/ 107 h 293"/>
                <a:gd name="T94" fmla="*/ 159 w 279"/>
                <a:gd name="T95" fmla="*/ 93 h 293"/>
                <a:gd name="T96" fmla="*/ 171 w 279"/>
                <a:gd name="T97" fmla="*/ 60 h 293"/>
                <a:gd name="T98" fmla="*/ 181 w 279"/>
                <a:gd name="T99" fmla="*/ 58 h 293"/>
                <a:gd name="T100" fmla="*/ 183 w 279"/>
                <a:gd name="T101" fmla="*/ 44 h 293"/>
                <a:gd name="T102" fmla="*/ 195 w 279"/>
                <a:gd name="T103" fmla="*/ 32 h 293"/>
                <a:gd name="T104" fmla="*/ 191 w 279"/>
                <a:gd name="T105" fmla="*/ 14 h 293"/>
                <a:gd name="T106" fmla="*/ 167 w 279"/>
                <a:gd name="T107" fmla="*/ 2 h 293"/>
                <a:gd name="T108" fmla="*/ 145 w 279"/>
                <a:gd name="T109" fmla="*/ 18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9" h="293">
                  <a:moveTo>
                    <a:pt x="145" y="18"/>
                  </a:moveTo>
                  <a:lnTo>
                    <a:pt x="145" y="18"/>
                  </a:lnTo>
                  <a:lnTo>
                    <a:pt x="141" y="20"/>
                  </a:lnTo>
                  <a:lnTo>
                    <a:pt x="137" y="20"/>
                  </a:lnTo>
                  <a:lnTo>
                    <a:pt x="127" y="14"/>
                  </a:lnTo>
                  <a:lnTo>
                    <a:pt x="127" y="14"/>
                  </a:lnTo>
                  <a:lnTo>
                    <a:pt x="125" y="18"/>
                  </a:lnTo>
                  <a:lnTo>
                    <a:pt x="123" y="22"/>
                  </a:lnTo>
                  <a:lnTo>
                    <a:pt x="123" y="24"/>
                  </a:lnTo>
                  <a:lnTo>
                    <a:pt x="123" y="24"/>
                  </a:lnTo>
                  <a:lnTo>
                    <a:pt x="125" y="26"/>
                  </a:lnTo>
                  <a:lnTo>
                    <a:pt x="127" y="26"/>
                  </a:lnTo>
                  <a:lnTo>
                    <a:pt x="135" y="32"/>
                  </a:lnTo>
                  <a:lnTo>
                    <a:pt x="135" y="32"/>
                  </a:lnTo>
                  <a:lnTo>
                    <a:pt x="137" y="32"/>
                  </a:lnTo>
                  <a:lnTo>
                    <a:pt x="137" y="32"/>
                  </a:lnTo>
                  <a:lnTo>
                    <a:pt x="139" y="36"/>
                  </a:lnTo>
                  <a:lnTo>
                    <a:pt x="121" y="48"/>
                  </a:lnTo>
                  <a:lnTo>
                    <a:pt x="123" y="52"/>
                  </a:lnTo>
                  <a:lnTo>
                    <a:pt x="119" y="58"/>
                  </a:lnTo>
                  <a:lnTo>
                    <a:pt x="106" y="66"/>
                  </a:lnTo>
                  <a:lnTo>
                    <a:pt x="111" y="70"/>
                  </a:lnTo>
                  <a:lnTo>
                    <a:pt x="104" y="79"/>
                  </a:lnTo>
                  <a:lnTo>
                    <a:pt x="104" y="81"/>
                  </a:lnTo>
                  <a:lnTo>
                    <a:pt x="104" y="85"/>
                  </a:lnTo>
                  <a:lnTo>
                    <a:pt x="100" y="95"/>
                  </a:lnTo>
                  <a:lnTo>
                    <a:pt x="92" y="89"/>
                  </a:lnTo>
                  <a:lnTo>
                    <a:pt x="84" y="93"/>
                  </a:lnTo>
                  <a:lnTo>
                    <a:pt x="80" y="89"/>
                  </a:lnTo>
                  <a:lnTo>
                    <a:pt x="76" y="93"/>
                  </a:lnTo>
                  <a:lnTo>
                    <a:pt x="66" y="89"/>
                  </a:lnTo>
                  <a:lnTo>
                    <a:pt x="56" y="93"/>
                  </a:lnTo>
                  <a:lnTo>
                    <a:pt x="52" y="93"/>
                  </a:lnTo>
                  <a:lnTo>
                    <a:pt x="38" y="103"/>
                  </a:lnTo>
                  <a:lnTo>
                    <a:pt x="36" y="101"/>
                  </a:lnTo>
                  <a:lnTo>
                    <a:pt x="38" y="105"/>
                  </a:lnTo>
                  <a:lnTo>
                    <a:pt x="62" y="137"/>
                  </a:lnTo>
                  <a:lnTo>
                    <a:pt x="62" y="137"/>
                  </a:lnTo>
                  <a:lnTo>
                    <a:pt x="52" y="143"/>
                  </a:lnTo>
                  <a:lnTo>
                    <a:pt x="46" y="147"/>
                  </a:lnTo>
                  <a:lnTo>
                    <a:pt x="42" y="149"/>
                  </a:lnTo>
                  <a:lnTo>
                    <a:pt x="38" y="147"/>
                  </a:lnTo>
                  <a:lnTo>
                    <a:pt x="38" y="147"/>
                  </a:lnTo>
                  <a:lnTo>
                    <a:pt x="26" y="135"/>
                  </a:lnTo>
                  <a:lnTo>
                    <a:pt x="16" y="137"/>
                  </a:lnTo>
                  <a:lnTo>
                    <a:pt x="14" y="141"/>
                  </a:lnTo>
                  <a:lnTo>
                    <a:pt x="14" y="147"/>
                  </a:lnTo>
                  <a:lnTo>
                    <a:pt x="10" y="149"/>
                  </a:lnTo>
                  <a:lnTo>
                    <a:pt x="6" y="149"/>
                  </a:lnTo>
                  <a:lnTo>
                    <a:pt x="4" y="155"/>
                  </a:lnTo>
                  <a:lnTo>
                    <a:pt x="0" y="155"/>
                  </a:lnTo>
                  <a:lnTo>
                    <a:pt x="6" y="165"/>
                  </a:lnTo>
                  <a:lnTo>
                    <a:pt x="2" y="171"/>
                  </a:lnTo>
                  <a:lnTo>
                    <a:pt x="14" y="177"/>
                  </a:lnTo>
                  <a:lnTo>
                    <a:pt x="26" y="175"/>
                  </a:lnTo>
                  <a:lnTo>
                    <a:pt x="26" y="179"/>
                  </a:lnTo>
                  <a:lnTo>
                    <a:pt x="30" y="183"/>
                  </a:lnTo>
                  <a:lnTo>
                    <a:pt x="44" y="183"/>
                  </a:lnTo>
                  <a:lnTo>
                    <a:pt x="52" y="189"/>
                  </a:lnTo>
                  <a:lnTo>
                    <a:pt x="52" y="195"/>
                  </a:lnTo>
                  <a:lnTo>
                    <a:pt x="52" y="199"/>
                  </a:lnTo>
                  <a:lnTo>
                    <a:pt x="56" y="201"/>
                  </a:lnTo>
                  <a:lnTo>
                    <a:pt x="60" y="197"/>
                  </a:lnTo>
                  <a:lnTo>
                    <a:pt x="60" y="193"/>
                  </a:lnTo>
                  <a:lnTo>
                    <a:pt x="70" y="193"/>
                  </a:lnTo>
                  <a:lnTo>
                    <a:pt x="70" y="199"/>
                  </a:lnTo>
                  <a:lnTo>
                    <a:pt x="66" y="201"/>
                  </a:lnTo>
                  <a:lnTo>
                    <a:pt x="60" y="207"/>
                  </a:lnTo>
                  <a:lnTo>
                    <a:pt x="70" y="217"/>
                  </a:lnTo>
                  <a:lnTo>
                    <a:pt x="68" y="227"/>
                  </a:lnTo>
                  <a:lnTo>
                    <a:pt x="70" y="231"/>
                  </a:lnTo>
                  <a:lnTo>
                    <a:pt x="62" y="245"/>
                  </a:lnTo>
                  <a:lnTo>
                    <a:pt x="66" y="247"/>
                  </a:lnTo>
                  <a:lnTo>
                    <a:pt x="70" y="249"/>
                  </a:lnTo>
                  <a:lnTo>
                    <a:pt x="68" y="267"/>
                  </a:lnTo>
                  <a:lnTo>
                    <a:pt x="72" y="269"/>
                  </a:lnTo>
                  <a:lnTo>
                    <a:pt x="74" y="271"/>
                  </a:lnTo>
                  <a:lnTo>
                    <a:pt x="68" y="277"/>
                  </a:lnTo>
                  <a:lnTo>
                    <a:pt x="70" y="287"/>
                  </a:lnTo>
                  <a:lnTo>
                    <a:pt x="76" y="293"/>
                  </a:lnTo>
                  <a:lnTo>
                    <a:pt x="80" y="287"/>
                  </a:lnTo>
                  <a:lnTo>
                    <a:pt x="80" y="287"/>
                  </a:lnTo>
                  <a:lnTo>
                    <a:pt x="80" y="277"/>
                  </a:lnTo>
                  <a:lnTo>
                    <a:pt x="80" y="273"/>
                  </a:lnTo>
                  <a:lnTo>
                    <a:pt x="82" y="271"/>
                  </a:lnTo>
                  <a:lnTo>
                    <a:pt x="82" y="271"/>
                  </a:lnTo>
                  <a:lnTo>
                    <a:pt x="92" y="267"/>
                  </a:lnTo>
                  <a:lnTo>
                    <a:pt x="98" y="269"/>
                  </a:lnTo>
                  <a:lnTo>
                    <a:pt x="104" y="263"/>
                  </a:lnTo>
                  <a:lnTo>
                    <a:pt x="111" y="239"/>
                  </a:lnTo>
                  <a:lnTo>
                    <a:pt x="123" y="233"/>
                  </a:lnTo>
                  <a:lnTo>
                    <a:pt x="133" y="239"/>
                  </a:lnTo>
                  <a:lnTo>
                    <a:pt x="133" y="239"/>
                  </a:lnTo>
                  <a:lnTo>
                    <a:pt x="137" y="239"/>
                  </a:lnTo>
                  <a:lnTo>
                    <a:pt x="141" y="239"/>
                  </a:lnTo>
                  <a:lnTo>
                    <a:pt x="145" y="235"/>
                  </a:lnTo>
                  <a:lnTo>
                    <a:pt x="145" y="235"/>
                  </a:lnTo>
                  <a:lnTo>
                    <a:pt x="155" y="225"/>
                  </a:lnTo>
                  <a:lnTo>
                    <a:pt x="159" y="219"/>
                  </a:lnTo>
                  <a:lnTo>
                    <a:pt x="159" y="219"/>
                  </a:lnTo>
                  <a:lnTo>
                    <a:pt x="161" y="215"/>
                  </a:lnTo>
                  <a:lnTo>
                    <a:pt x="163" y="209"/>
                  </a:lnTo>
                  <a:lnTo>
                    <a:pt x="167" y="207"/>
                  </a:lnTo>
                  <a:lnTo>
                    <a:pt x="167" y="207"/>
                  </a:lnTo>
                  <a:lnTo>
                    <a:pt x="171" y="207"/>
                  </a:lnTo>
                  <a:lnTo>
                    <a:pt x="179" y="207"/>
                  </a:lnTo>
                  <a:lnTo>
                    <a:pt x="181" y="207"/>
                  </a:lnTo>
                  <a:lnTo>
                    <a:pt x="183" y="209"/>
                  </a:lnTo>
                  <a:lnTo>
                    <a:pt x="183" y="209"/>
                  </a:lnTo>
                  <a:lnTo>
                    <a:pt x="189" y="219"/>
                  </a:lnTo>
                  <a:lnTo>
                    <a:pt x="191" y="223"/>
                  </a:lnTo>
                  <a:lnTo>
                    <a:pt x="195" y="225"/>
                  </a:lnTo>
                  <a:lnTo>
                    <a:pt x="195" y="225"/>
                  </a:lnTo>
                  <a:lnTo>
                    <a:pt x="205" y="223"/>
                  </a:lnTo>
                  <a:lnTo>
                    <a:pt x="207" y="231"/>
                  </a:lnTo>
                  <a:lnTo>
                    <a:pt x="217" y="241"/>
                  </a:lnTo>
                  <a:lnTo>
                    <a:pt x="217" y="241"/>
                  </a:lnTo>
                  <a:lnTo>
                    <a:pt x="225" y="233"/>
                  </a:lnTo>
                  <a:lnTo>
                    <a:pt x="225" y="233"/>
                  </a:lnTo>
                  <a:lnTo>
                    <a:pt x="229" y="231"/>
                  </a:lnTo>
                  <a:lnTo>
                    <a:pt x="231" y="229"/>
                  </a:lnTo>
                  <a:lnTo>
                    <a:pt x="231" y="227"/>
                  </a:lnTo>
                  <a:lnTo>
                    <a:pt x="233" y="225"/>
                  </a:lnTo>
                  <a:lnTo>
                    <a:pt x="233" y="225"/>
                  </a:lnTo>
                  <a:lnTo>
                    <a:pt x="235" y="223"/>
                  </a:lnTo>
                  <a:lnTo>
                    <a:pt x="239" y="219"/>
                  </a:lnTo>
                  <a:lnTo>
                    <a:pt x="243" y="217"/>
                  </a:lnTo>
                  <a:lnTo>
                    <a:pt x="243" y="211"/>
                  </a:lnTo>
                  <a:lnTo>
                    <a:pt x="243" y="211"/>
                  </a:lnTo>
                  <a:lnTo>
                    <a:pt x="243" y="209"/>
                  </a:lnTo>
                  <a:lnTo>
                    <a:pt x="241" y="209"/>
                  </a:lnTo>
                  <a:lnTo>
                    <a:pt x="239" y="207"/>
                  </a:lnTo>
                  <a:lnTo>
                    <a:pt x="235" y="203"/>
                  </a:lnTo>
                  <a:lnTo>
                    <a:pt x="235" y="201"/>
                  </a:lnTo>
                  <a:lnTo>
                    <a:pt x="235" y="197"/>
                  </a:lnTo>
                  <a:lnTo>
                    <a:pt x="235" y="197"/>
                  </a:lnTo>
                  <a:lnTo>
                    <a:pt x="239" y="193"/>
                  </a:lnTo>
                  <a:lnTo>
                    <a:pt x="243" y="187"/>
                  </a:lnTo>
                  <a:lnTo>
                    <a:pt x="255" y="183"/>
                  </a:lnTo>
                  <a:lnTo>
                    <a:pt x="255" y="183"/>
                  </a:lnTo>
                  <a:lnTo>
                    <a:pt x="261" y="179"/>
                  </a:lnTo>
                  <a:lnTo>
                    <a:pt x="271" y="175"/>
                  </a:lnTo>
                  <a:lnTo>
                    <a:pt x="271" y="175"/>
                  </a:lnTo>
                  <a:lnTo>
                    <a:pt x="277" y="169"/>
                  </a:lnTo>
                  <a:lnTo>
                    <a:pt x="279" y="163"/>
                  </a:lnTo>
                  <a:lnTo>
                    <a:pt x="279" y="159"/>
                  </a:lnTo>
                  <a:lnTo>
                    <a:pt x="277" y="155"/>
                  </a:lnTo>
                  <a:lnTo>
                    <a:pt x="277" y="155"/>
                  </a:lnTo>
                  <a:lnTo>
                    <a:pt x="257" y="137"/>
                  </a:lnTo>
                  <a:lnTo>
                    <a:pt x="255" y="129"/>
                  </a:lnTo>
                  <a:lnTo>
                    <a:pt x="255" y="131"/>
                  </a:lnTo>
                  <a:lnTo>
                    <a:pt x="253" y="125"/>
                  </a:lnTo>
                  <a:lnTo>
                    <a:pt x="251" y="125"/>
                  </a:lnTo>
                  <a:lnTo>
                    <a:pt x="225" y="129"/>
                  </a:lnTo>
                  <a:lnTo>
                    <a:pt x="225" y="129"/>
                  </a:lnTo>
                  <a:lnTo>
                    <a:pt x="227" y="125"/>
                  </a:lnTo>
                  <a:lnTo>
                    <a:pt x="227" y="123"/>
                  </a:lnTo>
                  <a:lnTo>
                    <a:pt x="225" y="117"/>
                  </a:lnTo>
                  <a:lnTo>
                    <a:pt x="225" y="117"/>
                  </a:lnTo>
                  <a:lnTo>
                    <a:pt x="221" y="115"/>
                  </a:lnTo>
                  <a:lnTo>
                    <a:pt x="221" y="115"/>
                  </a:lnTo>
                  <a:lnTo>
                    <a:pt x="215" y="115"/>
                  </a:lnTo>
                  <a:lnTo>
                    <a:pt x="215" y="115"/>
                  </a:lnTo>
                  <a:lnTo>
                    <a:pt x="203" y="115"/>
                  </a:lnTo>
                  <a:lnTo>
                    <a:pt x="189" y="109"/>
                  </a:lnTo>
                  <a:lnTo>
                    <a:pt x="189" y="109"/>
                  </a:lnTo>
                  <a:lnTo>
                    <a:pt x="187" y="107"/>
                  </a:lnTo>
                  <a:lnTo>
                    <a:pt x="187" y="105"/>
                  </a:lnTo>
                  <a:lnTo>
                    <a:pt x="187" y="105"/>
                  </a:lnTo>
                  <a:lnTo>
                    <a:pt x="187" y="105"/>
                  </a:lnTo>
                  <a:lnTo>
                    <a:pt x="185" y="109"/>
                  </a:lnTo>
                  <a:lnTo>
                    <a:pt x="183" y="111"/>
                  </a:lnTo>
                  <a:lnTo>
                    <a:pt x="181" y="111"/>
                  </a:lnTo>
                  <a:lnTo>
                    <a:pt x="181" y="111"/>
                  </a:lnTo>
                  <a:lnTo>
                    <a:pt x="175" y="111"/>
                  </a:lnTo>
                  <a:lnTo>
                    <a:pt x="171" y="113"/>
                  </a:lnTo>
                  <a:lnTo>
                    <a:pt x="171" y="113"/>
                  </a:lnTo>
                  <a:lnTo>
                    <a:pt x="163" y="123"/>
                  </a:lnTo>
                  <a:lnTo>
                    <a:pt x="157" y="129"/>
                  </a:lnTo>
                  <a:lnTo>
                    <a:pt x="157" y="129"/>
                  </a:lnTo>
                  <a:lnTo>
                    <a:pt x="155" y="129"/>
                  </a:lnTo>
                  <a:lnTo>
                    <a:pt x="155" y="125"/>
                  </a:lnTo>
                  <a:lnTo>
                    <a:pt x="155" y="123"/>
                  </a:lnTo>
                  <a:lnTo>
                    <a:pt x="155" y="119"/>
                  </a:lnTo>
                  <a:lnTo>
                    <a:pt x="155" y="119"/>
                  </a:lnTo>
                  <a:lnTo>
                    <a:pt x="157" y="115"/>
                  </a:lnTo>
                  <a:lnTo>
                    <a:pt x="159" y="111"/>
                  </a:lnTo>
                  <a:lnTo>
                    <a:pt x="159" y="107"/>
                  </a:lnTo>
                  <a:lnTo>
                    <a:pt x="159" y="105"/>
                  </a:lnTo>
                  <a:lnTo>
                    <a:pt x="159" y="105"/>
                  </a:lnTo>
                  <a:lnTo>
                    <a:pt x="155" y="97"/>
                  </a:lnTo>
                  <a:lnTo>
                    <a:pt x="159" y="93"/>
                  </a:lnTo>
                  <a:lnTo>
                    <a:pt x="151" y="77"/>
                  </a:lnTo>
                  <a:lnTo>
                    <a:pt x="151" y="77"/>
                  </a:lnTo>
                  <a:lnTo>
                    <a:pt x="161" y="70"/>
                  </a:lnTo>
                  <a:lnTo>
                    <a:pt x="171" y="60"/>
                  </a:lnTo>
                  <a:lnTo>
                    <a:pt x="171" y="60"/>
                  </a:lnTo>
                  <a:lnTo>
                    <a:pt x="175" y="60"/>
                  </a:lnTo>
                  <a:lnTo>
                    <a:pt x="179" y="58"/>
                  </a:lnTo>
                  <a:lnTo>
                    <a:pt x="181" y="58"/>
                  </a:lnTo>
                  <a:lnTo>
                    <a:pt x="181" y="58"/>
                  </a:lnTo>
                  <a:lnTo>
                    <a:pt x="181" y="50"/>
                  </a:lnTo>
                  <a:lnTo>
                    <a:pt x="181" y="48"/>
                  </a:lnTo>
                  <a:lnTo>
                    <a:pt x="183" y="44"/>
                  </a:lnTo>
                  <a:lnTo>
                    <a:pt x="183" y="44"/>
                  </a:lnTo>
                  <a:lnTo>
                    <a:pt x="187" y="42"/>
                  </a:lnTo>
                  <a:lnTo>
                    <a:pt x="191" y="36"/>
                  </a:lnTo>
                  <a:lnTo>
                    <a:pt x="195" y="32"/>
                  </a:lnTo>
                  <a:lnTo>
                    <a:pt x="195" y="26"/>
                  </a:lnTo>
                  <a:lnTo>
                    <a:pt x="191" y="28"/>
                  </a:lnTo>
                  <a:lnTo>
                    <a:pt x="187" y="22"/>
                  </a:lnTo>
                  <a:lnTo>
                    <a:pt x="191" y="14"/>
                  </a:lnTo>
                  <a:lnTo>
                    <a:pt x="179" y="0"/>
                  </a:lnTo>
                  <a:lnTo>
                    <a:pt x="167" y="2"/>
                  </a:lnTo>
                  <a:lnTo>
                    <a:pt x="167" y="2"/>
                  </a:lnTo>
                  <a:lnTo>
                    <a:pt x="167" y="2"/>
                  </a:lnTo>
                  <a:lnTo>
                    <a:pt x="163" y="4"/>
                  </a:lnTo>
                  <a:lnTo>
                    <a:pt x="163" y="4"/>
                  </a:lnTo>
                  <a:lnTo>
                    <a:pt x="145" y="18"/>
                  </a:lnTo>
                  <a:lnTo>
                    <a:pt x="145" y="18"/>
                  </a:lnTo>
                  <a:lnTo>
                    <a:pt x="145" y="18"/>
                  </a:lnTo>
                  <a:lnTo>
                    <a:pt x="145" y="18"/>
                  </a:lnTo>
                  <a:lnTo>
                    <a:pt x="145" y="18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72" name="Freeform 31"/>
            <p:cNvSpPr>
              <a:spLocks/>
            </p:cNvSpPr>
            <p:nvPr/>
          </p:nvSpPr>
          <p:spPr bwMode="auto">
            <a:xfrm>
              <a:off x="1415" y="1783"/>
              <a:ext cx="312" cy="309"/>
            </a:xfrm>
            <a:custGeom>
              <a:avLst/>
              <a:gdLst>
                <a:gd name="T0" fmla="*/ 4 w 312"/>
                <a:gd name="T1" fmla="*/ 66 h 309"/>
                <a:gd name="T2" fmla="*/ 10 w 312"/>
                <a:gd name="T3" fmla="*/ 82 h 309"/>
                <a:gd name="T4" fmla="*/ 8 w 312"/>
                <a:gd name="T5" fmla="*/ 97 h 309"/>
                <a:gd name="T6" fmla="*/ 12 w 312"/>
                <a:gd name="T7" fmla="*/ 103 h 309"/>
                <a:gd name="T8" fmla="*/ 33 w 312"/>
                <a:gd name="T9" fmla="*/ 109 h 309"/>
                <a:gd name="T10" fmla="*/ 32 w 312"/>
                <a:gd name="T11" fmla="*/ 125 h 309"/>
                <a:gd name="T12" fmla="*/ 37 w 312"/>
                <a:gd name="T13" fmla="*/ 133 h 309"/>
                <a:gd name="T14" fmla="*/ 53 w 312"/>
                <a:gd name="T15" fmla="*/ 129 h 309"/>
                <a:gd name="T16" fmla="*/ 57 w 312"/>
                <a:gd name="T17" fmla="*/ 115 h 309"/>
                <a:gd name="T18" fmla="*/ 61 w 312"/>
                <a:gd name="T19" fmla="*/ 129 h 309"/>
                <a:gd name="T20" fmla="*/ 55 w 312"/>
                <a:gd name="T21" fmla="*/ 143 h 309"/>
                <a:gd name="T22" fmla="*/ 63 w 312"/>
                <a:gd name="T23" fmla="*/ 157 h 309"/>
                <a:gd name="T24" fmla="*/ 73 w 312"/>
                <a:gd name="T25" fmla="*/ 149 h 309"/>
                <a:gd name="T26" fmla="*/ 83 w 312"/>
                <a:gd name="T27" fmla="*/ 169 h 309"/>
                <a:gd name="T28" fmla="*/ 81 w 312"/>
                <a:gd name="T29" fmla="*/ 189 h 309"/>
                <a:gd name="T30" fmla="*/ 91 w 312"/>
                <a:gd name="T31" fmla="*/ 211 h 309"/>
                <a:gd name="T32" fmla="*/ 107 w 312"/>
                <a:gd name="T33" fmla="*/ 209 h 309"/>
                <a:gd name="T34" fmla="*/ 121 w 312"/>
                <a:gd name="T35" fmla="*/ 203 h 309"/>
                <a:gd name="T36" fmla="*/ 143 w 312"/>
                <a:gd name="T37" fmla="*/ 215 h 309"/>
                <a:gd name="T38" fmla="*/ 147 w 312"/>
                <a:gd name="T39" fmla="*/ 205 h 309"/>
                <a:gd name="T40" fmla="*/ 153 w 312"/>
                <a:gd name="T41" fmla="*/ 209 h 309"/>
                <a:gd name="T42" fmla="*/ 159 w 312"/>
                <a:gd name="T43" fmla="*/ 223 h 309"/>
                <a:gd name="T44" fmla="*/ 161 w 312"/>
                <a:gd name="T45" fmla="*/ 231 h 309"/>
                <a:gd name="T46" fmla="*/ 177 w 312"/>
                <a:gd name="T47" fmla="*/ 247 h 309"/>
                <a:gd name="T48" fmla="*/ 197 w 312"/>
                <a:gd name="T49" fmla="*/ 283 h 309"/>
                <a:gd name="T50" fmla="*/ 229 w 312"/>
                <a:gd name="T51" fmla="*/ 299 h 309"/>
                <a:gd name="T52" fmla="*/ 243 w 312"/>
                <a:gd name="T53" fmla="*/ 297 h 309"/>
                <a:gd name="T54" fmla="*/ 266 w 312"/>
                <a:gd name="T55" fmla="*/ 299 h 309"/>
                <a:gd name="T56" fmla="*/ 280 w 312"/>
                <a:gd name="T57" fmla="*/ 283 h 309"/>
                <a:gd name="T58" fmla="*/ 268 w 312"/>
                <a:gd name="T59" fmla="*/ 275 h 309"/>
                <a:gd name="T60" fmla="*/ 282 w 312"/>
                <a:gd name="T61" fmla="*/ 271 h 309"/>
                <a:gd name="T62" fmla="*/ 308 w 312"/>
                <a:gd name="T63" fmla="*/ 255 h 309"/>
                <a:gd name="T64" fmla="*/ 294 w 312"/>
                <a:gd name="T65" fmla="*/ 223 h 309"/>
                <a:gd name="T66" fmla="*/ 272 w 312"/>
                <a:gd name="T67" fmla="*/ 207 h 309"/>
                <a:gd name="T68" fmla="*/ 260 w 312"/>
                <a:gd name="T69" fmla="*/ 183 h 309"/>
                <a:gd name="T70" fmla="*/ 243 w 312"/>
                <a:gd name="T71" fmla="*/ 183 h 309"/>
                <a:gd name="T72" fmla="*/ 235 w 312"/>
                <a:gd name="T73" fmla="*/ 171 h 309"/>
                <a:gd name="T74" fmla="*/ 211 w 312"/>
                <a:gd name="T75" fmla="*/ 141 h 309"/>
                <a:gd name="T76" fmla="*/ 195 w 312"/>
                <a:gd name="T77" fmla="*/ 141 h 309"/>
                <a:gd name="T78" fmla="*/ 189 w 312"/>
                <a:gd name="T79" fmla="*/ 127 h 309"/>
                <a:gd name="T80" fmla="*/ 171 w 312"/>
                <a:gd name="T81" fmla="*/ 107 h 309"/>
                <a:gd name="T82" fmla="*/ 155 w 312"/>
                <a:gd name="T83" fmla="*/ 88 h 309"/>
                <a:gd name="T84" fmla="*/ 155 w 312"/>
                <a:gd name="T85" fmla="*/ 62 h 309"/>
                <a:gd name="T86" fmla="*/ 169 w 312"/>
                <a:gd name="T87" fmla="*/ 38 h 309"/>
                <a:gd name="T88" fmla="*/ 167 w 312"/>
                <a:gd name="T89" fmla="*/ 10 h 309"/>
                <a:gd name="T90" fmla="*/ 147 w 312"/>
                <a:gd name="T91" fmla="*/ 4 h 309"/>
                <a:gd name="T92" fmla="*/ 121 w 312"/>
                <a:gd name="T93" fmla="*/ 14 h 309"/>
                <a:gd name="T94" fmla="*/ 105 w 312"/>
                <a:gd name="T95" fmla="*/ 2 h 309"/>
                <a:gd name="T96" fmla="*/ 99 w 312"/>
                <a:gd name="T97" fmla="*/ 0 h 309"/>
                <a:gd name="T98" fmla="*/ 63 w 312"/>
                <a:gd name="T99" fmla="*/ 18 h 309"/>
                <a:gd name="T100" fmla="*/ 53 w 312"/>
                <a:gd name="T101" fmla="*/ 36 h 309"/>
                <a:gd name="T102" fmla="*/ 43 w 312"/>
                <a:gd name="T103" fmla="*/ 44 h 309"/>
                <a:gd name="T104" fmla="*/ 28 w 312"/>
                <a:gd name="T105" fmla="*/ 48 h 309"/>
                <a:gd name="T106" fmla="*/ 10 w 312"/>
                <a:gd name="T107" fmla="*/ 44 h 309"/>
                <a:gd name="T108" fmla="*/ 0 w 312"/>
                <a:gd name="T109" fmla="*/ 58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12" h="309">
                  <a:moveTo>
                    <a:pt x="0" y="58"/>
                  </a:moveTo>
                  <a:lnTo>
                    <a:pt x="0" y="58"/>
                  </a:lnTo>
                  <a:lnTo>
                    <a:pt x="0" y="62"/>
                  </a:lnTo>
                  <a:lnTo>
                    <a:pt x="4" y="66"/>
                  </a:lnTo>
                  <a:lnTo>
                    <a:pt x="4" y="66"/>
                  </a:lnTo>
                  <a:lnTo>
                    <a:pt x="6" y="68"/>
                  </a:lnTo>
                  <a:lnTo>
                    <a:pt x="6" y="68"/>
                  </a:lnTo>
                  <a:lnTo>
                    <a:pt x="10" y="74"/>
                  </a:lnTo>
                  <a:lnTo>
                    <a:pt x="10" y="82"/>
                  </a:lnTo>
                  <a:lnTo>
                    <a:pt x="10" y="82"/>
                  </a:lnTo>
                  <a:lnTo>
                    <a:pt x="12" y="91"/>
                  </a:lnTo>
                  <a:lnTo>
                    <a:pt x="12" y="95"/>
                  </a:lnTo>
                  <a:lnTo>
                    <a:pt x="10" y="95"/>
                  </a:lnTo>
                  <a:lnTo>
                    <a:pt x="8" y="97"/>
                  </a:lnTo>
                  <a:lnTo>
                    <a:pt x="8" y="97"/>
                  </a:lnTo>
                  <a:lnTo>
                    <a:pt x="4" y="95"/>
                  </a:lnTo>
                  <a:lnTo>
                    <a:pt x="4" y="95"/>
                  </a:lnTo>
                  <a:lnTo>
                    <a:pt x="8" y="101"/>
                  </a:lnTo>
                  <a:lnTo>
                    <a:pt x="8" y="101"/>
                  </a:lnTo>
                  <a:lnTo>
                    <a:pt x="12" y="103"/>
                  </a:lnTo>
                  <a:lnTo>
                    <a:pt x="18" y="105"/>
                  </a:lnTo>
                  <a:lnTo>
                    <a:pt x="28" y="107"/>
                  </a:lnTo>
                  <a:lnTo>
                    <a:pt x="32" y="109"/>
                  </a:lnTo>
                  <a:lnTo>
                    <a:pt x="32" y="109"/>
                  </a:lnTo>
                  <a:lnTo>
                    <a:pt x="33" y="109"/>
                  </a:lnTo>
                  <a:lnTo>
                    <a:pt x="33" y="111"/>
                  </a:lnTo>
                  <a:lnTo>
                    <a:pt x="32" y="115"/>
                  </a:lnTo>
                  <a:lnTo>
                    <a:pt x="32" y="115"/>
                  </a:lnTo>
                  <a:lnTo>
                    <a:pt x="32" y="125"/>
                  </a:lnTo>
                  <a:lnTo>
                    <a:pt x="32" y="125"/>
                  </a:lnTo>
                  <a:lnTo>
                    <a:pt x="32" y="129"/>
                  </a:lnTo>
                  <a:lnTo>
                    <a:pt x="33" y="131"/>
                  </a:lnTo>
                  <a:lnTo>
                    <a:pt x="33" y="131"/>
                  </a:lnTo>
                  <a:lnTo>
                    <a:pt x="35" y="133"/>
                  </a:lnTo>
                  <a:lnTo>
                    <a:pt x="37" y="133"/>
                  </a:lnTo>
                  <a:lnTo>
                    <a:pt x="41" y="133"/>
                  </a:lnTo>
                  <a:lnTo>
                    <a:pt x="41" y="133"/>
                  </a:lnTo>
                  <a:lnTo>
                    <a:pt x="49" y="133"/>
                  </a:lnTo>
                  <a:lnTo>
                    <a:pt x="51" y="133"/>
                  </a:lnTo>
                  <a:lnTo>
                    <a:pt x="53" y="129"/>
                  </a:lnTo>
                  <a:lnTo>
                    <a:pt x="53" y="129"/>
                  </a:lnTo>
                  <a:lnTo>
                    <a:pt x="53" y="123"/>
                  </a:lnTo>
                  <a:lnTo>
                    <a:pt x="55" y="119"/>
                  </a:lnTo>
                  <a:lnTo>
                    <a:pt x="57" y="117"/>
                  </a:lnTo>
                  <a:lnTo>
                    <a:pt x="57" y="115"/>
                  </a:lnTo>
                  <a:lnTo>
                    <a:pt x="57" y="115"/>
                  </a:lnTo>
                  <a:lnTo>
                    <a:pt x="59" y="117"/>
                  </a:lnTo>
                  <a:lnTo>
                    <a:pt x="61" y="119"/>
                  </a:lnTo>
                  <a:lnTo>
                    <a:pt x="61" y="129"/>
                  </a:lnTo>
                  <a:lnTo>
                    <a:pt x="61" y="129"/>
                  </a:lnTo>
                  <a:lnTo>
                    <a:pt x="59" y="133"/>
                  </a:lnTo>
                  <a:lnTo>
                    <a:pt x="57" y="137"/>
                  </a:lnTo>
                  <a:lnTo>
                    <a:pt x="55" y="141"/>
                  </a:lnTo>
                  <a:lnTo>
                    <a:pt x="55" y="143"/>
                  </a:lnTo>
                  <a:lnTo>
                    <a:pt x="55" y="143"/>
                  </a:lnTo>
                  <a:lnTo>
                    <a:pt x="59" y="151"/>
                  </a:lnTo>
                  <a:lnTo>
                    <a:pt x="61" y="155"/>
                  </a:lnTo>
                  <a:lnTo>
                    <a:pt x="61" y="157"/>
                  </a:lnTo>
                  <a:lnTo>
                    <a:pt x="63" y="157"/>
                  </a:lnTo>
                  <a:lnTo>
                    <a:pt x="63" y="157"/>
                  </a:lnTo>
                  <a:lnTo>
                    <a:pt x="67" y="155"/>
                  </a:lnTo>
                  <a:lnTo>
                    <a:pt x="69" y="151"/>
                  </a:lnTo>
                  <a:lnTo>
                    <a:pt x="69" y="151"/>
                  </a:lnTo>
                  <a:lnTo>
                    <a:pt x="69" y="151"/>
                  </a:lnTo>
                  <a:lnTo>
                    <a:pt x="73" y="149"/>
                  </a:lnTo>
                  <a:lnTo>
                    <a:pt x="75" y="151"/>
                  </a:lnTo>
                  <a:lnTo>
                    <a:pt x="75" y="151"/>
                  </a:lnTo>
                  <a:lnTo>
                    <a:pt x="79" y="159"/>
                  </a:lnTo>
                  <a:lnTo>
                    <a:pt x="83" y="163"/>
                  </a:lnTo>
                  <a:lnTo>
                    <a:pt x="83" y="169"/>
                  </a:lnTo>
                  <a:lnTo>
                    <a:pt x="83" y="169"/>
                  </a:lnTo>
                  <a:lnTo>
                    <a:pt x="83" y="173"/>
                  </a:lnTo>
                  <a:lnTo>
                    <a:pt x="83" y="179"/>
                  </a:lnTo>
                  <a:lnTo>
                    <a:pt x="81" y="189"/>
                  </a:lnTo>
                  <a:lnTo>
                    <a:pt x="81" y="189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7" y="205"/>
                  </a:lnTo>
                  <a:lnTo>
                    <a:pt x="91" y="211"/>
                  </a:lnTo>
                  <a:lnTo>
                    <a:pt x="91" y="211"/>
                  </a:lnTo>
                  <a:lnTo>
                    <a:pt x="95" y="215"/>
                  </a:lnTo>
                  <a:lnTo>
                    <a:pt x="95" y="215"/>
                  </a:lnTo>
                  <a:lnTo>
                    <a:pt x="99" y="211"/>
                  </a:lnTo>
                  <a:lnTo>
                    <a:pt x="103" y="209"/>
                  </a:lnTo>
                  <a:lnTo>
                    <a:pt x="107" y="209"/>
                  </a:lnTo>
                  <a:lnTo>
                    <a:pt x="107" y="209"/>
                  </a:lnTo>
                  <a:lnTo>
                    <a:pt x="109" y="205"/>
                  </a:lnTo>
                  <a:lnTo>
                    <a:pt x="111" y="203"/>
                  </a:lnTo>
                  <a:lnTo>
                    <a:pt x="115" y="203"/>
                  </a:lnTo>
                  <a:lnTo>
                    <a:pt x="121" y="203"/>
                  </a:lnTo>
                  <a:lnTo>
                    <a:pt x="121" y="203"/>
                  </a:lnTo>
                  <a:lnTo>
                    <a:pt x="133" y="215"/>
                  </a:lnTo>
                  <a:lnTo>
                    <a:pt x="141" y="217"/>
                  </a:lnTo>
                  <a:lnTo>
                    <a:pt x="143" y="217"/>
                  </a:lnTo>
                  <a:lnTo>
                    <a:pt x="143" y="215"/>
                  </a:lnTo>
                  <a:lnTo>
                    <a:pt x="143" y="215"/>
                  </a:lnTo>
                  <a:lnTo>
                    <a:pt x="143" y="211"/>
                  </a:lnTo>
                  <a:lnTo>
                    <a:pt x="145" y="209"/>
                  </a:lnTo>
                  <a:lnTo>
                    <a:pt x="145" y="207"/>
                  </a:lnTo>
                  <a:lnTo>
                    <a:pt x="147" y="205"/>
                  </a:lnTo>
                  <a:lnTo>
                    <a:pt x="147" y="205"/>
                  </a:lnTo>
                  <a:lnTo>
                    <a:pt x="153" y="203"/>
                  </a:lnTo>
                  <a:lnTo>
                    <a:pt x="155" y="205"/>
                  </a:lnTo>
                  <a:lnTo>
                    <a:pt x="153" y="209"/>
                  </a:lnTo>
                  <a:lnTo>
                    <a:pt x="153" y="209"/>
                  </a:lnTo>
                  <a:lnTo>
                    <a:pt x="153" y="211"/>
                  </a:lnTo>
                  <a:lnTo>
                    <a:pt x="153" y="215"/>
                  </a:lnTo>
                  <a:lnTo>
                    <a:pt x="155" y="219"/>
                  </a:lnTo>
                  <a:lnTo>
                    <a:pt x="159" y="219"/>
                  </a:lnTo>
                  <a:lnTo>
                    <a:pt x="159" y="223"/>
                  </a:lnTo>
                  <a:lnTo>
                    <a:pt x="159" y="223"/>
                  </a:lnTo>
                  <a:lnTo>
                    <a:pt x="159" y="225"/>
                  </a:lnTo>
                  <a:lnTo>
                    <a:pt x="159" y="227"/>
                  </a:lnTo>
                  <a:lnTo>
                    <a:pt x="159" y="229"/>
                  </a:lnTo>
                  <a:lnTo>
                    <a:pt x="161" y="231"/>
                  </a:lnTo>
                  <a:lnTo>
                    <a:pt x="161" y="231"/>
                  </a:lnTo>
                  <a:lnTo>
                    <a:pt x="167" y="231"/>
                  </a:lnTo>
                  <a:lnTo>
                    <a:pt x="169" y="235"/>
                  </a:lnTo>
                  <a:lnTo>
                    <a:pt x="177" y="247"/>
                  </a:lnTo>
                  <a:lnTo>
                    <a:pt x="177" y="247"/>
                  </a:lnTo>
                  <a:lnTo>
                    <a:pt x="183" y="255"/>
                  </a:lnTo>
                  <a:lnTo>
                    <a:pt x="189" y="269"/>
                  </a:lnTo>
                  <a:lnTo>
                    <a:pt x="193" y="275"/>
                  </a:lnTo>
                  <a:lnTo>
                    <a:pt x="195" y="279"/>
                  </a:lnTo>
                  <a:lnTo>
                    <a:pt x="197" y="283"/>
                  </a:lnTo>
                  <a:lnTo>
                    <a:pt x="197" y="283"/>
                  </a:lnTo>
                  <a:lnTo>
                    <a:pt x="205" y="285"/>
                  </a:lnTo>
                  <a:lnTo>
                    <a:pt x="215" y="291"/>
                  </a:lnTo>
                  <a:lnTo>
                    <a:pt x="221" y="295"/>
                  </a:lnTo>
                  <a:lnTo>
                    <a:pt x="229" y="299"/>
                  </a:lnTo>
                  <a:lnTo>
                    <a:pt x="229" y="299"/>
                  </a:lnTo>
                  <a:lnTo>
                    <a:pt x="235" y="299"/>
                  </a:lnTo>
                  <a:lnTo>
                    <a:pt x="237" y="301"/>
                  </a:lnTo>
                  <a:lnTo>
                    <a:pt x="239" y="301"/>
                  </a:lnTo>
                  <a:lnTo>
                    <a:pt x="243" y="297"/>
                  </a:lnTo>
                  <a:lnTo>
                    <a:pt x="247" y="295"/>
                  </a:lnTo>
                  <a:lnTo>
                    <a:pt x="253" y="299"/>
                  </a:lnTo>
                  <a:lnTo>
                    <a:pt x="264" y="309"/>
                  </a:lnTo>
                  <a:lnTo>
                    <a:pt x="268" y="303"/>
                  </a:lnTo>
                  <a:lnTo>
                    <a:pt x="266" y="299"/>
                  </a:lnTo>
                  <a:lnTo>
                    <a:pt x="284" y="287"/>
                  </a:lnTo>
                  <a:lnTo>
                    <a:pt x="284" y="287"/>
                  </a:lnTo>
                  <a:lnTo>
                    <a:pt x="282" y="283"/>
                  </a:lnTo>
                  <a:lnTo>
                    <a:pt x="282" y="283"/>
                  </a:lnTo>
                  <a:lnTo>
                    <a:pt x="280" y="283"/>
                  </a:lnTo>
                  <a:lnTo>
                    <a:pt x="280" y="283"/>
                  </a:lnTo>
                  <a:lnTo>
                    <a:pt x="272" y="277"/>
                  </a:lnTo>
                  <a:lnTo>
                    <a:pt x="270" y="277"/>
                  </a:lnTo>
                  <a:lnTo>
                    <a:pt x="268" y="275"/>
                  </a:lnTo>
                  <a:lnTo>
                    <a:pt x="268" y="275"/>
                  </a:lnTo>
                  <a:lnTo>
                    <a:pt x="268" y="273"/>
                  </a:lnTo>
                  <a:lnTo>
                    <a:pt x="270" y="269"/>
                  </a:lnTo>
                  <a:lnTo>
                    <a:pt x="272" y="265"/>
                  </a:lnTo>
                  <a:lnTo>
                    <a:pt x="282" y="271"/>
                  </a:lnTo>
                  <a:lnTo>
                    <a:pt x="282" y="271"/>
                  </a:lnTo>
                  <a:lnTo>
                    <a:pt x="286" y="271"/>
                  </a:lnTo>
                  <a:lnTo>
                    <a:pt x="290" y="269"/>
                  </a:lnTo>
                  <a:lnTo>
                    <a:pt x="290" y="269"/>
                  </a:lnTo>
                  <a:lnTo>
                    <a:pt x="308" y="255"/>
                  </a:lnTo>
                  <a:lnTo>
                    <a:pt x="308" y="255"/>
                  </a:lnTo>
                  <a:lnTo>
                    <a:pt x="312" y="253"/>
                  </a:lnTo>
                  <a:lnTo>
                    <a:pt x="312" y="251"/>
                  </a:lnTo>
                  <a:lnTo>
                    <a:pt x="312" y="241"/>
                  </a:lnTo>
                  <a:lnTo>
                    <a:pt x="304" y="235"/>
                  </a:lnTo>
                  <a:lnTo>
                    <a:pt x="294" y="223"/>
                  </a:lnTo>
                  <a:lnTo>
                    <a:pt x="302" y="219"/>
                  </a:lnTo>
                  <a:lnTo>
                    <a:pt x="294" y="207"/>
                  </a:lnTo>
                  <a:lnTo>
                    <a:pt x="282" y="215"/>
                  </a:lnTo>
                  <a:lnTo>
                    <a:pt x="282" y="215"/>
                  </a:lnTo>
                  <a:lnTo>
                    <a:pt x="272" y="207"/>
                  </a:lnTo>
                  <a:lnTo>
                    <a:pt x="272" y="207"/>
                  </a:lnTo>
                  <a:lnTo>
                    <a:pt x="270" y="203"/>
                  </a:lnTo>
                  <a:lnTo>
                    <a:pt x="266" y="197"/>
                  </a:lnTo>
                  <a:lnTo>
                    <a:pt x="264" y="189"/>
                  </a:lnTo>
                  <a:lnTo>
                    <a:pt x="260" y="183"/>
                  </a:lnTo>
                  <a:lnTo>
                    <a:pt x="260" y="183"/>
                  </a:lnTo>
                  <a:lnTo>
                    <a:pt x="256" y="181"/>
                  </a:lnTo>
                  <a:lnTo>
                    <a:pt x="253" y="181"/>
                  </a:lnTo>
                  <a:lnTo>
                    <a:pt x="249" y="181"/>
                  </a:lnTo>
                  <a:lnTo>
                    <a:pt x="243" y="183"/>
                  </a:lnTo>
                  <a:lnTo>
                    <a:pt x="243" y="183"/>
                  </a:lnTo>
                  <a:lnTo>
                    <a:pt x="241" y="183"/>
                  </a:lnTo>
                  <a:lnTo>
                    <a:pt x="241" y="179"/>
                  </a:lnTo>
                  <a:lnTo>
                    <a:pt x="237" y="175"/>
                  </a:lnTo>
                  <a:lnTo>
                    <a:pt x="235" y="171"/>
                  </a:lnTo>
                  <a:lnTo>
                    <a:pt x="229" y="165"/>
                  </a:lnTo>
                  <a:lnTo>
                    <a:pt x="229" y="165"/>
                  </a:lnTo>
                  <a:lnTo>
                    <a:pt x="225" y="161"/>
                  </a:lnTo>
                  <a:lnTo>
                    <a:pt x="221" y="155"/>
                  </a:lnTo>
                  <a:lnTo>
                    <a:pt x="211" y="141"/>
                  </a:lnTo>
                  <a:lnTo>
                    <a:pt x="211" y="141"/>
                  </a:lnTo>
                  <a:lnTo>
                    <a:pt x="207" y="139"/>
                  </a:lnTo>
                  <a:lnTo>
                    <a:pt x="205" y="139"/>
                  </a:lnTo>
                  <a:lnTo>
                    <a:pt x="195" y="141"/>
                  </a:lnTo>
                  <a:lnTo>
                    <a:pt x="195" y="141"/>
                  </a:lnTo>
                  <a:lnTo>
                    <a:pt x="193" y="141"/>
                  </a:lnTo>
                  <a:lnTo>
                    <a:pt x="191" y="137"/>
                  </a:lnTo>
                  <a:lnTo>
                    <a:pt x="189" y="133"/>
                  </a:lnTo>
                  <a:lnTo>
                    <a:pt x="189" y="127"/>
                  </a:lnTo>
                  <a:lnTo>
                    <a:pt x="189" y="127"/>
                  </a:lnTo>
                  <a:lnTo>
                    <a:pt x="183" y="119"/>
                  </a:lnTo>
                  <a:lnTo>
                    <a:pt x="177" y="115"/>
                  </a:lnTo>
                  <a:lnTo>
                    <a:pt x="173" y="111"/>
                  </a:lnTo>
                  <a:lnTo>
                    <a:pt x="171" y="107"/>
                  </a:lnTo>
                  <a:lnTo>
                    <a:pt x="171" y="107"/>
                  </a:lnTo>
                  <a:lnTo>
                    <a:pt x="167" y="95"/>
                  </a:lnTo>
                  <a:lnTo>
                    <a:pt x="165" y="93"/>
                  </a:lnTo>
                  <a:lnTo>
                    <a:pt x="159" y="89"/>
                  </a:lnTo>
                  <a:lnTo>
                    <a:pt x="159" y="89"/>
                  </a:lnTo>
                  <a:lnTo>
                    <a:pt x="155" y="88"/>
                  </a:lnTo>
                  <a:lnTo>
                    <a:pt x="155" y="84"/>
                  </a:lnTo>
                  <a:lnTo>
                    <a:pt x="153" y="74"/>
                  </a:lnTo>
                  <a:lnTo>
                    <a:pt x="153" y="74"/>
                  </a:lnTo>
                  <a:lnTo>
                    <a:pt x="153" y="68"/>
                  </a:lnTo>
                  <a:lnTo>
                    <a:pt x="155" y="62"/>
                  </a:lnTo>
                  <a:lnTo>
                    <a:pt x="159" y="56"/>
                  </a:lnTo>
                  <a:lnTo>
                    <a:pt x="161" y="48"/>
                  </a:lnTo>
                  <a:lnTo>
                    <a:pt x="161" y="48"/>
                  </a:lnTo>
                  <a:lnTo>
                    <a:pt x="165" y="42"/>
                  </a:lnTo>
                  <a:lnTo>
                    <a:pt x="169" y="38"/>
                  </a:lnTo>
                  <a:lnTo>
                    <a:pt x="173" y="32"/>
                  </a:lnTo>
                  <a:lnTo>
                    <a:pt x="173" y="32"/>
                  </a:lnTo>
                  <a:lnTo>
                    <a:pt x="171" y="20"/>
                  </a:lnTo>
                  <a:lnTo>
                    <a:pt x="169" y="14"/>
                  </a:lnTo>
                  <a:lnTo>
                    <a:pt x="167" y="10"/>
                  </a:lnTo>
                  <a:lnTo>
                    <a:pt x="161" y="10"/>
                  </a:lnTo>
                  <a:lnTo>
                    <a:pt x="161" y="10"/>
                  </a:lnTo>
                  <a:lnTo>
                    <a:pt x="157" y="4"/>
                  </a:lnTo>
                  <a:lnTo>
                    <a:pt x="151" y="4"/>
                  </a:lnTo>
                  <a:lnTo>
                    <a:pt x="147" y="4"/>
                  </a:lnTo>
                  <a:lnTo>
                    <a:pt x="147" y="4"/>
                  </a:lnTo>
                  <a:lnTo>
                    <a:pt x="133" y="10"/>
                  </a:lnTo>
                  <a:lnTo>
                    <a:pt x="133" y="10"/>
                  </a:lnTo>
                  <a:lnTo>
                    <a:pt x="127" y="14"/>
                  </a:lnTo>
                  <a:lnTo>
                    <a:pt x="121" y="14"/>
                  </a:lnTo>
                  <a:lnTo>
                    <a:pt x="121" y="14"/>
                  </a:lnTo>
                  <a:lnTo>
                    <a:pt x="115" y="12"/>
                  </a:lnTo>
                  <a:lnTo>
                    <a:pt x="111" y="10"/>
                  </a:lnTo>
                  <a:lnTo>
                    <a:pt x="105" y="2"/>
                  </a:lnTo>
                  <a:lnTo>
                    <a:pt x="105" y="2"/>
                  </a:lnTo>
                  <a:lnTo>
                    <a:pt x="107" y="2"/>
                  </a:lnTo>
                  <a:lnTo>
                    <a:pt x="107" y="2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99" y="0"/>
                  </a:lnTo>
                  <a:lnTo>
                    <a:pt x="95" y="0"/>
                  </a:lnTo>
                  <a:lnTo>
                    <a:pt x="87" y="4"/>
                  </a:lnTo>
                  <a:lnTo>
                    <a:pt x="87" y="4"/>
                  </a:lnTo>
                  <a:lnTo>
                    <a:pt x="69" y="14"/>
                  </a:lnTo>
                  <a:lnTo>
                    <a:pt x="63" y="18"/>
                  </a:lnTo>
                  <a:lnTo>
                    <a:pt x="61" y="20"/>
                  </a:lnTo>
                  <a:lnTo>
                    <a:pt x="59" y="22"/>
                  </a:lnTo>
                  <a:lnTo>
                    <a:pt x="59" y="22"/>
                  </a:lnTo>
                  <a:lnTo>
                    <a:pt x="57" y="28"/>
                  </a:lnTo>
                  <a:lnTo>
                    <a:pt x="53" y="36"/>
                  </a:lnTo>
                  <a:lnTo>
                    <a:pt x="53" y="36"/>
                  </a:lnTo>
                  <a:lnTo>
                    <a:pt x="51" y="40"/>
                  </a:lnTo>
                  <a:lnTo>
                    <a:pt x="51" y="42"/>
                  </a:lnTo>
                  <a:lnTo>
                    <a:pt x="49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39" y="46"/>
                  </a:lnTo>
                  <a:lnTo>
                    <a:pt x="35" y="48"/>
                  </a:lnTo>
                  <a:lnTo>
                    <a:pt x="32" y="50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18" y="44"/>
                  </a:lnTo>
                  <a:lnTo>
                    <a:pt x="14" y="44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50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8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73" name="Freeform 32"/>
            <p:cNvSpPr>
              <a:spLocks/>
            </p:cNvSpPr>
            <p:nvPr/>
          </p:nvSpPr>
          <p:spPr bwMode="auto">
            <a:xfrm>
              <a:off x="1367" y="2092"/>
              <a:ext cx="255" cy="161"/>
            </a:xfrm>
            <a:custGeom>
              <a:avLst/>
              <a:gdLst>
                <a:gd name="T0" fmla="*/ 207 w 255"/>
                <a:gd name="T1" fmla="*/ 25 h 161"/>
                <a:gd name="T2" fmla="*/ 199 w 255"/>
                <a:gd name="T3" fmla="*/ 13 h 161"/>
                <a:gd name="T4" fmla="*/ 181 w 255"/>
                <a:gd name="T5" fmla="*/ 21 h 161"/>
                <a:gd name="T6" fmla="*/ 169 w 255"/>
                <a:gd name="T7" fmla="*/ 21 h 161"/>
                <a:gd name="T8" fmla="*/ 151 w 255"/>
                <a:gd name="T9" fmla="*/ 13 h 161"/>
                <a:gd name="T10" fmla="*/ 149 w 255"/>
                <a:gd name="T11" fmla="*/ 2 h 161"/>
                <a:gd name="T12" fmla="*/ 135 w 255"/>
                <a:gd name="T13" fmla="*/ 2 h 161"/>
                <a:gd name="T14" fmla="*/ 127 w 255"/>
                <a:gd name="T15" fmla="*/ 8 h 161"/>
                <a:gd name="T16" fmla="*/ 115 w 255"/>
                <a:gd name="T17" fmla="*/ 12 h 161"/>
                <a:gd name="T18" fmla="*/ 99 w 255"/>
                <a:gd name="T19" fmla="*/ 13 h 161"/>
                <a:gd name="T20" fmla="*/ 93 w 255"/>
                <a:gd name="T21" fmla="*/ 21 h 161"/>
                <a:gd name="T22" fmla="*/ 85 w 255"/>
                <a:gd name="T23" fmla="*/ 25 h 161"/>
                <a:gd name="T24" fmla="*/ 80 w 255"/>
                <a:gd name="T25" fmla="*/ 27 h 161"/>
                <a:gd name="T26" fmla="*/ 76 w 255"/>
                <a:gd name="T27" fmla="*/ 35 h 161"/>
                <a:gd name="T28" fmla="*/ 56 w 255"/>
                <a:gd name="T29" fmla="*/ 43 h 161"/>
                <a:gd name="T30" fmla="*/ 34 w 255"/>
                <a:gd name="T31" fmla="*/ 43 h 161"/>
                <a:gd name="T32" fmla="*/ 24 w 255"/>
                <a:gd name="T33" fmla="*/ 49 h 161"/>
                <a:gd name="T34" fmla="*/ 8 w 255"/>
                <a:gd name="T35" fmla="*/ 51 h 161"/>
                <a:gd name="T36" fmla="*/ 2 w 255"/>
                <a:gd name="T37" fmla="*/ 49 h 161"/>
                <a:gd name="T38" fmla="*/ 2 w 255"/>
                <a:gd name="T39" fmla="*/ 53 h 161"/>
                <a:gd name="T40" fmla="*/ 2 w 255"/>
                <a:gd name="T41" fmla="*/ 67 h 161"/>
                <a:gd name="T42" fmla="*/ 14 w 255"/>
                <a:gd name="T43" fmla="*/ 71 h 161"/>
                <a:gd name="T44" fmla="*/ 2 w 255"/>
                <a:gd name="T45" fmla="*/ 79 h 161"/>
                <a:gd name="T46" fmla="*/ 8 w 255"/>
                <a:gd name="T47" fmla="*/ 85 h 161"/>
                <a:gd name="T48" fmla="*/ 22 w 255"/>
                <a:gd name="T49" fmla="*/ 97 h 161"/>
                <a:gd name="T50" fmla="*/ 34 w 255"/>
                <a:gd name="T51" fmla="*/ 101 h 161"/>
                <a:gd name="T52" fmla="*/ 34 w 255"/>
                <a:gd name="T53" fmla="*/ 127 h 161"/>
                <a:gd name="T54" fmla="*/ 42 w 255"/>
                <a:gd name="T55" fmla="*/ 143 h 161"/>
                <a:gd name="T56" fmla="*/ 44 w 255"/>
                <a:gd name="T57" fmla="*/ 151 h 161"/>
                <a:gd name="T58" fmla="*/ 54 w 255"/>
                <a:gd name="T59" fmla="*/ 153 h 161"/>
                <a:gd name="T60" fmla="*/ 62 w 255"/>
                <a:gd name="T61" fmla="*/ 147 h 161"/>
                <a:gd name="T62" fmla="*/ 76 w 255"/>
                <a:gd name="T63" fmla="*/ 151 h 161"/>
                <a:gd name="T64" fmla="*/ 85 w 255"/>
                <a:gd name="T65" fmla="*/ 145 h 161"/>
                <a:gd name="T66" fmla="*/ 91 w 255"/>
                <a:gd name="T67" fmla="*/ 151 h 161"/>
                <a:gd name="T68" fmla="*/ 85 w 255"/>
                <a:gd name="T69" fmla="*/ 157 h 161"/>
                <a:gd name="T70" fmla="*/ 97 w 255"/>
                <a:gd name="T71" fmla="*/ 161 h 161"/>
                <a:gd name="T72" fmla="*/ 101 w 255"/>
                <a:gd name="T73" fmla="*/ 157 h 161"/>
                <a:gd name="T74" fmla="*/ 109 w 255"/>
                <a:gd name="T75" fmla="*/ 153 h 161"/>
                <a:gd name="T76" fmla="*/ 121 w 255"/>
                <a:gd name="T77" fmla="*/ 151 h 161"/>
                <a:gd name="T78" fmla="*/ 121 w 255"/>
                <a:gd name="T79" fmla="*/ 149 h 161"/>
                <a:gd name="T80" fmla="*/ 121 w 255"/>
                <a:gd name="T81" fmla="*/ 135 h 161"/>
                <a:gd name="T82" fmla="*/ 131 w 255"/>
                <a:gd name="T83" fmla="*/ 129 h 161"/>
                <a:gd name="T84" fmla="*/ 143 w 255"/>
                <a:gd name="T85" fmla="*/ 123 h 161"/>
                <a:gd name="T86" fmla="*/ 143 w 255"/>
                <a:gd name="T87" fmla="*/ 107 h 161"/>
                <a:gd name="T88" fmla="*/ 149 w 255"/>
                <a:gd name="T89" fmla="*/ 103 h 161"/>
                <a:gd name="T90" fmla="*/ 149 w 255"/>
                <a:gd name="T91" fmla="*/ 91 h 161"/>
                <a:gd name="T92" fmla="*/ 157 w 255"/>
                <a:gd name="T93" fmla="*/ 93 h 161"/>
                <a:gd name="T94" fmla="*/ 169 w 255"/>
                <a:gd name="T95" fmla="*/ 83 h 161"/>
                <a:gd name="T96" fmla="*/ 181 w 255"/>
                <a:gd name="T97" fmla="*/ 91 h 161"/>
                <a:gd name="T98" fmla="*/ 191 w 255"/>
                <a:gd name="T99" fmla="*/ 95 h 161"/>
                <a:gd name="T100" fmla="*/ 199 w 255"/>
                <a:gd name="T101" fmla="*/ 91 h 161"/>
                <a:gd name="T102" fmla="*/ 209 w 255"/>
                <a:gd name="T103" fmla="*/ 79 h 161"/>
                <a:gd name="T104" fmla="*/ 231 w 255"/>
                <a:gd name="T105" fmla="*/ 89 h 161"/>
                <a:gd name="T106" fmla="*/ 255 w 255"/>
                <a:gd name="T107" fmla="*/ 79 h 161"/>
                <a:gd name="T108" fmla="*/ 217 w 255"/>
                <a:gd name="T109" fmla="*/ 35 h 161"/>
                <a:gd name="T110" fmla="*/ 209 w 255"/>
                <a:gd name="T111" fmla="*/ 33 h 161"/>
                <a:gd name="T112" fmla="*/ 209 w 255"/>
                <a:gd name="T113" fmla="*/ 33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55" h="161">
                  <a:moveTo>
                    <a:pt x="209" y="33"/>
                  </a:moveTo>
                  <a:lnTo>
                    <a:pt x="209" y="33"/>
                  </a:lnTo>
                  <a:lnTo>
                    <a:pt x="207" y="25"/>
                  </a:lnTo>
                  <a:lnTo>
                    <a:pt x="207" y="25"/>
                  </a:lnTo>
                  <a:lnTo>
                    <a:pt x="205" y="19"/>
                  </a:lnTo>
                  <a:lnTo>
                    <a:pt x="203" y="15"/>
                  </a:lnTo>
                  <a:lnTo>
                    <a:pt x="199" y="13"/>
                  </a:lnTo>
                  <a:lnTo>
                    <a:pt x="199" y="13"/>
                  </a:lnTo>
                  <a:lnTo>
                    <a:pt x="197" y="15"/>
                  </a:lnTo>
                  <a:lnTo>
                    <a:pt x="191" y="19"/>
                  </a:lnTo>
                  <a:lnTo>
                    <a:pt x="185" y="21"/>
                  </a:lnTo>
                  <a:lnTo>
                    <a:pt x="181" y="21"/>
                  </a:lnTo>
                  <a:lnTo>
                    <a:pt x="181" y="21"/>
                  </a:lnTo>
                  <a:lnTo>
                    <a:pt x="175" y="21"/>
                  </a:lnTo>
                  <a:lnTo>
                    <a:pt x="173" y="21"/>
                  </a:lnTo>
                  <a:lnTo>
                    <a:pt x="169" y="21"/>
                  </a:lnTo>
                  <a:lnTo>
                    <a:pt x="169" y="21"/>
                  </a:lnTo>
                  <a:lnTo>
                    <a:pt x="157" y="19"/>
                  </a:lnTo>
                  <a:lnTo>
                    <a:pt x="151" y="15"/>
                  </a:lnTo>
                  <a:lnTo>
                    <a:pt x="151" y="13"/>
                  </a:lnTo>
                  <a:lnTo>
                    <a:pt x="151" y="12"/>
                  </a:lnTo>
                  <a:lnTo>
                    <a:pt x="151" y="12"/>
                  </a:lnTo>
                  <a:lnTo>
                    <a:pt x="151" y="4"/>
                  </a:lnTo>
                  <a:lnTo>
                    <a:pt x="149" y="2"/>
                  </a:lnTo>
                  <a:lnTo>
                    <a:pt x="147" y="0"/>
                  </a:lnTo>
                  <a:lnTo>
                    <a:pt x="147" y="0"/>
                  </a:lnTo>
                  <a:lnTo>
                    <a:pt x="139" y="0"/>
                  </a:lnTo>
                  <a:lnTo>
                    <a:pt x="135" y="2"/>
                  </a:lnTo>
                  <a:lnTo>
                    <a:pt x="135" y="2"/>
                  </a:lnTo>
                  <a:lnTo>
                    <a:pt x="131" y="4"/>
                  </a:lnTo>
                  <a:lnTo>
                    <a:pt x="129" y="6"/>
                  </a:lnTo>
                  <a:lnTo>
                    <a:pt x="127" y="8"/>
                  </a:lnTo>
                  <a:lnTo>
                    <a:pt x="123" y="10"/>
                  </a:lnTo>
                  <a:lnTo>
                    <a:pt x="123" y="10"/>
                  </a:lnTo>
                  <a:lnTo>
                    <a:pt x="115" y="12"/>
                  </a:lnTo>
                  <a:lnTo>
                    <a:pt x="115" y="12"/>
                  </a:lnTo>
                  <a:lnTo>
                    <a:pt x="109" y="13"/>
                  </a:lnTo>
                  <a:lnTo>
                    <a:pt x="103" y="13"/>
                  </a:lnTo>
                  <a:lnTo>
                    <a:pt x="103" y="13"/>
                  </a:lnTo>
                  <a:lnTo>
                    <a:pt x="99" y="13"/>
                  </a:lnTo>
                  <a:lnTo>
                    <a:pt x="97" y="15"/>
                  </a:lnTo>
                  <a:lnTo>
                    <a:pt x="97" y="19"/>
                  </a:lnTo>
                  <a:lnTo>
                    <a:pt x="93" y="21"/>
                  </a:lnTo>
                  <a:lnTo>
                    <a:pt x="93" y="21"/>
                  </a:lnTo>
                  <a:lnTo>
                    <a:pt x="89" y="25"/>
                  </a:lnTo>
                  <a:lnTo>
                    <a:pt x="87" y="25"/>
                  </a:lnTo>
                  <a:lnTo>
                    <a:pt x="85" y="25"/>
                  </a:lnTo>
                  <a:lnTo>
                    <a:pt x="85" y="25"/>
                  </a:lnTo>
                  <a:lnTo>
                    <a:pt x="83" y="25"/>
                  </a:lnTo>
                  <a:lnTo>
                    <a:pt x="83" y="25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29"/>
                  </a:lnTo>
                  <a:lnTo>
                    <a:pt x="80" y="31"/>
                  </a:lnTo>
                  <a:lnTo>
                    <a:pt x="76" y="35"/>
                  </a:lnTo>
                  <a:lnTo>
                    <a:pt x="70" y="37"/>
                  </a:lnTo>
                  <a:lnTo>
                    <a:pt x="70" y="37"/>
                  </a:lnTo>
                  <a:lnTo>
                    <a:pt x="60" y="43"/>
                  </a:lnTo>
                  <a:lnTo>
                    <a:pt x="56" y="43"/>
                  </a:lnTo>
                  <a:lnTo>
                    <a:pt x="52" y="43"/>
                  </a:lnTo>
                  <a:lnTo>
                    <a:pt x="52" y="43"/>
                  </a:lnTo>
                  <a:lnTo>
                    <a:pt x="40" y="39"/>
                  </a:lnTo>
                  <a:lnTo>
                    <a:pt x="34" y="43"/>
                  </a:lnTo>
                  <a:lnTo>
                    <a:pt x="34" y="43"/>
                  </a:lnTo>
                  <a:lnTo>
                    <a:pt x="30" y="45"/>
                  </a:lnTo>
                  <a:lnTo>
                    <a:pt x="26" y="47"/>
                  </a:lnTo>
                  <a:lnTo>
                    <a:pt x="24" y="49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14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2" y="51"/>
                  </a:lnTo>
                  <a:lnTo>
                    <a:pt x="2" y="53"/>
                  </a:lnTo>
                  <a:lnTo>
                    <a:pt x="2" y="53"/>
                  </a:lnTo>
                  <a:lnTo>
                    <a:pt x="2" y="57"/>
                  </a:lnTo>
                  <a:lnTo>
                    <a:pt x="2" y="57"/>
                  </a:lnTo>
                  <a:lnTo>
                    <a:pt x="0" y="61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8" y="69"/>
                  </a:lnTo>
                  <a:lnTo>
                    <a:pt x="12" y="71"/>
                  </a:lnTo>
                  <a:lnTo>
                    <a:pt x="14" y="71"/>
                  </a:lnTo>
                  <a:lnTo>
                    <a:pt x="12" y="73"/>
                  </a:lnTo>
                  <a:lnTo>
                    <a:pt x="12" y="75"/>
                  </a:lnTo>
                  <a:lnTo>
                    <a:pt x="12" y="75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8" y="85"/>
                  </a:lnTo>
                  <a:lnTo>
                    <a:pt x="12" y="93"/>
                  </a:lnTo>
                  <a:lnTo>
                    <a:pt x="12" y="93"/>
                  </a:lnTo>
                  <a:lnTo>
                    <a:pt x="16" y="97"/>
                  </a:lnTo>
                  <a:lnTo>
                    <a:pt x="22" y="97"/>
                  </a:lnTo>
                  <a:lnTo>
                    <a:pt x="26" y="97"/>
                  </a:lnTo>
                  <a:lnTo>
                    <a:pt x="32" y="101"/>
                  </a:lnTo>
                  <a:lnTo>
                    <a:pt x="32" y="101"/>
                  </a:lnTo>
                  <a:lnTo>
                    <a:pt x="34" y="101"/>
                  </a:lnTo>
                  <a:lnTo>
                    <a:pt x="34" y="105"/>
                  </a:lnTo>
                  <a:lnTo>
                    <a:pt x="34" y="113"/>
                  </a:lnTo>
                  <a:lnTo>
                    <a:pt x="34" y="127"/>
                  </a:lnTo>
                  <a:lnTo>
                    <a:pt x="34" y="127"/>
                  </a:lnTo>
                  <a:lnTo>
                    <a:pt x="34" y="131"/>
                  </a:lnTo>
                  <a:lnTo>
                    <a:pt x="36" y="137"/>
                  </a:lnTo>
                  <a:lnTo>
                    <a:pt x="42" y="143"/>
                  </a:lnTo>
                  <a:lnTo>
                    <a:pt x="42" y="143"/>
                  </a:lnTo>
                  <a:lnTo>
                    <a:pt x="44" y="147"/>
                  </a:lnTo>
                  <a:lnTo>
                    <a:pt x="42" y="147"/>
                  </a:lnTo>
                  <a:lnTo>
                    <a:pt x="42" y="149"/>
                  </a:lnTo>
                  <a:lnTo>
                    <a:pt x="44" y="151"/>
                  </a:lnTo>
                  <a:lnTo>
                    <a:pt x="44" y="151"/>
                  </a:lnTo>
                  <a:lnTo>
                    <a:pt x="52" y="157"/>
                  </a:lnTo>
                  <a:lnTo>
                    <a:pt x="52" y="157"/>
                  </a:lnTo>
                  <a:lnTo>
                    <a:pt x="54" y="153"/>
                  </a:lnTo>
                  <a:lnTo>
                    <a:pt x="54" y="153"/>
                  </a:lnTo>
                  <a:lnTo>
                    <a:pt x="54" y="151"/>
                  </a:lnTo>
                  <a:lnTo>
                    <a:pt x="58" y="149"/>
                  </a:lnTo>
                  <a:lnTo>
                    <a:pt x="62" y="147"/>
                  </a:lnTo>
                  <a:lnTo>
                    <a:pt x="64" y="149"/>
                  </a:lnTo>
                  <a:lnTo>
                    <a:pt x="68" y="149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80" y="147"/>
                  </a:lnTo>
                  <a:lnTo>
                    <a:pt x="83" y="147"/>
                  </a:lnTo>
                  <a:lnTo>
                    <a:pt x="85" y="145"/>
                  </a:lnTo>
                  <a:lnTo>
                    <a:pt x="85" y="145"/>
                  </a:lnTo>
                  <a:lnTo>
                    <a:pt x="89" y="147"/>
                  </a:lnTo>
                  <a:lnTo>
                    <a:pt x="91" y="149"/>
                  </a:lnTo>
                  <a:lnTo>
                    <a:pt x="91" y="149"/>
                  </a:lnTo>
                  <a:lnTo>
                    <a:pt x="91" y="151"/>
                  </a:lnTo>
                  <a:lnTo>
                    <a:pt x="91" y="151"/>
                  </a:lnTo>
                  <a:lnTo>
                    <a:pt x="85" y="153"/>
                  </a:lnTo>
                  <a:lnTo>
                    <a:pt x="85" y="153"/>
                  </a:lnTo>
                  <a:lnTo>
                    <a:pt x="85" y="157"/>
                  </a:lnTo>
                  <a:lnTo>
                    <a:pt x="87" y="157"/>
                  </a:lnTo>
                  <a:lnTo>
                    <a:pt x="93" y="161"/>
                  </a:lnTo>
                  <a:lnTo>
                    <a:pt x="93" y="161"/>
                  </a:lnTo>
                  <a:lnTo>
                    <a:pt x="97" y="161"/>
                  </a:lnTo>
                  <a:lnTo>
                    <a:pt x="97" y="161"/>
                  </a:lnTo>
                  <a:lnTo>
                    <a:pt x="99" y="159"/>
                  </a:lnTo>
                  <a:lnTo>
                    <a:pt x="99" y="159"/>
                  </a:lnTo>
                  <a:lnTo>
                    <a:pt x="101" y="157"/>
                  </a:lnTo>
                  <a:lnTo>
                    <a:pt x="105" y="153"/>
                  </a:lnTo>
                  <a:lnTo>
                    <a:pt x="105" y="153"/>
                  </a:lnTo>
                  <a:lnTo>
                    <a:pt x="109" y="153"/>
                  </a:lnTo>
                  <a:lnTo>
                    <a:pt x="109" y="153"/>
                  </a:lnTo>
                  <a:lnTo>
                    <a:pt x="111" y="153"/>
                  </a:lnTo>
                  <a:lnTo>
                    <a:pt x="111" y="153"/>
                  </a:lnTo>
                  <a:lnTo>
                    <a:pt x="115" y="151"/>
                  </a:lnTo>
                  <a:lnTo>
                    <a:pt x="121" y="151"/>
                  </a:lnTo>
                  <a:lnTo>
                    <a:pt x="121" y="151"/>
                  </a:lnTo>
                  <a:lnTo>
                    <a:pt x="121" y="151"/>
                  </a:lnTo>
                  <a:lnTo>
                    <a:pt x="123" y="151"/>
                  </a:lnTo>
                  <a:lnTo>
                    <a:pt x="121" y="149"/>
                  </a:lnTo>
                  <a:lnTo>
                    <a:pt x="117" y="143"/>
                  </a:lnTo>
                  <a:lnTo>
                    <a:pt x="117" y="143"/>
                  </a:lnTo>
                  <a:lnTo>
                    <a:pt x="117" y="137"/>
                  </a:lnTo>
                  <a:lnTo>
                    <a:pt x="121" y="135"/>
                  </a:lnTo>
                  <a:lnTo>
                    <a:pt x="123" y="131"/>
                  </a:lnTo>
                  <a:lnTo>
                    <a:pt x="123" y="131"/>
                  </a:lnTo>
                  <a:lnTo>
                    <a:pt x="127" y="129"/>
                  </a:lnTo>
                  <a:lnTo>
                    <a:pt x="131" y="129"/>
                  </a:lnTo>
                  <a:lnTo>
                    <a:pt x="137" y="127"/>
                  </a:lnTo>
                  <a:lnTo>
                    <a:pt x="137" y="127"/>
                  </a:lnTo>
                  <a:lnTo>
                    <a:pt x="139" y="127"/>
                  </a:lnTo>
                  <a:lnTo>
                    <a:pt x="143" y="123"/>
                  </a:lnTo>
                  <a:lnTo>
                    <a:pt x="143" y="123"/>
                  </a:lnTo>
                  <a:lnTo>
                    <a:pt x="143" y="115"/>
                  </a:lnTo>
                  <a:lnTo>
                    <a:pt x="143" y="107"/>
                  </a:lnTo>
                  <a:lnTo>
                    <a:pt x="143" y="107"/>
                  </a:lnTo>
                  <a:lnTo>
                    <a:pt x="145" y="105"/>
                  </a:lnTo>
                  <a:lnTo>
                    <a:pt x="147" y="105"/>
                  </a:lnTo>
                  <a:lnTo>
                    <a:pt x="149" y="103"/>
                  </a:lnTo>
                  <a:lnTo>
                    <a:pt x="149" y="103"/>
                  </a:lnTo>
                  <a:lnTo>
                    <a:pt x="151" y="101"/>
                  </a:lnTo>
                  <a:lnTo>
                    <a:pt x="149" y="97"/>
                  </a:lnTo>
                  <a:lnTo>
                    <a:pt x="149" y="95"/>
                  </a:lnTo>
                  <a:lnTo>
                    <a:pt x="149" y="91"/>
                  </a:lnTo>
                  <a:lnTo>
                    <a:pt x="149" y="91"/>
                  </a:lnTo>
                  <a:lnTo>
                    <a:pt x="151" y="91"/>
                  </a:lnTo>
                  <a:lnTo>
                    <a:pt x="153" y="91"/>
                  </a:lnTo>
                  <a:lnTo>
                    <a:pt x="157" y="93"/>
                  </a:lnTo>
                  <a:lnTo>
                    <a:pt x="157" y="93"/>
                  </a:lnTo>
                  <a:lnTo>
                    <a:pt x="159" y="93"/>
                  </a:lnTo>
                  <a:lnTo>
                    <a:pt x="163" y="89"/>
                  </a:lnTo>
                  <a:lnTo>
                    <a:pt x="169" y="83"/>
                  </a:lnTo>
                  <a:lnTo>
                    <a:pt x="169" y="83"/>
                  </a:lnTo>
                  <a:lnTo>
                    <a:pt x="173" y="83"/>
                  </a:lnTo>
                  <a:lnTo>
                    <a:pt x="177" y="89"/>
                  </a:lnTo>
                  <a:lnTo>
                    <a:pt x="181" y="91"/>
                  </a:lnTo>
                  <a:lnTo>
                    <a:pt x="185" y="93"/>
                  </a:lnTo>
                  <a:lnTo>
                    <a:pt x="185" y="93"/>
                  </a:lnTo>
                  <a:lnTo>
                    <a:pt x="189" y="93"/>
                  </a:lnTo>
                  <a:lnTo>
                    <a:pt x="191" y="95"/>
                  </a:lnTo>
                  <a:lnTo>
                    <a:pt x="193" y="97"/>
                  </a:lnTo>
                  <a:lnTo>
                    <a:pt x="193" y="97"/>
                  </a:lnTo>
                  <a:lnTo>
                    <a:pt x="197" y="97"/>
                  </a:lnTo>
                  <a:lnTo>
                    <a:pt x="199" y="91"/>
                  </a:lnTo>
                  <a:lnTo>
                    <a:pt x="203" y="91"/>
                  </a:lnTo>
                  <a:lnTo>
                    <a:pt x="207" y="89"/>
                  </a:lnTo>
                  <a:lnTo>
                    <a:pt x="207" y="83"/>
                  </a:lnTo>
                  <a:lnTo>
                    <a:pt x="209" y="79"/>
                  </a:lnTo>
                  <a:lnTo>
                    <a:pt x="219" y="77"/>
                  </a:lnTo>
                  <a:lnTo>
                    <a:pt x="219" y="77"/>
                  </a:lnTo>
                  <a:lnTo>
                    <a:pt x="231" y="89"/>
                  </a:lnTo>
                  <a:lnTo>
                    <a:pt x="231" y="89"/>
                  </a:lnTo>
                  <a:lnTo>
                    <a:pt x="235" y="91"/>
                  </a:lnTo>
                  <a:lnTo>
                    <a:pt x="239" y="89"/>
                  </a:lnTo>
                  <a:lnTo>
                    <a:pt x="245" y="85"/>
                  </a:lnTo>
                  <a:lnTo>
                    <a:pt x="255" y="79"/>
                  </a:lnTo>
                  <a:lnTo>
                    <a:pt x="231" y="47"/>
                  </a:lnTo>
                  <a:lnTo>
                    <a:pt x="229" y="43"/>
                  </a:lnTo>
                  <a:lnTo>
                    <a:pt x="217" y="35"/>
                  </a:lnTo>
                  <a:lnTo>
                    <a:pt x="217" y="35"/>
                  </a:lnTo>
                  <a:lnTo>
                    <a:pt x="215" y="35"/>
                  </a:lnTo>
                  <a:lnTo>
                    <a:pt x="209" y="35"/>
                  </a:lnTo>
                  <a:lnTo>
                    <a:pt x="209" y="35"/>
                  </a:lnTo>
                  <a:lnTo>
                    <a:pt x="209" y="33"/>
                  </a:lnTo>
                  <a:lnTo>
                    <a:pt x="209" y="33"/>
                  </a:lnTo>
                  <a:lnTo>
                    <a:pt x="209" y="33"/>
                  </a:lnTo>
                  <a:lnTo>
                    <a:pt x="209" y="33"/>
                  </a:lnTo>
                  <a:lnTo>
                    <a:pt x="209" y="33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74" name="Freeform 33"/>
            <p:cNvSpPr>
              <a:spLocks/>
            </p:cNvSpPr>
            <p:nvPr/>
          </p:nvSpPr>
          <p:spPr bwMode="auto">
            <a:xfrm>
              <a:off x="1233" y="2086"/>
              <a:ext cx="148" cy="123"/>
            </a:xfrm>
            <a:custGeom>
              <a:avLst/>
              <a:gdLst>
                <a:gd name="T0" fmla="*/ 104 w 148"/>
                <a:gd name="T1" fmla="*/ 113 h 123"/>
                <a:gd name="T2" fmla="*/ 108 w 148"/>
                <a:gd name="T3" fmla="*/ 113 h 123"/>
                <a:gd name="T4" fmla="*/ 108 w 148"/>
                <a:gd name="T5" fmla="*/ 109 h 123"/>
                <a:gd name="T6" fmla="*/ 104 w 148"/>
                <a:gd name="T7" fmla="*/ 107 h 123"/>
                <a:gd name="T8" fmla="*/ 112 w 148"/>
                <a:gd name="T9" fmla="*/ 105 h 123"/>
                <a:gd name="T10" fmla="*/ 118 w 148"/>
                <a:gd name="T11" fmla="*/ 105 h 123"/>
                <a:gd name="T12" fmla="*/ 126 w 148"/>
                <a:gd name="T13" fmla="*/ 101 h 123"/>
                <a:gd name="T14" fmla="*/ 132 w 148"/>
                <a:gd name="T15" fmla="*/ 101 h 123"/>
                <a:gd name="T16" fmla="*/ 134 w 148"/>
                <a:gd name="T17" fmla="*/ 97 h 123"/>
                <a:gd name="T18" fmla="*/ 134 w 148"/>
                <a:gd name="T19" fmla="*/ 85 h 123"/>
                <a:gd name="T20" fmla="*/ 136 w 148"/>
                <a:gd name="T21" fmla="*/ 85 h 123"/>
                <a:gd name="T22" fmla="*/ 146 w 148"/>
                <a:gd name="T23" fmla="*/ 81 h 123"/>
                <a:gd name="T24" fmla="*/ 146 w 148"/>
                <a:gd name="T25" fmla="*/ 77 h 123"/>
                <a:gd name="T26" fmla="*/ 136 w 148"/>
                <a:gd name="T27" fmla="*/ 73 h 123"/>
                <a:gd name="T28" fmla="*/ 136 w 148"/>
                <a:gd name="T29" fmla="*/ 63 h 123"/>
                <a:gd name="T30" fmla="*/ 136 w 148"/>
                <a:gd name="T31" fmla="*/ 57 h 123"/>
                <a:gd name="T32" fmla="*/ 136 w 148"/>
                <a:gd name="T33" fmla="*/ 53 h 123"/>
                <a:gd name="T34" fmla="*/ 130 w 148"/>
                <a:gd name="T35" fmla="*/ 43 h 123"/>
                <a:gd name="T36" fmla="*/ 126 w 148"/>
                <a:gd name="T37" fmla="*/ 37 h 123"/>
                <a:gd name="T38" fmla="*/ 126 w 148"/>
                <a:gd name="T39" fmla="*/ 37 h 123"/>
                <a:gd name="T40" fmla="*/ 126 w 148"/>
                <a:gd name="T41" fmla="*/ 33 h 123"/>
                <a:gd name="T42" fmla="*/ 124 w 148"/>
                <a:gd name="T43" fmla="*/ 27 h 123"/>
                <a:gd name="T44" fmla="*/ 118 w 148"/>
                <a:gd name="T45" fmla="*/ 27 h 123"/>
                <a:gd name="T46" fmla="*/ 118 w 148"/>
                <a:gd name="T47" fmla="*/ 21 h 123"/>
                <a:gd name="T48" fmla="*/ 114 w 148"/>
                <a:gd name="T49" fmla="*/ 14 h 123"/>
                <a:gd name="T50" fmla="*/ 110 w 148"/>
                <a:gd name="T51" fmla="*/ 14 h 123"/>
                <a:gd name="T52" fmla="*/ 100 w 148"/>
                <a:gd name="T53" fmla="*/ 6 h 123"/>
                <a:gd name="T54" fmla="*/ 96 w 148"/>
                <a:gd name="T55" fmla="*/ 8 h 123"/>
                <a:gd name="T56" fmla="*/ 90 w 148"/>
                <a:gd name="T57" fmla="*/ 10 h 123"/>
                <a:gd name="T58" fmla="*/ 86 w 148"/>
                <a:gd name="T59" fmla="*/ 6 h 123"/>
                <a:gd name="T60" fmla="*/ 80 w 148"/>
                <a:gd name="T61" fmla="*/ 6 h 123"/>
                <a:gd name="T62" fmla="*/ 68 w 148"/>
                <a:gd name="T63" fmla="*/ 8 h 123"/>
                <a:gd name="T64" fmla="*/ 62 w 148"/>
                <a:gd name="T65" fmla="*/ 6 h 123"/>
                <a:gd name="T66" fmla="*/ 54 w 148"/>
                <a:gd name="T67" fmla="*/ 0 h 123"/>
                <a:gd name="T68" fmla="*/ 50 w 148"/>
                <a:gd name="T69" fmla="*/ 4 h 123"/>
                <a:gd name="T70" fmla="*/ 40 w 148"/>
                <a:gd name="T71" fmla="*/ 10 h 123"/>
                <a:gd name="T72" fmla="*/ 38 w 148"/>
                <a:gd name="T73" fmla="*/ 10 h 123"/>
                <a:gd name="T74" fmla="*/ 32 w 148"/>
                <a:gd name="T75" fmla="*/ 8 h 123"/>
                <a:gd name="T76" fmla="*/ 32 w 148"/>
                <a:gd name="T77" fmla="*/ 8 h 123"/>
                <a:gd name="T78" fmla="*/ 22 w 148"/>
                <a:gd name="T79" fmla="*/ 18 h 123"/>
                <a:gd name="T80" fmla="*/ 20 w 148"/>
                <a:gd name="T81" fmla="*/ 25 h 123"/>
                <a:gd name="T82" fmla="*/ 14 w 148"/>
                <a:gd name="T83" fmla="*/ 27 h 123"/>
                <a:gd name="T84" fmla="*/ 12 w 148"/>
                <a:gd name="T85" fmla="*/ 31 h 123"/>
                <a:gd name="T86" fmla="*/ 4 w 148"/>
                <a:gd name="T87" fmla="*/ 39 h 123"/>
                <a:gd name="T88" fmla="*/ 0 w 148"/>
                <a:gd name="T89" fmla="*/ 49 h 123"/>
                <a:gd name="T90" fmla="*/ 10 w 148"/>
                <a:gd name="T91" fmla="*/ 59 h 123"/>
                <a:gd name="T92" fmla="*/ 18 w 148"/>
                <a:gd name="T93" fmla="*/ 57 h 123"/>
                <a:gd name="T94" fmla="*/ 26 w 148"/>
                <a:gd name="T95" fmla="*/ 63 h 123"/>
                <a:gd name="T96" fmla="*/ 20 w 148"/>
                <a:gd name="T97" fmla="*/ 73 h 123"/>
                <a:gd name="T98" fmla="*/ 28 w 148"/>
                <a:gd name="T99" fmla="*/ 83 h 123"/>
                <a:gd name="T100" fmla="*/ 40 w 148"/>
                <a:gd name="T101" fmla="*/ 87 h 123"/>
                <a:gd name="T102" fmla="*/ 50 w 148"/>
                <a:gd name="T103" fmla="*/ 95 h 123"/>
                <a:gd name="T104" fmla="*/ 46 w 148"/>
                <a:gd name="T105" fmla="*/ 99 h 123"/>
                <a:gd name="T106" fmla="*/ 54 w 148"/>
                <a:gd name="T107" fmla="*/ 105 h 123"/>
                <a:gd name="T108" fmla="*/ 62 w 148"/>
                <a:gd name="T109" fmla="*/ 103 h 123"/>
                <a:gd name="T110" fmla="*/ 68 w 148"/>
                <a:gd name="T111" fmla="*/ 101 h 123"/>
                <a:gd name="T112" fmla="*/ 86 w 148"/>
                <a:gd name="T113" fmla="*/ 119 h 123"/>
                <a:gd name="T114" fmla="*/ 88 w 148"/>
                <a:gd name="T115" fmla="*/ 121 h 123"/>
                <a:gd name="T116" fmla="*/ 96 w 148"/>
                <a:gd name="T117" fmla="*/ 123 h 123"/>
                <a:gd name="T118" fmla="*/ 100 w 148"/>
                <a:gd name="T119" fmla="*/ 113 h 123"/>
                <a:gd name="T120" fmla="*/ 102 w 148"/>
                <a:gd name="T121" fmla="*/ 11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8" h="123">
                  <a:moveTo>
                    <a:pt x="102" y="113"/>
                  </a:moveTo>
                  <a:lnTo>
                    <a:pt x="102" y="113"/>
                  </a:lnTo>
                  <a:lnTo>
                    <a:pt x="104" y="113"/>
                  </a:lnTo>
                  <a:lnTo>
                    <a:pt x="108" y="113"/>
                  </a:lnTo>
                  <a:lnTo>
                    <a:pt x="108" y="113"/>
                  </a:lnTo>
                  <a:lnTo>
                    <a:pt x="108" y="113"/>
                  </a:lnTo>
                  <a:lnTo>
                    <a:pt x="108" y="113"/>
                  </a:lnTo>
                  <a:lnTo>
                    <a:pt x="108" y="111"/>
                  </a:lnTo>
                  <a:lnTo>
                    <a:pt x="108" y="109"/>
                  </a:lnTo>
                  <a:lnTo>
                    <a:pt x="104" y="107"/>
                  </a:lnTo>
                  <a:lnTo>
                    <a:pt x="104" y="107"/>
                  </a:lnTo>
                  <a:lnTo>
                    <a:pt x="104" y="107"/>
                  </a:lnTo>
                  <a:lnTo>
                    <a:pt x="106" y="105"/>
                  </a:lnTo>
                  <a:lnTo>
                    <a:pt x="108" y="105"/>
                  </a:lnTo>
                  <a:lnTo>
                    <a:pt x="112" y="105"/>
                  </a:lnTo>
                  <a:lnTo>
                    <a:pt x="112" y="105"/>
                  </a:lnTo>
                  <a:lnTo>
                    <a:pt x="114" y="107"/>
                  </a:lnTo>
                  <a:lnTo>
                    <a:pt x="118" y="105"/>
                  </a:lnTo>
                  <a:lnTo>
                    <a:pt x="124" y="103"/>
                  </a:lnTo>
                  <a:lnTo>
                    <a:pt x="124" y="103"/>
                  </a:lnTo>
                  <a:lnTo>
                    <a:pt x="126" y="101"/>
                  </a:lnTo>
                  <a:lnTo>
                    <a:pt x="128" y="101"/>
                  </a:lnTo>
                  <a:lnTo>
                    <a:pt x="128" y="103"/>
                  </a:lnTo>
                  <a:lnTo>
                    <a:pt x="132" y="101"/>
                  </a:lnTo>
                  <a:lnTo>
                    <a:pt x="132" y="101"/>
                  </a:lnTo>
                  <a:lnTo>
                    <a:pt x="134" y="99"/>
                  </a:lnTo>
                  <a:lnTo>
                    <a:pt x="134" y="97"/>
                  </a:lnTo>
                  <a:lnTo>
                    <a:pt x="132" y="85"/>
                  </a:lnTo>
                  <a:lnTo>
                    <a:pt x="132" y="85"/>
                  </a:lnTo>
                  <a:lnTo>
                    <a:pt x="134" y="85"/>
                  </a:lnTo>
                  <a:lnTo>
                    <a:pt x="136" y="85"/>
                  </a:lnTo>
                  <a:lnTo>
                    <a:pt x="136" y="85"/>
                  </a:lnTo>
                  <a:lnTo>
                    <a:pt x="136" y="85"/>
                  </a:lnTo>
                  <a:lnTo>
                    <a:pt x="136" y="85"/>
                  </a:lnTo>
                  <a:lnTo>
                    <a:pt x="146" y="81"/>
                  </a:lnTo>
                  <a:lnTo>
                    <a:pt x="146" y="81"/>
                  </a:lnTo>
                  <a:lnTo>
                    <a:pt x="146" y="79"/>
                  </a:lnTo>
                  <a:lnTo>
                    <a:pt x="148" y="77"/>
                  </a:lnTo>
                  <a:lnTo>
                    <a:pt x="146" y="77"/>
                  </a:lnTo>
                  <a:lnTo>
                    <a:pt x="142" y="75"/>
                  </a:lnTo>
                  <a:lnTo>
                    <a:pt x="136" y="73"/>
                  </a:lnTo>
                  <a:lnTo>
                    <a:pt x="136" y="73"/>
                  </a:lnTo>
                  <a:lnTo>
                    <a:pt x="134" y="67"/>
                  </a:lnTo>
                  <a:lnTo>
                    <a:pt x="136" y="63"/>
                  </a:lnTo>
                  <a:lnTo>
                    <a:pt x="136" y="63"/>
                  </a:lnTo>
                  <a:lnTo>
                    <a:pt x="136" y="59"/>
                  </a:lnTo>
                  <a:lnTo>
                    <a:pt x="136" y="59"/>
                  </a:lnTo>
                  <a:lnTo>
                    <a:pt x="136" y="57"/>
                  </a:lnTo>
                  <a:lnTo>
                    <a:pt x="136" y="55"/>
                  </a:lnTo>
                  <a:lnTo>
                    <a:pt x="136" y="55"/>
                  </a:lnTo>
                  <a:lnTo>
                    <a:pt x="136" y="53"/>
                  </a:lnTo>
                  <a:lnTo>
                    <a:pt x="136" y="53"/>
                  </a:lnTo>
                  <a:lnTo>
                    <a:pt x="132" y="49"/>
                  </a:lnTo>
                  <a:lnTo>
                    <a:pt x="130" y="43"/>
                  </a:lnTo>
                  <a:lnTo>
                    <a:pt x="130" y="43"/>
                  </a:lnTo>
                  <a:lnTo>
                    <a:pt x="128" y="39"/>
                  </a:lnTo>
                  <a:lnTo>
                    <a:pt x="126" y="37"/>
                  </a:lnTo>
                  <a:lnTo>
                    <a:pt x="126" y="37"/>
                  </a:lnTo>
                  <a:lnTo>
                    <a:pt x="126" y="37"/>
                  </a:lnTo>
                  <a:lnTo>
                    <a:pt x="126" y="37"/>
                  </a:lnTo>
                  <a:lnTo>
                    <a:pt x="126" y="35"/>
                  </a:lnTo>
                  <a:lnTo>
                    <a:pt x="126" y="33"/>
                  </a:lnTo>
                  <a:lnTo>
                    <a:pt x="126" y="33"/>
                  </a:lnTo>
                  <a:lnTo>
                    <a:pt x="126" y="29"/>
                  </a:lnTo>
                  <a:lnTo>
                    <a:pt x="126" y="29"/>
                  </a:lnTo>
                  <a:lnTo>
                    <a:pt x="124" y="27"/>
                  </a:lnTo>
                  <a:lnTo>
                    <a:pt x="124" y="27"/>
                  </a:lnTo>
                  <a:lnTo>
                    <a:pt x="122" y="27"/>
                  </a:lnTo>
                  <a:lnTo>
                    <a:pt x="118" y="27"/>
                  </a:lnTo>
                  <a:lnTo>
                    <a:pt x="118" y="25"/>
                  </a:lnTo>
                  <a:lnTo>
                    <a:pt x="118" y="21"/>
                  </a:lnTo>
                  <a:lnTo>
                    <a:pt x="118" y="21"/>
                  </a:lnTo>
                  <a:lnTo>
                    <a:pt x="118" y="19"/>
                  </a:lnTo>
                  <a:lnTo>
                    <a:pt x="118" y="18"/>
                  </a:lnTo>
                  <a:lnTo>
                    <a:pt x="114" y="14"/>
                  </a:lnTo>
                  <a:lnTo>
                    <a:pt x="114" y="14"/>
                  </a:lnTo>
                  <a:lnTo>
                    <a:pt x="110" y="14"/>
                  </a:lnTo>
                  <a:lnTo>
                    <a:pt x="110" y="14"/>
                  </a:lnTo>
                  <a:lnTo>
                    <a:pt x="106" y="8"/>
                  </a:lnTo>
                  <a:lnTo>
                    <a:pt x="104" y="6"/>
                  </a:lnTo>
                  <a:lnTo>
                    <a:pt x="100" y="6"/>
                  </a:lnTo>
                  <a:lnTo>
                    <a:pt x="100" y="6"/>
                  </a:lnTo>
                  <a:lnTo>
                    <a:pt x="96" y="6"/>
                  </a:lnTo>
                  <a:lnTo>
                    <a:pt x="96" y="8"/>
                  </a:lnTo>
                  <a:lnTo>
                    <a:pt x="92" y="10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90" y="8"/>
                  </a:lnTo>
                  <a:lnTo>
                    <a:pt x="88" y="6"/>
                  </a:lnTo>
                  <a:lnTo>
                    <a:pt x="86" y="6"/>
                  </a:lnTo>
                  <a:lnTo>
                    <a:pt x="82" y="4"/>
                  </a:lnTo>
                  <a:lnTo>
                    <a:pt x="82" y="4"/>
                  </a:lnTo>
                  <a:lnTo>
                    <a:pt x="80" y="6"/>
                  </a:lnTo>
                  <a:lnTo>
                    <a:pt x="78" y="6"/>
                  </a:lnTo>
                  <a:lnTo>
                    <a:pt x="74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4" y="6"/>
                  </a:lnTo>
                  <a:lnTo>
                    <a:pt x="62" y="6"/>
                  </a:lnTo>
                  <a:lnTo>
                    <a:pt x="58" y="4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0" y="4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0" y="10"/>
                  </a:lnTo>
                  <a:lnTo>
                    <a:pt x="40" y="12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4" y="8"/>
                  </a:lnTo>
                  <a:lnTo>
                    <a:pt x="34" y="6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28" y="14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0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0" y="37"/>
                  </a:lnTo>
                  <a:lnTo>
                    <a:pt x="0" y="37"/>
                  </a:lnTo>
                  <a:lnTo>
                    <a:pt x="4" y="39"/>
                  </a:lnTo>
                  <a:lnTo>
                    <a:pt x="0" y="41"/>
                  </a:lnTo>
                  <a:lnTo>
                    <a:pt x="0" y="45"/>
                  </a:lnTo>
                  <a:lnTo>
                    <a:pt x="0" y="49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10" y="59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22" y="61"/>
                  </a:lnTo>
                  <a:lnTo>
                    <a:pt x="26" y="63"/>
                  </a:lnTo>
                  <a:lnTo>
                    <a:pt x="26" y="67"/>
                  </a:lnTo>
                  <a:lnTo>
                    <a:pt x="26" y="67"/>
                  </a:lnTo>
                  <a:lnTo>
                    <a:pt x="20" y="73"/>
                  </a:lnTo>
                  <a:lnTo>
                    <a:pt x="18" y="81"/>
                  </a:lnTo>
                  <a:lnTo>
                    <a:pt x="28" y="83"/>
                  </a:lnTo>
                  <a:lnTo>
                    <a:pt x="28" y="83"/>
                  </a:lnTo>
                  <a:lnTo>
                    <a:pt x="38" y="85"/>
                  </a:lnTo>
                  <a:lnTo>
                    <a:pt x="38" y="85"/>
                  </a:lnTo>
                  <a:lnTo>
                    <a:pt x="40" y="87"/>
                  </a:lnTo>
                  <a:lnTo>
                    <a:pt x="44" y="89"/>
                  </a:lnTo>
                  <a:lnTo>
                    <a:pt x="50" y="95"/>
                  </a:lnTo>
                  <a:lnTo>
                    <a:pt x="50" y="95"/>
                  </a:lnTo>
                  <a:lnTo>
                    <a:pt x="50" y="97"/>
                  </a:lnTo>
                  <a:lnTo>
                    <a:pt x="50" y="97"/>
                  </a:lnTo>
                  <a:lnTo>
                    <a:pt x="46" y="99"/>
                  </a:lnTo>
                  <a:lnTo>
                    <a:pt x="50" y="103"/>
                  </a:lnTo>
                  <a:lnTo>
                    <a:pt x="52" y="105"/>
                  </a:lnTo>
                  <a:lnTo>
                    <a:pt x="54" y="105"/>
                  </a:lnTo>
                  <a:lnTo>
                    <a:pt x="56" y="105"/>
                  </a:lnTo>
                  <a:lnTo>
                    <a:pt x="56" y="105"/>
                  </a:lnTo>
                  <a:lnTo>
                    <a:pt x="62" y="103"/>
                  </a:lnTo>
                  <a:lnTo>
                    <a:pt x="64" y="101"/>
                  </a:lnTo>
                  <a:lnTo>
                    <a:pt x="68" y="101"/>
                  </a:lnTo>
                  <a:lnTo>
                    <a:pt x="68" y="101"/>
                  </a:lnTo>
                  <a:lnTo>
                    <a:pt x="74" y="103"/>
                  </a:lnTo>
                  <a:lnTo>
                    <a:pt x="80" y="111"/>
                  </a:lnTo>
                  <a:lnTo>
                    <a:pt x="86" y="119"/>
                  </a:lnTo>
                  <a:lnTo>
                    <a:pt x="86" y="119"/>
                  </a:lnTo>
                  <a:lnTo>
                    <a:pt x="86" y="119"/>
                  </a:lnTo>
                  <a:lnTo>
                    <a:pt x="88" y="121"/>
                  </a:lnTo>
                  <a:lnTo>
                    <a:pt x="88" y="121"/>
                  </a:lnTo>
                  <a:lnTo>
                    <a:pt x="96" y="123"/>
                  </a:lnTo>
                  <a:lnTo>
                    <a:pt x="96" y="123"/>
                  </a:lnTo>
                  <a:lnTo>
                    <a:pt x="98" y="121"/>
                  </a:lnTo>
                  <a:lnTo>
                    <a:pt x="100" y="119"/>
                  </a:lnTo>
                  <a:lnTo>
                    <a:pt x="100" y="113"/>
                  </a:lnTo>
                  <a:lnTo>
                    <a:pt x="102" y="113"/>
                  </a:lnTo>
                  <a:lnTo>
                    <a:pt x="102" y="113"/>
                  </a:lnTo>
                  <a:lnTo>
                    <a:pt x="102" y="113"/>
                  </a:lnTo>
                  <a:lnTo>
                    <a:pt x="102" y="113"/>
                  </a:lnTo>
                  <a:lnTo>
                    <a:pt x="102" y="113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75" name="Freeform 34"/>
            <p:cNvSpPr>
              <a:spLocks/>
            </p:cNvSpPr>
            <p:nvPr/>
          </p:nvSpPr>
          <p:spPr bwMode="auto">
            <a:xfrm>
              <a:off x="1443" y="1986"/>
              <a:ext cx="236" cy="151"/>
            </a:xfrm>
            <a:custGeom>
              <a:avLst/>
              <a:gdLst>
                <a:gd name="T0" fmla="*/ 29 w 236"/>
                <a:gd name="T1" fmla="*/ 22 h 151"/>
                <a:gd name="T2" fmla="*/ 25 w 236"/>
                <a:gd name="T3" fmla="*/ 24 h 151"/>
                <a:gd name="T4" fmla="*/ 17 w 236"/>
                <a:gd name="T5" fmla="*/ 28 h 151"/>
                <a:gd name="T6" fmla="*/ 7 w 236"/>
                <a:gd name="T7" fmla="*/ 38 h 151"/>
                <a:gd name="T8" fmla="*/ 2 w 236"/>
                <a:gd name="T9" fmla="*/ 44 h 151"/>
                <a:gd name="T10" fmla="*/ 7 w 236"/>
                <a:gd name="T11" fmla="*/ 50 h 151"/>
                <a:gd name="T12" fmla="*/ 23 w 236"/>
                <a:gd name="T13" fmla="*/ 62 h 151"/>
                <a:gd name="T14" fmla="*/ 33 w 236"/>
                <a:gd name="T15" fmla="*/ 62 h 151"/>
                <a:gd name="T16" fmla="*/ 39 w 236"/>
                <a:gd name="T17" fmla="*/ 58 h 151"/>
                <a:gd name="T18" fmla="*/ 41 w 236"/>
                <a:gd name="T19" fmla="*/ 68 h 151"/>
                <a:gd name="T20" fmla="*/ 51 w 236"/>
                <a:gd name="T21" fmla="*/ 74 h 151"/>
                <a:gd name="T22" fmla="*/ 61 w 236"/>
                <a:gd name="T23" fmla="*/ 82 h 151"/>
                <a:gd name="T24" fmla="*/ 61 w 236"/>
                <a:gd name="T25" fmla="*/ 88 h 151"/>
                <a:gd name="T26" fmla="*/ 51 w 236"/>
                <a:gd name="T27" fmla="*/ 96 h 151"/>
                <a:gd name="T28" fmla="*/ 51 w 236"/>
                <a:gd name="T29" fmla="*/ 100 h 151"/>
                <a:gd name="T30" fmla="*/ 39 w 236"/>
                <a:gd name="T31" fmla="*/ 118 h 151"/>
                <a:gd name="T32" fmla="*/ 51 w 236"/>
                <a:gd name="T33" fmla="*/ 114 h 151"/>
                <a:gd name="T34" fmla="*/ 59 w 236"/>
                <a:gd name="T35" fmla="*/ 108 h 151"/>
                <a:gd name="T36" fmla="*/ 71 w 236"/>
                <a:gd name="T37" fmla="*/ 106 h 151"/>
                <a:gd name="T38" fmla="*/ 75 w 236"/>
                <a:gd name="T39" fmla="*/ 110 h 151"/>
                <a:gd name="T40" fmla="*/ 75 w 236"/>
                <a:gd name="T41" fmla="*/ 119 h 151"/>
                <a:gd name="T42" fmla="*/ 93 w 236"/>
                <a:gd name="T43" fmla="*/ 127 h 151"/>
                <a:gd name="T44" fmla="*/ 99 w 236"/>
                <a:gd name="T45" fmla="*/ 127 h 151"/>
                <a:gd name="T46" fmla="*/ 109 w 236"/>
                <a:gd name="T47" fmla="*/ 127 h 151"/>
                <a:gd name="T48" fmla="*/ 123 w 236"/>
                <a:gd name="T49" fmla="*/ 119 h 151"/>
                <a:gd name="T50" fmla="*/ 129 w 236"/>
                <a:gd name="T51" fmla="*/ 125 h 151"/>
                <a:gd name="T52" fmla="*/ 133 w 236"/>
                <a:gd name="T53" fmla="*/ 139 h 151"/>
                <a:gd name="T54" fmla="*/ 133 w 236"/>
                <a:gd name="T55" fmla="*/ 141 h 151"/>
                <a:gd name="T56" fmla="*/ 153 w 236"/>
                <a:gd name="T57" fmla="*/ 149 h 151"/>
                <a:gd name="T58" fmla="*/ 173 w 236"/>
                <a:gd name="T59" fmla="*/ 141 h 151"/>
                <a:gd name="T60" fmla="*/ 197 w 236"/>
                <a:gd name="T61" fmla="*/ 137 h 151"/>
                <a:gd name="T62" fmla="*/ 217 w 236"/>
                <a:gd name="T63" fmla="*/ 143 h 151"/>
                <a:gd name="T64" fmla="*/ 221 w 236"/>
                <a:gd name="T65" fmla="*/ 127 h 151"/>
                <a:gd name="T66" fmla="*/ 236 w 236"/>
                <a:gd name="T67" fmla="*/ 106 h 151"/>
                <a:gd name="T68" fmla="*/ 215 w 236"/>
                <a:gd name="T69" fmla="*/ 94 h 151"/>
                <a:gd name="T70" fmla="*/ 209 w 236"/>
                <a:gd name="T71" fmla="*/ 98 h 151"/>
                <a:gd name="T72" fmla="*/ 201 w 236"/>
                <a:gd name="T73" fmla="*/ 96 h 151"/>
                <a:gd name="T74" fmla="*/ 177 w 236"/>
                <a:gd name="T75" fmla="*/ 82 h 151"/>
                <a:gd name="T76" fmla="*/ 167 w 236"/>
                <a:gd name="T77" fmla="*/ 76 h 151"/>
                <a:gd name="T78" fmla="*/ 155 w 236"/>
                <a:gd name="T79" fmla="*/ 52 h 151"/>
                <a:gd name="T80" fmla="*/ 141 w 236"/>
                <a:gd name="T81" fmla="*/ 32 h 151"/>
                <a:gd name="T82" fmla="*/ 133 w 236"/>
                <a:gd name="T83" fmla="*/ 28 h 151"/>
                <a:gd name="T84" fmla="*/ 131 w 236"/>
                <a:gd name="T85" fmla="*/ 22 h 151"/>
                <a:gd name="T86" fmla="*/ 131 w 236"/>
                <a:gd name="T87" fmla="*/ 16 h 151"/>
                <a:gd name="T88" fmla="*/ 125 w 236"/>
                <a:gd name="T89" fmla="*/ 8 h 151"/>
                <a:gd name="T90" fmla="*/ 127 w 236"/>
                <a:gd name="T91" fmla="*/ 2 h 151"/>
                <a:gd name="T92" fmla="*/ 119 w 236"/>
                <a:gd name="T93" fmla="*/ 2 h 151"/>
                <a:gd name="T94" fmla="*/ 115 w 236"/>
                <a:gd name="T95" fmla="*/ 8 h 151"/>
                <a:gd name="T96" fmla="*/ 115 w 236"/>
                <a:gd name="T97" fmla="*/ 14 h 151"/>
                <a:gd name="T98" fmla="*/ 93 w 236"/>
                <a:gd name="T99" fmla="*/ 0 h 151"/>
                <a:gd name="T100" fmla="*/ 83 w 236"/>
                <a:gd name="T101" fmla="*/ 0 h 151"/>
                <a:gd name="T102" fmla="*/ 79 w 236"/>
                <a:gd name="T103" fmla="*/ 6 h 151"/>
                <a:gd name="T104" fmla="*/ 67 w 236"/>
                <a:gd name="T105" fmla="*/ 12 h 151"/>
                <a:gd name="T106" fmla="*/ 63 w 236"/>
                <a:gd name="T107" fmla="*/ 8 h 151"/>
                <a:gd name="T108" fmla="*/ 59 w 236"/>
                <a:gd name="T109" fmla="*/ 20 h 151"/>
                <a:gd name="T110" fmla="*/ 55 w 236"/>
                <a:gd name="T111" fmla="*/ 22 h 151"/>
                <a:gd name="T112" fmla="*/ 55 w 236"/>
                <a:gd name="T113" fmla="*/ 22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36" h="151">
                  <a:moveTo>
                    <a:pt x="55" y="22"/>
                  </a:moveTo>
                  <a:lnTo>
                    <a:pt x="55" y="22"/>
                  </a:lnTo>
                  <a:lnTo>
                    <a:pt x="29" y="22"/>
                  </a:lnTo>
                  <a:lnTo>
                    <a:pt x="29" y="22"/>
                  </a:lnTo>
                  <a:lnTo>
                    <a:pt x="25" y="22"/>
                  </a:lnTo>
                  <a:lnTo>
                    <a:pt x="25" y="24"/>
                  </a:lnTo>
                  <a:lnTo>
                    <a:pt x="21" y="26"/>
                  </a:lnTo>
                  <a:lnTo>
                    <a:pt x="17" y="28"/>
                  </a:lnTo>
                  <a:lnTo>
                    <a:pt x="17" y="28"/>
                  </a:lnTo>
                  <a:lnTo>
                    <a:pt x="11" y="32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2" y="44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7" y="50"/>
                  </a:lnTo>
                  <a:lnTo>
                    <a:pt x="11" y="54"/>
                  </a:lnTo>
                  <a:lnTo>
                    <a:pt x="21" y="62"/>
                  </a:lnTo>
                  <a:lnTo>
                    <a:pt x="23" y="62"/>
                  </a:lnTo>
                  <a:lnTo>
                    <a:pt x="25" y="64"/>
                  </a:lnTo>
                  <a:lnTo>
                    <a:pt x="25" y="64"/>
                  </a:lnTo>
                  <a:lnTo>
                    <a:pt x="33" y="62"/>
                  </a:lnTo>
                  <a:lnTo>
                    <a:pt x="35" y="58"/>
                  </a:lnTo>
                  <a:lnTo>
                    <a:pt x="37" y="58"/>
                  </a:lnTo>
                  <a:lnTo>
                    <a:pt x="39" y="58"/>
                  </a:lnTo>
                  <a:lnTo>
                    <a:pt x="39" y="58"/>
                  </a:lnTo>
                  <a:lnTo>
                    <a:pt x="39" y="58"/>
                  </a:lnTo>
                  <a:lnTo>
                    <a:pt x="41" y="68"/>
                  </a:lnTo>
                  <a:lnTo>
                    <a:pt x="47" y="72"/>
                  </a:lnTo>
                  <a:lnTo>
                    <a:pt x="47" y="74"/>
                  </a:lnTo>
                  <a:lnTo>
                    <a:pt x="51" y="74"/>
                  </a:lnTo>
                  <a:lnTo>
                    <a:pt x="51" y="74"/>
                  </a:lnTo>
                  <a:lnTo>
                    <a:pt x="55" y="80"/>
                  </a:lnTo>
                  <a:lnTo>
                    <a:pt x="61" y="82"/>
                  </a:lnTo>
                  <a:lnTo>
                    <a:pt x="61" y="84"/>
                  </a:lnTo>
                  <a:lnTo>
                    <a:pt x="61" y="86"/>
                  </a:lnTo>
                  <a:lnTo>
                    <a:pt x="61" y="88"/>
                  </a:lnTo>
                  <a:lnTo>
                    <a:pt x="61" y="88"/>
                  </a:lnTo>
                  <a:lnTo>
                    <a:pt x="55" y="92"/>
                  </a:lnTo>
                  <a:lnTo>
                    <a:pt x="51" y="96"/>
                  </a:lnTo>
                  <a:lnTo>
                    <a:pt x="51" y="98"/>
                  </a:lnTo>
                  <a:lnTo>
                    <a:pt x="51" y="98"/>
                  </a:lnTo>
                  <a:lnTo>
                    <a:pt x="51" y="100"/>
                  </a:lnTo>
                  <a:lnTo>
                    <a:pt x="49" y="106"/>
                  </a:lnTo>
                  <a:lnTo>
                    <a:pt x="39" y="118"/>
                  </a:lnTo>
                  <a:lnTo>
                    <a:pt x="39" y="118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51" y="114"/>
                  </a:lnTo>
                  <a:lnTo>
                    <a:pt x="53" y="112"/>
                  </a:lnTo>
                  <a:lnTo>
                    <a:pt x="55" y="110"/>
                  </a:lnTo>
                  <a:lnTo>
                    <a:pt x="59" y="108"/>
                  </a:lnTo>
                  <a:lnTo>
                    <a:pt x="59" y="108"/>
                  </a:lnTo>
                  <a:lnTo>
                    <a:pt x="63" y="106"/>
                  </a:lnTo>
                  <a:lnTo>
                    <a:pt x="71" y="106"/>
                  </a:lnTo>
                  <a:lnTo>
                    <a:pt x="71" y="106"/>
                  </a:lnTo>
                  <a:lnTo>
                    <a:pt x="73" y="108"/>
                  </a:lnTo>
                  <a:lnTo>
                    <a:pt x="75" y="110"/>
                  </a:lnTo>
                  <a:lnTo>
                    <a:pt x="75" y="118"/>
                  </a:lnTo>
                  <a:lnTo>
                    <a:pt x="75" y="118"/>
                  </a:lnTo>
                  <a:lnTo>
                    <a:pt x="75" y="119"/>
                  </a:lnTo>
                  <a:lnTo>
                    <a:pt x="75" y="121"/>
                  </a:lnTo>
                  <a:lnTo>
                    <a:pt x="81" y="125"/>
                  </a:lnTo>
                  <a:lnTo>
                    <a:pt x="93" y="127"/>
                  </a:lnTo>
                  <a:lnTo>
                    <a:pt x="93" y="127"/>
                  </a:lnTo>
                  <a:lnTo>
                    <a:pt x="97" y="127"/>
                  </a:lnTo>
                  <a:lnTo>
                    <a:pt x="99" y="127"/>
                  </a:lnTo>
                  <a:lnTo>
                    <a:pt x="105" y="127"/>
                  </a:lnTo>
                  <a:lnTo>
                    <a:pt x="105" y="127"/>
                  </a:lnTo>
                  <a:lnTo>
                    <a:pt x="109" y="127"/>
                  </a:lnTo>
                  <a:lnTo>
                    <a:pt x="115" y="125"/>
                  </a:lnTo>
                  <a:lnTo>
                    <a:pt x="121" y="121"/>
                  </a:lnTo>
                  <a:lnTo>
                    <a:pt x="123" y="119"/>
                  </a:lnTo>
                  <a:lnTo>
                    <a:pt x="123" y="119"/>
                  </a:lnTo>
                  <a:lnTo>
                    <a:pt x="127" y="121"/>
                  </a:lnTo>
                  <a:lnTo>
                    <a:pt x="129" y="125"/>
                  </a:lnTo>
                  <a:lnTo>
                    <a:pt x="131" y="131"/>
                  </a:lnTo>
                  <a:lnTo>
                    <a:pt x="131" y="131"/>
                  </a:lnTo>
                  <a:lnTo>
                    <a:pt x="133" y="139"/>
                  </a:lnTo>
                  <a:lnTo>
                    <a:pt x="133" y="139"/>
                  </a:lnTo>
                  <a:lnTo>
                    <a:pt x="133" y="141"/>
                  </a:lnTo>
                  <a:lnTo>
                    <a:pt x="133" y="141"/>
                  </a:lnTo>
                  <a:lnTo>
                    <a:pt x="139" y="141"/>
                  </a:lnTo>
                  <a:lnTo>
                    <a:pt x="141" y="141"/>
                  </a:lnTo>
                  <a:lnTo>
                    <a:pt x="153" y="149"/>
                  </a:lnTo>
                  <a:lnTo>
                    <a:pt x="155" y="151"/>
                  </a:lnTo>
                  <a:lnTo>
                    <a:pt x="169" y="141"/>
                  </a:lnTo>
                  <a:lnTo>
                    <a:pt x="173" y="141"/>
                  </a:lnTo>
                  <a:lnTo>
                    <a:pt x="183" y="137"/>
                  </a:lnTo>
                  <a:lnTo>
                    <a:pt x="193" y="141"/>
                  </a:lnTo>
                  <a:lnTo>
                    <a:pt x="197" y="137"/>
                  </a:lnTo>
                  <a:lnTo>
                    <a:pt x="201" y="141"/>
                  </a:lnTo>
                  <a:lnTo>
                    <a:pt x="209" y="137"/>
                  </a:lnTo>
                  <a:lnTo>
                    <a:pt x="217" y="143"/>
                  </a:lnTo>
                  <a:lnTo>
                    <a:pt x="221" y="133"/>
                  </a:lnTo>
                  <a:lnTo>
                    <a:pt x="221" y="129"/>
                  </a:lnTo>
                  <a:lnTo>
                    <a:pt x="221" y="127"/>
                  </a:lnTo>
                  <a:lnTo>
                    <a:pt x="228" y="118"/>
                  </a:lnTo>
                  <a:lnTo>
                    <a:pt x="223" y="114"/>
                  </a:lnTo>
                  <a:lnTo>
                    <a:pt x="236" y="106"/>
                  </a:lnTo>
                  <a:lnTo>
                    <a:pt x="225" y="96"/>
                  </a:lnTo>
                  <a:lnTo>
                    <a:pt x="219" y="92"/>
                  </a:lnTo>
                  <a:lnTo>
                    <a:pt x="215" y="94"/>
                  </a:lnTo>
                  <a:lnTo>
                    <a:pt x="211" y="98"/>
                  </a:lnTo>
                  <a:lnTo>
                    <a:pt x="211" y="98"/>
                  </a:lnTo>
                  <a:lnTo>
                    <a:pt x="209" y="98"/>
                  </a:lnTo>
                  <a:lnTo>
                    <a:pt x="207" y="96"/>
                  </a:lnTo>
                  <a:lnTo>
                    <a:pt x="201" y="96"/>
                  </a:lnTo>
                  <a:lnTo>
                    <a:pt x="201" y="96"/>
                  </a:lnTo>
                  <a:lnTo>
                    <a:pt x="193" y="92"/>
                  </a:lnTo>
                  <a:lnTo>
                    <a:pt x="187" y="88"/>
                  </a:lnTo>
                  <a:lnTo>
                    <a:pt x="177" y="82"/>
                  </a:lnTo>
                  <a:lnTo>
                    <a:pt x="169" y="80"/>
                  </a:lnTo>
                  <a:lnTo>
                    <a:pt x="169" y="80"/>
                  </a:lnTo>
                  <a:lnTo>
                    <a:pt x="167" y="76"/>
                  </a:lnTo>
                  <a:lnTo>
                    <a:pt x="165" y="72"/>
                  </a:lnTo>
                  <a:lnTo>
                    <a:pt x="161" y="66"/>
                  </a:lnTo>
                  <a:lnTo>
                    <a:pt x="155" y="52"/>
                  </a:lnTo>
                  <a:lnTo>
                    <a:pt x="149" y="44"/>
                  </a:lnTo>
                  <a:lnTo>
                    <a:pt x="149" y="44"/>
                  </a:lnTo>
                  <a:lnTo>
                    <a:pt x="141" y="32"/>
                  </a:lnTo>
                  <a:lnTo>
                    <a:pt x="139" y="28"/>
                  </a:lnTo>
                  <a:lnTo>
                    <a:pt x="133" y="28"/>
                  </a:lnTo>
                  <a:lnTo>
                    <a:pt x="133" y="28"/>
                  </a:lnTo>
                  <a:lnTo>
                    <a:pt x="131" y="26"/>
                  </a:lnTo>
                  <a:lnTo>
                    <a:pt x="131" y="24"/>
                  </a:lnTo>
                  <a:lnTo>
                    <a:pt x="131" y="22"/>
                  </a:lnTo>
                  <a:lnTo>
                    <a:pt x="131" y="20"/>
                  </a:lnTo>
                  <a:lnTo>
                    <a:pt x="131" y="20"/>
                  </a:lnTo>
                  <a:lnTo>
                    <a:pt x="131" y="16"/>
                  </a:lnTo>
                  <a:lnTo>
                    <a:pt x="127" y="16"/>
                  </a:lnTo>
                  <a:lnTo>
                    <a:pt x="125" y="12"/>
                  </a:lnTo>
                  <a:lnTo>
                    <a:pt x="125" y="8"/>
                  </a:lnTo>
                  <a:lnTo>
                    <a:pt x="125" y="6"/>
                  </a:lnTo>
                  <a:lnTo>
                    <a:pt x="125" y="6"/>
                  </a:lnTo>
                  <a:lnTo>
                    <a:pt x="127" y="2"/>
                  </a:lnTo>
                  <a:lnTo>
                    <a:pt x="125" y="0"/>
                  </a:lnTo>
                  <a:lnTo>
                    <a:pt x="119" y="2"/>
                  </a:lnTo>
                  <a:lnTo>
                    <a:pt x="119" y="2"/>
                  </a:lnTo>
                  <a:lnTo>
                    <a:pt x="117" y="4"/>
                  </a:lnTo>
                  <a:lnTo>
                    <a:pt x="117" y="6"/>
                  </a:lnTo>
                  <a:lnTo>
                    <a:pt x="115" y="8"/>
                  </a:lnTo>
                  <a:lnTo>
                    <a:pt x="115" y="12"/>
                  </a:lnTo>
                  <a:lnTo>
                    <a:pt x="115" y="12"/>
                  </a:lnTo>
                  <a:lnTo>
                    <a:pt x="115" y="14"/>
                  </a:lnTo>
                  <a:lnTo>
                    <a:pt x="113" y="14"/>
                  </a:lnTo>
                  <a:lnTo>
                    <a:pt x="105" y="12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87" y="0"/>
                  </a:lnTo>
                  <a:lnTo>
                    <a:pt x="83" y="0"/>
                  </a:lnTo>
                  <a:lnTo>
                    <a:pt x="81" y="2"/>
                  </a:lnTo>
                  <a:lnTo>
                    <a:pt x="79" y="6"/>
                  </a:lnTo>
                  <a:lnTo>
                    <a:pt x="79" y="6"/>
                  </a:lnTo>
                  <a:lnTo>
                    <a:pt x="75" y="6"/>
                  </a:lnTo>
                  <a:lnTo>
                    <a:pt x="71" y="8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1" y="18"/>
                  </a:lnTo>
                  <a:lnTo>
                    <a:pt x="61" y="18"/>
                  </a:lnTo>
                  <a:lnTo>
                    <a:pt x="59" y="20"/>
                  </a:lnTo>
                  <a:lnTo>
                    <a:pt x="57" y="20"/>
                  </a:lnTo>
                  <a:lnTo>
                    <a:pt x="55" y="22"/>
                  </a:lnTo>
                  <a:lnTo>
                    <a:pt x="55" y="22"/>
                  </a:lnTo>
                  <a:lnTo>
                    <a:pt x="55" y="22"/>
                  </a:lnTo>
                  <a:lnTo>
                    <a:pt x="55" y="22"/>
                  </a:lnTo>
                  <a:lnTo>
                    <a:pt x="55" y="22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76" name="Freeform 35"/>
            <p:cNvSpPr>
              <a:spLocks/>
            </p:cNvSpPr>
            <p:nvPr/>
          </p:nvSpPr>
          <p:spPr bwMode="auto">
            <a:xfrm>
              <a:off x="1343" y="1994"/>
              <a:ext cx="107" cy="149"/>
            </a:xfrm>
            <a:custGeom>
              <a:avLst/>
              <a:gdLst>
                <a:gd name="T0" fmla="*/ 8 w 107"/>
                <a:gd name="T1" fmla="*/ 117 h 149"/>
                <a:gd name="T2" fmla="*/ 14 w 107"/>
                <a:gd name="T3" fmla="*/ 119 h 149"/>
                <a:gd name="T4" fmla="*/ 16 w 107"/>
                <a:gd name="T5" fmla="*/ 121 h 149"/>
                <a:gd name="T6" fmla="*/ 16 w 107"/>
                <a:gd name="T7" fmla="*/ 127 h 149"/>
                <a:gd name="T8" fmla="*/ 16 w 107"/>
                <a:gd name="T9" fmla="*/ 129 h 149"/>
                <a:gd name="T10" fmla="*/ 20 w 107"/>
                <a:gd name="T11" fmla="*/ 135 h 149"/>
                <a:gd name="T12" fmla="*/ 26 w 107"/>
                <a:gd name="T13" fmla="*/ 145 h 149"/>
                <a:gd name="T14" fmla="*/ 26 w 107"/>
                <a:gd name="T15" fmla="*/ 147 h 149"/>
                <a:gd name="T16" fmla="*/ 26 w 107"/>
                <a:gd name="T17" fmla="*/ 147 h 149"/>
                <a:gd name="T18" fmla="*/ 38 w 107"/>
                <a:gd name="T19" fmla="*/ 149 h 149"/>
                <a:gd name="T20" fmla="*/ 48 w 107"/>
                <a:gd name="T21" fmla="*/ 147 h 149"/>
                <a:gd name="T22" fmla="*/ 58 w 107"/>
                <a:gd name="T23" fmla="*/ 141 h 149"/>
                <a:gd name="T24" fmla="*/ 76 w 107"/>
                <a:gd name="T25" fmla="*/ 141 h 149"/>
                <a:gd name="T26" fmla="*/ 84 w 107"/>
                <a:gd name="T27" fmla="*/ 141 h 149"/>
                <a:gd name="T28" fmla="*/ 100 w 107"/>
                <a:gd name="T29" fmla="*/ 133 h 149"/>
                <a:gd name="T30" fmla="*/ 104 w 107"/>
                <a:gd name="T31" fmla="*/ 125 h 149"/>
                <a:gd name="T32" fmla="*/ 107 w 107"/>
                <a:gd name="T33" fmla="*/ 123 h 149"/>
                <a:gd name="T34" fmla="*/ 102 w 107"/>
                <a:gd name="T35" fmla="*/ 113 h 149"/>
                <a:gd name="T36" fmla="*/ 92 w 107"/>
                <a:gd name="T37" fmla="*/ 110 h 149"/>
                <a:gd name="T38" fmla="*/ 90 w 107"/>
                <a:gd name="T39" fmla="*/ 106 h 149"/>
                <a:gd name="T40" fmla="*/ 86 w 107"/>
                <a:gd name="T41" fmla="*/ 96 h 149"/>
                <a:gd name="T42" fmla="*/ 78 w 107"/>
                <a:gd name="T43" fmla="*/ 84 h 149"/>
                <a:gd name="T44" fmla="*/ 72 w 107"/>
                <a:gd name="T45" fmla="*/ 72 h 149"/>
                <a:gd name="T46" fmla="*/ 62 w 107"/>
                <a:gd name="T47" fmla="*/ 62 h 149"/>
                <a:gd name="T48" fmla="*/ 56 w 107"/>
                <a:gd name="T49" fmla="*/ 58 h 149"/>
                <a:gd name="T50" fmla="*/ 48 w 107"/>
                <a:gd name="T51" fmla="*/ 54 h 149"/>
                <a:gd name="T52" fmla="*/ 58 w 107"/>
                <a:gd name="T53" fmla="*/ 44 h 149"/>
                <a:gd name="T54" fmla="*/ 62 w 107"/>
                <a:gd name="T55" fmla="*/ 36 h 149"/>
                <a:gd name="T56" fmla="*/ 56 w 107"/>
                <a:gd name="T57" fmla="*/ 24 h 149"/>
                <a:gd name="T58" fmla="*/ 40 w 107"/>
                <a:gd name="T59" fmla="*/ 32 h 149"/>
                <a:gd name="T60" fmla="*/ 36 w 107"/>
                <a:gd name="T61" fmla="*/ 30 h 149"/>
                <a:gd name="T62" fmla="*/ 32 w 107"/>
                <a:gd name="T63" fmla="*/ 14 h 149"/>
                <a:gd name="T64" fmla="*/ 32 w 107"/>
                <a:gd name="T65" fmla="*/ 0 h 149"/>
                <a:gd name="T66" fmla="*/ 30 w 107"/>
                <a:gd name="T67" fmla="*/ 4 h 149"/>
                <a:gd name="T68" fmla="*/ 20 w 107"/>
                <a:gd name="T69" fmla="*/ 12 h 149"/>
                <a:gd name="T70" fmla="*/ 12 w 107"/>
                <a:gd name="T71" fmla="*/ 22 h 149"/>
                <a:gd name="T72" fmla="*/ 0 w 107"/>
                <a:gd name="T73" fmla="*/ 36 h 149"/>
                <a:gd name="T74" fmla="*/ 4 w 107"/>
                <a:gd name="T75" fmla="*/ 52 h 149"/>
                <a:gd name="T76" fmla="*/ 4 w 107"/>
                <a:gd name="T77" fmla="*/ 62 h 149"/>
                <a:gd name="T78" fmla="*/ 12 w 107"/>
                <a:gd name="T79" fmla="*/ 66 h 149"/>
                <a:gd name="T80" fmla="*/ 18 w 107"/>
                <a:gd name="T81" fmla="*/ 76 h 149"/>
                <a:gd name="T82" fmla="*/ 16 w 107"/>
                <a:gd name="T83" fmla="*/ 86 h 149"/>
                <a:gd name="T84" fmla="*/ 12 w 107"/>
                <a:gd name="T85" fmla="*/ 88 h 149"/>
                <a:gd name="T86" fmla="*/ 8 w 107"/>
                <a:gd name="T87" fmla="*/ 96 h 149"/>
                <a:gd name="T88" fmla="*/ 4 w 107"/>
                <a:gd name="T89" fmla="*/ 106 h 149"/>
                <a:gd name="T90" fmla="*/ 8 w 107"/>
                <a:gd name="T91" fmla="*/ 110 h 149"/>
                <a:gd name="T92" fmla="*/ 8 w 107"/>
                <a:gd name="T93" fmla="*/ 113 h 149"/>
                <a:gd name="T94" fmla="*/ 8 w 107"/>
                <a:gd name="T95" fmla="*/ 113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7" h="149">
                  <a:moveTo>
                    <a:pt x="8" y="113"/>
                  </a:moveTo>
                  <a:lnTo>
                    <a:pt x="8" y="113"/>
                  </a:lnTo>
                  <a:lnTo>
                    <a:pt x="8" y="117"/>
                  </a:lnTo>
                  <a:lnTo>
                    <a:pt x="8" y="119"/>
                  </a:lnTo>
                  <a:lnTo>
                    <a:pt x="12" y="119"/>
                  </a:lnTo>
                  <a:lnTo>
                    <a:pt x="14" y="119"/>
                  </a:lnTo>
                  <a:lnTo>
                    <a:pt x="14" y="119"/>
                  </a:lnTo>
                  <a:lnTo>
                    <a:pt x="16" y="121"/>
                  </a:lnTo>
                  <a:lnTo>
                    <a:pt x="16" y="121"/>
                  </a:lnTo>
                  <a:lnTo>
                    <a:pt x="16" y="125"/>
                  </a:lnTo>
                  <a:lnTo>
                    <a:pt x="16" y="125"/>
                  </a:lnTo>
                  <a:lnTo>
                    <a:pt x="16" y="127"/>
                  </a:lnTo>
                  <a:lnTo>
                    <a:pt x="16" y="129"/>
                  </a:lnTo>
                  <a:lnTo>
                    <a:pt x="16" y="129"/>
                  </a:lnTo>
                  <a:lnTo>
                    <a:pt x="16" y="129"/>
                  </a:lnTo>
                  <a:lnTo>
                    <a:pt x="16" y="129"/>
                  </a:lnTo>
                  <a:lnTo>
                    <a:pt x="18" y="131"/>
                  </a:lnTo>
                  <a:lnTo>
                    <a:pt x="20" y="135"/>
                  </a:lnTo>
                  <a:lnTo>
                    <a:pt x="20" y="135"/>
                  </a:lnTo>
                  <a:lnTo>
                    <a:pt x="22" y="141"/>
                  </a:lnTo>
                  <a:lnTo>
                    <a:pt x="26" y="145"/>
                  </a:lnTo>
                  <a:lnTo>
                    <a:pt x="30" y="145"/>
                  </a:lnTo>
                  <a:lnTo>
                    <a:pt x="30" y="145"/>
                  </a:lnTo>
                  <a:lnTo>
                    <a:pt x="26" y="147"/>
                  </a:lnTo>
                  <a:lnTo>
                    <a:pt x="26" y="147"/>
                  </a:lnTo>
                  <a:lnTo>
                    <a:pt x="26" y="147"/>
                  </a:lnTo>
                  <a:lnTo>
                    <a:pt x="26" y="147"/>
                  </a:lnTo>
                  <a:lnTo>
                    <a:pt x="32" y="149"/>
                  </a:lnTo>
                  <a:lnTo>
                    <a:pt x="32" y="149"/>
                  </a:lnTo>
                  <a:lnTo>
                    <a:pt x="38" y="149"/>
                  </a:lnTo>
                  <a:lnTo>
                    <a:pt x="44" y="147"/>
                  </a:lnTo>
                  <a:lnTo>
                    <a:pt x="44" y="147"/>
                  </a:lnTo>
                  <a:lnTo>
                    <a:pt x="48" y="147"/>
                  </a:lnTo>
                  <a:lnTo>
                    <a:pt x="50" y="145"/>
                  </a:lnTo>
                  <a:lnTo>
                    <a:pt x="54" y="143"/>
                  </a:lnTo>
                  <a:lnTo>
                    <a:pt x="58" y="141"/>
                  </a:lnTo>
                  <a:lnTo>
                    <a:pt x="58" y="141"/>
                  </a:lnTo>
                  <a:lnTo>
                    <a:pt x="64" y="137"/>
                  </a:lnTo>
                  <a:lnTo>
                    <a:pt x="76" y="141"/>
                  </a:lnTo>
                  <a:lnTo>
                    <a:pt x="76" y="141"/>
                  </a:lnTo>
                  <a:lnTo>
                    <a:pt x="80" y="141"/>
                  </a:lnTo>
                  <a:lnTo>
                    <a:pt x="84" y="141"/>
                  </a:lnTo>
                  <a:lnTo>
                    <a:pt x="94" y="135"/>
                  </a:lnTo>
                  <a:lnTo>
                    <a:pt x="94" y="135"/>
                  </a:lnTo>
                  <a:lnTo>
                    <a:pt x="100" y="133"/>
                  </a:lnTo>
                  <a:lnTo>
                    <a:pt x="104" y="129"/>
                  </a:lnTo>
                  <a:lnTo>
                    <a:pt x="104" y="127"/>
                  </a:lnTo>
                  <a:lnTo>
                    <a:pt x="104" y="125"/>
                  </a:lnTo>
                  <a:lnTo>
                    <a:pt x="104" y="125"/>
                  </a:lnTo>
                  <a:lnTo>
                    <a:pt x="104" y="125"/>
                  </a:lnTo>
                  <a:lnTo>
                    <a:pt x="107" y="123"/>
                  </a:lnTo>
                  <a:lnTo>
                    <a:pt x="107" y="123"/>
                  </a:lnTo>
                  <a:lnTo>
                    <a:pt x="104" y="117"/>
                  </a:lnTo>
                  <a:lnTo>
                    <a:pt x="102" y="113"/>
                  </a:lnTo>
                  <a:lnTo>
                    <a:pt x="100" y="111"/>
                  </a:lnTo>
                  <a:lnTo>
                    <a:pt x="100" y="111"/>
                  </a:lnTo>
                  <a:lnTo>
                    <a:pt x="92" y="110"/>
                  </a:lnTo>
                  <a:lnTo>
                    <a:pt x="90" y="110"/>
                  </a:lnTo>
                  <a:lnTo>
                    <a:pt x="90" y="106"/>
                  </a:lnTo>
                  <a:lnTo>
                    <a:pt x="90" y="106"/>
                  </a:lnTo>
                  <a:lnTo>
                    <a:pt x="92" y="104"/>
                  </a:lnTo>
                  <a:lnTo>
                    <a:pt x="90" y="102"/>
                  </a:lnTo>
                  <a:lnTo>
                    <a:pt x="86" y="96"/>
                  </a:lnTo>
                  <a:lnTo>
                    <a:pt x="86" y="96"/>
                  </a:lnTo>
                  <a:lnTo>
                    <a:pt x="82" y="90"/>
                  </a:lnTo>
                  <a:lnTo>
                    <a:pt x="78" y="84"/>
                  </a:lnTo>
                  <a:lnTo>
                    <a:pt x="76" y="78"/>
                  </a:lnTo>
                  <a:lnTo>
                    <a:pt x="72" y="72"/>
                  </a:lnTo>
                  <a:lnTo>
                    <a:pt x="72" y="72"/>
                  </a:lnTo>
                  <a:lnTo>
                    <a:pt x="70" y="66"/>
                  </a:lnTo>
                  <a:lnTo>
                    <a:pt x="66" y="64"/>
                  </a:lnTo>
                  <a:lnTo>
                    <a:pt x="62" y="62"/>
                  </a:lnTo>
                  <a:lnTo>
                    <a:pt x="58" y="60"/>
                  </a:lnTo>
                  <a:lnTo>
                    <a:pt x="58" y="60"/>
                  </a:lnTo>
                  <a:lnTo>
                    <a:pt x="56" y="58"/>
                  </a:lnTo>
                  <a:lnTo>
                    <a:pt x="50" y="58"/>
                  </a:lnTo>
                  <a:lnTo>
                    <a:pt x="48" y="56"/>
                  </a:lnTo>
                  <a:lnTo>
                    <a:pt x="48" y="54"/>
                  </a:lnTo>
                  <a:lnTo>
                    <a:pt x="54" y="50"/>
                  </a:lnTo>
                  <a:lnTo>
                    <a:pt x="54" y="50"/>
                  </a:lnTo>
                  <a:lnTo>
                    <a:pt x="58" y="44"/>
                  </a:lnTo>
                  <a:lnTo>
                    <a:pt x="62" y="42"/>
                  </a:lnTo>
                  <a:lnTo>
                    <a:pt x="62" y="40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58" y="32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4"/>
                  </a:lnTo>
                  <a:lnTo>
                    <a:pt x="38" y="32"/>
                  </a:lnTo>
                  <a:lnTo>
                    <a:pt x="36" y="30"/>
                  </a:lnTo>
                  <a:lnTo>
                    <a:pt x="32" y="20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2" y="12"/>
                  </a:lnTo>
                  <a:lnTo>
                    <a:pt x="30" y="8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0" y="4"/>
                  </a:lnTo>
                  <a:lnTo>
                    <a:pt x="26" y="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4" y="18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8" y="3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8"/>
                  </a:lnTo>
                  <a:lnTo>
                    <a:pt x="2" y="4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8"/>
                  </a:lnTo>
                  <a:lnTo>
                    <a:pt x="4" y="62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12" y="66"/>
                  </a:lnTo>
                  <a:lnTo>
                    <a:pt x="14" y="68"/>
                  </a:lnTo>
                  <a:lnTo>
                    <a:pt x="16" y="72"/>
                  </a:lnTo>
                  <a:lnTo>
                    <a:pt x="18" y="76"/>
                  </a:lnTo>
                  <a:lnTo>
                    <a:pt x="18" y="76"/>
                  </a:lnTo>
                  <a:lnTo>
                    <a:pt x="18" y="84"/>
                  </a:lnTo>
                  <a:lnTo>
                    <a:pt x="16" y="86"/>
                  </a:lnTo>
                  <a:lnTo>
                    <a:pt x="14" y="88"/>
                  </a:lnTo>
                  <a:lnTo>
                    <a:pt x="14" y="88"/>
                  </a:lnTo>
                  <a:lnTo>
                    <a:pt x="12" y="88"/>
                  </a:lnTo>
                  <a:lnTo>
                    <a:pt x="12" y="90"/>
                  </a:lnTo>
                  <a:lnTo>
                    <a:pt x="10" y="92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4" y="102"/>
                  </a:lnTo>
                  <a:lnTo>
                    <a:pt x="4" y="106"/>
                  </a:lnTo>
                  <a:lnTo>
                    <a:pt x="4" y="106"/>
                  </a:lnTo>
                  <a:lnTo>
                    <a:pt x="4" y="106"/>
                  </a:lnTo>
                  <a:lnTo>
                    <a:pt x="8" y="110"/>
                  </a:lnTo>
                  <a:lnTo>
                    <a:pt x="8" y="111"/>
                  </a:lnTo>
                  <a:lnTo>
                    <a:pt x="8" y="113"/>
                  </a:lnTo>
                  <a:lnTo>
                    <a:pt x="8" y="113"/>
                  </a:lnTo>
                  <a:lnTo>
                    <a:pt x="8" y="113"/>
                  </a:lnTo>
                  <a:lnTo>
                    <a:pt x="8" y="113"/>
                  </a:lnTo>
                  <a:lnTo>
                    <a:pt x="8" y="113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77" name="Freeform 36"/>
            <p:cNvSpPr>
              <a:spLocks/>
            </p:cNvSpPr>
            <p:nvPr/>
          </p:nvSpPr>
          <p:spPr bwMode="auto">
            <a:xfrm>
              <a:off x="1198" y="1795"/>
              <a:ext cx="250" cy="199"/>
            </a:xfrm>
            <a:custGeom>
              <a:avLst/>
              <a:gdLst>
                <a:gd name="T0" fmla="*/ 101 w 250"/>
                <a:gd name="T1" fmla="*/ 141 h 199"/>
                <a:gd name="T2" fmla="*/ 109 w 250"/>
                <a:gd name="T3" fmla="*/ 137 h 199"/>
                <a:gd name="T4" fmla="*/ 113 w 250"/>
                <a:gd name="T5" fmla="*/ 143 h 199"/>
                <a:gd name="T6" fmla="*/ 113 w 250"/>
                <a:gd name="T7" fmla="*/ 153 h 199"/>
                <a:gd name="T8" fmla="*/ 135 w 250"/>
                <a:gd name="T9" fmla="*/ 167 h 199"/>
                <a:gd name="T10" fmla="*/ 157 w 250"/>
                <a:gd name="T11" fmla="*/ 171 h 199"/>
                <a:gd name="T12" fmla="*/ 165 w 250"/>
                <a:gd name="T13" fmla="*/ 175 h 199"/>
                <a:gd name="T14" fmla="*/ 175 w 250"/>
                <a:gd name="T15" fmla="*/ 183 h 199"/>
                <a:gd name="T16" fmla="*/ 177 w 250"/>
                <a:gd name="T17" fmla="*/ 199 h 199"/>
                <a:gd name="T18" fmla="*/ 179 w 250"/>
                <a:gd name="T19" fmla="*/ 193 h 199"/>
                <a:gd name="T20" fmla="*/ 193 w 250"/>
                <a:gd name="T21" fmla="*/ 187 h 199"/>
                <a:gd name="T22" fmla="*/ 201 w 250"/>
                <a:gd name="T23" fmla="*/ 181 h 199"/>
                <a:gd name="T24" fmla="*/ 203 w 250"/>
                <a:gd name="T25" fmla="*/ 177 h 199"/>
                <a:gd name="T26" fmla="*/ 203 w 250"/>
                <a:gd name="T27" fmla="*/ 167 h 199"/>
                <a:gd name="T28" fmla="*/ 211 w 250"/>
                <a:gd name="T29" fmla="*/ 145 h 199"/>
                <a:gd name="T30" fmla="*/ 217 w 250"/>
                <a:gd name="T31" fmla="*/ 135 h 199"/>
                <a:gd name="T32" fmla="*/ 227 w 250"/>
                <a:gd name="T33" fmla="*/ 135 h 199"/>
                <a:gd name="T34" fmla="*/ 231 w 250"/>
                <a:gd name="T35" fmla="*/ 125 h 199"/>
                <a:gd name="T36" fmla="*/ 237 w 250"/>
                <a:gd name="T37" fmla="*/ 123 h 199"/>
                <a:gd name="T38" fmla="*/ 249 w 250"/>
                <a:gd name="T39" fmla="*/ 113 h 199"/>
                <a:gd name="T40" fmla="*/ 250 w 250"/>
                <a:gd name="T41" fmla="*/ 99 h 199"/>
                <a:gd name="T42" fmla="*/ 245 w 250"/>
                <a:gd name="T43" fmla="*/ 95 h 199"/>
                <a:gd name="T44" fmla="*/ 225 w 250"/>
                <a:gd name="T45" fmla="*/ 89 h 199"/>
                <a:gd name="T46" fmla="*/ 207 w 250"/>
                <a:gd name="T47" fmla="*/ 76 h 199"/>
                <a:gd name="T48" fmla="*/ 189 w 250"/>
                <a:gd name="T49" fmla="*/ 70 h 199"/>
                <a:gd name="T50" fmla="*/ 181 w 250"/>
                <a:gd name="T51" fmla="*/ 62 h 199"/>
                <a:gd name="T52" fmla="*/ 171 w 250"/>
                <a:gd name="T53" fmla="*/ 56 h 199"/>
                <a:gd name="T54" fmla="*/ 165 w 250"/>
                <a:gd name="T55" fmla="*/ 40 h 199"/>
                <a:gd name="T56" fmla="*/ 155 w 250"/>
                <a:gd name="T57" fmla="*/ 40 h 199"/>
                <a:gd name="T58" fmla="*/ 139 w 250"/>
                <a:gd name="T59" fmla="*/ 40 h 199"/>
                <a:gd name="T60" fmla="*/ 125 w 250"/>
                <a:gd name="T61" fmla="*/ 46 h 199"/>
                <a:gd name="T62" fmla="*/ 117 w 250"/>
                <a:gd name="T63" fmla="*/ 40 h 199"/>
                <a:gd name="T64" fmla="*/ 99 w 250"/>
                <a:gd name="T65" fmla="*/ 32 h 199"/>
                <a:gd name="T66" fmla="*/ 77 w 250"/>
                <a:gd name="T67" fmla="*/ 24 h 199"/>
                <a:gd name="T68" fmla="*/ 57 w 250"/>
                <a:gd name="T69" fmla="*/ 6 h 199"/>
                <a:gd name="T70" fmla="*/ 45 w 250"/>
                <a:gd name="T71" fmla="*/ 2 h 199"/>
                <a:gd name="T72" fmla="*/ 35 w 250"/>
                <a:gd name="T73" fmla="*/ 10 h 199"/>
                <a:gd name="T74" fmla="*/ 28 w 250"/>
                <a:gd name="T75" fmla="*/ 28 h 199"/>
                <a:gd name="T76" fmla="*/ 26 w 250"/>
                <a:gd name="T77" fmla="*/ 36 h 199"/>
                <a:gd name="T78" fmla="*/ 8 w 250"/>
                <a:gd name="T79" fmla="*/ 46 h 199"/>
                <a:gd name="T80" fmla="*/ 2 w 250"/>
                <a:gd name="T81" fmla="*/ 56 h 199"/>
                <a:gd name="T82" fmla="*/ 8 w 250"/>
                <a:gd name="T83" fmla="*/ 60 h 199"/>
                <a:gd name="T84" fmla="*/ 8 w 250"/>
                <a:gd name="T85" fmla="*/ 70 h 199"/>
                <a:gd name="T86" fmla="*/ 16 w 250"/>
                <a:gd name="T87" fmla="*/ 77 h 199"/>
                <a:gd name="T88" fmla="*/ 20 w 250"/>
                <a:gd name="T89" fmla="*/ 85 h 199"/>
                <a:gd name="T90" fmla="*/ 39 w 250"/>
                <a:gd name="T91" fmla="*/ 105 h 199"/>
                <a:gd name="T92" fmla="*/ 55 w 250"/>
                <a:gd name="T93" fmla="*/ 107 h 199"/>
                <a:gd name="T94" fmla="*/ 63 w 250"/>
                <a:gd name="T95" fmla="*/ 117 h 199"/>
                <a:gd name="T96" fmla="*/ 69 w 250"/>
                <a:gd name="T97" fmla="*/ 135 h 199"/>
                <a:gd name="T98" fmla="*/ 77 w 250"/>
                <a:gd name="T99" fmla="*/ 143 h 199"/>
                <a:gd name="T100" fmla="*/ 81 w 250"/>
                <a:gd name="T101" fmla="*/ 143 h 199"/>
                <a:gd name="T102" fmla="*/ 93 w 250"/>
                <a:gd name="T103" fmla="*/ 141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0" h="199">
                  <a:moveTo>
                    <a:pt x="93" y="141"/>
                  </a:moveTo>
                  <a:lnTo>
                    <a:pt x="93" y="141"/>
                  </a:lnTo>
                  <a:lnTo>
                    <a:pt x="99" y="141"/>
                  </a:lnTo>
                  <a:lnTo>
                    <a:pt x="101" y="141"/>
                  </a:lnTo>
                  <a:lnTo>
                    <a:pt x="103" y="139"/>
                  </a:lnTo>
                  <a:lnTo>
                    <a:pt x="103" y="139"/>
                  </a:lnTo>
                  <a:lnTo>
                    <a:pt x="107" y="139"/>
                  </a:lnTo>
                  <a:lnTo>
                    <a:pt x="109" y="137"/>
                  </a:lnTo>
                  <a:lnTo>
                    <a:pt x="111" y="137"/>
                  </a:lnTo>
                  <a:lnTo>
                    <a:pt x="113" y="139"/>
                  </a:lnTo>
                  <a:lnTo>
                    <a:pt x="113" y="139"/>
                  </a:lnTo>
                  <a:lnTo>
                    <a:pt x="113" y="143"/>
                  </a:lnTo>
                  <a:lnTo>
                    <a:pt x="111" y="147"/>
                  </a:lnTo>
                  <a:lnTo>
                    <a:pt x="111" y="149"/>
                  </a:lnTo>
                  <a:lnTo>
                    <a:pt x="113" y="153"/>
                  </a:lnTo>
                  <a:lnTo>
                    <a:pt x="113" y="153"/>
                  </a:lnTo>
                  <a:lnTo>
                    <a:pt x="125" y="161"/>
                  </a:lnTo>
                  <a:lnTo>
                    <a:pt x="131" y="165"/>
                  </a:lnTo>
                  <a:lnTo>
                    <a:pt x="135" y="167"/>
                  </a:lnTo>
                  <a:lnTo>
                    <a:pt x="135" y="167"/>
                  </a:lnTo>
                  <a:lnTo>
                    <a:pt x="145" y="167"/>
                  </a:lnTo>
                  <a:lnTo>
                    <a:pt x="155" y="169"/>
                  </a:lnTo>
                  <a:lnTo>
                    <a:pt x="155" y="169"/>
                  </a:lnTo>
                  <a:lnTo>
                    <a:pt x="157" y="171"/>
                  </a:lnTo>
                  <a:lnTo>
                    <a:pt x="161" y="173"/>
                  </a:lnTo>
                  <a:lnTo>
                    <a:pt x="161" y="175"/>
                  </a:lnTo>
                  <a:lnTo>
                    <a:pt x="165" y="175"/>
                  </a:lnTo>
                  <a:lnTo>
                    <a:pt x="165" y="175"/>
                  </a:lnTo>
                  <a:lnTo>
                    <a:pt x="171" y="177"/>
                  </a:lnTo>
                  <a:lnTo>
                    <a:pt x="175" y="181"/>
                  </a:lnTo>
                  <a:lnTo>
                    <a:pt x="175" y="183"/>
                  </a:lnTo>
                  <a:lnTo>
                    <a:pt x="175" y="183"/>
                  </a:lnTo>
                  <a:lnTo>
                    <a:pt x="177" y="191"/>
                  </a:lnTo>
                  <a:lnTo>
                    <a:pt x="177" y="197"/>
                  </a:lnTo>
                  <a:lnTo>
                    <a:pt x="177" y="197"/>
                  </a:lnTo>
                  <a:lnTo>
                    <a:pt x="177" y="199"/>
                  </a:lnTo>
                  <a:lnTo>
                    <a:pt x="177" y="199"/>
                  </a:lnTo>
                  <a:lnTo>
                    <a:pt x="177" y="199"/>
                  </a:lnTo>
                  <a:lnTo>
                    <a:pt x="179" y="193"/>
                  </a:lnTo>
                  <a:lnTo>
                    <a:pt x="179" y="193"/>
                  </a:lnTo>
                  <a:lnTo>
                    <a:pt x="185" y="189"/>
                  </a:lnTo>
                  <a:lnTo>
                    <a:pt x="185" y="189"/>
                  </a:lnTo>
                  <a:lnTo>
                    <a:pt x="189" y="187"/>
                  </a:lnTo>
                  <a:lnTo>
                    <a:pt x="193" y="187"/>
                  </a:lnTo>
                  <a:lnTo>
                    <a:pt x="193" y="187"/>
                  </a:lnTo>
                  <a:lnTo>
                    <a:pt x="199" y="187"/>
                  </a:lnTo>
                  <a:lnTo>
                    <a:pt x="199" y="185"/>
                  </a:lnTo>
                  <a:lnTo>
                    <a:pt x="201" y="181"/>
                  </a:lnTo>
                  <a:lnTo>
                    <a:pt x="203" y="181"/>
                  </a:lnTo>
                  <a:lnTo>
                    <a:pt x="203" y="181"/>
                  </a:lnTo>
                  <a:lnTo>
                    <a:pt x="203" y="177"/>
                  </a:lnTo>
                  <a:lnTo>
                    <a:pt x="203" y="177"/>
                  </a:lnTo>
                  <a:lnTo>
                    <a:pt x="203" y="173"/>
                  </a:lnTo>
                  <a:lnTo>
                    <a:pt x="203" y="171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5" y="165"/>
                  </a:lnTo>
                  <a:lnTo>
                    <a:pt x="207" y="159"/>
                  </a:lnTo>
                  <a:lnTo>
                    <a:pt x="211" y="145"/>
                  </a:lnTo>
                  <a:lnTo>
                    <a:pt x="211" y="145"/>
                  </a:lnTo>
                  <a:lnTo>
                    <a:pt x="211" y="143"/>
                  </a:lnTo>
                  <a:lnTo>
                    <a:pt x="213" y="139"/>
                  </a:lnTo>
                  <a:lnTo>
                    <a:pt x="217" y="135"/>
                  </a:lnTo>
                  <a:lnTo>
                    <a:pt x="217" y="135"/>
                  </a:lnTo>
                  <a:lnTo>
                    <a:pt x="221" y="135"/>
                  </a:lnTo>
                  <a:lnTo>
                    <a:pt x="221" y="135"/>
                  </a:lnTo>
                  <a:lnTo>
                    <a:pt x="227" y="135"/>
                  </a:lnTo>
                  <a:lnTo>
                    <a:pt x="227" y="135"/>
                  </a:lnTo>
                  <a:lnTo>
                    <a:pt x="229" y="135"/>
                  </a:lnTo>
                  <a:lnTo>
                    <a:pt x="231" y="135"/>
                  </a:lnTo>
                  <a:lnTo>
                    <a:pt x="231" y="129"/>
                  </a:lnTo>
                  <a:lnTo>
                    <a:pt x="231" y="125"/>
                  </a:lnTo>
                  <a:lnTo>
                    <a:pt x="231" y="125"/>
                  </a:lnTo>
                  <a:lnTo>
                    <a:pt x="231" y="123"/>
                  </a:lnTo>
                  <a:lnTo>
                    <a:pt x="231" y="123"/>
                  </a:lnTo>
                  <a:lnTo>
                    <a:pt x="237" y="123"/>
                  </a:lnTo>
                  <a:lnTo>
                    <a:pt x="245" y="121"/>
                  </a:lnTo>
                  <a:lnTo>
                    <a:pt x="245" y="121"/>
                  </a:lnTo>
                  <a:lnTo>
                    <a:pt x="247" y="117"/>
                  </a:lnTo>
                  <a:lnTo>
                    <a:pt x="249" y="113"/>
                  </a:lnTo>
                  <a:lnTo>
                    <a:pt x="249" y="113"/>
                  </a:lnTo>
                  <a:lnTo>
                    <a:pt x="249" y="103"/>
                  </a:lnTo>
                  <a:lnTo>
                    <a:pt x="249" y="103"/>
                  </a:lnTo>
                  <a:lnTo>
                    <a:pt x="250" y="99"/>
                  </a:lnTo>
                  <a:lnTo>
                    <a:pt x="250" y="97"/>
                  </a:lnTo>
                  <a:lnTo>
                    <a:pt x="249" y="97"/>
                  </a:lnTo>
                  <a:lnTo>
                    <a:pt x="249" y="97"/>
                  </a:lnTo>
                  <a:lnTo>
                    <a:pt x="245" y="95"/>
                  </a:lnTo>
                  <a:lnTo>
                    <a:pt x="235" y="93"/>
                  </a:lnTo>
                  <a:lnTo>
                    <a:pt x="229" y="91"/>
                  </a:lnTo>
                  <a:lnTo>
                    <a:pt x="225" y="89"/>
                  </a:lnTo>
                  <a:lnTo>
                    <a:pt x="225" y="89"/>
                  </a:lnTo>
                  <a:lnTo>
                    <a:pt x="221" y="83"/>
                  </a:lnTo>
                  <a:lnTo>
                    <a:pt x="221" y="83"/>
                  </a:lnTo>
                  <a:lnTo>
                    <a:pt x="211" y="79"/>
                  </a:lnTo>
                  <a:lnTo>
                    <a:pt x="207" y="76"/>
                  </a:lnTo>
                  <a:lnTo>
                    <a:pt x="203" y="74"/>
                  </a:lnTo>
                  <a:lnTo>
                    <a:pt x="203" y="74"/>
                  </a:lnTo>
                  <a:lnTo>
                    <a:pt x="193" y="72"/>
                  </a:lnTo>
                  <a:lnTo>
                    <a:pt x="189" y="70"/>
                  </a:lnTo>
                  <a:lnTo>
                    <a:pt x="185" y="68"/>
                  </a:lnTo>
                  <a:lnTo>
                    <a:pt x="185" y="68"/>
                  </a:lnTo>
                  <a:lnTo>
                    <a:pt x="183" y="66"/>
                  </a:lnTo>
                  <a:lnTo>
                    <a:pt x="181" y="62"/>
                  </a:lnTo>
                  <a:lnTo>
                    <a:pt x="177" y="62"/>
                  </a:lnTo>
                  <a:lnTo>
                    <a:pt x="177" y="62"/>
                  </a:lnTo>
                  <a:lnTo>
                    <a:pt x="175" y="58"/>
                  </a:lnTo>
                  <a:lnTo>
                    <a:pt x="171" y="56"/>
                  </a:lnTo>
                  <a:lnTo>
                    <a:pt x="169" y="48"/>
                  </a:lnTo>
                  <a:lnTo>
                    <a:pt x="169" y="48"/>
                  </a:lnTo>
                  <a:lnTo>
                    <a:pt x="167" y="40"/>
                  </a:lnTo>
                  <a:lnTo>
                    <a:pt x="165" y="40"/>
                  </a:lnTo>
                  <a:lnTo>
                    <a:pt x="161" y="38"/>
                  </a:lnTo>
                  <a:lnTo>
                    <a:pt x="161" y="38"/>
                  </a:lnTo>
                  <a:lnTo>
                    <a:pt x="157" y="38"/>
                  </a:lnTo>
                  <a:lnTo>
                    <a:pt x="155" y="40"/>
                  </a:lnTo>
                  <a:lnTo>
                    <a:pt x="153" y="40"/>
                  </a:lnTo>
                  <a:lnTo>
                    <a:pt x="147" y="40"/>
                  </a:lnTo>
                  <a:lnTo>
                    <a:pt x="147" y="40"/>
                  </a:lnTo>
                  <a:lnTo>
                    <a:pt x="139" y="40"/>
                  </a:lnTo>
                  <a:lnTo>
                    <a:pt x="135" y="40"/>
                  </a:lnTo>
                  <a:lnTo>
                    <a:pt x="127" y="44"/>
                  </a:lnTo>
                  <a:lnTo>
                    <a:pt x="127" y="44"/>
                  </a:lnTo>
                  <a:lnTo>
                    <a:pt x="125" y="46"/>
                  </a:lnTo>
                  <a:lnTo>
                    <a:pt x="121" y="46"/>
                  </a:lnTo>
                  <a:lnTo>
                    <a:pt x="119" y="46"/>
                  </a:lnTo>
                  <a:lnTo>
                    <a:pt x="117" y="40"/>
                  </a:lnTo>
                  <a:lnTo>
                    <a:pt x="117" y="40"/>
                  </a:lnTo>
                  <a:lnTo>
                    <a:pt x="111" y="36"/>
                  </a:lnTo>
                  <a:lnTo>
                    <a:pt x="107" y="36"/>
                  </a:lnTo>
                  <a:lnTo>
                    <a:pt x="99" y="32"/>
                  </a:lnTo>
                  <a:lnTo>
                    <a:pt x="99" y="32"/>
                  </a:lnTo>
                  <a:lnTo>
                    <a:pt x="89" y="30"/>
                  </a:lnTo>
                  <a:lnTo>
                    <a:pt x="85" y="28"/>
                  </a:lnTo>
                  <a:lnTo>
                    <a:pt x="77" y="24"/>
                  </a:lnTo>
                  <a:lnTo>
                    <a:pt x="77" y="24"/>
                  </a:lnTo>
                  <a:lnTo>
                    <a:pt x="65" y="12"/>
                  </a:lnTo>
                  <a:lnTo>
                    <a:pt x="61" y="10"/>
                  </a:lnTo>
                  <a:lnTo>
                    <a:pt x="57" y="6"/>
                  </a:lnTo>
                  <a:lnTo>
                    <a:pt x="57" y="6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1" y="4"/>
                  </a:lnTo>
                  <a:lnTo>
                    <a:pt x="39" y="4"/>
                  </a:lnTo>
                  <a:lnTo>
                    <a:pt x="35" y="10"/>
                  </a:lnTo>
                  <a:lnTo>
                    <a:pt x="35" y="10"/>
                  </a:lnTo>
                  <a:lnTo>
                    <a:pt x="31" y="20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8" y="28"/>
                  </a:lnTo>
                  <a:lnTo>
                    <a:pt x="28" y="34"/>
                  </a:lnTo>
                  <a:lnTo>
                    <a:pt x="28" y="34"/>
                  </a:lnTo>
                  <a:lnTo>
                    <a:pt x="28" y="36"/>
                  </a:lnTo>
                  <a:lnTo>
                    <a:pt x="26" y="36"/>
                  </a:lnTo>
                  <a:lnTo>
                    <a:pt x="22" y="38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8" y="46"/>
                  </a:lnTo>
                  <a:lnTo>
                    <a:pt x="4" y="48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2" y="56"/>
                  </a:lnTo>
                  <a:lnTo>
                    <a:pt x="4" y="58"/>
                  </a:lnTo>
                  <a:lnTo>
                    <a:pt x="6" y="58"/>
                  </a:lnTo>
                  <a:lnTo>
                    <a:pt x="6" y="58"/>
                  </a:lnTo>
                  <a:lnTo>
                    <a:pt x="8" y="60"/>
                  </a:lnTo>
                  <a:lnTo>
                    <a:pt x="10" y="62"/>
                  </a:lnTo>
                  <a:lnTo>
                    <a:pt x="10" y="68"/>
                  </a:lnTo>
                  <a:lnTo>
                    <a:pt x="8" y="70"/>
                  </a:lnTo>
                  <a:lnTo>
                    <a:pt x="8" y="70"/>
                  </a:lnTo>
                  <a:lnTo>
                    <a:pt x="8" y="70"/>
                  </a:lnTo>
                  <a:lnTo>
                    <a:pt x="8" y="70"/>
                  </a:lnTo>
                  <a:lnTo>
                    <a:pt x="10" y="74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8" y="81"/>
                  </a:lnTo>
                  <a:lnTo>
                    <a:pt x="20" y="85"/>
                  </a:lnTo>
                  <a:lnTo>
                    <a:pt x="20" y="85"/>
                  </a:lnTo>
                  <a:lnTo>
                    <a:pt x="26" y="97"/>
                  </a:lnTo>
                  <a:lnTo>
                    <a:pt x="31" y="101"/>
                  </a:lnTo>
                  <a:lnTo>
                    <a:pt x="39" y="105"/>
                  </a:lnTo>
                  <a:lnTo>
                    <a:pt x="39" y="105"/>
                  </a:lnTo>
                  <a:lnTo>
                    <a:pt x="47" y="107"/>
                  </a:lnTo>
                  <a:lnTo>
                    <a:pt x="51" y="107"/>
                  </a:lnTo>
                  <a:lnTo>
                    <a:pt x="51" y="107"/>
                  </a:lnTo>
                  <a:lnTo>
                    <a:pt x="55" y="107"/>
                  </a:lnTo>
                  <a:lnTo>
                    <a:pt x="57" y="107"/>
                  </a:lnTo>
                  <a:lnTo>
                    <a:pt x="57" y="107"/>
                  </a:lnTo>
                  <a:lnTo>
                    <a:pt x="63" y="113"/>
                  </a:lnTo>
                  <a:lnTo>
                    <a:pt x="63" y="117"/>
                  </a:lnTo>
                  <a:lnTo>
                    <a:pt x="65" y="119"/>
                  </a:lnTo>
                  <a:lnTo>
                    <a:pt x="65" y="123"/>
                  </a:lnTo>
                  <a:lnTo>
                    <a:pt x="65" y="123"/>
                  </a:lnTo>
                  <a:lnTo>
                    <a:pt x="69" y="135"/>
                  </a:lnTo>
                  <a:lnTo>
                    <a:pt x="69" y="135"/>
                  </a:lnTo>
                  <a:lnTo>
                    <a:pt x="73" y="139"/>
                  </a:lnTo>
                  <a:lnTo>
                    <a:pt x="75" y="143"/>
                  </a:lnTo>
                  <a:lnTo>
                    <a:pt x="77" y="143"/>
                  </a:lnTo>
                  <a:lnTo>
                    <a:pt x="77" y="143"/>
                  </a:lnTo>
                  <a:lnTo>
                    <a:pt x="79" y="143"/>
                  </a:lnTo>
                  <a:lnTo>
                    <a:pt x="79" y="143"/>
                  </a:lnTo>
                  <a:lnTo>
                    <a:pt x="81" y="143"/>
                  </a:lnTo>
                  <a:lnTo>
                    <a:pt x="87" y="143"/>
                  </a:lnTo>
                  <a:lnTo>
                    <a:pt x="93" y="141"/>
                  </a:lnTo>
                  <a:lnTo>
                    <a:pt x="93" y="141"/>
                  </a:lnTo>
                  <a:lnTo>
                    <a:pt x="93" y="141"/>
                  </a:lnTo>
                  <a:lnTo>
                    <a:pt x="93" y="141"/>
                  </a:lnTo>
                  <a:lnTo>
                    <a:pt x="93" y="141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78" name="Freeform 37"/>
            <p:cNvSpPr>
              <a:spLocks/>
            </p:cNvSpPr>
            <p:nvPr/>
          </p:nvSpPr>
          <p:spPr bwMode="auto">
            <a:xfrm>
              <a:off x="1373" y="1898"/>
              <a:ext cx="133" cy="130"/>
            </a:xfrm>
            <a:custGeom>
              <a:avLst/>
              <a:gdLst>
                <a:gd name="T0" fmla="*/ 2 w 133"/>
                <a:gd name="T1" fmla="*/ 116 h 130"/>
                <a:gd name="T2" fmla="*/ 10 w 133"/>
                <a:gd name="T3" fmla="*/ 130 h 130"/>
                <a:gd name="T4" fmla="*/ 26 w 133"/>
                <a:gd name="T5" fmla="*/ 120 h 130"/>
                <a:gd name="T6" fmla="*/ 38 w 133"/>
                <a:gd name="T7" fmla="*/ 116 h 130"/>
                <a:gd name="T8" fmla="*/ 50 w 133"/>
                <a:gd name="T9" fmla="*/ 120 h 130"/>
                <a:gd name="T10" fmla="*/ 62 w 133"/>
                <a:gd name="T11" fmla="*/ 128 h 130"/>
                <a:gd name="T12" fmla="*/ 70 w 133"/>
                <a:gd name="T13" fmla="*/ 128 h 130"/>
                <a:gd name="T14" fmla="*/ 81 w 133"/>
                <a:gd name="T15" fmla="*/ 120 h 130"/>
                <a:gd name="T16" fmla="*/ 91 w 133"/>
                <a:gd name="T17" fmla="*/ 114 h 130"/>
                <a:gd name="T18" fmla="*/ 99 w 133"/>
                <a:gd name="T19" fmla="*/ 110 h 130"/>
                <a:gd name="T20" fmla="*/ 125 w 133"/>
                <a:gd name="T21" fmla="*/ 110 h 130"/>
                <a:gd name="T22" fmla="*/ 131 w 133"/>
                <a:gd name="T23" fmla="*/ 106 h 130"/>
                <a:gd name="T24" fmla="*/ 133 w 133"/>
                <a:gd name="T25" fmla="*/ 96 h 130"/>
                <a:gd name="T26" fmla="*/ 125 w 133"/>
                <a:gd name="T27" fmla="*/ 82 h 130"/>
                <a:gd name="T28" fmla="*/ 125 w 133"/>
                <a:gd name="T29" fmla="*/ 64 h 130"/>
                <a:gd name="T30" fmla="*/ 125 w 133"/>
                <a:gd name="T31" fmla="*/ 54 h 130"/>
                <a:gd name="T32" fmla="*/ 117 w 133"/>
                <a:gd name="T33" fmla="*/ 36 h 130"/>
                <a:gd name="T34" fmla="*/ 111 w 133"/>
                <a:gd name="T35" fmla="*/ 36 h 130"/>
                <a:gd name="T36" fmla="*/ 109 w 133"/>
                <a:gd name="T37" fmla="*/ 40 h 130"/>
                <a:gd name="T38" fmla="*/ 103 w 133"/>
                <a:gd name="T39" fmla="*/ 42 h 130"/>
                <a:gd name="T40" fmla="*/ 97 w 133"/>
                <a:gd name="T41" fmla="*/ 28 h 130"/>
                <a:gd name="T42" fmla="*/ 99 w 133"/>
                <a:gd name="T43" fmla="*/ 22 h 130"/>
                <a:gd name="T44" fmla="*/ 103 w 133"/>
                <a:gd name="T45" fmla="*/ 14 h 130"/>
                <a:gd name="T46" fmla="*/ 99 w 133"/>
                <a:gd name="T47" fmla="*/ 0 h 130"/>
                <a:gd name="T48" fmla="*/ 97 w 133"/>
                <a:gd name="T49" fmla="*/ 4 h 130"/>
                <a:gd name="T50" fmla="*/ 95 w 133"/>
                <a:gd name="T51" fmla="*/ 14 h 130"/>
                <a:gd name="T52" fmla="*/ 83 w 133"/>
                <a:gd name="T53" fmla="*/ 18 h 130"/>
                <a:gd name="T54" fmla="*/ 77 w 133"/>
                <a:gd name="T55" fmla="*/ 18 h 130"/>
                <a:gd name="T56" fmla="*/ 74 w 133"/>
                <a:gd name="T57" fmla="*/ 14 h 130"/>
                <a:gd name="T58" fmla="*/ 72 w 133"/>
                <a:gd name="T59" fmla="*/ 14 h 130"/>
                <a:gd name="T60" fmla="*/ 62 w 133"/>
                <a:gd name="T61" fmla="*/ 20 h 130"/>
                <a:gd name="T62" fmla="*/ 56 w 133"/>
                <a:gd name="T63" fmla="*/ 22 h 130"/>
                <a:gd name="T64" fmla="*/ 56 w 133"/>
                <a:gd name="T65" fmla="*/ 32 h 130"/>
                <a:gd name="T66" fmla="*/ 52 w 133"/>
                <a:gd name="T67" fmla="*/ 32 h 130"/>
                <a:gd name="T68" fmla="*/ 42 w 133"/>
                <a:gd name="T69" fmla="*/ 32 h 130"/>
                <a:gd name="T70" fmla="*/ 36 w 133"/>
                <a:gd name="T71" fmla="*/ 40 h 130"/>
                <a:gd name="T72" fmla="*/ 32 w 133"/>
                <a:gd name="T73" fmla="*/ 56 h 130"/>
                <a:gd name="T74" fmla="*/ 28 w 133"/>
                <a:gd name="T75" fmla="*/ 64 h 130"/>
                <a:gd name="T76" fmla="*/ 28 w 133"/>
                <a:gd name="T77" fmla="*/ 74 h 130"/>
                <a:gd name="T78" fmla="*/ 28 w 133"/>
                <a:gd name="T79" fmla="*/ 78 h 130"/>
                <a:gd name="T80" fmla="*/ 24 w 133"/>
                <a:gd name="T81" fmla="*/ 84 h 130"/>
                <a:gd name="T82" fmla="*/ 14 w 133"/>
                <a:gd name="T83" fmla="*/ 84 h 130"/>
                <a:gd name="T84" fmla="*/ 4 w 133"/>
                <a:gd name="T85" fmla="*/ 90 h 130"/>
                <a:gd name="T86" fmla="*/ 2 w 133"/>
                <a:gd name="T87" fmla="*/ 96 h 130"/>
                <a:gd name="T88" fmla="*/ 2 w 133"/>
                <a:gd name="T89" fmla="*/ 110 h 130"/>
                <a:gd name="T90" fmla="*/ 2 w 133"/>
                <a:gd name="T91" fmla="*/ 11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33" h="130">
                  <a:moveTo>
                    <a:pt x="2" y="110"/>
                  </a:moveTo>
                  <a:lnTo>
                    <a:pt x="2" y="110"/>
                  </a:lnTo>
                  <a:lnTo>
                    <a:pt x="2" y="116"/>
                  </a:lnTo>
                  <a:lnTo>
                    <a:pt x="6" y="126"/>
                  </a:lnTo>
                  <a:lnTo>
                    <a:pt x="8" y="128"/>
                  </a:lnTo>
                  <a:lnTo>
                    <a:pt x="10" y="130"/>
                  </a:lnTo>
                  <a:lnTo>
                    <a:pt x="10" y="128"/>
                  </a:lnTo>
                  <a:lnTo>
                    <a:pt x="10" y="128"/>
                  </a:lnTo>
                  <a:lnTo>
                    <a:pt x="26" y="120"/>
                  </a:lnTo>
                  <a:lnTo>
                    <a:pt x="26" y="120"/>
                  </a:lnTo>
                  <a:lnTo>
                    <a:pt x="34" y="116"/>
                  </a:lnTo>
                  <a:lnTo>
                    <a:pt x="38" y="116"/>
                  </a:lnTo>
                  <a:lnTo>
                    <a:pt x="42" y="116"/>
                  </a:lnTo>
                  <a:lnTo>
                    <a:pt x="42" y="116"/>
                  </a:lnTo>
                  <a:lnTo>
                    <a:pt x="50" y="120"/>
                  </a:lnTo>
                  <a:lnTo>
                    <a:pt x="54" y="126"/>
                  </a:lnTo>
                  <a:lnTo>
                    <a:pt x="60" y="128"/>
                  </a:lnTo>
                  <a:lnTo>
                    <a:pt x="62" y="128"/>
                  </a:lnTo>
                  <a:lnTo>
                    <a:pt x="62" y="128"/>
                  </a:lnTo>
                  <a:lnTo>
                    <a:pt x="70" y="128"/>
                  </a:lnTo>
                  <a:lnTo>
                    <a:pt x="70" y="128"/>
                  </a:lnTo>
                  <a:lnTo>
                    <a:pt x="77" y="126"/>
                  </a:lnTo>
                  <a:lnTo>
                    <a:pt x="77" y="126"/>
                  </a:lnTo>
                  <a:lnTo>
                    <a:pt x="81" y="120"/>
                  </a:lnTo>
                  <a:lnTo>
                    <a:pt x="87" y="116"/>
                  </a:lnTo>
                  <a:lnTo>
                    <a:pt x="87" y="116"/>
                  </a:lnTo>
                  <a:lnTo>
                    <a:pt x="91" y="114"/>
                  </a:lnTo>
                  <a:lnTo>
                    <a:pt x="95" y="112"/>
                  </a:lnTo>
                  <a:lnTo>
                    <a:pt x="95" y="110"/>
                  </a:lnTo>
                  <a:lnTo>
                    <a:pt x="99" y="110"/>
                  </a:lnTo>
                  <a:lnTo>
                    <a:pt x="99" y="110"/>
                  </a:lnTo>
                  <a:lnTo>
                    <a:pt x="125" y="110"/>
                  </a:lnTo>
                  <a:lnTo>
                    <a:pt x="125" y="110"/>
                  </a:lnTo>
                  <a:lnTo>
                    <a:pt x="127" y="108"/>
                  </a:lnTo>
                  <a:lnTo>
                    <a:pt x="129" y="108"/>
                  </a:lnTo>
                  <a:lnTo>
                    <a:pt x="131" y="106"/>
                  </a:lnTo>
                  <a:lnTo>
                    <a:pt x="131" y="106"/>
                  </a:lnTo>
                  <a:lnTo>
                    <a:pt x="133" y="96"/>
                  </a:lnTo>
                  <a:lnTo>
                    <a:pt x="133" y="96"/>
                  </a:lnTo>
                  <a:lnTo>
                    <a:pt x="129" y="90"/>
                  </a:lnTo>
                  <a:lnTo>
                    <a:pt x="125" y="82"/>
                  </a:lnTo>
                  <a:lnTo>
                    <a:pt x="125" y="82"/>
                  </a:lnTo>
                  <a:lnTo>
                    <a:pt x="123" y="74"/>
                  </a:lnTo>
                  <a:lnTo>
                    <a:pt x="123" y="74"/>
                  </a:lnTo>
                  <a:lnTo>
                    <a:pt x="125" y="64"/>
                  </a:lnTo>
                  <a:lnTo>
                    <a:pt x="125" y="58"/>
                  </a:lnTo>
                  <a:lnTo>
                    <a:pt x="125" y="54"/>
                  </a:lnTo>
                  <a:lnTo>
                    <a:pt x="125" y="54"/>
                  </a:lnTo>
                  <a:lnTo>
                    <a:pt x="125" y="48"/>
                  </a:lnTo>
                  <a:lnTo>
                    <a:pt x="121" y="44"/>
                  </a:lnTo>
                  <a:lnTo>
                    <a:pt x="117" y="36"/>
                  </a:lnTo>
                  <a:lnTo>
                    <a:pt x="117" y="36"/>
                  </a:lnTo>
                  <a:lnTo>
                    <a:pt x="115" y="34"/>
                  </a:lnTo>
                  <a:lnTo>
                    <a:pt x="111" y="36"/>
                  </a:lnTo>
                  <a:lnTo>
                    <a:pt x="111" y="36"/>
                  </a:lnTo>
                  <a:lnTo>
                    <a:pt x="111" y="36"/>
                  </a:lnTo>
                  <a:lnTo>
                    <a:pt x="109" y="40"/>
                  </a:lnTo>
                  <a:lnTo>
                    <a:pt x="105" y="42"/>
                  </a:lnTo>
                  <a:lnTo>
                    <a:pt x="105" y="42"/>
                  </a:lnTo>
                  <a:lnTo>
                    <a:pt x="103" y="42"/>
                  </a:lnTo>
                  <a:lnTo>
                    <a:pt x="103" y="40"/>
                  </a:lnTo>
                  <a:lnTo>
                    <a:pt x="101" y="36"/>
                  </a:lnTo>
                  <a:lnTo>
                    <a:pt x="97" y="28"/>
                  </a:lnTo>
                  <a:lnTo>
                    <a:pt x="97" y="28"/>
                  </a:lnTo>
                  <a:lnTo>
                    <a:pt x="97" y="26"/>
                  </a:lnTo>
                  <a:lnTo>
                    <a:pt x="99" y="22"/>
                  </a:lnTo>
                  <a:lnTo>
                    <a:pt x="101" y="18"/>
                  </a:lnTo>
                  <a:lnTo>
                    <a:pt x="103" y="14"/>
                  </a:lnTo>
                  <a:lnTo>
                    <a:pt x="103" y="14"/>
                  </a:lnTo>
                  <a:lnTo>
                    <a:pt x="103" y="4"/>
                  </a:lnTo>
                  <a:lnTo>
                    <a:pt x="101" y="2"/>
                  </a:lnTo>
                  <a:lnTo>
                    <a:pt x="99" y="0"/>
                  </a:lnTo>
                  <a:lnTo>
                    <a:pt x="99" y="0"/>
                  </a:lnTo>
                  <a:lnTo>
                    <a:pt x="99" y="2"/>
                  </a:lnTo>
                  <a:lnTo>
                    <a:pt x="97" y="4"/>
                  </a:lnTo>
                  <a:lnTo>
                    <a:pt x="95" y="8"/>
                  </a:lnTo>
                  <a:lnTo>
                    <a:pt x="95" y="14"/>
                  </a:lnTo>
                  <a:lnTo>
                    <a:pt x="95" y="14"/>
                  </a:lnTo>
                  <a:lnTo>
                    <a:pt x="93" y="18"/>
                  </a:lnTo>
                  <a:lnTo>
                    <a:pt x="91" y="18"/>
                  </a:lnTo>
                  <a:lnTo>
                    <a:pt x="83" y="18"/>
                  </a:lnTo>
                  <a:lnTo>
                    <a:pt x="83" y="18"/>
                  </a:lnTo>
                  <a:lnTo>
                    <a:pt x="79" y="18"/>
                  </a:lnTo>
                  <a:lnTo>
                    <a:pt x="77" y="18"/>
                  </a:lnTo>
                  <a:lnTo>
                    <a:pt x="75" y="16"/>
                  </a:lnTo>
                  <a:lnTo>
                    <a:pt x="75" y="16"/>
                  </a:lnTo>
                  <a:lnTo>
                    <a:pt x="74" y="14"/>
                  </a:lnTo>
                  <a:lnTo>
                    <a:pt x="74" y="10"/>
                  </a:lnTo>
                  <a:lnTo>
                    <a:pt x="74" y="10"/>
                  </a:lnTo>
                  <a:lnTo>
                    <a:pt x="72" y="14"/>
                  </a:lnTo>
                  <a:lnTo>
                    <a:pt x="70" y="18"/>
                  </a:lnTo>
                  <a:lnTo>
                    <a:pt x="70" y="18"/>
                  </a:lnTo>
                  <a:lnTo>
                    <a:pt x="62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6" y="26"/>
                  </a:lnTo>
                  <a:lnTo>
                    <a:pt x="56" y="32"/>
                  </a:lnTo>
                  <a:lnTo>
                    <a:pt x="54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46" y="32"/>
                  </a:lnTo>
                  <a:lnTo>
                    <a:pt x="46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38" y="36"/>
                  </a:lnTo>
                  <a:lnTo>
                    <a:pt x="36" y="40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2" y="56"/>
                  </a:lnTo>
                  <a:lnTo>
                    <a:pt x="30" y="62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28" y="70"/>
                  </a:lnTo>
                  <a:lnTo>
                    <a:pt x="28" y="74"/>
                  </a:lnTo>
                  <a:lnTo>
                    <a:pt x="28" y="74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6" y="78"/>
                  </a:lnTo>
                  <a:lnTo>
                    <a:pt x="24" y="82"/>
                  </a:lnTo>
                  <a:lnTo>
                    <a:pt x="24" y="84"/>
                  </a:lnTo>
                  <a:lnTo>
                    <a:pt x="18" y="84"/>
                  </a:lnTo>
                  <a:lnTo>
                    <a:pt x="18" y="84"/>
                  </a:lnTo>
                  <a:lnTo>
                    <a:pt x="14" y="84"/>
                  </a:lnTo>
                  <a:lnTo>
                    <a:pt x="10" y="86"/>
                  </a:lnTo>
                  <a:lnTo>
                    <a:pt x="10" y="86"/>
                  </a:lnTo>
                  <a:lnTo>
                    <a:pt x="4" y="90"/>
                  </a:lnTo>
                  <a:lnTo>
                    <a:pt x="4" y="90"/>
                  </a:lnTo>
                  <a:lnTo>
                    <a:pt x="2" y="96"/>
                  </a:lnTo>
                  <a:lnTo>
                    <a:pt x="2" y="96"/>
                  </a:lnTo>
                  <a:lnTo>
                    <a:pt x="0" y="104"/>
                  </a:lnTo>
                  <a:lnTo>
                    <a:pt x="2" y="108"/>
                  </a:lnTo>
                  <a:lnTo>
                    <a:pt x="2" y="110"/>
                  </a:lnTo>
                  <a:lnTo>
                    <a:pt x="2" y="110"/>
                  </a:lnTo>
                  <a:lnTo>
                    <a:pt x="2" y="110"/>
                  </a:lnTo>
                  <a:lnTo>
                    <a:pt x="2" y="110"/>
                  </a:lnTo>
                  <a:lnTo>
                    <a:pt x="2" y="11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79" name="Freeform 38"/>
            <p:cNvSpPr>
              <a:spLocks/>
            </p:cNvSpPr>
            <p:nvPr/>
          </p:nvSpPr>
          <p:spPr bwMode="auto">
            <a:xfrm>
              <a:off x="1088" y="2494"/>
              <a:ext cx="122" cy="205"/>
            </a:xfrm>
            <a:custGeom>
              <a:avLst/>
              <a:gdLst>
                <a:gd name="T0" fmla="*/ 116 w 122"/>
                <a:gd name="T1" fmla="*/ 22 h 205"/>
                <a:gd name="T2" fmla="*/ 112 w 122"/>
                <a:gd name="T3" fmla="*/ 14 h 205"/>
                <a:gd name="T4" fmla="*/ 96 w 122"/>
                <a:gd name="T5" fmla="*/ 12 h 205"/>
                <a:gd name="T6" fmla="*/ 88 w 122"/>
                <a:gd name="T7" fmla="*/ 10 h 205"/>
                <a:gd name="T8" fmla="*/ 80 w 122"/>
                <a:gd name="T9" fmla="*/ 6 h 205"/>
                <a:gd name="T10" fmla="*/ 68 w 122"/>
                <a:gd name="T11" fmla="*/ 2 h 205"/>
                <a:gd name="T12" fmla="*/ 62 w 122"/>
                <a:gd name="T13" fmla="*/ 0 h 205"/>
                <a:gd name="T14" fmla="*/ 58 w 122"/>
                <a:gd name="T15" fmla="*/ 6 h 205"/>
                <a:gd name="T16" fmla="*/ 58 w 122"/>
                <a:gd name="T17" fmla="*/ 14 h 205"/>
                <a:gd name="T18" fmla="*/ 62 w 122"/>
                <a:gd name="T19" fmla="*/ 34 h 205"/>
                <a:gd name="T20" fmla="*/ 66 w 122"/>
                <a:gd name="T21" fmla="*/ 38 h 205"/>
                <a:gd name="T22" fmla="*/ 62 w 122"/>
                <a:gd name="T23" fmla="*/ 40 h 205"/>
                <a:gd name="T24" fmla="*/ 60 w 122"/>
                <a:gd name="T25" fmla="*/ 42 h 205"/>
                <a:gd name="T26" fmla="*/ 54 w 122"/>
                <a:gd name="T27" fmla="*/ 72 h 205"/>
                <a:gd name="T28" fmla="*/ 64 w 122"/>
                <a:gd name="T29" fmla="*/ 81 h 205"/>
                <a:gd name="T30" fmla="*/ 80 w 122"/>
                <a:gd name="T31" fmla="*/ 81 h 205"/>
                <a:gd name="T32" fmla="*/ 76 w 122"/>
                <a:gd name="T33" fmla="*/ 85 h 205"/>
                <a:gd name="T34" fmla="*/ 68 w 122"/>
                <a:gd name="T35" fmla="*/ 85 h 205"/>
                <a:gd name="T36" fmla="*/ 60 w 122"/>
                <a:gd name="T37" fmla="*/ 85 h 205"/>
                <a:gd name="T38" fmla="*/ 52 w 122"/>
                <a:gd name="T39" fmla="*/ 113 h 205"/>
                <a:gd name="T40" fmla="*/ 52 w 122"/>
                <a:gd name="T41" fmla="*/ 121 h 205"/>
                <a:gd name="T42" fmla="*/ 58 w 122"/>
                <a:gd name="T43" fmla="*/ 125 h 205"/>
                <a:gd name="T44" fmla="*/ 52 w 122"/>
                <a:gd name="T45" fmla="*/ 131 h 205"/>
                <a:gd name="T46" fmla="*/ 52 w 122"/>
                <a:gd name="T47" fmla="*/ 133 h 205"/>
                <a:gd name="T48" fmla="*/ 44 w 122"/>
                <a:gd name="T49" fmla="*/ 131 h 205"/>
                <a:gd name="T50" fmla="*/ 38 w 122"/>
                <a:gd name="T51" fmla="*/ 135 h 205"/>
                <a:gd name="T52" fmla="*/ 36 w 122"/>
                <a:gd name="T53" fmla="*/ 135 h 205"/>
                <a:gd name="T54" fmla="*/ 26 w 122"/>
                <a:gd name="T55" fmla="*/ 129 h 205"/>
                <a:gd name="T56" fmla="*/ 22 w 122"/>
                <a:gd name="T57" fmla="*/ 143 h 205"/>
                <a:gd name="T58" fmla="*/ 0 w 122"/>
                <a:gd name="T59" fmla="*/ 171 h 205"/>
                <a:gd name="T60" fmla="*/ 16 w 122"/>
                <a:gd name="T61" fmla="*/ 193 h 205"/>
                <a:gd name="T62" fmla="*/ 20 w 122"/>
                <a:gd name="T63" fmla="*/ 193 h 205"/>
                <a:gd name="T64" fmla="*/ 40 w 122"/>
                <a:gd name="T65" fmla="*/ 201 h 205"/>
                <a:gd name="T66" fmla="*/ 52 w 122"/>
                <a:gd name="T67" fmla="*/ 201 h 205"/>
                <a:gd name="T68" fmla="*/ 80 w 122"/>
                <a:gd name="T69" fmla="*/ 205 h 205"/>
                <a:gd name="T70" fmla="*/ 96 w 122"/>
                <a:gd name="T71" fmla="*/ 199 h 205"/>
                <a:gd name="T72" fmla="*/ 88 w 122"/>
                <a:gd name="T73" fmla="*/ 175 h 205"/>
                <a:gd name="T74" fmla="*/ 90 w 122"/>
                <a:gd name="T75" fmla="*/ 171 h 205"/>
                <a:gd name="T76" fmla="*/ 96 w 122"/>
                <a:gd name="T77" fmla="*/ 175 h 205"/>
                <a:gd name="T78" fmla="*/ 100 w 122"/>
                <a:gd name="T79" fmla="*/ 179 h 205"/>
                <a:gd name="T80" fmla="*/ 114 w 122"/>
                <a:gd name="T81" fmla="*/ 161 h 205"/>
                <a:gd name="T82" fmla="*/ 118 w 122"/>
                <a:gd name="T83" fmla="*/ 143 h 205"/>
                <a:gd name="T84" fmla="*/ 118 w 122"/>
                <a:gd name="T85" fmla="*/ 131 h 205"/>
                <a:gd name="T86" fmla="*/ 122 w 122"/>
                <a:gd name="T87" fmla="*/ 117 h 205"/>
                <a:gd name="T88" fmla="*/ 120 w 122"/>
                <a:gd name="T89" fmla="*/ 111 h 205"/>
                <a:gd name="T90" fmla="*/ 110 w 122"/>
                <a:gd name="T91" fmla="*/ 101 h 205"/>
                <a:gd name="T92" fmla="*/ 106 w 122"/>
                <a:gd name="T93" fmla="*/ 91 h 205"/>
                <a:gd name="T94" fmla="*/ 104 w 122"/>
                <a:gd name="T95" fmla="*/ 91 h 205"/>
                <a:gd name="T96" fmla="*/ 98 w 122"/>
                <a:gd name="T97" fmla="*/ 93 h 205"/>
                <a:gd name="T98" fmla="*/ 98 w 122"/>
                <a:gd name="T99" fmla="*/ 85 h 205"/>
                <a:gd name="T100" fmla="*/ 100 w 122"/>
                <a:gd name="T101" fmla="*/ 79 h 205"/>
                <a:gd name="T102" fmla="*/ 104 w 122"/>
                <a:gd name="T103" fmla="*/ 75 h 205"/>
                <a:gd name="T104" fmla="*/ 110 w 122"/>
                <a:gd name="T105" fmla="*/ 70 h 205"/>
                <a:gd name="T106" fmla="*/ 110 w 122"/>
                <a:gd name="T107" fmla="*/ 54 h 205"/>
                <a:gd name="T108" fmla="*/ 104 w 122"/>
                <a:gd name="T109" fmla="*/ 40 h 205"/>
                <a:gd name="T110" fmla="*/ 118 w 122"/>
                <a:gd name="T111" fmla="*/ 32 h 205"/>
                <a:gd name="T112" fmla="*/ 118 w 122"/>
                <a:gd name="T113" fmla="*/ 32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22" h="205">
                  <a:moveTo>
                    <a:pt x="118" y="32"/>
                  </a:moveTo>
                  <a:lnTo>
                    <a:pt x="118" y="32"/>
                  </a:lnTo>
                  <a:lnTo>
                    <a:pt x="116" y="22"/>
                  </a:lnTo>
                  <a:lnTo>
                    <a:pt x="114" y="18"/>
                  </a:lnTo>
                  <a:lnTo>
                    <a:pt x="112" y="14"/>
                  </a:lnTo>
                  <a:lnTo>
                    <a:pt x="112" y="14"/>
                  </a:lnTo>
                  <a:lnTo>
                    <a:pt x="108" y="10"/>
                  </a:lnTo>
                  <a:lnTo>
                    <a:pt x="106" y="10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2" y="10"/>
                  </a:lnTo>
                  <a:lnTo>
                    <a:pt x="88" y="10"/>
                  </a:lnTo>
                  <a:lnTo>
                    <a:pt x="84" y="6"/>
                  </a:lnTo>
                  <a:lnTo>
                    <a:pt x="84" y="6"/>
                  </a:lnTo>
                  <a:lnTo>
                    <a:pt x="80" y="6"/>
                  </a:lnTo>
                  <a:lnTo>
                    <a:pt x="76" y="6"/>
                  </a:lnTo>
                  <a:lnTo>
                    <a:pt x="74" y="6"/>
                  </a:lnTo>
                  <a:lnTo>
                    <a:pt x="68" y="2"/>
                  </a:lnTo>
                  <a:lnTo>
                    <a:pt x="68" y="2"/>
                  </a:lnTo>
                  <a:lnTo>
                    <a:pt x="66" y="0"/>
                  </a:lnTo>
                  <a:lnTo>
                    <a:pt x="62" y="0"/>
                  </a:lnTo>
                  <a:lnTo>
                    <a:pt x="60" y="2"/>
                  </a:lnTo>
                  <a:lnTo>
                    <a:pt x="58" y="6"/>
                  </a:lnTo>
                  <a:lnTo>
                    <a:pt x="58" y="6"/>
                  </a:lnTo>
                  <a:lnTo>
                    <a:pt x="58" y="8"/>
                  </a:lnTo>
                  <a:lnTo>
                    <a:pt x="58" y="8"/>
                  </a:lnTo>
                  <a:lnTo>
                    <a:pt x="58" y="14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2" y="34"/>
                  </a:lnTo>
                  <a:lnTo>
                    <a:pt x="64" y="36"/>
                  </a:lnTo>
                  <a:lnTo>
                    <a:pt x="66" y="36"/>
                  </a:lnTo>
                  <a:lnTo>
                    <a:pt x="66" y="38"/>
                  </a:lnTo>
                  <a:lnTo>
                    <a:pt x="66" y="38"/>
                  </a:lnTo>
                  <a:lnTo>
                    <a:pt x="66" y="40"/>
                  </a:lnTo>
                  <a:lnTo>
                    <a:pt x="62" y="40"/>
                  </a:lnTo>
                  <a:lnTo>
                    <a:pt x="62" y="40"/>
                  </a:lnTo>
                  <a:lnTo>
                    <a:pt x="60" y="42"/>
                  </a:lnTo>
                  <a:lnTo>
                    <a:pt x="60" y="42"/>
                  </a:lnTo>
                  <a:lnTo>
                    <a:pt x="58" y="56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58" y="77"/>
                  </a:lnTo>
                  <a:lnTo>
                    <a:pt x="58" y="79"/>
                  </a:lnTo>
                  <a:lnTo>
                    <a:pt x="64" y="81"/>
                  </a:lnTo>
                  <a:lnTo>
                    <a:pt x="76" y="81"/>
                  </a:lnTo>
                  <a:lnTo>
                    <a:pt x="76" y="81"/>
                  </a:lnTo>
                  <a:lnTo>
                    <a:pt x="80" y="81"/>
                  </a:lnTo>
                  <a:lnTo>
                    <a:pt x="80" y="83"/>
                  </a:lnTo>
                  <a:lnTo>
                    <a:pt x="80" y="85"/>
                  </a:lnTo>
                  <a:lnTo>
                    <a:pt x="76" y="85"/>
                  </a:lnTo>
                  <a:lnTo>
                    <a:pt x="76" y="85"/>
                  </a:lnTo>
                  <a:lnTo>
                    <a:pt x="72" y="85"/>
                  </a:lnTo>
                  <a:lnTo>
                    <a:pt x="68" y="85"/>
                  </a:lnTo>
                  <a:lnTo>
                    <a:pt x="62" y="85"/>
                  </a:lnTo>
                  <a:lnTo>
                    <a:pt x="60" y="85"/>
                  </a:lnTo>
                  <a:lnTo>
                    <a:pt x="60" y="85"/>
                  </a:lnTo>
                  <a:lnTo>
                    <a:pt x="58" y="89"/>
                  </a:lnTo>
                  <a:lnTo>
                    <a:pt x="54" y="99"/>
                  </a:lnTo>
                  <a:lnTo>
                    <a:pt x="52" y="113"/>
                  </a:lnTo>
                  <a:lnTo>
                    <a:pt x="52" y="113"/>
                  </a:lnTo>
                  <a:lnTo>
                    <a:pt x="52" y="117"/>
                  </a:lnTo>
                  <a:lnTo>
                    <a:pt x="52" y="121"/>
                  </a:lnTo>
                  <a:lnTo>
                    <a:pt x="58" y="123"/>
                  </a:lnTo>
                  <a:lnTo>
                    <a:pt x="58" y="123"/>
                  </a:lnTo>
                  <a:lnTo>
                    <a:pt x="58" y="125"/>
                  </a:lnTo>
                  <a:lnTo>
                    <a:pt x="58" y="127"/>
                  </a:lnTo>
                  <a:lnTo>
                    <a:pt x="54" y="129"/>
                  </a:lnTo>
                  <a:lnTo>
                    <a:pt x="52" y="131"/>
                  </a:lnTo>
                  <a:lnTo>
                    <a:pt x="52" y="131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0" y="133"/>
                  </a:lnTo>
                  <a:lnTo>
                    <a:pt x="44" y="131"/>
                  </a:lnTo>
                  <a:lnTo>
                    <a:pt x="44" y="131"/>
                  </a:lnTo>
                  <a:lnTo>
                    <a:pt x="42" y="131"/>
                  </a:lnTo>
                  <a:lnTo>
                    <a:pt x="40" y="133"/>
                  </a:lnTo>
                  <a:lnTo>
                    <a:pt x="38" y="135"/>
                  </a:lnTo>
                  <a:lnTo>
                    <a:pt x="38" y="135"/>
                  </a:lnTo>
                  <a:lnTo>
                    <a:pt x="38" y="135"/>
                  </a:lnTo>
                  <a:lnTo>
                    <a:pt x="36" y="135"/>
                  </a:lnTo>
                  <a:lnTo>
                    <a:pt x="30" y="133"/>
                  </a:lnTo>
                  <a:lnTo>
                    <a:pt x="30" y="133"/>
                  </a:lnTo>
                  <a:lnTo>
                    <a:pt x="26" y="129"/>
                  </a:lnTo>
                  <a:lnTo>
                    <a:pt x="22" y="129"/>
                  </a:lnTo>
                  <a:lnTo>
                    <a:pt x="18" y="129"/>
                  </a:lnTo>
                  <a:lnTo>
                    <a:pt x="22" y="143"/>
                  </a:lnTo>
                  <a:lnTo>
                    <a:pt x="20" y="147"/>
                  </a:lnTo>
                  <a:lnTo>
                    <a:pt x="28" y="157"/>
                  </a:lnTo>
                  <a:lnTo>
                    <a:pt x="0" y="171"/>
                  </a:lnTo>
                  <a:lnTo>
                    <a:pt x="16" y="181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20" y="193"/>
                  </a:lnTo>
                  <a:lnTo>
                    <a:pt x="20" y="193"/>
                  </a:lnTo>
                  <a:lnTo>
                    <a:pt x="24" y="195"/>
                  </a:lnTo>
                  <a:lnTo>
                    <a:pt x="34" y="197"/>
                  </a:lnTo>
                  <a:lnTo>
                    <a:pt x="40" y="201"/>
                  </a:lnTo>
                  <a:lnTo>
                    <a:pt x="44" y="201"/>
                  </a:lnTo>
                  <a:lnTo>
                    <a:pt x="44" y="201"/>
                  </a:lnTo>
                  <a:lnTo>
                    <a:pt x="52" y="201"/>
                  </a:lnTo>
                  <a:lnTo>
                    <a:pt x="62" y="203"/>
                  </a:lnTo>
                  <a:lnTo>
                    <a:pt x="80" y="205"/>
                  </a:lnTo>
                  <a:lnTo>
                    <a:pt x="80" y="205"/>
                  </a:lnTo>
                  <a:lnTo>
                    <a:pt x="86" y="205"/>
                  </a:lnTo>
                  <a:lnTo>
                    <a:pt x="92" y="203"/>
                  </a:lnTo>
                  <a:lnTo>
                    <a:pt x="96" y="199"/>
                  </a:lnTo>
                  <a:lnTo>
                    <a:pt x="96" y="199"/>
                  </a:lnTo>
                  <a:lnTo>
                    <a:pt x="92" y="185"/>
                  </a:lnTo>
                  <a:lnTo>
                    <a:pt x="88" y="175"/>
                  </a:lnTo>
                  <a:lnTo>
                    <a:pt x="88" y="171"/>
                  </a:lnTo>
                  <a:lnTo>
                    <a:pt x="90" y="171"/>
                  </a:lnTo>
                  <a:lnTo>
                    <a:pt x="90" y="171"/>
                  </a:lnTo>
                  <a:lnTo>
                    <a:pt x="92" y="171"/>
                  </a:lnTo>
                  <a:lnTo>
                    <a:pt x="92" y="171"/>
                  </a:lnTo>
                  <a:lnTo>
                    <a:pt x="96" y="175"/>
                  </a:lnTo>
                  <a:lnTo>
                    <a:pt x="98" y="177"/>
                  </a:lnTo>
                  <a:lnTo>
                    <a:pt x="100" y="179"/>
                  </a:lnTo>
                  <a:lnTo>
                    <a:pt x="100" y="179"/>
                  </a:lnTo>
                  <a:lnTo>
                    <a:pt x="110" y="181"/>
                  </a:lnTo>
                  <a:lnTo>
                    <a:pt x="110" y="181"/>
                  </a:lnTo>
                  <a:lnTo>
                    <a:pt x="114" y="161"/>
                  </a:lnTo>
                  <a:lnTo>
                    <a:pt x="118" y="149"/>
                  </a:lnTo>
                  <a:lnTo>
                    <a:pt x="118" y="143"/>
                  </a:lnTo>
                  <a:lnTo>
                    <a:pt x="118" y="143"/>
                  </a:lnTo>
                  <a:lnTo>
                    <a:pt x="118" y="135"/>
                  </a:lnTo>
                  <a:lnTo>
                    <a:pt x="118" y="133"/>
                  </a:lnTo>
                  <a:lnTo>
                    <a:pt x="118" y="131"/>
                  </a:lnTo>
                  <a:lnTo>
                    <a:pt x="118" y="131"/>
                  </a:lnTo>
                  <a:lnTo>
                    <a:pt x="120" y="123"/>
                  </a:lnTo>
                  <a:lnTo>
                    <a:pt x="122" y="117"/>
                  </a:lnTo>
                  <a:lnTo>
                    <a:pt x="120" y="115"/>
                  </a:lnTo>
                  <a:lnTo>
                    <a:pt x="120" y="115"/>
                  </a:lnTo>
                  <a:lnTo>
                    <a:pt x="120" y="111"/>
                  </a:lnTo>
                  <a:lnTo>
                    <a:pt x="116" y="107"/>
                  </a:lnTo>
                  <a:lnTo>
                    <a:pt x="112" y="105"/>
                  </a:lnTo>
                  <a:lnTo>
                    <a:pt x="110" y="101"/>
                  </a:lnTo>
                  <a:lnTo>
                    <a:pt x="110" y="101"/>
                  </a:lnTo>
                  <a:lnTo>
                    <a:pt x="108" y="93"/>
                  </a:lnTo>
                  <a:lnTo>
                    <a:pt x="106" y="91"/>
                  </a:lnTo>
                  <a:lnTo>
                    <a:pt x="106" y="91"/>
                  </a:lnTo>
                  <a:lnTo>
                    <a:pt x="106" y="91"/>
                  </a:lnTo>
                  <a:lnTo>
                    <a:pt x="104" y="91"/>
                  </a:lnTo>
                  <a:lnTo>
                    <a:pt x="100" y="93"/>
                  </a:lnTo>
                  <a:lnTo>
                    <a:pt x="98" y="93"/>
                  </a:lnTo>
                  <a:lnTo>
                    <a:pt x="98" y="93"/>
                  </a:lnTo>
                  <a:lnTo>
                    <a:pt x="98" y="89"/>
                  </a:lnTo>
                  <a:lnTo>
                    <a:pt x="98" y="85"/>
                  </a:lnTo>
                  <a:lnTo>
                    <a:pt x="98" y="85"/>
                  </a:lnTo>
                  <a:lnTo>
                    <a:pt x="100" y="83"/>
                  </a:lnTo>
                  <a:lnTo>
                    <a:pt x="100" y="83"/>
                  </a:lnTo>
                  <a:lnTo>
                    <a:pt x="100" y="79"/>
                  </a:lnTo>
                  <a:lnTo>
                    <a:pt x="100" y="77"/>
                  </a:lnTo>
                  <a:lnTo>
                    <a:pt x="104" y="75"/>
                  </a:lnTo>
                  <a:lnTo>
                    <a:pt x="104" y="75"/>
                  </a:lnTo>
                  <a:lnTo>
                    <a:pt x="108" y="75"/>
                  </a:lnTo>
                  <a:lnTo>
                    <a:pt x="108" y="75"/>
                  </a:lnTo>
                  <a:lnTo>
                    <a:pt x="110" y="70"/>
                  </a:lnTo>
                  <a:lnTo>
                    <a:pt x="114" y="66"/>
                  </a:lnTo>
                  <a:lnTo>
                    <a:pt x="114" y="66"/>
                  </a:lnTo>
                  <a:lnTo>
                    <a:pt x="110" y="54"/>
                  </a:lnTo>
                  <a:lnTo>
                    <a:pt x="106" y="44"/>
                  </a:lnTo>
                  <a:lnTo>
                    <a:pt x="104" y="42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18" y="34"/>
                  </a:lnTo>
                  <a:lnTo>
                    <a:pt x="118" y="32"/>
                  </a:lnTo>
                  <a:lnTo>
                    <a:pt x="118" y="32"/>
                  </a:lnTo>
                  <a:lnTo>
                    <a:pt x="118" y="32"/>
                  </a:lnTo>
                  <a:lnTo>
                    <a:pt x="118" y="32"/>
                  </a:lnTo>
                  <a:lnTo>
                    <a:pt x="118" y="32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80" name="Freeform 39"/>
            <p:cNvSpPr>
              <a:spLocks/>
            </p:cNvSpPr>
            <p:nvPr/>
          </p:nvSpPr>
          <p:spPr bwMode="auto">
            <a:xfrm>
              <a:off x="903" y="2653"/>
              <a:ext cx="155" cy="223"/>
            </a:xfrm>
            <a:custGeom>
              <a:avLst/>
              <a:gdLst>
                <a:gd name="T0" fmla="*/ 135 w 155"/>
                <a:gd name="T1" fmla="*/ 16 h 223"/>
                <a:gd name="T2" fmla="*/ 119 w 155"/>
                <a:gd name="T3" fmla="*/ 0 h 223"/>
                <a:gd name="T4" fmla="*/ 94 w 155"/>
                <a:gd name="T5" fmla="*/ 2 h 223"/>
                <a:gd name="T6" fmla="*/ 84 w 155"/>
                <a:gd name="T7" fmla="*/ 16 h 223"/>
                <a:gd name="T8" fmla="*/ 84 w 155"/>
                <a:gd name="T9" fmla="*/ 26 h 223"/>
                <a:gd name="T10" fmla="*/ 78 w 155"/>
                <a:gd name="T11" fmla="*/ 42 h 223"/>
                <a:gd name="T12" fmla="*/ 84 w 155"/>
                <a:gd name="T13" fmla="*/ 56 h 223"/>
                <a:gd name="T14" fmla="*/ 86 w 155"/>
                <a:gd name="T15" fmla="*/ 60 h 223"/>
                <a:gd name="T16" fmla="*/ 102 w 155"/>
                <a:gd name="T17" fmla="*/ 64 h 223"/>
                <a:gd name="T18" fmla="*/ 98 w 155"/>
                <a:gd name="T19" fmla="*/ 78 h 223"/>
                <a:gd name="T20" fmla="*/ 84 w 155"/>
                <a:gd name="T21" fmla="*/ 80 h 223"/>
                <a:gd name="T22" fmla="*/ 68 w 155"/>
                <a:gd name="T23" fmla="*/ 94 h 223"/>
                <a:gd name="T24" fmla="*/ 64 w 155"/>
                <a:gd name="T25" fmla="*/ 104 h 223"/>
                <a:gd name="T26" fmla="*/ 56 w 155"/>
                <a:gd name="T27" fmla="*/ 106 h 223"/>
                <a:gd name="T28" fmla="*/ 48 w 155"/>
                <a:gd name="T29" fmla="*/ 102 h 223"/>
                <a:gd name="T30" fmla="*/ 42 w 155"/>
                <a:gd name="T31" fmla="*/ 104 h 223"/>
                <a:gd name="T32" fmla="*/ 30 w 155"/>
                <a:gd name="T33" fmla="*/ 106 h 223"/>
                <a:gd name="T34" fmla="*/ 14 w 155"/>
                <a:gd name="T35" fmla="*/ 108 h 223"/>
                <a:gd name="T36" fmla="*/ 8 w 155"/>
                <a:gd name="T37" fmla="*/ 110 h 223"/>
                <a:gd name="T38" fmla="*/ 0 w 155"/>
                <a:gd name="T39" fmla="*/ 110 h 223"/>
                <a:gd name="T40" fmla="*/ 10 w 155"/>
                <a:gd name="T41" fmla="*/ 144 h 223"/>
                <a:gd name="T42" fmla="*/ 20 w 155"/>
                <a:gd name="T43" fmla="*/ 167 h 223"/>
                <a:gd name="T44" fmla="*/ 18 w 155"/>
                <a:gd name="T45" fmla="*/ 183 h 223"/>
                <a:gd name="T46" fmla="*/ 18 w 155"/>
                <a:gd name="T47" fmla="*/ 199 h 223"/>
                <a:gd name="T48" fmla="*/ 24 w 155"/>
                <a:gd name="T49" fmla="*/ 215 h 223"/>
                <a:gd name="T50" fmla="*/ 32 w 155"/>
                <a:gd name="T51" fmla="*/ 223 h 223"/>
                <a:gd name="T52" fmla="*/ 46 w 155"/>
                <a:gd name="T53" fmla="*/ 219 h 223"/>
                <a:gd name="T54" fmla="*/ 78 w 155"/>
                <a:gd name="T55" fmla="*/ 221 h 223"/>
                <a:gd name="T56" fmla="*/ 78 w 155"/>
                <a:gd name="T57" fmla="*/ 213 h 223"/>
                <a:gd name="T58" fmla="*/ 84 w 155"/>
                <a:gd name="T59" fmla="*/ 195 h 223"/>
                <a:gd name="T60" fmla="*/ 84 w 155"/>
                <a:gd name="T61" fmla="*/ 169 h 223"/>
                <a:gd name="T62" fmla="*/ 86 w 155"/>
                <a:gd name="T63" fmla="*/ 153 h 223"/>
                <a:gd name="T64" fmla="*/ 92 w 155"/>
                <a:gd name="T65" fmla="*/ 140 h 223"/>
                <a:gd name="T66" fmla="*/ 98 w 155"/>
                <a:gd name="T67" fmla="*/ 130 h 223"/>
                <a:gd name="T68" fmla="*/ 107 w 155"/>
                <a:gd name="T69" fmla="*/ 124 h 223"/>
                <a:gd name="T70" fmla="*/ 123 w 155"/>
                <a:gd name="T71" fmla="*/ 110 h 223"/>
                <a:gd name="T72" fmla="*/ 133 w 155"/>
                <a:gd name="T73" fmla="*/ 84 h 223"/>
                <a:gd name="T74" fmla="*/ 135 w 155"/>
                <a:gd name="T75" fmla="*/ 66 h 223"/>
                <a:gd name="T76" fmla="*/ 141 w 155"/>
                <a:gd name="T77" fmla="*/ 54 h 223"/>
                <a:gd name="T78" fmla="*/ 155 w 155"/>
                <a:gd name="T79" fmla="*/ 54 h 223"/>
                <a:gd name="T80" fmla="*/ 151 w 155"/>
                <a:gd name="T81" fmla="*/ 46 h 223"/>
                <a:gd name="T82" fmla="*/ 137 w 155"/>
                <a:gd name="T83" fmla="*/ 22 h 223"/>
                <a:gd name="T84" fmla="*/ 137 w 155"/>
                <a:gd name="T85" fmla="*/ 22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5" h="223">
                  <a:moveTo>
                    <a:pt x="137" y="22"/>
                  </a:moveTo>
                  <a:lnTo>
                    <a:pt x="137" y="22"/>
                  </a:lnTo>
                  <a:lnTo>
                    <a:pt x="135" y="16"/>
                  </a:lnTo>
                  <a:lnTo>
                    <a:pt x="131" y="8"/>
                  </a:lnTo>
                  <a:lnTo>
                    <a:pt x="121" y="0"/>
                  </a:lnTo>
                  <a:lnTo>
                    <a:pt x="119" y="0"/>
                  </a:lnTo>
                  <a:lnTo>
                    <a:pt x="111" y="4"/>
                  </a:lnTo>
                  <a:lnTo>
                    <a:pt x="98" y="8"/>
                  </a:lnTo>
                  <a:lnTo>
                    <a:pt x="94" y="2"/>
                  </a:lnTo>
                  <a:lnTo>
                    <a:pt x="86" y="8"/>
                  </a:lnTo>
                  <a:lnTo>
                    <a:pt x="92" y="16"/>
                  </a:lnTo>
                  <a:lnTo>
                    <a:pt x="84" y="16"/>
                  </a:lnTo>
                  <a:lnTo>
                    <a:pt x="76" y="12"/>
                  </a:lnTo>
                  <a:lnTo>
                    <a:pt x="72" y="12"/>
                  </a:lnTo>
                  <a:lnTo>
                    <a:pt x="84" y="26"/>
                  </a:lnTo>
                  <a:lnTo>
                    <a:pt x="72" y="34"/>
                  </a:lnTo>
                  <a:lnTo>
                    <a:pt x="76" y="34"/>
                  </a:lnTo>
                  <a:lnTo>
                    <a:pt x="78" y="42"/>
                  </a:lnTo>
                  <a:lnTo>
                    <a:pt x="86" y="50"/>
                  </a:lnTo>
                  <a:lnTo>
                    <a:pt x="86" y="50"/>
                  </a:lnTo>
                  <a:lnTo>
                    <a:pt x="84" y="56"/>
                  </a:lnTo>
                  <a:lnTo>
                    <a:pt x="84" y="58"/>
                  </a:lnTo>
                  <a:lnTo>
                    <a:pt x="86" y="60"/>
                  </a:lnTo>
                  <a:lnTo>
                    <a:pt x="86" y="60"/>
                  </a:lnTo>
                  <a:lnTo>
                    <a:pt x="94" y="62"/>
                  </a:lnTo>
                  <a:lnTo>
                    <a:pt x="98" y="60"/>
                  </a:lnTo>
                  <a:lnTo>
                    <a:pt x="102" y="64"/>
                  </a:lnTo>
                  <a:lnTo>
                    <a:pt x="98" y="72"/>
                  </a:lnTo>
                  <a:lnTo>
                    <a:pt x="98" y="78"/>
                  </a:lnTo>
                  <a:lnTo>
                    <a:pt x="98" y="78"/>
                  </a:lnTo>
                  <a:lnTo>
                    <a:pt x="90" y="78"/>
                  </a:lnTo>
                  <a:lnTo>
                    <a:pt x="86" y="78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72" y="88"/>
                  </a:lnTo>
                  <a:lnTo>
                    <a:pt x="68" y="94"/>
                  </a:lnTo>
                  <a:lnTo>
                    <a:pt x="66" y="100"/>
                  </a:lnTo>
                  <a:lnTo>
                    <a:pt x="66" y="100"/>
                  </a:lnTo>
                  <a:lnTo>
                    <a:pt x="64" y="104"/>
                  </a:lnTo>
                  <a:lnTo>
                    <a:pt x="62" y="106"/>
                  </a:lnTo>
                  <a:lnTo>
                    <a:pt x="56" y="106"/>
                  </a:lnTo>
                  <a:lnTo>
                    <a:pt x="56" y="106"/>
                  </a:lnTo>
                  <a:lnTo>
                    <a:pt x="54" y="102"/>
                  </a:lnTo>
                  <a:lnTo>
                    <a:pt x="52" y="102"/>
                  </a:lnTo>
                  <a:lnTo>
                    <a:pt x="48" y="102"/>
                  </a:lnTo>
                  <a:lnTo>
                    <a:pt x="48" y="102"/>
                  </a:lnTo>
                  <a:lnTo>
                    <a:pt x="46" y="102"/>
                  </a:lnTo>
                  <a:lnTo>
                    <a:pt x="42" y="104"/>
                  </a:lnTo>
                  <a:lnTo>
                    <a:pt x="38" y="106"/>
                  </a:lnTo>
                  <a:lnTo>
                    <a:pt x="38" y="106"/>
                  </a:lnTo>
                  <a:lnTo>
                    <a:pt x="30" y="106"/>
                  </a:lnTo>
                  <a:lnTo>
                    <a:pt x="22" y="108"/>
                  </a:lnTo>
                  <a:lnTo>
                    <a:pt x="14" y="108"/>
                  </a:lnTo>
                  <a:lnTo>
                    <a:pt x="14" y="108"/>
                  </a:lnTo>
                  <a:lnTo>
                    <a:pt x="10" y="110"/>
                  </a:lnTo>
                  <a:lnTo>
                    <a:pt x="8" y="110"/>
                  </a:lnTo>
                  <a:lnTo>
                    <a:pt x="8" y="110"/>
                  </a:lnTo>
                  <a:lnTo>
                    <a:pt x="4" y="110"/>
                  </a:lnTo>
                  <a:lnTo>
                    <a:pt x="2" y="110"/>
                  </a:lnTo>
                  <a:lnTo>
                    <a:pt x="0" y="110"/>
                  </a:lnTo>
                  <a:lnTo>
                    <a:pt x="0" y="110"/>
                  </a:lnTo>
                  <a:lnTo>
                    <a:pt x="4" y="128"/>
                  </a:lnTo>
                  <a:lnTo>
                    <a:pt x="10" y="144"/>
                  </a:lnTo>
                  <a:lnTo>
                    <a:pt x="10" y="144"/>
                  </a:lnTo>
                  <a:lnTo>
                    <a:pt x="18" y="155"/>
                  </a:lnTo>
                  <a:lnTo>
                    <a:pt x="20" y="167"/>
                  </a:lnTo>
                  <a:lnTo>
                    <a:pt x="20" y="167"/>
                  </a:lnTo>
                  <a:lnTo>
                    <a:pt x="20" y="173"/>
                  </a:lnTo>
                  <a:lnTo>
                    <a:pt x="18" y="183"/>
                  </a:lnTo>
                  <a:lnTo>
                    <a:pt x="16" y="191"/>
                  </a:lnTo>
                  <a:lnTo>
                    <a:pt x="16" y="197"/>
                  </a:lnTo>
                  <a:lnTo>
                    <a:pt x="18" y="199"/>
                  </a:lnTo>
                  <a:lnTo>
                    <a:pt x="18" y="199"/>
                  </a:lnTo>
                  <a:lnTo>
                    <a:pt x="20" y="207"/>
                  </a:lnTo>
                  <a:lnTo>
                    <a:pt x="24" y="215"/>
                  </a:lnTo>
                  <a:lnTo>
                    <a:pt x="30" y="221"/>
                  </a:lnTo>
                  <a:lnTo>
                    <a:pt x="30" y="223"/>
                  </a:lnTo>
                  <a:lnTo>
                    <a:pt x="32" y="223"/>
                  </a:lnTo>
                  <a:lnTo>
                    <a:pt x="32" y="223"/>
                  </a:lnTo>
                  <a:lnTo>
                    <a:pt x="40" y="221"/>
                  </a:lnTo>
                  <a:lnTo>
                    <a:pt x="46" y="219"/>
                  </a:lnTo>
                  <a:lnTo>
                    <a:pt x="46" y="219"/>
                  </a:lnTo>
                  <a:lnTo>
                    <a:pt x="62" y="221"/>
                  </a:lnTo>
                  <a:lnTo>
                    <a:pt x="78" y="221"/>
                  </a:lnTo>
                  <a:lnTo>
                    <a:pt x="78" y="221"/>
                  </a:lnTo>
                  <a:lnTo>
                    <a:pt x="78" y="213"/>
                  </a:lnTo>
                  <a:lnTo>
                    <a:pt x="78" y="213"/>
                  </a:lnTo>
                  <a:lnTo>
                    <a:pt x="80" y="205"/>
                  </a:lnTo>
                  <a:lnTo>
                    <a:pt x="80" y="199"/>
                  </a:lnTo>
                  <a:lnTo>
                    <a:pt x="84" y="195"/>
                  </a:lnTo>
                  <a:lnTo>
                    <a:pt x="84" y="189"/>
                  </a:lnTo>
                  <a:lnTo>
                    <a:pt x="84" y="189"/>
                  </a:lnTo>
                  <a:lnTo>
                    <a:pt x="84" y="169"/>
                  </a:lnTo>
                  <a:lnTo>
                    <a:pt x="86" y="159"/>
                  </a:lnTo>
                  <a:lnTo>
                    <a:pt x="86" y="155"/>
                  </a:lnTo>
                  <a:lnTo>
                    <a:pt x="86" y="153"/>
                  </a:lnTo>
                  <a:lnTo>
                    <a:pt x="86" y="153"/>
                  </a:lnTo>
                  <a:lnTo>
                    <a:pt x="90" y="149"/>
                  </a:lnTo>
                  <a:lnTo>
                    <a:pt x="92" y="140"/>
                  </a:lnTo>
                  <a:lnTo>
                    <a:pt x="94" y="134"/>
                  </a:lnTo>
                  <a:lnTo>
                    <a:pt x="98" y="132"/>
                  </a:lnTo>
                  <a:lnTo>
                    <a:pt x="98" y="130"/>
                  </a:lnTo>
                  <a:lnTo>
                    <a:pt x="98" y="130"/>
                  </a:lnTo>
                  <a:lnTo>
                    <a:pt x="102" y="128"/>
                  </a:lnTo>
                  <a:lnTo>
                    <a:pt x="107" y="124"/>
                  </a:lnTo>
                  <a:lnTo>
                    <a:pt x="117" y="114"/>
                  </a:lnTo>
                  <a:lnTo>
                    <a:pt x="117" y="114"/>
                  </a:lnTo>
                  <a:lnTo>
                    <a:pt x="123" y="110"/>
                  </a:lnTo>
                  <a:lnTo>
                    <a:pt x="127" y="102"/>
                  </a:lnTo>
                  <a:lnTo>
                    <a:pt x="131" y="90"/>
                  </a:lnTo>
                  <a:lnTo>
                    <a:pt x="133" y="84"/>
                  </a:lnTo>
                  <a:lnTo>
                    <a:pt x="133" y="84"/>
                  </a:lnTo>
                  <a:lnTo>
                    <a:pt x="133" y="76"/>
                  </a:lnTo>
                  <a:lnTo>
                    <a:pt x="135" y="66"/>
                  </a:lnTo>
                  <a:lnTo>
                    <a:pt x="137" y="58"/>
                  </a:lnTo>
                  <a:lnTo>
                    <a:pt x="141" y="56"/>
                  </a:lnTo>
                  <a:lnTo>
                    <a:pt x="141" y="54"/>
                  </a:lnTo>
                  <a:lnTo>
                    <a:pt x="141" y="54"/>
                  </a:lnTo>
                  <a:lnTo>
                    <a:pt x="147" y="54"/>
                  </a:lnTo>
                  <a:lnTo>
                    <a:pt x="155" y="54"/>
                  </a:lnTo>
                  <a:lnTo>
                    <a:pt x="155" y="54"/>
                  </a:lnTo>
                  <a:lnTo>
                    <a:pt x="153" y="48"/>
                  </a:lnTo>
                  <a:lnTo>
                    <a:pt x="151" y="46"/>
                  </a:lnTo>
                  <a:lnTo>
                    <a:pt x="151" y="46"/>
                  </a:lnTo>
                  <a:lnTo>
                    <a:pt x="145" y="34"/>
                  </a:lnTo>
                  <a:lnTo>
                    <a:pt x="137" y="22"/>
                  </a:lnTo>
                  <a:lnTo>
                    <a:pt x="137" y="22"/>
                  </a:lnTo>
                  <a:lnTo>
                    <a:pt x="137" y="22"/>
                  </a:lnTo>
                  <a:lnTo>
                    <a:pt x="137" y="22"/>
                  </a:lnTo>
                  <a:lnTo>
                    <a:pt x="137" y="22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81" name="Freeform 40"/>
            <p:cNvSpPr>
              <a:spLocks/>
            </p:cNvSpPr>
            <p:nvPr/>
          </p:nvSpPr>
          <p:spPr bwMode="auto">
            <a:xfrm>
              <a:off x="1058" y="2295"/>
              <a:ext cx="239" cy="233"/>
            </a:xfrm>
            <a:custGeom>
              <a:avLst/>
              <a:gdLst>
                <a:gd name="T0" fmla="*/ 239 w 239"/>
                <a:gd name="T1" fmla="*/ 177 h 233"/>
                <a:gd name="T2" fmla="*/ 227 w 239"/>
                <a:gd name="T3" fmla="*/ 151 h 233"/>
                <a:gd name="T4" fmla="*/ 201 w 239"/>
                <a:gd name="T5" fmla="*/ 123 h 233"/>
                <a:gd name="T6" fmla="*/ 195 w 239"/>
                <a:gd name="T7" fmla="*/ 119 h 233"/>
                <a:gd name="T8" fmla="*/ 205 w 239"/>
                <a:gd name="T9" fmla="*/ 109 h 233"/>
                <a:gd name="T10" fmla="*/ 211 w 239"/>
                <a:gd name="T11" fmla="*/ 91 h 233"/>
                <a:gd name="T12" fmla="*/ 197 w 239"/>
                <a:gd name="T13" fmla="*/ 69 h 233"/>
                <a:gd name="T14" fmla="*/ 189 w 239"/>
                <a:gd name="T15" fmla="*/ 63 h 233"/>
                <a:gd name="T16" fmla="*/ 187 w 239"/>
                <a:gd name="T17" fmla="*/ 55 h 233"/>
                <a:gd name="T18" fmla="*/ 164 w 239"/>
                <a:gd name="T19" fmla="*/ 49 h 233"/>
                <a:gd name="T20" fmla="*/ 158 w 239"/>
                <a:gd name="T21" fmla="*/ 24 h 233"/>
                <a:gd name="T22" fmla="*/ 144 w 239"/>
                <a:gd name="T23" fmla="*/ 10 h 233"/>
                <a:gd name="T24" fmla="*/ 134 w 239"/>
                <a:gd name="T25" fmla="*/ 2 h 233"/>
                <a:gd name="T26" fmla="*/ 116 w 239"/>
                <a:gd name="T27" fmla="*/ 2 h 233"/>
                <a:gd name="T28" fmla="*/ 104 w 239"/>
                <a:gd name="T29" fmla="*/ 0 h 233"/>
                <a:gd name="T30" fmla="*/ 102 w 239"/>
                <a:gd name="T31" fmla="*/ 12 h 233"/>
                <a:gd name="T32" fmla="*/ 94 w 239"/>
                <a:gd name="T33" fmla="*/ 16 h 233"/>
                <a:gd name="T34" fmla="*/ 90 w 239"/>
                <a:gd name="T35" fmla="*/ 26 h 233"/>
                <a:gd name="T36" fmla="*/ 78 w 239"/>
                <a:gd name="T37" fmla="*/ 26 h 233"/>
                <a:gd name="T38" fmla="*/ 78 w 239"/>
                <a:gd name="T39" fmla="*/ 40 h 233"/>
                <a:gd name="T40" fmla="*/ 78 w 239"/>
                <a:gd name="T41" fmla="*/ 63 h 233"/>
                <a:gd name="T42" fmla="*/ 54 w 239"/>
                <a:gd name="T43" fmla="*/ 81 h 233"/>
                <a:gd name="T44" fmla="*/ 54 w 239"/>
                <a:gd name="T45" fmla="*/ 97 h 233"/>
                <a:gd name="T46" fmla="*/ 58 w 239"/>
                <a:gd name="T47" fmla="*/ 107 h 233"/>
                <a:gd name="T48" fmla="*/ 42 w 239"/>
                <a:gd name="T49" fmla="*/ 125 h 233"/>
                <a:gd name="T50" fmla="*/ 26 w 239"/>
                <a:gd name="T51" fmla="*/ 119 h 233"/>
                <a:gd name="T52" fmla="*/ 14 w 239"/>
                <a:gd name="T53" fmla="*/ 119 h 233"/>
                <a:gd name="T54" fmla="*/ 10 w 239"/>
                <a:gd name="T55" fmla="*/ 119 h 233"/>
                <a:gd name="T56" fmla="*/ 6 w 239"/>
                <a:gd name="T57" fmla="*/ 123 h 233"/>
                <a:gd name="T58" fmla="*/ 0 w 239"/>
                <a:gd name="T59" fmla="*/ 127 h 233"/>
                <a:gd name="T60" fmla="*/ 4 w 239"/>
                <a:gd name="T61" fmla="*/ 131 h 233"/>
                <a:gd name="T62" fmla="*/ 10 w 239"/>
                <a:gd name="T63" fmla="*/ 151 h 233"/>
                <a:gd name="T64" fmla="*/ 2 w 239"/>
                <a:gd name="T65" fmla="*/ 167 h 233"/>
                <a:gd name="T66" fmla="*/ 4 w 239"/>
                <a:gd name="T67" fmla="*/ 173 h 233"/>
                <a:gd name="T68" fmla="*/ 6 w 239"/>
                <a:gd name="T69" fmla="*/ 187 h 233"/>
                <a:gd name="T70" fmla="*/ 14 w 239"/>
                <a:gd name="T71" fmla="*/ 197 h 233"/>
                <a:gd name="T72" fmla="*/ 28 w 239"/>
                <a:gd name="T73" fmla="*/ 191 h 233"/>
                <a:gd name="T74" fmla="*/ 42 w 239"/>
                <a:gd name="T75" fmla="*/ 193 h 233"/>
                <a:gd name="T76" fmla="*/ 46 w 239"/>
                <a:gd name="T77" fmla="*/ 191 h 233"/>
                <a:gd name="T78" fmla="*/ 56 w 239"/>
                <a:gd name="T79" fmla="*/ 199 h 233"/>
                <a:gd name="T80" fmla="*/ 60 w 239"/>
                <a:gd name="T81" fmla="*/ 193 h 233"/>
                <a:gd name="T82" fmla="*/ 70 w 239"/>
                <a:gd name="T83" fmla="*/ 187 h 233"/>
                <a:gd name="T84" fmla="*/ 70 w 239"/>
                <a:gd name="T85" fmla="*/ 199 h 233"/>
                <a:gd name="T86" fmla="*/ 72 w 239"/>
                <a:gd name="T87" fmla="*/ 207 h 233"/>
                <a:gd name="T88" fmla="*/ 78 w 239"/>
                <a:gd name="T89" fmla="*/ 207 h 233"/>
                <a:gd name="T90" fmla="*/ 88 w 239"/>
                <a:gd name="T91" fmla="*/ 205 h 233"/>
                <a:gd name="T92" fmla="*/ 96 w 239"/>
                <a:gd name="T93" fmla="*/ 199 h 233"/>
                <a:gd name="T94" fmla="*/ 106 w 239"/>
                <a:gd name="T95" fmla="*/ 205 h 233"/>
                <a:gd name="T96" fmla="*/ 118 w 239"/>
                <a:gd name="T97" fmla="*/ 209 h 233"/>
                <a:gd name="T98" fmla="*/ 136 w 239"/>
                <a:gd name="T99" fmla="*/ 209 h 233"/>
                <a:gd name="T100" fmla="*/ 144 w 239"/>
                <a:gd name="T101" fmla="*/ 217 h 233"/>
                <a:gd name="T102" fmla="*/ 150 w 239"/>
                <a:gd name="T103" fmla="*/ 233 h 233"/>
                <a:gd name="T104" fmla="*/ 164 w 239"/>
                <a:gd name="T105" fmla="*/ 229 h 233"/>
                <a:gd name="T106" fmla="*/ 181 w 239"/>
                <a:gd name="T107" fmla="*/ 225 h 233"/>
                <a:gd name="T108" fmla="*/ 179 w 239"/>
                <a:gd name="T109" fmla="*/ 211 h 233"/>
                <a:gd name="T110" fmla="*/ 193 w 239"/>
                <a:gd name="T111" fmla="*/ 205 h 233"/>
                <a:gd name="T112" fmla="*/ 209 w 239"/>
                <a:gd name="T113" fmla="*/ 193 h 233"/>
                <a:gd name="T114" fmla="*/ 227 w 239"/>
                <a:gd name="T115" fmla="*/ 195 h 233"/>
                <a:gd name="T116" fmla="*/ 235 w 239"/>
                <a:gd name="T117" fmla="*/ 187 h 233"/>
                <a:gd name="T118" fmla="*/ 239 w 239"/>
                <a:gd name="T119" fmla="*/ 179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39" h="233">
                  <a:moveTo>
                    <a:pt x="239" y="179"/>
                  </a:moveTo>
                  <a:lnTo>
                    <a:pt x="239" y="179"/>
                  </a:lnTo>
                  <a:lnTo>
                    <a:pt x="239" y="179"/>
                  </a:lnTo>
                  <a:lnTo>
                    <a:pt x="239" y="177"/>
                  </a:lnTo>
                  <a:lnTo>
                    <a:pt x="239" y="173"/>
                  </a:lnTo>
                  <a:lnTo>
                    <a:pt x="235" y="167"/>
                  </a:lnTo>
                  <a:lnTo>
                    <a:pt x="235" y="151"/>
                  </a:lnTo>
                  <a:lnTo>
                    <a:pt x="227" y="151"/>
                  </a:lnTo>
                  <a:lnTo>
                    <a:pt x="215" y="145"/>
                  </a:lnTo>
                  <a:lnTo>
                    <a:pt x="219" y="137"/>
                  </a:lnTo>
                  <a:lnTo>
                    <a:pt x="211" y="127"/>
                  </a:lnTo>
                  <a:lnTo>
                    <a:pt x="201" y="123"/>
                  </a:lnTo>
                  <a:lnTo>
                    <a:pt x="201" y="123"/>
                  </a:lnTo>
                  <a:lnTo>
                    <a:pt x="197" y="123"/>
                  </a:lnTo>
                  <a:lnTo>
                    <a:pt x="195" y="119"/>
                  </a:lnTo>
                  <a:lnTo>
                    <a:pt x="195" y="119"/>
                  </a:lnTo>
                  <a:lnTo>
                    <a:pt x="197" y="117"/>
                  </a:lnTo>
                  <a:lnTo>
                    <a:pt x="197" y="117"/>
                  </a:lnTo>
                  <a:lnTo>
                    <a:pt x="203" y="115"/>
                  </a:lnTo>
                  <a:lnTo>
                    <a:pt x="205" y="109"/>
                  </a:lnTo>
                  <a:lnTo>
                    <a:pt x="209" y="103"/>
                  </a:lnTo>
                  <a:lnTo>
                    <a:pt x="209" y="103"/>
                  </a:lnTo>
                  <a:lnTo>
                    <a:pt x="211" y="97"/>
                  </a:lnTo>
                  <a:lnTo>
                    <a:pt x="211" y="91"/>
                  </a:lnTo>
                  <a:lnTo>
                    <a:pt x="209" y="83"/>
                  </a:lnTo>
                  <a:lnTo>
                    <a:pt x="205" y="77"/>
                  </a:lnTo>
                  <a:lnTo>
                    <a:pt x="205" y="77"/>
                  </a:lnTo>
                  <a:lnTo>
                    <a:pt x="197" y="69"/>
                  </a:lnTo>
                  <a:lnTo>
                    <a:pt x="195" y="69"/>
                  </a:lnTo>
                  <a:lnTo>
                    <a:pt x="191" y="65"/>
                  </a:lnTo>
                  <a:lnTo>
                    <a:pt x="191" y="65"/>
                  </a:lnTo>
                  <a:lnTo>
                    <a:pt x="189" y="63"/>
                  </a:lnTo>
                  <a:lnTo>
                    <a:pt x="187" y="63"/>
                  </a:lnTo>
                  <a:lnTo>
                    <a:pt x="185" y="61"/>
                  </a:lnTo>
                  <a:lnTo>
                    <a:pt x="187" y="55"/>
                  </a:lnTo>
                  <a:lnTo>
                    <a:pt x="187" y="55"/>
                  </a:lnTo>
                  <a:lnTo>
                    <a:pt x="175" y="53"/>
                  </a:lnTo>
                  <a:lnTo>
                    <a:pt x="168" y="51"/>
                  </a:lnTo>
                  <a:lnTo>
                    <a:pt x="166" y="51"/>
                  </a:lnTo>
                  <a:lnTo>
                    <a:pt x="164" y="49"/>
                  </a:lnTo>
                  <a:lnTo>
                    <a:pt x="164" y="49"/>
                  </a:lnTo>
                  <a:lnTo>
                    <a:pt x="162" y="26"/>
                  </a:lnTo>
                  <a:lnTo>
                    <a:pt x="162" y="26"/>
                  </a:lnTo>
                  <a:lnTo>
                    <a:pt x="158" y="24"/>
                  </a:lnTo>
                  <a:lnTo>
                    <a:pt x="150" y="16"/>
                  </a:lnTo>
                  <a:lnTo>
                    <a:pt x="150" y="16"/>
                  </a:lnTo>
                  <a:lnTo>
                    <a:pt x="148" y="12"/>
                  </a:lnTo>
                  <a:lnTo>
                    <a:pt x="144" y="10"/>
                  </a:lnTo>
                  <a:lnTo>
                    <a:pt x="142" y="6"/>
                  </a:lnTo>
                  <a:lnTo>
                    <a:pt x="138" y="4"/>
                  </a:lnTo>
                  <a:lnTo>
                    <a:pt x="138" y="4"/>
                  </a:lnTo>
                  <a:lnTo>
                    <a:pt x="134" y="2"/>
                  </a:lnTo>
                  <a:lnTo>
                    <a:pt x="130" y="2"/>
                  </a:lnTo>
                  <a:lnTo>
                    <a:pt x="122" y="2"/>
                  </a:lnTo>
                  <a:lnTo>
                    <a:pt x="122" y="2"/>
                  </a:lnTo>
                  <a:lnTo>
                    <a:pt x="116" y="2"/>
                  </a:lnTo>
                  <a:lnTo>
                    <a:pt x="110" y="0"/>
                  </a:lnTo>
                  <a:lnTo>
                    <a:pt x="110" y="0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104" y="6"/>
                  </a:lnTo>
                  <a:lnTo>
                    <a:pt x="104" y="10"/>
                  </a:lnTo>
                  <a:lnTo>
                    <a:pt x="104" y="12"/>
                  </a:lnTo>
                  <a:lnTo>
                    <a:pt x="102" y="12"/>
                  </a:lnTo>
                  <a:lnTo>
                    <a:pt x="102" y="12"/>
                  </a:lnTo>
                  <a:lnTo>
                    <a:pt x="100" y="14"/>
                  </a:lnTo>
                  <a:lnTo>
                    <a:pt x="96" y="16"/>
                  </a:lnTo>
                  <a:lnTo>
                    <a:pt x="94" y="16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0" y="26"/>
                  </a:lnTo>
                  <a:lnTo>
                    <a:pt x="84" y="26"/>
                  </a:lnTo>
                  <a:lnTo>
                    <a:pt x="84" y="26"/>
                  </a:lnTo>
                  <a:lnTo>
                    <a:pt x="80" y="26"/>
                  </a:lnTo>
                  <a:lnTo>
                    <a:pt x="78" y="26"/>
                  </a:lnTo>
                  <a:lnTo>
                    <a:pt x="78" y="26"/>
                  </a:lnTo>
                  <a:lnTo>
                    <a:pt x="78" y="32"/>
                  </a:lnTo>
                  <a:lnTo>
                    <a:pt x="78" y="40"/>
                  </a:lnTo>
                  <a:lnTo>
                    <a:pt x="78" y="40"/>
                  </a:lnTo>
                  <a:lnTo>
                    <a:pt x="80" y="53"/>
                  </a:lnTo>
                  <a:lnTo>
                    <a:pt x="80" y="59"/>
                  </a:lnTo>
                  <a:lnTo>
                    <a:pt x="80" y="63"/>
                  </a:lnTo>
                  <a:lnTo>
                    <a:pt x="78" y="63"/>
                  </a:lnTo>
                  <a:lnTo>
                    <a:pt x="78" y="63"/>
                  </a:lnTo>
                  <a:lnTo>
                    <a:pt x="64" y="73"/>
                  </a:lnTo>
                  <a:lnTo>
                    <a:pt x="56" y="77"/>
                  </a:lnTo>
                  <a:lnTo>
                    <a:pt x="54" y="81"/>
                  </a:lnTo>
                  <a:lnTo>
                    <a:pt x="54" y="81"/>
                  </a:lnTo>
                  <a:lnTo>
                    <a:pt x="54" y="81"/>
                  </a:lnTo>
                  <a:lnTo>
                    <a:pt x="54" y="91"/>
                  </a:lnTo>
                  <a:lnTo>
                    <a:pt x="54" y="97"/>
                  </a:lnTo>
                  <a:lnTo>
                    <a:pt x="54" y="97"/>
                  </a:lnTo>
                  <a:lnTo>
                    <a:pt x="56" y="101"/>
                  </a:lnTo>
                  <a:lnTo>
                    <a:pt x="56" y="103"/>
                  </a:lnTo>
                  <a:lnTo>
                    <a:pt x="58" y="107"/>
                  </a:lnTo>
                  <a:lnTo>
                    <a:pt x="58" y="109"/>
                  </a:lnTo>
                  <a:lnTo>
                    <a:pt x="56" y="111"/>
                  </a:lnTo>
                  <a:lnTo>
                    <a:pt x="56" y="111"/>
                  </a:lnTo>
                  <a:lnTo>
                    <a:pt x="42" y="125"/>
                  </a:lnTo>
                  <a:lnTo>
                    <a:pt x="42" y="125"/>
                  </a:lnTo>
                  <a:lnTo>
                    <a:pt x="34" y="123"/>
                  </a:lnTo>
                  <a:lnTo>
                    <a:pt x="26" y="119"/>
                  </a:lnTo>
                  <a:lnTo>
                    <a:pt x="26" y="119"/>
                  </a:lnTo>
                  <a:lnTo>
                    <a:pt x="22" y="117"/>
                  </a:lnTo>
                  <a:lnTo>
                    <a:pt x="18" y="115"/>
                  </a:lnTo>
                  <a:lnTo>
                    <a:pt x="18" y="115"/>
                  </a:lnTo>
                  <a:lnTo>
                    <a:pt x="14" y="119"/>
                  </a:lnTo>
                  <a:lnTo>
                    <a:pt x="14" y="121"/>
                  </a:lnTo>
                  <a:lnTo>
                    <a:pt x="12" y="121"/>
                  </a:lnTo>
                  <a:lnTo>
                    <a:pt x="12" y="121"/>
                  </a:lnTo>
                  <a:lnTo>
                    <a:pt x="10" y="119"/>
                  </a:lnTo>
                  <a:lnTo>
                    <a:pt x="8" y="119"/>
                  </a:lnTo>
                  <a:lnTo>
                    <a:pt x="8" y="119"/>
                  </a:lnTo>
                  <a:lnTo>
                    <a:pt x="6" y="123"/>
                  </a:lnTo>
                  <a:lnTo>
                    <a:pt x="6" y="123"/>
                  </a:lnTo>
                  <a:lnTo>
                    <a:pt x="4" y="125"/>
                  </a:lnTo>
                  <a:lnTo>
                    <a:pt x="4" y="125"/>
                  </a:lnTo>
                  <a:lnTo>
                    <a:pt x="2" y="125"/>
                  </a:lnTo>
                  <a:lnTo>
                    <a:pt x="0" y="127"/>
                  </a:lnTo>
                  <a:lnTo>
                    <a:pt x="0" y="127"/>
                  </a:lnTo>
                  <a:lnTo>
                    <a:pt x="2" y="127"/>
                  </a:lnTo>
                  <a:lnTo>
                    <a:pt x="2" y="127"/>
                  </a:lnTo>
                  <a:lnTo>
                    <a:pt x="4" y="131"/>
                  </a:lnTo>
                  <a:lnTo>
                    <a:pt x="6" y="137"/>
                  </a:lnTo>
                  <a:lnTo>
                    <a:pt x="10" y="143"/>
                  </a:lnTo>
                  <a:lnTo>
                    <a:pt x="10" y="143"/>
                  </a:lnTo>
                  <a:lnTo>
                    <a:pt x="10" y="151"/>
                  </a:lnTo>
                  <a:lnTo>
                    <a:pt x="8" y="155"/>
                  </a:lnTo>
                  <a:lnTo>
                    <a:pt x="6" y="161"/>
                  </a:lnTo>
                  <a:lnTo>
                    <a:pt x="6" y="161"/>
                  </a:lnTo>
                  <a:lnTo>
                    <a:pt x="2" y="167"/>
                  </a:lnTo>
                  <a:lnTo>
                    <a:pt x="2" y="171"/>
                  </a:lnTo>
                  <a:lnTo>
                    <a:pt x="2" y="171"/>
                  </a:lnTo>
                  <a:lnTo>
                    <a:pt x="2" y="171"/>
                  </a:lnTo>
                  <a:lnTo>
                    <a:pt x="4" y="173"/>
                  </a:lnTo>
                  <a:lnTo>
                    <a:pt x="4" y="177"/>
                  </a:lnTo>
                  <a:lnTo>
                    <a:pt x="4" y="185"/>
                  </a:lnTo>
                  <a:lnTo>
                    <a:pt x="4" y="185"/>
                  </a:lnTo>
                  <a:lnTo>
                    <a:pt x="6" y="187"/>
                  </a:lnTo>
                  <a:lnTo>
                    <a:pt x="6" y="187"/>
                  </a:lnTo>
                  <a:lnTo>
                    <a:pt x="12" y="193"/>
                  </a:lnTo>
                  <a:lnTo>
                    <a:pt x="18" y="197"/>
                  </a:lnTo>
                  <a:lnTo>
                    <a:pt x="14" y="197"/>
                  </a:lnTo>
                  <a:lnTo>
                    <a:pt x="14" y="197"/>
                  </a:lnTo>
                  <a:lnTo>
                    <a:pt x="26" y="191"/>
                  </a:lnTo>
                  <a:lnTo>
                    <a:pt x="26" y="191"/>
                  </a:lnTo>
                  <a:lnTo>
                    <a:pt x="28" y="191"/>
                  </a:lnTo>
                  <a:lnTo>
                    <a:pt x="30" y="191"/>
                  </a:lnTo>
                  <a:lnTo>
                    <a:pt x="36" y="191"/>
                  </a:lnTo>
                  <a:lnTo>
                    <a:pt x="36" y="191"/>
                  </a:lnTo>
                  <a:lnTo>
                    <a:pt x="42" y="193"/>
                  </a:lnTo>
                  <a:lnTo>
                    <a:pt x="44" y="191"/>
                  </a:lnTo>
                  <a:lnTo>
                    <a:pt x="46" y="191"/>
                  </a:lnTo>
                  <a:lnTo>
                    <a:pt x="46" y="191"/>
                  </a:lnTo>
                  <a:lnTo>
                    <a:pt x="46" y="191"/>
                  </a:lnTo>
                  <a:lnTo>
                    <a:pt x="52" y="195"/>
                  </a:lnTo>
                  <a:lnTo>
                    <a:pt x="54" y="199"/>
                  </a:lnTo>
                  <a:lnTo>
                    <a:pt x="56" y="199"/>
                  </a:lnTo>
                  <a:lnTo>
                    <a:pt x="56" y="199"/>
                  </a:lnTo>
                  <a:lnTo>
                    <a:pt x="58" y="199"/>
                  </a:lnTo>
                  <a:lnTo>
                    <a:pt x="60" y="197"/>
                  </a:lnTo>
                  <a:lnTo>
                    <a:pt x="60" y="193"/>
                  </a:lnTo>
                  <a:lnTo>
                    <a:pt x="60" y="193"/>
                  </a:lnTo>
                  <a:lnTo>
                    <a:pt x="64" y="189"/>
                  </a:lnTo>
                  <a:lnTo>
                    <a:pt x="68" y="189"/>
                  </a:lnTo>
                  <a:lnTo>
                    <a:pt x="70" y="187"/>
                  </a:lnTo>
                  <a:lnTo>
                    <a:pt x="70" y="187"/>
                  </a:lnTo>
                  <a:lnTo>
                    <a:pt x="72" y="189"/>
                  </a:lnTo>
                  <a:lnTo>
                    <a:pt x="72" y="191"/>
                  </a:lnTo>
                  <a:lnTo>
                    <a:pt x="72" y="195"/>
                  </a:lnTo>
                  <a:lnTo>
                    <a:pt x="70" y="199"/>
                  </a:lnTo>
                  <a:lnTo>
                    <a:pt x="70" y="199"/>
                  </a:lnTo>
                  <a:lnTo>
                    <a:pt x="68" y="201"/>
                  </a:lnTo>
                  <a:lnTo>
                    <a:pt x="68" y="205"/>
                  </a:lnTo>
                  <a:lnTo>
                    <a:pt x="72" y="207"/>
                  </a:lnTo>
                  <a:lnTo>
                    <a:pt x="72" y="207"/>
                  </a:lnTo>
                  <a:lnTo>
                    <a:pt x="72" y="207"/>
                  </a:lnTo>
                  <a:lnTo>
                    <a:pt x="74" y="209"/>
                  </a:lnTo>
                  <a:lnTo>
                    <a:pt x="78" y="207"/>
                  </a:lnTo>
                  <a:lnTo>
                    <a:pt x="82" y="207"/>
                  </a:lnTo>
                  <a:lnTo>
                    <a:pt x="82" y="205"/>
                  </a:lnTo>
                  <a:lnTo>
                    <a:pt x="82" y="205"/>
                  </a:lnTo>
                  <a:lnTo>
                    <a:pt x="88" y="205"/>
                  </a:lnTo>
                  <a:lnTo>
                    <a:pt x="88" y="205"/>
                  </a:lnTo>
                  <a:lnTo>
                    <a:pt x="90" y="201"/>
                  </a:lnTo>
                  <a:lnTo>
                    <a:pt x="92" y="199"/>
                  </a:lnTo>
                  <a:lnTo>
                    <a:pt x="96" y="199"/>
                  </a:lnTo>
                  <a:lnTo>
                    <a:pt x="98" y="201"/>
                  </a:lnTo>
                  <a:lnTo>
                    <a:pt x="98" y="201"/>
                  </a:lnTo>
                  <a:lnTo>
                    <a:pt x="104" y="205"/>
                  </a:lnTo>
                  <a:lnTo>
                    <a:pt x="106" y="205"/>
                  </a:lnTo>
                  <a:lnTo>
                    <a:pt x="110" y="205"/>
                  </a:lnTo>
                  <a:lnTo>
                    <a:pt x="114" y="205"/>
                  </a:lnTo>
                  <a:lnTo>
                    <a:pt x="114" y="205"/>
                  </a:lnTo>
                  <a:lnTo>
                    <a:pt x="118" y="209"/>
                  </a:lnTo>
                  <a:lnTo>
                    <a:pt x="122" y="209"/>
                  </a:lnTo>
                  <a:lnTo>
                    <a:pt x="126" y="211"/>
                  </a:lnTo>
                  <a:lnTo>
                    <a:pt x="126" y="211"/>
                  </a:lnTo>
                  <a:lnTo>
                    <a:pt x="136" y="209"/>
                  </a:lnTo>
                  <a:lnTo>
                    <a:pt x="138" y="209"/>
                  </a:lnTo>
                  <a:lnTo>
                    <a:pt x="142" y="213"/>
                  </a:lnTo>
                  <a:lnTo>
                    <a:pt x="142" y="213"/>
                  </a:lnTo>
                  <a:lnTo>
                    <a:pt x="144" y="217"/>
                  </a:lnTo>
                  <a:lnTo>
                    <a:pt x="146" y="221"/>
                  </a:lnTo>
                  <a:lnTo>
                    <a:pt x="148" y="231"/>
                  </a:lnTo>
                  <a:lnTo>
                    <a:pt x="148" y="231"/>
                  </a:lnTo>
                  <a:lnTo>
                    <a:pt x="150" y="233"/>
                  </a:lnTo>
                  <a:lnTo>
                    <a:pt x="150" y="233"/>
                  </a:lnTo>
                  <a:lnTo>
                    <a:pt x="160" y="231"/>
                  </a:lnTo>
                  <a:lnTo>
                    <a:pt x="164" y="229"/>
                  </a:lnTo>
                  <a:lnTo>
                    <a:pt x="164" y="229"/>
                  </a:lnTo>
                  <a:lnTo>
                    <a:pt x="171" y="231"/>
                  </a:lnTo>
                  <a:lnTo>
                    <a:pt x="175" y="231"/>
                  </a:lnTo>
                  <a:lnTo>
                    <a:pt x="181" y="225"/>
                  </a:lnTo>
                  <a:lnTo>
                    <a:pt x="181" y="225"/>
                  </a:lnTo>
                  <a:lnTo>
                    <a:pt x="183" y="223"/>
                  </a:lnTo>
                  <a:lnTo>
                    <a:pt x="183" y="221"/>
                  </a:lnTo>
                  <a:lnTo>
                    <a:pt x="183" y="215"/>
                  </a:lnTo>
                  <a:lnTo>
                    <a:pt x="179" y="211"/>
                  </a:lnTo>
                  <a:lnTo>
                    <a:pt x="179" y="211"/>
                  </a:lnTo>
                  <a:lnTo>
                    <a:pt x="187" y="209"/>
                  </a:lnTo>
                  <a:lnTo>
                    <a:pt x="189" y="207"/>
                  </a:lnTo>
                  <a:lnTo>
                    <a:pt x="193" y="205"/>
                  </a:lnTo>
                  <a:lnTo>
                    <a:pt x="193" y="205"/>
                  </a:lnTo>
                  <a:lnTo>
                    <a:pt x="201" y="197"/>
                  </a:lnTo>
                  <a:lnTo>
                    <a:pt x="205" y="195"/>
                  </a:lnTo>
                  <a:lnTo>
                    <a:pt x="209" y="193"/>
                  </a:lnTo>
                  <a:lnTo>
                    <a:pt x="209" y="193"/>
                  </a:lnTo>
                  <a:lnTo>
                    <a:pt x="215" y="195"/>
                  </a:lnTo>
                  <a:lnTo>
                    <a:pt x="221" y="195"/>
                  </a:lnTo>
                  <a:lnTo>
                    <a:pt x="227" y="195"/>
                  </a:lnTo>
                  <a:lnTo>
                    <a:pt x="227" y="195"/>
                  </a:lnTo>
                  <a:lnTo>
                    <a:pt x="231" y="191"/>
                  </a:lnTo>
                  <a:lnTo>
                    <a:pt x="235" y="187"/>
                  </a:lnTo>
                  <a:lnTo>
                    <a:pt x="235" y="187"/>
                  </a:lnTo>
                  <a:lnTo>
                    <a:pt x="239" y="185"/>
                  </a:lnTo>
                  <a:lnTo>
                    <a:pt x="239" y="185"/>
                  </a:lnTo>
                  <a:lnTo>
                    <a:pt x="239" y="179"/>
                  </a:lnTo>
                  <a:lnTo>
                    <a:pt x="239" y="179"/>
                  </a:lnTo>
                  <a:lnTo>
                    <a:pt x="239" y="179"/>
                  </a:lnTo>
                  <a:lnTo>
                    <a:pt x="239" y="179"/>
                  </a:lnTo>
                  <a:lnTo>
                    <a:pt x="239" y="179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82" name="Freeform 41"/>
            <p:cNvSpPr>
              <a:spLocks/>
            </p:cNvSpPr>
            <p:nvPr/>
          </p:nvSpPr>
          <p:spPr bwMode="auto">
            <a:xfrm>
              <a:off x="1220" y="2281"/>
              <a:ext cx="230" cy="253"/>
            </a:xfrm>
            <a:custGeom>
              <a:avLst/>
              <a:gdLst>
                <a:gd name="T0" fmla="*/ 230 w 230"/>
                <a:gd name="T1" fmla="*/ 213 h 253"/>
                <a:gd name="T2" fmla="*/ 223 w 230"/>
                <a:gd name="T3" fmla="*/ 205 h 253"/>
                <a:gd name="T4" fmla="*/ 223 w 230"/>
                <a:gd name="T5" fmla="*/ 191 h 253"/>
                <a:gd name="T6" fmla="*/ 217 w 230"/>
                <a:gd name="T7" fmla="*/ 177 h 253"/>
                <a:gd name="T8" fmla="*/ 205 w 230"/>
                <a:gd name="T9" fmla="*/ 151 h 253"/>
                <a:gd name="T10" fmla="*/ 205 w 230"/>
                <a:gd name="T11" fmla="*/ 135 h 253"/>
                <a:gd name="T12" fmla="*/ 203 w 230"/>
                <a:gd name="T13" fmla="*/ 123 h 253"/>
                <a:gd name="T14" fmla="*/ 205 w 230"/>
                <a:gd name="T15" fmla="*/ 117 h 253"/>
                <a:gd name="T16" fmla="*/ 189 w 230"/>
                <a:gd name="T17" fmla="*/ 111 h 253"/>
                <a:gd name="T18" fmla="*/ 171 w 230"/>
                <a:gd name="T19" fmla="*/ 107 h 253"/>
                <a:gd name="T20" fmla="*/ 163 w 230"/>
                <a:gd name="T21" fmla="*/ 93 h 253"/>
                <a:gd name="T22" fmla="*/ 159 w 230"/>
                <a:gd name="T23" fmla="*/ 89 h 253"/>
                <a:gd name="T24" fmla="*/ 149 w 230"/>
                <a:gd name="T25" fmla="*/ 75 h 253"/>
                <a:gd name="T26" fmla="*/ 135 w 230"/>
                <a:gd name="T27" fmla="*/ 77 h 253"/>
                <a:gd name="T28" fmla="*/ 127 w 230"/>
                <a:gd name="T29" fmla="*/ 71 h 253"/>
                <a:gd name="T30" fmla="*/ 123 w 230"/>
                <a:gd name="T31" fmla="*/ 65 h 253"/>
                <a:gd name="T32" fmla="*/ 103 w 230"/>
                <a:gd name="T33" fmla="*/ 52 h 253"/>
                <a:gd name="T34" fmla="*/ 101 w 230"/>
                <a:gd name="T35" fmla="*/ 40 h 253"/>
                <a:gd name="T36" fmla="*/ 93 w 230"/>
                <a:gd name="T37" fmla="*/ 34 h 253"/>
                <a:gd name="T38" fmla="*/ 81 w 230"/>
                <a:gd name="T39" fmla="*/ 30 h 253"/>
                <a:gd name="T40" fmla="*/ 69 w 230"/>
                <a:gd name="T41" fmla="*/ 16 h 253"/>
                <a:gd name="T42" fmla="*/ 63 w 230"/>
                <a:gd name="T43" fmla="*/ 4 h 253"/>
                <a:gd name="T44" fmla="*/ 51 w 230"/>
                <a:gd name="T45" fmla="*/ 0 h 253"/>
                <a:gd name="T46" fmla="*/ 17 w 230"/>
                <a:gd name="T47" fmla="*/ 14 h 253"/>
                <a:gd name="T48" fmla="*/ 9 w 230"/>
                <a:gd name="T49" fmla="*/ 10 h 253"/>
                <a:gd name="T50" fmla="*/ 7 w 230"/>
                <a:gd name="T51" fmla="*/ 30 h 253"/>
                <a:gd name="T52" fmla="*/ 2 w 230"/>
                <a:gd name="T53" fmla="*/ 40 h 253"/>
                <a:gd name="T54" fmla="*/ 2 w 230"/>
                <a:gd name="T55" fmla="*/ 63 h 253"/>
                <a:gd name="T56" fmla="*/ 13 w 230"/>
                <a:gd name="T57" fmla="*/ 67 h 253"/>
                <a:gd name="T58" fmla="*/ 25 w 230"/>
                <a:gd name="T59" fmla="*/ 77 h 253"/>
                <a:gd name="T60" fmla="*/ 33 w 230"/>
                <a:gd name="T61" fmla="*/ 83 h 253"/>
                <a:gd name="T62" fmla="*/ 47 w 230"/>
                <a:gd name="T63" fmla="*/ 97 h 253"/>
                <a:gd name="T64" fmla="*/ 47 w 230"/>
                <a:gd name="T65" fmla="*/ 117 h 253"/>
                <a:gd name="T66" fmla="*/ 35 w 230"/>
                <a:gd name="T67" fmla="*/ 131 h 253"/>
                <a:gd name="T68" fmla="*/ 39 w 230"/>
                <a:gd name="T69" fmla="*/ 137 h 253"/>
                <a:gd name="T70" fmla="*/ 65 w 230"/>
                <a:gd name="T71" fmla="*/ 165 h 253"/>
                <a:gd name="T72" fmla="*/ 77 w 230"/>
                <a:gd name="T73" fmla="*/ 187 h 253"/>
                <a:gd name="T74" fmla="*/ 77 w 230"/>
                <a:gd name="T75" fmla="*/ 193 h 253"/>
                <a:gd name="T76" fmla="*/ 85 w 230"/>
                <a:gd name="T77" fmla="*/ 199 h 253"/>
                <a:gd name="T78" fmla="*/ 89 w 230"/>
                <a:gd name="T79" fmla="*/ 209 h 253"/>
                <a:gd name="T80" fmla="*/ 81 w 230"/>
                <a:gd name="T81" fmla="*/ 235 h 253"/>
                <a:gd name="T82" fmla="*/ 87 w 230"/>
                <a:gd name="T83" fmla="*/ 249 h 253"/>
                <a:gd name="T84" fmla="*/ 99 w 230"/>
                <a:gd name="T85" fmla="*/ 253 h 253"/>
                <a:gd name="T86" fmla="*/ 103 w 230"/>
                <a:gd name="T87" fmla="*/ 251 h 253"/>
                <a:gd name="T88" fmla="*/ 119 w 230"/>
                <a:gd name="T89" fmla="*/ 227 h 253"/>
                <a:gd name="T90" fmla="*/ 127 w 230"/>
                <a:gd name="T91" fmla="*/ 225 h 253"/>
                <a:gd name="T92" fmla="*/ 141 w 230"/>
                <a:gd name="T93" fmla="*/ 229 h 253"/>
                <a:gd name="T94" fmla="*/ 149 w 230"/>
                <a:gd name="T95" fmla="*/ 231 h 253"/>
                <a:gd name="T96" fmla="*/ 163 w 230"/>
                <a:gd name="T97" fmla="*/ 223 h 253"/>
                <a:gd name="T98" fmla="*/ 187 w 230"/>
                <a:gd name="T99" fmla="*/ 231 h 253"/>
                <a:gd name="T100" fmla="*/ 211 w 230"/>
                <a:gd name="T101" fmla="*/ 231 h 253"/>
                <a:gd name="T102" fmla="*/ 217 w 230"/>
                <a:gd name="T103" fmla="*/ 231 h 253"/>
                <a:gd name="T104" fmla="*/ 219 w 230"/>
                <a:gd name="T105" fmla="*/ 231 h 253"/>
                <a:gd name="T106" fmla="*/ 228 w 230"/>
                <a:gd name="T107" fmla="*/ 221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0" h="253">
                  <a:moveTo>
                    <a:pt x="228" y="221"/>
                  </a:moveTo>
                  <a:lnTo>
                    <a:pt x="228" y="221"/>
                  </a:lnTo>
                  <a:lnTo>
                    <a:pt x="230" y="219"/>
                  </a:lnTo>
                  <a:lnTo>
                    <a:pt x="230" y="213"/>
                  </a:lnTo>
                  <a:lnTo>
                    <a:pt x="227" y="211"/>
                  </a:lnTo>
                  <a:lnTo>
                    <a:pt x="227" y="211"/>
                  </a:lnTo>
                  <a:lnTo>
                    <a:pt x="225" y="209"/>
                  </a:lnTo>
                  <a:lnTo>
                    <a:pt x="223" y="205"/>
                  </a:lnTo>
                  <a:lnTo>
                    <a:pt x="223" y="201"/>
                  </a:lnTo>
                  <a:lnTo>
                    <a:pt x="223" y="197"/>
                  </a:lnTo>
                  <a:lnTo>
                    <a:pt x="223" y="197"/>
                  </a:lnTo>
                  <a:lnTo>
                    <a:pt x="223" y="191"/>
                  </a:lnTo>
                  <a:lnTo>
                    <a:pt x="219" y="187"/>
                  </a:lnTo>
                  <a:lnTo>
                    <a:pt x="217" y="181"/>
                  </a:lnTo>
                  <a:lnTo>
                    <a:pt x="217" y="177"/>
                  </a:lnTo>
                  <a:lnTo>
                    <a:pt x="217" y="177"/>
                  </a:lnTo>
                  <a:lnTo>
                    <a:pt x="215" y="167"/>
                  </a:lnTo>
                  <a:lnTo>
                    <a:pt x="213" y="161"/>
                  </a:lnTo>
                  <a:lnTo>
                    <a:pt x="205" y="151"/>
                  </a:lnTo>
                  <a:lnTo>
                    <a:pt x="205" y="151"/>
                  </a:lnTo>
                  <a:lnTo>
                    <a:pt x="205" y="145"/>
                  </a:lnTo>
                  <a:lnTo>
                    <a:pt x="205" y="137"/>
                  </a:lnTo>
                  <a:lnTo>
                    <a:pt x="205" y="137"/>
                  </a:lnTo>
                  <a:lnTo>
                    <a:pt x="205" y="135"/>
                  </a:lnTo>
                  <a:lnTo>
                    <a:pt x="205" y="133"/>
                  </a:lnTo>
                  <a:lnTo>
                    <a:pt x="203" y="125"/>
                  </a:lnTo>
                  <a:lnTo>
                    <a:pt x="203" y="125"/>
                  </a:lnTo>
                  <a:lnTo>
                    <a:pt x="203" y="123"/>
                  </a:lnTo>
                  <a:lnTo>
                    <a:pt x="205" y="119"/>
                  </a:lnTo>
                  <a:lnTo>
                    <a:pt x="205" y="119"/>
                  </a:lnTo>
                  <a:lnTo>
                    <a:pt x="205" y="117"/>
                  </a:lnTo>
                  <a:lnTo>
                    <a:pt x="205" y="117"/>
                  </a:lnTo>
                  <a:lnTo>
                    <a:pt x="203" y="117"/>
                  </a:lnTo>
                  <a:lnTo>
                    <a:pt x="203" y="117"/>
                  </a:lnTo>
                  <a:lnTo>
                    <a:pt x="195" y="113"/>
                  </a:lnTo>
                  <a:lnTo>
                    <a:pt x="189" y="111"/>
                  </a:lnTo>
                  <a:lnTo>
                    <a:pt x="189" y="111"/>
                  </a:lnTo>
                  <a:lnTo>
                    <a:pt x="177" y="109"/>
                  </a:lnTo>
                  <a:lnTo>
                    <a:pt x="177" y="109"/>
                  </a:lnTo>
                  <a:lnTo>
                    <a:pt x="171" y="107"/>
                  </a:lnTo>
                  <a:lnTo>
                    <a:pt x="167" y="101"/>
                  </a:lnTo>
                  <a:lnTo>
                    <a:pt x="165" y="97"/>
                  </a:lnTo>
                  <a:lnTo>
                    <a:pt x="163" y="93"/>
                  </a:lnTo>
                  <a:lnTo>
                    <a:pt x="163" y="93"/>
                  </a:lnTo>
                  <a:lnTo>
                    <a:pt x="161" y="89"/>
                  </a:lnTo>
                  <a:lnTo>
                    <a:pt x="161" y="89"/>
                  </a:lnTo>
                  <a:lnTo>
                    <a:pt x="159" y="89"/>
                  </a:lnTo>
                  <a:lnTo>
                    <a:pt x="159" y="89"/>
                  </a:lnTo>
                  <a:lnTo>
                    <a:pt x="159" y="89"/>
                  </a:lnTo>
                  <a:lnTo>
                    <a:pt x="155" y="83"/>
                  </a:lnTo>
                  <a:lnTo>
                    <a:pt x="155" y="77"/>
                  </a:lnTo>
                  <a:lnTo>
                    <a:pt x="149" y="75"/>
                  </a:lnTo>
                  <a:lnTo>
                    <a:pt x="149" y="75"/>
                  </a:lnTo>
                  <a:lnTo>
                    <a:pt x="145" y="75"/>
                  </a:lnTo>
                  <a:lnTo>
                    <a:pt x="145" y="75"/>
                  </a:lnTo>
                  <a:lnTo>
                    <a:pt x="135" y="77"/>
                  </a:lnTo>
                  <a:lnTo>
                    <a:pt x="131" y="77"/>
                  </a:lnTo>
                  <a:lnTo>
                    <a:pt x="127" y="75"/>
                  </a:lnTo>
                  <a:lnTo>
                    <a:pt x="127" y="75"/>
                  </a:lnTo>
                  <a:lnTo>
                    <a:pt x="127" y="71"/>
                  </a:lnTo>
                  <a:lnTo>
                    <a:pt x="127" y="67"/>
                  </a:lnTo>
                  <a:lnTo>
                    <a:pt x="127" y="65"/>
                  </a:lnTo>
                  <a:lnTo>
                    <a:pt x="123" y="65"/>
                  </a:lnTo>
                  <a:lnTo>
                    <a:pt x="123" y="65"/>
                  </a:lnTo>
                  <a:lnTo>
                    <a:pt x="117" y="61"/>
                  </a:lnTo>
                  <a:lnTo>
                    <a:pt x="109" y="55"/>
                  </a:lnTo>
                  <a:lnTo>
                    <a:pt x="109" y="55"/>
                  </a:lnTo>
                  <a:lnTo>
                    <a:pt x="103" y="52"/>
                  </a:lnTo>
                  <a:lnTo>
                    <a:pt x="103" y="50"/>
                  </a:lnTo>
                  <a:lnTo>
                    <a:pt x="101" y="44"/>
                  </a:lnTo>
                  <a:lnTo>
                    <a:pt x="101" y="44"/>
                  </a:lnTo>
                  <a:lnTo>
                    <a:pt x="101" y="40"/>
                  </a:lnTo>
                  <a:lnTo>
                    <a:pt x="99" y="38"/>
                  </a:lnTo>
                  <a:lnTo>
                    <a:pt x="97" y="34"/>
                  </a:lnTo>
                  <a:lnTo>
                    <a:pt x="93" y="34"/>
                  </a:lnTo>
                  <a:lnTo>
                    <a:pt x="93" y="34"/>
                  </a:lnTo>
                  <a:lnTo>
                    <a:pt x="89" y="38"/>
                  </a:lnTo>
                  <a:lnTo>
                    <a:pt x="87" y="38"/>
                  </a:lnTo>
                  <a:lnTo>
                    <a:pt x="81" y="34"/>
                  </a:lnTo>
                  <a:lnTo>
                    <a:pt x="81" y="30"/>
                  </a:lnTo>
                  <a:lnTo>
                    <a:pt x="81" y="30"/>
                  </a:lnTo>
                  <a:lnTo>
                    <a:pt x="77" y="26"/>
                  </a:lnTo>
                  <a:lnTo>
                    <a:pt x="77" y="22"/>
                  </a:lnTo>
                  <a:lnTo>
                    <a:pt x="69" y="16"/>
                  </a:lnTo>
                  <a:lnTo>
                    <a:pt x="69" y="16"/>
                  </a:lnTo>
                  <a:lnTo>
                    <a:pt x="67" y="8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57" y="0"/>
                  </a:lnTo>
                  <a:lnTo>
                    <a:pt x="57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43" y="2"/>
                  </a:lnTo>
                  <a:lnTo>
                    <a:pt x="33" y="6"/>
                  </a:lnTo>
                  <a:lnTo>
                    <a:pt x="25" y="10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1" y="14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9" y="26"/>
                  </a:lnTo>
                  <a:lnTo>
                    <a:pt x="7" y="30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4" y="65"/>
                  </a:lnTo>
                  <a:lnTo>
                    <a:pt x="6" y="65"/>
                  </a:lnTo>
                  <a:lnTo>
                    <a:pt x="13" y="67"/>
                  </a:lnTo>
                  <a:lnTo>
                    <a:pt x="25" y="69"/>
                  </a:lnTo>
                  <a:lnTo>
                    <a:pt x="23" y="75"/>
                  </a:lnTo>
                  <a:lnTo>
                    <a:pt x="23" y="75"/>
                  </a:lnTo>
                  <a:lnTo>
                    <a:pt x="25" y="77"/>
                  </a:lnTo>
                  <a:lnTo>
                    <a:pt x="27" y="77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33" y="83"/>
                  </a:lnTo>
                  <a:lnTo>
                    <a:pt x="35" y="83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7" y="97"/>
                  </a:lnTo>
                  <a:lnTo>
                    <a:pt x="49" y="105"/>
                  </a:lnTo>
                  <a:lnTo>
                    <a:pt x="49" y="111"/>
                  </a:lnTo>
                  <a:lnTo>
                    <a:pt x="47" y="117"/>
                  </a:lnTo>
                  <a:lnTo>
                    <a:pt x="47" y="117"/>
                  </a:lnTo>
                  <a:lnTo>
                    <a:pt x="43" y="123"/>
                  </a:lnTo>
                  <a:lnTo>
                    <a:pt x="41" y="129"/>
                  </a:lnTo>
                  <a:lnTo>
                    <a:pt x="35" y="131"/>
                  </a:lnTo>
                  <a:lnTo>
                    <a:pt x="35" y="131"/>
                  </a:lnTo>
                  <a:lnTo>
                    <a:pt x="33" y="133"/>
                  </a:lnTo>
                  <a:lnTo>
                    <a:pt x="33" y="133"/>
                  </a:lnTo>
                  <a:lnTo>
                    <a:pt x="35" y="137"/>
                  </a:lnTo>
                  <a:lnTo>
                    <a:pt x="39" y="137"/>
                  </a:lnTo>
                  <a:lnTo>
                    <a:pt x="49" y="141"/>
                  </a:lnTo>
                  <a:lnTo>
                    <a:pt x="57" y="151"/>
                  </a:lnTo>
                  <a:lnTo>
                    <a:pt x="53" y="159"/>
                  </a:lnTo>
                  <a:lnTo>
                    <a:pt x="65" y="165"/>
                  </a:lnTo>
                  <a:lnTo>
                    <a:pt x="73" y="165"/>
                  </a:lnTo>
                  <a:lnTo>
                    <a:pt x="73" y="181"/>
                  </a:lnTo>
                  <a:lnTo>
                    <a:pt x="77" y="187"/>
                  </a:lnTo>
                  <a:lnTo>
                    <a:pt x="77" y="187"/>
                  </a:lnTo>
                  <a:lnTo>
                    <a:pt x="77" y="191"/>
                  </a:lnTo>
                  <a:lnTo>
                    <a:pt x="77" y="193"/>
                  </a:lnTo>
                  <a:lnTo>
                    <a:pt x="77" y="193"/>
                  </a:lnTo>
                  <a:lnTo>
                    <a:pt x="77" y="193"/>
                  </a:lnTo>
                  <a:lnTo>
                    <a:pt x="77" y="199"/>
                  </a:lnTo>
                  <a:lnTo>
                    <a:pt x="77" y="199"/>
                  </a:lnTo>
                  <a:lnTo>
                    <a:pt x="79" y="199"/>
                  </a:lnTo>
                  <a:lnTo>
                    <a:pt x="85" y="199"/>
                  </a:lnTo>
                  <a:lnTo>
                    <a:pt x="85" y="199"/>
                  </a:lnTo>
                  <a:lnTo>
                    <a:pt x="87" y="201"/>
                  </a:lnTo>
                  <a:lnTo>
                    <a:pt x="89" y="205"/>
                  </a:lnTo>
                  <a:lnTo>
                    <a:pt x="89" y="209"/>
                  </a:lnTo>
                  <a:lnTo>
                    <a:pt x="89" y="215"/>
                  </a:lnTo>
                  <a:lnTo>
                    <a:pt x="89" y="215"/>
                  </a:lnTo>
                  <a:lnTo>
                    <a:pt x="85" y="229"/>
                  </a:lnTo>
                  <a:lnTo>
                    <a:pt x="81" y="235"/>
                  </a:lnTo>
                  <a:lnTo>
                    <a:pt x="81" y="239"/>
                  </a:lnTo>
                  <a:lnTo>
                    <a:pt x="81" y="239"/>
                  </a:lnTo>
                  <a:lnTo>
                    <a:pt x="87" y="247"/>
                  </a:lnTo>
                  <a:lnTo>
                    <a:pt x="87" y="249"/>
                  </a:lnTo>
                  <a:lnTo>
                    <a:pt x="91" y="249"/>
                  </a:lnTo>
                  <a:lnTo>
                    <a:pt x="91" y="249"/>
                  </a:lnTo>
                  <a:lnTo>
                    <a:pt x="93" y="251"/>
                  </a:lnTo>
                  <a:lnTo>
                    <a:pt x="99" y="253"/>
                  </a:lnTo>
                  <a:lnTo>
                    <a:pt x="103" y="253"/>
                  </a:lnTo>
                  <a:lnTo>
                    <a:pt x="103" y="253"/>
                  </a:lnTo>
                  <a:lnTo>
                    <a:pt x="103" y="251"/>
                  </a:lnTo>
                  <a:lnTo>
                    <a:pt x="103" y="251"/>
                  </a:lnTo>
                  <a:lnTo>
                    <a:pt x="105" y="247"/>
                  </a:lnTo>
                  <a:lnTo>
                    <a:pt x="111" y="239"/>
                  </a:lnTo>
                  <a:lnTo>
                    <a:pt x="119" y="227"/>
                  </a:lnTo>
                  <a:lnTo>
                    <a:pt x="119" y="227"/>
                  </a:lnTo>
                  <a:lnTo>
                    <a:pt x="121" y="223"/>
                  </a:lnTo>
                  <a:lnTo>
                    <a:pt x="121" y="223"/>
                  </a:lnTo>
                  <a:lnTo>
                    <a:pt x="123" y="223"/>
                  </a:lnTo>
                  <a:lnTo>
                    <a:pt x="127" y="225"/>
                  </a:lnTo>
                  <a:lnTo>
                    <a:pt x="133" y="227"/>
                  </a:lnTo>
                  <a:lnTo>
                    <a:pt x="133" y="227"/>
                  </a:lnTo>
                  <a:lnTo>
                    <a:pt x="137" y="227"/>
                  </a:lnTo>
                  <a:lnTo>
                    <a:pt x="141" y="229"/>
                  </a:lnTo>
                  <a:lnTo>
                    <a:pt x="147" y="231"/>
                  </a:lnTo>
                  <a:lnTo>
                    <a:pt x="147" y="231"/>
                  </a:lnTo>
                  <a:lnTo>
                    <a:pt x="149" y="231"/>
                  </a:lnTo>
                  <a:lnTo>
                    <a:pt x="149" y="231"/>
                  </a:lnTo>
                  <a:lnTo>
                    <a:pt x="155" y="227"/>
                  </a:lnTo>
                  <a:lnTo>
                    <a:pt x="155" y="225"/>
                  </a:lnTo>
                  <a:lnTo>
                    <a:pt x="159" y="223"/>
                  </a:lnTo>
                  <a:lnTo>
                    <a:pt x="163" y="223"/>
                  </a:lnTo>
                  <a:lnTo>
                    <a:pt x="163" y="223"/>
                  </a:lnTo>
                  <a:lnTo>
                    <a:pt x="171" y="225"/>
                  </a:lnTo>
                  <a:lnTo>
                    <a:pt x="171" y="225"/>
                  </a:lnTo>
                  <a:lnTo>
                    <a:pt x="187" y="231"/>
                  </a:lnTo>
                  <a:lnTo>
                    <a:pt x="187" y="231"/>
                  </a:lnTo>
                  <a:lnTo>
                    <a:pt x="193" y="231"/>
                  </a:lnTo>
                  <a:lnTo>
                    <a:pt x="201" y="231"/>
                  </a:lnTo>
                  <a:lnTo>
                    <a:pt x="211" y="231"/>
                  </a:lnTo>
                  <a:lnTo>
                    <a:pt x="211" y="231"/>
                  </a:lnTo>
                  <a:lnTo>
                    <a:pt x="213" y="229"/>
                  </a:lnTo>
                  <a:lnTo>
                    <a:pt x="215" y="231"/>
                  </a:lnTo>
                  <a:lnTo>
                    <a:pt x="217" y="231"/>
                  </a:lnTo>
                  <a:lnTo>
                    <a:pt x="219" y="231"/>
                  </a:lnTo>
                  <a:lnTo>
                    <a:pt x="219" y="231"/>
                  </a:lnTo>
                  <a:lnTo>
                    <a:pt x="219" y="231"/>
                  </a:lnTo>
                  <a:lnTo>
                    <a:pt x="219" y="231"/>
                  </a:lnTo>
                  <a:lnTo>
                    <a:pt x="225" y="229"/>
                  </a:lnTo>
                  <a:lnTo>
                    <a:pt x="225" y="229"/>
                  </a:lnTo>
                  <a:lnTo>
                    <a:pt x="228" y="221"/>
                  </a:lnTo>
                  <a:lnTo>
                    <a:pt x="228" y="221"/>
                  </a:lnTo>
                  <a:lnTo>
                    <a:pt x="228" y="221"/>
                  </a:lnTo>
                  <a:lnTo>
                    <a:pt x="228" y="221"/>
                  </a:lnTo>
                  <a:lnTo>
                    <a:pt x="228" y="221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83" name="Freeform 42"/>
            <p:cNvSpPr>
              <a:spLocks noEditPoints="1"/>
            </p:cNvSpPr>
            <p:nvPr/>
          </p:nvSpPr>
          <p:spPr bwMode="auto">
            <a:xfrm>
              <a:off x="789" y="2336"/>
              <a:ext cx="162" cy="220"/>
            </a:xfrm>
            <a:custGeom>
              <a:avLst/>
              <a:gdLst>
                <a:gd name="T0" fmla="*/ 72 w 162"/>
                <a:gd name="T1" fmla="*/ 218 h 220"/>
                <a:gd name="T2" fmla="*/ 88 w 162"/>
                <a:gd name="T3" fmla="*/ 220 h 220"/>
                <a:gd name="T4" fmla="*/ 96 w 162"/>
                <a:gd name="T5" fmla="*/ 214 h 220"/>
                <a:gd name="T6" fmla="*/ 102 w 162"/>
                <a:gd name="T7" fmla="*/ 196 h 220"/>
                <a:gd name="T8" fmla="*/ 116 w 162"/>
                <a:gd name="T9" fmla="*/ 194 h 220"/>
                <a:gd name="T10" fmla="*/ 118 w 162"/>
                <a:gd name="T11" fmla="*/ 178 h 220"/>
                <a:gd name="T12" fmla="*/ 118 w 162"/>
                <a:gd name="T13" fmla="*/ 160 h 220"/>
                <a:gd name="T14" fmla="*/ 130 w 162"/>
                <a:gd name="T15" fmla="*/ 144 h 220"/>
                <a:gd name="T16" fmla="*/ 140 w 162"/>
                <a:gd name="T17" fmla="*/ 146 h 220"/>
                <a:gd name="T18" fmla="*/ 148 w 162"/>
                <a:gd name="T19" fmla="*/ 146 h 220"/>
                <a:gd name="T20" fmla="*/ 158 w 162"/>
                <a:gd name="T21" fmla="*/ 146 h 220"/>
                <a:gd name="T22" fmla="*/ 158 w 162"/>
                <a:gd name="T23" fmla="*/ 132 h 220"/>
                <a:gd name="T24" fmla="*/ 158 w 162"/>
                <a:gd name="T25" fmla="*/ 124 h 220"/>
                <a:gd name="T26" fmla="*/ 162 w 162"/>
                <a:gd name="T27" fmla="*/ 118 h 220"/>
                <a:gd name="T28" fmla="*/ 148 w 162"/>
                <a:gd name="T29" fmla="*/ 104 h 220"/>
                <a:gd name="T30" fmla="*/ 152 w 162"/>
                <a:gd name="T31" fmla="*/ 86 h 220"/>
                <a:gd name="T32" fmla="*/ 158 w 162"/>
                <a:gd name="T33" fmla="*/ 78 h 220"/>
                <a:gd name="T34" fmla="*/ 162 w 162"/>
                <a:gd name="T35" fmla="*/ 64 h 220"/>
                <a:gd name="T36" fmla="*/ 140 w 162"/>
                <a:gd name="T37" fmla="*/ 50 h 220"/>
                <a:gd name="T38" fmla="*/ 128 w 162"/>
                <a:gd name="T39" fmla="*/ 38 h 220"/>
                <a:gd name="T40" fmla="*/ 122 w 162"/>
                <a:gd name="T41" fmla="*/ 16 h 220"/>
                <a:gd name="T42" fmla="*/ 118 w 162"/>
                <a:gd name="T43" fmla="*/ 24 h 220"/>
                <a:gd name="T44" fmla="*/ 112 w 162"/>
                <a:gd name="T45" fmla="*/ 18 h 220"/>
                <a:gd name="T46" fmla="*/ 98 w 162"/>
                <a:gd name="T47" fmla="*/ 6 h 220"/>
                <a:gd name="T48" fmla="*/ 92 w 162"/>
                <a:gd name="T49" fmla="*/ 16 h 220"/>
                <a:gd name="T50" fmla="*/ 94 w 162"/>
                <a:gd name="T51" fmla="*/ 34 h 220"/>
                <a:gd name="T52" fmla="*/ 96 w 162"/>
                <a:gd name="T53" fmla="*/ 44 h 220"/>
                <a:gd name="T54" fmla="*/ 72 w 162"/>
                <a:gd name="T55" fmla="*/ 30 h 220"/>
                <a:gd name="T56" fmla="*/ 50 w 162"/>
                <a:gd name="T57" fmla="*/ 32 h 220"/>
                <a:gd name="T58" fmla="*/ 40 w 162"/>
                <a:gd name="T59" fmla="*/ 36 h 220"/>
                <a:gd name="T60" fmla="*/ 22 w 162"/>
                <a:gd name="T61" fmla="*/ 28 h 220"/>
                <a:gd name="T62" fmla="*/ 14 w 162"/>
                <a:gd name="T63" fmla="*/ 12 h 220"/>
                <a:gd name="T64" fmla="*/ 2 w 162"/>
                <a:gd name="T65" fmla="*/ 12 h 220"/>
                <a:gd name="T66" fmla="*/ 0 w 162"/>
                <a:gd name="T67" fmla="*/ 52 h 220"/>
                <a:gd name="T68" fmla="*/ 4 w 162"/>
                <a:gd name="T69" fmla="*/ 70 h 220"/>
                <a:gd name="T70" fmla="*/ 10 w 162"/>
                <a:gd name="T71" fmla="*/ 112 h 220"/>
                <a:gd name="T72" fmla="*/ 10 w 162"/>
                <a:gd name="T73" fmla="*/ 152 h 220"/>
                <a:gd name="T74" fmla="*/ 4 w 162"/>
                <a:gd name="T75" fmla="*/ 184 h 220"/>
                <a:gd name="T76" fmla="*/ 6 w 162"/>
                <a:gd name="T77" fmla="*/ 192 h 220"/>
                <a:gd name="T78" fmla="*/ 18 w 162"/>
                <a:gd name="T79" fmla="*/ 196 h 220"/>
                <a:gd name="T80" fmla="*/ 28 w 162"/>
                <a:gd name="T81" fmla="*/ 214 h 220"/>
                <a:gd name="T82" fmla="*/ 54 w 162"/>
                <a:gd name="T83" fmla="*/ 202 h 220"/>
                <a:gd name="T84" fmla="*/ 64 w 162"/>
                <a:gd name="T85" fmla="*/ 198 h 220"/>
                <a:gd name="T86" fmla="*/ 28 w 162"/>
                <a:gd name="T87" fmla="*/ 190 h 220"/>
                <a:gd name="T88" fmla="*/ 22 w 162"/>
                <a:gd name="T89" fmla="*/ 168 h 220"/>
                <a:gd name="T90" fmla="*/ 32 w 162"/>
                <a:gd name="T91" fmla="*/ 160 h 220"/>
                <a:gd name="T92" fmla="*/ 38 w 162"/>
                <a:gd name="T93" fmla="*/ 166 h 220"/>
                <a:gd name="T94" fmla="*/ 44 w 162"/>
                <a:gd name="T95" fmla="*/ 160 h 220"/>
                <a:gd name="T96" fmla="*/ 56 w 162"/>
                <a:gd name="T97" fmla="*/ 150 h 220"/>
                <a:gd name="T98" fmla="*/ 68 w 162"/>
                <a:gd name="T99" fmla="*/ 142 h 220"/>
                <a:gd name="T100" fmla="*/ 72 w 162"/>
                <a:gd name="T101" fmla="*/ 130 h 220"/>
                <a:gd name="T102" fmla="*/ 64 w 162"/>
                <a:gd name="T103" fmla="*/ 124 h 220"/>
                <a:gd name="T104" fmla="*/ 48 w 162"/>
                <a:gd name="T105" fmla="*/ 118 h 220"/>
                <a:gd name="T106" fmla="*/ 40 w 162"/>
                <a:gd name="T107" fmla="*/ 92 h 220"/>
                <a:gd name="T108" fmla="*/ 50 w 162"/>
                <a:gd name="T109" fmla="*/ 98 h 220"/>
                <a:gd name="T110" fmla="*/ 56 w 162"/>
                <a:gd name="T111" fmla="*/ 114 h 220"/>
                <a:gd name="T112" fmla="*/ 72 w 162"/>
                <a:gd name="T113" fmla="*/ 112 h 220"/>
                <a:gd name="T114" fmla="*/ 86 w 162"/>
                <a:gd name="T115" fmla="*/ 136 h 220"/>
                <a:gd name="T116" fmla="*/ 82 w 162"/>
                <a:gd name="T117" fmla="*/ 166 h 220"/>
                <a:gd name="T118" fmla="*/ 72 w 162"/>
                <a:gd name="T119" fmla="*/ 160 h 220"/>
                <a:gd name="T120" fmla="*/ 56 w 162"/>
                <a:gd name="T121" fmla="*/ 176 h 220"/>
                <a:gd name="T122" fmla="*/ 36 w 162"/>
                <a:gd name="T123" fmla="*/ 190 h 220"/>
                <a:gd name="T124" fmla="*/ 28 w 162"/>
                <a:gd name="T125" fmla="*/ 192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2" h="220">
                  <a:moveTo>
                    <a:pt x="64" y="198"/>
                  </a:moveTo>
                  <a:lnTo>
                    <a:pt x="64" y="198"/>
                  </a:lnTo>
                  <a:lnTo>
                    <a:pt x="66" y="202"/>
                  </a:lnTo>
                  <a:lnTo>
                    <a:pt x="68" y="206"/>
                  </a:lnTo>
                  <a:lnTo>
                    <a:pt x="72" y="218"/>
                  </a:lnTo>
                  <a:lnTo>
                    <a:pt x="72" y="218"/>
                  </a:lnTo>
                  <a:lnTo>
                    <a:pt x="72" y="220"/>
                  </a:lnTo>
                  <a:lnTo>
                    <a:pt x="76" y="220"/>
                  </a:lnTo>
                  <a:lnTo>
                    <a:pt x="88" y="220"/>
                  </a:lnTo>
                  <a:lnTo>
                    <a:pt x="88" y="220"/>
                  </a:lnTo>
                  <a:lnTo>
                    <a:pt x="90" y="220"/>
                  </a:lnTo>
                  <a:lnTo>
                    <a:pt x="90" y="220"/>
                  </a:lnTo>
                  <a:lnTo>
                    <a:pt x="92" y="218"/>
                  </a:lnTo>
                  <a:lnTo>
                    <a:pt x="92" y="212"/>
                  </a:lnTo>
                  <a:lnTo>
                    <a:pt x="96" y="214"/>
                  </a:lnTo>
                  <a:lnTo>
                    <a:pt x="102" y="212"/>
                  </a:lnTo>
                  <a:lnTo>
                    <a:pt x="100" y="210"/>
                  </a:lnTo>
                  <a:lnTo>
                    <a:pt x="100" y="210"/>
                  </a:lnTo>
                  <a:lnTo>
                    <a:pt x="102" y="196"/>
                  </a:lnTo>
                  <a:lnTo>
                    <a:pt x="102" y="196"/>
                  </a:lnTo>
                  <a:lnTo>
                    <a:pt x="106" y="194"/>
                  </a:lnTo>
                  <a:lnTo>
                    <a:pt x="108" y="194"/>
                  </a:lnTo>
                  <a:lnTo>
                    <a:pt x="114" y="194"/>
                  </a:lnTo>
                  <a:lnTo>
                    <a:pt x="114" y="194"/>
                  </a:lnTo>
                  <a:lnTo>
                    <a:pt x="116" y="194"/>
                  </a:lnTo>
                  <a:lnTo>
                    <a:pt x="118" y="194"/>
                  </a:lnTo>
                  <a:lnTo>
                    <a:pt x="118" y="190"/>
                  </a:lnTo>
                  <a:lnTo>
                    <a:pt x="118" y="180"/>
                  </a:lnTo>
                  <a:lnTo>
                    <a:pt x="118" y="180"/>
                  </a:lnTo>
                  <a:lnTo>
                    <a:pt x="118" y="178"/>
                  </a:lnTo>
                  <a:lnTo>
                    <a:pt x="120" y="174"/>
                  </a:lnTo>
                  <a:lnTo>
                    <a:pt x="122" y="172"/>
                  </a:lnTo>
                  <a:lnTo>
                    <a:pt x="116" y="164"/>
                  </a:lnTo>
                  <a:lnTo>
                    <a:pt x="116" y="164"/>
                  </a:lnTo>
                  <a:lnTo>
                    <a:pt x="118" y="160"/>
                  </a:lnTo>
                  <a:lnTo>
                    <a:pt x="120" y="154"/>
                  </a:lnTo>
                  <a:lnTo>
                    <a:pt x="120" y="154"/>
                  </a:lnTo>
                  <a:lnTo>
                    <a:pt x="122" y="150"/>
                  </a:lnTo>
                  <a:lnTo>
                    <a:pt x="128" y="146"/>
                  </a:lnTo>
                  <a:lnTo>
                    <a:pt x="130" y="144"/>
                  </a:lnTo>
                  <a:lnTo>
                    <a:pt x="132" y="138"/>
                  </a:lnTo>
                  <a:lnTo>
                    <a:pt x="132" y="138"/>
                  </a:lnTo>
                  <a:lnTo>
                    <a:pt x="136" y="138"/>
                  </a:lnTo>
                  <a:lnTo>
                    <a:pt x="138" y="144"/>
                  </a:lnTo>
                  <a:lnTo>
                    <a:pt x="140" y="146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8" y="146"/>
                  </a:lnTo>
                  <a:lnTo>
                    <a:pt x="152" y="142"/>
                  </a:lnTo>
                  <a:lnTo>
                    <a:pt x="152" y="142"/>
                  </a:lnTo>
                  <a:lnTo>
                    <a:pt x="154" y="144"/>
                  </a:lnTo>
                  <a:lnTo>
                    <a:pt x="158" y="146"/>
                  </a:lnTo>
                  <a:lnTo>
                    <a:pt x="158" y="146"/>
                  </a:lnTo>
                  <a:lnTo>
                    <a:pt x="160" y="148"/>
                  </a:lnTo>
                  <a:lnTo>
                    <a:pt x="160" y="148"/>
                  </a:lnTo>
                  <a:lnTo>
                    <a:pt x="158" y="144"/>
                  </a:lnTo>
                  <a:lnTo>
                    <a:pt x="158" y="138"/>
                  </a:lnTo>
                  <a:lnTo>
                    <a:pt x="158" y="132"/>
                  </a:lnTo>
                  <a:lnTo>
                    <a:pt x="158" y="132"/>
                  </a:lnTo>
                  <a:lnTo>
                    <a:pt x="158" y="130"/>
                  </a:lnTo>
                  <a:lnTo>
                    <a:pt x="158" y="128"/>
                  </a:lnTo>
                  <a:lnTo>
                    <a:pt x="158" y="126"/>
                  </a:lnTo>
                  <a:lnTo>
                    <a:pt x="158" y="124"/>
                  </a:lnTo>
                  <a:lnTo>
                    <a:pt x="158" y="124"/>
                  </a:lnTo>
                  <a:lnTo>
                    <a:pt x="162" y="122"/>
                  </a:lnTo>
                  <a:lnTo>
                    <a:pt x="162" y="120"/>
                  </a:lnTo>
                  <a:lnTo>
                    <a:pt x="162" y="118"/>
                  </a:lnTo>
                  <a:lnTo>
                    <a:pt x="162" y="118"/>
                  </a:lnTo>
                  <a:lnTo>
                    <a:pt x="160" y="118"/>
                  </a:lnTo>
                  <a:lnTo>
                    <a:pt x="158" y="112"/>
                  </a:lnTo>
                  <a:lnTo>
                    <a:pt x="154" y="110"/>
                  </a:lnTo>
                  <a:lnTo>
                    <a:pt x="154" y="110"/>
                  </a:lnTo>
                  <a:lnTo>
                    <a:pt x="148" y="104"/>
                  </a:lnTo>
                  <a:lnTo>
                    <a:pt x="146" y="100"/>
                  </a:lnTo>
                  <a:lnTo>
                    <a:pt x="146" y="98"/>
                  </a:lnTo>
                  <a:lnTo>
                    <a:pt x="148" y="96"/>
                  </a:lnTo>
                  <a:lnTo>
                    <a:pt x="148" y="96"/>
                  </a:lnTo>
                  <a:lnTo>
                    <a:pt x="152" y="86"/>
                  </a:lnTo>
                  <a:lnTo>
                    <a:pt x="154" y="82"/>
                  </a:lnTo>
                  <a:lnTo>
                    <a:pt x="154" y="82"/>
                  </a:lnTo>
                  <a:lnTo>
                    <a:pt x="154" y="80"/>
                  </a:lnTo>
                  <a:lnTo>
                    <a:pt x="158" y="78"/>
                  </a:lnTo>
                  <a:lnTo>
                    <a:pt x="158" y="78"/>
                  </a:lnTo>
                  <a:lnTo>
                    <a:pt x="160" y="76"/>
                  </a:lnTo>
                  <a:lnTo>
                    <a:pt x="162" y="74"/>
                  </a:lnTo>
                  <a:lnTo>
                    <a:pt x="162" y="68"/>
                  </a:lnTo>
                  <a:lnTo>
                    <a:pt x="162" y="64"/>
                  </a:lnTo>
                  <a:lnTo>
                    <a:pt x="162" y="64"/>
                  </a:lnTo>
                  <a:lnTo>
                    <a:pt x="154" y="56"/>
                  </a:lnTo>
                  <a:lnTo>
                    <a:pt x="144" y="50"/>
                  </a:lnTo>
                  <a:lnTo>
                    <a:pt x="144" y="50"/>
                  </a:lnTo>
                  <a:lnTo>
                    <a:pt x="144" y="50"/>
                  </a:lnTo>
                  <a:lnTo>
                    <a:pt x="140" y="50"/>
                  </a:lnTo>
                  <a:lnTo>
                    <a:pt x="136" y="50"/>
                  </a:lnTo>
                  <a:lnTo>
                    <a:pt x="132" y="46"/>
                  </a:lnTo>
                  <a:lnTo>
                    <a:pt x="132" y="46"/>
                  </a:lnTo>
                  <a:lnTo>
                    <a:pt x="128" y="40"/>
                  </a:lnTo>
                  <a:lnTo>
                    <a:pt x="128" y="38"/>
                  </a:lnTo>
                  <a:lnTo>
                    <a:pt x="134" y="36"/>
                  </a:lnTo>
                  <a:lnTo>
                    <a:pt x="134" y="22"/>
                  </a:lnTo>
                  <a:lnTo>
                    <a:pt x="134" y="22"/>
                  </a:lnTo>
                  <a:lnTo>
                    <a:pt x="128" y="18"/>
                  </a:lnTo>
                  <a:lnTo>
                    <a:pt x="122" y="16"/>
                  </a:lnTo>
                  <a:lnTo>
                    <a:pt x="120" y="16"/>
                  </a:lnTo>
                  <a:lnTo>
                    <a:pt x="120" y="16"/>
                  </a:lnTo>
                  <a:lnTo>
                    <a:pt x="118" y="18"/>
                  </a:lnTo>
                  <a:lnTo>
                    <a:pt x="118" y="22"/>
                  </a:lnTo>
                  <a:lnTo>
                    <a:pt x="118" y="24"/>
                  </a:lnTo>
                  <a:lnTo>
                    <a:pt x="118" y="28"/>
                  </a:lnTo>
                  <a:lnTo>
                    <a:pt x="118" y="28"/>
                  </a:lnTo>
                  <a:lnTo>
                    <a:pt x="118" y="28"/>
                  </a:lnTo>
                  <a:lnTo>
                    <a:pt x="116" y="22"/>
                  </a:lnTo>
                  <a:lnTo>
                    <a:pt x="112" y="18"/>
                  </a:lnTo>
                  <a:lnTo>
                    <a:pt x="110" y="12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2" y="8"/>
                  </a:lnTo>
                  <a:lnTo>
                    <a:pt x="98" y="6"/>
                  </a:lnTo>
                  <a:lnTo>
                    <a:pt x="96" y="0"/>
                  </a:lnTo>
                  <a:lnTo>
                    <a:pt x="96" y="0"/>
                  </a:lnTo>
                  <a:lnTo>
                    <a:pt x="94" y="8"/>
                  </a:lnTo>
                  <a:lnTo>
                    <a:pt x="92" y="10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94" y="20"/>
                  </a:lnTo>
                  <a:lnTo>
                    <a:pt x="94" y="28"/>
                  </a:lnTo>
                  <a:lnTo>
                    <a:pt x="94" y="34"/>
                  </a:lnTo>
                  <a:lnTo>
                    <a:pt x="94" y="34"/>
                  </a:lnTo>
                  <a:lnTo>
                    <a:pt x="98" y="40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96" y="44"/>
                  </a:lnTo>
                  <a:lnTo>
                    <a:pt x="96" y="44"/>
                  </a:lnTo>
                  <a:lnTo>
                    <a:pt x="92" y="42"/>
                  </a:lnTo>
                  <a:lnTo>
                    <a:pt x="86" y="36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72" y="30"/>
                  </a:lnTo>
                  <a:lnTo>
                    <a:pt x="72" y="30"/>
                  </a:lnTo>
                  <a:lnTo>
                    <a:pt x="66" y="30"/>
                  </a:lnTo>
                  <a:lnTo>
                    <a:pt x="62" y="32"/>
                  </a:lnTo>
                  <a:lnTo>
                    <a:pt x="56" y="34"/>
                  </a:lnTo>
                  <a:lnTo>
                    <a:pt x="50" y="32"/>
                  </a:lnTo>
                  <a:lnTo>
                    <a:pt x="50" y="32"/>
                  </a:lnTo>
                  <a:lnTo>
                    <a:pt x="48" y="32"/>
                  </a:lnTo>
                  <a:lnTo>
                    <a:pt x="46" y="34"/>
                  </a:lnTo>
                  <a:lnTo>
                    <a:pt x="44" y="34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38" y="36"/>
                  </a:lnTo>
                  <a:lnTo>
                    <a:pt x="30" y="34"/>
                  </a:lnTo>
                  <a:lnTo>
                    <a:pt x="26" y="32"/>
                  </a:lnTo>
                  <a:lnTo>
                    <a:pt x="22" y="28"/>
                  </a:lnTo>
                  <a:lnTo>
                    <a:pt x="22" y="28"/>
                  </a:lnTo>
                  <a:lnTo>
                    <a:pt x="18" y="18"/>
                  </a:lnTo>
                  <a:lnTo>
                    <a:pt x="18" y="14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8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8"/>
                  </a:lnTo>
                  <a:lnTo>
                    <a:pt x="2" y="24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0" y="52"/>
                  </a:lnTo>
                  <a:lnTo>
                    <a:pt x="0" y="62"/>
                  </a:lnTo>
                  <a:lnTo>
                    <a:pt x="0" y="64"/>
                  </a:lnTo>
                  <a:lnTo>
                    <a:pt x="2" y="66"/>
                  </a:lnTo>
                  <a:lnTo>
                    <a:pt x="2" y="66"/>
                  </a:lnTo>
                  <a:lnTo>
                    <a:pt x="4" y="70"/>
                  </a:lnTo>
                  <a:lnTo>
                    <a:pt x="4" y="78"/>
                  </a:lnTo>
                  <a:lnTo>
                    <a:pt x="4" y="86"/>
                  </a:lnTo>
                  <a:lnTo>
                    <a:pt x="4" y="86"/>
                  </a:lnTo>
                  <a:lnTo>
                    <a:pt x="6" y="100"/>
                  </a:lnTo>
                  <a:lnTo>
                    <a:pt x="10" y="112"/>
                  </a:lnTo>
                  <a:lnTo>
                    <a:pt x="10" y="112"/>
                  </a:lnTo>
                  <a:lnTo>
                    <a:pt x="14" y="118"/>
                  </a:lnTo>
                  <a:lnTo>
                    <a:pt x="14" y="124"/>
                  </a:lnTo>
                  <a:lnTo>
                    <a:pt x="14" y="136"/>
                  </a:lnTo>
                  <a:lnTo>
                    <a:pt x="10" y="152"/>
                  </a:lnTo>
                  <a:lnTo>
                    <a:pt x="8" y="164"/>
                  </a:lnTo>
                  <a:lnTo>
                    <a:pt x="8" y="164"/>
                  </a:lnTo>
                  <a:lnTo>
                    <a:pt x="8" y="174"/>
                  </a:lnTo>
                  <a:lnTo>
                    <a:pt x="6" y="180"/>
                  </a:lnTo>
                  <a:lnTo>
                    <a:pt x="4" y="184"/>
                  </a:lnTo>
                  <a:lnTo>
                    <a:pt x="4" y="184"/>
                  </a:lnTo>
                  <a:lnTo>
                    <a:pt x="4" y="190"/>
                  </a:lnTo>
                  <a:lnTo>
                    <a:pt x="4" y="192"/>
                  </a:lnTo>
                  <a:lnTo>
                    <a:pt x="6" y="192"/>
                  </a:lnTo>
                  <a:lnTo>
                    <a:pt x="6" y="192"/>
                  </a:lnTo>
                  <a:lnTo>
                    <a:pt x="8" y="192"/>
                  </a:lnTo>
                  <a:lnTo>
                    <a:pt x="14" y="192"/>
                  </a:lnTo>
                  <a:lnTo>
                    <a:pt x="16" y="194"/>
                  </a:lnTo>
                  <a:lnTo>
                    <a:pt x="16" y="194"/>
                  </a:lnTo>
                  <a:lnTo>
                    <a:pt x="18" y="196"/>
                  </a:lnTo>
                  <a:lnTo>
                    <a:pt x="22" y="202"/>
                  </a:lnTo>
                  <a:lnTo>
                    <a:pt x="28" y="214"/>
                  </a:lnTo>
                  <a:lnTo>
                    <a:pt x="28" y="214"/>
                  </a:lnTo>
                  <a:lnTo>
                    <a:pt x="28" y="214"/>
                  </a:lnTo>
                  <a:lnTo>
                    <a:pt x="28" y="214"/>
                  </a:lnTo>
                  <a:lnTo>
                    <a:pt x="40" y="206"/>
                  </a:lnTo>
                  <a:lnTo>
                    <a:pt x="44" y="204"/>
                  </a:lnTo>
                  <a:lnTo>
                    <a:pt x="50" y="204"/>
                  </a:lnTo>
                  <a:lnTo>
                    <a:pt x="50" y="204"/>
                  </a:lnTo>
                  <a:lnTo>
                    <a:pt x="54" y="202"/>
                  </a:lnTo>
                  <a:lnTo>
                    <a:pt x="60" y="202"/>
                  </a:lnTo>
                  <a:lnTo>
                    <a:pt x="62" y="200"/>
                  </a:lnTo>
                  <a:lnTo>
                    <a:pt x="64" y="198"/>
                  </a:lnTo>
                  <a:lnTo>
                    <a:pt x="64" y="198"/>
                  </a:lnTo>
                  <a:lnTo>
                    <a:pt x="64" y="198"/>
                  </a:lnTo>
                  <a:lnTo>
                    <a:pt x="64" y="198"/>
                  </a:lnTo>
                  <a:lnTo>
                    <a:pt x="64" y="198"/>
                  </a:lnTo>
                  <a:close/>
                  <a:moveTo>
                    <a:pt x="28" y="192"/>
                  </a:moveTo>
                  <a:lnTo>
                    <a:pt x="28" y="192"/>
                  </a:lnTo>
                  <a:lnTo>
                    <a:pt x="28" y="190"/>
                  </a:lnTo>
                  <a:lnTo>
                    <a:pt x="28" y="184"/>
                  </a:lnTo>
                  <a:lnTo>
                    <a:pt x="28" y="180"/>
                  </a:lnTo>
                  <a:lnTo>
                    <a:pt x="26" y="176"/>
                  </a:lnTo>
                  <a:lnTo>
                    <a:pt x="26" y="176"/>
                  </a:lnTo>
                  <a:lnTo>
                    <a:pt x="22" y="168"/>
                  </a:lnTo>
                  <a:lnTo>
                    <a:pt x="22" y="166"/>
                  </a:lnTo>
                  <a:lnTo>
                    <a:pt x="24" y="164"/>
                  </a:lnTo>
                  <a:lnTo>
                    <a:pt x="24" y="164"/>
                  </a:lnTo>
                  <a:lnTo>
                    <a:pt x="28" y="164"/>
                  </a:lnTo>
                  <a:lnTo>
                    <a:pt x="32" y="160"/>
                  </a:lnTo>
                  <a:lnTo>
                    <a:pt x="38" y="164"/>
                  </a:lnTo>
                  <a:lnTo>
                    <a:pt x="38" y="164"/>
                  </a:lnTo>
                  <a:lnTo>
                    <a:pt x="38" y="164"/>
                  </a:lnTo>
                  <a:lnTo>
                    <a:pt x="38" y="164"/>
                  </a:lnTo>
                  <a:lnTo>
                    <a:pt x="38" y="166"/>
                  </a:lnTo>
                  <a:lnTo>
                    <a:pt x="40" y="168"/>
                  </a:lnTo>
                  <a:lnTo>
                    <a:pt x="40" y="168"/>
                  </a:lnTo>
                  <a:lnTo>
                    <a:pt x="42" y="168"/>
                  </a:lnTo>
                  <a:lnTo>
                    <a:pt x="42" y="168"/>
                  </a:lnTo>
                  <a:lnTo>
                    <a:pt x="44" y="160"/>
                  </a:lnTo>
                  <a:lnTo>
                    <a:pt x="46" y="158"/>
                  </a:lnTo>
                  <a:lnTo>
                    <a:pt x="50" y="154"/>
                  </a:lnTo>
                  <a:lnTo>
                    <a:pt x="50" y="154"/>
                  </a:lnTo>
                  <a:lnTo>
                    <a:pt x="52" y="150"/>
                  </a:lnTo>
                  <a:lnTo>
                    <a:pt x="56" y="150"/>
                  </a:lnTo>
                  <a:lnTo>
                    <a:pt x="62" y="150"/>
                  </a:lnTo>
                  <a:lnTo>
                    <a:pt x="66" y="148"/>
                  </a:lnTo>
                  <a:lnTo>
                    <a:pt x="66" y="148"/>
                  </a:lnTo>
                  <a:lnTo>
                    <a:pt x="66" y="146"/>
                  </a:lnTo>
                  <a:lnTo>
                    <a:pt x="68" y="142"/>
                  </a:lnTo>
                  <a:lnTo>
                    <a:pt x="72" y="136"/>
                  </a:lnTo>
                  <a:lnTo>
                    <a:pt x="72" y="136"/>
                  </a:lnTo>
                  <a:lnTo>
                    <a:pt x="74" y="132"/>
                  </a:lnTo>
                  <a:lnTo>
                    <a:pt x="74" y="132"/>
                  </a:lnTo>
                  <a:lnTo>
                    <a:pt x="72" y="130"/>
                  </a:lnTo>
                  <a:lnTo>
                    <a:pt x="72" y="130"/>
                  </a:lnTo>
                  <a:lnTo>
                    <a:pt x="68" y="122"/>
                  </a:lnTo>
                  <a:lnTo>
                    <a:pt x="66" y="118"/>
                  </a:lnTo>
                  <a:lnTo>
                    <a:pt x="66" y="118"/>
                  </a:lnTo>
                  <a:lnTo>
                    <a:pt x="64" y="124"/>
                  </a:lnTo>
                  <a:lnTo>
                    <a:pt x="60" y="128"/>
                  </a:lnTo>
                  <a:lnTo>
                    <a:pt x="60" y="130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48" y="118"/>
                  </a:lnTo>
                  <a:lnTo>
                    <a:pt x="44" y="110"/>
                  </a:lnTo>
                  <a:lnTo>
                    <a:pt x="42" y="104"/>
                  </a:lnTo>
                  <a:lnTo>
                    <a:pt x="42" y="104"/>
                  </a:lnTo>
                  <a:lnTo>
                    <a:pt x="40" y="96"/>
                  </a:lnTo>
                  <a:lnTo>
                    <a:pt x="40" y="92"/>
                  </a:lnTo>
                  <a:lnTo>
                    <a:pt x="42" y="90"/>
                  </a:lnTo>
                  <a:lnTo>
                    <a:pt x="42" y="90"/>
                  </a:lnTo>
                  <a:lnTo>
                    <a:pt x="44" y="90"/>
                  </a:lnTo>
                  <a:lnTo>
                    <a:pt x="46" y="92"/>
                  </a:lnTo>
                  <a:lnTo>
                    <a:pt x="50" y="98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8"/>
                  </a:lnTo>
                  <a:lnTo>
                    <a:pt x="54" y="110"/>
                  </a:lnTo>
                  <a:lnTo>
                    <a:pt x="56" y="114"/>
                  </a:lnTo>
                  <a:lnTo>
                    <a:pt x="60" y="118"/>
                  </a:lnTo>
                  <a:lnTo>
                    <a:pt x="60" y="118"/>
                  </a:lnTo>
                  <a:lnTo>
                    <a:pt x="60" y="118"/>
                  </a:lnTo>
                  <a:lnTo>
                    <a:pt x="66" y="112"/>
                  </a:lnTo>
                  <a:lnTo>
                    <a:pt x="72" y="112"/>
                  </a:lnTo>
                  <a:lnTo>
                    <a:pt x="72" y="112"/>
                  </a:lnTo>
                  <a:lnTo>
                    <a:pt x="74" y="118"/>
                  </a:lnTo>
                  <a:lnTo>
                    <a:pt x="74" y="118"/>
                  </a:lnTo>
                  <a:lnTo>
                    <a:pt x="84" y="130"/>
                  </a:lnTo>
                  <a:lnTo>
                    <a:pt x="86" y="136"/>
                  </a:lnTo>
                  <a:lnTo>
                    <a:pt x="88" y="144"/>
                  </a:lnTo>
                  <a:lnTo>
                    <a:pt x="88" y="144"/>
                  </a:lnTo>
                  <a:lnTo>
                    <a:pt x="86" y="156"/>
                  </a:lnTo>
                  <a:lnTo>
                    <a:pt x="82" y="166"/>
                  </a:lnTo>
                  <a:lnTo>
                    <a:pt x="82" y="166"/>
                  </a:lnTo>
                  <a:lnTo>
                    <a:pt x="82" y="166"/>
                  </a:lnTo>
                  <a:lnTo>
                    <a:pt x="78" y="166"/>
                  </a:lnTo>
                  <a:lnTo>
                    <a:pt x="76" y="164"/>
                  </a:lnTo>
                  <a:lnTo>
                    <a:pt x="74" y="160"/>
                  </a:lnTo>
                  <a:lnTo>
                    <a:pt x="72" y="160"/>
                  </a:lnTo>
                  <a:lnTo>
                    <a:pt x="72" y="160"/>
                  </a:lnTo>
                  <a:lnTo>
                    <a:pt x="72" y="160"/>
                  </a:lnTo>
                  <a:lnTo>
                    <a:pt x="66" y="168"/>
                  </a:lnTo>
                  <a:lnTo>
                    <a:pt x="62" y="172"/>
                  </a:lnTo>
                  <a:lnTo>
                    <a:pt x="56" y="176"/>
                  </a:lnTo>
                  <a:lnTo>
                    <a:pt x="56" y="176"/>
                  </a:lnTo>
                  <a:lnTo>
                    <a:pt x="50" y="178"/>
                  </a:lnTo>
                  <a:lnTo>
                    <a:pt x="44" y="182"/>
                  </a:lnTo>
                  <a:lnTo>
                    <a:pt x="44" y="182"/>
                  </a:lnTo>
                  <a:lnTo>
                    <a:pt x="36" y="190"/>
                  </a:lnTo>
                  <a:lnTo>
                    <a:pt x="28" y="192"/>
                  </a:lnTo>
                  <a:lnTo>
                    <a:pt x="28" y="192"/>
                  </a:lnTo>
                  <a:lnTo>
                    <a:pt x="28" y="192"/>
                  </a:lnTo>
                  <a:lnTo>
                    <a:pt x="28" y="192"/>
                  </a:lnTo>
                  <a:lnTo>
                    <a:pt x="28" y="192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84" name="Freeform 43"/>
            <p:cNvSpPr>
              <a:spLocks/>
            </p:cNvSpPr>
            <p:nvPr/>
          </p:nvSpPr>
          <p:spPr bwMode="auto">
            <a:xfrm>
              <a:off x="865" y="2653"/>
              <a:ext cx="82" cy="60"/>
            </a:xfrm>
            <a:custGeom>
              <a:avLst/>
              <a:gdLst>
                <a:gd name="T0" fmla="*/ 42 w 82"/>
                <a:gd name="T1" fmla="*/ 58 h 60"/>
                <a:gd name="T2" fmla="*/ 52 w 82"/>
                <a:gd name="T3" fmla="*/ 58 h 60"/>
                <a:gd name="T4" fmla="*/ 54 w 82"/>
                <a:gd name="T5" fmla="*/ 56 h 60"/>
                <a:gd name="T6" fmla="*/ 54 w 82"/>
                <a:gd name="T7" fmla="*/ 46 h 60"/>
                <a:gd name="T8" fmla="*/ 52 w 82"/>
                <a:gd name="T9" fmla="*/ 36 h 60"/>
                <a:gd name="T10" fmla="*/ 54 w 82"/>
                <a:gd name="T11" fmla="*/ 32 h 60"/>
                <a:gd name="T12" fmla="*/ 62 w 82"/>
                <a:gd name="T13" fmla="*/ 30 h 60"/>
                <a:gd name="T14" fmla="*/ 66 w 82"/>
                <a:gd name="T15" fmla="*/ 30 h 60"/>
                <a:gd name="T16" fmla="*/ 70 w 82"/>
                <a:gd name="T17" fmla="*/ 30 h 60"/>
                <a:gd name="T18" fmla="*/ 72 w 82"/>
                <a:gd name="T19" fmla="*/ 30 h 60"/>
                <a:gd name="T20" fmla="*/ 82 w 82"/>
                <a:gd name="T21" fmla="*/ 20 h 60"/>
                <a:gd name="T22" fmla="*/ 78 w 82"/>
                <a:gd name="T23" fmla="*/ 12 h 60"/>
                <a:gd name="T24" fmla="*/ 70 w 82"/>
                <a:gd name="T25" fmla="*/ 2 h 60"/>
                <a:gd name="T26" fmla="*/ 68 w 82"/>
                <a:gd name="T27" fmla="*/ 2 h 60"/>
                <a:gd name="T28" fmla="*/ 68 w 82"/>
                <a:gd name="T29" fmla="*/ 0 h 60"/>
                <a:gd name="T30" fmla="*/ 62 w 82"/>
                <a:gd name="T31" fmla="*/ 4 h 60"/>
                <a:gd name="T32" fmla="*/ 62 w 82"/>
                <a:gd name="T33" fmla="*/ 10 h 60"/>
                <a:gd name="T34" fmla="*/ 60 w 82"/>
                <a:gd name="T35" fmla="*/ 18 h 60"/>
                <a:gd name="T36" fmla="*/ 56 w 82"/>
                <a:gd name="T37" fmla="*/ 20 h 60"/>
                <a:gd name="T38" fmla="*/ 46 w 82"/>
                <a:gd name="T39" fmla="*/ 16 h 60"/>
                <a:gd name="T40" fmla="*/ 36 w 82"/>
                <a:gd name="T41" fmla="*/ 10 h 60"/>
                <a:gd name="T42" fmla="*/ 30 w 82"/>
                <a:gd name="T43" fmla="*/ 8 h 60"/>
                <a:gd name="T44" fmla="*/ 16 w 82"/>
                <a:gd name="T45" fmla="*/ 10 h 60"/>
                <a:gd name="T46" fmla="*/ 6 w 82"/>
                <a:gd name="T47" fmla="*/ 12 h 60"/>
                <a:gd name="T48" fmla="*/ 10 w 82"/>
                <a:gd name="T49" fmla="*/ 26 h 60"/>
                <a:gd name="T50" fmla="*/ 6 w 82"/>
                <a:gd name="T51" fmla="*/ 30 h 60"/>
                <a:gd name="T52" fmla="*/ 0 w 82"/>
                <a:gd name="T53" fmla="*/ 32 h 60"/>
                <a:gd name="T54" fmla="*/ 2 w 82"/>
                <a:gd name="T55" fmla="*/ 38 h 60"/>
                <a:gd name="T56" fmla="*/ 10 w 82"/>
                <a:gd name="T57" fmla="*/ 42 h 60"/>
                <a:gd name="T58" fmla="*/ 14 w 82"/>
                <a:gd name="T59" fmla="*/ 44 h 60"/>
                <a:gd name="T60" fmla="*/ 22 w 82"/>
                <a:gd name="T61" fmla="*/ 50 h 60"/>
                <a:gd name="T62" fmla="*/ 24 w 82"/>
                <a:gd name="T63" fmla="*/ 54 h 60"/>
                <a:gd name="T64" fmla="*/ 34 w 82"/>
                <a:gd name="T65" fmla="*/ 58 h 60"/>
                <a:gd name="T66" fmla="*/ 38 w 82"/>
                <a:gd name="T67" fmla="*/ 58 h 60"/>
                <a:gd name="T68" fmla="*/ 42 w 82"/>
                <a:gd name="T69" fmla="*/ 58 h 60"/>
                <a:gd name="T70" fmla="*/ 42 w 82"/>
                <a:gd name="T71" fmla="*/ 5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2" h="60">
                  <a:moveTo>
                    <a:pt x="42" y="58"/>
                  </a:moveTo>
                  <a:lnTo>
                    <a:pt x="42" y="58"/>
                  </a:lnTo>
                  <a:lnTo>
                    <a:pt x="46" y="60"/>
                  </a:lnTo>
                  <a:lnTo>
                    <a:pt x="52" y="58"/>
                  </a:lnTo>
                  <a:lnTo>
                    <a:pt x="54" y="56"/>
                  </a:lnTo>
                  <a:lnTo>
                    <a:pt x="54" y="56"/>
                  </a:lnTo>
                  <a:lnTo>
                    <a:pt x="54" y="50"/>
                  </a:lnTo>
                  <a:lnTo>
                    <a:pt x="54" y="4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4" y="32"/>
                  </a:lnTo>
                  <a:lnTo>
                    <a:pt x="58" y="30"/>
                  </a:lnTo>
                  <a:lnTo>
                    <a:pt x="62" y="30"/>
                  </a:lnTo>
                  <a:lnTo>
                    <a:pt x="62" y="30"/>
                  </a:lnTo>
                  <a:lnTo>
                    <a:pt x="66" y="30"/>
                  </a:lnTo>
                  <a:lnTo>
                    <a:pt x="68" y="30"/>
                  </a:lnTo>
                  <a:lnTo>
                    <a:pt x="70" y="30"/>
                  </a:lnTo>
                  <a:lnTo>
                    <a:pt x="72" y="30"/>
                  </a:lnTo>
                  <a:lnTo>
                    <a:pt x="72" y="30"/>
                  </a:lnTo>
                  <a:lnTo>
                    <a:pt x="78" y="24"/>
                  </a:lnTo>
                  <a:lnTo>
                    <a:pt x="82" y="20"/>
                  </a:lnTo>
                  <a:lnTo>
                    <a:pt x="82" y="20"/>
                  </a:lnTo>
                  <a:lnTo>
                    <a:pt x="78" y="12"/>
                  </a:lnTo>
                  <a:lnTo>
                    <a:pt x="76" y="8"/>
                  </a:lnTo>
                  <a:lnTo>
                    <a:pt x="70" y="2"/>
                  </a:lnTo>
                  <a:lnTo>
                    <a:pt x="70" y="2"/>
                  </a:lnTo>
                  <a:lnTo>
                    <a:pt x="68" y="2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4" y="2"/>
                  </a:lnTo>
                  <a:lnTo>
                    <a:pt x="62" y="4"/>
                  </a:lnTo>
                  <a:lnTo>
                    <a:pt x="62" y="4"/>
                  </a:lnTo>
                  <a:lnTo>
                    <a:pt x="62" y="10"/>
                  </a:lnTo>
                  <a:lnTo>
                    <a:pt x="62" y="16"/>
                  </a:lnTo>
                  <a:lnTo>
                    <a:pt x="60" y="18"/>
                  </a:lnTo>
                  <a:lnTo>
                    <a:pt x="58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46" y="16"/>
                  </a:lnTo>
                  <a:lnTo>
                    <a:pt x="42" y="12"/>
                  </a:lnTo>
                  <a:lnTo>
                    <a:pt x="36" y="10"/>
                  </a:lnTo>
                  <a:lnTo>
                    <a:pt x="32" y="8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16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20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6" y="30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38"/>
                  </a:lnTo>
                  <a:lnTo>
                    <a:pt x="6" y="40"/>
                  </a:lnTo>
                  <a:lnTo>
                    <a:pt x="10" y="42"/>
                  </a:lnTo>
                  <a:lnTo>
                    <a:pt x="10" y="42"/>
                  </a:lnTo>
                  <a:lnTo>
                    <a:pt x="14" y="44"/>
                  </a:lnTo>
                  <a:lnTo>
                    <a:pt x="18" y="48"/>
                  </a:lnTo>
                  <a:lnTo>
                    <a:pt x="22" y="50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32" y="56"/>
                  </a:lnTo>
                  <a:lnTo>
                    <a:pt x="34" y="58"/>
                  </a:lnTo>
                  <a:lnTo>
                    <a:pt x="34" y="58"/>
                  </a:lnTo>
                  <a:lnTo>
                    <a:pt x="38" y="58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2" y="58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85" name="Freeform 44"/>
            <p:cNvSpPr>
              <a:spLocks/>
            </p:cNvSpPr>
            <p:nvPr/>
          </p:nvSpPr>
          <p:spPr bwMode="auto">
            <a:xfrm>
              <a:off x="1070" y="2163"/>
              <a:ext cx="159" cy="162"/>
            </a:xfrm>
            <a:custGeom>
              <a:avLst/>
              <a:gdLst>
                <a:gd name="T0" fmla="*/ 24 w 159"/>
                <a:gd name="T1" fmla="*/ 158 h 162"/>
                <a:gd name="T2" fmla="*/ 34 w 159"/>
                <a:gd name="T3" fmla="*/ 162 h 162"/>
                <a:gd name="T4" fmla="*/ 52 w 159"/>
                <a:gd name="T5" fmla="*/ 158 h 162"/>
                <a:gd name="T6" fmla="*/ 62 w 159"/>
                <a:gd name="T7" fmla="*/ 158 h 162"/>
                <a:gd name="T8" fmla="*/ 68 w 159"/>
                <a:gd name="T9" fmla="*/ 158 h 162"/>
                <a:gd name="T10" fmla="*/ 78 w 159"/>
                <a:gd name="T11" fmla="*/ 158 h 162"/>
                <a:gd name="T12" fmla="*/ 80 w 159"/>
                <a:gd name="T13" fmla="*/ 152 h 162"/>
                <a:gd name="T14" fmla="*/ 88 w 159"/>
                <a:gd name="T15" fmla="*/ 146 h 162"/>
                <a:gd name="T16" fmla="*/ 92 w 159"/>
                <a:gd name="T17" fmla="*/ 144 h 162"/>
                <a:gd name="T18" fmla="*/ 92 w 159"/>
                <a:gd name="T19" fmla="*/ 132 h 162"/>
                <a:gd name="T20" fmla="*/ 98 w 159"/>
                <a:gd name="T21" fmla="*/ 132 h 162"/>
                <a:gd name="T22" fmla="*/ 110 w 159"/>
                <a:gd name="T23" fmla="*/ 134 h 162"/>
                <a:gd name="T24" fmla="*/ 126 w 159"/>
                <a:gd name="T25" fmla="*/ 136 h 162"/>
                <a:gd name="T26" fmla="*/ 132 w 159"/>
                <a:gd name="T27" fmla="*/ 142 h 162"/>
                <a:gd name="T28" fmla="*/ 138 w 159"/>
                <a:gd name="T29" fmla="*/ 148 h 162"/>
                <a:gd name="T30" fmla="*/ 150 w 159"/>
                <a:gd name="T31" fmla="*/ 158 h 162"/>
                <a:gd name="T32" fmla="*/ 152 w 159"/>
                <a:gd name="T33" fmla="*/ 158 h 162"/>
                <a:gd name="T34" fmla="*/ 157 w 159"/>
                <a:gd name="T35" fmla="*/ 148 h 162"/>
                <a:gd name="T36" fmla="*/ 157 w 159"/>
                <a:gd name="T37" fmla="*/ 138 h 162"/>
                <a:gd name="T38" fmla="*/ 156 w 159"/>
                <a:gd name="T39" fmla="*/ 126 h 162"/>
                <a:gd name="T40" fmla="*/ 152 w 159"/>
                <a:gd name="T41" fmla="*/ 118 h 162"/>
                <a:gd name="T42" fmla="*/ 148 w 159"/>
                <a:gd name="T43" fmla="*/ 112 h 162"/>
                <a:gd name="T44" fmla="*/ 140 w 159"/>
                <a:gd name="T45" fmla="*/ 98 h 162"/>
                <a:gd name="T46" fmla="*/ 128 w 159"/>
                <a:gd name="T47" fmla="*/ 86 h 162"/>
                <a:gd name="T48" fmla="*/ 130 w 159"/>
                <a:gd name="T49" fmla="*/ 68 h 162"/>
                <a:gd name="T50" fmla="*/ 128 w 159"/>
                <a:gd name="T51" fmla="*/ 64 h 162"/>
                <a:gd name="T52" fmla="*/ 114 w 159"/>
                <a:gd name="T53" fmla="*/ 50 h 162"/>
                <a:gd name="T54" fmla="*/ 108 w 159"/>
                <a:gd name="T55" fmla="*/ 34 h 162"/>
                <a:gd name="T56" fmla="*/ 102 w 159"/>
                <a:gd name="T57" fmla="*/ 26 h 162"/>
                <a:gd name="T58" fmla="*/ 98 w 159"/>
                <a:gd name="T59" fmla="*/ 24 h 162"/>
                <a:gd name="T60" fmla="*/ 98 w 159"/>
                <a:gd name="T61" fmla="*/ 8 h 162"/>
                <a:gd name="T62" fmla="*/ 92 w 159"/>
                <a:gd name="T63" fmla="*/ 4 h 162"/>
                <a:gd name="T64" fmla="*/ 80 w 159"/>
                <a:gd name="T65" fmla="*/ 0 h 162"/>
                <a:gd name="T66" fmla="*/ 78 w 159"/>
                <a:gd name="T67" fmla="*/ 0 h 162"/>
                <a:gd name="T68" fmla="*/ 76 w 159"/>
                <a:gd name="T69" fmla="*/ 12 h 162"/>
                <a:gd name="T70" fmla="*/ 66 w 159"/>
                <a:gd name="T71" fmla="*/ 12 h 162"/>
                <a:gd name="T72" fmla="*/ 52 w 159"/>
                <a:gd name="T73" fmla="*/ 26 h 162"/>
                <a:gd name="T74" fmla="*/ 48 w 159"/>
                <a:gd name="T75" fmla="*/ 30 h 162"/>
                <a:gd name="T76" fmla="*/ 48 w 159"/>
                <a:gd name="T77" fmla="*/ 34 h 162"/>
                <a:gd name="T78" fmla="*/ 40 w 159"/>
                <a:gd name="T79" fmla="*/ 34 h 162"/>
                <a:gd name="T80" fmla="*/ 40 w 159"/>
                <a:gd name="T81" fmla="*/ 42 h 162"/>
                <a:gd name="T82" fmla="*/ 46 w 159"/>
                <a:gd name="T83" fmla="*/ 46 h 162"/>
                <a:gd name="T84" fmla="*/ 40 w 159"/>
                <a:gd name="T85" fmla="*/ 52 h 162"/>
                <a:gd name="T86" fmla="*/ 34 w 159"/>
                <a:gd name="T87" fmla="*/ 60 h 162"/>
                <a:gd name="T88" fmla="*/ 32 w 159"/>
                <a:gd name="T89" fmla="*/ 72 h 162"/>
                <a:gd name="T90" fmla="*/ 26 w 159"/>
                <a:gd name="T91" fmla="*/ 78 h 162"/>
                <a:gd name="T92" fmla="*/ 18 w 159"/>
                <a:gd name="T93" fmla="*/ 86 h 162"/>
                <a:gd name="T94" fmla="*/ 16 w 159"/>
                <a:gd name="T95" fmla="*/ 98 h 162"/>
                <a:gd name="T96" fmla="*/ 0 w 159"/>
                <a:gd name="T97" fmla="*/ 102 h 162"/>
                <a:gd name="T98" fmla="*/ 0 w 159"/>
                <a:gd name="T99" fmla="*/ 104 h 162"/>
                <a:gd name="T100" fmla="*/ 2 w 159"/>
                <a:gd name="T101" fmla="*/ 118 h 162"/>
                <a:gd name="T102" fmla="*/ 2 w 159"/>
                <a:gd name="T103" fmla="*/ 126 h 162"/>
                <a:gd name="T104" fmla="*/ 6 w 159"/>
                <a:gd name="T105" fmla="*/ 132 h 162"/>
                <a:gd name="T106" fmla="*/ 12 w 159"/>
                <a:gd name="T107" fmla="*/ 140 h 162"/>
                <a:gd name="T108" fmla="*/ 10 w 159"/>
                <a:gd name="T109" fmla="*/ 142 h 162"/>
                <a:gd name="T110" fmla="*/ 18 w 159"/>
                <a:gd name="T111" fmla="*/ 148 h 162"/>
                <a:gd name="T112" fmla="*/ 20 w 159"/>
                <a:gd name="T113" fmla="*/ 15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9" h="162">
                  <a:moveTo>
                    <a:pt x="20" y="152"/>
                  </a:moveTo>
                  <a:lnTo>
                    <a:pt x="20" y="152"/>
                  </a:lnTo>
                  <a:lnTo>
                    <a:pt x="24" y="158"/>
                  </a:lnTo>
                  <a:lnTo>
                    <a:pt x="30" y="160"/>
                  </a:lnTo>
                  <a:lnTo>
                    <a:pt x="30" y="160"/>
                  </a:lnTo>
                  <a:lnTo>
                    <a:pt x="34" y="162"/>
                  </a:lnTo>
                  <a:lnTo>
                    <a:pt x="38" y="162"/>
                  </a:lnTo>
                  <a:lnTo>
                    <a:pt x="52" y="158"/>
                  </a:lnTo>
                  <a:lnTo>
                    <a:pt x="52" y="158"/>
                  </a:lnTo>
                  <a:lnTo>
                    <a:pt x="56" y="158"/>
                  </a:lnTo>
                  <a:lnTo>
                    <a:pt x="60" y="158"/>
                  </a:lnTo>
                  <a:lnTo>
                    <a:pt x="62" y="158"/>
                  </a:lnTo>
                  <a:lnTo>
                    <a:pt x="66" y="158"/>
                  </a:lnTo>
                  <a:lnTo>
                    <a:pt x="68" y="158"/>
                  </a:lnTo>
                  <a:lnTo>
                    <a:pt x="68" y="158"/>
                  </a:lnTo>
                  <a:lnTo>
                    <a:pt x="72" y="158"/>
                  </a:lnTo>
                  <a:lnTo>
                    <a:pt x="72" y="158"/>
                  </a:lnTo>
                  <a:lnTo>
                    <a:pt x="78" y="158"/>
                  </a:lnTo>
                  <a:lnTo>
                    <a:pt x="80" y="156"/>
                  </a:lnTo>
                  <a:lnTo>
                    <a:pt x="80" y="152"/>
                  </a:lnTo>
                  <a:lnTo>
                    <a:pt x="80" y="152"/>
                  </a:lnTo>
                  <a:lnTo>
                    <a:pt x="82" y="148"/>
                  </a:lnTo>
                  <a:lnTo>
                    <a:pt x="84" y="148"/>
                  </a:lnTo>
                  <a:lnTo>
                    <a:pt x="88" y="146"/>
                  </a:lnTo>
                  <a:lnTo>
                    <a:pt x="90" y="144"/>
                  </a:lnTo>
                  <a:lnTo>
                    <a:pt x="90" y="144"/>
                  </a:lnTo>
                  <a:lnTo>
                    <a:pt x="92" y="144"/>
                  </a:lnTo>
                  <a:lnTo>
                    <a:pt x="92" y="142"/>
                  </a:lnTo>
                  <a:lnTo>
                    <a:pt x="92" y="138"/>
                  </a:lnTo>
                  <a:lnTo>
                    <a:pt x="92" y="132"/>
                  </a:lnTo>
                  <a:lnTo>
                    <a:pt x="92" y="132"/>
                  </a:lnTo>
                  <a:lnTo>
                    <a:pt x="98" y="132"/>
                  </a:lnTo>
                  <a:lnTo>
                    <a:pt x="98" y="132"/>
                  </a:lnTo>
                  <a:lnTo>
                    <a:pt x="104" y="134"/>
                  </a:lnTo>
                  <a:lnTo>
                    <a:pt x="110" y="134"/>
                  </a:lnTo>
                  <a:lnTo>
                    <a:pt x="110" y="134"/>
                  </a:lnTo>
                  <a:lnTo>
                    <a:pt x="118" y="134"/>
                  </a:lnTo>
                  <a:lnTo>
                    <a:pt x="122" y="134"/>
                  </a:lnTo>
                  <a:lnTo>
                    <a:pt x="126" y="136"/>
                  </a:lnTo>
                  <a:lnTo>
                    <a:pt x="126" y="136"/>
                  </a:lnTo>
                  <a:lnTo>
                    <a:pt x="130" y="138"/>
                  </a:lnTo>
                  <a:lnTo>
                    <a:pt x="132" y="142"/>
                  </a:lnTo>
                  <a:lnTo>
                    <a:pt x="136" y="144"/>
                  </a:lnTo>
                  <a:lnTo>
                    <a:pt x="138" y="148"/>
                  </a:lnTo>
                  <a:lnTo>
                    <a:pt x="138" y="148"/>
                  </a:lnTo>
                  <a:lnTo>
                    <a:pt x="146" y="156"/>
                  </a:lnTo>
                  <a:lnTo>
                    <a:pt x="150" y="158"/>
                  </a:lnTo>
                  <a:lnTo>
                    <a:pt x="150" y="158"/>
                  </a:lnTo>
                  <a:lnTo>
                    <a:pt x="152" y="158"/>
                  </a:lnTo>
                  <a:lnTo>
                    <a:pt x="152" y="158"/>
                  </a:lnTo>
                  <a:lnTo>
                    <a:pt x="152" y="158"/>
                  </a:lnTo>
                  <a:lnTo>
                    <a:pt x="156" y="152"/>
                  </a:lnTo>
                  <a:lnTo>
                    <a:pt x="156" y="152"/>
                  </a:lnTo>
                  <a:lnTo>
                    <a:pt x="157" y="148"/>
                  </a:lnTo>
                  <a:lnTo>
                    <a:pt x="159" y="144"/>
                  </a:lnTo>
                  <a:lnTo>
                    <a:pt x="157" y="138"/>
                  </a:lnTo>
                  <a:lnTo>
                    <a:pt x="157" y="138"/>
                  </a:lnTo>
                  <a:lnTo>
                    <a:pt x="159" y="128"/>
                  </a:lnTo>
                  <a:lnTo>
                    <a:pt x="159" y="128"/>
                  </a:lnTo>
                  <a:lnTo>
                    <a:pt x="156" y="126"/>
                  </a:lnTo>
                  <a:lnTo>
                    <a:pt x="154" y="122"/>
                  </a:lnTo>
                  <a:lnTo>
                    <a:pt x="154" y="122"/>
                  </a:lnTo>
                  <a:lnTo>
                    <a:pt x="152" y="118"/>
                  </a:lnTo>
                  <a:lnTo>
                    <a:pt x="150" y="118"/>
                  </a:lnTo>
                  <a:lnTo>
                    <a:pt x="148" y="116"/>
                  </a:lnTo>
                  <a:lnTo>
                    <a:pt x="148" y="112"/>
                  </a:lnTo>
                  <a:lnTo>
                    <a:pt x="148" y="112"/>
                  </a:lnTo>
                  <a:lnTo>
                    <a:pt x="146" y="104"/>
                  </a:lnTo>
                  <a:lnTo>
                    <a:pt x="140" y="98"/>
                  </a:lnTo>
                  <a:lnTo>
                    <a:pt x="140" y="98"/>
                  </a:lnTo>
                  <a:lnTo>
                    <a:pt x="136" y="90"/>
                  </a:lnTo>
                  <a:lnTo>
                    <a:pt x="128" y="86"/>
                  </a:lnTo>
                  <a:lnTo>
                    <a:pt x="134" y="76"/>
                  </a:lnTo>
                  <a:lnTo>
                    <a:pt x="134" y="76"/>
                  </a:lnTo>
                  <a:lnTo>
                    <a:pt x="130" y="68"/>
                  </a:lnTo>
                  <a:lnTo>
                    <a:pt x="130" y="68"/>
                  </a:lnTo>
                  <a:lnTo>
                    <a:pt x="128" y="64"/>
                  </a:lnTo>
                  <a:lnTo>
                    <a:pt x="128" y="64"/>
                  </a:lnTo>
                  <a:lnTo>
                    <a:pt x="122" y="56"/>
                  </a:lnTo>
                  <a:lnTo>
                    <a:pt x="122" y="56"/>
                  </a:lnTo>
                  <a:lnTo>
                    <a:pt x="114" y="50"/>
                  </a:lnTo>
                  <a:lnTo>
                    <a:pt x="110" y="46"/>
                  </a:lnTo>
                  <a:lnTo>
                    <a:pt x="110" y="46"/>
                  </a:lnTo>
                  <a:lnTo>
                    <a:pt x="108" y="34"/>
                  </a:lnTo>
                  <a:lnTo>
                    <a:pt x="106" y="30"/>
                  </a:lnTo>
                  <a:lnTo>
                    <a:pt x="102" y="26"/>
                  </a:lnTo>
                  <a:lnTo>
                    <a:pt x="102" y="26"/>
                  </a:lnTo>
                  <a:lnTo>
                    <a:pt x="102" y="26"/>
                  </a:lnTo>
                  <a:lnTo>
                    <a:pt x="102" y="26"/>
                  </a:lnTo>
                  <a:lnTo>
                    <a:pt x="98" y="24"/>
                  </a:lnTo>
                  <a:lnTo>
                    <a:pt x="98" y="18"/>
                  </a:lnTo>
                  <a:lnTo>
                    <a:pt x="98" y="18"/>
                  </a:lnTo>
                  <a:lnTo>
                    <a:pt x="98" y="8"/>
                  </a:lnTo>
                  <a:lnTo>
                    <a:pt x="94" y="8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86" y="2"/>
                  </a:lnTo>
                  <a:lnTo>
                    <a:pt x="82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2" y="12"/>
                  </a:lnTo>
                  <a:lnTo>
                    <a:pt x="70" y="12"/>
                  </a:lnTo>
                  <a:lnTo>
                    <a:pt x="66" y="12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48" y="30"/>
                  </a:lnTo>
                  <a:lnTo>
                    <a:pt x="48" y="32"/>
                  </a:lnTo>
                  <a:lnTo>
                    <a:pt x="48" y="34"/>
                  </a:lnTo>
                  <a:lnTo>
                    <a:pt x="48" y="34"/>
                  </a:lnTo>
                  <a:lnTo>
                    <a:pt x="46" y="34"/>
                  </a:lnTo>
                  <a:lnTo>
                    <a:pt x="46" y="34"/>
                  </a:lnTo>
                  <a:lnTo>
                    <a:pt x="40" y="34"/>
                  </a:lnTo>
                  <a:lnTo>
                    <a:pt x="40" y="36"/>
                  </a:lnTo>
                  <a:lnTo>
                    <a:pt x="40" y="42"/>
                  </a:lnTo>
                  <a:lnTo>
                    <a:pt x="40" y="42"/>
                  </a:lnTo>
                  <a:lnTo>
                    <a:pt x="42" y="44"/>
                  </a:lnTo>
                  <a:lnTo>
                    <a:pt x="46" y="46"/>
                  </a:lnTo>
                  <a:lnTo>
                    <a:pt x="46" y="46"/>
                  </a:lnTo>
                  <a:lnTo>
                    <a:pt x="46" y="50"/>
                  </a:lnTo>
                  <a:lnTo>
                    <a:pt x="46" y="50"/>
                  </a:lnTo>
                  <a:lnTo>
                    <a:pt x="40" y="52"/>
                  </a:lnTo>
                  <a:lnTo>
                    <a:pt x="36" y="54"/>
                  </a:lnTo>
                  <a:lnTo>
                    <a:pt x="36" y="54"/>
                  </a:lnTo>
                  <a:lnTo>
                    <a:pt x="34" y="60"/>
                  </a:lnTo>
                  <a:lnTo>
                    <a:pt x="34" y="68"/>
                  </a:lnTo>
                  <a:lnTo>
                    <a:pt x="34" y="68"/>
                  </a:lnTo>
                  <a:lnTo>
                    <a:pt x="32" y="72"/>
                  </a:lnTo>
                  <a:lnTo>
                    <a:pt x="30" y="76"/>
                  </a:lnTo>
                  <a:lnTo>
                    <a:pt x="26" y="78"/>
                  </a:lnTo>
                  <a:lnTo>
                    <a:pt x="26" y="78"/>
                  </a:lnTo>
                  <a:lnTo>
                    <a:pt x="22" y="80"/>
                  </a:lnTo>
                  <a:lnTo>
                    <a:pt x="18" y="86"/>
                  </a:lnTo>
                  <a:lnTo>
                    <a:pt x="18" y="86"/>
                  </a:lnTo>
                  <a:lnTo>
                    <a:pt x="16" y="90"/>
                  </a:lnTo>
                  <a:lnTo>
                    <a:pt x="16" y="94"/>
                  </a:lnTo>
                  <a:lnTo>
                    <a:pt x="16" y="98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12"/>
                  </a:lnTo>
                  <a:lnTo>
                    <a:pt x="2" y="118"/>
                  </a:lnTo>
                  <a:lnTo>
                    <a:pt x="2" y="118"/>
                  </a:lnTo>
                  <a:lnTo>
                    <a:pt x="2" y="120"/>
                  </a:lnTo>
                  <a:lnTo>
                    <a:pt x="2" y="122"/>
                  </a:lnTo>
                  <a:lnTo>
                    <a:pt x="2" y="126"/>
                  </a:lnTo>
                  <a:lnTo>
                    <a:pt x="2" y="128"/>
                  </a:lnTo>
                  <a:lnTo>
                    <a:pt x="2" y="128"/>
                  </a:lnTo>
                  <a:lnTo>
                    <a:pt x="6" y="132"/>
                  </a:lnTo>
                  <a:lnTo>
                    <a:pt x="8" y="134"/>
                  </a:lnTo>
                  <a:lnTo>
                    <a:pt x="12" y="138"/>
                  </a:lnTo>
                  <a:lnTo>
                    <a:pt x="12" y="140"/>
                  </a:lnTo>
                  <a:lnTo>
                    <a:pt x="12" y="140"/>
                  </a:lnTo>
                  <a:lnTo>
                    <a:pt x="10" y="142"/>
                  </a:lnTo>
                  <a:lnTo>
                    <a:pt x="10" y="142"/>
                  </a:lnTo>
                  <a:lnTo>
                    <a:pt x="16" y="144"/>
                  </a:lnTo>
                  <a:lnTo>
                    <a:pt x="18" y="146"/>
                  </a:lnTo>
                  <a:lnTo>
                    <a:pt x="18" y="148"/>
                  </a:lnTo>
                  <a:lnTo>
                    <a:pt x="20" y="152"/>
                  </a:lnTo>
                  <a:lnTo>
                    <a:pt x="20" y="152"/>
                  </a:lnTo>
                  <a:lnTo>
                    <a:pt x="20" y="152"/>
                  </a:lnTo>
                  <a:lnTo>
                    <a:pt x="20" y="152"/>
                  </a:lnTo>
                  <a:lnTo>
                    <a:pt x="20" y="152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86" name="Freeform 45"/>
            <p:cNvSpPr>
              <a:spLocks/>
            </p:cNvSpPr>
            <p:nvPr/>
          </p:nvSpPr>
          <p:spPr bwMode="auto">
            <a:xfrm>
              <a:off x="1026" y="2048"/>
              <a:ext cx="122" cy="149"/>
            </a:xfrm>
            <a:custGeom>
              <a:avLst/>
              <a:gdLst>
                <a:gd name="T0" fmla="*/ 20 w 122"/>
                <a:gd name="T1" fmla="*/ 75 h 149"/>
                <a:gd name="T2" fmla="*/ 34 w 122"/>
                <a:gd name="T3" fmla="*/ 79 h 149"/>
                <a:gd name="T4" fmla="*/ 40 w 122"/>
                <a:gd name="T5" fmla="*/ 91 h 149"/>
                <a:gd name="T6" fmla="*/ 44 w 122"/>
                <a:gd name="T7" fmla="*/ 97 h 149"/>
                <a:gd name="T8" fmla="*/ 54 w 122"/>
                <a:gd name="T9" fmla="*/ 101 h 149"/>
                <a:gd name="T10" fmla="*/ 74 w 122"/>
                <a:gd name="T11" fmla="*/ 111 h 149"/>
                <a:gd name="T12" fmla="*/ 84 w 122"/>
                <a:gd name="T13" fmla="*/ 119 h 149"/>
                <a:gd name="T14" fmla="*/ 90 w 122"/>
                <a:gd name="T15" fmla="*/ 127 h 149"/>
                <a:gd name="T16" fmla="*/ 92 w 122"/>
                <a:gd name="T17" fmla="*/ 149 h 149"/>
                <a:gd name="T18" fmla="*/ 96 w 122"/>
                <a:gd name="T19" fmla="*/ 141 h 149"/>
                <a:gd name="T20" fmla="*/ 106 w 122"/>
                <a:gd name="T21" fmla="*/ 127 h 149"/>
                <a:gd name="T22" fmla="*/ 114 w 122"/>
                <a:gd name="T23" fmla="*/ 127 h 149"/>
                <a:gd name="T24" fmla="*/ 120 w 122"/>
                <a:gd name="T25" fmla="*/ 127 h 149"/>
                <a:gd name="T26" fmla="*/ 122 w 122"/>
                <a:gd name="T27" fmla="*/ 115 h 149"/>
                <a:gd name="T28" fmla="*/ 114 w 122"/>
                <a:gd name="T29" fmla="*/ 113 h 149"/>
                <a:gd name="T30" fmla="*/ 110 w 122"/>
                <a:gd name="T31" fmla="*/ 103 h 149"/>
                <a:gd name="T32" fmla="*/ 110 w 122"/>
                <a:gd name="T33" fmla="*/ 97 h 149"/>
                <a:gd name="T34" fmla="*/ 106 w 122"/>
                <a:gd name="T35" fmla="*/ 91 h 149"/>
                <a:gd name="T36" fmla="*/ 104 w 122"/>
                <a:gd name="T37" fmla="*/ 81 h 149"/>
                <a:gd name="T38" fmla="*/ 98 w 122"/>
                <a:gd name="T39" fmla="*/ 59 h 149"/>
                <a:gd name="T40" fmla="*/ 98 w 122"/>
                <a:gd name="T41" fmla="*/ 48 h 149"/>
                <a:gd name="T42" fmla="*/ 96 w 122"/>
                <a:gd name="T43" fmla="*/ 42 h 149"/>
                <a:gd name="T44" fmla="*/ 84 w 122"/>
                <a:gd name="T45" fmla="*/ 32 h 149"/>
                <a:gd name="T46" fmla="*/ 84 w 122"/>
                <a:gd name="T47" fmla="*/ 26 h 149"/>
                <a:gd name="T48" fmla="*/ 86 w 122"/>
                <a:gd name="T49" fmla="*/ 22 h 149"/>
                <a:gd name="T50" fmla="*/ 74 w 122"/>
                <a:gd name="T51" fmla="*/ 8 h 149"/>
                <a:gd name="T52" fmla="*/ 66 w 122"/>
                <a:gd name="T53" fmla="*/ 8 h 149"/>
                <a:gd name="T54" fmla="*/ 62 w 122"/>
                <a:gd name="T55" fmla="*/ 8 h 149"/>
                <a:gd name="T56" fmla="*/ 60 w 122"/>
                <a:gd name="T57" fmla="*/ 4 h 149"/>
                <a:gd name="T58" fmla="*/ 58 w 122"/>
                <a:gd name="T59" fmla="*/ 4 h 149"/>
                <a:gd name="T60" fmla="*/ 50 w 122"/>
                <a:gd name="T61" fmla="*/ 6 h 149"/>
                <a:gd name="T62" fmla="*/ 40 w 122"/>
                <a:gd name="T63" fmla="*/ 0 h 149"/>
                <a:gd name="T64" fmla="*/ 36 w 122"/>
                <a:gd name="T65" fmla="*/ 0 h 149"/>
                <a:gd name="T66" fmla="*/ 36 w 122"/>
                <a:gd name="T67" fmla="*/ 6 h 149"/>
                <a:gd name="T68" fmla="*/ 34 w 122"/>
                <a:gd name="T69" fmla="*/ 10 h 149"/>
                <a:gd name="T70" fmla="*/ 24 w 122"/>
                <a:gd name="T71" fmla="*/ 8 h 149"/>
                <a:gd name="T72" fmla="*/ 16 w 122"/>
                <a:gd name="T73" fmla="*/ 12 h 149"/>
                <a:gd name="T74" fmla="*/ 12 w 122"/>
                <a:gd name="T75" fmla="*/ 18 h 149"/>
                <a:gd name="T76" fmla="*/ 4 w 122"/>
                <a:gd name="T77" fmla="*/ 18 h 149"/>
                <a:gd name="T78" fmla="*/ 4 w 122"/>
                <a:gd name="T79" fmla="*/ 24 h 149"/>
                <a:gd name="T80" fmla="*/ 10 w 122"/>
                <a:gd name="T81" fmla="*/ 34 h 149"/>
                <a:gd name="T82" fmla="*/ 10 w 122"/>
                <a:gd name="T83" fmla="*/ 38 h 149"/>
                <a:gd name="T84" fmla="*/ 18 w 122"/>
                <a:gd name="T85" fmla="*/ 48 h 149"/>
                <a:gd name="T86" fmla="*/ 14 w 122"/>
                <a:gd name="T87" fmla="*/ 56 h 149"/>
                <a:gd name="T88" fmla="*/ 14 w 122"/>
                <a:gd name="T89" fmla="*/ 59 h 149"/>
                <a:gd name="T90" fmla="*/ 14 w 122"/>
                <a:gd name="T91" fmla="*/ 65 h 149"/>
                <a:gd name="T92" fmla="*/ 12 w 122"/>
                <a:gd name="T93" fmla="*/ 67 h 149"/>
                <a:gd name="T94" fmla="*/ 14 w 122"/>
                <a:gd name="T95" fmla="*/ 75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2" h="149">
                  <a:moveTo>
                    <a:pt x="14" y="75"/>
                  </a:moveTo>
                  <a:lnTo>
                    <a:pt x="14" y="75"/>
                  </a:lnTo>
                  <a:lnTo>
                    <a:pt x="20" y="75"/>
                  </a:lnTo>
                  <a:lnTo>
                    <a:pt x="30" y="79"/>
                  </a:lnTo>
                  <a:lnTo>
                    <a:pt x="30" y="79"/>
                  </a:lnTo>
                  <a:lnTo>
                    <a:pt x="34" y="79"/>
                  </a:lnTo>
                  <a:lnTo>
                    <a:pt x="36" y="81"/>
                  </a:lnTo>
                  <a:lnTo>
                    <a:pt x="38" y="87"/>
                  </a:lnTo>
                  <a:lnTo>
                    <a:pt x="40" y="91"/>
                  </a:lnTo>
                  <a:lnTo>
                    <a:pt x="40" y="91"/>
                  </a:lnTo>
                  <a:lnTo>
                    <a:pt x="42" y="95"/>
                  </a:lnTo>
                  <a:lnTo>
                    <a:pt x="44" y="97"/>
                  </a:lnTo>
                  <a:lnTo>
                    <a:pt x="50" y="99"/>
                  </a:lnTo>
                  <a:lnTo>
                    <a:pt x="54" y="101"/>
                  </a:lnTo>
                  <a:lnTo>
                    <a:pt x="54" y="101"/>
                  </a:lnTo>
                  <a:lnTo>
                    <a:pt x="60" y="101"/>
                  </a:lnTo>
                  <a:lnTo>
                    <a:pt x="66" y="105"/>
                  </a:lnTo>
                  <a:lnTo>
                    <a:pt x="74" y="111"/>
                  </a:lnTo>
                  <a:lnTo>
                    <a:pt x="78" y="115"/>
                  </a:lnTo>
                  <a:lnTo>
                    <a:pt x="78" y="115"/>
                  </a:lnTo>
                  <a:lnTo>
                    <a:pt x="84" y="119"/>
                  </a:lnTo>
                  <a:lnTo>
                    <a:pt x="88" y="123"/>
                  </a:lnTo>
                  <a:lnTo>
                    <a:pt x="90" y="127"/>
                  </a:lnTo>
                  <a:lnTo>
                    <a:pt x="90" y="127"/>
                  </a:lnTo>
                  <a:lnTo>
                    <a:pt x="90" y="147"/>
                  </a:lnTo>
                  <a:lnTo>
                    <a:pt x="92" y="149"/>
                  </a:lnTo>
                  <a:lnTo>
                    <a:pt x="92" y="149"/>
                  </a:lnTo>
                  <a:lnTo>
                    <a:pt x="92" y="147"/>
                  </a:lnTo>
                  <a:lnTo>
                    <a:pt x="92" y="145"/>
                  </a:lnTo>
                  <a:lnTo>
                    <a:pt x="96" y="141"/>
                  </a:lnTo>
                  <a:lnTo>
                    <a:pt x="96" y="141"/>
                  </a:lnTo>
                  <a:lnTo>
                    <a:pt x="96" y="141"/>
                  </a:lnTo>
                  <a:lnTo>
                    <a:pt x="106" y="127"/>
                  </a:lnTo>
                  <a:lnTo>
                    <a:pt x="106" y="127"/>
                  </a:lnTo>
                  <a:lnTo>
                    <a:pt x="110" y="127"/>
                  </a:lnTo>
                  <a:lnTo>
                    <a:pt x="114" y="127"/>
                  </a:lnTo>
                  <a:lnTo>
                    <a:pt x="116" y="127"/>
                  </a:lnTo>
                  <a:lnTo>
                    <a:pt x="120" y="127"/>
                  </a:lnTo>
                  <a:lnTo>
                    <a:pt x="120" y="127"/>
                  </a:lnTo>
                  <a:lnTo>
                    <a:pt x="122" y="121"/>
                  </a:lnTo>
                  <a:lnTo>
                    <a:pt x="122" y="115"/>
                  </a:lnTo>
                  <a:lnTo>
                    <a:pt x="122" y="115"/>
                  </a:lnTo>
                  <a:lnTo>
                    <a:pt x="120" y="115"/>
                  </a:lnTo>
                  <a:lnTo>
                    <a:pt x="114" y="113"/>
                  </a:lnTo>
                  <a:lnTo>
                    <a:pt x="114" y="113"/>
                  </a:lnTo>
                  <a:lnTo>
                    <a:pt x="112" y="111"/>
                  </a:lnTo>
                  <a:lnTo>
                    <a:pt x="112" y="109"/>
                  </a:lnTo>
                  <a:lnTo>
                    <a:pt x="110" y="103"/>
                  </a:lnTo>
                  <a:lnTo>
                    <a:pt x="110" y="103"/>
                  </a:lnTo>
                  <a:lnTo>
                    <a:pt x="110" y="97"/>
                  </a:lnTo>
                  <a:lnTo>
                    <a:pt x="110" y="97"/>
                  </a:lnTo>
                  <a:lnTo>
                    <a:pt x="110" y="97"/>
                  </a:lnTo>
                  <a:lnTo>
                    <a:pt x="110" y="97"/>
                  </a:lnTo>
                  <a:lnTo>
                    <a:pt x="106" y="91"/>
                  </a:lnTo>
                  <a:lnTo>
                    <a:pt x="104" y="89"/>
                  </a:lnTo>
                  <a:lnTo>
                    <a:pt x="104" y="81"/>
                  </a:lnTo>
                  <a:lnTo>
                    <a:pt x="104" y="81"/>
                  </a:lnTo>
                  <a:lnTo>
                    <a:pt x="104" y="75"/>
                  </a:lnTo>
                  <a:lnTo>
                    <a:pt x="102" y="69"/>
                  </a:lnTo>
                  <a:lnTo>
                    <a:pt x="98" y="59"/>
                  </a:lnTo>
                  <a:lnTo>
                    <a:pt x="98" y="59"/>
                  </a:lnTo>
                  <a:lnTo>
                    <a:pt x="98" y="52"/>
                  </a:lnTo>
                  <a:lnTo>
                    <a:pt x="98" y="48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96" y="42"/>
                  </a:lnTo>
                  <a:lnTo>
                    <a:pt x="90" y="38"/>
                  </a:lnTo>
                  <a:lnTo>
                    <a:pt x="86" y="36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2" y="30"/>
                  </a:lnTo>
                  <a:lnTo>
                    <a:pt x="84" y="26"/>
                  </a:lnTo>
                  <a:lnTo>
                    <a:pt x="84" y="24"/>
                  </a:lnTo>
                  <a:lnTo>
                    <a:pt x="86" y="22"/>
                  </a:lnTo>
                  <a:lnTo>
                    <a:pt x="86" y="22"/>
                  </a:lnTo>
                  <a:lnTo>
                    <a:pt x="84" y="18"/>
                  </a:lnTo>
                  <a:lnTo>
                    <a:pt x="80" y="12"/>
                  </a:lnTo>
                  <a:lnTo>
                    <a:pt x="74" y="8"/>
                  </a:lnTo>
                  <a:lnTo>
                    <a:pt x="74" y="8"/>
                  </a:lnTo>
                  <a:lnTo>
                    <a:pt x="70" y="8"/>
                  </a:lnTo>
                  <a:lnTo>
                    <a:pt x="66" y="8"/>
                  </a:lnTo>
                  <a:lnTo>
                    <a:pt x="64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54" y="8"/>
                  </a:lnTo>
                  <a:lnTo>
                    <a:pt x="52" y="8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46" y="2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6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10"/>
                  </a:lnTo>
                  <a:lnTo>
                    <a:pt x="30" y="10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2" y="8"/>
                  </a:lnTo>
                  <a:lnTo>
                    <a:pt x="20" y="8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4" y="14"/>
                  </a:lnTo>
                  <a:lnTo>
                    <a:pt x="12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4" y="18"/>
                  </a:lnTo>
                  <a:lnTo>
                    <a:pt x="0" y="20"/>
                  </a:lnTo>
                  <a:lnTo>
                    <a:pt x="0" y="22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32"/>
                  </a:lnTo>
                  <a:lnTo>
                    <a:pt x="10" y="34"/>
                  </a:lnTo>
                  <a:lnTo>
                    <a:pt x="10" y="36"/>
                  </a:lnTo>
                  <a:lnTo>
                    <a:pt x="10" y="36"/>
                  </a:lnTo>
                  <a:lnTo>
                    <a:pt x="10" y="38"/>
                  </a:lnTo>
                  <a:lnTo>
                    <a:pt x="14" y="42"/>
                  </a:lnTo>
                  <a:lnTo>
                    <a:pt x="18" y="44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52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14" y="59"/>
                  </a:lnTo>
                  <a:lnTo>
                    <a:pt x="14" y="59"/>
                  </a:lnTo>
                  <a:lnTo>
                    <a:pt x="14" y="59"/>
                  </a:lnTo>
                  <a:lnTo>
                    <a:pt x="14" y="63"/>
                  </a:lnTo>
                  <a:lnTo>
                    <a:pt x="14" y="65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4" y="69"/>
                  </a:lnTo>
                  <a:lnTo>
                    <a:pt x="14" y="75"/>
                  </a:lnTo>
                  <a:lnTo>
                    <a:pt x="14" y="75"/>
                  </a:lnTo>
                  <a:lnTo>
                    <a:pt x="14" y="75"/>
                  </a:lnTo>
                  <a:lnTo>
                    <a:pt x="14" y="75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87" name="Freeform 46"/>
            <p:cNvSpPr>
              <a:spLocks/>
            </p:cNvSpPr>
            <p:nvPr/>
          </p:nvSpPr>
          <p:spPr bwMode="auto">
            <a:xfrm>
              <a:off x="1014" y="2115"/>
              <a:ext cx="104" cy="150"/>
            </a:xfrm>
            <a:custGeom>
              <a:avLst/>
              <a:gdLst>
                <a:gd name="T0" fmla="*/ 78 w 104"/>
                <a:gd name="T1" fmla="*/ 128 h 150"/>
                <a:gd name="T2" fmla="*/ 86 w 104"/>
                <a:gd name="T3" fmla="*/ 124 h 150"/>
                <a:gd name="T4" fmla="*/ 90 w 104"/>
                <a:gd name="T5" fmla="*/ 116 h 150"/>
                <a:gd name="T6" fmla="*/ 92 w 104"/>
                <a:gd name="T7" fmla="*/ 102 h 150"/>
                <a:gd name="T8" fmla="*/ 102 w 104"/>
                <a:gd name="T9" fmla="*/ 98 h 150"/>
                <a:gd name="T10" fmla="*/ 98 w 104"/>
                <a:gd name="T11" fmla="*/ 92 h 150"/>
                <a:gd name="T12" fmla="*/ 96 w 104"/>
                <a:gd name="T13" fmla="*/ 84 h 150"/>
                <a:gd name="T14" fmla="*/ 102 w 104"/>
                <a:gd name="T15" fmla="*/ 82 h 150"/>
                <a:gd name="T16" fmla="*/ 102 w 104"/>
                <a:gd name="T17" fmla="*/ 80 h 150"/>
                <a:gd name="T18" fmla="*/ 100 w 104"/>
                <a:gd name="T19" fmla="*/ 56 h 150"/>
                <a:gd name="T20" fmla="*/ 90 w 104"/>
                <a:gd name="T21" fmla="*/ 48 h 150"/>
                <a:gd name="T22" fmla="*/ 72 w 104"/>
                <a:gd name="T23" fmla="*/ 34 h 150"/>
                <a:gd name="T24" fmla="*/ 62 w 104"/>
                <a:gd name="T25" fmla="*/ 32 h 150"/>
                <a:gd name="T26" fmla="*/ 52 w 104"/>
                <a:gd name="T27" fmla="*/ 24 h 150"/>
                <a:gd name="T28" fmla="*/ 48 w 104"/>
                <a:gd name="T29" fmla="*/ 14 h 150"/>
                <a:gd name="T30" fmla="*/ 42 w 104"/>
                <a:gd name="T31" fmla="*/ 12 h 150"/>
                <a:gd name="T32" fmla="*/ 26 w 104"/>
                <a:gd name="T33" fmla="*/ 2 h 150"/>
                <a:gd name="T34" fmla="*/ 22 w 104"/>
                <a:gd name="T35" fmla="*/ 2 h 150"/>
                <a:gd name="T36" fmla="*/ 20 w 104"/>
                <a:gd name="T37" fmla="*/ 8 h 150"/>
                <a:gd name="T38" fmla="*/ 8 w 104"/>
                <a:gd name="T39" fmla="*/ 8 h 150"/>
                <a:gd name="T40" fmla="*/ 4 w 104"/>
                <a:gd name="T41" fmla="*/ 12 h 150"/>
                <a:gd name="T42" fmla="*/ 0 w 104"/>
                <a:gd name="T43" fmla="*/ 22 h 150"/>
                <a:gd name="T44" fmla="*/ 2 w 104"/>
                <a:gd name="T45" fmla="*/ 28 h 150"/>
                <a:gd name="T46" fmla="*/ 8 w 104"/>
                <a:gd name="T47" fmla="*/ 30 h 150"/>
                <a:gd name="T48" fmla="*/ 16 w 104"/>
                <a:gd name="T49" fmla="*/ 38 h 150"/>
                <a:gd name="T50" fmla="*/ 12 w 104"/>
                <a:gd name="T51" fmla="*/ 50 h 150"/>
                <a:gd name="T52" fmla="*/ 16 w 104"/>
                <a:gd name="T53" fmla="*/ 56 h 150"/>
                <a:gd name="T54" fmla="*/ 20 w 104"/>
                <a:gd name="T55" fmla="*/ 62 h 150"/>
                <a:gd name="T56" fmla="*/ 34 w 104"/>
                <a:gd name="T57" fmla="*/ 74 h 150"/>
                <a:gd name="T58" fmla="*/ 44 w 104"/>
                <a:gd name="T59" fmla="*/ 76 h 150"/>
                <a:gd name="T60" fmla="*/ 44 w 104"/>
                <a:gd name="T61" fmla="*/ 82 h 150"/>
                <a:gd name="T62" fmla="*/ 40 w 104"/>
                <a:gd name="T63" fmla="*/ 92 h 150"/>
                <a:gd name="T64" fmla="*/ 34 w 104"/>
                <a:gd name="T65" fmla="*/ 94 h 150"/>
                <a:gd name="T66" fmla="*/ 34 w 104"/>
                <a:gd name="T67" fmla="*/ 108 h 150"/>
                <a:gd name="T68" fmla="*/ 36 w 104"/>
                <a:gd name="T69" fmla="*/ 116 h 150"/>
                <a:gd name="T70" fmla="*/ 42 w 104"/>
                <a:gd name="T71" fmla="*/ 116 h 150"/>
                <a:gd name="T72" fmla="*/ 46 w 104"/>
                <a:gd name="T73" fmla="*/ 116 h 150"/>
                <a:gd name="T74" fmla="*/ 46 w 104"/>
                <a:gd name="T75" fmla="*/ 124 h 150"/>
                <a:gd name="T76" fmla="*/ 48 w 104"/>
                <a:gd name="T77" fmla="*/ 126 h 150"/>
                <a:gd name="T78" fmla="*/ 50 w 104"/>
                <a:gd name="T79" fmla="*/ 134 h 150"/>
                <a:gd name="T80" fmla="*/ 50 w 104"/>
                <a:gd name="T81" fmla="*/ 144 h 150"/>
                <a:gd name="T82" fmla="*/ 54 w 104"/>
                <a:gd name="T83" fmla="*/ 148 h 150"/>
                <a:gd name="T84" fmla="*/ 56 w 104"/>
                <a:gd name="T85" fmla="*/ 150 h 150"/>
                <a:gd name="T86" fmla="*/ 72 w 104"/>
                <a:gd name="T87" fmla="*/ 146 h 150"/>
                <a:gd name="T88" fmla="*/ 74 w 104"/>
                <a:gd name="T89" fmla="*/ 134 h 150"/>
                <a:gd name="T90" fmla="*/ 74 w 104"/>
                <a:gd name="T91" fmla="*/ 134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04" h="150">
                  <a:moveTo>
                    <a:pt x="74" y="134"/>
                  </a:moveTo>
                  <a:lnTo>
                    <a:pt x="74" y="134"/>
                  </a:lnTo>
                  <a:lnTo>
                    <a:pt x="78" y="128"/>
                  </a:lnTo>
                  <a:lnTo>
                    <a:pt x="82" y="126"/>
                  </a:lnTo>
                  <a:lnTo>
                    <a:pt x="82" y="126"/>
                  </a:lnTo>
                  <a:lnTo>
                    <a:pt x="86" y="124"/>
                  </a:lnTo>
                  <a:lnTo>
                    <a:pt x="88" y="120"/>
                  </a:lnTo>
                  <a:lnTo>
                    <a:pt x="90" y="116"/>
                  </a:lnTo>
                  <a:lnTo>
                    <a:pt x="90" y="116"/>
                  </a:lnTo>
                  <a:lnTo>
                    <a:pt x="90" y="108"/>
                  </a:lnTo>
                  <a:lnTo>
                    <a:pt x="92" y="102"/>
                  </a:lnTo>
                  <a:lnTo>
                    <a:pt x="92" y="102"/>
                  </a:lnTo>
                  <a:lnTo>
                    <a:pt x="96" y="100"/>
                  </a:lnTo>
                  <a:lnTo>
                    <a:pt x="102" y="98"/>
                  </a:lnTo>
                  <a:lnTo>
                    <a:pt x="102" y="98"/>
                  </a:lnTo>
                  <a:lnTo>
                    <a:pt x="102" y="94"/>
                  </a:lnTo>
                  <a:lnTo>
                    <a:pt x="102" y="94"/>
                  </a:lnTo>
                  <a:lnTo>
                    <a:pt x="98" y="92"/>
                  </a:lnTo>
                  <a:lnTo>
                    <a:pt x="96" y="90"/>
                  </a:lnTo>
                  <a:lnTo>
                    <a:pt x="96" y="90"/>
                  </a:lnTo>
                  <a:lnTo>
                    <a:pt x="96" y="84"/>
                  </a:lnTo>
                  <a:lnTo>
                    <a:pt x="96" y="82"/>
                  </a:lnTo>
                  <a:lnTo>
                    <a:pt x="102" y="82"/>
                  </a:lnTo>
                  <a:lnTo>
                    <a:pt x="102" y="82"/>
                  </a:lnTo>
                  <a:lnTo>
                    <a:pt x="104" y="82"/>
                  </a:lnTo>
                  <a:lnTo>
                    <a:pt x="102" y="80"/>
                  </a:lnTo>
                  <a:lnTo>
                    <a:pt x="102" y="80"/>
                  </a:lnTo>
                  <a:lnTo>
                    <a:pt x="102" y="60"/>
                  </a:lnTo>
                  <a:lnTo>
                    <a:pt x="102" y="60"/>
                  </a:lnTo>
                  <a:lnTo>
                    <a:pt x="100" y="56"/>
                  </a:lnTo>
                  <a:lnTo>
                    <a:pt x="96" y="52"/>
                  </a:lnTo>
                  <a:lnTo>
                    <a:pt x="90" y="48"/>
                  </a:lnTo>
                  <a:lnTo>
                    <a:pt x="90" y="48"/>
                  </a:lnTo>
                  <a:lnTo>
                    <a:pt x="86" y="44"/>
                  </a:lnTo>
                  <a:lnTo>
                    <a:pt x="78" y="38"/>
                  </a:lnTo>
                  <a:lnTo>
                    <a:pt x="72" y="34"/>
                  </a:lnTo>
                  <a:lnTo>
                    <a:pt x="66" y="34"/>
                  </a:lnTo>
                  <a:lnTo>
                    <a:pt x="66" y="34"/>
                  </a:lnTo>
                  <a:lnTo>
                    <a:pt x="62" y="32"/>
                  </a:lnTo>
                  <a:lnTo>
                    <a:pt x="56" y="30"/>
                  </a:lnTo>
                  <a:lnTo>
                    <a:pt x="54" y="28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0" y="20"/>
                  </a:lnTo>
                  <a:lnTo>
                    <a:pt x="48" y="14"/>
                  </a:lnTo>
                  <a:lnTo>
                    <a:pt x="46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32" y="8"/>
                  </a:lnTo>
                  <a:lnTo>
                    <a:pt x="26" y="8"/>
                  </a:lnTo>
                  <a:lnTo>
                    <a:pt x="26" y="2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2" y="2"/>
                  </a:lnTo>
                  <a:lnTo>
                    <a:pt x="22" y="4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4" y="12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0" y="22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28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8" y="30"/>
                  </a:lnTo>
                  <a:lnTo>
                    <a:pt x="12" y="34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6" y="52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60"/>
                  </a:lnTo>
                  <a:lnTo>
                    <a:pt x="20" y="62"/>
                  </a:lnTo>
                  <a:lnTo>
                    <a:pt x="20" y="62"/>
                  </a:lnTo>
                  <a:lnTo>
                    <a:pt x="26" y="68"/>
                  </a:lnTo>
                  <a:lnTo>
                    <a:pt x="34" y="74"/>
                  </a:lnTo>
                  <a:lnTo>
                    <a:pt x="34" y="74"/>
                  </a:lnTo>
                  <a:lnTo>
                    <a:pt x="42" y="74"/>
                  </a:lnTo>
                  <a:lnTo>
                    <a:pt x="44" y="76"/>
                  </a:lnTo>
                  <a:lnTo>
                    <a:pt x="44" y="78"/>
                  </a:lnTo>
                  <a:lnTo>
                    <a:pt x="44" y="78"/>
                  </a:lnTo>
                  <a:lnTo>
                    <a:pt x="44" y="82"/>
                  </a:lnTo>
                  <a:lnTo>
                    <a:pt x="42" y="90"/>
                  </a:lnTo>
                  <a:lnTo>
                    <a:pt x="42" y="90"/>
                  </a:lnTo>
                  <a:lnTo>
                    <a:pt x="40" y="92"/>
                  </a:lnTo>
                  <a:lnTo>
                    <a:pt x="36" y="94"/>
                  </a:lnTo>
                  <a:lnTo>
                    <a:pt x="34" y="94"/>
                  </a:lnTo>
                  <a:lnTo>
                    <a:pt x="34" y="94"/>
                  </a:lnTo>
                  <a:lnTo>
                    <a:pt x="34" y="102"/>
                  </a:lnTo>
                  <a:lnTo>
                    <a:pt x="34" y="108"/>
                  </a:lnTo>
                  <a:lnTo>
                    <a:pt x="34" y="108"/>
                  </a:lnTo>
                  <a:lnTo>
                    <a:pt x="34" y="114"/>
                  </a:lnTo>
                  <a:lnTo>
                    <a:pt x="34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40" y="116"/>
                  </a:lnTo>
                  <a:lnTo>
                    <a:pt x="42" y="116"/>
                  </a:lnTo>
                  <a:lnTo>
                    <a:pt x="44" y="114"/>
                  </a:lnTo>
                  <a:lnTo>
                    <a:pt x="46" y="116"/>
                  </a:lnTo>
                  <a:lnTo>
                    <a:pt x="46" y="116"/>
                  </a:lnTo>
                  <a:lnTo>
                    <a:pt x="46" y="118"/>
                  </a:lnTo>
                  <a:lnTo>
                    <a:pt x="46" y="120"/>
                  </a:lnTo>
                  <a:lnTo>
                    <a:pt x="46" y="124"/>
                  </a:lnTo>
                  <a:lnTo>
                    <a:pt x="46" y="126"/>
                  </a:lnTo>
                  <a:lnTo>
                    <a:pt x="46" y="126"/>
                  </a:lnTo>
                  <a:lnTo>
                    <a:pt x="48" y="126"/>
                  </a:lnTo>
                  <a:lnTo>
                    <a:pt x="48" y="128"/>
                  </a:lnTo>
                  <a:lnTo>
                    <a:pt x="50" y="128"/>
                  </a:lnTo>
                  <a:lnTo>
                    <a:pt x="50" y="134"/>
                  </a:lnTo>
                  <a:lnTo>
                    <a:pt x="50" y="134"/>
                  </a:lnTo>
                  <a:lnTo>
                    <a:pt x="50" y="140"/>
                  </a:lnTo>
                  <a:lnTo>
                    <a:pt x="50" y="144"/>
                  </a:lnTo>
                  <a:lnTo>
                    <a:pt x="50" y="146"/>
                  </a:lnTo>
                  <a:lnTo>
                    <a:pt x="50" y="146"/>
                  </a:lnTo>
                  <a:lnTo>
                    <a:pt x="54" y="148"/>
                  </a:lnTo>
                  <a:lnTo>
                    <a:pt x="54" y="150"/>
                  </a:lnTo>
                  <a:lnTo>
                    <a:pt x="56" y="150"/>
                  </a:lnTo>
                  <a:lnTo>
                    <a:pt x="56" y="150"/>
                  </a:lnTo>
                  <a:lnTo>
                    <a:pt x="68" y="148"/>
                  </a:lnTo>
                  <a:lnTo>
                    <a:pt x="68" y="148"/>
                  </a:lnTo>
                  <a:lnTo>
                    <a:pt x="72" y="146"/>
                  </a:lnTo>
                  <a:lnTo>
                    <a:pt x="72" y="142"/>
                  </a:lnTo>
                  <a:lnTo>
                    <a:pt x="72" y="138"/>
                  </a:lnTo>
                  <a:lnTo>
                    <a:pt x="74" y="134"/>
                  </a:lnTo>
                  <a:lnTo>
                    <a:pt x="74" y="134"/>
                  </a:lnTo>
                  <a:lnTo>
                    <a:pt x="74" y="134"/>
                  </a:lnTo>
                  <a:lnTo>
                    <a:pt x="74" y="134"/>
                  </a:lnTo>
                  <a:lnTo>
                    <a:pt x="74" y="134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88" name="Freeform 47"/>
            <p:cNvSpPr>
              <a:spLocks/>
            </p:cNvSpPr>
            <p:nvPr/>
          </p:nvSpPr>
          <p:spPr bwMode="auto">
            <a:xfrm>
              <a:off x="817" y="2534"/>
              <a:ext cx="92" cy="85"/>
            </a:xfrm>
            <a:custGeom>
              <a:avLst/>
              <a:gdLst>
                <a:gd name="T0" fmla="*/ 70 w 92"/>
                <a:gd name="T1" fmla="*/ 73 h 85"/>
                <a:gd name="T2" fmla="*/ 72 w 92"/>
                <a:gd name="T3" fmla="*/ 67 h 85"/>
                <a:gd name="T4" fmla="*/ 74 w 92"/>
                <a:gd name="T5" fmla="*/ 63 h 85"/>
                <a:gd name="T6" fmla="*/ 70 w 92"/>
                <a:gd name="T7" fmla="*/ 53 h 85"/>
                <a:gd name="T8" fmla="*/ 70 w 92"/>
                <a:gd name="T9" fmla="*/ 47 h 85"/>
                <a:gd name="T10" fmla="*/ 74 w 92"/>
                <a:gd name="T11" fmla="*/ 45 h 85"/>
                <a:gd name="T12" fmla="*/ 88 w 92"/>
                <a:gd name="T13" fmla="*/ 47 h 85"/>
                <a:gd name="T14" fmla="*/ 90 w 92"/>
                <a:gd name="T15" fmla="*/ 45 h 85"/>
                <a:gd name="T16" fmla="*/ 90 w 92"/>
                <a:gd name="T17" fmla="*/ 43 h 85"/>
                <a:gd name="T18" fmla="*/ 86 w 92"/>
                <a:gd name="T19" fmla="*/ 41 h 85"/>
                <a:gd name="T20" fmla="*/ 82 w 92"/>
                <a:gd name="T21" fmla="*/ 39 h 85"/>
                <a:gd name="T22" fmla="*/ 82 w 92"/>
                <a:gd name="T23" fmla="*/ 32 h 85"/>
                <a:gd name="T24" fmla="*/ 80 w 92"/>
                <a:gd name="T25" fmla="*/ 26 h 85"/>
                <a:gd name="T26" fmla="*/ 80 w 92"/>
                <a:gd name="T27" fmla="*/ 26 h 85"/>
                <a:gd name="T28" fmla="*/ 78 w 92"/>
                <a:gd name="T29" fmla="*/ 22 h 85"/>
                <a:gd name="T30" fmla="*/ 74 w 92"/>
                <a:gd name="T31" fmla="*/ 14 h 85"/>
                <a:gd name="T32" fmla="*/ 64 w 92"/>
                <a:gd name="T33" fmla="*/ 14 h 85"/>
                <a:gd name="T34" fmla="*/ 64 w 92"/>
                <a:gd name="T35" fmla="*/ 20 h 85"/>
                <a:gd name="T36" fmla="*/ 62 w 92"/>
                <a:gd name="T37" fmla="*/ 22 h 85"/>
                <a:gd name="T38" fmla="*/ 60 w 92"/>
                <a:gd name="T39" fmla="*/ 22 h 85"/>
                <a:gd name="T40" fmla="*/ 44 w 92"/>
                <a:gd name="T41" fmla="*/ 22 h 85"/>
                <a:gd name="T42" fmla="*/ 44 w 92"/>
                <a:gd name="T43" fmla="*/ 20 h 85"/>
                <a:gd name="T44" fmla="*/ 38 w 92"/>
                <a:gd name="T45" fmla="*/ 4 h 85"/>
                <a:gd name="T46" fmla="*/ 36 w 92"/>
                <a:gd name="T47" fmla="*/ 0 h 85"/>
                <a:gd name="T48" fmla="*/ 32 w 92"/>
                <a:gd name="T49" fmla="*/ 4 h 85"/>
                <a:gd name="T50" fmla="*/ 22 w 92"/>
                <a:gd name="T51" fmla="*/ 6 h 85"/>
                <a:gd name="T52" fmla="*/ 16 w 92"/>
                <a:gd name="T53" fmla="*/ 6 h 85"/>
                <a:gd name="T54" fmla="*/ 0 w 92"/>
                <a:gd name="T55" fmla="*/ 16 h 85"/>
                <a:gd name="T56" fmla="*/ 2 w 92"/>
                <a:gd name="T57" fmla="*/ 22 h 85"/>
                <a:gd name="T58" fmla="*/ 2 w 92"/>
                <a:gd name="T59" fmla="*/ 26 h 85"/>
                <a:gd name="T60" fmla="*/ 12 w 92"/>
                <a:gd name="T61" fmla="*/ 41 h 85"/>
                <a:gd name="T62" fmla="*/ 12 w 92"/>
                <a:gd name="T63" fmla="*/ 45 h 85"/>
                <a:gd name="T64" fmla="*/ 12 w 92"/>
                <a:gd name="T65" fmla="*/ 53 h 85"/>
                <a:gd name="T66" fmla="*/ 14 w 92"/>
                <a:gd name="T67" fmla="*/ 59 h 85"/>
                <a:gd name="T68" fmla="*/ 24 w 92"/>
                <a:gd name="T69" fmla="*/ 71 h 85"/>
                <a:gd name="T70" fmla="*/ 26 w 92"/>
                <a:gd name="T71" fmla="*/ 73 h 85"/>
                <a:gd name="T72" fmla="*/ 36 w 92"/>
                <a:gd name="T73" fmla="*/ 83 h 85"/>
                <a:gd name="T74" fmla="*/ 38 w 92"/>
                <a:gd name="T75" fmla="*/ 85 h 85"/>
                <a:gd name="T76" fmla="*/ 46 w 92"/>
                <a:gd name="T77" fmla="*/ 75 h 85"/>
                <a:gd name="T78" fmla="*/ 56 w 92"/>
                <a:gd name="T79" fmla="*/ 73 h 85"/>
                <a:gd name="T80" fmla="*/ 70 w 92"/>
                <a:gd name="T81" fmla="*/ 73 h 85"/>
                <a:gd name="T82" fmla="*/ 70 w 92"/>
                <a:gd name="T83" fmla="*/ 73 h 85"/>
                <a:gd name="T84" fmla="*/ 70 w 92"/>
                <a:gd name="T85" fmla="*/ 73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2" h="85">
                  <a:moveTo>
                    <a:pt x="70" y="73"/>
                  </a:moveTo>
                  <a:lnTo>
                    <a:pt x="70" y="73"/>
                  </a:lnTo>
                  <a:lnTo>
                    <a:pt x="70" y="69"/>
                  </a:lnTo>
                  <a:lnTo>
                    <a:pt x="72" y="67"/>
                  </a:lnTo>
                  <a:lnTo>
                    <a:pt x="74" y="63"/>
                  </a:lnTo>
                  <a:lnTo>
                    <a:pt x="74" y="63"/>
                  </a:lnTo>
                  <a:lnTo>
                    <a:pt x="72" y="59"/>
                  </a:lnTo>
                  <a:lnTo>
                    <a:pt x="70" y="53"/>
                  </a:lnTo>
                  <a:lnTo>
                    <a:pt x="70" y="49"/>
                  </a:lnTo>
                  <a:lnTo>
                    <a:pt x="70" y="47"/>
                  </a:lnTo>
                  <a:lnTo>
                    <a:pt x="70" y="47"/>
                  </a:lnTo>
                  <a:lnTo>
                    <a:pt x="74" y="45"/>
                  </a:lnTo>
                  <a:lnTo>
                    <a:pt x="82" y="47"/>
                  </a:lnTo>
                  <a:lnTo>
                    <a:pt x="88" y="47"/>
                  </a:lnTo>
                  <a:lnTo>
                    <a:pt x="90" y="45"/>
                  </a:lnTo>
                  <a:lnTo>
                    <a:pt x="90" y="45"/>
                  </a:lnTo>
                  <a:lnTo>
                    <a:pt x="92" y="45"/>
                  </a:lnTo>
                  <a:lnTo>
                    <a:pt x="90" y="43"/>
                  </a:lnTo>
                  <a:lnTo>
                    <a:pt x="90" y="41"/>
                  </a:lnTo>
                  <a:lnTo>
                    <a:pt x="86" y="41"/>
                  </a:lnTo>
                  <a:lnTo>
                    <a:pt x="86" y="41"/>
                  </a:lnTo>
                  <a:lnTo>
                    <a:pt x="82" y="39"/>
                  </a:lnTo>
                  <a:lnTo>
                    <a:pt x="82" y="37"/>
                  </a:lnTo>
                  <a:lnTo>
                    <a:pt x="82" y="32"/>
                  </a:lnTo>
                  <a:lnTo>
                    <a:pt x="82" y="28"/>
                  </a:lnTo>
                  <a:lnTo>
                    <a:pt x="80" y="26"/>
                  </a:lnTo>
                  <a:lnTo>
                    <a:pt x="80" y="26"/>
                  </a:lnTo>
                  <a:lnTo>
                    <a:pt x="80" y="26"/>
                  </a:lnTo>
                  <a:lnTo>
                    <a:pt x="78" y="24"/>
                  </a:lnTo>
                  <a:lnTo>
                    <a:pt x="78" y="22"/>
                  </a:lnTo>
                  <a:lnTo>
                    <a:pt x="80" y="20"/>
                  </a:lnTo>
                  <a:lnTo>
                    <a:pt x="74" y="14"/>
                  </a:lnTo>
                  <a:lnTo>
                    <a:pt x="68" y="16"/>
                  </a:lnTo>
                  <a:lnTo>
                    <a:pt x="64" y="14"/>
                  </a:lnTo>
                  <a:lnTo>
                    <a:pt x="64" y="14"/>
                  </a:lnTo>
                  <a:lnTo>
                    <a:pt x="64" y="20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0" y="22"/>
                  </a:lnTo>
                  <a:lnTo>
                    <a:pt x="60" y="22"/>
                  </a:lnTo>
                  <a:lnTo>
                    <a:pt x="48" y="22"/>
                  </a:lnTo>
                  <a:lnTo>
                    <a:pt x="44" y="22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0" y="8"/>
                  </a:lnTo>
                  <a:lnTo>
                    <a:pt x="38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4" y="2"/>
                  </a:lnTo>
                  <a:lnTo>
                    <a:pt x="32" y="4"/>
                  </a:lnTo>
                  <a:lnTo>
                    <a:pt x="26" y="4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16" y="6"/>
                  </a:lnTo>
                  <a:lnTo>
                    <a:pt x="12" y="8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2" y="22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10" y="35"/>
                  </a:lnTo>
                  <a:lnTo>
                    <a:pt x="12" y="41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2" y="51"/>
                  </a:lnTo>
                  <a:lnTo>
                    <a:pt x="12" y="53"/>
                  </a:lnTo>
                  <a:lnTo>
                    <a:pt x="14" y="59"/>
                  </a:lnTo>
                  <a:lnTo>
                    <a:pt x="14" y="59"/>
                  </a:lnTo>
                  <a:lnTo>
                    <a:pt x="20" y="67"/>
                  </a:lnTo>
                  <a:lnTo>
                    <a:pt x="24" y="71"/>
                  </a:lnTo>
                  <a:lnTo>
                    <a:pt x="26" y="73"/>
                  </a:lnTo>
                  <a:lnTo>
                    <a:pt x="26" y="73"/>
                  </a:lnTo>
                  <a:lnTo>
                    <a:pt x="32" y="75"/>
                  </a:lnTo>
                  <a:lnTo>
                    <a:pt x="36" y="83"/>
                  </a:lnTo>
                  <a:lnTo>
                    <a:pt x="36" y="83"/>
                  </a:lnTo>
                  <a:lnTo>
                    <a:pt x="38" y="85"/>
                  </a:lnTo>
                  <a:lnTo>
                    <a:pt x="38" y="85"/>
                  </a:lnTo>
                  <a:lnTo>
                    <a:pt x="46" y="75"/>
                  </a:lnTo>
                  <a:lnTo>
                    <a:pt x="56" y="73"/>
                  </a:lnTo>
                  <a:lnTo>
                    <a:pt x="56" y="73"/>
                  </a:lnTo>
                  <a:lnTo>
                    <a:pt x="62" y="73"/>
                  </a:lnTo>
                  <a:lnTo>
                    <a:pt x="70" y="73"/>
                  </a:lnTo>
                  <a:lnTo>
                    <a:pt x="70" y="73"/>
                  </a:lnTo>
                  <a:lnTo>
                    <a:pt x="70" y="73"/>
                  </a:lnTo>
                  <a:lnTo>
                    <a:pt x="70" y="73"/>
                  </a:lnTo>
                  <a:lnTo>
                    <a:pt x="70" y="73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89" name="Freeform 48"/>
            <p:cNvSpPr>
              <a:spLocks/>
            </p:cNvSpPr>
            <p:nvPr/>
          </p:nvSpPr>
          <p:spPr bwMode="auto">
            <a:xfrm>
              <a:off x="917" y="2305"/>
              <a:ext cx="221" cy="245"/>
            </a:xfrm>
            <a:custGeom>
              <a:avLst/>
              <a:gdLst>
                <a:gd name="T0" fmla="*/ 4 w 221"/>
                <a:gd name="T1" fmla="*/ 77 h 245"/>
                <a:gd name="T2" fmla="*/ 16 w 221"/>
                <a:gd name="T3" fmla="*/ 81 h 245"/>
                <a:gd name="T4" fmla="*/ 34 w 221"/>
                <a:gd name="T5" fmla="*/ 105 h 245"/>
                <a:gd name="T6" fmla="*/ 26 w 221"/>
                <a:gd name="T7" fmla="*/ 113 h 245"/>
                <a:gd name="T8" fmla="*/ 18 w 221"/>
                <a:gd name="T9" fmla="*/ 129 h 245"/>
                <a:gd name="T10" fmla="*/ 30 w 221"/>
                <a:gd name="T11" fmla="*/ 143 h 245"/>
                <a:gd name="T12" fmla="*/ 34 w 221"/>
                <a:gd name="T13" fmla="*/ 153 h 245"/>
                <a:gd name="T14" fmla="*/ 30 w 221"/>
                <a:gd name="T15" fmla="*/ 161 h 245"/>
                <a:gd name="T16" fmla="*/ 32 w 221"/>
                <a:gd name="T17" fmla="*/ 179 h 245"/>
                <a:gd name="T18" fmla="*/ 58 w 221"/>
                <a:gd name="T19" fmla="*/ 181 h 245"/>
                <a:gd name="T20" fmla="*/ 82 w 221"/>
                <a:gd name="T21" fmla="*/ 191 h 245"/>
                <a:gd name="T22" fmla="*/ 93 w 221"/>
                <a:gd name="T23" fmla="*/ 207 h 245"/>
                <a:gd name="T24" fmla="*/ 101 w 221"/>
                <a:gd name="T25" fmla="*/ 237 h 245"/>
                <a:gd name="T26" fmla="*/ 119 w 221"/>
                <a:gd name="T27" fmla="*/ 237 h 245"/>
                <a:gd name="T28" fmla="*/ 147 w 221"/>
                <a:gd name="T29" fmla="*/ 229 h 245"/>
                <a:gd name="T30" fmla="*/ 175 w 221"/>
                <a:gd name="T31" fmla="*/ 207 h 245"/>
                <a:gd name="T32" fmla="*/ 171 w 221"/>
                <a:gd name="T33" fmla="*/ 201 h 245"/>
                <a:gd name="T34" fmla="*/ 155 w 221"/>
                <a:gd name="T35" fmla="*/ 203 h 245"/>
                <a:gd name="T36" fmla="*/ 153 w 221"/>
                <a:gd name="T37" fmla="*/ 183 h 245"/>
                <a:gd name="T38" fmla="*/ 145 w 221"/>
                <a:gd name="T39" fmla="*/ 167 h 245"/>
                <a:gd name="T40" fmla="*/ 143 w 221"/>
                <a:gd name="T41" fmla="*/ 157 h 245"/>
                <a:gd name="T42" fmla="*/ 151 w 221"/>
                <a:gd name="T43" fmla="*/ 133 h 245"/>
                <a:gd name="T44" fmla="*/ 143 w 221"/>
                <a:gd name="T45" fmla="*/ 117 h 245"/>
                <a:gd name="T46" fmla="*/ 145 w 221"/>
                <a:gd name="T47" fmla="*/ 115 h 245"/>
                <a:gd name="T48" fmla="*/ 151 w 221"/>
                <a:gd name="T49" fmla="*/ 109 h 245"/>
                <a:gd name="T50" fmla="*/ 159 w 221"/>
                <a:gd name="T51" fmla="*/ 105 h 245"/>
                <a:gd name="T52" fmla="*/ 175 w 221"/>
                <a:gd name="T53" fmla="*/ 113 h 245"/>
                <a:gd name="T54" fmla="*/ 199 w 221"/>
                <a:gd name="T55" fmla="*/ 99 h 245"/>
                <a:gd name="T56" fmla="*/ 195 w 221"/>
                <a:gd name="T57" fmla="*/ 87 h 245"/>
                <a:gd name="T58" fmla="*/ 197 w 221"/>
                <a:gd name="T59" fmla="*/ 67 h 245"/>
                <a:gd name="T60" fmla="*/ 221 w 221"/>
                <a:gd name="T61" fmla="*/ 49 h 245"/>
                <a:gd name="T62" fmla="*/ 219 w 221"/>
                <a:gd name="T63" fmla="*/ 16 h 245"/>
                <a:gd name="T64" fmla="*/ 205 w 221"/>
                <a:gd name="T65" fmla="*/ 16 h 245"/>
                <a:gd name="T66" fmla="*/ 183 w 221"/>
                <a:gd name="T67" fmla="*/ 18 h 245"/>
                <a:gd name="T68" fmla="*/ 171 w 221"/>
                <a:gd name="T69" fmla="*/ 4 h 245"/>
                <a:gd name="T70" fmla="*/ 155 w 221"/>
                <a:gd name="T71" fmla="*/ 2 h 245"/>
                <a:gd name="T72" fmla="*/ 147 w 221"/>
                <a:gd name="T73" fmla="*/ 14 h 245"/>
                <a:gd name="T74" fmla="*/ 125 w 221"/>
                <a:gd name="T75" fmla="*/ 18 h 245"/>
                <a:gd name="T76" fmla="*/ 131 w 221"/>
                <a:gd name="T77" fmla="*/ 22 h 245"/>
                <a:gd name="T78" fmla="*/ 117 w 221"/>
                <a:gd name="T79" fmla="*/ 20 h 245"/>
                <a:gd name="T80" fmla="*/ 107 w 221"/>
                <a:gd name="T81" fmla="*/ 31 h 245"/>
                <a:gd name="T82" fmla="*/ 101 w 221"/>
                <a:gd name="T83" fmla="*/ 37 h 245"/>
                <a:gd name="T84" fmla="*/ 101 w 221"/>
                <a:gd name="T85" fmla="*/ 45 h 245"/>
                <a:gd name="T86" fmla="*/ 95 w 221"/>
                <a:gd name="T87" fmla="*/ 45 h 245"/>
                <a:gd name="T88" fmla="*/ 76 w 221"/>
                <a:gd name="T89" fmla="*/ 51 h 245"/>
                <a:gd name="T90" fmla="*/ 60 w 221"/>
                <a:gd name="T91" fmla="*/ 35 h 245"/>
                <a:gd name="T92" fmla="*/ 46 w 221"/>
                <a:gd name="T93" fmla="*/ 24 h 245"/>
                <a:gd name="T94" fmla="*/ 34 w 221"/>
                <a:gd name="T95" fmla="*/ 20 h 245"/>
                <a:gd name="T96" fmla="*/ 16 w 221"/>
                <a:gd name="T97" fmla="*/ 22 h 245"/>
                <a:gd name="T98" fmla="*/ 4 w 221"/>
                <a:gd name="T99" fmla="*/ 31 h 245"/>
                <a:gd name="T100" fmla="*/ 26 w 221"/>
                <a:gd name="T101" fmla="*/ 49 h 245"/>
                <a:gd name="T102" fmla="*/ 30 w 221"/>
                <a:gd name="T103" fmla="*/ 65 h 245"/>
                <a:gd name="T104" fmla="*/ 6 w 221"/>
                <a:gd name="T105" fmla="*/ 53 h 245"/>
                <a:gd name="T106" fmla="*/ 0 w 221"/>
                <a:gd name="T107" fmla="*/ 69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21" h="245">
                  <a:moveTo>
                    <a:pt x="0" y="69"/>
                  </a:moveTo>
                  <a:lnTo>
                    <a:pt x="0" y="69"/>
                  </a:lnTo>
                  <a:lnTo>
                    <a:pt x="0" y="71"/>
                  </a:lnTo>
                  <a:lnTo>
                    <a:pt x="4" y="77"/>
                  </a:lnTo>
                  <a:lnTo>
                    <a:pt x="4" y="77"/>
                  </a:lnTo>
                  <a:lnTo>
                    <a:pt x="8" y="81"/>
                  </a:lnTo>
                  <a:lnTo>
                    <a:pt x="12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26" y="87"/>
                  </a:lnTo>
                  <a:lnTo>
                    <a:pt x="34" y="95"/>
                  </a:lnTo>
                  <a:lnTo>
                    <a:pt x="34" y="95"/>
                  </a:lnTo>
                  <a:lnTo>
                    <a:pt x="34" y="99"/>
                  </a:lnTo>
                  <a:lnTo>
                    <a:pt x="34" y="105"/>
                  </a:lnTo>
                  <a:lnTo>
                    <a:pt x="32" y="107"/>
                  </a:lnTo>
                  <a:lnTo>
                    <a:pt x="30" y="109"/>
                  </a:lnTo>
                  <a:lnTo>
                    <a:pt x="30" y="109"/>
                  </a:lnTo>
                  <a:lnTo>
                    <a:pt x="26" y="111"/>
                  </a:lnTo>
                  <a:lnTo>
                    <a:pt x="26" y="113"/>
                  </a:lnTo>
                  <a:lnTo>
                    <a:pt x="26" y="113"/>
                  </a:lnTo>
                  <a:lnTo>
                    <a:pt x="24" y="117"/>
                  </a:lnTo>
                  <a:lnTo>
                    <a:pt x="20" y="127"/>
                  </a:lnTo>
                  <a:lnTo>
                    <a:pt x="20" y="127"/>
                  </a:lnTo>
                  <a:lnTo>
                    <a:pt x="18" y="129"/>
                  </a:lnTo>
                  <a:lnTo>
                    <a:pt x="18" y="131"/>
                  </a:lnTo>
                  <a:lnTo>
                    <a:pt x="20" y="135"/>
                  </a:lnTo>
                  <a:lnTo>
                    <a:pt x="26" y="141"/>
                  </a:lnTo>
                  <a:lnTo>
                    <a:pt x="26" y="141"/>
                  </a:lnTo>
                  <a:lnTo>
                    <a:pt x="30" y="143"/>
                  </a:lnTo>
                  <a:lnTo>
                    <a:pt x="32" y="149"/>
                  </a:lnTo>
                  <a:lnTo>
                    <a:pt x="34" y="149"/>
                  </a:lnTo>
                  <a:lnTo>
                    <a:pt x="34" y="149"/>
                  </a:lnTo>
                  <a:lnTo>
                    <a:pt x="34" y="151"/>
                  </a:lnTo>
                  <a:lnTo>
                    <a:pt x="34" y="153"/>
                  </a:lnTo>
                  <a:lnTo>
                    <a:pt x="30" y="155"/>
                  </a:lnTo>
                  <a:lnTo>
                    <a:pt x="30" y="155"/>
                  </a:lnTo>
                  <a:lnTo>
                    <a:pt x="30" y="157"/>
                  </a:lnTo>
                  <a:lnTo>
                    <a:pt x="30" y="159"/>
                  </a:lnTo>
                  <a:lnTo>
                    <a:pt x="30" y="161"/>
                  </a:lnTo>
                  <a:lnTo>
                    <a:pt x="30" y="163"/>
                  </a:lnTo>
                  <a:lnTo>
                    <a:pt x="30" y="163"/>
                  </a:lnTo>
                  <a:lnTo>
                    <a:pt x="30" y="169"/>
                  </a:lnTo>
                  <a:lnTo>
                    <a:pt x="30" y="175"/>
                  </a:lnTo>
                  <a:lnTo>
                    <a:pt x="32" y="179"/>
                  </a:lnTo>
                  <a:lnTo>
                    <a:pt x="32" y="179"/>
                  </a:lnTo>
                  <a:lnTo>
                    <a:pt x="38" y="181"/>
                  </a:lnTo>
                  <a:lnTo>
                    <a:pt x="40" y="183"/>
                  </a:lnTo>
                  <a:lnTo>
                    <a:pt x="50" y="177"/>
                  </a:lnTo>
                  <a:lnTo>
                    <a:pt x="58" y="181"/>
                  </a:lnTo>
                  <a:lnTo>
                    <a:pt x="66" y="185"/>
                  </a:lnTo>
                  <a:lnTo>
                    <a:pt x="76" y="175"/>
                  </a:lnTo>
                  <a:lnTo>
                    <a:pt x="76" y="175"/>
                  </a:lnTo>
                  <a:lnTo>
                    <a:pt x="78" y="179"/>
                  </a:lnTo>
                  <a:lnTo>
                    <a:pt x="82" y="191"/>
                  </a:lnTo>
                  <a:lnTo>
                    <a:pt x="82" y="191"/>
                  </a:lnTo>
                  <a:lnTo>
                    <a:pt x="84" y="197"/>
                  </a:lnTo>
                  <a:lnTo>
                    <a:pt x="88" y="201"/>
                  </a:lnTo>
                  <a:lnTo>
                    <a:pt x="93" y="207"/>
                  </a:lnTo>
                  <a:lnTo>
                    <a:pt x="93" y="207"/>
                  </a:lnTo>
                  <a:lnTo>
                    <a:pt x="93" y="221"/>
                  </a:lnTo>
                  <a:lnTo>
                    <a:pt x="97" y="227"/>
                  </a:lnTo>
                  <a:lnTo>
                    <a:pt x="97" y="233"/>
                  </a:lnTo>
                  <a:lnTo>
                    <a:pt x="97" y="233"/>
                  </a:lnTo>
                  <a:lnTo>
                    <a:pt x="101" y="237"/>
                  </a:lnTo>
                  <a:lnTo>
                    <a:pt x="101" y="237"/>
                  </a:lnTo>
                  <a:lnTo>
                    <a:pt x="107" y="237"/>
                  </a:lnTo>
                  <a:lnTo>
                    <a:pt x="113" y="237"/>
                  </a:lnTo>
                  <a:lnTo>
                    <a:pt x="113" y="245"/>
                  </a:lnTo>
                  <a:lnTo>
                    <a:pt x="119" y="237"/>
                  </a:lnTo>
                  <a:lnTo>
                    <a:pt x="125" y="229"/>
                  </a:lnTo>
                  <a:lnTo>
                    <a:pt x="139" y="227"/>
                  </a:lnTo>
                  <a:lnTo>
                    <a:pt x="139" y="227"/>
                  </a:lnTo>
                  <a:lnTo>
                    <a:pt x="147" y="229"/>
                  </a:lnTo>
                  <a:lnTo>
                    <a:pt x="147" y="229"/>
                  </a:lnTo>
                  <a:lnTo>
                    <a:pt x="147" y="227"/>
                  </a:lnTo>
                  <a:lnTo>
                    <a:pt x="151" y="225"/>
                  </a:lnTo>
                  <a:lnTo>
                    <a:pt x="163" y="221"/>
                  </a:lnTo>
                  <a:lnTo>
                    <a:pt x="175" y="207"/>
                  </a:lnTo>
                  <a:lnTo>
                    <a:pt x="175" y="207"/>
                  </a:lnTo>
                  <a:lnTo>
                    <a:pt x="177" y="207"/>
                  </a:lnTo>
                  <a:lnTo>
                    <a:pt x="177" y="203"/>
                  </a:lnTo>
                  <a:lnTo>
                    <a:pt x="175" y="201"/>
                  </a:lnTo>
                  <a:lnTo>
                    <a:pt x="175" y="201"/>
                  </a:lnTo>
                  <a:lnTo>
                    <a:pt x="171" y="201"/>
                  </a:lnTo>
                  <a:lnTo>
                    <a:pt x="165" y="203"/>
                  </a:lnTo>
                  <a:lnTo>
                    <a:pt x="165" y="203"/>
                  </a:lnTo>
                  <a:lnTo>
                    <a:pt x="161" y="203"/>
                  </a:lnTo>
                  <a:lnTo>
                    <a:pt x="159" y="203"/>
                  </a:lnTo>
                  <a:lnTo>
                    <a:pt x="155" y="203"/>
                  </a:lnTo>
                  <a:lnTo>
                    <a:pt x="153" y="199"/>
                  </a:lnTo>
                  <a:lnTo>
                    <a:pt x="155" y="187"/>
                  </a:lnTo>
                  <a:lnTo>
                    <a:pt x="159" y="187"/>
                  </a:lnTo>
                  <a:lnTo>
                    <a:pt x="159" y="187"/>
                  </a:lnTo>
                  <a:lnTo>
                    <a:pt x="153" y="183"/>
                  </a:lnTo>
                  <a:lnTo>
                    <a:pt x="147" y="177"/>
                  </a:lnTo>
                  <a:lnTo>
                    <a:pt x="147" y="177"/>
                  </a:lnTo>
                  <a:lnTo>
                    <a:pt x="145" y="175"/>
                  </a:lnTo>
                  <a:lnTo>
                    <a:pt x="145" y="175"/>
                  </a:lnTo>
                  <a:lnTo>
                    <a:pt x="145" y="167"/>
                  </a:lnTo>
                  <a:lnTo>
                    <a:pt x="145" y="163"/>
                  </a:lnTo>
                  <a:lnTo>
                    <a:pt x="143" y="161"/>
                  </a:lnTo>
                  <a:lnTo>
                    <a:pt x="143" y="161"/>
                  </a:lnTo>
                  <a:lnTo>
                    <a:pt x="143" y="161"/>
                  </a:lnTo>
                  <a:lnTo>
                    <a:pt x="143" y="157"/>
                  </a:lnTo>
                  <a:lnTo>
                    <a:pt x="147" y="151"/>
                  </a:lnTo>
                  <a:lnTo>
                    <a:pt x="147" y="151"/>
                  </a:lnTo>
                  <a:lnTo>
                    <a:pt x="149" y="145"/>
                  </a:lnTo>
                  <a:lnTo>
                    <a:pt x="151" y="141"/>
                  </a:lnTo>
                  <a:lnTo>
                    <a:pt x="151" y="133"/>
                  </a:lnTo>
                  <a:lnTo>
                    <a:pt x="151" y="133"/>
                  </a:lnTo>
                  <a:lnTo>
                    <a:pt x="147" y="127"/>
                  </a:lnTo>
                  <a:lnTo>
                    <a:pt x="145" y="121"/>
                  </a:lnTo>
                  <a:lnTo>
                    <a:pt x="143" y="117"/>
                  </a:lnTo>
                  <a:lnTo>
                    <a:pt x="143" y="117"/>
                  </a:lnTo>
                  <a:lnTo>
                    <a:pt x="141" y="117"/>
                  </a:lnTo>
                  <a:lnTo>
                    <a:pt x="141" y="117"/>
                  </a:lnTo>
                  <a:lnTo>
                    <a:pt x="143" y="115"/>
                  </a:lnTo>
                  <a:lnTo>
                    <a:pt x="145" y="115"/>
                  </a:lnTo>
                  <a:lnTo>
                    <a:pt x="145" y="115"/>
                  </a:lnTo>
                  <a:lnTo>
                    <a:pt x="147" y="113"/>
                  </a:lnTo>
                  <a:lnTo>
                    <a:pt x="147" y="113"/>
                  </a:lnTo>
                  <a:lnTo>
                    <a:pt x="149" y="109"/>
                  </a:lnTo>
                  <a:lnTo>
                    <a:pt x="149" y="109"/>
                  </a:lnTo>
                  <a:lnTo>
                    <a:pt x="151" y="109"/>
                  </a:lnTo>
                  <a:lnTo>
                    <a:pt x="153" y="111"/>
                  </a:lnTo>
                  <a:lnTo>
                    <a:pt x="153" y="111"/>
                  </a:lnTo>
                  <a:lnTo>
                    <a:pt x="155" y="111"/>
                  </a:lnTo>
                  <a:lnTo>
                    <a:pt x="155" y="109"/>
                  </a:lnTo>
                  <a:lnTo>
                    <a:pt x="159" y="105"/>
                  </a:lnTo>
                  <a:lnTo>
                    <a:pt x="159" y="105"/>
                  </a:lnTo>
                  <a:lnTo>
                    <a:pt x="163" y="107"/>
                  </a:lnTo>
                  <a:lnTo>
                    <a:pt x="167" y="109"/>
                  </a:lnTo>
                  <a:lnTo>
                    <a:pt x="167" y="109"/>
                  </a:lnTo>
                  <a:lnTo>
                    <a:pt x="175" y="113"/>
                  </a:lnTo>
                  <a:lnTo>
                    <a:pt x="183" y="115"/>
                  </a:lnTo>
                  <a:lnTo>
                    <a:pt x="183" y="115"/>
                  </a:lnTo>
                  <a:lnTo>
                    <a:pt x="197" y="101"/>
                  </a:lnTo>
                  <a:lnTo>
                    <a:pt x="197" y="101"/>
                  </a:lnTo>
                  <a:lnTo>
                    <a:pt x="199" y="99"/>
                  </a:lnTo>
                  <a:lnTo>
                    <a:pt x="199" y="97"/>
                  </a:lnTo>
                  <a:lnTo>
                    <a:pt x="197" y="93"/>
                  </a:lnTo>
                  <a:lnTo>
                    <a:pt x="197" y="91"/>
                  </a:lnTo>
                  <a:lnTo>
                    <a:pt x="195" y="87"/>
                  </a:lnTo>
                  <a:lnTo>
                    <a:pt x="195" y="87"/>
                  </a:lnTo>
                  <a:lnTo>
                    <a:pt x="195" y="81"/>
                  </a:lnTo>
                  <a:lnTo>
                    <a:pt x="195" y="71"/>
                  </a:lnTo>
                  <a:lnTo>
                    <a:pt x="195" y="71"/>
                  </a:lnTo>
                  <a:lnTo>
                    <a:pt x="195" y="71"/>
                  </a:lnTo>
                  <a:lnTo>
                    <a:pt x="197" y="67"/>
                  </a:lnTo>
                  <a:lnTo>
                    <a:pt x="205" y="63"/>
                  </a:lnTo>
                  <a:lnTo>
                    <a:pt x="219" y="53"/>
                  </a:lnTo>
                  <a:lnTo>
                    <a:pt x="219" y="53"/>
                  </a:lnTo>
                  <a:lnTo>
                    <a:pt x="221" y="53"/>
                  </a:lnTo>
                  <a:lnTo>
                    <a:pt x="221" y="49"/>
                  </a:lnTo>
                  <a:lnTo>
                    <a:pt x="221" y="43"/>
                  </a:lnTo>
                  <a:lnTo>
                    <a:pt x="219" y="30"/>
                  </a:lnTo>
                  <a:lnTo>
                    <a:pt x="219" y="30"/>
                  </a:lnTo>
                  <a:lnTo>
                    <a:pt x="219" y="22"/>
                  </a:lnTo>
                  <a:lnTo>
                    <a:pt x="219" y="16"/>
                  </a:lnTo>
                  <a:lnTo>
                    <a:pt x="215" y="16"/>
                  </a:lnTo>
                  <a:lnTo>
                    <a:pt x="215" y="16"/>
                  </a:lnTo>
                  <a:lnTo>
                    <a:pt x="213" y="16"/>
                  </a:lnTo>
                  <a:lnTo>
                    <a:pt x="209" y="16"/>
                  </a:lnTo>
                  <a:lnTo>
                    <a:pt x="205" y="16"/>
                  </a:lnTo>
                  <a:lnTo>
                    <a:pt x="205" y="16"/>
                  </a:lnTo>
                  <a:lnTo>
                    <a:pt x="191" y="20"/>
                  </a:lnTo>
                  <a:lnTo>
                    <a:pt x="187" y="20"/>
                  </a:lnTo>
                  <a:lnTo>
                    <a:pt x="183" y="18"/>
                  </a:lnTo>
                  <a:lnTo>
                    <a:pt x="183" y="18"/>
                  </a:lnTo>
                  <a:lnTo>
                    <a:pt x="177" y="16"/>
                  </a:lnTo>
                  <a:lnTo>
                    <a:pt x="173" y="10"/>
                  </a:lnTo>
                  <a:lnTo>
                    <a:pt x="173" y="10"/>
                  </a:lnTo>
                  <a:lnTo>
                    <a:pt x="171" y="6"/>
                  </a:lnTo>
                  <a:lnTo>
                    <a:pt x="171" y="4"/>
                  </a:lnTo>
                  <a:lnTo>
                    <a:pt x="169" y="2"/>
                  </a:lnTo>
                  <a:lnTo>
                    <a:pt x="163" y="0"/>
                  </a:lnTo>
                  <a:lnTo>
                    <a:pt x="163" y="0"/>
                  </a:lnTo>
                  <a:lnTo>
                    <a:pt x="159" y="2"/>
                  </a:lnTo>
                  <a:lnTo>
                    <a:pt x="155" y="2"/>
                  </a:lnTo>
                  <a:lnTo>
                    <a:pt x="155" y="4"/>
                  </a:lnTo>
                  <a:lnTo>
                    <a:pt x="155" y="4"/>
                  </a:lnTo>
                  <a:lnTo>
                    <a:pt x="151" y="10"/>
                  </a:lnTo>
                  <a:lnTo>
                    <a:pt x="151" y="14"/>
                  </a:lnTo>
                  <a:lnTo>
                    <a:pt x="147" y="14"/>
                  </a:lnTo>
                  <a:lnTo>
                    <a:pt x="147" y="14"/>
                  </a:lnTo>
                  <a:lnTo>
                    <a:pt x="139" y="10"/>
                  </a:lnTo>
                  <a:lnTo>
                    <a:pt x="131" y="6"/>
                  </a:lnTo>
                  <a:lnTo>
                    <a:pt x="125" y="18"/>
                  </a:lnTo>
                  <a:lnTo>
                    <a:pt x="125" y="18"/>
                  </a:lnTo>
                  <a:lnTo>
                    <a:pt x="131" y="20"/>
                  </a:lnTo>
                  <a:lnTo>
                    <a:pt x="131" y="20"/>
                  </a:lnTo>
                  <a:lnTo>
                    <a:pt x="131" y="22"/>
                  </a:lnTo>
                  <a:lnTo>
                    <a:pt x="131" y="22"/>
                  </a:lnTo>
                  <a:lnTo>
                    <a:pt x="131" y="22"/>
                  </a:lnTo>
                  <a:lnTo>
                    <a:pt x="127" y="24"/>
                  </a:lnTo>
                  <a:lnTo>
                    <a:pt x="125" y="22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17" y="20"/>
                  </a:lnTo>
                  <a:lnTo>
                    <a:pt x="113" y="22"/>
                  </a:lnTo>
                  <a:lnTo>
                    <a:pt x="109" y="24"/>
                  </a:lnTo>
                  <a:lnTo>
                    <a:pt x="109" y="24"/>
                  </a:lnTo>
                  <a:lnTo>
                    <a:pt x="107" y="28"/>
                  </a:lnTo>
                  <a:lnTo>
                    <a:pt x="107" y="31"/>
                  </a:lnTo>
                  <a:lnTo>
                    <a:pt x="105" y="37"/>
                  </a:lnTo>
                  <a:lnTo>
                    <a:pt x="105" y="37"/>
                  </a:lnTo>
                  <a:lnTo>
                    <a:pt x="105" y="37"/>
                  </a:lnTo>
                  <a:lnTo>
                    <a:pt x="103" y="37"/>
                  </a:lnTo>
                  <a:lnTo>
                    <a:pt x="101" y="37"/>
                  </a:lnTo>
                  <a:lnTo>
                    <a:pt x="101" y="37"/>
                  </a:lnTo>
                  <a:lnTo>
                    <a:pt x="101" y="37"/>
                  </a:lnTo>
                  <a:lnTo>
                    <a:pt x="101" y="41"/>
                  </a:lnTo>
                  <a:lnTo>
                    <a:pt x="101" y="41"/>
                  </a:lnTo>
                  <a:lnTo>
                    <a:pt x="101" y="45"/>
                  </a:lnTo>
                  <a:lnTo>
                    <a:pt x="101" y="45"/>
                  </a:lnTo>
                  <a:lnTo>
                    <a:pt x="99" y="45"/>
                  </a:lnTo>
                  <a:lnTo>
                    <a:pt x="99" y="45"/>
                  </a:lnTo>
                  <a:lnTo>
                    <a:pt x="95" y="45"/>
                  </a:lnTo>
                  <a:lnTo>
                    <a:pt x="95" y="45"/>
                  </a:lnTo>
                  <a:lnTo>
                    <a:pt x="91" y="45"/>
                  </a:lnTo>
                  <a:lnTo>
                    <a:pt x="86" y="45"/>
                  </a:lnTo>
                  <a:lnTo>
                    <a:pt x="86" y="45"/>
                  </a:lnTo>
                  <a:lnTo>
                    <a:pt x="80" y="49"/>
                  </a:lnTo>
                  <a:lnTo>
                    <a:pt x="76" y="51"/>
                  </a:lnTo>
                  <a:lnTo>
                    <a:pt x="74" y="51"/>
                  </a:lnTo>
                  <a:lnTo>
                    <a:pt x="74" y="51"/>
                  </a:lnTo>
                  <a:lnTo>
                    <a:pt x="70" y="43"/>
                  </a:lnTo>
                  <a:lnTo>
                    <a:pt x="60" y="35"/>
                  </a:lnTo>
                  <a:lnTo>
                    <a:pt x="60" y="35"/>
                  </a:lnTo>
                  <a:lnTo>
                    <a:pt x="56" y="28"/>
                  </a:lnTo>
                  <a:lnTo>
                    <a:pt x="56" y="26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46" y="24"/>
                  </a:lnTo>
                  <a:lnTo>
                    <a:pt x="42" y="26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8" y="24"/>
                  </a:lnTo>
                  <a:lnTo>
                    <a:pt x="34" y="20"/>
                  </a:lnTo>
                  <a:lnTo>
                    <a:pt x="32" y="20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18" y="20"/>
                  </a:lnTo>
                  <a:lnTo>
                    <a:pt x="16" y="22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2" y="26"/>
                  </a:lnTo>
                  <a:lnTo>
                    <a:pt x="8" y="28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10" y="39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6" y="49"/>
                  </a:lnTo>
                  <a:lnTo>
                    <a:pt x="30" y="55"/>
                  </a:lnTo>
                  <a:lnTo>
                    <a:pt x="32" y="61"/>
                  </a:lnTo>
                  <a:lnTo>
                    <a:pt x="32" y="63"/>
                  </a:lnTo>
                  <a:lnTo>
                    <a:pt x="30" y="65"/>
                  </a:lnTo>
                  <a:lnTo>
                    <a:pt x="30" y="65"/>
                  </a:lnTo>
                  <a:lnTo>
                    <a:pt x="26" y="65"/>
                  </a:lnTo>
                  <a:lnTo>
                    <a:pt x="20" y="65"/>
                  </a:lnTo>
                  <a:lnTo>
                    <a:pt x="12" y="61"/>
                  </a:lnTo>
                  <a:lnTo>
                    <a:pt x="12" y="61"/>
                  </a:lnTo>
                  <a:lnTo>
                    <a:pt x="6" y="53"/>
                  </a:lnTo>
                  <a:lnTo>
                    <a:pt x="6" y="67"/>
                  </a:lnTo>
                  <a:lnTo>
                    <a:pt x="0" y="69"/>
                  </a:lnTo>
                  <a:lnTo>
                    <a:pt x="0" y="69"/>
                  </a:lnTo>
                  <a:lnTo>
                    <a:pt x="0" y="69"/>
                  </a:lnTo>
                  <a:lnTo>
                    <a:pt x="0" y="69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90" name="Freeform 49"/>
            <p:cNvSpPr>
              <a:spLocks/>
            </p:cNvSpPr>
            <p:nvPr/>
          </p:nvSpPr>
          <p:spPr bwMode="auto">
            <a:xfrm>
              <a:off x="855" y="2607"/>
              <a:ext cx="82" cy="66"/>
            </a:xfrm>
            <a:custGeom>
              <a:avLst/>
              <a:gdLst>
                <a:gd name="T0" fmla="*/ 66 w 82"/>
                <a:gd name="T1" fmla="*/ 66 h 66"/>
                <a:gd name="T2" fmla="*/ 70 w 82"/>
                <a:gd name="T3" fmla="*/ 64 h 66"/>
                <a:gd name="T4" fmla="*/ 72 w 82"/>
                <a:gd name="T5" fmla="*/ 56 h 66"/>
                <a:gd name="T6" fmla="*/ 72 w 82"/>
                <a:gd name="T7" fmla="*/ 50 h 66"/>
                <a:gd name="T8" fmla="*/ 78 w 82"/>
                <a:gd name="T9" fmla="*/ 46 h 66"/>
                <a:gd name="T10" fmla="*/ 82 w 82"/>
                <a:gd name="T11" fmla="*/ 44 h 66"/>
                <a:gd name="T12" fmla="*/ 82 w 82"/>
                <a:gd name="T13" fmla="*/ 44 h 66"/>
                <a:gd name="T14" fmla="*/ 82 w 82"/>
                <a:gd name="T15" fmla="*/ 42 h 66"/>
                <a:gd name="T16" fmla="*/ 76 w 82"/>
                <a:gd name="T17" fmla="*/ 34 h 66"/>
                <a:gd name="T18" fmla="*/ 74 w 82"/>
                <a:gd name="T19" fmla="*/ 30 h 66"/>
                <a:gd name="T20" fmla="*/ 62 w 82"/>
                <a:gd name="T21" fmla="*/ 26 h 66"/>
                <a:gd name="T22" fmla="*/ 56 w 82"/>
                <a:gd name="T23" fmla="*/ 24 h 66"/>
                <a:gd name="T24" fmla="*/ 52 w 82"/>
                <a:gd name="T25" fmla="*/ 8 h 66"/>
                <a:gd name="T26" fmla="*/ 50 w 82"/>
                <a:gd name="T27" fmla="*/ 4 h 66"/>
                <a:gd name="T28" fmla="*/ 34 w 82"/>
                <a:gd name="T29" fmla="*/ 0 h 66"/>
                <a:gd name="T30" fmla="*/ 32 w 82"/>
                <a:gd name="T31" fmla="*/ 0 h 66"/>
                <a:gd name="T32" fmla="*/ 32 w 82"/>
                <a:gd name="T33" fmla="*/ 0 h 66"/>
                <a:gd name="T34" fmla="*/ 18 w 82"/>
                <a:gd name="T35" fmla="*/ 0 h 66"/>
                <a:gd name="T36" fmla="*/ 8 w 82"/>
                <a:gd name="T37" fmla="*/ 2 h 66"/>
                <a:gd name="T38" fmla="*/ 0 w 82"/>
                <a:gd name="T39" fmla="*/ 12 h 66"/>
                <a:gd name="T40" fmla="*/ 2 w 82"/>
                <a:gd name="T41" fmla="*/ 18 h 66"/>
                <a:gd name="T42" fmla="*/ 2 w 82"/>
                <a:gd name="T43" fmla="*/ 20 h 66"/>
                <a:gd name="T44" fmla="*/ 6 w 82"/>
                <a:gd name="T45" fmla="*/ 22 h 66"/>
                <a:gd name="T46" fmla="*/ 8 w 82"/>
                <a:gd name="T47" fmla="*/ 30 h 66"/>
                <a:gd name="T48" fmla="*/ 8 w 82"/>
                <a:gd name="T49" fmla="*/ 40 h 66"/>
                <a:gd name="T50" fmla="*/ 10 w 82"/>
                <a:gd name="T51" fmla="*/ 54 h 66"/>
                <a:gd name="T52" fmla="*/ 16 w 82"/>
                <a:gd name="T53" fmla="*/ 58 h 66"/>
                <a:gd name="T54" fmla="*/ 26 w 82"/>
                <a:gd name="T55" fmla="*/ 56 h 66"/>
                <a:gd name="T56" fmla="*/ 40 w 82"/>
                <a:gd name="T57" fmla="*/ 54 h 66"/>
                <a:gd name="T58" fmla="*/ 46 w 82"/>
                <a:gd name="T59" fmla="*/ 56 h 66"/>
                <a:gd name="T60" fmla="*/ 56 w 82"/>
                <a:gd name="T61" fmla="*/ 62 h 66"/>
                <a:gd name="T62" fmla="*/ 66 w 82"/>
                <a:gd name="T63" fmla="*/ 66 h 66"/>
                <a:gd name="T64" fmla="*/ 66 w 82"/>
                <a:gd name="T65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2" h="66">
                  <a:moveTo>
                    <a:pt x="66" y="66"/>
                  </a:moveTo>
                  <a:lnTo>
                    <a:pt x="66" y="66"/>
                  </a:lnTo>
                  <a:lnTo>
                    <a:pt x="68" y="66"/>
                  </a:lnTo>
                  <a:lnTo>
                    <a:pt x="70" y="64"/>
                  </a:lnTo>
                  <a:lnTo>
                    <a:pt x="72" y="62"/>
                  </a:lnTo>
                  <a:lnTo>
                    <a:pt x="72" y="56"/>
                  </a:lnTo>
                  <a:lnTo>
                    <a:pt x="72" y="50"/>
                  </a:lnTo>
                  <a:lnTo>
                    <a:pt x="72" y="50"/>
                  </a:lnTo>
                  <a:lnTo>
                    <a:pt x="74" y="48"/>
                  </a:lnTo>
                  <a:lnTo>
                    <a:pt x="78" y="46"/>
                  </a:lnTo>
                  <a:lnTo>
                    <a:pt x="78" y="46"/>
                  </a:lnTo>
                  <a:lnTo>
                    <a:pt x="82" y="44"/>
                  </a:lnTo>
                  <a:lnTo>
                    <a:pt x="82" y="44"/>
                  </a:lnTo>
                  <a:lnTo>
                    <a:pt x="82" y="44"/>
                  </a:lnTo>
                  <a:lnTo>
                    <a:pt x="82" y="44"/>
                  </a:lnTo>
                  <a:lnTo>
                    <a:pt x="82" y="42"/>
                  </a:lnTo>
                  <a:lnTo>
                    <a:pt x="78" y="38"/>
                  </a:lnTo>
                  <a:lnTo>
                    <a:pt x="76" y="34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66" y="30"/>
                  </a:lnTo>
                  <a:lnTo>
                    <a:pt x="62" y="26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2" y="16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0" y="4"/>
                  </a:lnTo>
                  <a:lnTo>
                    <a:pt x="46" y="2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8" y="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2" y="18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36"/>
                  </a:lnTo>
                  <a:lnTo>
                    <a:pt x="8" y="40"/>
                  </a:lnTo>
                  <a:lnTo>
                    <a:pt x="10" y="48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6" y="58"/>
                  </a:lnTo>
                  <a:lnTo>
                    <a:pt x="16" y="58"/>
                  </a:lnTo>
                  <a:lnTo>
                    <a:pt x="26" y="56"/>
                  </a:lnTo>
                  <a:lnTo>
                    <a:pt x="40" y="54"/>
                  </a:lnTo>
                  <a:lnTo>
                    <a:pt x="40" y="54"/>
                  </a:lnTo>
                  <a:lnTo>
                    <a:pt x="42" y="54"/>
                  </a:lnTo>
                  <a:lnTo>
                    <a:pt x="46" y="56"/>
                  </a:lnTo>
                  <a:lnTo>
                    <a:pt x="52" y="58"/>
                  </a:lnTo>
                  <a:lnTo>
                    <a:pt x="56" y="62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6" y="66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91" name="Freeform 50"/>
            <p:cNvSpPr>
              <a:spLocks/>
            </p:cNvSpPr>
            <p:nvPr/>
          </p:nvSpPr>
          <p:spPr bwMode="auto">
            <a:xfrm>
              <a:off x="949" y="2480"/>
              <a:ext cx="219" cy="227"/>
            </a:xfrm>
            <a:custGeom>
              <a:avLst/>
              <a:gdLst>
                <a:gd name="T0" fmla="*/ 159 w 219"/>
                <a:gd name="T1" fmla="*/ 161 h 227"/>
                <a:gd name="T2" fmla="*/ 161 w 219"/>
                <a:gd name="T3" fmla="*/ 143 h 227"/>
                <a:gd name="T4" fmla="*/ 175 w 219"/>
                <a:gd name="T5" fmla="*/ 149 h 227"/>
                <a:gd name="T6" fmla="*/ 179 w 219"/>
                <a:gd name="T7" fmla="*/ 147 h 227"/>
                <a:gd name="T8" fmla="*/ 189 w 219"/>
                <a:gd name="T9" fmla="*/ 147 h 227"/>
                <a:gd name="T10" fmla="*/ 191 w 219"/>
                <a:gd name="T11" fmla="*/ 145 h 227"/>
                <a:gd name="T12" fmla="*/ 197 w 219"/>
                <a:gd name="T13" fmla="*/ 137 h 227"/>
                <a:gd name="T14" fmla="*/ 191 w 219"/>
                <a:gd name="T15" fmla="*/ 127 h 227"/>
                <a:gd name="T16" fmla="*/ 199 w 219"/>
                <a:gd name="T17" fmla="*/ 99 h 227"/>
                <a:gd name="T18" fmla="*/ 211 w 219"/>
                <a:gd name="T19" fmla="*/ 99 h 227"/>
                <a:gd name="T20" fmla="*/ 219 w 219"/>
                <a:gd name="T21" fmla="*/ 97 h 227"/>
                <a:gd name="T22" fmla="*/ 203 w 219"/>
                <a:gd name="T23" fmla="*/ 95 h 227"/>
                <a:gd name="T24" fmla="*/ 193 w 219"/>
                <a:gd name="T25" fmla="*/ 86 h 227"/>
                <a:gd name="T26" fmla="*/ 201 w 219"/>
                <a:gd name="T27" fmla="*/ 54 h 227"/>
                <a:gd name="T28" fmla="*/ 205 w 219"/>
                <a:gd name="T29" fmla="*/ 52 h 227"/>
                <a:gd name="T30" fmla="*/ 199 w 219"/>
                <a:gd name="T31" fmla="*/ 44 h 227"/>
                <a:gd name="T32" fmla="*/ 197 w 219"/>
                <a:gd name="T33" fmla="*/ 22 h 227"/>
                <a:gd name="T34" fmla="*/ 191 w 219"/>
                <a:gd name="T35" fmla="*/ 20 h 227"/>
                <a:gd name="T36" fmla="*/ 181 w 219"/>
                <a:gd name="T37" fmla="*/ 22 h 227"/>
                <a:gd name="T38" fmla="*/ 177 w 219"/>
                <a:gd name="T39" fmla="*/ 16 h 227"/>
                <a:gd name="T40" fmla="*/ 181 w 219"/>
                <a:gd name="T41" fmla="*/ 6 h 227"/>
                <a:gd name="T42" fmla="*/ 177 w 219"/>
                <a:gd name="T43" fmla="*/ 4 h 227"/>
                <a:gd name="T44" fmla="*/ 169 w 219"/>
                <a:gd name="T45" fmla="*/ 12 h 227"/>
                <a:gd name="T46" fmla="*/ 163 w 219"/>
                <a:gd name="T47" fmla="*/ 14 h 227"/>
                <a:gd name="T48" fmla="*/ 155 w 219"/>
                <a:gd name="T49" fmla="*/ 6 h 227"/>
                <a:gd name="T50" fmla="*/ 145 w 219"/>
                <a:gd name="T51" fmla="*/ 6 h 227"/>
                <a:gd name="T52" fmla="*/ 135 w 219"/>
                <a:gd name="T53" fmla="*/ 6 h 227"/>
                <a:gd name="T54" fmla="*/ 123 w 219"/>
                <a:gd name="T55" fmla="*/ 28 h 227"/>
                <a:gd name="T56" fmla="*/ 133 w 219"/>
                <a:gd name="T57" fmla="*/ 28 h 227"/>
                <a:gd name="T58" fmla="*/ 145 w 219"/>
                <a:gd name="T59" fmla="*/ 28 h 227"/>
                <a:gd name="T60" fmla="*/ 131 w 219"/>
                <a:gd name="T61" fmla="*/ 46 h 227"/>
                <a:gd name="T62" fmla="*/ 115 w 219"/>
                <a:gd name="T63" fmla="*/ 54 h 227"/>
                <a:gd name="T64" fmla="*/ 81 w 219"/>
                <a:gd name="T65" fmla="*/ 70 h 227"/>
                <a:gd name="T66" fmla="*/ 69 w 219"/>
                <a:gd name="T67" fmla="*/ 62 h 227"/>
                <a:gd name="T68" fmla="*/ 65 w 219"/>
                <a:gd name="T69" fmla="*/ 52 h 227"/>
                <a:gd name="T70" fmla="*/ 56 w 219"/>
                <a:gd name="T71" fmla="*/ 26 h 227"/>
                <a:gd name="T72" fmla="*/ 46 w 219"/>
                <a:gd name="T73" fmla="*/ 4 h 227"/>
                <a:gd name="T74" fmla="*/ 18 w 219"/>
                <a:gd name="T75" fmla="*/ 2 h 227"/>
                <a:gd name="T76" fmla="*/ 0 w 219"/>
                <a:gd name="T77" fmla="*/ 4 h 227"/>
                <a:gd name="T78" fmla="*/ 6 w 219"/>
                <a:gd name="T79" fmla="*/ 8 h 227"/>
                <a:gd name="T80" fmla="*/ 16 w 219"/>
                <a:gd name="T81" fmla="*/ 22 h 227"/>
                <a:gd name="T82" fmla="*/ 24 w 219"/>
                <a:gd name="T83" fmla="*/ 30 h 227"/>
                <a:gd name="T84" fmla="*/ 34 w 219"/>
                <a:gd name="T85" fmla="*/ 36 h 227"/>
                <a:gd name="T86" fmla="*/ 52 w 219"/>
                <a:gd name="T87" fmla="*/ 46 h 227"/>
                <a:gd name="T88" fmla="*/ 65 w 219"/>
                <a:gd name="T89" fmla="*/ 78 h 227"/>
                <a:gd name="T90" fmla="*/ 61 w 219"/>
                <a:gd name="T91" fmla="*/ 95 h 227"/>
                <a:gd name="T92" fmla="*/ 63 w 219"/>
                <a:gd name="T93" fmla="*/ 119 h 227"/>
                <a:gd name="T94" fmla="*/ 77 w 219"/>
                <a:gd name="T95" fmla="*/ 165 h 227"/>
                <a:gd name="T96" fmla="*/ 75 w 219"/>
                <a:gd name="T97" fmla="*/ 173 h 227"/>
                <a:gd name="T98" fmla="*/ 91 w 219"/>
                <a:gd name="T99" fmla="*/ 195 h 227"/>
                <a:gd name="T100" fmla="*/ 105 w 219"/>
                <a:gd name="T101" fmla="*/ 219 h 227"/>
                <a:gd name="T102" fmla="*/ 113 w 219"/>
                <a:gd name="T103" fmla="*/ 227 h 227"/>
                <a:gd name="T104" fmla="*/ 131 w 219"/>
                <a:gd name="T105" fmla="*/ 219 h 227"/>
                <a:gd name="T106" fmla="*/ 155 w 219"/>
                <a:gd name="T107" fmla="*/ 195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19" h="227">
                  <a:moveTo>
                    <a:pt x="155" y="195"/>
                  </a:moveTo>
                  <a:lnTo>
                    <a:pt x="139" y="185"/>
                  </a:lnTo>
                  <a:lnTo>
                    <a:pt x="167" y="171"/>
                  </a:lnTo>
                  <a:lnTo>
                    <a:pt x="159" y="161"/>
                  </a:lnTo>
                  <a:lnTo>
                    <a:pt x="161" y="157"/>
                  </a:lnTo>
                  <a:lnTo>
                    <a:pt x="157" y="143"/>
                  </a:lnTo>
                  <a:lnTo>
                    <a:pt x="157" y="143"/>
                  </a:lnTo>
                  <a:lnTo>
                    <a:pt x="161" y="143"/>
                  </a:lnTo>
                  <a:lnTo>
                    <a:pt x="165" y="143"/>
                  </a:lnTo>
                  <a:lnTo>
                    <a:pt x="169" y="147"/>
                  </a:lnTo>
                  <a:lnTo>
                    <a:pt x="169" y="147"/>
                  </a:lnTo>
                  <a:lnTo>
                    <a:pt x="175" y="149"/>
                  </a:lnTo>
                  <a:lnTo>
                    <a:pt x="177" y="149"/>
                  </a:lnTo>
                  <a:lnTo>
                    <a:pt x="177" y="149"/>
                  </a:lnTo>
                  <a:lnTo>
                    <a:pt x="177" y="149"/>
                  </a:lnTo>
                  <a:lnTo>
                    <a:pt x="179" y="147"/>
                  </a:lnTo>
                  <a:lnTo>
                    <a:pt x="181" y="145"/>
                  </a:lnTo>
                  <a:lnTo>
                    <a:pt x="183" y="145"/>
                  </a:lnTo>
                  <a:lnTo>
                    <a:pt x="183" y="145"/>
                  </a:lnTo>
                  <a:lnTo>
                    <a:pt x="189" y="147"/>
                  </a:lnTo>
                  <a:lnTo>
                    <a:pt x="191" y="147"/>
                  </a:lnTo>
                  <a:lnTo>
                    <a:pt x="191" y="147"/>
                  </a:lnTo>
                  <a:lnTo>
                    <a:pt x="191" y="145"/>
                  </a:lnTo>
                  <a:lnTo>
                    <a:pt x="191" y="145"/>
                  </a:lnTo>
                  <a:lnTo>
                    <a:pt x="193" y="143"/>
                  </a:lnTo>
                  <a:lnTo>
                    <a:pt x="197" y="141"/>
                  </a:lnTo>
                  <a:lnTo>
                    <a:pt x="197" y="139"/>
                  </a:lnTo>
                  <a:lnTo>
                    <a:pt x="197" y="137"/>
                  </a:lnTo>
                  <a:lnTo>
                    <a:pt x="197" y="137"/>
                  </a:lnTo>
                  <a:lnTo>
                    <a:pt x="191" y="135"/>
                  </a:lnTo>
                  <a:lnTo>
                    <a:pt x="191" y="131"/>
                  </a:lnTo>
                  <a:lnTo>
                    <a:pt x="191" y="127"/>
                  </a:lnTo>
                  <a:lnTo>
                    <a:pt x="191" y="127"/>
                  </a:lnTo>
                  <a:lnTo>
                    <a:pt x="193" y="113"/>
                  </a:lnTo>
                  <a:lnTo>
                    <a:pt x="197" y="103"/>
                  </a:lnTo>
                  <a:lnTo>
                    <a:pt x="199" y="99"/>
                  </a:lnTo>
                  <a:lnTo>
                    <a:pt x="199" y="99"/>
                  </a:lnTo>
                  <a:lnTo>
                    <a:pt x="201" y="99"/>
                  </a:lnTo>
                  <a:lnTo>
                    <a:pt x="207" y="99"/>
                  </a:lnTo>
                  <a:lnTo>
                    <a:pt x="211" y="99"/>
                  </a:lnTo>
                  <a:lnTo>
                    <a:pt x="215" y="99"/>
                  </a:lnTo>
                  <a:lnTo>
                    <a:pt x="215" y="99"/>
                  </a:lnTo>
                  <a:lnTo>
                    <a:pt x="219" y="99"/>
                  </a:lnTo>
                  <a:lnTo>
                    <a:pt x="219" y="97"/>
                  </a:lnTo>
                  <a:lnTo>
                    <a:pt x="219" y="95"/>
                  </a:lnTo>
                  <a:lnTo>
                    <a:pt x="215" y="95"/>
                  </a:lnTo>
                  <a:lnTo>
                    <a:pt x="215" y="95"/>
                  </a:lnTo>
                  <a:lnTo>
                    <a:pt x="203" y="95"/>
                  </a:lnTo>
                  <a:lnTo>
                    <a:pt x="197" y="93"/>
                  </a:lnTo>
                  <a:lnTo>
                    <a:pt x="197" y="91"/>
                  </a:lnTo>
                  <a:lnTo>
                    <a:pt x="193" y="86"/>
                  </a:lnTo>
                  <a:lnTo>
                    <a:pt x="193" y="86"/>
                  </a:lnTo>
                  <a:lnTo>
                    <a:pt x="197" y="70"/>
                  </a:lnTo>
                  <a:lnTo>
                    <a:pt x="199" y="56"/>
                  </a:lnTo>
                  <a:lnTo>
                    <a:pt x="199" y="56"/>
                  </a:lnTo>
                  <a:lnTo>
                    <a:pt x="201" y="54"/>
                  </a:lnTo>
                  <a:lnTo>
                    <a:pt x="201" y="54"/>
                  </a:lnTo>
                  <a:lnTo>
                    <a:pt x="205" y="54"/>
                  </a:lnTo>
                  <a:lnTo>
                    <a:pt x="205" y="52"/>
                  </a:lnTo>
                  <a:lnTo>
                    <a:pt x="205" y="52"/>
                  </a:lnTo>
                  <a:lnTo>
                    <a:pt x="205" y="50"/>
                  </a:lnTo>
                  <a:lnTo>
                    <a:pt x="203" y="50"/>
                  </a:lnTo>
                  <a:lnTo>
                    <a:pt x="201" y="48"/>
                  </a:lnTo>
                  <a:lnTo>
                    <a:pt x="199" y="44"/>
                  </a:lnTo>
                  <a:lnTo>
                    <a:pt x="199" y="44"/>
                  </a:lnTo>
                  <a:lnTo>
                    <a:pt x="197" y="28"/>
                  </a:lnTo>
                  <a:lnTo>
                    <a:pt x="197" y="22"/>
                  </a:lnTo>
                  <a:lnTo>
                    <a:pt x="197" y="22"/>
                  </a:lnTo>
                  <a:lnTo>
                    <a:pt x="197" y="20"/>
                  </a:lnTo>
                  <a:lnTo>
                    <a:pt x="197" y="20"/>
                  </a:lnTo>
                  <a:lnTo>
                    <a:pt x="191" y="20"/>
                  </a:lnTo>
                  <a:lnTo>
                    <a:pt x="191" y="20"/>
                  </a:lnTo>
                  <a:lnTo>
                    <a:pt x="191" y="22"/>
                  </a:lnTo>
                  <a:lnTo>
                    <a:pt x="187" y="22"/>
                  </a:lnTo>
                  <a:lnTo>
                    <a:pt x="183" y="24"/>
                  </a:lnTo>
                  <a:lnTo>
                    <a:pt x="181" y="22"/>
                  </a:lnTo>
                  <a:lnTo>
                    <a:pt x="181" y="22"/>
                  </a:lnTo>
                  <a:lnTo>
                    <a:pt x="181" y="22"/>
                  </a:lnTo>
                  <a:lnTo>
                    <a:pt x="177" y="20"/>
                  </a:lnTo>
                  <a:lnTo>
                    <a:pt x="177" y="16"/>
                  </a:lnTo>
                  <a:lnTo>
                    <a:pt x="179" y="14"/>
                  </a:lnTo>
                  <a:lnTo>
                    <a:pt x="179" y="14"/>
                  </a:lnTo>
                  <a:lnTo>
                    <a:pt x="181" y="10"/>
                  </a:lnTo>
                  <a:lnTo>
                    <a:pt x="181" y="6"/>
                  </a:lnTo>
                  <a:lnTo>
                    <a:pt x="181" y="4"/>
                  </a:lnTo>
                  <a:lnTo>
                    <a:pt x="179" y="2"/>
                  </a:lnTo>
                  <a:lnTo>
                    <a:pt x="179" y="2"/>
                  </a:lnTo>
                  <a:lnTo>
                    <a:pt x="177" y="4"/>
                  </a:lnTo>
                  <a:lnTo>
                    <a:pt x="173" y="4"/>
                  </a:lnTo>
                  <a:lnTo>
                    <a:pt x="169" y="8"/>
                  </a:lnTo>
                  <a:lnTo>
                    <a:pt x="169" y="8"/>
                  </a:lnTo>
                  <a:lnTo>
                    <a:pt x="169" y="12"/>
                  </a:lnTo>
                  <a:lnTo>
                    <a:pt x="167" y="14"/>
                  </a:lnTo>
                  <a:lnTo>
                    <a:pt x="165" y="14"/>
                  </a:lnTo>
                  <a:lnTo>
                    <a:pt x="165" y="14"/>
                  </a:lnTo>
                  <a:lnTo>
                    <a:pt x="163" y="14"/>
                  </a:lnTo>
                  <a:lnTo>
                    <a:pt x="161" y="10"/>
                  </a:lnTo>
                  <a:lnTo>
                    <a:pt x="155" y="6"/>
                  </a:lnTo>
                  <a:lnTo>
                    <a:pt x="155" y="6"/>
                  </a:lnTo>
                  <a:lnTo>
                    <a:pt x="155" y="6"/>
                  </a:lnTo>
                  <a:lnTo>
                    <a:pt x="153" y="6"/>
                  </a:lnTo>
                  <a:lnTo>
                    <a:pt x="151" y="8"/>
                  </a:lnTo>
                  <a:lnTo>
                    <a:pt x="145" y="6"/>
                  </a:lnTo>
                  <a:lnTo>
                    <a:pt x="145" y="6"/>
                  </a:lnTo>
                  <a:lnTo>
                    <a:pt x="139" y="6"/>
                  </a:lnTo>
                  <a:lnTo>
                    <a:pt x="137" y="6"/>
                  </a:lnTo>
                  <a:lnTo>
                    <a:pt x="135" y="6"/>
                  </a:lnTo>
                  <a:lnTo>
                    <a:pt x="135" y="6"/>
                  </a:lnTo>
                  <a:lnTo>
                    <a:pt x="123" y="12"/>
                  </a:lnTo>
                  <a:lnTo>
                    <a:pt x="121" y="24"/>
                  </a:lnTo>
                  <a:lnTo>
                    <a:pt x="123" y="28"/>
                  </a:lnTo>
                  <a:lnTo>
                    <a:pt x="123" y="28"/>
                  </a:lnTo>
                  <a:lnTo>
                    <a:pt x="127" y="28"/>
                  </a:lnTo>
                  <a:lnTo>
                    <a:pt x="129" y="28"/>
                  </a:lnTo>
                  <a:lnTo>
                    <a:pt x="133" y="28"/>
                  </a:lnTo>
                  <a:lnTo>
                    <a:pt x="133" y="28"/>
                  </a:lnTo>
                  <a:lnTo>
                    <a:pt x="139" y="26"/>
                  </a:lnTo>
                  <a:lnTo>
                    <a:pt x="143" y="26"/>
                  </a:lnTo>
                  <a:lnTo>
                    <a:pt x="143" y="26"/>
                  </a:lnTo>
                  <a:lnTo>
                    <a:pt x="145" y="28"/>
                  </a:lnTo>
                  <a:lnTo>
                    <a:pt x="145" y="32"/>
                  </a:lnTo>
                  <a:lnTo>
                    <a:pt x="143" y="32"/>
                  </a:lnTo>
                  <a:lnTo>
                    <a:pt x="143" y="32"/>
                  </a:lnTo>
                  <a:lnTo>
                    <a:pt x="131" y="46"/>
                  </a:lnTo>
                  <a:lnTo>
                    <a:pt x="119" y="50"/>
                  </a:lnTo>
                  <a:lnTo>
                    <a:pt x="115" y="52"/>
                  </a:lnTo>
                  <a:lnTo>
                    <a:pt x="115" y="54"/>
                  </a:lnTo>
                  <a:lnTo>
                    <a:pt x="115" y="54"/>
                  </a:lnTo>
                  <a:lnTo>
                    <a:pt x="107" y="52"/>
                  </a:lnTo>
                  <a:lnTo>
                    <a:pt x="93" y="54"/>
                  </a:lnTo>
                  <a:lnTo>
                    <a:pt x="87" y="62"/>
                  </a:lnTo>
                  <a:lnTo>
                    <a:pt x="81" y="70"/>
                  </a:lnTo>
                  <a:lnTo>
                    <a:pt x="81" y="62"/>
                  </a:lnTo>
                  <a:lnTo>
                    <a:pt x="81" y="62"/>
                  </a:lnTo>
                  <a:lnTo>
                    <a:pt x="75" y="62"/>
                  </a:lnTo>
                  <a:lnTo>
                    <a:pt x="69" y="62"/>
                  </a:lnTo>
                  <a:lnTo>
                    <a:pt x="69" y="62"/>
                  </a:lnTo>
                  <a:lnTo>
                    <a:pt x="65" y="58"/>
                  </a:lnTo>
                  <a:lnTo>
                    <a:pt x="65" y="58"/>
                  </a:lnTo>
                  <a:lnTo>
                    <a:pt x="65" y="52"/>
                  </a:lnTo>
                  <a:lnTo>
                    <a:pt x="61" y="46"/>
                  </a:lnTo>
                  <a:lnTo>
                    <a:pt x="61" y="32"/>
                  </a:lnTo>
                  <a:lnTo>
                    <a:pt x="61" y="32"/>
                  </a:lnTo>
                  <a:lnTo>
                    <a:pt x="56" y="26"/>
                  </a:lnTo>
                  <a:lnTo>
                    <a:pt x="52" y="22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46" y="4"/>
                  </a:lnTo>
                  <a:lnTo>
                    <a:pt x="44" y="0"/>
                  </a:lnTo>
                  <a:lnTo>
                    <a:pt x="34" y="10"/>
                  </a:lnTo>
                  <a:lnTo>
                    <a:pt x="26" y="6"/>
                  </a:lnTo>
                  <a:lnTo>
                    <a:pt x="18" y="2"/>
                  </a:lnTo>
                  <a:lnTo>
                    <a:pt x="8" y="8"/>
                  </a:lnTo>
                  <a:lnTo>
                    <a:pt x="8" y="8"/>
                  </a:lnTo>
                  <a:lnTo>
                    <a:pt x="6" y="6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6" y="8"/>
                  </a:lnTo>
                  <a:lnTo>
                    <a:pt x="8" y="12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6" y="22"/>
                  </a:lnTo>
                  <a:lnTo>
                    <a:pt x="20" y="24"/>
                  </a:lnTo>
                  <a:lnTo>
                    <a:pt x="24" y="22"/>
                  </a:lnTo>
                  <a:lnTo>
                    <a:pt x="30" y="24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6" y="32"/>
                  </a:lnTo>
                  <a:lnTo>
                    <a:pt x="26" y="32"/>
                  </a:lnTo>
                  <a:lnTo>
                    <a:pt x="34" y="36"/>
                  </a:lnTo>
                  <a:lnTo>
                    <a:pt x="46" y="38"/>
                  </a:lnTo>
                  <a:lnTo>
                    <a:pt x="46" y="38"/>
                  </a:lnTo>
                  <a:lnTo>
                    <a:pt x="52" y="40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59" y="60"/>
                  </a:lnTo>
                  <a:lnTo>
                    <a:pt x="65" y="78"/>
                  </a:lnTo>
                  <a:lnTo>
                    <a:pt x="65" y="78"/>
                  </a:lnTo>
                  <a:lnTo>
                    <a:pt x="65" y="82"/>
                  </a:lnTo>
                  <a:lnTo>
                    <a:pt x="65" y="86"/>
                  </a:lnTo>
                  <a:lnTo>
                    <a:pt x="61" y="91"/>
                  </a:lnTo>
                  <a:lnTo>
                    <a:pt x="61" y="95"/>
                  </a:lnTo>
                  <a:lnTo>
                    <a:pt x="61" y="95"/>
                  </a:lnTo>
                  <a:lnTo>
                    <a:pt x="61" y="99"/>
                  </a:lnTo>
                  <a:lnTo>
                    <a:pt x="61" y="107"/>
                  </a:lnTo>
                  <a:lnTo>
                    <a:pt x="63" y="119"/>
                  </a:lnTo>
                  <a:lnTo>
                    <a:pt x="63" y="119"/>
                  </a:lnTo>
                  <a:lnTo>
                    <a:pt x="77" y="161"/>
                  </a:lnTo>
                  <a:lnTo>
                    <a:pt x="77" y="161"/>
                  </a:lnTo>
                  <a:lnTo>
                    <a:pt x="77" y="165"/>
                  </a:lnTo>
                  <a:lnTo>
                    <a:pt x="77" y="169"/>
                  </a:lnTo>
                  <a:lnTo>
                    <a:pt x="75" y="173"/>
                  </a:lnTo>
                  <a:lnTo>
                    <a:pt x="75" y="173"/>
                  </a:lnTo>
                  <a:lnTo>
                    <a:pt x="75" y="173"/>
                  </a:lnTo>
                  <a:lnTo>
                    <a:pt x="75" y="173"/>
                  </a:lnTo>
                  <a:lnTo>
                    <a:pt x="85" y="181"/>
                  </a:lnTo>
                  <a:lnTo>
                    <a:pt x="89" y="189"/>
                  </a:lnTo>
                  <a:lnTo>
                    <a:pt x="91" y="195"/>
                  </a:lnTo>
                  <a:lnTo>
                    <a:pt x="91" y="195"/>
                  </a:lnTo>
                  <a:lnTo>
                    <a:pt x="99" y="207"/>
                  </a:lnTo>
                  <a:lnTo>
                    <a:pt x="105" y="219"/>
                  </a:lnTo>
                  <a:lnTo>
                    <a:pt x="105" y="219"/>
                  </a:lnTo>
                  <a:lnTo>
                    <a:pt x="107" y="221"/>
                  </a:lnTo>
                  <a:lnTo>
                    <a:pt x="109" y="227"/>
                  </a:lnTo>
                  <a:lnTo>
                    <a:pt x="109" y="227"/>
                  </a:lnTo>
                  <a:lnTo>
                    <a:pt x="113" y="227"/>
                  </a:lnTo>
                  <a:lnTo>
                    <a:pt x="117" y="227"/>
                  </a:lnTo>
                  <a:lnTo>
                    <a:pt x="117" y="227"/>
                  </a:lnTo>
                  <a:lnTo>
                    <a:pt x="131" y="219"/>
                  </a:lnTo>
                  <a:lnTo>
                    <a:pt x="131" y="219"/>
                  </a:lnTo>
                  <a:lnTo>
                    <a:pt x="143" y="211"/>
                  </a:lnTo>
                  <a:lnTo>
                    <a:pt x="155" y="207"/>
                  </a:lnTo>
                  <a:lnTo>
                    <a:pt x="155" y="207"/>
                  </a:lnTo>
                  <a:lnTo>
                    <a:pt x="155" y="195"/>
                  </a:lnTo>
                  <a:lnTo>
                    <a:pt x="155" y="195"/>
                  </a:lnTo>
                  <a:lnTo>
                    <a:pt x="155" y="195"/>
                  </a:lnTo>
                  <a:lnTo>
                    <a:pt x="155" y="195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92" name="Freeform 51"/>
            <p:cNvSpPr>
              <a:spLocks/>
            </p:cNvSpPr>
            <p:nvPr/>
          </p:nvSpPr>
          <p:spPr bwMode="auto">
            <a:xfrm>
              <a:off x="3736" y="2649"/>
              <a:ext cx="587" cy="392"/>
            </a:xfrm>
            <a:custGeom>
              <a:avLst/>
              <a:gdLst>
                <a:gd name="T0" fmla="*/ 570 w 587"/>
                <a:gd name="T1" fmla="*/ 339 h 392"/>
                <a:gd name="T2" fmla="*/ 550 w 587"/>
                <a:gd name="T3" fmla="*/ 303 h 392"/>
                <a:gd name="T4" fmla="*/ 526 w 587"/>
                <a:gd name="T5" fmla="*/ 297 h 392"/>
                <a:gd name="T6" fmla="*/ 506 w 587"/>
                <a:gd name="T7" fmla="*/ 295 h 392"/>
                <a:gd name="T8" fmla="*/ 502 w 587"/>
                <a:gd name="T9" fmla="*/ 279 h 392"/>
                <a:gd name="T10" fmla="*/ 500 w 587"/>
                <a:gd name="T11" fmla="*/ 271 h 392"/>
                <a:gd name="T12" fmla="*/ 500 w 587"/>
                <a:gd name="T13" fmla="*/ 253 h 392"/>
                <a:gd name="T14" fmla="*/ 516 w 587"/>
                <a:gd name="T15" fmla="*/ 245 h 392"/>
                <a:gd name="T16" fmla="*/ 502 w 587"/>
                <a:gd name="T17" fmla="*/ 229 h 392"/>
                <a:gd name="T18" fmla="*/ 526 w 587"/>
                <a:gd name="T19" fmla="*/ 211 h 392"/>
                <a:gd name="T20" fmla="*/ 532 w 587"/>
                <a:gd name="T21" fmla="*/ 189 h 392"/>
                <a:gd name="T22" fmla="*/ 556 w 587"/>
                <a:gd name="T23" fmla="*/ 165 h 392"/>
                <a:gd name="T24" fmla="*/ 544 w 587"/>
                <a:gd name="T25" fmla="*/ 153 h 392"/>
                <a:gd name="T26" fmla="*/ 548 w 587"/>
                <a:gd name="T27" fmla="*/ 140 h 392"/>
                <a:gd name="T28" fmla="*/ 587 w 587"/>
                <a:gd name="T29" fmla="*/ 136 h 392"/>
                <a:gd name="T30" fmla="*/ 577 w 587"/>
                <a:gd name="T31" fmla="*/ 110 h 392"/>
                <a:gd name="T32" fmla="*/ 552 w 587"/>
                <a:gd name="T33" fmla="*/ 76 h 392"/>
                <a:gd name="T34" fmla="*/ 534 w 587"/>
                <a:gd name="T35" fmla="*/ 94 h 392"/>
                <a:gd name="T36" fmla="*/ 516 w 587"/>
                <a:gd name="T37" fmla="*/ 114 h 392"/>
                <a:gd name="T38" fmla="*/ 494 w 587"/>
                <a:gd name="T39" fmla="*/ 132 h 392"/>
                <a:gd name="T40" fmla="*/ 468 w 587"/>
                <a:gd name="T41" fmla="*/ 140 h 392"/>
                <a:gd name="T42" fmla="*/ 454 w 587"/>
                <a:gd name="T43" fmla="*/ 144 h 392"/>
                <a:gd name="T44" fmla="*/ 434 w 587"/>
                <a:gd name="T45" fmla="*/ 120 h 392"/>
                <a:gd name="T46" fmla="*/ 418 w 587"/>
                <a:gd name="T47" fmla="*/ 126 h 392"/>
                <a:gd name="T48" fmla="*/ 404 w 587"/>
                <a:gd name="T49" fmla="*/ 106 h 392"/>
                <a:gd name="T50" fmla="*/ 410 w 587"/>
                <a:gd name="T51" fmla="*/ 76 h 392"/>
                <a:gd name="T52" fmla="*/ 438 w 587"/>
                <a:gd name="T53" fmla="*/ 24 h 392"/>
                <a:gd name="T54" fmla="*/ 434 w 587"/>
                <a:gd name="T55" fmla="*/ 8 h 392"/>
                <a:gd name="T56" fmla="*/ 424 w 587"/>
                <a:gd name="T57" fmla="*/ 0 h 392"/>
                <a:gd name="T58" fmla="*/ 394 w 587"/>
                <a:gd name="T59" fmla="*/ 18 h 392"/>
                <a:gd name="T60" fmla="*/ 360 w 587"/>
                <a:gd name="T61" fmla="*/ 30 h 392"/>
                <a:gd name="T62" fmla="*/ 319 w 587"/>
                <a:gd name="T63" fmla="*/ 62 h 392"/>
                <a:gd name="T64" fmla="*/ 293 w 587"/>
                <a:gd name="T65" fmla="*/ 64 h 392"/>
                <a:gd name="T66" fmla="*/ 273 w 587"/>
                <a:gd name="T67" fmla="*/ 82 h 392"/>
                <a:gd name="T68" fmla="*/ 257 w 587"/>
                <a:gd name="T69" fmla="*/ 80 h 392"/>
                <a:gd name="T70" fmla="*/ 245 w 587"/>
                <a:gd name="T71" fmla="*/ 88 h 392"/>
                <a:gd name="T72" fmla="*/ 229 w 587"/>
                <a:gd name="T73" fmla="*/ 94 h 392"/>
                <a:gd name="T74" fmla="*/ 217 w 587"/>
                <a:gd name="T75" fmla="*/ 88 h 392"/>
                <a:gd name="T76" fmla="*/ 201 w 587"/>
                <a:gd name="T77" fmla="*/ 92 h 392"/>
                <a:gd name="T78" fmla="*/ 173 w 587"/>
                <a:gd name="T79" fmla="*/ 96 h 392"/>
                <a:gd name="T80" fmla="*/ 157 w 587"/>
                <a:gd name="T81" fmla="*/ 88 h 392"/>
                <a:gd name="T82" fmla="*/ 122 w 587"/>
                <a:gd name="T83" fmla="*/ 84 h 392"/>
                <a:gd name="T84" fmla="*/ 98 w 587"/>
                <a:gd name="T85" fmla="*/ 86 h 392"/>
                <a:gd name="T86" fmla="*/ 72 w 587"/>
                <a:gd name="T87" fmla="*/ 82 h 392"/>
                <a:gd name="T88" fmla="*/ 50 w 587"/>
                <a:gd name="T89" fmla="*/ 74 h 392"/>
                <a:gd name="T90" fmla="*/ 26 w 587"/>
                <a:gd name="T91" fmla="*/ 76 h 392"/>
                <a:gd name="T92" fmla="*/ 32 w 587"/>
                <a:gd name="T93" fmla="*/ 120 h 392"/>
                <a:gd name="T94" fmla="*/ 112 w 587"/>
                <a:gd name="T95" fmla="*/ 193 h 392"/>
                <a:gd name="T96" fmla="*/ 132 w 587"/>
                <a:gd name="T97" fmla="*/ 265 h 392"/>
                <a:gd name="T98" fmla="*/ 213 w 587"/>
                <a:gd name="T99" fmla="*/ 243 h 392"/>
                <a:gd name="T100" fmla="*/ 259 w 587"/>
                <a:gd name="T101" fmla="*/ 241 h 392"/>
                <a:gd name="T102" fmla="*/ 303 w 587"/>
                <a:gd name="T103" fmla="*/ 267 h 392"/>
                <a:gd name="T104" fmla="*/ 378 w 587"/>
                <a:gd name="T105" fmla="*/ 343 h 392"/>
                <a:gd name="T106" fmla="*/ 394 w 587"/>
                <a:gd name="T107" fmla="*/ 363 h 392"/>
                <a:gd name="T108" fmla="*/ 412 w 587"/>
                <a:gd name="T109" fmla="*/ 390 h 392"/>
                <a:gd name="T110" fmla="*/ 442 w 587"/>
                <a:gd name="T111" fmla="*/ 386 h 392"/>
                <a:gd name="T112" fmla="*/ 480 w 587"/>
                <a:gd name="T113" fmla="*/ 383 h 392"/>
                <a:gd name="T114" fmla="*/ 516 w 587"/>
                <a:gd name="T115" fmla="*/ 385 h 392"/>
                <a:gd name="T116" fmla="*/ 548 w 587"/>
                <a:gd name="T117" fmla="*/ 390 h 392"/>
                <a:gd name="T118" fmla="*/ 566 w 587"/>
                <a:gd name="T119" fmla="*/ 365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87" h="392">
                  <a:moveTo>
                    <a:pt x="566" y="361"/>
                  </a:moveTo>
                  <a:lnTo>
                    <a:pt x="574" y="355"/>
                  </a:lnTo>
                  <a:lnTo>
                    <a:pt x="574" y="355"/>
                  </a:lnTo>
                  <a:lnTo>
                    <a:pt x="574" y="349"/>
                  </a:lnTo>
                  <a:lnTo>
                    <a:pt x="574" y="343"/>
                  </a:lnTo>
                  <a:lnTo>
                    <a:pt x="574" y="343"/>
                  </a:lnTo>
                  <a:lnTo>
                    <a:pt x="570" y="339"/>
                  </a:lnTo>
                  <a:lnTo>
                    <a:pt x="566" y="335"/>
                  </a:lnTo>
                  <a:lnTo>
                    <a:pt x="562" y="333"/>
                  </a:lnTo>
                  <a:lnTo>
                    <a:pt x="564" y="325"/>
                  </a:lnTo>
                  <a:lnTo>
                    <a:pt x="564" y="325"/>
                  </a:lnTo>
                  <a:lnTo>
                    <a:pt x="556" y="317"/>
                  </a:lnTo>
                  <a:lnTo>
                    <a:pt x="552" y="309"/>
                  </a:lnTo>
                  <a:lnTo>
                    <a:pt x="550" y="303"/>
                  </a:lnTo>
                  <a:lnTo>
                    <a:pt x="550" y="303"/>
                  </a:lnTo>
                  <a:lnTo>
                    <a:pt x="544" y="299"/>
                  </a:lnTo>
                  <a:lnTo>
                    <a:pt x="538" y="297"/>
                  </a:lnTo>
                  <a:lnTo>
                    <a:pt x="532" y="297"/>
                  </a:lnTo>
                  <a:lnTo>
                    <a:pt x="532" y="297"/>
                  </a:lnTo>
                  <a:lnTo>
                    <a:pt x="528" y="297"/>
                  </a:lnTo>
                  <a:lnTo>
                    <a:pt x="526" y="297"/>
                  </a:lnTo>
                  <a:lnTo>
                    <a:pt x="524" y="295"/>
                  </a:lnTo>
                  <a:lnTo>
                    <a:pt x="522" y="293"/>
                  </a:lnTo>
                  <a:lnTo>
                    <a:pt x="522" y="293"/>
                  </a:lnTo>
                  <a:lnTo>
                    <a:pt x="522" y="291"/>
                  </a:lnTo>
                  <a:lnTo>
                    <a:pt x="520" y="289"/>
                  </a:lnTo>
                  <a:lnTo>
                    <a:pt x="518" y="291"/>
                  </a:lnTo>
                  <a:lnTo>
                    <a:pt x="506" y="295"/>
                  </a:lnTo>
                  <a:lnTo>
                    <a:pt x="506" y="295"/>
                  </a:lnTo>
                  <a:lnTo>
                    <a:pt x="504" y="295"/>
                  </a:lnTo>
                  <a:lnTo>
                    <a:pt x="502" y="295"/>
                  </a:lnTo>
                  <a:lnTo>
                    <a:pt x="502" y="293"/>
                  </a:lnTo>
                  <a:lnTo>
                    <a:pt x="502" y="285"/>
                  </a:lnTo>
                  <a:lnTo>
                    <a:pt x="502" y="285"/>
                  </a:lnTo>
                  <a:lnTo>
                    <a:pt x="502" y="279"/>
                  </a:lnTo>
                  <a:lnTo>
                    <a:pt x="502" y="279"/>
                  </a:lnTo>
                  <a:lnTo>
                    <a:pt x="500" y="277"/>
                  </a:lnTo>
                  <a:lnTo>
                    <a:pt x="500" y="277"/>
                  </a:lnTo>
                  <a:lnTo>
                    <a:pt x="500" y="275"/>
                  </a:lnTo>
                  <a:lnTo>
                    <a:pt x="500" y="275"/>
                  </a:lnTo>
                  <a:lnTo>
                    <a:pt x="500" y="273"/>
                  </a:lnTo>
                  <a:lnTo>
                    <a:pt x="500" y="271"/>
                  </a:lnTo>
                  <a:lnTo>
                    <a:pt x="500" y="271"/>
                  </a:lnTo>
                  <a:lnTo>
                    <a:pt x="502" y="269"/>
                  </a:lnTo>
                  <a:lnTo>
                    <a:pt x="502" y="265"/>
                  </a:lnTo>
                  <a:lnTo>
                    <a:pt x="500" y="255"/>
                  </a:lnTo>
                  <a:lnTo>
                    <a:pt x="500" y="255"/>
                  </a:lnTo>
                  <a:lnTo>
                    <a:pt x="500" y="253"/>
                  </a:lnTo>
                  <a:lnTo>
                    <a:pt x="500" y="253"/>
                  </a:lnTo>
                  <a:lnTo>
                    <a:pt x="502" y="251"/>
                  </a:lnTo>
                  <a:lnTo>
                    <a:pt x="506" y="251"/>
                  </a:lnTo>
                  <a:lnTo>
                    <a:pt x="506" y="247"/>
                  </a:lnTo>
                  <a:lnTo>
                    <a:pt x="506" y="247"/>
                  </a:lnTo>
                  <a:lnTo>
                    <a:pt x="508" y="247"/>
                  </a:lnTo>
                  <a:lnTo>
                    <a:pt x="510" y="245"/>
                  </a:lnTo>
                  <a:lnTo>
                    <a:pt x="516" y="245"/>
                  </a:lnTo>
                  <a:lnTo>
                    <a:pt x="516" y="245"/>
                  </a:lnTo>
                  <a:lnTo>
                    <a:pt x="516" y="243"/>
                  </a:lnTo>
                  <a:lnTo>
                    <a:pt x="516" y="243"/>
                  </a:lnTo>
                  <a:lnTo>
                    <a:pt x="510" y="239"/>
                  </a:lnTo>
                  <a:lnTo>
                    <a:pt x="502" y="229"/>
                  </a:lnTo>
                  <a:lnTo>
                    <a:pt x="502" y="229"/>
                  </a:lnTo>
                  <a:lnTo>
                    <a:pt x="502" y="229"/>
                  </a:lnTo>
                  <a:lnTo>
                    <a:pt x="502" y="227"/>
                  </a:lnTo>
                  <a:lnTo>
                    <a:pt x="510" y="225"/>
                  </a:lnTo>
                  <a:lnTo>
                    <a:pt x="510" y="225"/>
                  </a:lnTo>
                  <a:lnTo>
                    <a:pt x="516" y="221"/>
                  </a:lnTo>
                  <a:lnTo>
                    <a:pt x="520" y="219"/>
                  </a:lnTo>
                  <a:lnTo>
                    <a:pt x="526" y="211"/>
                  </a:lnTo>
                  <a:lnTo>
                    <a:pt x="526" y="211"/>
                  </a:lnTo>
                  <a:lnTo>
                    <a:pt x="530" y="205"/>
                  </a:lnTo>
                  <a:lnTo>
                    <a:pt x="530" y="205"/>
                  </a:lnTo>
                  <a:lnTo>
                    <a:pt x="532" y="203"/>
                  </a:lnTo>
                  <a:lnTo>
                    <a:pt x="534" y="201"/>
                  </a:lnTo>
                  <a:lnTo>
                    <a:pt x="532" y="193"/>
                  </a:lnTo>
                  <a:lnTo>
                    <a:pt x="532" y="193"/>
                  </a:lnTo>
                  <a:lnTo>
                    <a:pt x="532" y="189"/>
                  </a:lnTo>
                  <a:lnTo>
                    <a:pt x="534" y="185"/>
                  </a:lnTo>
                  <a:lnTo>
                    <a:pt x="538" y="177"/>
                  </a:lnTo>
                  <a:lnTo>
                    <a:pt x="538" y="177"/>
                  </a:lnTo>
                  <a:lnTo>
                    <a:pt x="546" y="173"/>
                  </a:lnTo>
                  <a:lnTo>
                    <a:pt x="556" y="165"/>
                  </a:lnTo>
                  <a:lnTo>
                    <a:pt x="556" y="165"/>
                  </a:lnTo>
                  <a:lnTo>
                    <a:pt x="556" y="165"/>
                  </a:lnTo>
                  <a:lnTo>
                    <a:pt x="556" y="165"/>
                  </a:lnTo>
                  <a:lnTo>
                    <a:pt x="552" y="161"/>
                  </a:lnTo>
                  <a:lnTo>
                    <a:pt x="550" y="157"/>
                  </a:lnTo>
                  <a:lnTo>
                    <a:pt x="546" y="155"/>
                  </a:lnTo>
                  <a:lnTo>
                    <a:pt x="546" y="155"/>
                  </a:lnTo>
                  <a:lnTo>
                    <a:pt x="544" y="155"/>
                  </a:lnTo>
                  <a:lnTo>
                    <a:pt x="544" y="153"/>
                  </a:lnTo>
                  <a:lnTo>
                    <a:pt x="544" y="150"/>
                  </a:lnTo>
                  <a:lnTo>
                    <a:pt x="544" y="148"/>
                  </a:lnTo>
                  <a:lnTo>
                    <a:pt x="544" y="142"/>
                  </a:lnTo>
                  <a:lnTo>
                    <a:pt x="544" y="142"/>
                  </a:lnTo>
                  <a:lnTo>
                    <a:pt x="542" y="142"/>
                  </a:lnTo>
                  <a:lnTo>
                    <a:pt x="544" y="140"/>
                  </a:lnTo>
                  <a:lnTo>
                    <a:pt x="548" y="140"/>
                  </a:lnTo>
                  <a:lnTo>
                    <a:pt x="562" y="142"/>
                  </a:lnTo>
                  <a:lnTo>
                    <a:pt x="562" y="142"/>
                  </a:lnTo>
                  <a:lnTo>
                    <a:pt x="570" y="140"/>
                  </a:lnTo>
                  <a:lnTo>
                    <a:pt x="576" y="140"/>
                  </a:lnTo>
                  <a:lnTo>
                    <a:pt x="583" y="138"/>
                  </a:lnTo>
                  <a:lnTo>
                    <a:pt x="587" y="136"/>
                  </a:lnTo>
                  <a:lnTo>
                    <a:pt x="587" y="136"/>
                  </a:lnTo>
                  <a:lnTo>
                    <a:pt x="587" y="132"/>
                  </a:lnTo>
                  <a:lnTo>
                    <a:pt x="587" y="128"/>
                  </a:lnTo>
                  <a:lnTo>
                    <a:pt x="587" y="122"/>
                  </a:lnTo>
                  <a:lnTo>
                    <a:pt x="585" y="118"/>
                  </a:lnTo>
                  <a:lnTo>
                    <a:pt x="585" y="118"/>
                  </a:lnTo>
                  <a:lnTo>
                    <a:pt x="583" y="114"/>
                  </a:lnTo>
                  <a:lnTo>
                    <a:pt x="577" y="110"/>
                  </a:lnTo>
                  <a:lnTo>
                    <a:pt x="577" y="100"/>
                  </a:lnTo>
                  <a:lnTo>
                    <a:pt x="576" y="96"/>
                  </a:lnTo>
                  <a:lnTo>
                    <a:pt x="576" y="96"/>
                  </a:lnTo>
                  <a:lnTo>
                    <a:pt x="576" y="92"/>
                  </a:lnTo>
                  <a:lnTo>
                    <a:pt x="574" y="88"/>
                  </a:lnTo>
                  <a:lnTo>
                    <a:pt x="572" y="80"/>
                  </a:lnTo>
                  <a:lnTo>
                    <a:pt x="552" y="76"/>
                  </a:lnTo>
                  <a:lnTo>
                    <a:pt x="552" y="76"/>
                  </a:lnTo>
                  <a:lnTo>
                    <a:pt x="552" y="80"/>
                  </a:lnTo>
                  <a:lnTo>
                    <a:pt x="552" y="82"/>
                  </a:lnTo>
                  <a:lnTo>
                    <a:pt x="552" y="82"/>
                  </a:lnTo>
                  <a:lnTo>
                    <a:pt x="548" y="88"/>
                  </a:lnTo>
                  <a:lnTo>
                    <a:pt x="544" y="92"/>
                  </a:lnTo>
                  <a:lnTo>
                    <a:pt x="534" y="94"/>
                  </a:lnTo>
                  <a:lnTo>
                    <a:pt x="528" y="96"/>
                  </a:lnTo>
                  <a:lnTo>
                    <a:pt x="528" y="96"/>
                  </a:lnTo>
                  <a:lnTo>
                    <a:pt x="516" y="110"/>
                  </a:lnTo>
                  <a:lnTo>
                    <a:pt x="516" y="110"/>
                  </a:lnTo>
                  <a:lnTo>
                    <a:pt x="514" y="110"/>
                  </a:lnTo>
                  <a:lnTo>
                    <a:pt x="514" y="114"/>
                  </a:lnTo>
                  <a:lnTo>
                    <a:pt x="516" y="114"/>
                  </a:lnTo>
                  <a:lnTo>
                    <a:pt x="516" y="114"/>
                  </a:lnTo>
                  <a:lnTo>
                    <a:pt x="518" y="114"/>
                  </a:lnTo>
                  <a:lnTo>
                    <a:pt x="518" y="116"/>
                  </a:lnTo>
                  <a:lnTo>
                    <a:pt x="516" y="118"/>
                  </a:lnTo>
                  <a:lnTo>
                    <a:pt x="506" y="122"/>
                  </a:lnTo>
                  <a:lnTo>
                    <a:pt x="506" y="122"/>
                  </a:lnTo>
                  <a:lnTo>
                    <a:pt x="494" y="132"/>
                  </a:lnTo>
                  <a:lnTo>
                    <a:pt x="480" y="136"/>
                  </a:lnTo>
                  <a:lnTo>
                    <a:pt x="476" y="140"/>
                  </a:lnTo>
                  <a:lnTo>
                    <a:pt x="476" y="140"/>
                  </a:lnTo>
                  <a:lnTo>
                    <a:pt x="476" y="140"/>
                  </a:lnTo>
                  <a:lnTo>
                    <a:pt x="472" y="140"/>
                  </a:lnTo>
                  <a:lnTo>
                    <a:pt x="468" y="140"/>
                  </a:lnTo>
                  <a:lnTo>
                    <a:pt x="468" y="140"/>
                  </a:lnTo>
                  <a:lnTo>
                    <a:pt x="468" y="140"/>
                  </a:lnTo>
                  <a:lnTo>
                    <a:pt x="468" y="140"/>
                  </a:lnTo>
                  <a:lnTo>
                    <a:pt x="462" y="140"/>
                  </a:lnTo>
                  <a:lnTo>
                    <a:pt x="458" y="144"/>
                  </a:lnTo>
                  <a:lnTo>
                    <a:pt x="454" y="144"/>
                  </a:lnTo>
                  <a:lnTo>
                    <a:pt x="454" y="144"/>
                  </a:lnTo>
                  <a:lnTo>
                    <a:pt x="454" y="144"/>
                  </a:lnTo>
                  <a:lnTo>
                    <a:pt x="452" y="144"/>
                  </a:lnTo>
                  <a:lnTo>
                    <a:pt x="452" y="138"/>
                  </a:lnTo>
                  <a:lnTo>
                    <a:pt x="448" y="128"/>
                  </a:lnTo>
                  <a:lnTo>
                    <a:pt x="448" y="128"/>
                  </a:lnTo>
                  <a:lnTo>
                    <a:pt x="446" y="122"/>
                  </a:lnTo>
                  <a:lnTo>
                    <a:pt x="440" y="120"/>
                  </a:lnTo>
                  <a:lnTo>
                    <a:pt x="434" y="120"/>
                  </a:lnTo>
                  <a:lnTo>
                    <a:pt x="432" y="120"/>
                  </a:lnTo>
                  <a:lnTo>
                    <a:pt x="432" y="120"/>
                  </a:lnTo>
                  <a:lnTo>
                    <a:pt x="426" y="122"/>
                  </a:lnTo>
                  <a:lnTo>
                    <a:pt x="424" y="126"/>
                  </a:lnTo>
                  <a:lnTo>
                    <a:pt x="420" y="126"/>
                  </a:lnTo>
                  <a:lnTo>
                    <a:pt x="420" y="126"/>
                  </a:lnTo>
                  <a:lnTo>
                    <a:pt x="418" y="126"/>
                  </a:lnTo>
                  <a:lnTo>
                    <a:pt x="414" y="126"/>
                  </a:lnTo>
                  <a:lnTo>
                    <a:pt x="406" y="128"/>
                  </a:lnTo>
                  <a:lnTo>
                    <a:pt x="406" y="128"/>
                  </a:lnTo>
                  <a:lnTo>
                    <a:pt x="404" y="128"/>
                  </a:lnTo>
                  <a:lnTo>
                    <a:pt x="404" y="126"/>
                  </a:lnTo>
                  <a:lnTo>
                    <a:pt x="404" y="118"/>
                  </a:lnTo>
                  <a:lnTo>
                    <a:pt x="404" y="106"/>
                  </a:lnTo>
                  <a:lnTo>
                    <a:pt x="404" y="106"/>
                  </a:lnTo>
                  <a:lnTo>
                    <a:pt x="406" y="100"/>
                  </a:lnTo>
                  <a:lnTo>
                    <a:pt x="410" y="96"/>
                  </a:lnTo>
                  <a:lnTo>
                    <a:pt x="416" y="92"/>
                  </a:lnTo>
                  <a:lnTo>
                    <a:pt x="416" y="92"/>
                  </a:lnTo>
                  <a:lnTo>
                    <a:pt x="410" y="76"/>
                  </a:lnTo>
                  <a:lnTo>
                    <a:pt x="410" y="76"/>
                  </a:lnTo>
                  <a:lnTo>
                    <a:pt x="412" y="72"/>
                  </a:lnTo>
                  <a:lnTo>
                    <a:pt x="418" y="64"/>
                  </a:lnTo>
                  <a:lnTo>
                    <a:pt x="428" y="50"/>
                  </a:lnTo>
                  <a:lnTo>
                    <a:pt x="428" y="40"/>
                  </a:lnTo>
                  <a:lnTo>
                    <a:pt x="434" y="34"/>
                  </a:lnTo>
                  <a:lnTo>
                    <a:pt x="434" y="24"/>
                  </a:lnTo>
                  <a:lnTo>
                    <a:pt x="438" y="24"/>
                  </a:lnTo>
                  <a:lnTo>
                    <a:pt x="438" y="18"/>
                  </a:lnTo>
                  <a:lnTo>
                    <a:pt x="446" y="12"/>
                  </a:lnTo>
                  <a:lnTo>
                    <a:pt x="446" y="12"/>
                  </a:lnTo>
                  <a:lnTo>
                    <a:pt x="442" y="12"/>
                  </a:lnTo>
                  <a:lnTo>
                    <a:pt x="438" y="8"/>
                  </a:lnTo>
                  <a:lnTo>
                    <a:pt x="434" y="8"/>
                  </a:lnTo>
                  <a:lnTo>
                    <a:pt x="434" y="8"/>
                  </a:lnTo>
                  <a:lnTo>
                    <a:pt x="432" y="8"/>
                  </a:lnTo>
                  <a:lnTo>
                    <a:pt x="430" y="6"/>
                  </a:lnTo>
                  <a:lnTo>
                    <a:pt x="430" y="4"/>
                  </a:lnTo>
                  <a:lnTo>
                    <a:pt x="426" y="2"/>
                  </a:lnTo>
                  <a:lnTo>
                    <a:pt x="426" y="2"/>
                  </a:lnTo>
                  <a:lnTo>
                    <a:pt x="426" y="0"/>
                  </a:lnTo>
                  <a:lnTo>
                    <a:pt x="424" y="0"/>
                  </a:lnTo>
                  <a:lnTo>
                    <a:pt x="418" y="2"/>
                  </a:lnTo>
                  <a:lnTo>
                    <a:pt x="414" y="6"/>
                  </a:lnTo>
                  <a:lnTo>
                    <a:pt x="412" y="8"/>
                  </a:lnTo>
                  <a:lnTo>
                    <a:pt x="412" y="8"/>
                  </a:lnTo>
                  <a:lnTo>
                    <a:pt x="408" y="12"/>
                  </a:lnTo>
                  <a:lnTo>
                    <a:pt x="402" y="14"/>
                  </a:lnTo>
                  <a:lnTo>
                    <a:pt x="394" y="18"/>
                  </a:lnTo>
                  <a:lnTo>
                    <a:pt x="388" y="22"/>
                  </a:lnTo>
                  <a:lnTo>
                    <a:pt x="388" y="22"/>
                  </a:lnTo>
                  <a:lnTo>
                    <a:pt x="382" y="24"/>
                  </a:lnTo>
                  <a:lnTo>
                    <a:pt x="374" y="26"/>
                  </a:lnTo>
                  <a:lnTo>
                    <a:pt x="374" y="26"/>
                  </a:lnTo>
                  <a:lnTo>
                    <a:pt x="366" y="28"/>
                  </a:lnTo>
                  <a:lnTo>
                    <a:pt x="360" y="30"/>
                  </a:lnTo>
                  <a:lnTo>
                    <a:pt x="360" y="30"/>
                  </a:lnTo>
                  <a:lnTo>
                    <a:pt x="319" y="50"/>
                  </a:lnTo>
                  <a:lnTo>
                    <a:pt x="319" y="50"/>
                  </a:lnTo>
                  <a:lnTo>
                    <a:pt x="319" y="52"/>
                  </a:lnTo>
                  <a:lnTo>
                    <a:pt x="319" y="54"/>
                  </a:lnTo>
                  <a:lnTo>
                    <a:pt x="319" y="58"/>
                  </a:lnTo>
                  <a:lnTo>
                    <a:pt x="319" y="62"/>
                  </a:lnTo>
                  <a:lnTo>
                    <a:pt x="319" y="64"/>
                  </a:lnTo>
                  <a:lnTo>
                    <a:pt x="319" y="64"/>
                  </a:lnTo>
                  <a:lnTo>
                    <a:pt x="315" y="64"/>
                  </a:lnTo>
                  <a:lnTo>
                    <a:pt x="315" y="66"/>
                  </a:lnTo>
                  <a:lnTo>
                    <a:pt x="305" y="66"/>
                  </a:lnTo>
                  <a:lnTo>
                    <a:pt x="293" y="64"/>
                  </a:lnTo>
                  <a:lnTo>
                    <a:pt x="293" y="64"/>
                  </a:lnTo>
                  <a:lnTo>
                    <a:pt x="283" y="68"/>
                  </a:lnTo>
                  <a:lnTo>
                    <a:pt x="277" y="70"/>
                  </a:lnTo>
                  <a:lnTo>
                    <a:pt x="277" y="70"/>
                  </a:lnTo>
                  <a:lnTo>
                    <a:pt x="275" y="72"/>
                  </a:lnTo>
                  <a:lnTo>
                    <a:pt x="275" y="76"/>
                  </a:lnTo>
                  <a:lnTo>
                    <a:pt x="275" y="80"/>
                  </a:lnTo>
                  <a:lnTo>
                    <a:pt x="273" y="82"/>
                  </a:lnTo>
                  <a:lnTo>
                    <a:pt x="273" y="82"/>
                  </a:lnTo>
                  <a:lnTo>
                    <a:pt x="271" y="82"/>
                  </a:lnTo>
                  <a:lnTo>
                    <a:pt x="267" y="80"/>
                  </a:lnTo>
                  <a:lnTo>
                    <a:pt x="265" y="80"/>
                  </a:lnTo>
                  <a:lnTo>
                    <a:pt x="259" y="80"/>
                  </a:lnTo>
                  <a:lnTo>
                    <a:pt x="259" y="80"/>
                  </a:lnTo>
                  <a:lnTo>
                    <a:pt x="257" y="80"/>
                  </a:lnTo>
                  <a:lnTo>
                    <a:pt x="255" y="84"/>
                  </a:lnTo>
                  <a:lnTo>
                    <a:pt x="255" y="86"/>
                  </a:lnTo>
                  <a:lnTo>
                    <a:pt x="255" y="86"/>
                  </a:lnTo>
                  <a:lnTo>
                    <a:pt x="253" y="88"/>
                  </a:lnTo>
                  <a:lnTo>
                    <a:pt x="251" y="88"/>
                  </a:lnTo>
                  <a:lnTo>
                    <a:pt x="247" y="88"/>
                  </a:lnTo>
                  <a:lnTo>
                    <a:pt x="245" y="88"/>
                  </a:lnTo>
                  <a:lnTo>
                    <a:pt x="245" y="88"/>
                  </a:lnTo>
                  <a:lnTo>
                    <a:pt x="241" y="90"/>
                  </a:lnTo>
                  <a:lnTo>
                    <a:pt x="237" y="92"/>
                  </a:lnTo>
                  <a:lnTo>
                    <a:pt x="237" y="92"/>
                  </a:lnTo>
                  <a:lnTo>
                    <a:pt x="233" y="94"/>
                  </a:lnTo>
                  <a:lnTo>
                    <a:pt x="231" y="96"/>
                  </a:lnTo>
                  <a:lnTo>
                    <a:pt x="229" y="94"/>
                  </a:lnTo>
                  <a:lnTo>
                    <a:pt x="229" y="94"/>
                  </a:lnTo>
                  <a:lnTo>
                    <a:pt x="227" y="92"/>
                  </a:lnTo>
                  <a:lnTo>
                    <a:pt x="225" y="90"/>
                  </a:lnTo>
                  <a:lnTo>
                    <a:pt x="221" y="88"/>
                  </a:lnTo>
                  <a:lnTo>
                    <a:pt x="219" y="88"/>
                  </a:lnTo>
                  <a:lnTo>
                    <a:pt x="219" y="88"/>
                  </a:lnTo>
                  <a:lnTo>
                    <a:pt x="217" y="88"/>
                  </a:lnTo>
                  <a:lnTo>
                    <a:pt x="213" y="90"/>
                  </a:lnTo>
                  <a:lnTo>
                    <a:pt x="211" y="92"/>
                  </a:lnTo>
                  <a:lnTo>
                    <a:pt x="209" y="92"/>
                  </a:lnTo>
                  <a:lnTo>
                    <a:pt x="209" y="92"/>
                  </a:lnTo>
                  <a:lnTo>
                    <a:pt x="205" y="92"/>
                  </a:lnTo>
                  <a:lnTo>
                    <a:pt x="203" y="92"/>
                  </a:lnTo>
                  <a:lnTo>
                    <a:pt x="201" y="92"/>
                  </a:lnTo>
                  <a:lnTo>
                    <a:pt x="199" y="92"/>
                  </a:lnTo>
                  <a:lnTo>
                    <a:pt x="199" y="92"/>
                  </a:lnTo>
                  <a:lnTo>
                    <a:pt x="191" y="92"/>
                  </a:lnTo>
                  <a:lnTo>
                    <a:pt x="183" y="96"/>
                  </a:lnTo>
                  <a:lnTo>
                    <a:pt x="183" y="96"/>
                  </a:lnTo>
                  <a:lnTo>
                    <a:pt x="177" y="96"/>
                  </a:lnTo>
                  <a:lnTo>
                    <a:pt x="173" y="96"/>
                  </a:lnTo>
                  <a:lnTo>
                    <a:pt x="173" y="96"/>
                  </a:lnTo>
                  <a:lnTo>
                    <a:pt x="171" y="98"/>
                  </a:lnTo>
                  <a:lnTo>
                    <a:pt x="171" y="98"/>
                  </a:lnTo>
                  <a:lnTo>
                    <a:pt x="165" y="94"/>
                  </a:lnTo>
                  <a:lnTo>
                    <a:pt x="165" y="94"/>
                  </a:lnTo>
                  <a:lnTo>
                    <a:pt x="161" y="92"/>
                  </a:lnTo>
                  <a:lnTo>
                    <a:pt x="157" y="88"/>
                  </a:lnTo>
                  <a:lnTo>
                    <a:pt x="145" y="82"/>
                  </a:lnTo>
                  <a:lnTo>
                    <a:pt x="145" y="82"/>
                  </a:lnTo>
                  <a:lnTo>
                    <a:pt x="141" y="80"/>
                  </a:lnTo>
                  <a:lnTo>
                    <a:pt x="136" y="80"/>
                  </a:lnTo>
                  <a:lnTo>
                    <a:pt x="128" y="82"/>
                  </a:lnTo>
                  <a:lnTo>
                    <a:pt x="128" y="82"/>
                  </a:lnTo>
                  <a:lnTo>
                    <a:pt x="122" y="84"/>
                  </a:lnTo>
                  <a:lnTo>
                    <a:pt x="116" y="84"/>
                  </a:lnTo>
                  <a:lnTo>
                    <a:pt x="112" y="84"/>
                  </a:lnTo>
                  <a:lnTo>
                    <a:pt x="108" y="82"/>
                  </a:lnTo>
                  <a:lnTo>
                    <a:pt x="108" y="82"/>
                  </a:lnTo>
                  <a:lnTo>
                    <a:pt x="104" y="80"/>
                  </a:lnTo>
                  <a:lnTo>
                    <a:pt x="104" y="82"/>
                  </a:lnTo>
                  <a:lnTo>
                    <a:pt x="98" y="86"/>
                  </a:lnTo>
                  <a:lnTo>
                    <a:pt x="98" y="86"/>
                  </a:lnTo>
                  <a:lnTo>
                    <a:pt x="96" y="88"/>
                  </a:lnTo>
                  <a:lnTo>
                    <a:pt x="90" y="86"/>
                  </a:lnTo>
                  <a:lnTo>
                    <a:pt x="82" y="82"/>
                  </a:lnTo>
                  <a:lnTo>
                    <a:pt x="82" y="82"/>
                  </a:lnTo>
                  <a:lnTo>
                    <a:pt x="76" y="80"/>
                  </a:lnTo>
                  <a:lnTo>
                    <a:pt x="72" y="82"/>
                  </a:lnTo>
                  <a:lnTo>
                    <a:pt x="66" y="84"/>
                  </a:lnTo>
                  <a:lnTo>
                    <a:pt x="66" y="84"/>
                  </a:lnTo>
                  <a:lnTo>
                    <a:pt x="64" y="84"/>
                  </a:lnTo>
                  <a:lnTo>
                    <a:pt x="62" y="84"/>
                  </a:lnTo>
                  <a:lnTo>
                    <a:pt x="60" y="82"/>
                  </a:lnTo>
                  <a:lnTo>
                    <a:pt x="54" y="76"/>
                  </a:lnTo>
                  <a:lnTo>
                    <a:pt x="50" y="74"/>
                  </a:lnTo>
                  <a:lnTo>
                    <a:pt x="50" y="74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2" y="74"/>
                  </a:lnTo>
                  <a:lnTo>
                    <a:pt x="26" y="76"/>
                  </a:lnTo>
                  <a:lnTo>
                    <a:pt x="20" y="80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6" y="88"/>
                  </a:lnTo>
                  <a:lnTo>
                    <a:pt x="0" y="92"/>
                  </a:lnTo>
                  <a:lnTo>
                    <a:pt x="4" y="106"/>
                  </a:lnTo>
                  <a:lnTo>
                    <a:pt x="32" y="120"/>
                  </a:lnTo>
                  <a:lnTo>
                    <a:pt x="26" y="136"/>
                  </a:lnTo>
                  <a:lnTo>
                    <a:pt x="32" y="144"/>
                  </a:lnTo>
                  <a:lnTo>
                    <a:pt x="60" y="130"/>
                  </a:lnTo>
                  <a:lnTo>
                    <a:pt x="82" y="157"/>
                  </a:lnTo>
                  <a:lnTo>
                    <a:pt x="94" y="150"/>
                  </a:lnTo>
                  <a:lnTo>
                    <a:pt x="104" y="167"/>
                  </a:lnTo>
                  <a:lnTo>
                    <a:pt x="112" y="193"/>
                  </a:lnTo>
                  <a:lnTo>
                    <a:pt x="118" y="209"/>
                  </a:lnTo>
                  <a:lnTo>
                    <a:pt x="110" y="211"/>
                  </a:lnTo>
                  <a:lnTo>
                    <a:pt x="112" y="221"/>
                  </a:lnTo>
                  <a:lnTo>
                    <a:pt x="112" y="233"/>
                  </a:lnTo>
                  <a:lnTo>
                    <a:pt x="126" y="243"/>
                  </a:lnTo>
                  <a:lnTo>
                    <a:pt x="132" y="265"/>
                  </a:lnTo>
                  <a:lnTo>
                    <a:pt x="132" y="265"/>
                  </a:lnTo>
                  <a:lnTo>
                    <a:pt x="157" y="253"/>
                  </a:lnTo>
                  <a:lnTo>
                    <a:pt x="179" y="245"/>
                  </a:lnTo>
                  <a:lnTo>
                    <a:pt x="179" y="245"/>
                  </a:lnTo>
                  <a:lnTo>
                    <a:pt x="187" y="243"/>
                  </a:lnTo>
                  <a:lnTo>
                    <a:pt x="197" y="243"/>
                  </a:lnTo>
                  <a:lnTo>
                    <a:pt x="213" y="243"/>
                  </a:lnTo>
                  <a:lnTo>
                    <a:pt x="213" y="243"/>
                  </a:lnTo>
                  <a:lnTo>
                    <a:pt x="221" y="243"/>
                  </a:lnTo>
                  <a:lnTo>
                    <a:pt x="229" y="243"/>
                  </a:lnTo>
                  <a:lnTo>
                    <a:pt x="237" y="245"/>
                  </a:lnTo>
                  <a:lnTo>
                    <a:pt x="243" y="245"/>
                  </a:lnTo>
                  <a:lnTo>
                    <a:pt x="243" y="245"/>
                  </a:lnTo>
                  <a:lnTo>
                    <a:pt x="253" y="243"/>
                  </a:lnTo>
                  <a:lnTo>
                    <a:pt x="259" y="241"/>
                  </a:lnTo>
                  <a:lnTo>
                    <a:pt x="267" y="241"/>
                  </a:lnTo>
                  <a:lnTo>
                    <a:pt x="267" y="241"/>
                  </a:lnTo>
                  <a:lnTo>
                    <a:pt x="279" y="245"/>
                  </a:lnTo>
                  <a:lnTo>
                    <a:pt x="287" y="247"/>
                  </a:lnTo>
                  <a:lnTo>
                    <a:pt x="293" y="251"/>
                  </a:lnTo>
                  <a:lnTo>
                    <a:pt x="293" y="251"/>
                  </a:lnTo>
                  <a:lnTo>
                    <a:pt x="303" y="267"/>
                  </a:lnTo>
                  <a:lnTo>
                    <a:pt x="319" y="277"/>
                  </a:lnTo>
                  <a:lnTo>
                    <a:pt x="319" y="277"/>
                  </a:lnTo>
                  <a:lnTo>
                    <a:pt x="337" y="295"/>
                  </a:lnTo>
                  <a:lnTo>
                    <a:pt x="349" y="317"/>
                  </a:lnTo>
                  <a:lnTo>
                    <a:pt x="349" y="317"/>
                  </a:lnTo>
                  <a:lnTo>
                    <a:pt x="364" y="331"/>
                  </a:lnTo>
                  <a:lnTo>
                    <a:pt x="378" y="343"/>
                  </a:lnTo>
                  <a:lnTo>
                    <a:pt x="378" y="343"/>
                  </a:lnTo>
                  <a:lnTo>
                    <a:pt x="384" y="355"/>
                  </a:lnTo>
                  <a:lnTo>
                    <a:pt x="386" y="361"/>
                  </a:lnTo>
                  <a:lnTo>
                    <a:pt x="390" y="361"/>
                  </a:lnTo>
                  <a:lnTo>
                    <a:pt x="390" y="363"/>
                  </a:lnTo>
                  <a:lnTo>
                    <a:pt x="390" y="363"/>
                  </a:lnTo>
                  <a:lnTo>
                    <a:pt x="394" y="363"/>
                  </a:lnTo>
                  <a:lnTo>
                    <a:pt x="396" y="365"/>
                  </a:lnTo>
                  <a:lnTo>
                    <a:pt x="400" y="365"/>
                  </a:lnTo>
                  <a:lnTo>
                    <a:pt x="402" y="369"/>
                  </a:lnTo>
                  <a:lnTo>
                    <a:pt x="402" y="369"/>
                  </a:lnTo>
                  <a:lnTo>
                    <a:pt x="406" y="383"/>
                  </a:lnTo>
                  <a:lnTo>
                    <a:pt x="408" y="386"/>
                  </a:lnTo>
                  <a:lnTo>
                    <a:pt x="412" y="390"/>
                  </a:lnTo>
                  <a:lnTo>
                    <a:pt x="412" y="390"/>
                  </a:lnTo>
                  <a:lnTo>
                    <a:pt x="426" y="390"/>
                  </a:lnTo>
                  <a:lnTo>
                    <a:pt x="434" y="390"/>
                  </a:lnTo>
                  <a:lnTo>
                    <a:pt x="440" y="390"/>
                  </a:lnTo>
                  <a:lnTo>
                    <a:pt x="440" y="390"/>
                  </a:lnTo>
                  <a:lnTo>
                    <a:pt x="442" y="388"/>
                  </a:lnTo>
                  <a:lnTo>
                    <a:pt x="442" y="386"/>
                  </a:lnTo>
                  <a:lnTo>
                    <a:pt x="442" y="385"/>
                  </a:lnTo>
                  <a:lnTo>
                    <a:pt x="442" y="383"/>
                  </a:lnTo>
                  <a:lnTo>
                    <a:pt x="446" y="383"/>
                  </a:lnTo>
                  <a:lnTo>
                    <a:pt x="458" y="383"/>
                  </a:lnTo>
                  <a:lnTo>
                    <a:pt x="458" y="383"/>
                  </a:lnTo>
                  <a:lnTo>
                    <a:pt x="476" y="383"/>
                  </a:lnTo>
                  <a:lnTo>
                    <a:pt x="480" y="383"/>
                  </a:lnTo>
                  <a:lnTo>
                    <a:pt x="484" y="383"/>
                  </a:lnTo>
                  <a:lnTo>
                    <a:pt x="484" y="383"/>
                  </a:lnTo>
                  <a:lnTo>
                    <a:pt x="488" y="381"/>
                  </a:lnTo>
                  <a:lnTo>
                    <a:pt x="498" y="381"/>
                  </a:lnTo>
                  <a:lnTo>
                    <a:pt x="508" y="383"/>
                  </a:lnTo>
                  <a:lnTo>
                    <a:pt x="508" y="383"/>
                  </a:lnTo>
                  <a:lnTo>
                    <a:pt x="516" y="385"/>
                  </a:lnTo>
                  <a:lnTo>
                    <a:pt x="522" y="388"/>
                  </a:lnTo>
                  <a:lnTo>
                    <a:pt x="528" y="390"/>
                  </a:lnTo>
                  <a:lnTo>
                    <a:pt x="532" y="392"/>
                  </a:lnTo>
                  <a:lnTo>
                    <a:pt x="534" y="392"/>
                  </a:lnTo>
                  <a:lnTo>
                    <a:pt x="534" y="392"/>
                  </a:lnTo>
                  <a:lnTo>
                    <a:pt x="542" y="390"/>
                  </a:lnTo>
                  <a:lnTo>
                    <a:pt x="548" y="390"/>
                  </a:lnTo>
                  <a:lnTo>
                    <a:pt x="552" y="388"/>
                  </a:lnTo>
                  <a:lnTo>
                    <a:pt x="554" y="386"/>
                  </a:lnTo>
                  <a:lnTo>
                    <a:pt x="554" y="386"/>
                  </a:lnTo>
                  <a:lnTo>
                    <a:pt x="566" y="371"/>
                  </a:lnTo>
                  <a:lnTo>
                    <a:pt x="566" y="371"/>
                  </a:lnTo>
                  <a:lnTo>
                    <a:pt x="566" y="369"/>
                  </a:lnTo>
                  <a:lnTo>
                    <a:pt x="566" y="365"/>
                  </a:lnTo>
                  <a:lnTo>
                    <a:pt x="566" y="361"/>
                  </a:lnTo>
                  <a:lnTo>
                    <a:pt x="566" y="361"/>
                  </a:lnTo>
                  <a:lnTo>
                    <a:pt x="566" y="361"/>
                  </a:lnTo>
                  <a:lnTo>
                    <a:pt x="566" y="361"/>
                  </a:lnTo>
                  <a:lnTo>
                    <a:pt x="566" y="361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93" name="Freeform 52"/>
            <p:cNvSpPr>
              <a:spLocks/>
            </p:cNvSpPr>
            <p:nvPr/>
          </p:nvSpPr>
          <p:spPr bwMode="auto">
            <a:xfrm>
              <a:off x="4439" y="3191"/>
              <a:ext cx="40" cy="40"/>
            </a:xfrm>
            <a:custGeom>
              <a:avLst/>
              <a:gdLst>
                <a:gd name="T0" fmla="*/ 0 w 40"/>
                <a:gd name="T1" fmla="*/ 8 h 40"/>
                <a:gd name="T2" fmla="*/ 0 w 40"/>
                <a:gd name="T3" fmla="*/ 8 h 40"/>
                <a:gd name="T4" fmla="*/ 4 w 40"/>
                <a:gd name="T5" fmla="*/ 12 h 40"/>
                <a:gd name="T6" fmla="*/ 6 w 40"/>
                <a:gd name="T7" fmla="*/ 18 h 40"/>
                <a:gd name="T8" fmla="*/ 6 w 40"/>
                <a:gd name="T9" fmla="*/ 18 h 40"/>
                <a:gd name="T10" fmla="*/ 6 w 40"/>
                <a:gd name="T11" fmla="*/ 18 h 40"/>
                <a:gd name="T12" fmla="*/ 10 w 40"/>
                <a:gd name="T13" fmla="*/ 20 h 40"/>
                <a:gd name="T14" fmla="*/ 12 w 40"/>
                <a:gd name="T15" fmla="*/ 20 h 40"/>
                <a:gd name="T16" fmla="*/ 14 w 40"/>
                <a:gd name="T17" fmla="*/ 24 h 40"/>
                <a:gd name="T18" fmla="*/ 14 w 40"/>
                <a:gd name="T19" fmla="*/ 24 h 40"/>
                <a:gd name="T20" fmla="*/ 14 w 40"/>
                <a:gd name="T21" fmla="*/ 28 h 40"/>
                <a:gd name="T22" fmla="*/ 20 w 40"/>
                <a:gd name="T23" fmla="*/ 32 h 40"/>
                <a:gd name="T24" fmla="*/ 24 w 40"/>
                <a:gd name="T25" fmla="*/ 36 h 40"/>
                <a:gd name="T26" fmla="*/ 28 w 40"/>
                <a:gd name="T27" fmla="*/ 40 h 40"/>
                <a:gd name="T28" fmla="*/ 28 w 40"/>
                <a:gd name="T29" fmla="*/ 40 h 40"/>
                <a:gd name="T30" fmla="*/ 32 w 40"/>
                <a:gd name="T31" fmla="*/ 40 h 40"/>
                <a:gd name="T32" fmla="*/ 32 w 40"/>
                <a:gd name="T33" fmla="*/ 36 h 40"/>
                <a:gd name="T34" fmla="*/ 36 w 40"/>
                <a:gd name="T35" fmla="*/ 28 h 40"/>
                <a:gd name="T36" fmla="*/ 36 w 40"/>
                <a:gd name="T37" fmla="*/ 28 h 40"/>
                <a:gd name="T38" fmla="*/ 40 w 40"/>
                <a:gd name="T39" fmla="*/ 20 h 40"/>
                <a:gd name="T40" fmla="*/ 36 w 40"/>
                <a:gd name="T41" fmla="*/ 12 h 40"/>
                <a:gd name="T42" fmla="*/ 36 w 40"/>
                <a:gd name="T43" fmla="*/ 12 h 40"/>
                <a:gd name="T44" fmla="*/ 36 w 40"/>
                <a:gd name="T45" fmla="*/ 0 h 40"/>
                <a:gd name="T46" fmla="*/ 36 w 40"/>
                <a:gd name="T47" fmla="*/ 0 h 40"/>
                <a:gd name="T48" fmla="*/ 30 w 40"/>
                <a:gd name="T49" fmla="*/ 2 h 40"/>
                <a:gd name="T50" fmla="*/ 22 w 40"/>
                <a:gd name="T51" fmla="*/ 2 h 40"/>
                <a:gd name="T52" fmla="*/ 22 w 40"/>
                <a:gd name="T53" fmla="*/ 2 h 40"/>
                <a:gd name="T54" fmla="*/ 10 w 40"/>
                <a:gd name="T55" fmla="*/ 2 h 40"/>
                <a:gd name="T56" fmla="*/ 2 w 40"/>
                <a:gd name="T57" fmla="*/ 2 h 40"/>
                <a:gd name="T58" fmla="*/ 2 w 40"/>
                <a:gd name="T59" fmla="*/ 2 h 40"/>
                <a:gd name="T60" fmla="*/ 2 w 40"/>
                <a:gd name="T61" fmla="*/ 6 h 40"/>
                <a:gd name="T62" fmla="*/ 0 w 40"/>
                <a:gd name="T63" fmla="*/ 8 h 40"/>
                <a:gd name="T64" fmla="*/ 0 w 40"/>
                <a:gd name="T65" fmla="*/ 8 h 40"/>
                <a:gd name="T66" fmla="*/ 0 w 40"/>
                <a:gd name="T67" fmla="*/ 8 h 40"/>
                <a:gd name="T68" fmla="*/ 0 w 40"/>
                <a:gd name="T69" fmla="*/ 8 h 40"/>
                <a:gd name="T70" fmla="*/ 0 w 40"/>
                <a:gd name="T71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0" h="40">
                  <a:moveTo>
                    <a:pt x="0" y="8"/>
                  </a:moveTo>
                  <a:lnTo>
                    <a:pt x="0" y="8"/>
                  </a:lnTo>
                  <a:lnTo>
                    <a:pt x="4" y="12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10" y="20"/>
                  </a:lnTo>
                  <a:lnTo>
                    <a:pt x="12" y="20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4" y="28"/>
                  </a:lnTo>
                  <a:lnTo>
                    <a:pt x="20" y="32"/>
                  </a:lnTo>
                  <a:lnTo>
                    <a:pt x="24" y="36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40" y="20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0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1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94" name="Freeform 53"/>
            <p:cNvSpPr>
              <a:spLocks/>
            </p:cNvSpPr>
            <p:nvPr/>
          </p:nvSpPr>
          <p:spPr bwMode="auto">
            <a:xfrm>
              <a:off x="3392" y="2673"/>
              <a:ext cx="476" cy="586"/>
            </a:xfrm>
            <a:custGeom>
              <a:avLst/>
              <a:gdLst>
                <a:gd name="T0" fmla="*/ 438 w 476"/>
                <a:gd name="T1" fmla="*/ 126 h 586"/>
                <a:gd name="T2" fmla="*/ 344 w 476"/>
                <a:gd name="T3" fmla="*/ 68 h 586"/>
                <a:gd name="T4" fmla="*/ 324 w 476"/>
                <a:gd name="T5" fmla="*/ 44 h 586"/>
                <a:gd name="T6" fmla="*/ 282 w 476"/>
                <a:gd name="T7" fmla="*/ 4 h 586"/>
                <a:gd name="T8" fmla="*/ 253 w 476"/>
                <a:gd name="T9" fmla="*/ 10 h 586"/>
                <a:gd name="T10" fmla="*/ 253 w 476"/>
                <a:gd name="T11" fmla="*/ 18 h 586"/>
                <a:gd name="T12" fmla="*/ 253 w 476"/>
                <a:gd name="T13" fmla="*/ 36 h 586"/>
                <a:gd name="T14" fmla="*/ 253 w 476"/>
                <a:gd name="T15" fmla="*/ 52 h 586"/>
                <a:gd name="T16" fmla="*/ 272 w 476"/>
                <a:gd name="T17" fmla="*/ 64 h 586"/>
                <a:gd name="T18" fmla="*/ 272 w 476"/>
                <a:gd name="T19" fmla="*/ 82 h 586"/>
                <a:gd name="T20" fmla="*/ 266 w 476"/>
                <a:gd name="T21" fmla="*/ 90 h 586"/>
                <a:gd name="T22" fmla="*/ 249 w 476"/>
                <a:gd name="T23" fmla="*/ 104 h 586"/>
                <a:gd name="T24" fmla="*/ 219 w 476"/>
                <a:gd name="T25" fmla="*/ 98 h 586"/>
                <a:gd name="T26" fmla="*/ 213 w 476"/>
                <a:gd name="T27" fmla="*/ 114 h 586"/>
                <a:gd name="T28" fmla="*/ 223 w 476"/>
                <a:gd name="T29" fmla="*/ 129 h 586"/>
                <a:gd name="T30" fmla="*/ 243 w 476"/>
                <a:gd name="T31" fmla="*/ 187 h 586"/>
                <a:gd name="T32" fmla="*/ 276 w 476"/>
                <a:gd name="T33" fmla="*/ 199 h 586"/>
                <a:gd name="T34" fmla="*/ 272 w 476"/>
                <a:gd name="T35" fmla="*/ 231 h 586"/>
                <a:gd name="T36" fmla="*/ 243 w 476"/>
                <a:gd name="T37" fmla="*/ 249 h 586"/>
                <a:gd name="T38" fmla="*/ 211 w 476"/>
                <a:gd name="T39" fmla="*/ 291 h 586"/>
                <a:gd name="T40" fmla="*/ 199 w 476"/>
                <a:gd name="T41" fmla="*/ 319 h 586"/>
                <a:gd name="T42" fmla="*/ 215 w 476"/>
                <a:gd name="T43" fmla="*/ 343 h 586"/>
                <a:gd name="T44" fmla="*/ 203 w 476"/>
                <a:gd name="T45" fmla="*/ 364 h 586"/>
                <a:gd name="T46" fmla="*/ 183 w 476"/>
                <a:gd name="T47" fmla="*/ 376 h 586"/>
                <a:gd name="T48" fmla="*/ 161 w 476"/>
                <a:gd name="T49" fmla="*/ 388 h 586"/>
                <a:gd name="T50" fmla="*/ 145 w 476"/>
                <a:gd name="T51" fmla="*/ 390 h 586"/>
                <a:gd name="T52" fmla="*/ 129 w 476"/>
                <a:gd name="T53" fmla="*/ 416 h 586"/>
                <a:gd name="T54" fmla="*/ 105 w 476"/>
                <a:gd name="T55" fmla="*/ 444 h 586"/>
                <a:gd name="T56" fmla="*/ 83 w 476"/>
                <a:gd name="T57" fmla="*/ 444 h 586"/>
                <a:gd name="T58" fmla="*/ 51 w 476"/>
                <a:gd name="T59" fmla="*/ 460 h 586"/>
                <a:gd name="T60" fmla="*/ 30 w 476"/>
                <a:gd name="T61" fmla="*/ 456 h 586"/>
                <a:gd name="T62" fmla="*/ 20 w 476"/>
                <a:gd name="T63" fmla="*/ 474 h 586"/>
                <a:gd name="T64" fmla="*/ 22 w 476"/>
                <a:gd name="T65" fmla="*/ 482 h 586"/>
                <a:gd name="T66" fmla="*/ 14 w 476"/>
                <a:gd name="T67" fmla="*/ 504 h 586"/>
                <a:gd name="T68" fmla="*/ 34 w 476"/>
                <a:gd name="T69" fmla="*/ 516 h 586"/>
                <a:gd name="T70" fmla="*/ 10 w 476"/>
                <a:gd name="T71" fmla="*/ 526 h 586"/>
                <a:gd name="T72" fmla="*/ 2 w 476"/>
                <a:gd name="T73" fmla="*/ 546 h 586"/>
                <a:gd name="T74" fmla="*/ 10 w 476"/>
                <a:gd name="T75" fmla="*/ 558 h 586"/>
                <a:gd name="T76" fmla="*/ 34 w 476"/>
                <a:gd name="T77" fmla="*/ 578 h 586"/>
                <a:gd name="T78" fmla="*/ 69 w 476"/>
                <a:gd name="T79" fmla="*/ 582 h 586"/>
                <a:gd name="T80" fmla="*/ 121 w 476"/>
                <a:gd name="T81" fmla="*/ 582 h 586"/>
                <a:gd name="T82" fmla="*/ 173 w 476"/>
                <a:gd name="T83" fmla="*/ 558 h 586"/>
                <a:gd name="T84" fmla="*/ 205 w 476"/>
                <a:gd name="T85" fmla="*/ 542 h 586"/>
                <a:gd name="T86" fmla="*/ 255 w 476"/>
                <a:gd name="T87" fmla="*/ 494 h 586"/>
                <a:gd name="T88" fmla="*/ 294 w 476"/>
                <a:gd name="T89" fmla="*/ 502 h 586"/>
                <a:gd name="T90" fmla="*/ 322 w 476"/>
                <a:gd name="T91" fmla="*/ 490 h 586"/>
                <a:gd name="T92" fmla="*/ 366 w 476"/>
                <a:gd name="T93" fmla="*/ 502 h 586"/>
                <a:gd name="T94" fmla="*/ 410 w 476"/>
                <a:gd name="T95" fmla="*/ 486 h 586"/>
                <a:gd name="T96" fmla="*/ 440 w 476"/>
                <a:gd name="T97" fmla="*/ 452 h 586"/>
                <a:gd name="T98" fmla="*/ 432 w 476"/>
                <a:gd name="T99" fmla="*/ 446 h 586"/>
                <a:gd name="T100" fmla="*/ 440 w 476"/>
                <a:gd name="T101" fmla="*/ 392 h 586"/>
                <a:gd name="T102" fmla="*/ 458 w 476"/>
                <a:gd name="T103" fmla="*/ 337 h 586"/>
                <a:gd name="T104" fmla="*/ 452 w 476"/>
                <a:gd name="T105" fmla="*/ 317 h 586"/>
                <a:gd name="T106" fmla="*/ 434 w 476"/>
                <a:gd name="T107" fmla="*/ 303 h 586"/>
                <a:gd name="T108" fmla="*/ 428 w 476"/>
                <a:gd name="T109" fmla="*/ 295 h 586"/>
                <a:gd name="T110" fmla="*/ 456 w 476"/>
                <a:gd name="T111" fmla="*/ 255 h 586"/>
                <a:gd name="T112" fmla="*/ 456 w 476"/>
                <a:gd name="T113" fmla="*/ 209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76" h="586">
                  <a:moveTo>
                    <a:pt x="456" y="209"/>
                  </a:moveTo>
                  <a:lnTo>
                    <a:pt x="456" y="197"/>
                  </a:lnTo>
                  <a:lnTo>
                    <a:pt x="454" y="187"/>
                  </a:lnTo>
                  <a:lnTo>
                    <a:pt x="462" y="185"/>
                  </a:lnTo>
                  <a:lnTo>
                    <a:pt x="456" y="169"/>
                  </a:lnTo>
                  <a:lnTo>
                    <a:pt x="448" y="143"/>
                  </a:lnTo>
                  <a:lnTo>
                    <a:pt x="438" y="126"/>
                  </a:lnTo>
                  <a:lnTo>
                    <a:pt x="426" y="133"/>
                  </a:lnTo>
                  <a:lnTo>
                    <a:pt x="404" y="106"/>
                  </a:lnTo>
                  <a:lnTo>
                    <a:pt x="376" y="120"/>
                  </a:lnTo>
                  <a:lnTo>
                    <a:pt x="370" y="112"/>
                  </a:lnTo>
                  <a:lnTo>
                    <a:pt x="376" y="96"/>
                  </a:lnTo>
                  <a:lnTo>
                    <a:pt x="348" y="82"/>
                  </a:lnTo>
                  <a:lnTo>
                    <a:pt x="344" y="68"/>
                  </a:lnTo>
                  <a:lnTo>
                    <a:pt x="344" y="68"/>
                  </a:lnTo>
                  <a:lnTo>
                    <a:pt x="344" y="68"/>
                  </a:lnTo>
                  <a:lnTo>
                    <a:pt x="344" y="68"/>
                  </a:lnTo>
                  <a:lnTo>
                    <a:pt x="334" y="60"/>
                  </a:lnTo>
                  <a:lnTo>
                    <a:pt x="334" y="60"/>
                  </a:lnTo>
                  <a:lnTo>
                    <a:pt x="328" y="56"/>
                  </a:lnTo>
                  <a:lnTo>
                    <a:pt x="324" y="44"/>
                  </a:lnTo>
                  <a:lnTo>
                    <a:pt x="302" y="40"/>
                  </a:lnTo>
                  <a:lnTo>
                    <a:pt x="298" y="2"/>
                  </a:lnTo>
                  <a:lnTo>
                    <a:pt x="298" y="2"/>
                  </a:lnTo>
                  <a:lnTo>
                    <a:pt x="292" y="4"/>
                  </a:lnTo>
                  <a:lnTo>
                    <a:pt x="284" y="6"/>
                  </a:lnTo>
                  <a:lnTo>
                    <a:pt x="284" y="6"/>
                  </a:lnTo>
                  <a:lnTo>
                    <a:pt x="282" y="4"/>
                  </a:lnTo>
                  <a:lnTo>
                    <a:pt x="276" y="4"/>
                  </a:lnTo>
                  <a:lnTo>
                    <a:pt x="270" y="0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260" y="0"/>
                  </a:lnTo>
                  <a:lnTo>
                    <a:pt x="257" y="2"/>
                  </a:lnTo>
                  <a:lnTo>
                    <a:pt x="253" y="10"/>
                  </a:lnTo>
                  <a:lnTo>
                    <a:pt x="253" y="10"/>
                  </a:lnTo>
                  <a:lnTo>
                    <a:pt x="251" y="10"/>
                  </a:lnTo>
                  <a:lnTo>
                    <a:pt x="251" y="12"/>
                  </a:lnTo>
                  <a:lnTo>
                    <a:pt x="253" y="14"/>
                  </a:lnTo>
                  <a:lnTo>
                    <a:pt x="253" y="14"/>
                  </a:lnTo>
                  <a:lnTo>
                    <a:pt x="255" y="18"/>
                  </a:lnTo>
                  <a:lnTo>
                    <a:pt x="253" y="18"/>
                  </a:lnTo>
                  <a:lnTo>
                    <a:pt x="251" y="18"/>
                  </a:lnTo>
                  <a:lnTo>
                    <a:pt x="251" y="18"/>
                  </a:lnTo>
                  <a:lnTo>
                    <a:pt x="251" y="22"/>
                  </a:lnTo>
                  <a:lnTo>
                    <a:pt x="253" y="26"/>
                  </a:lnTo>
                  <a:lnTo>
                    <a:pt x="255" y="34"/>
                  </a:lnTo>
                  <a:lnTo>
                    <a:pt x="255" y="34"/>
                  </a:lnTo>
                  <a:lnTo>
                    <a:pt x="253" y="36"/>
                  </a:lnTo>
                  <a:lnTo>
                    <a:pt x="253" y="38"/>
                  </a:lnTo>
                  <a:lnTo>
                    <a:pt x="249" y="40"/>
                  </a:lnTo>
                  <a:lnTo>
                    <a:pt x="249" y="40"/>
                  </a:lnTo>
                  <a:lnTo>
                    <a:pt x="249" y="44"/>
                  </a:lnTo>
                  <a:lnTo>
                    <a:pt x="249" y="48"/>
                  </a:lnTo>
                  <a:lnTo>
                    <a:pt x="253" y="52"/>
                  </a:lnTo>
                  <a:lnTo>
                    <a:pt x="253" y="52"/>
                  </a:lnTo>
                  <a:lnTo>
                    <a:pt x="264" y="68"/>
                  </a:lnTo>
                  <a:lnTo>
                    <a:pt x="264" y="68"/>
                  </a:lnTo>
                  <a:lnTo>
                    <a:pt x="268" y="64"/>
                  </a:lnTo>
                  <a:lnTo>
                    <a:pt x="270" y="64"/>
                  </a:lnTo>
                  <a:lnTo>
                    <a:pt x="272" y="64"/>
                  </a:lnTo>
                  <a:lnTo>
                    <a:pt x="272" y="64"/>
                  </a:lnTo>
                  <a:lnTo>
                    <a:pt x="272" y="64"/>
                  </a:lnTo>
                  <a:lnTo>
                    <a:pt x="272" y="68"/>
                  </a:lnTo>
                  <a:lnTo>
                    <a:pt x="272" y="72"/>
                  </a:lnTo>
                  <a:lnTo>
                    <a:pt x="272" y="72"/>
                  </a:lnTo>
                  <a:lnTo>
                    <a:pt x="272" y="72"/>
                  </a:lnTo>
                  <a:lnTo>
                    <a:pt x="272" y="76"/>
                  </a:lnTo>
                  <a:lnTo>
                    <a:pt x="272" y="82"/>
                  </a:lnTo>
                  <a:lnTo>
                    <a:pt x="272" y="82"/>
                  </a:lnTo>
                  <a:lnTo>
                    <a:pt x="274" y="84"/>
                  </a:lnTo>
                  <a:lnTo>
                    <a:pt x="274" y="86"/>
                  </a:lnTo>
                  <a:lnTo>
                    <a:pt x="272" y="90"/>
                  </a:lnTo>
                  <a:lnTo>
                    <a:pt x="272" y="90"/>
                  </a:lnTo>
                  <a:lnTo>
                    <a:pt x="272" y="92"/>
                  </a:lnTo>
                  <a:lnTo>
                    <a:pt x="270" y="90"/>
                  </a:lnTo>
                  <a:lnTo>
                    <a:pt x="266" y="90"/>
                  </a:lnTo>
                  <a:lnTo>
                    <a:pt x="266" y="90"/>
                  </a:lnTo>
                  <a:lnTo>
                    <a:pt x="260" y="94"/>
                  </a:lnTo>
                  <a:lnTo>
                    <a:pt x="260" y="94"/>
                  </a:lnTo>
                  <a:lnTo>
                    <a:pt x="257" y="98"/>
                  </a:lnTo>
                  <a:lnTo>
                    <a:pt x="255" y="102"/>
                  </a:lnTo>
                  <a:lnTo>
                    <a:pt x="249" y="104"/>
                  </a:lnTo>
                  <a:lnTo>
                    <a:pt x="249" y="104"/>
                  </a:lnTo>
                  <a:lnTo>
                    <a:pt x="237" y="104"/>
                  </a:lnTo>
                  <a:lnTo>
                    <a:pt x="231" y="106"/>
                  </a:lnTo>
                  <a:lnTo>
                    <a:pt x="231" y="106"/>
                  </a:lnTo>
                  <a:lnTo>
                    <a:pt x="225" y="102"/>
                  </a:lnTo>
                  <a:lnTo>
                    <a:pt x="221" y="98"/>
                  </a:lnTo>
                  <a:lnTo>
                    <a:pt x="219" y="98"/>
                  </a:lnTo>
                  <a:lnTo>
                    <a:pt x="219" y="98"/>
                  </a:lnTo>
                  <a:lnTo>
                    <a:pt x="215" y="98"/>
                  </a:lnTo>
                  <a:lnTo>
                    <a:pt x="215" y="98"/>
                  </a:lnTo>
                  <a:lnTo>
                    <a:pt x="213" y="104"/>
                  </a:lnTo>
                  <a:lnTo>
                    <a:pt x="213" y="106"/>
                  </a:lnTo>
                  <a:lnTo>
                    <a:pt x="213" y="110"/>
                  </a:lnTo>
                  <a:lnTo>
                    <a:pt x="213" y="110"/>
                  </a:lnTo>
                  <a:lnTo>
                    <a:pt x="213" y="114"/>
                  </a:lnTo>
                  <a:lnTo>
                    <a:pt x="211" y="116"/>
                  </a:lnTo>
                  <a:lnTo>
                    <a:pt x="209" y="120"/>
                  </a:lnTo>
                  <a:lnTo>
                    <a:pt x="209" y="120"/>
                  </a:lnTo>
                  <a:lnTo>
                    <a:pt x="209" y="120"/>
                  </a:lnTo>
                  <a:lnTo>
                    <a:pt x="211" y="120"/>
                  </a:lnTo>
                  <a:lnTo>
                    <a:pt x="215" y="126"/>
                  </a:lnTo>
                  <a:lnTo>
                    <a:pt x="223" y="129"/>
                  </a:lnTo>
                  <a:lnTo>
                    <a:pt x="221" y="129"/>
                  </a:lnTo>
                  <a:lnTo>
                    <a:pt x="221" y="129"/>
                  </a:lnTo>
                  <a:lnTo>
                    <a:pt x="223" y="141"/>
                  </a:lnTo>
                  <a:lnTo>
                    <a:pt x="223" y="141"/>
                  </a:lnTo>
                  <a:lnTo>
                    <a:pt x="233" y="169"/>
                  </a:lnTo>
                  <a:lnTo>
                    <a:pt x="243" y="187"/>
                  </a:lnTo>
                  <a:lnTo>
                    <a:pt x="243" y="187"/>
                  </a:lnTo>
                  <a:lnTo>
                    <a:pt x="255" y="187"/>
                  </a:lnTo>
                  <a:lnTo>
                    <a:pt x="255" y="187"/>
                  </a:lnTo>
                  <a:lnTo>
                    <a:pt x="257" y="187"/>
                  </a:lnTo>
                  <a:lnTo>
                    <a:pt x="260" y="187"/>
                  </a:lnTo>
                  <a:lnTo>
                    <a:pt x="272" y="195"/>
                  </a:lnTo>
                  <a:lnTo>
                    <a:pt x="272" y="195"/>
                  </a:lnTo>
                  <a:lnTo>
                    <a:pt x="276" y="199"/>
                  </a:lnTo>
                  <a:lnTo>
                    <a:pt x="278" y="203"/>
                  </a:lnTo>
                  <a:lnTo>
                    <a:pt x="280" y="217"/>
                  </a:lnTo>
                  <a:lnTo>
                    <a:pt x="280" y="217"/>
                  </a:lnTo>
                  <a:lnTo>
                    <a:pt x="280" y="221"/>
                  </a:lnTo>
                  <a:lnTo>
                    <a:pt x="280" y="225"/>
                  </a:lnTo>
                  <a:lnTo>
                    <a:pt x="276" y="229"/>
                  </a:lnTo>
                  <a:lnTo>
                    <a:pt x="272" y="231"/>
                  </a:lnTo>
                  <a:lnTo>
                    <a:pt x="272" y="231"/>
                  </a:lnTo>
                  <a:lnTo>
                    <a:pt x="268" y="235"/>
                  </a:lnTo>
                  <a:lnTo>
                    <a:pt x="264" y="239"/>
                  </a:lnTo>
                  <a:lnTo>
                    <a:pt x="251" y="241"/>
                  </a:lnTo>
                  <a:lnTo>
                    <a:pt x="251" y="241"/>
                  </a:lnTo>
                  <a:lnTo>
                    <a:pt x="247" y="245"/>
                  </a:lnTo>
                  <a:lnTo>
                    <a:pt x="243" y="249"/>
                  </a:lnTo>
                  <a:lnTo>
                    <a:pt x="235" y="255"/>
                  </a:lnTo>
                  <a:lnTo>
                    <a:pt x="231" y="265"/>
                  </a:lnTo>
                  <a:lnTo>
                    <a:pt x="231" y="265"/>
                  </a:lnTo>
                  <a:lnTo>
                    <a:pt x="227" y="271"/>
                  </a:lnTo>
                  <a:lnTo>
                    <a:pt x="223" y="277"/>
                  </a:lnTo>
                  <a:lnTo>
                    <a:pt x="211" y="291"/>
                  </a:lnTo>
                  <a:lnTo>
                    <a:pt x="211" y="291"/>
                  </a:lnTo>
                  <a:lnTo>
                    <a:pt x="199" y="297"/>
                  </a:lnTo>
                  <a:lnTo>
                    <a:pt x="193" y="301"/>
                  </a:lnTo>
                  <a:lnTo>
                    <a:pt x="193" y="303"/>
                  </a:lnTo>
                  <a:lnTo>
                    <a:pt x="193" y="303"/>
                  </a:lnTo>
                  <a:lnTo>
                    <a:pt x="193" y="313"/>
                  </a:lnTo>
                  <a:lnTo>
                    <a:pt x="199" y="319"/>
                  </a:lnTo>
                  <a:lnTo>
                    <a:pt x="199" y="319"/>
                  </a:lnTo>
                  <a:lnTo>
                    <a:pt x="201" y="323"/>
                  </a:lnTo>
                  <a:lnTo>
                    <a:pt x="205" y="325"/>
                  </a:lnTo>
                  <a:lnTo>
                    <a:pt x="211" y="331"/>
                  </a:lnTo>
                  <a:lnTo>
                    <a:pt x="211" y="331"/>
                  </a:lnTo>
                  <a:lnTo>
                    <a:pt x="213" y="333"/>
                  </a:lnTo>
                  <a:lnTo>
                    <a:pt x="215" y="335"/>
                  </a:lnTo>
                  <a:lnTo>
                    <a:pt x="215" y="343"/>
                  </a:lnTo>
                  <a:lnTo>
                    <a:pt x="215" y="343"/>
                  </a:lnTo>
                  <a:lnTo>
                    <a:pt x="213" y="355"/>
                  </a:lnTo>
                  <a:lnTo>
                    <a:pt x="213" y="359"/>
                  </a:lnTo>
                  <a:lnTo>
                    <a:pt x="211" y="361"/>
                  </a:lnTo>
                  <a:lnTo>
                    <a:pt x="211" y="361"/>
                  </a:lnTo>
                  <a:lnTo>
                    <a:pt x="207" y="362"/>
                  </a:lnTo>
                  <a:lnTo>
                    <a:pt x="203" y="364"/>
                  </a:lnTo>
                  <a:lnTo>
                    <a:pt x="199" y="366"/>
                  </a:lnTo>
                  <a:lnTo>
                    <a:pt x="197" y="370"/>
                  </a:lnTo>
                  <a:lnTo>
                    <a:pt x="197" y="370"/>
                  </a:lnTo>
                  <a:lnTo>
                    <a:pt x="193" y="370"/>
                  </a:lnTo>
                  <a:lnTo>
                    <a:pt x="191" y="372"/>
                  </a:lnTo>
                  <a:lnTo>
                    <a:pt x="183" y="376"/>
                  </a:lnTo>
                  <a:lnTo>
                    <a:pt x="183" y="376"/>
                  </a:lnTo>
                  <a:lnTo>
                    <a:pt x="181" y="376"/>
                  </a:lnTo>
                  <a:lnTo>
                    <a:pt x="179" y="380"/>
                  </a:lnTo>
                  <a:lnTo>
                    <a:pt x="175" y="382"/>
                  </a:lnTo>
                  <a:lnTo>
                    <a:pt x="173" y="384"/>
                  </a:lnTo>
                  <a:lnTo>
                    <a:pt x="173" y="384"/>
                  </a:lnTo>
                  <a:lnTo>
                    <a:pt x="165" y="386"/>
                  </a:lnTo>
                  <a:lnTo>
                    <a:pt x="161" y="388"/>
                  </a:lnTo>
                  <a:lnTo>
                    <a:pt x="159" y="390"/>
                  </a:lnTo>
                  <a:lnTo>
                    <a:pt x="159" y="390"/>
                  </a:lnTo>
                  <a:lnTo>
                    <a:pt x="155" y="392"/>
                  </a:lnTo>
                  <a:lnTo>
                    <a:pt x="153" y="392"/>
                  </a:lnTo>
                  <a:lnTo>
                    <a:pt x="147" y="390"/>
                  </a:lnTo>
                  <a:lnTo>
                    <a:pt x="147" y="390"/>
                  </a:lnTo>
                  <a:lnTo>
                    <a:pt x="145" y="390"/>
                  </a:lnTo>
                  <a:lnTo>
                    <a:pt x="141" y="394"/>
                  </a:lnTo>
                  <a:lnTo>
                    <a:pt x="139" y="400"/>
                  </a:lnTo>
                  <a:lnTo>
                    <a:pt x="137" y="404"/>
                  </a:lnTo>
                  <a:lnTo>
                    <a:pt x="137" y="404"/>
                  </a:lnTo>
                  <a:lnTo>
                    <a:pt x="137" y="406"/>
                  </a:lnTo>
                  <a:lnTo>
                    <a:pt x="133" y="412"/>
                  </a:lnTo>
                  <a:lnTo>
                    <a:pt x="129" y="416"/>
                  </a:lnTo>
                  <a:lnTo>
                    <a:pt x="129" y="416"/>
                  </a:lnTo>
                  <a:lnTo>
                    <a:pt x="119" y="424"/>
                  </a:lnTo>
                  <a:lnTo>
                    <a:pt x="107" y="432"/>
                  </a:lnTo>
                  <a:lnTo>
                    <a:pt x="107" y="432"/>
                  </a:lnTo>
                  <a:lnTo>
                    <a:pt x="105" y="436"/>
                  </a:lnTo>
                  <a:lnTo>
                    <a:pt x="105" y="438"/>
                  </a:lnTo>
                  <a:lnTo>
                    <a:pt x="105" y="444"/>
                  </a:lnTo>
                  <a:lnTo>
                    <a:pt x="105" y="446"/>
                  </a:lnTo>
                  <a:lnTo>
                    <a:pt x="105" y="446"/>
                  </a:lnTo>
                  <a:lnTo>
                    <a:pt x="101" y="448"/>
                  </a:lnTo>
                  <a:lnTo>
                    <a:pt x="99" y="448"/>
                  </a:lnTo>
                  <a:lnTo>
                    <a:pt x="93" y="446"/>
                  </a:lnTo>
                  <a:lnTo>
                    <a:pt x="89" y="444"/>
                  </a:lnTo>
                  <a:lnTo>
                    <a:pt x="83" y="444"/>
                  </a:lnTo>
                  <a:lnTo>
                    <a:pt x="83" y="444"/>
                  </a:lnTo>
                  <a:lnTo>
                    <a:pt x="75" y="444"/>
                  </a:lnTo>
                  <a:lnTo>
                    <a:pt x="69" y="448"/>
                  </a:lnTo>
                  <a:lnTo>
                    <a:pt x="61" y="454"/>
                  </a:lnTo>
                  <a:lnTo>
                    <a:pt x="61" y="454"/>
                  </a:lnTo>
                  <a:lnTo>
                    <a:pt x="55" y="458"/>
                  </a:lnTo>
                  <a:lnTo>
                    <a:pt x="51" y="460"/>
                  </a:lnTo>
                  <a:lnTo>
                    <a:pt x="49" y="460"/>
                  </a:lnTo>
                  <a:lnTo>
                    <a:pt x="49" y="460"/>
                  </a:lnTo>
                  <a:lnTo>
                    <a:pt x="43" y="456"/>
                  </a:lnTo>
                  <a:lnTo>
                    <a:pt x="39" y="456"/>
                  </a:lnTo>
                  <a:lnTo>
                    <a:pt x="39" y="456"/>
                  </a:lnTo>
                  <a:lnTo>
                    <a:pt x="39" y="456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24" y="456"/>
                  </a:lnTo>
                  <a:lnTo>
                    <a:pt x="20" y="460"/>
                  </a:lnTo>
                  <a:lnTo>
                    <a:pt x="20" y="462"/>
                  </a:lnTo>
                  <a:lnTo>
                    <a:pt x="20" y="472"/>
                  </a:lnTo>
                  <a:lnTo>
                    <a:pt x="20" y="472"/>
                  </a:lnTo>
                  <a:lnTo>
                    <a:pt x="20" y="474"/>
                  </a:lnTo>
                  <a:lnTo>
                    <a:pt x="20" y="476"/>
                  </a:lnTo>
                  <a:lnTo>
                    <a:pt x="24" y="476"/>
                  </a:lnTo>
                  <a:lnTo>
                    <a:pt x="24" y="480"/>
                  </a:lnTo>
                  <a:lnTo>
                    <a:pt x="24" y="480"/>
                  </a:lnTo>
                  <a:lnTo>
                    <a:pt x="26" y="480"/>
                  </a:lnTo>
                  <a:lnTo>
                    <a:pt x="24" y="482"/>
                  </a:lnTo>
                  <a:lnTo>
                    <a:pt x="22" y="482"/>
                  </a:lnTo>
                  <a:lnTo>
                    <a:pt x="18" y="486"/>
                  </a:lnTo>
                  <a:lnTo>
                    <a:pt x="16" y="490"/>
                  </a:lnTo>
                  <a:lnTo>
                    <a:pt x="16" y="490"/>
                  </a:lnTo>
                  <a:lnTo>
                    <a:pt x="10" y="502"/>
                  </a:lnTo>
                  <a:lnTo>
                    <a:pt x="10" y="502"/>
                  </a:lnTo>
                  <a:lnTo>
                    <a:pt x="10" y="502"/>
                  </a:lnTo>
                  <a:lnTo>
                    <a:pt x="14" y="504"/>
                  </a:lnTo>
                  <a:lnTo>
                    <a:pt x="22" y="508"/>
                  </a:lnTo>
                  <a:lnTo>
                    <a:pt x="34" y="514"/>
                  </a:lnTo>
                  <a:lnTo>
                    <a:pt x="34" y="514"/>
                  </a:lnTo>
                  <a:lnTo>
                    <a:pt x="38" y="514"/>
                  </a:lnTo>
                  <a:lnTo>
                    <a:pt x="34" y="514"/>
                  </a:lnTo>
                  <a:lnTo>
                    <a:pt x="34" y="516"/>
                  </a:lnTo>
                  <a:lnTo>
                    <a:pt x="34" y="516"/>
                  </a:lnTo>
                  <a:lnTo>
                    <a:pt x="30" y="518"/>
                  </a:lnTo>
                  <a:lnTo>
                    <a:pt x="28" y="520"/>
                  </a:lnTo>
                  <a:lnTo>
                    <a:pt x="20" y="520"/>
                  </a:lnTo>
                  <a:lnTo>
                    <a:pt x="20" y="520"/>
                  </a:lnTo>
                  <a:lnTo>
                    <a:pt x="16" y="520"/>
                  </a:lnTo>
                  <a:lnTo>
                    <a:pt x="14" y="522"/>
                  </a:lnTo>
                  <a:lnTo>
                    <a:pt x="10" y="526"/>
                  </a:lnTo>
                  <a:lnTo>
                    <a:pt x="10" y="526"/>
                  </a:lnTo>
                  <a:lnTo>
                    <a:pt x="6" y="530"/>
                  </a:lnTo>
                  <a:lnTo>
                    <a:pt x="2" y="538"/>
                  </a:lnTo>
                  <a:lnTo>
                    <a:pt x="2" y="538"/>
                  </a:lnTo>
                  <a:lnTo>
                    <a:pt x="0" y="540"/>
                  </a:lnTo>
                  <a:lnTo>
                    <a:pt x="2" y="542"/>
                  </a:lnTo>
                  <a:lnTo>
                    <a:pt x="2" y="546"/>
                  </a:lnTo>
                  <a:lnTo>
                    <a:pt x="2" y="546"/>
                  </a:lnTo>
                  <a:lnTo>
                    <a:pt x="0" y="550"/>
                  </a:lnTo>
                  <a:lnTo>
                    <a:pt x="0" y="550"/>
                  </a:lnTo>
                  <a:lnTo>
                    <a:pt x="4" y="550"/>
                  </a:lnTo>
                  <a:lnTo>
                    <a:pt x="8" y="554"/>
                  </a:lnTo>
                  <a:lnTo>
                    <a:pt x="8" y="554"/>
                  </a:lnTo>
                  <a:lnTo>
                    <a:pt x="10" y="558"/>
                  </a:lnTo>
                  <a:lnTo>
                    <a:pt x="10" y="562"/>
                  </a:lnTo>
                  <a:lnTo>
                    <a:pt x="14" y="566"/>
                  </a:lnTo>
                  <a:lnTo>
                    <a:pt x="16" y="568"/>
                  </a:lnTo>
                  <a:lnTo>
                    <a:pt x="16" y="568"/>
                  </a:lnTo>
                  <a:lnTo>
                    <a:pt x="28" y="574"/>
                  </a:lnTo>
                  <a:lnTo>
                    <a:pt x="28" y="574"/>
                  </a:lnTo>
                  <a:lnTo>
                    <a:pt x="34" y="578"/>
                  </a:lnTo>
                  <a:lnTo>
                    <a:pt x="39" y="582"/>
                  </a:lnTo>
                  <a:lnTo>
                    <a:pt x="45" y="582"/>
                  </a:lnTo>
                  <a:lnTo>
                    <a:pt x="45" y="582"/>
                  </a:lnTo>
                  <a:lnTo>
                    <a:pt x="61" y="582"/>
                  </a:lnTo>
                  <a:lnTo>
                    <a:pt x="65" y="578"/>
                  </a:lnTo>
                  <a:lnTo>
                    <a:pt x="69" y="582"/>
                  </a:lnTo>
                  <a:lnTo>
                    <a:pt x="69" y="582"/>
                  </a:lnTo>
                  <a:lnTo>
                    <a:pt x="87" y="586"/>
                  </a:lnTo>
                  <a:lnTo>
                    <a:pt x="95" y="586"/>
                  </a:lnTo>
                  <a:lnTo>
                    <a:pt x="101" y="586"/>
                  </a:lnTo>
                  <a:lnTo>
                    <a:pt x="101" y="586"/>
                  </a:lnTo>
                  <a:lnTo>
                    <a:pt x="111" y="584"/>
                  </a:lnTo>
                  <a:lnTo>
                    <a:pt x="117" y="584"/>
                  </a:lnTo>
                  <a:lnTo>
                    <a:pt x="121" y="582"/>
                  </a:lnTo>
                  <a:lnTo>
                    <a:pt x="121" y="582"/>
                  </a:lnTo>
                  <a:lnTo>
                    <a:pt x="133" y="574"/>
                  </a:lnTo>
                  <a:lnTo>
                    <a:pt x="141" y="570"/>
                  </a:lnTo>
                  <a:lnTo>
                    <a:pt x="145" y="568"/>
                  </a:lnTo>
                  <a:lnTo>
                    <a:pt x="145" y="568"/>
                  </a:lnTo>
                  <a:lnTo>
                    <a:pt x="163" y="564"/>
                  </a:lnTo>
                  <a:lnTo>
                    <a:pt x="173" y="558"/>
                  </a:lnTo>
                  <a:lnTo>
                    <a:pt x="181" y="554"/>
                  </a:lnTo>
                  <a:lnTo>
                    <a:pt x="181" y="554"/>
                  </a:lnTo>
                  <a:lnTo>
                    <a:pt x="185" y="550"/>
                  </a:lnTo>
                  <a:lnTo>
                    <a:pt x="191" y="548"/>
                  </a:lnTo>
                  <a:lnTo>
                    <a:pt x="199" y="546"/>
                  </a:lnTo>
                  <a:lnTo>
                    <a:pt x="205" y="542"/>
                  </a:lnTo>
                  <a:lnTo>
                    <a:pt x="205" y="542"/>
                  </a:lnTo>
                  <a:lnTo>
                    <a:pt x="211" y="538"/>
                  </a:lnTo>
                  <a:lnTo>
                    <a:pt x="219" y="528"/>
                  </a:lnTo>
                  <a:lnTo>
                    <a:pt x="223" y="520"/>
                  </a:lnTo>
                  <a:lnTo>
                    <a:pt x="231" y="512"/>
                  </a:lnTo>
                  <a:lnTo>
                    <a:pt x="231" y="512"/>
                  </a:lnTo>
                  <a:lnTo>
                    <a:pt x="247" y="498"/>
                  </a:lnTo>
                  <a:lnTo>
                    <a:pt x="255" y="494"/>
                  </a:lnTo>
                  <a:lnTo>
                    <a:pt x="260" y="490"/>
                  </a:lnTo>
                  <a:lnTo>
                    <a:pt x="260" y="490"/>
                  </a:lnTo>
                  <a:lnTo>
                    <a:pt x="268" y="492"/>
                  </a:lnTo>
                  <a:lnTo>
                    <a:pt x="276" y="496"/>
                  </a:lnTo>
                  <a:lnTo>
                    <a:pt x="284" y="500"/>
                  </a:lnTo>
                  <a:lnTo>
                    <a:pt x="294" y="502"/>
                  </a:lnTo>
                  <a:lnTo>
                    <a:pt x="294" y="502"/>
                  </a:lnTo>
                  <a:lnTo>
                    <a:pt x="300" y="502"/>
                  </a:lnTo>
                  <a:lnTo>
                    <a:pt x="306" y="502"/>
                  </a:lnTo>
                  <a:lnTo>
                    <a:pt x="312" y="500"/>
                  </a:lnTo>
                  <a:lnTo>
                    <a:pt x="318" y="494"/>
                  </a:lnTo>
                  <a:lnTo>
                    <a:pt x="318" y="494"/>
                  </a:lnTo>
                  <a:lnTo>
                    <a:pt x="320" y="492"/>
                  </a:lnTo>
                  <a:lnTo>
                    <a:pt x="322" y="490"/>
                  </a:lnTo>
                  <a:lnTo>
                    <a:pt x="324" y="490"/>
                  </a:lnTo>
                  <a:lnTo>
                    <a:pt x="328" y="490"/>
                  </a:lnTo>
                  <a:lnTo>
                    <a:pt x="338" y="490"/>
                  </a:lnTo>
                  <a:lnTo>
                    <a:pt x="344" y="494"/>
                  </a:lnTo>
                  <a:lnTo>
                    <a:pt x="344" y="494"/>
                  </a:lnTo>
                  <a:lnTo>
                    <a:pt x="352" y="498"/>
                  </a:lnTo>
                  <a:lnTo>
                    <a:pt x="366" y="502"/>
                  </a:lnTo>
                  <a:lnTo>
                    <a:pt x="376" y="502"/>
                  </a:lnTo>
                  <a:lnTo>
                    <a:pt x="388" y="502"/>
                  </a:lnTo>
                  <a:lnTo>
                    <a:pt x="388" y="502"/>
                  </a:lnTo>
                  <a:lnTo>
                    <a:pt x="394" y="500"/>
                  </a:lnTo>
                  <a:lnTo>
                    <a:pt x="398" y="496"/>
                  </a:lnTo>
                  <a:lnTo>
                    <a:pt x="410" y="486"/>
                  </a:lnTo>
                  <a:lnTo>
                    <a:pt x="410" y="486"/>
                  </a:lnTo>
                  <a:lnTo>
                    <a:pt x="414" y="480"/>
                  </a:lnTo>
                  <a:lnTo>
                    <a:pt x="422" y="476"/>
                  </a:lnTo>
                  <a:lnTo>
                    <a:pt x="430" y="470"/>
                  </a:lnTo>
                  <a:lnTo>
                    <a:pt x="436" y="462"/>
                  </a:lnTo>
                  <a:lnTo>
                    <a:pt x="436" y="462"/>
                  </a:lnTo>
                  <a:lnTo>
                    <a:pt x="438" y="456"/>
                  </a:lnTo>
                  <a:lnTo>
                    <a:pt x="440" y="452"/>
                  </a:lnTo>
                  <a:lnTo>
                    <a:pt x="440" y="446"/>
                  </a:lnTo>
                  <a:lnTo>
                    <a:pt x="440" y="444"/>
                  </a:lnTo>
                  <a:lnTo>
                    <a:pt x="438" y="444"/>
                  </a:lnTo>
                  <a:lnTo>
                    <a:pt x="438" y="444"/>
                  </a:lnTo>
                  <a:lnTo>
                    <a:pt x="438" y="444"/>
                  </a:lnTo>
                  <a:lnTo>
                    <a:pt x="434" y="444"/>
                  </a:lnTo>
                  <a:lnTo>
                    <a:pt x="432" y="446"/>
                  </a:lnTo>
                  <a:lnTo>
                    <a:pt x="430" y="446"/>
                  </a:lnTo>
                  <a:lnTo>
                    <a:pt x="430" y="440"/>
                  </a:lnTo>
                  <a:lnTo>
                    <a:pt x="430" y="440"/>
                  </a:lnTo>
                  <a:lnTo>
                    <a:pt x="434" y="430"/>
                  </a:lnTo>
                  <a:lnTo>
                    <a:pt x="434" y="430"/>
                  </a:lnTo>
                  <a:lnTo>
                    <a:pt x="440" y="392"/>
                  </a:lnTo>
                  <a:lnTo>
                    <a:pt x="440" y="392"/>
                  </a:lnTo>
                  <a:lnTo>
                    <a:pt x="442" y="376"/>
                  </a:lnTo>
                  <a:lnTo>
                    <a:pt x="444" y="362"/>
                  </a:lnTo>
                  <a:lnTo>
                    <a:pt x="448" y="355"/>
                  </a:lnTo>
                  <a:lnTo>
                    <a:pt x="450" y="349"/>
                  </a:lnTo>
                  <a:lnTo>
                    <a:pt x="450" y="349"/>
                  </a:lnTo>
                  <a:lnTo>
                    <a:pt x="454" y="345"/>
                  </a:lnTo>
                  <a:lnTo>
                    <a:pt x="458" y="337"/>
                  </a:lnTo>
                  <a:lnTo>
                    <a:pt x="460" y="331"/>
                  </a:lnTo>
                  <a:lnTo>
                    <a:pt x="460" y="325"/>
                  </a:lnTo>
                  <a:lnTo>
                    <a:pt x="460" y="323"/>
                  </a:lnTo>
                  <a:lnTo>
                    <a:pt x="460" y="323"/>
                  </a:lnTo>
                  <a:lnTo>
                    <a:pt x="456" y="319"/>
                  </a:lnTo>
                  <a:lnTo>
                    <a:pt x="454" y="319"/>
                  </a:lnTo>
                  <a:lnTo>
                    <a:pt x="452" y="317"/>
                  </a:lnTo>
                  <a:lnTo>
                    <a:pt x="452" y="315"/>
                  </a:lnTo>
                  <a:lnTo>
                    <a:pt x="452" y="315"/>
                  </a:lnTo>
                  <a:lnTo>
                    <a:pt x="452" y="311"/>
                  </a:lnTo>
                  <a:lnTo>
                    <a:pt x="438" y="303"/>
                  </a:lnTo>
                  <a:lnTo>
                    <a:pt x="438" y="303"/>
                  </a:lnTo>
                  <a:lnTo>
                    <a:pt x="434" y="303"/>
                  </a:lnTo>
                  <a:lnTo>
                    <a:pt x="434" y="303"/>
                  </a:lnTo>
                  <a:lnTo>
                    <a:pt x="432" y="303"/>
                  </a:lnTo>
                  <a:lnTo>
                    <a:pt x="430" y="303"/>
                  </a:lnTo>
                  <a:lnTo>
                    <a:pt x="426" y="303"/>
                  </a:lnTo>
                  <a:lnTo>
                    <a:pt x="426" y="301"/>
                  </a:lnTo>
                  <a:lnTo>
                    <a:pt x="426" y="301"/>
                  </a:lnTo>
                  <a:lnTo>
                    <a:pt x="428" y="295"/>
                  </a:lnTo>
                  <a:lnTo>
                    <a:pt x="428" y="295"/>
                  </a:lnTo>
                  <a:lnTo>
                    <a:pt x="432" y="285"/>
                  </a:lnTo>
                  <a:lnTo>
                    <a:pt x="434" y="277"/>
                  </a:lnTo>
                  <a:lnTo>
                    <a:pt x="434" y="277"/>
                  </a:lnTo>
                  <a:lnTo>
                    <a:pt x="442" y="269"/>
                  </a:lnTo>
                  <a:lnTo>
                    <a:pt x="450" y="261"/>
                  </a:lnTo>
                  <a:lnTo>
                    <a:pt x="456" y="255"/>
                  </a:lnTo>
                  <a:lnTo>
                    <a:pt x="456" y="255"/>
                  </a:lnTo>
                  <a:lnTo>
                    <a:pt x="458" y="253"/>
                  </a:lnTo>
                  <a:lnTo>
                    <a:pt x="462" y="249"/>
                  </a:lnTo>
                  <a:lnTo>
                    <a:pt x="474" y="243"/>
                  </a:lnTo>
                  <a:lnTo>
                    <a:pt x="474" y="243"/>
                  </a:lnTo>
                  <a:lnTo>
                    <a:pt x="476" y="241"/>
                  </a:lnTo>
                  <a:lnTo>
                    <a:pt x="470" y="219"/>
                  </a:lnTo>
                  <a:lnTo>
                    <a:pt x="456" y="209"/>
                  </a:lnTo>
                  <a:lnTo>
                    <a:pt x="456" y="209"/>
                  </a:lnTo>
                  <a:lnTo>
                    <a:pt x="456" y="209"/>
                  </a:lnTo>
                  <a:lnTo>
                    <a:pt x="456" y="209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95" name="Freeform 54"/>
            <p:cNvSpPr>
              <a:spLocks/>
            </p:cNvSpPr>
            <p:nvPr/>
          </p:nvSpPr>
          <p:spPr bwMode="auto">
            <a:xfrm>
              <a:off x="4290" y="2970"/>
              <a:ext cx="163" cy="117"/>
            </a:xfrm>
            <a:custGeom>
              <a:avLst/>
              <a:gdLst>
                <a:gd name="T0" fmla="*/ 155 w 163"/>
                <a:gd name="T1" fmla="*/ 0 h 117"/>
                <a:gd name="T2" fmla="*/ 151 w 163"/>
                <a:gd name="T3" fmla="*/ 2 h 117"/>
                <a:gd name="T4" fmla="*/ 139 w 163"/>
                <a:gd name="T5" fmla="*/ 4 h 117"/>
                <a:gd name="T6" fmla="*/ 137 w 163"/>
                <a:gd name="T7" fmla="*/ 4 h 117"/>
                <a:gd name="T8" fmla="*/ 131 w 163"/>
                <a:gd name="T9" fmla="*/ 12 h 117"/>
                <a:gd name="T10" fmla="*/ 129 w 163"/>
                <a:gd name="T11" fmla="*/ 14 h 117"/>
                <a:gd name="T12" fmla="*/ 125 w 163"/>
                <a:gd name="T13" fmla="*/ 18 h 117"/>
                <a:gd name="T14" fmla="*/ 117 w 163"/>
                <a:gd name="T15" fmla="*/ 18 h 117"/>
                <a:gd name="T16" fmla="*/ 105 w 163"/>
                <a:gd name="T17" fmla="*/ 18 h 117"/>
                <a:gd name="T18" fmla="*/ 101 w 163"/>
                <a:gd name="T19" fmla="*/ 16 h 117"/>
                <a:gd name="T20" fmla="*/ 87 w 163"/>
                <a:gd name="T21" fmla="*/ 12 h 117"/>
                <a:gd name="T22" fmla="*/ 75 w 163"/>
                <a:gd name="T23" fmla="*/ 4 h 117"/>
                <a:gd name="T24" fmla="*/ 65 w 163"/>
                <a:gd name="T25" fmla="*/ 2 h 117"/>
                <a:gd name="T26" fmla="*/ 65 w 163"/>
                <a:gd name="T27" fmla="*/ 2 h 117"/>
                <a:gd name="T28" fmla="*/ 61 w 163"/>
                <a:gd name="T29" fmla="*/ 6 h 117"/>
                <a:gd name="T30" fmla="*/ 55 w 163"/>
                <a:gd name="T31" fmla="*/ 12 h 117"/>
                <a:gd name="T32" fmla="*/ 47 w 163"/>
                <a:gd name="T33" fmla="*/ 12 h 117"/>
                <a:gd name="T34" fmla="*/ 39 w 163"/>
                <a:gd name="T35" fmla="*/ 6 h 117"/>
                <a:gd name="T36" fmla="*/ 37 w 163"/>
                <a:gd name="T37" fmla="*/ 10 h 117"/>
                <a:gd name="T38" fmla="*/ 37 w 163"/>
                <a:gd name="T39" fmla="*/ 14 h 117"/>
                <a:gd name="T40" fmla="*/ 39 w 163"/>
                <a:gd name="T41" fmla="*/ 20 h 117"/>
                <a:gd name="T42" fmla="*/ 33 w 163"/>
                <a:gd name="T43" fmla="*/ 22 h 117"/>
                <a:gd name="T44" fmla="*/ 25 w 163"/>
                <a:gd name="T45" fmla="*/ 26 h 117"/>
                <a:gd name="T46" fmla="*/ 20 w 163"/>
                <a:gd name="T47" fmla="*/ 34 h 117"/>
                <a:gd name="T48" fmla="*/ 12 w 163"/>
                <a:gd name="T49" fmla="*/ 40 h 117"/>
                <a:gd name="T50" fmla="*/ 12 w 163"/>
                <a:gd name="T51" fmla="*/ 48 h 117"/>
                <a:gd name="T52" fmla="*/ 12 w 163"/>
                <a:gd name="T53" fmla="*/ 50 h 117"/>
                <a:gd name="T54" fmla="*/ 0 w 163"/>
                <a:gd name="T55" fmla="*/ 65 h 117"/>
                <a:gd name="T56" fmla="*/ 2 w 163"/>
                <a:gd name="T57" fmla="*/ 67 h 117"/>
                <a:gd name="T58" fmla="*/ 12 w 163"/>
                <a:gd name="T59" fmla="*/ 81 h 117"/>
                <a:gd name="T60" fmla="*/ 16 w 163"/>
                <a:gd name="T61" fmla="*/ 85 h 117"/>
                <a:gd name="T62" fmla="*/ 22 w 163"/>
                <a:gd name="T63" fmla="*/ 91 h 117"/>
                <a:gd name="T64" fmla="*/ 23 w 163"/>
                <a:gd name="T65" fmla="*/ 101 h 117"/>
                <a:gd name="T66" fmla="*/ 25 w 163"/>
                <a:gd name="T67" fmla="*/ 105 h 117"/>
                <a:gd name="T68" fmla="*/ 35 w 163"/>
                <a:gd name="T69" fmla="*/ 111 h 117"/>
                <a:gd name="T70" fmla="*/ 41 w 163"/>
                <a:gd name="T71" fmla="*/ 115 h 117"/>
                <a:gd name="T72" fmla="*/ 47 w 163"/>
                <a:gd name="T73" fmla="*/ 117 h 117"/>
                <a:gd name="T74" fmla="*/ 57 w 163"/>
                <a:gd name="T75" fmla="*/ 111 h 117"/>
                <a:gd name="T76" fmla="*/ 91 w 163"/>
                <a:gd name="T77" fmla="*/ 95 h 117"/>
                <a:gd name="T78" fmla="*/ 97 w 163"/>
                <a:gd name="T79" fmla="*/ 91 h 117"/>
                <a:gd name="T80" fmla="*/ 101 w 163"/>
                <a:gd name="T81" fmla="*/ 87 h 117"/>
                <a:gd name="T82" fmla="*/ 101 w 163"/>
                <a:gd name="T83" fmla="*/ 83 h 117"/>
                <a:gd name="T84" fmla="*/ 103 w 163"/>
                <a:gd name="T85" fmla="*/ 69 h 117"/>
                <a:gd name="T86" fmla="*/ 111 w 163"/>
                <a:gd name="T87" fmla="*/ 60 h 117"/>
                <a:gd name="T88" fmla="*/ 115 w 163"/>
                <a:gd name="T89" fmla="*/ 58 h 117"/>
                <a:gd name="T90" fmla="*/ 123 w 163"/>
                <a:gd name="T91" fmla="*/ 52 h 117"/>
                <a:gd name="T92" fmla="*/ 125 w 163"/>
                <a:gd name="T93" fmla="*/ 48 h 117"/>
                <a:gd name="T94" fmla="*/ 143 w 163"/>
                <a:gd name="T95" fmla="*/ 24 h 117"/>
                <a:gd name="T96" fmla="*/ 147 w 163"/>
                <a:gd name="T97" fmla="*/ 20 h 117"/>
                <a:gd name="T98" fmla="*/ 159 w 163"/>
                <a:gd name="T99" fmla="*/ 20 h 117"/>
                <a:gd name="T100" fmla="*/ 163 w 163"/>
                <a:gd name="T101" fmla="*/ 4 h 117"/>
                <a:gd name="T102" fmla="*/ 159 w 163"/>
                <a:gd name="T103" fmla="*/ 0 h 117"/>
                <a:gd name="T104" fmla="*/ 155 w 163"/>
                <a:gd name="T105" fmla="*/ 0 h 117"/>
                <a:gd name="T106" fmla="*/ 155 w 163"/>
                <a:gd name="T107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63" h="117">
                  <a:moveTo>
                    <a:pt x="155" y="0"/>
                  </a:moveTo>
                  <a:lnTo>
                    <a:pt x="155" y="0"/>
                  </a:lnTo>
                  <a:lnTo>
                    <a:pt x="155" y="0"/>
                  </a:lnTo>
                  <a:lnTo>
                    <a:pt x="151" y="2"/>
                  </a:lnTo>
                  <a:lnTo>
                    <a:pt x="147" y="2"/>
                  </a:lnTo>
                  <a:lnTo>
                    <a:pt x="139" y="4"/>
                  </a:lnTo>
                  <a:lnTo>
                    <a:pt x="139" y="4"/>
                  </a:lnTo>
                  <a:lnTo>
                    <a:pt x="137" y="4"/>
                  </a:lnTo>
                  <a:lnTo>
                    <a:pt x="133" y="6"/>
                  </a:lnTo>
                  <a:lnTo>
                    <a:pt x="131" y="12"/>
                  </a:lnTo>
                  <a:lnTo>
                    <a:pt x="131" y="12"/>
                  </a:lnTo>
                  <a:lnTo>
                    <a:pt x="129" y="14"/>
                  </a:lnTo>
                  <a:lnTo>
                    <a:pt x="127" y="16"/>
                  </a:lnTo>
                  <a:lnTo>
                    <a:pt x="125" y="18"/>
                  </a:lnTo>
                  <a:lnTo>
                    <a:pt x="117" y="18"/>
                  </a:lnTo>
                  <a:lnTo>
                    <a:pt x="117" y="18"/>
                  </a:lnTo>
                  <a:lnTo>
                    <a:pt x="111" y="18"/>
                  </a:lnTo>
                  <a:lnTo>
                    <a:pt x="105" y="18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97" y="14"/>
                  </a:lnTo>
                  <a:lnTo>
                    <a:pt x="87" y="12"/>
                  </a:lnTo>
                  <a:lnTo>
                    <a:pt x="79" y="6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65" y="2"/>
                  </a:lnTo>
                  <a:lnTo>
                    <a:pt x="65" y="2"/>
                  </a:lnTo>
                  <a:lnTo>
                    <a:pt x="65" y="2"/>
                  </a:lnTo>
                  <a:lnTo>
                    <a:pt x="65" y="2"/>
                  </a:lnTo>
                  <a:lnTo>
                    <a:pt x="61" y="6"/>
                  </a:lnTo>
                  <a:lnTo>
                    <a:pt x="59" y="10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47" y="12"/>
                  </a:lnTo>
                  <a:lnTo>
                    <a:pt x="43" y="6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37" y="10"/>
                  </a:lnTo>
                  <a:lnTo>
                    <a:pt x="37" y="12"/>
                  </a:lnTo>
                  <a:lnTo>
                    <a:pt x="37" y="14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9" y="22"/>
                  </a:lnTo>
                  <a:lnTo>
                    <a:pt x="33" y="22"/>
                  </a:lnTo>
                  <a:lnTo>
                    <a:pt x="33" y="22"/>
                  </a:lnTo>
                  <a:lnTo>
                    <a:pt x="25" y="26"/>
                  </a:lnTo>
                  <a:lnTo>
                    <a:pt x="22" y="28"/>
                  </a:lnTo>
                  <a:lnTo>
                    <a:pt x="20" y="3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12" y="48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0" y="65"/>
                  </a:lnTo>
                  <a:lnTo>
                    <a:pt x="0" y="65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8" y="75"/>
                  </a:lnTo>
                  <a:lnTo>
                    <a:pt x="12" y="81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20" y="87"/>
                  </a:lnTo>
                  <a:lnTo>
                    <a:pt x="22" y="91"/>
                  </a:lnTo>
                  <a:lnTo>
                    <a:pt x="23" y="95"/>
                  </a:lnTo>
                  <a:lnTo>
                    <a:pt x="23" y="101"/>
                  </a:lnTo>
                  <a:lnTo>
                    <a:pt x="23" y="101"/>
                  </a:lnTo>
                  <a:lnTo>
                    <a:pt x="25" y="105"/>
                  </a:lnTo>
                  <a:lnTo>
                    <a:pt x="31" y="109"/>
                  </a:lnTo>
                  <a:lnTo>
                    <a:pt x="35" y="111"/>
                  </a:lnTo>
                  <a:lnTo>
                    <a:pt x="41" y="115"/>
                  </a:lnTo>
                  <a:lnTo>
                    <a:pt x="41" y="115"/>
                  </a:lnTo>
                  <a:lnTo>
                    <a:pt x="45" y="117"/>
                  </a:lnTo>
                  <a:lnTo>
                    <a:pt x="47" y="117"/>
                  </a:lnTo>
                  <a:lnTo>
                    <a:pt x="57" y="111"/>
                  </a:lnTo>
                  <a:lnTo>
                    <a:pt x="57" y="111"/>
                  </a:lnTo>
                  <a:lnTo>
                    <a:pt x="75" y="105"/>
                  </a:lnTo>
                  <a:lnTo>
                    <a:pt x="91" y="95"/>
                  </a:lnTo>
                  <a:lnTo>
                    <a:pt x="91" y="95"/>
                  </a:lnTo>
                  <a:lnTo>
                    <a:pt x="97" y="91"/>
                  </a:lnTo>
                  <a:lnTo>
                    <a:pt x="101" y="91"/>
                  </a:lnTo>
                  <a:lnTo>
                    <a:pt x="101" y="87"/>
                  </a:lnTo>
                  <a:lnTo>
                    <a:pt x="101" y="83"/>
                  </a:lnTo>
                  <a:lnTo>
                    <a:pt x="101" y="83"/>
                  </a:lnTo>
                  <a:lnTo>
                    <a:pt x="101" y="79"/>
                  </a:lnTo>
                  <a:lnTo>
                    <a:pt x="103" y="69"/>
                  </a:lnTo>
                  <a:lnTo>
                    <a:pt x="107" y="64"/>
                  </a:lnTo>
                  <a:lnTo>
                    <a:pt x="111" y="60"/>
                  </a:lnTo>
                  <a:lnTo>
                    <a:pt x="111" y="60"/>
                  </a:lnTo>
                  <a:lnTo>
                    <a:pt x="115" y="58"/>
                  </a:lnTo>
                  <a:lnTo>
                    <a:pt x="117" y="52"/>
                  </a:lnTo>
                  <a:lnTo>
                    <a:pt x="123" y="52"/>
                  </a:lnTo>
                  <a:lnTo>
                    <a:pt x="125" y="48"/>
                  </a:lnTo>
                  <a:lnTo>
                    <a:pt x="125" y="48"/>
                  </a:lnTo>
                  <a:lnTo>
                    <a:pt x="133" y="34"/>
                  </a:lnTo>
                  <a:lnTo>
                    <a:pt x="143" y="24"/>
                  </a:lnTo>
                  <a:lnTo>
                    <a:pt x="147" y="20"/>
                  </a:lnTo>
                  <a:lnTo>
                    <a:pt x="147" y="20"/>
                  </a:lnTo>
                  <a:lnTo>
                    <a:pt x="153" y="18"/>
                  </a:lnTo>
                  <a:lnTo>
                    <a:pt x="159" y="20"/>
                  </a:lnTo>
                  <a:lnTo>
                    <a:pt x="163" y="4"/>
                  </a:lnTo>
                  <a:lnTo>
                    <a:pt x="163" y="4"/>
                  </a:lnTo>
                  <a:lnTo>
                    <a:pt x="161" y="2"/>
                  </a:lnTo>
                  <a:lnTo>
                    <a:pt x="159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96" name="Freeform 55"/>
            <p:cNvSpPr>
              <a:spLocks/>
            </p:cNvSpPr>
            <p:nvPr/>
          </p:nvSpPr>
          <p:spPr bwMode="auto">
            <a:xfrm>
              <a:off x="4411" y="2904"/>
              <a:ext cx="217" cy="476"/>
            </a:xfrm>
            <a:custGeom>
              <a:avLst/>
              <a:gdLst>
                <a:gd name="T0" fmla="*/ 189 w 217"/>
                <a:gd name="T1" fmla="*/ 34 h 476"/>
                <a:gd name="T2" fmla="*/ 177 w 217"/>
                <a:gd name="T3" fmla="*/ 14 h 476"/>
                <a:gd name="T4" fmla="*/ 165 w 217"/>
                <a:gd name="T5" fmla="*/ 8 h 476"/>
                <a:gd name="T6" fmla="*/ 155 w 217"/>
                <a:gd name="T7" fmla="*/ 2 h 476"/>
                <a:gd name="T8" fmla="*/ 147 w 217"/>
                <a:gd name="T9" fmla="*/ 24 h 476"/>
                <a:gd name="T10" fmla="*/ 135 w 217"/>
                <a:gd name="T11" fmla="*/ 40 h 476"/>
                <a:gd name="T12" fmla="*/ 145 w 217"/>
                <a:gd name="T13" fmla="*/ 44 h 476"/>
                <a:gd name="T14" fmla="*/ 147 w 217"/>
                <a:gd name="T15" fmla="*/ 56 h 476"/>
                <a:gd name="T16" fmla="*/ 169 w 217"/>
                <a:gd name="T17" fmla="*/ 48 h 476"/>
                <a:gd name="T18" fmla="*/ 177 w 217"/>
                <a:gd name="T19" fmla="*/ 60 h 476"/>
                <a:gd name="T20" fmla="*/ 163 w 217"/>
                <a:gd name="T21" fmla="*/ 86 h 476"/>
                <a:gd name="T22" fmla="*/ 147 w 217"/>
                <a:gd name="T23" fmla="*/ 88 h 476"/>
                <a:gd name="T24" fmla="*/ 151 w 217"/>
                <a:gd name="T25" fmla="*/ 110 h 476"/>
                <a:gd name="T26" fmla="*/ 137 w 217"/>
                <a:gd name="T27" fmla="*/ 128 h 476"/>
                <a:gd name="T28" fmla="*/ 123 w 217"/>
                <a:gd name="T29" fmla="*/ 135 h 476"/>
                <a:gd name="T30" fmla="*/ 106 w 217"/>
                <a:gd name="T31" fmla="*/ 135 h 476"/>
                <a:gd name="T32" fmla="*/ 96 w 217"/>
                <a:gd name="T33" fmla="*/ 131 h 476"/>
                <a:gd name="T34" fmla="*/ 84 w 217"/>
                <a:gd name="T35" fmla="*/ 137 h 476"/>
                <a:gd name="T36" fmla="*/ 74 w 217"/>
                <a:gd name="T37" fmla="*/ 151 h 476"/>
                <a:gd name="T38" fmla="*/ 76 w 217"/>
                <a:gd name="T39" fmla="*/ 169 h 476"/>
                <a:gd name="T40" fmla="*/ 60 w 217"/>
                <a:gd name="T41" fmla="*/ 183 h 476"/>
                <a:gd name="T42" fmla="*/ 68 w 217"/>
                <a:gd name="T43" fmla="*/ 205 h 476"/>
                <a:gd name="T44" fmla="*/ 70 w 217"/>
                <a:gd name="T45" fmla="*/ 251 h 476"/>
                <a:gd name="T46" fmla="*/ 74 w 217"/>
                <a:gd name="T47" fmla="*/ 283 h 476"/>
                <a:gd name="T48" fmla="*/ 64 w 217"/>
                <a:gd name="T49" fmla="*/ 299 h 476"/>
                <a:gd name="T50" fmla="*/ 60 w 217"/>
                <a:gd name="T51" fmla="*/ 327 h 476"/>
                <a:gd name="T52" fmla="*/ 42 w 217"/>
                <a:gd name="T53" fmla="*/ 315 h 476"/>
                <a:gd name="T54" fmla="*/ 34 w 217"/>
                <a:gd name="T55" fmla="*/ 305 h 476"/>
                <a:gd name="T56" fmla="*/ 28 w 217"/>
                <a:gd name="T57" fmla="*/ 295 h 476"/>
                <a:gd name="T58" fmla="*/ 22 w 217"/>
                <a:gd name="T59" fmla="*/ 291 h 476"/>
                <a:gd name="T60" fmla="*/ 16 w 217"/>
                <a:gd name="T61" fmla="*/ 311 h 476"/>
                <a:gd name="T62" fmla="*/ 0 w 217"/>
                <a:gd name="T63" fmla="*/ 331 h 476"/>
                <a:gd name="T64" fmla="*/ 26 w 217"/>
                <a:gd name="T65" fmla="*/ 359 h 476"/>
                <a:gd name="T66" fmla="*/ 38 w 217"/>
                <a:gd name="T67" fmla="*/ 386 h 476"/>
                <a:gd name="T68" fmla="*/ 54 w 217"/>
                <a:gd name="T69" fmla="*/ 418 h 476"/>
                <a:gd name="T70" fmla="*/ 48 w 217"/>
                <a:gd name="T71" fmla="*/ 442 h 476"/>
                <a:gd name="T72" fmla="*/ 34 w 217"/>
                <a:gd name="T73" fmla="*/ 454 h 476"/>
                <a:gd name="T74" fmla="*/ 52 w 217"/>
                <a:gd name="T75" fmla="*/ 476 h 476"/>
                <a:gd name="T76" fmla="*/ 64 w 217"/>
                <a:gd name="T77" fmla="*/ 430 h 476"/>
                <a:gd name="T78" fmla="*/ 72 w 217"/>
                <a:gd name="T79" fmla="*/ 402 h 476"/>
                <a:gd name="T80" fmla="*/ 78 w 217"/>
                <a:gd name="T81" fmla="*/ 408 h 476"/>
                <a:gd name="T82" fmla="*/ 86 w 217"/>
                <a:gd name="T83" fmla="*/ 404 h 476"/>
                <a:gd name="T84" fmla="*/ 94 w 217"/>
                <a:gd name="T85" fmla="*/ 392 h 476"/>
                <a:gd name="T86" fmla="*/ 98 w 217"/>
                <a:gd name="T87" fmla="*/ 406 h 476"/>
                <a:gd name="T88" fmla="*/ 131 w 217"/>
                <a:gd name="T89" fmla="*/ 404 h 476"/>
                <a:gd name="T90" fmla="*/ 163 w 217"/>
                <a:gd name="T91" fmla="*/ 378 h 476"/>
                <a:gd name="T92" fmla="*/ 191 w 217"/>
                <a:gd name="T93" fmla="*/ 315 h 476"/>
                <a:gd name="T94" fmla="*/ 195 w 217"/>
                <a:gd name="T95" fmla="*/ 281 h 476"/>
                <a:gd name="T96" fmla="*/ 207 w 217"/>
                <a:gd name="T97" fmla="*/ 201 h 476"/>
                <a:gd name="T98" fmla="*/ 215 w 217"/>
                <a:gd name="T99" fmla="*/ 106 h 476"/>
                <a:gd name="T100" fmla="*/ 213 w 217"/>
                <a:gd name="T101" fmla="*/ 50 h 476"/>
                <a:gd name="T102" fmla="*/ 195 w 217"/>
                <a:gd name="T103" fmla="*/ 42 h 476"/>
                <a:gd name="T104" fmla="*/ 191 w 217"/>
                <a:gd name="T105" fmla="*/ 40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17" h="476">
                  <a:moveTo>
                    <a:pt x="191" y="40"/>
                  </a:moveTo>
                  <a:lnTo>
                    <a:pt x="191" y="40"/>
                  </a:lnTo>
                  <a:lnTo>
                    <a:pt x="189" y="38"/>
                  </a:lnTo>
                  <a:lnTo>
                    <a:pt x="189" y="38"/>
                  </a:lnTo>
                  <a:lnTo>
                    <a:pt x="189" y="34"/>
                  </a:lnTo>
                  <a:lnTo>
                    <a:pt x="191" y="24"/>
                  </a:lnTo>
                  <a:lnTo>
                    <a:pt x="191" y="24"/>
                  </a:lnTo>
                  <a:lnTo>
                    <a:pt x="189" y="20"/>
                  </a:lnTo>
                  <a:lnTo>
                    <a:pt x="185" y="18"/>
                  </a:lnTo>
                  <a:lnTo>
                    <a:pt x="177" y="14"/>
                  </a:lnTo>
                  <a:lnTo>
                    <a:pt x="173" y="12"/>
                  </a:lnTo>
                  <a:lnTo>
                    <a:pt x="173" y="12"/>
                  </a:lnTo>
                  <a:lnTo>
                    <a:pt x="171" y="12"/>
                  </a:lnTo>
                  <a:lnTo>
                    <a:pt x="169" y="12"/>
                  </a:lnTo>
                  <a:lnTo>
                    <a:pt x="165" y="8"/>
                  </a:lnTo>
                  <a:lnTo>
                    <a:pt x="161" y="2"/>
                  </a:lnTo>
                  <a:lnTo>
                    <a:pt x="159" y="2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2"/>
                  </a:lnTo>
                  <a:lnTo>
                    <a:pt x="153" y="2"/>
                  </a:lnTo>
                  <a:lnTo>
                    <a:pt x="151" y="10"/>
                  </a:lnTo>
                  <a:lnTo>
                    <a:pt x="149" y="20"/>
                  </a:lnTo>
                  <a:lnTo>
                    <a:pt x="149" y="20"/>
                  </a:lnTo>
                  <a:lnTo>
                    <a:pt x="147" y="24"/>
                  </a:lnTo>
                  <a:lnTo>
                    <a:pt x="143" y="26"/>
                  </a:lnTo>
                  <a:lnTo>
                    <a:pt x="139" y="32"/>
                  </a:lnTo>
                  <a:lnTo>
                    <a:pt x="137" y="38"/>
                  </a:lnTo>
                  <a:lnTo>
                    <a:pt x="137" y="38"/>
                  </a:lnTo>
                  <a:lnTo>
                    <a:pt x="135" y="40"/>
                  </a:lnTo>
                  <a:lnTo>
                    <a:pt x="135" y="40"/>
                  </a:lnTo>
                  <a:lnTo>
                    <a:pt x="137" y="42"/>
                  </a:lnTo>
                  <a:lnTo>
                    <a:pt x="137" y="42"/>
                  </a:lnTo>
                  <a:lnTo>
                    <a:pt x="141" y="44"/>
                  </a:lnTo>
                  <a:lnTo>
                    <a:pt x="145" y="44"/>
                  </a:lnTo>
                  <a:lnTo>
                    <a:pt x="145" y="44"/>
                  </a:lnTo>
                  <a:lnTo>
                    <a:pt x="149" y="46"/>
                  </a:lnTo>
                  <a:lnTo>
                    <a:pt x="149" y="46"/>
                  </a:lnTo>
                  <a:lnTo>
                    <a:pt x="149" y="50"/>
                  </a:lnTo>
                  <a:lnTo>
                    <a:pt x="147" y="56"/>
                  </a:lnTo>
                  <a:lnTo>
                    <a:pt x="147" y="56"/>
                  </a:lnTo>
                  <a:lnTo>
                    <a:pt x="153" y="50"/>
                  </a:lnTo>
                  <a:lnTo>
                    <a:pt x="165" y="48"/>
                  </a:lnTo>
                  <a:lnTo>
                    <a:pt x="165" y="48"/>
                  </a:lnTo>
                  <a:lnTo>
                    <a:pt x="169" y="48"/>
                  </a:lnTo>
                  <a:lnTo>
                    <a:pt x="171" y="48"/>
                  </a:lnTo>
                  <a:lnTo>
                    <a:pt x="175" y="56"/>
                  </a:lnTo>
                  <a:lnTo>
                    <a:pt x="175" y="56"/>
                  </a:lnTo>
                  <a:lnTo>
                    <a:pt x="177" y="58"/>
                  </a:lnTo>
                  <a:lnTo>
                    <a:pt x="177" y="60"/>
                  </a:lnTo>
                  <a:lnTo>
                    <a:pt x="173" y="66"/>
                  </a:lnTo>
                  <a:lnTo>
                    <a:pt x="169" y="72"/>
                  </a:lnTo>
                  <a:lnTo>
                    <a:pt x="167" y="80"/>
                  </a:lnTo>
                  <a:lnTo>
                    <a:pt x="167" y="80"/>
                  </a:lnTo>
                  <a:lnTo>
                    <a:pt x="163" y="86"/>
                  </a:lnTo>
                  <a:lnTo>
                    <a:pt x="159" y="86"/>
                  </a:lnTo>
                  <a:lnTo>
                    <a:pt x="155" y="86"/>
                  </a:lnTo>
                  <a:lnTo>
                    <a:pt x="149" y="86"/>
                  </a:lnTo>
                  <a:lnTo>
                    <a:pt x="149" y="86"/>
                  </a:lnTo>
                  <a:lnTo>
                    <a:pt x="147" y="88"/>
                  </a:lnTo>
                  <a:lnTo>
                    <a:pt x="145" y="88"/>
                  </a:lnTo>
                  <a:lnTo>
                    <a:pt x="147" y="94"/>
                  </a:lnTo>
                  <a:lnTo>
                    <a:pt x="151" y="106"/>
                  </a:lnTo>
                  <a:lnTo>
                    <a:pt x="151" y="106"/>
                  </a:lnTo>
                  <a:lnTo>
                    <a:pt x="151" y="110"/>
                  </a:lnTo>
                  <a:lnTo>
                    <a:pt x="149" y="118"/>
                  </a:lnTo>
                  <a:lnTo>
                    <a:pt x="145" y="124"/>
                  </a:lnTo>
                  <a:lnTo>
                    <a:pt x="143" y="126"/>
                  </a:lnTo>
                  <a:lnTo>
                    <a:pt x="143" y="126"/>
                  </a:lnTo>
                  <a:lnTo>
                    <a:pt x="137" y="128"/>
                  </a:lnTo>
                  <a:lnTo>
                    <a:pt x="129" y="131"/>
                  </a:lnTo>
                  <a:lnTo>
                    <a:pt x="129" y="131"/>
                  </a:lnTo>
                  <a:lnTo>
                    <a:pt x="125" y="131"/>
                  </a:lnTo>
                  <a:lnTo>
                    <a:pt x="123" y="133"/>
                  </a:lnTo>
                  <a:lnTo>
                    <a:pt x="123" y="135"/>
                  </a:lnTo>
                  <a:lnTo>
                    <a:pt x="123" y="135"/>
                  </a:lnTo>
                  <a:lnTo>
                    <a:pt x="118" y="133"/>
                  </a:lnTo>
                  <a:lnTo>
                    <a:pt x="114" y="131"/>
                  </a:lnTo>
                  <a:lnTo>
                    <a:pt x="110" y="133"/>
                  </a:lnTo>
                  <a:lnTo>
                    <a:pt x="106" y="135"/>
                  </a:lnTo>
                  <a:lnTo>
                    <a:pt x="106" y="135"/>
                  </a:lnTo>
                  <a:lnTo>
                    <a:pt x="102" y="137"/>
                  </a:lnTo>
                  <a:lnTo>
                    <a:pt x="100" y="135"/>
                  </a:lnTo>
                  <a:lnTo>
                    <a:pt x="98" y="135"/>
                  </a:lnTo>
                  <a:lnTo>
                    <a:pt x="96" y="131"/>
                  </a:lnTo>
                  <a:lnTo>
                    <a:pt x="96" y="131"/>
                  </a:lnTo>
                  <a:lnTo>
                    <a:pt x="94" y="131"/>
                  </a:lnTo>
                  <a:lnTo>
                    <a:pt x="92" y="131"/>
                  </a:lnTo>
                  <a:lnTo>
                    <a:pt x="86" y="133"/>
                  </a:lnTo>
                  <a:lnTo>
                    <a:pt x="84" y="137"/>
                  </a:lnTo>
                  <a:lnTo>
                    <a:pt x="78" y="139"/>
                  </a:lnTo>
                  <a:lnTo>
                    <a:pt x="78" y="139"/>
                  </a:lnTo>
                  <a:lnTo>
                    <a:pt x="76" y="145"/>
                  </a:lnTo>
                  <a:lnTo>
                    <a:pt x="74" y="149"/>
                  </a:lnTo>
                  <a:lnTo>
                    <a:pt x="74" y="151"/>
                  </a:lnTo>
                  <a:lnTo>
                    <a:pt x="74" y="153"/>
                  </a:lnTo>
                  <a:lnTo>
                    <a:pt x="74" y="153"/>
                  </a:lnTo>
                  <a:lnTo>
                    <a:pt x="76" y="159"/>
                  </a:lnTo>
                  <a:lnTo>
                    <a:pt x="76" y="169"/>
                  </a:lnTo>
                  <a:lnTo>
                    <a:pt x="76" y="169"/>
                  </a:lnTo>
                  <a:lnTo>
                    <a:pt x="74" y="171"/>
                  </a:lnTo>
                  <a:lnTo>
                    <a:pt x="72" y="175"/>
                  </a:lnTo>
                  <a:lnTo>
                    <a:pt x="60" y="181"/>
                  </a:lnTo>
                  <a:lnTo>
                    <a:pt x="60" y="181"/>
                  </a:lnTo>
                  <a:lnTo>
                    <a:pt x="60" y="183"/>
                  </a:lnTo>
                  <a:lnTo>
                    <a:pt x="60" y="183"/>
                  </a:lnTo>
                  <a:lnTo>
                    <a:pt x="62" y="191"/>
                  </a:lnTo>
                  <a:lnTo>
                    <a:pt x="64" y="195"/>
                  </a:lnTo>
                  <a:lnTo>
                    <a:pt x="64" y="199"/>
                  </a:lnTo>
                  <a:lnTo>
                    <a:pt x="68" y="205"/>
                  </a:lnTo>
                  <a:lnTo>
                    <a:pt x="68" y="205"/>
                  </a:lnTo>
                  <a:lnTo>
                    <a:pt x="70" y="227"/>
                  </a:lnTo>
                  <a:lnTo>
                    <a:pt x="70" y="243"/>
                  </a:lnTo>
                  <a:lnTo>
                    <a:pt x="70" y="251"/>
                  </a:lnTo>
                  <a:lnTo>
                    <a:pt x="70" y="251"/>
                  </a:lnTo>
                  <a:lnTo>
                    <a:pt x="70" y="259"/>
                  </a:lnTo>
                  <a:lnTo>
                    <a:pt x="72" y="269"/>
                  </a:lnTo>
                  <a:lnTo>
                    <a:pt x="74" y="277"/>
                  </a:lnTo>
                  <a:lnTo>
                    <a:pt x="74" y="281"/>
                  </a:lnTo>
                  <a:lnTo>
                    <a:pt x="74" y="283"/>
                  </a:lnTo>
                  <a:lnTo>
                    <a:pt x="74" y="283"/>
                  </a:lnTo>
                  <a:lnTo>
                    <a:pt x="64" y="287"/>
                  </a:lnTo>
                  <a:lnTo>
                    <a:pt x="64" y="287"/>
                  </a:lnTo>
                  <a:lnTo>
                    <a:pt x="64" y="299"/>
                  </a:lnTo>
                  <a:lnTo>
                    <a:pt x="64" y="299"/>
                  </a:lnTo>
                  <a:lnTo>
                    <a:pt x="68" y="307"/>
                  </a:lnTo>
                  <a:lnTo>
                    <a:pt x="64" y="315"/>
                  </a:lnTo>
                  <a:lnTo>
                    <a:pt x="64" y="315"/>
                  </a:lnTo>
                  <a:lnTo>
                    <a:pt x="60" y="323"/>
                  </a:lnTo>
                  <a:lnTo>
                    <a:pt x="60" y="327"/>
                  </a:lnTo>
                  <a:lnTo>
                    <a:pt x="56" y="327"/>
                  </a:lnTo>
                  <a:lnTo>
                    <a:pt x="56" y="327"/>
                  </a:lnTo>
                  <a:lnTo>
                    <a:pt x="52" y="323"/>
                  </a:lnTo>
                  <a:lnTo>
                    <a:pt x="48" y="319"/>
                  </a:lnTo>
                  <a:lnTo>
                    <a:pt x="42" y="315"/>
                  </a:lnTo>
                  <a:lnTo>
                    <a:pt x="42" y="311"/>
                  </a:lnTo>
                  <a:lnTo>
                    <a:pt x="42" y="311"/>
                  </a:lnTo>
                  <a:lnTo>
                    <a:pt x="40" y="307"/>
                  </a:lnTo>
                  <a:lnTo>
                    <a:pt x="38" y="307"/>
                  </a:lnTo>
                  <a:lnTo>
                    <a:pt x="34" y="305"/>
                  </a:lnTo>
                  <a:lnTo>
                    <a:pt x="34" y="305"/>
                  </a:lnTo>
                  <a:lnTo>
                    <a:pt x="34" y="305"/>
                  </a:lnTo>
                  <a:lnTo>
                    <a:pt x="32" y="299"/>
                  </a:lnTo>
                  <a:lnTo>
                    <a:pt x="28" y="295"/>
                  </a:lnTo>
                  <a:lnTo>
                    <a:pt x="28" y="295"/>
                  </a:lnTo>
                  <a:lnTo>
                    <a:pt x="30" y="293"/>
                  </a:lnTo>
                  <a:lnTo>
                    <a:pt x="30" y="289"/>
                  </a:lnTo>
                  <a:lnTo>
                    <a:pt x="30" y="289"/>
                  </a:lnTo>
                  <a:lnTo>
                    <a:pt x="24" y="289"/>
                  </a:lnTo>
                  <a:lnTo>
                    <a:pt x="22" y="291"/>
                  </a:lnTo>
                  <a:lnTo>
                    <a:pt x="18" y="293"/>
                  </a:lnTo>
                  <a:lnTo>
                    <a:pt x="18" y="293"/>
                  </a:lnTo>
                  <a:lnTo>
                    <a:pt x="18" y="301"/>
                  </a:lnTo>
                  <a:lnTo>
                    <a:pt x="18" y="307"/>
                  </a:lnTo>
                  <a:lnTo>
                    <a:pt x="16" y="311"/>
                  </a:lnTo>
                  <a:lnTo>
                    <a:pt x="16" y="311"/>
                  </a:lnTo>
                  <a:lnTo>
                    <a:pt x="12" y="315"/>
                  </a:lnTo>
                  <a:lnTo>
                    <a:pt x="8" y="321"/>
                  </a:lnTo>
                  <a:lnTo>
                    <a:pt x="2" y="329"/>
                  </a:lnTo>
                  <a:lnTo>
                    <a:pt x="0" y="331"/>
                  </a:lnTo>
                  <a:lnTo>
                    <a:pt x="0" y="333"/>
                  </a:lnTo>
                  <a:lnTo>
                    <a:pt x="0" y="333"/>
                  </a:lnTo>
                  <a:lnTo>
                    <a:pt x="4" y="337"/>
                  </a:lnTo>
                  <a:lnTo>
                    <a:pt x="10" y="343"/>
                  </a:lnTo>
                  <a:lnTo>
                    <a:pt x="26" y="359"/>
                  </a:lnTo>
                  <a:lnTo>
                    <a:pt x="26" y="359"/>
                  </a:lnTo>
                  <a:lnTo>
                    <a:pt x="30" y="363"/>
                  </a:lnTo>
                  <a:lnTo>
                    <a:pt x="34" y="372"/>
                  </a:lnTo>
                  <a:lnTo>
                    <a:pt x="38" y="386"/>
                  </a:lnTo>
                  <a:lnTo>
                    <a:pt x="38" y="386"/>
                  </a:lnTo>
                  <a:lnTo>
                    <a:pt x="48" y="402"/>
                  </a:lnTo>
                  <a:lnTo>
                    <a:pt x="52" y="408"/>
                  </a:lnTo>
                  <a:lnTo>
                    <a:pt x="52" y="408"/>
                  </a:lnTo>
                  <a:lnTo>
                    <a:pt x="54" y="412"/>
                  </a:lnTo>
                  <a:lnTo>
                    <a:pt x="54" y="418"/>
                  </a:lnTo>
                  <a:lnTo>
                    <a:pt x="54" y="424"/>
                  </a:lnTo>
                  <a:lnTo>
                    <a:pt x="54" y="424"/>
                  </a:lnTo>
                  <a:lnTo>
                    <a:pt x="52" y="434"/>
                  </a:lnTo>
                  <a:lnTo>
                    <a:pt x="50" y="438"/>
                  </a:lnTo>
                  <a:lnTo>
                    <a:pt x="48" y="442"/>
                  </a:lnTo>
                  <a:lnTo>
                    <a:pt x="48" y="442"/>
                  </a:lnTo>
                  <a:lnTo>
                    <a:pt x="36" y="448"/>
                  </a:lnTo>
                  <a:lnTo>
                    <a:pt x="34" y="452"/>
                  </a:lnTo>
                  <a:lnTo>
                    <a:pt x="34" y="454"/>
                  </a:lnTo>
                  <a:lnTo>
                    <a:pt x="34" y="454"/>
                  </a:lnTo>
                  <a:lnTo>
                    <a:pt x="34" y="454"/>
                  </a:lnTo>
                  <a:lnTo>
                    <a:pt x="40" y="458"/>
                  </a:lnTo>
                  <a:lnTo>
                    <a:pt x="48" y="466"/>
                  </a:lnTo>
                  <a:lnTo>
                    <a:pt x="52" y="476"/>
                  </a:lnTo>
                  <a:lnTo>
                    <a:pt x="52" y="476"/>
                  </a:lnTo>
                  <a:lnTo>
                    <a:pt x="56" y="464"/>
                  </a:lnTo>
                  <a:lnTo>
                    <a:pt x="60" y="454"/>
                  </a:lnTo>
                  <a:lnTo>
                    <a:pt x="60" y="446"/>
                  </a:lnTo>
                  <a:lnTo>
                    <a:pt x="60" y="446"/>
                  </a:lnTo>
                  <a:lnTo>
                    <a:pt x="64" y="430"/>
                  </a:lnTo>
                  <a:lnTo>
                    <a:pt x="70" y="418"/>
                  </a:lnTo>
                  <a:lnTo>
                    <a:pt x="70" y="418"/>
                  </a:lnTo>
                  <a:lnTo>
                    <a:pt x="70" y="412"/>
                  </a:lnTo>
                  <a:lnTo>
                    <a:pt x="70" y="404"/>
                  </a:lnTo>
                  <a:lnTo>
                    <a:pt x="72" y="402"/>
                  </a:lnTo>
                  <a:lnTo>
                    <a:pt x="74" y="402"/>
                  </a:lnTo>
                  <a:lnTo>
                    <a:pt x="74" y="404"/>
                  </a:lnTo>
                  <a:lnTo>
                    <a:pt x="74" y="404"/>
                  </a:lnTo>
                  <a:lnTo>
                    <a:pt x="78" y="406"/>
                  </a:lnTo>
                  <a:lnTo>
                    <a:pt x="78" y="408"/>
                  </a:lnTo>
                  <a:lnTo>
                    <a:pt x="80" y="412"/>
                  </a:lnTo>
                  <a:lnTo>
                    <a:pt x="84" y="410"/>
                  </a:lnTo>
                  <a:lnTo>
                    <a:pt x="84" y="410"/>
                  </a:lnTo>
                  <a:lnTo>
                    <a:pt x="84" y="408"/>
                  </a:lnTo>
                  <a:lnTo>
                    <a:pt x="86" y="404"/>
                  </a:lnTo>
                  <a:lnTo>
                    <a:pt x="86" y="398"/>
                  </a:lnTo>
                  <a:lnTo>
                    <a:pt x="88" y="390"/>
                  </a:lnTo>
                  <a:lnTo>
                    <a:pt x="92" y="390"/>
                  </a:lnTo>
                  <a:lnTo>
                    <a:pt x="94" y="392"/>
                  </a:lnTo>
                  <a:lnTo>
                    <a:pt x="94" y="392"/>
                  </a:lnTo>
                  <a:lnTo>
                    <a:pt x="94" y="396"/>
                  </a:lnTo>
                  <a:lnTo>
                    <a:pt x="96" y="400"/>
                  </a:lnTo>
                  <a:lnTo>
                    <a:pt x="96" y="404"/>
                  </a:lnTo>
                  <a:lnTo>
                    <a:pt x="96" y="404"/>
                  </a:lnTo>
                  <a:lnTo>
                    <a:pt x="98" y="406"/>
                  </a:lnTo>
                  <a:lnTo>
                    <a:pt x="98" y="408"/>
                  </a:lnTo>
                  <a:lnTo>
                    <a:pt x="102" y="408"/>
                  </a:lnTo>
                  <a:lnTo>
                    <a:pt x="102" y="408"/>
                  </a:lnTo>
                  <a:lnTo>
                    <a:pt x="123" y="406"/>
                  </a:lnTo>
                  <a:lnTo>
                    <a:pt x="131" y="404"/>
                  </a:lnTo>
                  <a:lnTo>
                    <a:pt x="139" y="404"/>
                  </a:lnTo>
                  <a:lnTo>
                    <a:pt x="141" y="400"/>
                  </a:lnTo>
                  <a:lnTo>
                    <a:pt x="141" y="400"/>
                  </a:lnTo>
                  <a:lnTo>
                    <a:pt x="149" y="390"/>
                  </a:lnTo>
                  <a:lnTo>
                    <a:pt x="163" y="378"/>
                  </a:lnTo>
                  <a:lnTo>
                    <a:pt x="173" y="359"/>
                  </a:lnTo>
                  <a:lnTo>
                    <a:pt x="177" y="353"/>
                  </a:lnTo>
                  <a:lnTo>
                    <a:pt x="183" y="341"/>
                  </a:lnTo>
                  <a:lnTo>
                    <a:pt x="183" y="341"/>
                  </a:lnTo>
                  <a:lnTo>
                    <a:pt x="191" y="315"/>
                  </a:lnTo>
                  <a:lnTo>
                    <a:pt x="195" y="307"/>
                  </a:lnTo>
                  <a:lnTo>
                    <a:pt x="195" y="299"/>
                  </a:lnTo>
                  <a:lnTo>
                    <a:pt x="195" y="299"/>
                  </a:lnTo>
                  <a:lnTo>
                    <a:pt x="195" y="291"/>
                  </a:lnTo>
                  <a:lnTo>
                    <a:pt x="195" y="281"/>
                  </a:lnTo>
                  <a:lnTo>
                    <a:pt x="195" y="271"/>
                  </a:lnTo>
                  <a:lnTo>
                    <a:pt x="195" y="261"/>
                  </a:lnTo>
                  <a:lnTo>
                    <a:pt x="195" y="261"/>
                  </a:lnTo>
                  <a:lnTo>
                    <a:pt x="207" y="201"/>
                  </a:lnTo>
                  <a:lnTo>
                    <a:pt x="207" y="201"/>
                  </a:lnTo>
                  <a:lnTo>
                    <a:pt x="215" y="159"/>
                  </a:lnTo>
                  <a:lnTo>
                    <a:pt x="217" y="139"/>
                  </a:lnTo>
                  <a:lnTo>
                    <a:pt x="217" y="124"/>
                  </a:lnTo>
                  <a:lnTo>
                    <a:pt x="217" y="124"/>
                  </a:lnTo>
                  <a:lnTo>
                    <a:pt x="215" y="106"/>
                  </a:lnTo>
                  <a:lnTo>
                    <a:pt x="213" y="88"/>
                  </a:lnTo>
                  <a:lnTo>
                    <a:pt x="211" y="72"/>
                  </a:lnTo>
                  <a:lnTo>
                    <a:pt x="211" y="60"/>
                  </a:lnTo>
                  <a:lnTo>
                    <a:pt x="211" y="60"/>
                  </a:lnTo>
                  <a:lnTo>
                    <a:pt x="213" y="50"/>
                  </a:lnTo>
                  <a:lnTo>
                    <a:pt x="213" y="46"/>
                  </a:lnTo>
                  <a:lnTo>
                    <a:pt x="215" y="42"/>
                  </a:lnTo>
                  <a:lnTo>
                    <a:pt x="215" y="40"/>
                  </a:lnTo>
                  <a:lnTo>
                    <a:pt x="195" y="42"/>
                  </a:lnTo>
                  <a:lnTo>
                    <a:pt x="195" y="42"/>
                  </a:lnTo>
                  <a:lnTo>
                    <a:pt x="195" y="42"/>
                  </a:lnTo>
                  <a:lnTo>
                    <a:pt x="191" y="40"/>
                  </a:lnTo>
                  <a:lnTo>
                    <a:pt x="191" y="40"/>
                  </a:lnTo>
                  <a:lnTo>
                    <a:pt x="191" y="40"/>
                  </a:lnTo>
                  <a:lnTo>
                    <a:pt x="191" y="40"/>
                  </a:lnTo>
                  <a:lnTo>
                    <a:pt x="191" y="4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97" name="Freeform 56"/>
            <p:cNvSpPr>
              <a:spLocks/>
            </p:cNvSpPr>
            <p:nvPr/>
          </p:nvSpPr>
          <p:spPr bwMode="auto">
            <a:xfrm>
              <a:off x="1443" y="2434"/>
              <a:ext cx="298" cy="355"/>
            </a:xfrm>
            <a:custGeom>
              <a:avLst/>
              <a:gdLst>
                <a:gd name="T0" fmla="*/ 290 w 298"/>
                <a:gd name="T1" fmla="*/ 251 h 355"/>
                <a:gd name="T2" fmla="*/ 258 w 298"/>
                <a:gd name="T3" fmla="*/ 223 h 355"/>
                <a:gd name="T4" fmla="*/ 223 w 298"/>
                <a:gd name="T5" fmla="*/ 249 h 355"/>
                <a:gd name="T6" fmla="*/ 213 w 298"/>
                <a:gd name="T7" fmla="*/ 241 h 355"/>
                <a:gd name="T8" fmla="*/ 193 w 298"/>
                <a:gd name="T9" fmla="*/ 229 h 355"/>
                <a:gd name="T10" fmla="*/ 177 w 298"/>
                <a:gd name="T11" fmla="*/ 221 h 355"/>
                <a:gd name="T12" fmla="*/ 165 w 298"/>
                <a:gd name="T13" fmla="*/ 221 h 355"/>
                <a:gd name="T14" fmla="*/ 173 w 298"/>
                <a:gd name="T15" fmla="*/ 203 h 355"/>
                <a:gd name="T16" fmla="*/ 177 w 298"/>
                <a:gd name="T17" fmla="*/ 189 h 355"/>
                <a:gd name="T18" fmla="*/ 173 w 298"/>
                <a:gd name="T19" fmla="*/ 181 h 355"/>
                <a:gd name="T20" fmla="*/ 183 w 298"/>
                <a:gd name="T21" fmla="*/ 159 h 355"/>
                <a:gd name="T22" fmla="*/ 165 w 298"/>
                <a:gd name="T23" fmla="*/ 161 h 355"/>
                <a:gd name="T24" fmla="*/ 161 w 298"/>
                <a:gd name="T25" fmla="*/ 143 h 355"/>
                <a:gd name="T26" fmla="*/ 169 w 298"/>
                <a:gd name="T27" fmla="*/ 135 h 355"/>
                <a:gd name="T28" fmla="*/ 167 w 298"/>
                <a:gd name="T29" fmla="*/ 122 h 355"/>
                <a:gd name="T30" fmla="*/ 169 w 298"/>
                <a:gd name="T31" fmla="*/ 102 h 355"/>
                <a:gd name="T32" fmla="*/ 165 w 298"/>
                <a:gd name="T33" fmla="*/ 92 h 355"/>
                <a:gd name="T34" fmla="*/ 155 w 298"/>
                <a:gd name="T35" fmla="*/ 82 h 355"/>
                <a:gd name="T36" fmla="*/ 155 w 298"/>
                <a:gd name="T37" fmla="*/ 50 h 355"/>
                <a:gd name="T38" fmla="*/ 161 w 298"/>
                <a:gd name="T39" fmla="*/ 34 h 355"/>
                <a:gd name="T40" fmla="*/ 151 w 298"/>
                <a:gd name="T41" fmla="*/ 2 h 355"/>
                <a:gd name="T42" fmla="*/ 133 w 298"/>
                <a:gd name="T43" fmla="*/ 10 h 355"/>
                <a:gd name="T44" fmla="*/ 109 w 298"/>
                <a:gd name="T45" fmla="*/ 28 h 355"/>
                <a:gd name="T46" fmla="*/ 81 w 298"/>
                <a:gd name="T47" fmla="*/ 48 h 355"/>
                <a:gd name="T48" fmla="*/ 61 w 298"/>
                <a:gd name="T49" fmla="*/ 54 h 355"/>
                <a:gd name="T50" fmla="*/ 51 w 298"/>
                <a:gd name="T51" fmla="*/ 60 h 355"/>
                <a:gd name="T52" fmla="*/ 33 w 298"/>
                <a:gd name="T53" fmla="*/ 72 h 355"/>
                <a:gd name="T54" fmla="*/ 2 w 298"/>
                <a:gd name="T55" fmla="*/ 76 h 355"/>
                <a:gd name="T56" fmla="*/ 7 w 298"/>
                <a:gd name="T57" fmla="*/ 82 h 355"/>
                <a:gd name="T58" fmla="*/ 7 w 298"/>
                <a:gd name="T59" fmla="*/ 98 h 355"/>
                <a:gd name="T60" fmla="*/ 15 w 298"/>
                <a:gd name="T61" fmla="*/ 106 h 355"/>
                <a:gd name="T62" fmla="*/ 25 w 298"/>
                <a:gd name="T63" fmla="*/ 102 h 355"/>
                <a:gd name="T64" fmla="*/ 41 w 298"/>
                <a:gd name="T65" fmla="*/ 108 h 355"/>
                <a:gd name="T66" fmla="*/ 41 w 298"/>
                <a:gd name="T67" fmla="*/ 122 h 355"/>
                <a:gd name="T68" fmla="*/ 59 w 298"/>
                <a:gd name="T69" fmla="*/ 141 h 355"/>
                <a:gd name="T70" fmla="*/ 63 w 298"/>
                <a:gd name="T71" fmla="*/ 161 h 355"/>
                <a:gd name="T72" fmla="*/ 71 w 298"/>
                <a:gd name="T73" fmla="*/ 177 h 355"/>
                <a:gd name="T74" fmla="*/ 69 w 298"/>
                <a:gd name="T75" fmla="*/ 197 h 355"/>
                <a:gd name="T76" fmla="*/ 59 w 298"/>
                <a:gd name="T77" fmla="*/ 215 h 355"/>
                <a:gd name="T78" fmla="*/ 71 w 298"/>
                <a:gd name="T79" fmla="*/ 207 h 355"/>
                <a:gd name="T80" fmla="*/ 83 w 298"/>
                <a:gd name="T81" fmla="*/ 195 h 355"/>
                <a:gd name="T82" fmla="*/ 87 w 298"/>
                <a:gd name="T83" fmla="*/ 221 h 355"/>
                <a:gd name="T84" fmla="*/ 107 w 298"/>
                <a:gd name="T85" fmla="*/ 243 h 355"/>
                <a:gd name="T86" fmla="*/ 131 w 298"/>
                <a:gd name="T87" fmla="*/ 237 h 355"/>
                <a:gd name="T88" fmla="*/ 155 w 298"/>
                <a:gd name="T89" fmla="*/ 251 h 355"/>
                <a:gd name="T90" fmla="*/ 167 w 298"/>
                <a:gd name="T91" fmla="*/ 269 h 355"/>
                <a:gd name="T92" fmla="*/ 179 w 298"/>
                <a:gd name="T93" fmla="*/ 265 h 355"/>
                <a:gd name="T94" fmla="*/ 195 w 298"/>
                <a:gd name="T95" fmla="*/ 289 h 355"/>
                <a:gd name="T96" fmla="*/ 205 w 298"/>
                <a:gd name="T97" fmla="*/ 311 h 355"/>
                <a:gd name="T98" fmla="*/ 215 w 298"/>
                <a:gd name="T99" fmla="*/ 331 h 355"/>
                <a:gd name="T100" fmla="*/ 236 w 298"/>
                <a:gd name="T101" fmla="*/ 325 h 355"/>
                <a:gd name="T102" fmla="*/ 240 w 298"/>
                <a:gd name="T103" fmla="*/ 341 h 355"/>
                <a:gd name="T104" fmla="*/ 278 w 298"/>
                <a:gd name="T105" fmla="*/ 355 h 355"/>
                <a:gd name="T106" fmla="*/ 296 w 298"/>
                <a:gd name="T107" fmla="*/ 337 h 355"/>
                <a:gd name="T108" fmla="*/ 296 w 298"/>
                <a:gd name="T109" fmla="*/ 321 h 355"/>
                <a:gd name="T110" fmla="*/ 286 w 298"/>
                <a:gd name="T111" fmla="*/ 307 h 355"/>
                <a:gd name="T112" fmla="*/ 274 w 298"/>
                <a:gd name="T113" fmla="*/ 291 h 355"/>
                <a:gd name="T114" fmla="*/ 272 w 298"/>
                <a:gd name="T115" fmla="*/ 277 h 355"/>
                <a:gd name="T116" fmla="*/ 278 w 298"/>
                <a:gd name="T117" fmla="*/ 273 h 355"/>
                <a:gd name="T118" fmla="*/ 274 w 298"/>
                <a:gd name="T119" fmla="*/ 263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8" h="355">
                  <a:moveTo>
                    <a:pt x="274" y="263"/>
                  </a:moveTo>
                  <a:lnTo>
                    <a:pt x="274" y="263"/>
                  </a:lnTo>
                  <a:lnTo>
                    <a:pt x="276" y="261"/>
                  </a:lnTo>
                  <a:lnTo>
                    <a:pt x="280" y="257"/>
                  </a:lnTo>
                  <a:lnTo>
                    <a:pt x="288" y="257"/>
                  </a:lnTo>
                  <a:lnTo>
                    <a:pt x="290" y="251"/>
                  </a:lnTo>
                  <a:lnTo>
                    <a:pt x="282" y="239"/>
                  </a:lnTo>
                  <a:lnTo>
                    <a:pt x="274" y="237"/>
                  </a:lnTo>
                  <a:lnTo>
                    <a:pt x="272" y="233"/>
                  </a:lnTo>
                  <a:lnTo>
                    <a:pt x="268" y="231"/>
                  </a:lnTo>
                  <a:lnTo>
                    <a:pt x="260" y="239"/>
                  </a:lnTo>
                  <a:lnTo>
                    <a:pt x="258" y="223"/>
                  </a:lnTo>
                  <a:lnTo>
                    <a:pt x="254" y="227"/>
                  </a:lnTo>
                  <a:lnTo>
                    <a:pt x="254" y="227"/>
                  </a:lnTo>
                  <a:lnTo>
                    <a:pt x="244" y="249"/>
                  </a:lnTo>
                  <a:lnTo>
                    <a:pt x="244" y="231"/>
                  </a:lnTo>
                  <a:lnTo>
                    <a:pt x="234" y="239"/>
                  </a:lnTo>
                  <a:lnTo>
                    <a:pt x="223" y="249"/>
                  </a:lnTo>
                  <a:lnTo>
                    <a:pt x="223" y="249"/>
                  </a:lnTo>
                  <a:lnTo>
                    <a:pt x="219" y="249"/>
                  </a:lnTo>
                  <a:lnTo>
                    <a:pt x="213" y="245"/>
                  </a:lnTo>
                  <a:lnTo>
                    <a:pt x="213" y="243"/>
                  </a:lnTo>
                  <a:lnTo>
                    <a:pt x="213" y="241"/>
                  </a:lnTo>
                  <a:lnTo>
                    <a:pt x="213" y="241"/>
                  </a:lnTo>
                  <a:lnTo>
                    <a:pt x="209" y="235"/>
                  </a:lnTo>
                  <a:lnTo>
                    <a:pt x="205" y="231"/>
                  </a:lnTo>
                  <a:lnTo>
                    <a:pt x="199" y="223"/>
                  </a:lnTo>
                  <a:lnTo>
                    <a:pt x="199" y="223"/>
                  </a:lnTo>
                  <a:lnTo>
                    <a:pt x="195" y="227"/>
                  </a:lnTo>
                  <a:lnTo>
                    <a:pt x="193" y="229"/>
                  </a:lnTo>
                  <a:lnTo>
                    <a:pt x="191" y="231"/>
                  </a:lnTo>
                  <a:lnTo>
                    <a:pt x="191" y="231"/>
                  </a:lnTo>
                  <a:lnTo>
                    <a:pt x="183" y="227"/>
                  </a:lnTo>
                  <a:lnTo>
                    <a:pt x="177" y="223"/>
                  </a:lnTo>
                  <a:lnTo>
                    <a:pt x="177" y="221"/>
                  </a:lnTo>
                  <a:lnTo>
                    <a:pt x="177" y="221"/>
                  </a:lnTo>
                  <a:lnTo>
                    <a:pt x="175" y="219"/>
                  </a:lnTo>
                  <a:lnTo>
                    <a:pt x="173" y="217"/>
                  </a:lnTo>
                  <a:lnTo>
                    <a:pt x="171" y="213"/>
                  </a:lnTo>
                  <a:lnTo>
                    <a:pt x="171" y="213"/>
                  </a:lnTo>
                  <a:lnTo>
                    <a:pt x="167" y="217"/>
                  </a:lnTo>
                  <a:lnTo>
                    <a:pt x="165" y="221"/>
                  </a:lnTo>
                  <a:lnTo>
                    <a:pt x="165" y="221"/>
                  </a:lnTo>
                  <a:lnTo>
                    <a:pt x="165" y="219"/>
                  </a:lnTo>
                  <a:lnTo>
                    <a:pt x="165" y="219"/>
                  </a:lnTo>
                  <a:lnTo>
                    <a:pt x="167" y="211"/>
                  </a:lnTo>
                  <a:lnTo>
                    <a:pt x="169" y="207"/>
                  </a:lnTo>
                  <a:lnTo>
                    <a:pt x="173" y="203"/>
                  </a:lnTo>
                  <a:lnTo>
                    <a:pt x="173" y="203"/>
                  </a:lnTo>
                  <a:lnTo>
                    <a:pt x="175" y="197"/>
                  </a:lnTo>
                  <a:lnTo>
                    <a:pt x="177" y="195"/>
                  </a:lnTo>
                  <a:lnTo>
                    <a:pt x="177" y="191"/>
                  </a:lnTo>
                  <a:lnTo>
                    <a:pt x="177" y="189"/>
                  </a:lnTo>
                  <a:lnTo>
                    <a:pt x="177" y="189"/>
                  </a:lnTo>
                  <a:lnTo>
                    <a:pt x="177" y="189"/>
                  </a:lnTo>
                  <a:lnTo>
                    <a:pt x="173" y="187"/>
                  </a:lnTo>
                  <a:lnTo>
                    <a:pt x="173" y="185"/>
                  </a:lnTo>
                  <a:lnTo>
                    <a:pt x="173" y="181"/>
                  </a:lnTo>
                  <a:lnTo>
                    <a:pt x="173" y="181"/>
                  </a:lnTo>
                  <a:lnTo>
                    <a:pt x="173" y="181"/>
                  </a:lnTo>
                  <a:lnTo>
                    <a:pt x="177" y="175"/>
                  </a:lnTo>
                  <a:lnTo>
                    <a:pt x="179" y="173"/>
                  </a:lnTo>
                  <a:lnTo>
                    <a:pt x="185" y="167"/>
                  </a:lnTo>
                  <a:lnTo>
                    <a:pt x="185" y="167"/>
                  </a:lnTo>
                  <a:lnTo>
                    <a:pt x="185" y="161"/>
                  </a:lnTo>
                  <a:lnTo>
                    <a:pt x="183" y="159"/>
                  </a:lnTo>
                  <a:lnTo>
                    <a:pt x="183" y="157"/>
                  </a:lnTo>
                  <a:lnTo>
                    <a:pt x="183" y="157"/>
                  </a:lnTo>
                  <a:lnTo>
                    <a:pt x="177" y="157"/>
                  </a:lnTo>
                  <a:lnTo>
                    <a:pt x="171" y="159"/>
                  </a:lnTo>
                  <a:lnTo>
                    <a:pt x="167" y="161"/>
                  </a:lnTo>
                  <a:lnTo>
                    <a:pt x="165" y="161"/>
                  </a:lnTo>
                  <a:lnTo>
                    <a:pt x="163" y="159"/>
                  </a:lnTo>
                  <a:lnTo>
                    <a:pt x="163" y="159"/>
                  </a:lnTo>
                  <a:lnTo>
                    <a:pt x="155" y="151"/>
                  </a:lnTo>
                  <a:lnTo>
                    <a:pt x="165" y="145"/>
                  </a:lnTo>
                  <a:lnTo>
                    <a:pt x="165" y="145"/>
                  </a:lnTo>
                  <a:lnTo>
                    <a:pt x="161" y="143"/>
                  </a:lnTo>
                  <a:lnTo>
                    <a:pt x="161" y="139"/>
                  </a:lnTo>
                  <a:lnTo>
                    <a:pt x="161" y="137"/>
                  </a:lnTo>
                  <a:lnTo>
                    <a:pt x="163" y="137"/>
                  </a:lnTo>
                  <a:lnTo>
                    <a:pt x="163" y="137"/>
                  </a:lnTo>
                  <a:lnTo>
                    <a:pt x="167" y="137"/>
                  </a:lnTo>
                  <a:lnTo>
                    <a:pt x="169" y="135"/>
                  </a:lnTo>
                  <a:lnTo>
                    <a:pt x="169" y="132"/>
                  </a:lnTo>
                  <a:lnTo>
                    <a:pt x="169" y="132"/>
                  </a:lnTo>
                  <a:lnTo>
                    <a:pt x="167" y="130"/>
                  </a:lnTo>
                  <a:lnTo>
                    <a:pt x="167" y="126"/>
                  </a:lnTo>
                  <a:lnTo>
                    <a:pt x="167" y="122"/>
                  </a:lnTo>
                  <a:lnTo>
                    <a:pt x="167" y="122"/>
                  </a:lnTo>
                  <a:lnTo>
                    <a:pt x="167" y="116"/>
                  </a:lnTo>
                  <a:lnTo>
                    <a:pt x="169" y="112"/>
                  </a:lnTo>
                  <a:lnTo>
                    <a:pt x="169" y="108"/>
                  </a:lnTo>
                  <a:lnTo>
                    <a:pt x="169" y="104"/>
                  </a:lnTo>
                  <a:lnTo>
                    <a:pt x="169" y="104"/>
                  </a:lnTo>
                  <a:lnTo>
                    <a:pt x="169" y="102"/>
                  </a:lnTo>
                  <a:lnTo>
                    <a:pt x="167" y="100"/>
                  </a:lnTo>
                  <a:lnTo>
                    <a:pt x="165" y="98"/>
                  </a:lnTo>
                  <a:lnTo>
                    <a:pt x="165" y="96"/>
                  </a:lnTo>
                  <a:lnTo>
                    <a:pt x="165" y="96"/>
                  </a:lnTo>
                  <a:lnTo>
                    <a:pt x="163" y="94"/>
                  </a:lnTo>
                  <a:lnTo>
                    <a:pt x="165" y="92"/>
                  </a:lnTo>
                  <a:lnTo>
                    <a:pt x="165" y="86"/>
                  </a:lnTo>
                  <a:lnTo>
                    <a:pt x="165" y="86"/>
                  </a:lnTo>
                  <a:lnTo>
                    <a:pt x="163" y="86"/>
                  </a:lnTo>
                  <a:lnTo>
                    <a:pt x="161" y="82"/>
                  </a:lnTo>
                  <a:lnTo>
                    <a:pt x="155" y="82"/>
                  </a:lnTo>
                  <a:lnTo>
                    <a:pt x="155" y="82"/>
                  </a:lnTo>
                  <a:lnTo>
                    <a:pt x="155" y="78"/>
                  </a:lnTo>
                  <a:lnTo>
                    <a:pt x="159" y="70"/>
                  </a:lnTo>
                  <a:lnTo>
                    <a:pt x="159" y="62"/>
                  </a:lnTo>
                  <a:lnTo>
                    <a:pt x="159" y="56"/>
                  </a:lnTo>
                  <a:lnTo>
                    <a:pt x="159" y="56"/>
                  </a:lnTo>
                  <a:lnTo>
                    <a:pt x="155" y="50"/>
                  </a:lnTo>
                  <a:lnTo>
                    <a:pt x="155" y="46"/>
                  </a:lnTo>
                  <a:lnTo>
                    <a:pt x="159" y="40"/>
                  </a:lnTo>
                  <a:lnTo>
                    <a:pt x="159" y="40"/>
                  </a:lnTo>
                  <a:lnTo>
                    <a:pt x="161" y="38"/>
                  </a:lnTo>
                  <a:lnTo>
                    <a:pt x="161" y="38"/>
                  </a:lnTo>
                  <a:lnTo>
                    <a:pt x="161" y="34"/>
                  </a:lnTo>
                  <a:lnTo>
                    <a:pt x="161" y="34"/>
                  </a:lnTo>
                  <a:lnTo>
                    <a:pt x="155" y="28"/>
                  </a:lnTo>
                  <a:lnTo>
                    <a:pt x="155" y="20"/>
                  </a:lnTo>
                  <a:lnTo>
                    <a:pt x="153" y="2"/>
                  </a:lnTo>
                  <a:lnTo>
                    <a:pt x="153" y="2"/>
                  </a:lnTo>
                  <a:lnTo>
                    <a:pt x="151" y="2"/>
                  </a:lnTo>
                  <a:lnTo>
                    <a:pt x="149" y="0"/>
                  </a:lnTo>
                  <a:lnTo>
                    <a:pt x="149" y="0"/>
                  </a:lnTo>
                  <a:lnTo>
                    <a:pt x="143" y="2"/>
                  </a:lnTo>
                  <a:lnTo>
                    <a:pt x="139" y="4"/>
                  </a:lnTo>
                  <a:lnTo>
                    <a:pt x="139" y="4"/>
                  </a:lnTo>
                  <a:lnTo>
                    <a:pt x="133" y="10"/>
                  </a:lnTo>
                  <a:lnTo>
                    <a:pt x="129" y="14"/>
                  </a:lnTo>
                  <a:lnTo>
                    <a:pt x="125" y="16"/>
                  </a:lnTo>
                  <a:lnTo>
                    <a:pt x="125" y="16"/>
                  </a:lnTo>
                  <a:lnTo>
                    <a:pt x="115" y="24"/>
                  </a:lnTo>
                  <a:lnTo>
                    <a:pt x="109" y="28"/>
                  </a:lnTo>
                  <a:lnTo>
                    <a:pt x="109" y="28"/>
                  </a:lnTo>
                  <a:lnTo>
                    <a:pt x="105" y="30"/>
                  </a:lnTo>
                  <a:lnTo>
                    <a:pt x="103" y="34"/>
                  </a:lnTo>
                  <a:lnTo>
                    <a:pt x="97" y="40"/>
                  </a:lnTo>
                  <a:lnTo>
                    <a:pt x="97" y="40"/>
                  </a:lnTo>
                  <a:lnTo>
                    <a:pt x="87" y="46"/>
                  </a:lnTo>
                  <a:lnTo>
                    <a:pt x="81" y="48"/>
                  </a:lnTo>
                  <a:lnTo>
                    <a:pt x="81" y="48"/>
                  </a:lnTo>
                  <a:lnTo>
                    <a:pt x="73" y="48"/>
                  </a:lnTo>
                  <a:lnTo>
                    <a:pt x="69" y="50"/>
                  </a:lnTo>
                  <a:lnTo>
                    <a:pt x="63" y="52"/>
                  </a:lnTo>
                  <a:lnTo>
                    <a:pt x="63" y="52"/>
                  </a:lnTo>
                  <a:lnTo>
                    <a:pt x="61" y="54"/>
                  </a:lnTo>
                  <a:lnTo>
                    <a:pt x="59" y="54"/>
                  </a:lnTo>
                  <a:lnTo>
                    <a:pt x="55" y="52"/>
                  </a:lnTo>
                  <a:lnTo>
                    <a:pt x="55" y="52"/>
                  </a:lnTo>
                  <a:lnTo>
                    <a:pt x="55" y="54"/>
                  </a:lnTo>
                  <a:lnTo>
                    <a:pt x="51" y="56"/>
                  </a:lnTo>
                  <a:lnTo>
                    <a:pt x="51" y="60"/>
                  </a:lnTo>
                  <a:lnTo>
                    <a:pt x="47" y="62"/>
                  </a:lnTo>
                  <a:lnTo>
                    <a:pt x="47" y="62"/>
                  </a:lnTo>
                  <a:lnTo>
                    <a:pt x="41" y="68"/>
                  </a:lnTo>
                  <a:lnTo>
                    <a:pt x="37" y="70"/>
                  </a:lnTo>
                  <a:lnTo>
                    <a:pt x="33" y="72"/>
                  </a:lnTo>
                  <a:lnTo>
                    <a:pt x="33" y="72"/>
                  </a:lnTo>
                  <a:lnTo>
                    <a:pt x="29" y="74"/>
                  </a:lnTo>
                  <a:lnTo>
                    <a:pt x="21" y="72"/>
                  </a:lnTo>
                  <a:lnTo>
                    <a:pt x="9" y="70"/>
                  </a:lnTo>
                  <a:lnTo>
                    <a:pt x="9" y="70"/>
                  </a:lnTo>
                  <a:lnTo>
                    <a:pt x="5" y="72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4" y="78"/>
                  </a:lnTo>
                  <a:lnTo>
                    <a:pt x="7" y="80"/>
                  </a:lnTo>
                  <a:lnTo>
                    <a:pt x="7" y="82"/>
                  </a:lnTo>
                  <a:lnTo>
                    <a:pt x="7" y="82"/>
                  </a:lnTo>
                  <a:lnTo>
                    <a:pt x="11" y="92"/>
                  </a:lnTo>
                  <a:lnTo>
                    <a:pt x="11" y="94"/>
                  </a:lnTo>
                  <a:lnTo>
                    <a:pt x="11" y="96"/>
                  </a:lnTo>
                  <a:lnTo>
                    <a:pt x="11" y="96"/>
                  </a:lnTo>
                  <a:lnTo>
                    <a:pt x="7" y="98"/>
                  </a:lnTo>
                  <a:lnTo>
                    <a:pt x="7" y="100"/>
                  </a:lnTo>
                  <a:lnTo>
                    <a:pt x="9" y="100"/>
                  </a:lnTo>
                  <a:lnTo>
                    <a:pt x="9" y="100"/>
                  </a:lnTo>
                  <a:lnTo>
                    <a:pt x="11" y="102"/>
                  </a:lnTo>
                  <a:lnTo>
                    <a:pt x="13" y="104"/>
                  </a:lnTo>
                  <a:lnTo>
                    <a:pt x="15" y="106"/>
                  </a:lnTo>
                  <a:lnTo>
                    <a:pt x="15" y="112"/>
                  </a:lnTo>
                  <a:lnTo>
                    <a:pt x="15" y="112"/>
                  </a:lnTo>
                  <a:lnTo>
                    <a:pt x="17" y="108"/>
                  </a:lnTo>
                  <a:lnTo>
                    <a:pt x="17" y="108"/>
                  </a:lnTo>
                  <a:lnTo>
                    <a:pt x="23" y="104"/>
                  </a:lnTo>
                  <a:lnTo>
                    <a:pt x="25" y="102"/>
                  </a:lnTo>
                  <a:lnTo>
                    <a:pt x="29" y="104"/>
                  </a:lnTo>
                  <a:lnTo>
                    <a:pt x="29" y="104"/>
                  </a:lnTo>
                  <a:lnTo>
                    <a:pt x="33" y="104"/>
                  </a:lnTo>
                  <a:lnTo>
                    <a:pt x="37" y="106"/>
                  </a:lnTo>
                  <a:lnTo>
                    <a:pt x="39" y="108"/>
                  </a:lnTo>
                  <a:lnTo>
                    <a:pt x="41" y="108"/>
                  </a:lnTo>
                  <a:lnTo>
                    <a:pt x="41" y="108"/>
                  </a:lnTo>
                  <a:lnTo>
                    <a:pt x="45" y="112"/>
                  </a:lnTo>
                  <a:lnTo>
                    <a:pt x="41" y="116"/>
                  </a:lnTo>
                  <a:lnTo>
                    <a:pt x="41" y="120"/>
                  </a:lnTo>
                  <a:lnTo>
                    <a:pt x="41" y="122"/>
                  </a:lnTo>
                  <a:lnTo>
                    <a:pt x="41" y="122"/>
                  </a:lnTo>
                  <a:lnTo>
                    <a:pt x="45" y="130"/>
                  </a:lnTo>
                  <a:lnTo>
                    <a:pt x="47" y="132"/>
                  </a:lnTo>
                  <a:lnTo>
                    <a:pt x="51" y="137"/>
                  </a:lnTo>
                  <a:lnTo>
                    <a:pt x="51" y="137"/>
                  </a:lnTo>
                  <a:lnTo>
                    <a:pt x="57" y="141"/>
                  </a:lnTo>
                  <a:lnTo>
                    <a:pt x="59" y="141"/>
                  </a:lnTo>
                  <a:lnTo>
                    <a:pt x="61" y="145"/>
                  </a:lnTo>
                  <a:lnTo>
                    <a:pt x="61" y="145"/>
                  </a:lnTo>
                  <a:lnTo>
                    <a:pt x="63" y="147"/>
                  </a:lnTo>
                  <a:lnTo>
                    <a:pt x="63" y="153"/>
                  </a:lnTo>
                  <a:lnTo>
                    <a:pt x="63" y="161"/>
                  </a:lnTo>
                  <a:lnTo>
                    <a:pt x="63" y="161"/>
                  </a:lnTo>
                  <a:lnTo>
                    <a:pt x="63" y="163"/>
                  </a:lnTo>
                  <a:lnTo>
                    <a:pt x="63" y="167"/>
                  </a:lnTo>
                  <a:lnTo>
                    <a:pt x="67" y="171"/>
                  </a:lnTo>
                  <a:lnTo>
                    <a:pt x="67" y="171"/>
                  </a:lnTo>
                  <a:lnTo>
                    <a:pt x="69" y="175"/>
                  </a:lnTo>
                  <a:lnTo>
                    <a:pt x="71" y="177"/>
                  </a:lnTo>
                  <a:lnTo>
                    <a:pt x="69" y="185"/>
                  </a:lnTo>
                  <a:lnTo>
                    <a:pt x="69" y="185"/>
                  </a:lnTo>
                  <a:lnTo>
                    <a:pt x="67" y="189"/>
                  </a:lnTo>
                  <a:lnTo>
                    <a:pt x="67" y="191"/>
                  </a:lnTo>
                  <a:lnTo>
                    <a:pt x="69" y="197"/>
                  </a:lnTo>
                  <a:lnTo>
                    <a:pt x="69" y="197"/>
                  </a:lnTo>
                  <a:lnTo>
                    <a:pt x="69" y="199"/>
                  </a:lnTo>
                  <a:lnTo>
                    <a:pt x="63" y="205"/>
                  </a:lnTo>
                  <a:lnTo>
                    <a:pt x="61" y="211"/>
                  </a:lnTo>
                  <a:lnTo>
                    <a:pt x="59" y="213"/>
                  </a:lnTo>
                  <a:lnTo>
                    <a:pt x="59" y="213"/>
                  </a:lnTo>
                  <a:lnTo>
                    <a:pt x="59" y="215"/>
                  </a:lnTo>
                  <a:lnTo>
                    <a:pt x="61" y="217"/>
                  </a:lnTo>
                  <a:lnTo>
                    <a:pt x="63" y="219"/>
                  </a:lnTo>
                  <a:lnTo>
                    <a:pt x="67" y="217"/>
                  </a:lnTo>
                  <a:lnTo>
                    <a:pt x="67" y="217"/>
                  </a:lnTo>
                  <a:lnTo>
                    <a:pt x="67" y="217"/>
                  </a:lnTo>
                  <a:lnTo>
                    <a:pt x="71" y="207"/>
                  </a:lnTo>
                  <a:lnTo>
                    <a:pt x="75" y="203"/>
                  </a:lnTo>
                  <a:lnTo>
                    <a:pt x="77" y="197"/>
                  </a:lnTo>
                  <a:lnTo>
                    <a:pt x="77" y="197"/>
                  </a:lnTo>
                  <a:lnTo>
                    <a:pt x="79" y="195"/>
                  </a:lnTo>
                  <a:lnTo>
                    <a:pt x="81" y="195"/>
                  </a:lnTo>
                  <a:lnTo>
                    <a:pt x="83" y="195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7" y="203"/>
                  </a:lnTo>
                  <a:lnTo>
                    <a:pt x="87" y="211"/>
                  </a:lnTo>
                  <a:lnTo>
                    <a:pt x="87" y="221"/>
                  </a:lnTo>
                  <a:lnTo>
                    <a:pt x="87" y="221"/>
                  </a:lnTo>
                  <a:lnTo>
                    <a:pt x="87" y="231"/>
                  </a:lnTo>
                  <a:lnTo>
                    <a:pt x="93" y="235"/>
                  </a:lnTo>
                  <a:lnTo>
                    <a:pt x="95" y="239"/>
                  </a:lnTo>
                  <a:lnTo>
                    <a:pt x="95" y="239"/>
                  </a:lnTo>
                  <a:lnTo>
                    <a:pt x="101" y="243"/>
                  </a:lnTo>
                  <a:lnTo>
                    <a:pt x="107" y="243"/>
                  </a:lnTo>
                  <a:lnTo>
                    <a:pt x="115" y="243"/>
                  </a:lnTo>
                  <a:lnTo>
                    <a:pt x="117" y="241"/>
                  </a:lnTo>
                  <a:lnTo>
                    <a:pt x="117" y="241"/>
                  </a:lnTo>
                  <a:lnTo>
                    <a:pt x="121" y="239"/>
                  </a:lnTo>
                  <a:lnTo>
                    <a:pt x="125" y="237"/>
                  </a:lnTo>
                  <a:lnTo>
                    <a:pt x="131" y="237"/>
                  </a:lnTo>
                  <a:lnTo>
                    <a:pt x="137" y="237"/>
                  </a:lnTo>
                  <a:lnTo>
                    <a:pt x="137" y="237"/>
                  </a:lnTo>
                  <a:lnTo>
                    <a:pt x="141" y="241"/>
                  </a:lnTo>
                  <a:lnTo>
                    <a:pt x="147" y="245"/>
                  </a:lnTo>
                  <a:lnTo>
                    <a:pt x="147" y="245"/>
                  </a:lnTo>
                  <a:lnTo>
                    <a:pt x="155" y="251"/>
                  </a:lnTo>
                  <a:lnTo>
                    <a:pt x="155" y="255"/>
                  </a:lnTo>
                  <a:lnTo>
                    <a:pt x="159" y="257"/>
                  </a:lnTo>
                  <a:lnTo>
                    <a:pt x="159" y="257"/>
                  </a:lnTo>
                  <a:lnTo>
                    <a:pt x="161" y="261"/>
                  </a:lnTo>
                  <a:lnTo>
                    <a:pt x="165" y="265"/>
                  </a:lnTo>
                  <a:lnTo>
                    <a:pt x="167" y="269"/>
                  </a:lnTo>
                  <a:lnTo>
                    <a:pt x="169" y="269"/>
                  </a:lnTo>
                  <a:lnTo>
                    <a:pt x="169" y="269"/>
                  </a:lnTo>
                  <a:lnTo>
                    <a:pt x="169" y="269"/>
                  </a:lnTo>
                  <a:lnTo>
                    <a:pt x="175" y="265"/>
                  </a:lnTo>
                  <a:lnTo>
                    <a:pt x="177" y="265"/>
                  </a:lnTo>
                  <a:lnTo>
                    <a:pt x="179" y="265"/>
                  </a:lnTo>
                  <a:lnTo>
                    <a:pt x="179" y="265"/>
                  </a:lnTo>
                  <a:lnTo>
                    <a:pt x="195" y="279"/>
                  </a:lnTo>
                  <a:lnTo>
                    <a:pt x="195" y="279"/>
                  </a:lnTo>
                  <a:lnTo>
                    <a:pt x="197" y="279"/>
                  </a:lnTo>
                  <a:lnTo>
                    <a:pt x="197" y="283"/>
                  </a:lnTo>
                  <a:lnTo>
                    <a:pt x="195" y="289"/>
                  </a:lnTo>
                  <a:lnTo>
                    <a:pt x="195" y="289"/>
                  </a:lnTo>
                  <a:lnTo>
                    <a:pt x="193" y="299"/>
                  </a:lnTo>
                  <a:lnTo>
                    <a:pt x="193" y="303"/>
                  </a:lnTo>
                  <a:lnTo>
                    <a:pt x="195" y="303"/>
                  </a:lnTo>
                  <a:lnTo>
                    <a:pt x="195" y="303"/>
                  </a:lnTo>
                  <a:lnTo>
                    <a:pt x="205" y="311"/>
                  </a:lnTo>
                  <a:lnTo>
                    <a:pt x="209" y="319"/>
                  </a:lnTo>
                  <a:lnTo>
                    <a:pt x="211" y="323"/>
                  </a:lnTo>
                  <a:lnTo>
                    <a:pt x="211" y="323"/>
                  </a:lnTo>
                  <a:lnTo>
                    <a:pt x="213" y="327"/>
                  </a:lnTo>
                  <a:lnTo>
                    <a:pt x="213" y="329"/>
                  </a:lnTo>
                  <a:lnTo>
                    <a:pt x="215" y="331"/>
                  </a:lnTo>
                  <a:lnTo>
                    <a:pt x="219" y="333"/>
                  </a:lnTo>
                  <a:lnTo>
                    <a:pt x="219" y="333"/>
                  </a:lnTo>
                  <a:lnTo>
                    <a:pt x="221" y="331"/>
                  </a:lnTo>
                  <a:lnTo>
                    <a:pt x="225" y="329"/>
                  </a:lnTo>
                  <a:lnTo>
                    <a:pt x="232" y="327"/>
                  </a:lnTo>
                  <a:lnTo>
                    <a:pt x="236" y="325"/>
                  </a:lnTo>
                  <a:lnTo>
                    <a:pt x="236" y="325"/>
                  </a:lnTo>
                  <a:lnTo>
                    <a:pt x="236" y="327"/>
                  </a:lnTo>
                  <a:lnTo>
                    <a:pt x="238" y="329"/>
                  </a:lnTo>
                  <a:lnTo>
                    <a:pt x="240" y="333"/>
                  </a:lnTo>
                  <a:lnTo>
                    <a:pt x="240" y="337"/>
                  </a:lnTo>
                  <a:lnTo>
                    <a:pt x="240" y="341"/>
                  </a:lnTo>
                  <a:lnTo>
                    <a:pt x="242" y="343"/>
                  </a:lnTo>
                  <a:lnTo>
                    <a:pt x="242" y="343"/>
                  </a:lnTo>
                  <a:lnTo>
                    <a:pt x="260" y="351"/>
                  </a:lnTo>
                  <a:lnTo>
                    <a:pt x="272" y="353"/>
                  </a:lnTo>
                  <a:lnTo>
                    <a:pt x="278" y="355"/>
                  </a:lnTo>
                  <a:lnTo>
                    <a:pt x="278" y="355"/>
                  </a:lnTo>
                  <a:lnTo>
                    <a:pt x="280" y="353"/>
                  </a:lnTo>
                  <a:lnTo>
                    <a:pt x="286" y="347"/>
                  </a:lnTo>
                  <a:lnTo>
                    <a:pt x="290" y="343"/>
                  </a:lnTo>
                  <a:lnTo>
                    <a:pt x="292" y="341"/>
                  </a:lnTo>
                  <a:lnTo>
                    <a:pt x="292" y="341"/>
                  </a:lnTo>
                  <a:lnTo>
                    <a:pt x="296" y="337"/>
                  </a:lnTo>
                  <a:lnTo>
                    <a:pt x="298" y="335"/>
                  </a:lnTo>
                  <a:lnTo>
                    <a:pt x="298" y="329"/>
                  </a:lnTo>
                  <a:lnTo>
                    <a:pt x="298" y="329"/>
                  </a:lnTo>
                  <a:lnTo>
                    <a:pt x="298" y="329"/>
                  </a:lnTo>
                  <a:lnTo>
                    <a:pt x="298" y="325"/>
                  </a:lnTo>
                  <a:lnTo>
                    <a:pt x="296" y="321"/>
                  </a:lnTo>
                  <a:lnTo>
                    <a:pt x="296" y="321"/>
                  </a:lnTo>
                  <a:lnTo>
                    <a:pt x="288" y="319"/>
                  </a:lnTo>
                  <a:lnTo>
                    <a:pt x="286" y="315"/>
                  </a:lnTo>
                  <a:lnTo>
                    <a:pt x="284" y="311"/>
                  </a:lnTo>
                  <a:lnTo>
                    <a:pt x="284" y="311"/>
                  </a:lnTo>
                  <a:lnTo>
                    <a:pt x="286" y="307"/>
                  </a:lnTo>
                  <a:lnTo>
                    <a:pt x="286" y="303"/>
                  </a:lnTo>
                  <a:lnTo>
                    <a:pt x="284" y="303"/>
                  </a:lnTo>
                  <a:lnTo>
                    <a:pt x="284" y="303"/>
                  </a:lnTo>
                  <a:lnTo>
                    <a:pt x="278" y="297"/>
                  </a:lnTo>
                  <a:lnTo>
                    <a:pt x="274" y="291"/>
                  </a:lnTo>
                  <a:lnTo>
                    <a:pt x="274" y="291"/>
                  </a:lnTo>
                  <a:lnTo>
                    <a:pt x="274" y="291"/>
                  </a:lnTo>
                  <a:lnTo>
                    <a:pt x="274" y="291"/>
                  </a:lnTo>
                  <a:lnTo>
                    <a:pt x="282" y="287"/>
                  </a:lnTo>
                  <a:lnTo>
                    <a:pt x="282" y="287"/>
                  </a:lnTo>
                  <a:lnTo>
                    <a:pt x="276" y="281"/>
                  </a:lnTo>
                  <a:lnTo>
                    <a:pt x="272" y="277"/>
                  </a:lnTo>
                  <a:lnTo>
                    <a:pt x="272" y="277"/>
                  </a:lnTo>
                  <a:lnTo>
                    <a:pt x="272" y="275"/>
                  </a:lnTo>
                  <a:lnTo>
                    <a:pt x="272" y="275"/>
                  </a:lnTo>
                  <a:lnTo>
                    <a:pt x="274" y="273"/>
                  </a:lnTo>
                  <a:lnTo>
                    <a:pt x="278" y="273"/>
                  </a:lnTo>
                  <a:lnTo>
                    <a:pt x="278" y="273"/>
                  </a:lnTo>
                  <a:lnTo>
                    <a:pt x="274" y="265"/>
                  </a:lnTo>
                  <a:lnTo>
                    <a:pt x="274" y="263"/>
                  </a:lnTo>
                  <a:lnTo>
                    <a:pt x="274" y="263"/>
                  </a:lnTo>
                  <a:lnTo>
                    <a:pt x="274" y="263"/>
                  </a:lnTo>
                  <a:lnTo>
                    <a:pt x="274" y="263"/>
                  </a:lnTo>
                  <a:lnTo>
                    <a:pt x="274" y="263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98" name="Freeform 57"/>
            <p:cNvSpPr>
              <a:spLocks/>
            </p:cNvSpPr>
            <p:nvPr/>
          </p:nvSpPr>
          <p:spPr bwMode="auto">
            <a:xfrm>
              <a:off x="4232" y="1681"/>
              <a:ext cx="420" cy="538"/>
            </a:xfrm>
            <a:custGeom>
              <a:avLst/>
              <a:gdLst>
                <a:gd name="T0" fmla="*/ 384 w 420"/>
                <a:gd name="T1" fmla="*/ 94 h 538"/>
                <a:gd name="T2" fmla="*/ 332 w 420"/>
                <a:gd name="T3" fmla="*/ 50 h 538"/>
                <a:gd name="T4" fmla="*/ 293 w 420"/>
                <a:gd name="T5" fmla="*/ 8 h 538"/>
                <a:gd name="T6" fmla="*/ 265 w 420"/>
                <a:gd name="T7" fmla="*/ 14 h 538"/>
                <a:gd name="T8" fmla="*/ 231 w 420"/>
                <a:gd name="T9" fmla="*/ 26 h 538"/>
                <a:gd name="T10" fmla="*/ 203 w 420"/>
                <a:gd name="T11" fmla="*/ 38 h 538"/>
                <a:gd name="T12" fmla="*/ 161 w 420"/>
                <a:gd name="T13" fmla="*/ 44 h 538"/>
                <a:gd name="T14" fmla="*/ 127 w 420"/>
                <a:gd name="T15" fmla="*/ 38 h 538"/>
                <a:gd name="T16" fmla="*/ 117 w 420"/>
                <a:gd name="T17" fmla="*/ 76 h 538"/>
                <a:gd name="T18" fmla="*/ 72 w 420"/>
                <a:gd name="T19" fmla="*/ 112 h 538"/>
                <a:gd name="T20" fmla="*/ 78 w 420"/>
                <a:gd name="T21" fmla="*/ 120 h 538"/>
                <a:gd name="T22" fmla="*/ 70 w 420"/>
                <a:gd name="T23" fmla="*/ 144 h 538"/>
                <a:gd name="T24" fmla="*/ 78 w 420"/>
                <a:gd name="T25" fmla="*/ 150 h 538"/>
                <a:gd name="T26" fmla="*/ 87 w 420"/>
                <a:gd name="T27" fmla="*/ 172 h 538"/>
                <a:gd name="T28" fmla="*/ 81 w 420"/>
                <a:gd name="T29" fmla="*/ 191 h 538"/>
                <a:gd name="T30" fmla="*/ 101 w 420"/>
                <a:gd name="T31" fmla="*/ 197 h 538"/>
                <a:gd name="T32" fmla="*/ 109 w 420"/>
                <a:gd name="T33" fmla="*/ 221 h 538"/>
                <a:gd name="T34" fmla="*/ 91 w 420"/>
                <a:gd name="T35" fmla="*/ 241 h 538"/>
                <a:gd name="T36" fmla="*/ 81 w 420"/>
                <a:gd name="T37" fmla="*/ 257 h 538"/>
                <a:gd name="T38" fmla="*/ 78 w 420"/>
                <a:gd name="T39" fmla="*/ 267 h 538"/>
                <a:gd name="T40" fmla="*/ 66 w 420"/>
                <a:gd name="T41" fmla="*/ 263 h 538"/>
                <a:gd name="T42" fmla="*/ 54 w 420"/>
                <a:gd name="T43" fmla="*/ 275 h 538"/>
                <a:gd name="T44" fmla="*/ 38 w 420"/>
                <a:gd name="T45" fmla="*/ 285 h 538"/>
                <a:gd name="T46" fmla="*/ 26 w 420"/>
                <a:gd name="T47" fmla="*/ 291 h 538"/>
                <a:gd name="T48" fmla="*/ 36 w 420"/>
                <a:gd name="T49" fmla="*/ 303 h 538"/>
                <a:gd name="T50" fmla="*/ 34 w 420"/>
                <a:gd name="T51" fmla="*/ 321 h 538"/>
                <a:gd name="T52" fmla="*/ 10 w 420"/>
                <a:gd name="T53" fmla="*/ 329 h 538"/>
                <a:gd name="T54" fmla="*/ 4 w 420"/>
                <a:gd name="T55" fmla="*/ 349 h 538"/>
                <a:gd name="T56" fmla="*/ 6 w 420"/>
                <a:gd name="T57" fmla="*/ 377 h 538"/>
                <a:gd name="T58" fmla="*/ 34 w 420"/>
                <a:gd name="T59" fmla="*/ 417 h 538"/>
                <a:gd name="T60" fmla="*/ 52 w 420"/>
                <a:gd name="T61" fmla="*/ 456 h 538"/>
                <a:gd name="T62" fmla="*/ 97 w 420"/>
                <a:gd name="T63" fmla="*/ 442 h 538"/>
                <a:gd name="T64" fmla="*/ 127 w 420"/>
                <a:gd name="T65" fmla="*/ 500 h 538"/>
                <a:gd name="T66" fmla="*/ 209 w 420"/>
                <a:gd name="T67" fmla="*/ 534 h 538"/>
                <a:gd name="T68" fmla="*/ 227 w 420"/>
                <a:gd name="T69" fmla="*/ 512 h 538"/>
                <a:gd name="T70" fmla="*/ 249 w 420"/>
                <a:gd name="T71" fmla="*/ 506 h 538"/>
                <a:gd name="T72" fmla="*/ 239 w 420"/>
                <a:gd name="T73" fmla="*/ 482 h 538"/>
                <a:gd name="T74" fmla="*/ 277 w 420"/>
                <a:gd name="T75" fmla="*/ 460 h 538"/>
                <a:gd name="T76" fmla="*/ 289 w 420"/>
                <a:gd name="T77" fmla="*/ 444 h 538"/>
                <a:gd name="T78" fmla="*/ 318 w 420"/>
                <a:gd name="T79" fmla="*/ 446 h 538"/>
                <a:gd name="T80" fmla="*/ 308 w 420"/>
                <a:gd name="T81" fmla="*/ 470 h 538"/>
                <a:gd name="T82" fmla="*/ 330 w 420"/>
                <a:gd name="T83" fmla="*/ 456 h 538"/>
                <a:gd name="T84" fmla="*/ 346 w 420"/>
                <a:gd name="T85" fmla="*/ 442 h 538"/>
                <a:gd name="T86" fmla="*/ 350 w 420"/>
                <a:gd name="T87" fmla="*/ 415 h 538"/>
                <a:gd name="T88" fmla="*/ 370 w 420"/>
                <a:gd name="T89" fmla="*/ 403 h 538"/>
                <a:gd name="T90" fmla="*/ 384 w 420"/>
                <a:gd name="T91" fmla="*/ 379 h 538"/>
                <a:gd name="T92" fmla="*/ 372 w 420"/>
                <a:gd name="T93" fmla="*/ 371 h 538"/>
                <a:gd name="T94" fmla="*/ 348 w 420"/>
                <a:gd name="T95" fmla="*/ 387 h 538"/>
                <a:gd name="T96" fmla="*/ 332 w 420"/>
                <a:gd name="T97" fmla="*/ 343 h 538"/>
                <a:gd name="T98" fmla="*/ 326 w 420"/>
                <a:gd name="T99" fmla="*/ 289 h 538"/>
                <a:gd name="T100" fmla="*/ 324 w 420"/>
                <a:gd name="T101" fmla="*/ 263 h 538"/>
                <a:gd name="T102" fmla="*/ 318 w 420"/>
                <a:gd name="T103" fmla="*/ 231 h 538"/>
                <a:gd name="T104" fmla="*/ 334 w 420"/>
                <a:gd name="T105" fmla="*/ 199 h 538"/>
                <a:gd name="T106" fmla="*/ 344 w 420"/>
                <a:gd name="T107" fmla="*/ 184 h 538"/>
                <a:gd name="T108" fmla="*/ 360 w 420"/>
                <a:gd name="T109" fmla="*/ 184 h 538"/>
                <a:gd name="T110" fmla="*/ 364 w 420"/>
                <a:gd name="T111" fmla="*/ 168 h 538"/>
                <a:gd name="T112" fmla="*/ 406 w 420"/>
                <a:gd name="T113" fmla="*/ 197 h 538"/>
                <a:gd name="T114" fmla="*/ 418 w 420"/>
                <a:gd name="T115" fmla="*/ 209 h 538"/>
                <a:gd name="T116" fmla="*/ 412 w 420"/>
                <a:gd name="T117" fmla="*/ 144 h 538"/>
                <a:gd name="T118" fmla="*/ 394 w 420"/>
                <a:gd name="T119" fmla="*/ 114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20" h="538">
                  <a:moveTo>
                    <a:pt x="384" y="114"/>
                  </a:moveTo>
                  <a:lnTo>
                    <a:pt x="384" y="114"/>
                  </a:lnTo>
                  <a:lnTo>
                    <a:pt x="386" y="104"/>
                  </a:lnTo>
                  <a:lnTo>
                    <a:pt x="384" y="98"/>
                  </a:lnTo>
                  <a:lnTo>
                    <a:pt x="384" y="96"/>
                  </a:lnTo>
                  <a:lnTo>
                    <a:pt x="384" y="94"/>
                  </a:lnTo>
                  <a:lnTo>
                    <a:pt x="384" y="94"/>
                  </a:lnTo>
                  <a:lnTo>
                    <a:pt x="372" y="88"/>
                  </a:lnTo>
                  <a:lnTo>
                    <a:pt x="368" y="82"/>
                  </a:lnTo>
                  <a:lnTo>
                    <a:pt x="342" y="82"/>
                  </a:lnTo>
                  <a:lnTo>
                    <a:pt x="340" y="62"/>
                  </a:lnTo>
                  <a:lnTo>
                    <a:pt x="340" y="62"/>
                  </a:lnTo>
                  <a:lnTo>
                    <a:pt x="334" y="56"/>
                  </a:lnTo>
                  <a:lnTo>
                    <a:pt x="332" y="50"/>
                  </a:lnTo>
                  <a:lnTo>
                    <a:pt x="328" y="48"/>
                  </a:lnTo>
                  <a:lnTo>
                    <a:pt x="324" y="46"/>
                  </a:lnTo>
                  <a:lnTo>
                    <a:pt x="324" y="46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299" y="28"/>
                  </a:lnTo>
                  <a:lnTo>
                    <a:pt x="293" y="8"/>
                  </a:lnTo>
                  <a:lnTo>
                    <a:pt x="271" y="0"/>
                  </a:lnTo>
                  <a:lnTo>
                    <a:pt x="267" y="2"/>
                  </a:lnTo>
                  <a:lnTo>
                    <a:pt x="267" y="2"/>
                  </a:lnTo>
                  <a:lnTo>
                    <a:pt x="271" y="6"/>
                  </a:lnTo>
                  <a:lnTo>
                    <a:pt x="267" y="12"/>
                  </a:lnTo>
                  <a:lnTo>
                    <a:pt x="265" y="14"/>
                  </a:lnTo>
                  <a:lnTo>
                    <a:pt x="265" y="14"/>
                  </a:lnTo>
                  <a:lnTo>
                    <a:pt x="261" y="20"/>
                  </a:lnTo>
                  <a:lnTo>
                    <a:pt x="257" y="22"/>
                  </a:lnTo>
                  <a:lnTo>
                    <a:pt x="251" y="26"/>
                  </a:lnTo>
                  <a:lnTo>
                    <a:pt x="241" y="26"/>
                  </a:lnTo>
                  <a:lnTo>
                    <a:pt x="241" y="26"/>
                  </a:lnTo>
                  <a:lnTo>
                    <a:pt x="235" y="26"/>
                  </a:lnTo>
                  <a:lnTo>
                    <a:pt x="231" y="26"/>
                  </a:lnTo>
                  <a:lnTo>
                    <a:pt x="225" y="30"/>
                  </a:lnTo>
                  <a:lnTo>
                    <a:pt x="217" y="34"/>
                  </a:lnTo>
                  <a:lnTo>
                    <a:pt x="217" y="34"/>
                  </a:lnTo>
                  <a:lnTo>
                    <a:pt x="217" y="36"/>
                  </a:lnTo>
                  <a:lnTo>
                    <a:pt x="213" y="38"/>
                  </a:lnTo>
                  <a:lnTo>
                    <a:pt x="209" y="38"/>
                  </a:lnTo>
                  <a:lnTo>
                    <a:pt x="203" y="38"/>
                  </a:lnTo>
                  <a:lnTo>
                    <a:pt x="193" y="36"/>
                  </a:lnTo>
                  <a:lnTo>
                    <a:pt x="193" y="36"/>
                  </a:lnTo>
                  <a:lnTo>
                    <a:pt x="187" y="38"/>
                  </a:lnTo>
                  <a:lnTo>
                    <a:pt x="175" y="38"/>
                  </a:lnTo>
                  <a:lnTo>
                    <a:pt x="167" y="44"/>
                  </a:lnTo>
                  <a:lnTo>
                    <a:pt x="161" y="44"/>
                  </a:lnTo>
                  <a:lnTo>
                    <a:pt x="161" y="44"/>
                  </a:lnTo>
                  <a:lnTo>
                    <a:pt x="159" y="44"/>
                  </a:lnTo>
                  <a:lnTo>
                    <a:pt x="157" y="42"/>
                  </a:lnTo>
                  <a:lnTo>
                    <a:pt x="149" y="36"/>
                  </a:lnTo>
                  <a:lnTo>
                    <a:pt x="143" y="28"/>
                  </a:lnTo>
                  <a:lnTo>
                    <a:pt x="123" y="36"/>
                  </a:lnTo>
                  <a:lnTo>
                    <a:pt x="123" y="36"/>
                  </a:lnTo>
                  <a:lnTo>
                    <a:pt x="127" y="38"/>
                  </a:lnTo>
                  <a:lnTo>
                    <a:pt x="127" y="38"/>
                  </a:lnTo>
                  <a:lnTo>
                    <a:pt x="135" y="42"/>
                  </a:lnTo>
                  <a:lnTo>
                    <a:pt x="139" y="48"/>
                  </a:lnTo>
                  <a:lnTo>
                    <a:pt x="135" y="50"/>
                  </a:lnTo>
                  <a:lnTo>
                    <a:pt x="129" y="60"/>
                  </a:lnTo>
                  <a:lnTo>
                    <a:pt x="133" y="74"/>
                  </a:lnTo>
                  <a:lnTo>
                    <a:pt x="117" y="76"/>
                  </a:lnTo>
                  <a:lnTo>
                    <a:pt x="105" y="78"/>
                  </a:lnTo>
                  <a:lnTo>
                    <a:pt x="109" y="88"/>
                  </a:lnTo>
                  <a:lnTo>
                    <a:pt x="83" y="100"/>
                  </a:lnTo>
                  <a:lnTo>
                    <a:pt x="81" y="106"/>
                  </a:lnTo>
                  <a:lnTo>
                    <a:pt x="81" y="106"/>
                  </a:lnTo>
                  <a:lnTo>
                    <a:pt x="80" y="106"/>
                  </a:lnTo>
                  <a:lnTo>
                    <a:pt x="72" y="112"/>
                  </a:lnTo>
                  <a:lnTo>
                    <a:pt x="72" y="112"/>
                  </a:lnTo>
                  <a:lnTo>
                    <a:pt x="70" y="112"/>
                  </a:lnTo>
                  <a:lnTo>
                    <a:pt x="70" y="114"/>
                  </a:lnTo>
                  <a:lnTo>
                    <a:pt x="70" y="118"/>
                  </a:lnTo>
                  <a:lnTo>
                    <a:pt x="74" y="122"/>
                  </a:lnTo>
                  <a:lnTo>
                    <a:pt x="74" y="122"/>
                  </a:lnTo>
                  <a:lnTo>
                    <a:pt x="78" y="120"/>
                  </a:lnTo>
                  <a:lnTo>
                    <a:pt x="78" y="120"/>
                  </a:lnTo>
                  <a:lnTo>
                    <a:pt x="80" y="124"/>
                  </a:lnTo>
                  <a:lnTo>
                    <a:pt x="81" y="128"/>
                  </a:lnTo>
                  <a:lnTo>
                    <a:pt x="81" y="136"/>
                  </a:lnTo>
                  <a:lnTo>
                    <a:pt x="80" y="138"/>
                  </a:lnTo>
                  <a:lnTo>
                    <a:pt x="80" y="138"/>
                  </a:lnTo>
                  <a:lnTo>
                    <a:pt x="70" y="144"/>
                  </a:lnTo>
                  <a:lnTo>
                    <a:pt x="70" y="144"/>
                  </a:lnTo>
                  <a:lnTo>
                    <a:pt x="70" y="146"/>
                  </a:lnTo>
                  <a:lnTo>
                    <a:pt x="70" y="146"/>
                  </a:lnTo>
                  <a:lnTo>
                    <a:pt x="70" y="146"/>
                  </a:lnTo>
                  <a:lnTo>
                    <a:pt x="78" y="148"/>
                  </a:lnTo>
                  <a:lnTo>
                    <a:pt x="78" y="148"/>
                  </a:lnTo>
                  <a:lnTo>
                    <a:pt x="78" y="150"/>
                  </a:lnTo>
                  <a:lnTo>
                    <a:pt x="80" y="154"/>
                  </a:lnTo>
                  <a:lnTo>
                    <a:pt x="80" y="160"/>
                  </a:lnTo>
                  <a:lnTo>
                    <a:pt x="87" y="162"/>
                  </a:lnTo>
                  <a:lnTo>
                    <a:pt x="87" y="162"/>
                  </a:lnTo>
                  <a:lnTo>
                    <a:pt x="87" y="170"/>
                  </a:lnTo>
                  <a:lnTo>
                    <a:pt x="87" y="170"/>
                  </a:lnTo>
                  <a:lnTo>
                    <a:pt x="87" y="172"/>
                  </a:lnTo>
                  <a:lnTo>
                    <a:pt x="87" y="176"/>
                  </a:lnTo>
                  <a:lnTo>
                    <a:pt x="83" y="180"/>
                  </a:lnTo>
                  <a:lnTo>
                    <a:pt x="81" y="182"/>
                  </a:lnTo>
                  <a:lnTo>
                    <a:pt x="81" y="182"/>
                  </a:lnTo>
                  <a:lnTo>
                    <a:pt x="80" y="184"/>
                  </a:lnTo>
                  <a:lnTo>
                    <a:pt x="80" y="188"/>
                  </a:lnTo>
                  <a:lnTo>
                    <a:pt x="81" y="191"/>
                  </a:lnTo>
                  <a:lnTo>
                    <a:pt x="81" y="191"/>
                  </a:lnTo>
                  <a:lnTo>
                    <a:pt x="87" y="193"/>
                  </a:lnTo>
                  <a:lnTo>
                    <a:pt x="91" y="195"/>
                  </a:lnTo>
                  <a:lnTo>
                    <a:pt x="95" y="195"/>
                  </a:lnTo>
                  <a:lnTo>
                    <a:pt x="99" y="197"/>
                  </a:lnTo>
                  <a:lnTo>
                    <a:pt x="99" y="197"/>
                  </a:lnTo>
                  <a:lnTo>
                    <a:pt x="101" y="197"/>
                  </a:lnTo>
                  <a:lnTo>
                    <a:pt x="103" y="199"/>
                  </a:lnTo>
                  <a:lnTo>
                    <a:pt x="105" y="209"/>
                  </a:lnTo>
                  <a:lnTo>
                    <a:pt x="105" y="209"/>
                  </a:lnTo>
                  <a:lnTo>
                    <a:pt x="105" y="217"/>
                  </a:lnTo>
                  <a:lnTo>
                    <a:pt x="105" y="219"/>
                  </a:lnTo>
                  <a:lnTo>
                    <a:pt x="109" y="221"/>
                  </a:lnTo>
                  <a:lnTo>
                    <a:pt x="109" y="221"/>
                  </a:lnTo>
                  <a:lnTo>
                    <a:pt x="109" y="221"/>
                  </a:lnTo>
                  <a:lnTo>
                    <a:pt x="105" y="225"/>
                  </a:lnTo>
                  <a:lnTo>
                    <a:pt x="103" y="227"/>
                  </a:lnTo>
                  <a:lnTo>
                    <a:pt x="103" y="227"/>
                  </a:lnTo>
                  <a:lnTo>
                    <a:pt x="97" y="233"/>
                  </a:lnTo>
                  <a:lnTo>
                    <a:pt x="91" y="241"/>
                  </a:lnTo>
                  <a:lnTo>
                    <a:pt x="91" y="241"/>
                  </a:lnTo>
                  <a:lnTo>
                    <a:pt x="91" y="243"/>
                  </a:lnTo>
                  <a:lnTo>
                    <a:pt x="89" y="249"/>
                  </a:lnTo>
                  <a:lnTo>
                    <a:pt x="89" y="249"/>
                  </a:lnTo>
                  <a:lnTo>
                    <a:pt x="87" y="251"/>
                  </a:lnTo>
                  <a:lnTo>
                    <a:pt x="87" y="253"/>
                  </a:lnTo>
                  <a:lnTo>
                    <a:pt x="81" y="257"/>
                  </a:lnTo>
                  <a:lnTo>
                    <a:pt x="81" y="257"/>
                  </a:lnTo>
                  <a:lnTo>
                    <a:pt x="80" y="257"/>
                  </a:lnTo>
                  <a:lnTo>
                    <a:pt x="81" y="261"/>
                  </a:lnTo>
                  <a:lnTo>
                    <a:pt x="87" y="261"/>
                  </a:lnTo>
                  <a:lnTo>
                    <a:pt x="87" y="261"/>
                  </a:lnTo>
                  <a:lnTo>
                    <a:pt x="81" y="263"/>
                  </a:lnTo>
                  <a:lnTo>
                    <a:pt x="78" y="267"/>
                  </a:lnTo>
                  <a:lnTo>
                    <a:pt x="78" y="267"/>
                  </a:lnTo>
                  <a:lnTo>
                    <a:pt x="76" y="267"/>
                  </a:lnTo>
                  <a:lnTo>
                    <a:pt x="72" y="267"/>
                  </a:lnTo>
                  <a:lnTo>
                    <a:pt x="70" y="267"/>
                  </a:lnTo>
                  <a:lnTo>
                    <a:pt x="70" y="267"/>
                  </a:lnTo>
                  <a:lnTo>
                    <a:pt x="70" y="267"/>
                  </a:lnTo>
                  <a:lnTo>
                    <a:pt x="68" y="263"/>
                  </a:lnTo>
                  <a:lnTo>
                    <a:pt x="66" y="263"/>
                  </a:lnTo>
                  <a:lnTo>
                    <a:pt x="64" y="261"/>
                  </a:lnTo>
                  <a:lnTo>
                    <a:pt x="56" y="261"/>
                  </a:lnTo>
                  <a:lnTo>
                    <a:pt x="56" y="261"/>
                  </a:lnTo>
                  <a:lnTo>
                    <a:pt x="56" y="261"/>
                  </a:lnTo>
                  <a:lnTo>
                    <a:pt x="54" y="263"/>
                  </a:lnTo>
                  <a:lnTo>
                    <a:pt x="52" y="267"/>
                  </a:lnTo>
                  <a:lnTo>
                    <a:pt x="54" y="275"/>
                  </a:lnTo>
                  <a:lnTo>
                    <a:pt x="54" y="275"/>
                  </a:lnTo>
                  <a:lnTo>
                    <a:pt x="52" y="277"/>
                  </a:lnTo>
                  <a:lnTo>
                    <a:pt x="52" y="277"/>
                  </a:lnTo>
                  <a:lnTo>
                    <a:pt x="48" y="281"/>
                  </a:lnTo>
                  <a:lnTo>
                    <a:pt x="44" y="281"/>
                  </a:lnTo>
                  <a:lnTo>
                    <a:pt x="38" y="285"/>
                  </a:lnTo>
                  <a:lnTo>
                    <a:pt x="38" y="285"/>
                  </a:lnTo>
                  <a:lnTo>
                    <a:pt x="36" y="285"/>
                  </a:lnTo>
                  <a:lnTo>
                    <a:pt x="32" y="285"/>
                  </a:lnTo>
                  <a:lnTo>
                    <a:pt x="30" y="285"/>
                  </a:lnTo>
                  <a:lnTo>
                    <a:pt x="26" y="285"/>
                  </a:lnTo>
                  <a:lnTo>
                    <a:pt x="26" y="285"/>
                  </a:lnTo>
                  <a:lnTo>
                    <a:pt x="26" y="287"/>
                  </a:lnTo>
                  <a:lnTo>
                    <a:pt x="26" y="291"/>
                  </a:lnTo>
                  <a:lnTo>
                    <a:pt x="26" y="299"/>
                  </a:lnTo>
                  <a:lnTo>
                    <a:pt x="26" y="299"/>
                  </a:lnTo>
                  <a:lnTo>
                    <a:pt x="30" y="301"/>
                  </a:lnTo>
                  <a:lnTo>
                    <a:pt x="32" y="303"/>
                  </a:lnTo>
                  <a:lnTo>
                    <a:pt x="34" y="303"/>
                  </a:lnTo>
                  <a:lnTo>
                    <a:pt x="34" y="303"/>
                  </a:lnTo>
                  <a:lnTo>
                    <a:pt x="36" y="303"/>
                  </a:lnTo>
                  <a:lnTo>
                    <a:pt x="38" y="305"/>
                  </a:lnTo>
                  <a:lnTo>
                    <a:pt x="42" y="311"/>
                  </a:lnTo>
                  <a:lnTo>
                    <a:pt x="44" y="323"/>
                  </a:lnTo>
                  <a:lnTo>
                    <a:pt x="44" y="323"/>
                  </a:lnTo>
                  <a:lnTo>
                    <a:pt x="42" y="325"/>
                  </a:lnTo>
                  <a:lnTo>
                    <a:pt x="38" y="323"/>
                  </a:lnTo>
                  <a:lnTo>
                    <a:pt x="34" y="321"/>
                  </a:lnTo>
                  <a:lnTo>
                    <a:pt x="28" y="317"/>
                  </a:lnTo>
                  <a:lnTo>
                    <a:pt x="24" y="321"/>
                  </a:lnTo>
                  <a:lnTo>
                    <a:pt x="24" y="327"/>
                  </a:lnTo>
                  <a:lnTo>
                    <a:pt x="24" y="327"/>
                  </a:lnTo>
                  <a:lnTo>
                    <a:pt x="20" y="327"/>
                  </a:lnTo>
                  <a:lnTo>
                    <a:pt x="10" y="329"/>
                  </a:lnTo>
                  <a:lnTo>
                    <a:pt x="10" y="329"/>
                  </a:lnTo>
                  <a:lnTo>
                    <a:pt x="6" y="329"/>
                  </a:lnTo>
                  <a:lnTo>
                    <a:pt x="4" y="333"/>
                  </a:lnTo>
                  <a:lnTo>
                    <a:pt x="0" y="335"/>
                  </a:lnTo>
                  <a:lnTo>
                    <a:pt x="0" y="335"/>
                  </a:lnTo>
                  <a:lnTo>
                    <a:pt x="2" y="341"/>
                  </a:lnTo>
                  <a:lnTo>
                    <a:pt x="4" y="349"/>
                  </a:lnTo>
                  <a:lnTo>
                    <a:pt x="4" y="349"/>
                  </a:lnTo>
                  <a:lnTo>
                    <a:pt x="4" y="353"/>
                  </a:lnTo>
                  <a:lnTo>
                    <a:pt x="2" y="357"/>
                  </a:lnTo>
                  <a:lnTo>
                    <a:pt x="0" y="365"/>
                  </a:lnTo>
                  <a:lnTo>
                    <a:pt x="0" y="365"/>
                  </a:lnTo>
                  <a:lnTo>
                    <a:pt x="2" y="369"/>
                  </a:lnTo>
                  <a:lnTo>
                    <a:pt x="4" y="375"/>
                  </a:lnTo>
                  <a:lnTo>
                    <a:pt x="6" y="377"/>
                  </a:lnTo>
                  <a:lnTo>
                    <a:pt x="6" y="377"/>
                  </a:lnTo>
                  <a:lnTo>
                    <a:pt x="10" y="385"/>
                  </a:lnTo>
                  <a:lnTo>
                    <a:pt x="10" y="391"/>
                  </a:lnTo>
                  <a:lnTo>
                    <a:pt x="10" y="399"/>
                  </a:lnTo>
                  <a:lnTo>
                    <a:pt x="10" y="399"/>
                  </a:lnTo>
                  <a:lnTo>
                    <a:pt x="24" y="405"/>
                  </a:lnTo>
                  <a:lnTo>
                    <a:pt x="34" y="417"/>
                  </a:lnTo>
                  <a:lnTo>
                    <a:pt x="34" y="417"/>
                  </a:lnTo>
                  <a:lnTo>
                    <a:pt x="36" y="423"/>
                  </a:lnTo>
                  <a:lnTo>
                    <a:pt x="38" y="426"/>
                  </a:lnTo>
                  <a:lnTo>
                    <a:pt x="42" y="436"/>
                  </a:lnTo>
                  <a:lnTo>
                    <a:pt x="42" y="436"/>
                  </a:lnTo>
                  <a:lnTo>
                    <a:pt x="46" y="456"/>
                  </a:lnTo>
                  <a:lnTo>
                    <a:pt x="52" y="456"/>
                  </a:lnTo>
                  <a:lnTo>
                    <a:pt x="52" y="456"/>
                  </a:lnTo>
                  <a:lnTo>
                    <a:pt x="80" y="442"/>
                  </a:lnTo>
                  <a:lnTo>
                    <a:pt x="80" y="442"/>
                  </a:lnTo>
                  <a:lnTo>
                    <a:pt x="83" y="440"/>
                  </a:lnTo>
                  <a:lnTo>
                    <a:pt x="89" y="440"/>
                  </a:lnTo>
                  <a:lnTo>
                    <a:pt x="93" y="442"/>
                  </a:lnTo>
                  <a:lnTo>
                    <a:pt x="97" y="442"/>
                  </a:lnTo>
                  <a:lnTo>
                    <a:pt x="109" y="450"/>
                  </a:lnTo>
                  <a:lnTo>
                    <a:pt x="109" y="450"/>
                  </a:lnTo>
                  <a:lnTo>
                    <a:pt x="115" y="458"/>
                  </a:lnTo>
                  <a:lnTo>
                    <a:pt x="123" y="464"/>
                  </a:lnTo>
                  <a:lnTo>
                    <a:pt x="135" y="476"/>
                  </a:lnTo>
                  <a:lnTo>
                    <a:pt x="135" y="490"/>
                  </a:lnTo>
                  <a:lnTo>
                    <a:pt x="127" y="500"/>
                  </a:lnTo>
                  <a:lnTo>
                    <a:pt x="125" y="518"/>
                  </a:lnTo>
                  <a:lnTo>
                    <a:pt x="141" y="518"/>
                  </a:lnTo>
                  <a:lnTo>
                    <a:pt x="171" y="508"/>
                  </a:lnTo>
                  <a:lnTo>
                    <a:pt x="189" y="522"/>
                  </a:lnTo>
                  <a:lnTo>
                    <a:pt x="201" y="538"/>
                  </a:lnTo>
                  <a:lnTo>
                    <a:pt x="201" y="538"/>
                  </a:lnTo>
                  <a:lnTo>
                    <a:pt x="209" y="534"/>
                  </a:lnTo>
                  <a:lnTo>
                    <a:pt x="217" y="532"/>
                  </a:lnTo>
                  <a:lnTo>
                    <a:pt x="217" y="532"/>
                  </a:lnTo>
                  <a:lnTo>
                    <a:pt x="219" y="528"/>
                  </a:lnTo>
                  <a:lnTo>
                    <a:pt x="221" y="526"/>
                  </a:lnTo>
                  <a:lnTo>
                    <a:pt x="225" y="518"/>
                  </a:lnTo>
                  <a:lnTo>
                    <a:pt x="227" y="512"/>
                  </a:lnTo>
                  <a:lnTo>
                    <a:pt x="227" y="512"/>
                  </a:lnTo>
                  <a:lnTo>
                    <a:pt x="231" y="510"/>
                  </a:lnTo>
                  <a:lnTo>
                    <a:pt x="231" y="510"/>
                  </a:lnTo>
                  <a:lnTo>
                    <a:pt x="239" y="512"/>
                  </a:lnTo>
                  <a:lnTo>
                    <a:pt x="239" y="512"/>
                  </a:lnTo>
                  <a:lnTo>
                    <a:pt x="243" y="510"/>
                  </a:lnTo>
                  <a:lnTo>
                    <a:pt x="249" y="508"/>
                  </a:lnTo>
                  <a:lnTo>
                    <a:pt x="249" y="506"/>
                  </a:lnTo>
                  <a:lnTo>
                    <a:pt x="249" y="504"/>
                  </a:lnTo>
                  <a:lnTo>
                    <a:pt x="249" y="504"/>
                  </a:lnTo>
                  <a:lnTo>
                    <a:pt x="243" y="500"/>
                  </a:lnTo>
                  <a:lnTo>
                    <a:pt x="239" y="494"/>
                  </a:lnTo>
                  <a:lnTo>
                    <a:pt x="239" y="490"/>
                  </a:lnTo>
                  <a:lnTo>
                    <a:pt x="239" y="486"/>
                  </a:lnTo>
                  <a:lnTo>
                    <a:pt x="239" y="482"/>
                  </a:lnTo>
                  <a:lnTo>
                    <a:pt x="241" y="480"/>
                  </a:lnTo>
                  <a:lnTo>
                    <a:pt x="241" y="480"/>
                  </a:lnTo>
                  <a:lnTo>
                    <a:pt x="243" y="476"/>
                  </a:lnTo>
                  <a:lnTo>
                    <a:pt x="251" y="470"/>
                  </a:lnTo>
                  <a:lnTo>
                    <a:pt x="259" y="464"/>
                  </a:lnTo>
                  <a:lnTo>
                    <a:pt x="271" y="462"/>
                  </a:lnTo>
                  <a:lnTo>
                    <a:pt x="277" y="460"/>
                  </a:lnTo>
                  <a:lnTo>
                    <a:pt x="277" y="460"/>
                  </a:lnTo>
                  <a:lnTo>
                    <a:pt x="277" y="460"/>
                  </a:lnTo>
                  <a:lnTo>
                    <a:pt x="279" y="458"/>
                  </a:lnTo>
                  <a:lnTo>
                    <a:pt x="281" y="454"/>
                  </a:lnTo>
                  <a:lnTo>
                    <a:pt x="283" y="448"/>
                  </a:lnTo>
                  <a:lnTo>
                    <a:pt x="285" y="446"/>
                  </a:lnTo>
                  <a:lnTo>
                    <a:pt x="289" y="444"/>
                  </a:lnTo>
                  <a:lnTo>
                    <a:pt x="289" y="444"/>
                  </a:lnTo>
                  <a:lnTo>
                    <a:pt x="310" y="438"/>
                  </a:lnTo>
                  <a:lnTo>
                    <a:pt x="318" y="438"/>
                  </a:lnTo>
                  <a:lnTo>
                    <a:pt x="320" y="438"/>
                  </a:lnTo>
                  <a:lnTo>
                    <a:pt x="320" y="442"/>
                  </a:lnTo>
                  <a:lnTo>
                    <a:pt x="320" y="442"/>
                  </a:lnTo>
                  <a:lnTo>
                    <a:pt x="318" y="446"/>
                  </a:lnTo>
                  <a:lnTo>
                    <a:pt x="314" y="450"/>
                  </a:lnTo>
                  <a:lnTo>
                    <a:pt x="306" y="460"/>
                  </a:lnTo>
                  <a:lnTo>
                    <a:pt x="306" y="460"/>
                  </a:lnTo>
                  <a:lnTo>
                    <a:pt x="302" y="464"/>
                  </a:lnTo>
                  <a:lnTo>
                    <a:pt x="302" y="466"/>
                  </a:lnTo>
                  <a:lnTo>
                    <a:pt x="306" y="468"/>
                  </a:lnTo>
                  <a:lnTo>
                    <a:pt x="308" y="470"/>
                  </a:lnTo>
                  <a:lnTo>
                    <a:pt x="308" y="470"/>
                  </a:lnTo>
                  <a:lnTo>
                    <a:pt x="316" y="468"/>
                  </a:lnTo>
                  <a:lnTo>
                    <a:pt x="320" y="468"/>
                  </a:lnTo>
                  <a:lnTo>
                    <a:pt x="324" y="464"/>
                  </a:lnTo>
                  <a:lnTo>
                    <a:pt x="328" y="460"/>
                  </a:lnTo>
                  <a:lnTo>
                    <a:pt x="328" y="460"/>
                  </a:lnTo>
                  <a:lnTo>
                    <a:pt x="330" y="456"/>
                  </a:lnTo>
                  <a:lnTo>
                    <a:pt x="330" y="450"/>
                  </a:lnTo>
                  <a:lnTo>
                    <a:pt x="332" y="446"/>
                  </a:lnTo>
                  <a:lnTo>
                    <a:pt x="332" y="446"/>
                  </a:lnTo>
                  <a:lnTo>
                    <a:pt x="334" y="444"/>
                  </a:lnTo>
                  <a:lnTo>
                    <a:pt x="334" y="444"/>
                  </a:lnTo>
                  <a:lnTo>
                    <a:pt x="342" y="442"/>
                  </a:lnTo>
                  <a:lnTo>
                    <a:pt x="346" y="442"/>
                  </a:lnTo>
                  <a:lnTo>
                    <a:pt x="348" y="438"/>
                  </a:lnTo>
                  <a:lnTo>
                    <a:pt x="348" y="434"/>
                  </a:lnTo>
                  <a:lnTo>
                    <a:pt x="348" y="434"/>
                  </a:lnTo>
                  <a:lnTo>
                    <a:pt x="348" y="426"/>
                  </a:lnTo>
                  <a:lnTo>
                    <a:pt x="348" y="421"/>
                  </a:lnTo>
                  <a:lnTo>
                    <a:pt x="348" y="417"/>
                  </a:lnTo>
                  <a:lnTo>
                    <a:pt x="350" y="415"/>
                  </a:lnTo>
                  <a:lnTo>
                    <a:pt x="352" y="413"/>
                  </a:lnTo>
                  <a:lnTo>
                    <a:pt x="352" y="413"/>
                  </a:lnTo>
                  <a:lnTo>
                    <a:pt x="360" y="411"/>
                  </a:lnTo>
                  <a:lnTo>
                    <a:pt x="366" y="409"/>
                  </a:lnTo>
                  <a:lnTo>
                    <a:pt x="368" y="405"/>
                  </a:lnTo>
                  <a:lnTo>
                    <a:pt x="370" y="405"/>
                  </a:lnTo>
                  <a:lnTo>
                    <a:pt x="370" y="403"/>
                  </a:lnTo>
                  <a:lnTo>
                    <a:pt x="370" y="403"/>
                  </a:lnTo>
                  <a:lnTo>
                    <a:pt x="370" y="399"/>
                  </a:lnTo>
                  <a:lnTo>
                    <a:pt x="372" y="395"/>
                  </a:lnTo>
                  <a:lnTo>
                    <a:pt x="374" y="389"/>
                  </a:lnTo>
                  <a:lnTo>
                    <a:pt x="378" y="385"/>
                  </a:lnTo>
                  <a:lnTo>
                    <a:pt x="378" y="385"/>
                  </a:lnTo>
                  <a:lnTo>
                    <a:pt x="384" y="379"/>
                  </a:lnTo>
                  <a:lnTo>
                    <a:pt x="384" y="375"/>
                  </a:lnTo>
                  <a:lnTo>
                    <a:pt x="384" y="373"/>
                  </a:lnTo>
                  <a:lnTo>
                    <a:pt x="384" y="371"/>
                  </a:lnTo>
                  <a:lnTo>
                    <a:pt x="378" y="371"/>
                  </a:lnTo>
                  <a:lnTo>
                    <a:pt x="376" y="369"/>
                  </a:lnTo>
                  <a:lnTo>
                    <a:pt x="376" y="369"/>
                  </a:lnTo>
                  <a:lnTo>
                    <a:pt x="372" y="371"/>
                  </a:lnTo>
                  <a:lnTo>
                    <a:pt x="368" y="373"/>
                  </a:lnTo>
                  <a:lnTo>
                    <a:pt x="362" y="379"/>
                  </a:lnTo>
                  <a:lnTo>
                    <a:pt x="354" y="387"/>
                  </a:lnTo>
                  <a:lnTo>
                    <a:pt x="352" y="389"/>
                  </a:lnTo>
                  <a:lnTo>
                    <a:pt x="350" y="389"/>
                  </a:lnTo>
                  <a:lnTo>
                    <a:pt x="350" y="389"/>
                  </a:lnTo>
                  <a:lnTo>
                    <a:pt x="348" y="387"/>
                  </a:lnTo>
                  <a:lnTo>
                    <a:pt x="346" y="381"/>
                  </a:lnTo>
                  <a:lnTo>
                    <a:pt x="344" y="373"/>
                  </a:lnTo>
                  <a:lnTo>
                    <a:pt x="344" y="373"/>
                  </a:lnTo>
                  <a:lnTo>
                    <a:pt x="338" y="363"/>
                  </a:lnTo>
                  <a:lnTo>
                    <a:pt x="334" y="353"/>
                  </a:lnTo>
                  <a:lnTo>
                    <a:pt x="332" y="343"/>
                  </a:lnTo>
                  <a:lnTo>
                    <a:pt x="332" y="343"/>
                  </a:lnTo>
                  <a:lnTo>
                    <a:pt x="332" y="329"/>
                  </a:lnTo>
                  <a:lnTo>
                    <a:pt x="332" y="321"/>
                  </a:lnTo>
                  <a:lnTo>
                    <a:pt x="334" y="311"/>
                  </a:lnTo>
                  <a:lnTo>
                    <a:pt x="332" y="303"/>
                  </a:lnTo>
                  <a:lnTo>
                    <a:pt x="332" y="303"/>
                  </a:lnTo>
                  <a:lnTo>
                    <a:pt x="328" y="295"/>
                  </a:lnTo>
                  <a:lnTo>
                    <a:pt x="326" y="289"/>
                  </a:lnTo>
                  <a:lnTo>
                    <a:pt x="324" y="281"/>
                  </a:lnTo>
                  <a:lnTo>
                    <a:pt x="324" y="281"/>
                  </a:lnTo>
                  <a:lnTo>
                    <a:pt x="324" y="277"/>
                  </a:lnTo>
                  <a:lnTo>
                    <a:pt x="326" y="273"/>
                  </a:lnTo>
                  <a:lnTo>
                    <a:pt x="328" y="271"/>
                  </a:lnTo>
                  <a:lnTo>
                    <a:pt x="324" y="263"/>
                  </a:lnTo>
                  <a:lnTo>
                    <a:pt x="324" y="263"/>
                  </a:lnTo>
                  <a:lnTo>
                    <a:pt x="320" y="261"/>
                  </a:lnTo>
                  <a:lnTo>
                    <a:pt x="318" y="257"/>
                  </a:lnTo>
                  <a:lnTo>
                    <a:pt x="316" y="253"/>
                  </a:lnTo>
                  <a:lnTo>
                    <a:pt x="316" y="249"/>
                  </a:lnTo>
                  <a:lnTo>
                    <a:pt x="316" y="249"/>
                  </a:lnTo>
                  <a:lnTo>
                    <a:pt x="316" y="239"/>
                  </a:lnTo>
                  <a:lnTo>
                    <a:pt x="318" y="231"/>
                  </a:lnTo>
                  <a:lnTo>
                    <a:pt x="322" y="225"/>
                  </a:lnTo>
                  <a:lnTo>
                    <a:pt x="324" y="221"/>
                  </a:lnTo>
                  <a:lnTo>
                    <a:pt x="324" y="221"/>
                  </a:lnTo>
                  <a:lnTo>
                    <a:pt x="328" y="217"/>
                  </a:lnTo>
                  <a:lnTo>
                    <a:pt x="332" y="213"/>
                  </a:lnTo>
                  <a:lnTo>
                    <a:pt x="332" y="207"/>
                  </a:lnTo>
                  <a:lnTo>
                    <a:pt x="334" y="199"/>
                  </a:lnTo>
                  <a:lnTo>
                    <a:pt x="334" y="199"/>
                  </a:lnTo>
                  <a:lnTo>
                    <a:pt x="334" y="195"/>
                  </a:lnTo>
                  <a:lnTo>
                    <a:pt x="334" y="191"/>
                  </a:lnTo>
                  <a:lnTo>
                    <a:pt x="340" y="188"/>
                  </a:lnTo>
                  <a:lnTo>
                    <a:pt x="342" y="186"/>
                  </a:lnTo>
                  <a:lnTo>
                    <a:pt x="344" y="184"/>
                  </a:lnTo>
                  <a:lnTo>
                    <a:pt x="344" y="184"/>
                  </a:lnTo>
                  <a:lnTo>
                    <a:pt x="348" y="186"/>
                  </a:lnTo>
                  <a:lnTo>
                    <a:pt x="354" y="188"/>
                  </a:lnTo>
                  <a:lnTo>
                    <a:pt x="356" y="190"/>
                  </a:lnTo>
                  <a:lnTo>
                    <a:pt x="360" y="190"/>
                  </a:lnTo>
                  <a:lnTo>
                    <a:pt x="360" y="188"/>
                  </a:lnTo>
                  <a:lnTo>
                    <a:pt x="360" y="188"/>
                  </a:lnTo>
                  <a:lnTo>
                    <a:pt x="360" y="184"/>
                  </a:lnTo>
                  <a:lnTo>
                    <a:pt x="356" y="172"/>
                  </a:lnTo>
                  <a:lnTo>
                    <a:pt x="356" y="166"/>
                  </a:lnTo>
                  <a:lnTo>
                    <a:pt x="356" y="164"/>
                  </a:lnTo>
                  <a:lnTo>
                    <a:pt x="360" y="164"/>
                  </a:lnTo>
                  <a:lnTo>
                    <a:pt x="360" y="164"/>
                  </a:lnTo>
                  <a:lnTo>
                    <a:pt x="362" y="164"/>
                  </a:lnTo>
                  <a:lnTo>
                    <a:pt x="364" y="168"/>
                  </a:lnTo>
                  <a:lnTo>
                    <a:pt x="370" y="176"/>
                  </a:lnTo>
                  <a:lnTo>
                    <a:pt x="374" y="186"/>
                  </a:lnTo>
                  <a:lnTo>
                    <a:pt x="384" y="193"/>
                  </a:lnTo>
                  <a:lnTo>
                    <a:pt x="384" y="193"/>
                  </a:lnTo>
                  <a:lnTo>
                    <a:pt x="388" y="195"/>
                  </a:lnTo>
                  <a:lnTo>
                    <a:pt x="394" y="195"/>
                  </a:lnTo>
                  <a:lnTo>
                    <a:pt x="406" y="197"/>
                  </a:lnTo>
                  <a:lnTo>
                    <a:pt x="406" y="197"/>
                  </a:lnTo>
                  <a:lnTo>
                    <a:pt x="406" y="197"/>
                  </a:lnTo>
                  <a:lnTo>
                    <a:pt x="408" y="199"/>
                  </a:lnTo>
                  <a:lnTo>
                    <a:pt x="412" y="205"/>
                  </a:lnTo>
                  <a:lnTo>
                    <a:pt x="416" y="209"/>
                  </a:lnTo>
                  <a:lnTo>
                    <a:pt x="416" y="209"/>
                  </a:lnTo>
                  <a:lnTo>
                    <a:pt x="418" y="209"/>
                  </a:lnTo>
                  <a:lnTo>
                    <a:pt x="418" y="209"/>
                  </a:lnTo>
                  <a:lnTo>
                    <a:pt x="420" y="199"/>
                  </a:lnTo>
                  <a:lnTo>
                    <a:pt x="420" y="191"/>
                  </a:lnTo>
                  <a:lnTo>
                    <a:pt x="420" y="182"/>
                  </a:lnTo>
                  <a:lnTo>
                    <a:pt x="416" y="170"/>
                  </a:lnTo>
                  <a:lnTo>
                    <a:pt x="416" y="170"/>
                  </a:lnTo>
                  <a:lnTo>
                    <a:pt x="412" y="144"/>
                  </a:lnTo>
                  <a:lnTo>
                    <a:pt x="410" y="130"/>
                  </a:lnTo>
                  <a:lnTo>
                    <a:pt x="410" y="122"/>
                  </a:lnTo>
                  <a:lnTo>
                    <a:pt x="410" y="122"/>
                  </a:lnTo>
                  <a:lnTo>
                    <a:pt x="410" y="122"/>
                  </a:lnTo>
                  <a:lnTo>
                    <a:pt x="400" y="118"/>
                  </a:lnTo>
                  <a:lnTo>
                    <a:pt x="394" y="114"/>
                  </a:lnTo>
                  <a:lnTo>
                    <a:pt x="394" y="114"/>
                  </a:lnTo>
                  <a:lnTo>
                    <a:pt x="384" y="114"/>
                  </a:lnTo>
                  <a:lnTo>
                    <a:pt x="384" y="114"/>
                  </a:lnTo>
                  <a:lnTo>
                    <a:pt x="384" y="114"/>
                  </a:lnTo>
                  <a:lnTo>
                    <a:pt x="384" y="114"/>
                  </a:lnTo>
                  <a:lnTo>
                    <a:pt x="384" y="114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99" name="Freeform 58"/>
            <p:cNvSpPr>
              <a:spLocks/>
            </p:cNvSpPr>
            <p:nvPr/>
          </p:nvSpPr>
          <p:spPr bwMode="auto">
            <a:xfrm>
              <a:off x="4063" y="2121"/>
              <a:ext cx="563" cy="964"/>
            </a:xfrm>
            <a:custGeom>
              <a:avLst/>
              <a:gdLst>
                <a:gd name="T0" fmla="*/ 262 w 563"/>
                <a:gd name="T1" fmla="*/ 2 h 964"/>
                <a:gd name="T2" fmla="*/ 211 w 563"/>
                <a:gd name="T3" fmla="*/ 46 h 964"/>
                <a:gd name="T4" fmla="*/ 195 w 563"/>
                <a:gd name="T5" fmla="*/ 46 h 964"/>
                <a:gd name="T6" fmla="*/ 171 w 563"/>
                <a:gd name="T7" fmla="*/ 60 h 964"/>
                <a:gd name="T8" fmla="*/ 147 w 563"/>
                <a:gd name="T9" fmla="*/ 68 h 964"/>
                <a:gd name="T10" fmla="*/ 103 w 563"/>
                <a:gd name="T11" fmla="*/ 72 h 964"/>
                <a:gd name="T12" fmla="*/ 113 w 563"/>
                <a:gd name="T13" fmla="*/ 122 h 964"/>
                <a:gd name="T14" fmla="*/ 97 w 563"/>
                <a:gd name="T15" fmla="*/ 152 h 964"/>
                <a:gd name="T16" fmla="*/ 107 w 563"/>
                <a:gd name="T17" fmla="*/ 186 h 964"/>
                <a:gd name="T18" fmla="*/ 131 w 563"/>
                <a:gd name="T19" fmla="*/ 231 h 964"/>
                <a:gd name="T20" fmla="*/ 123 w 563"/>
                <a:gd name="T21" fmla="*/ 247 h 964"/>
                <a:gd name="T22" fmla="*/ 107 w 563"/>
                <a:gd name="T23" fmla="*/ 279 h 964"/>
                <a:gd name="T24" fmla="*/ 73 w 563"/>
                <a:gd name="T25" fmla="*/ 301 h 964"/>
                <a:gd name="T26" fmla="*/ 22 w 563"/>
                <a:gd name="T27" fmla="*/ 337 h 964"/>
                <a:gd name="T28" fmla="*/ 16 w 563"/>
                <a:gd name="T29" fmla="*/ 407 h 964"/>
                <a:gd name="T30" fmla="*/ 22 w 563"/>
                <a:gd name="T31" fmla="*/ 445 h 964"/>
                <a:gd name="T32" fmla="*/ 43 w 563"/>
                <a:gd name="T33" fmla="*/ 484 h 964"/>
                <a:gd name="T34" fmla="*/ 39 w 563"/>
                <a:gd name="T35" fmla="*/ 524 h 964"/>
                <a:gd name="T36" fmla="*/ 75 w 563"/>
                <a:gd name="T37" fmla="*/ 542 h 964"/>
                <a:gd name="T38" fmla="*/ 107 w 563"/>
                <a:gd name="T39" fmla="*/ 536 h 964"/>
                <a:gd name="T40" fmla="*/ 85 w 563"/>
                <a:gd name="T41" fmla="*/ 600 h 964"/>
                <a:gd name="T42" fmla="*/ 79 w 563"/>
                <a:gd name="T43" fmla="*/ 656 h 964"/>
                <a:gd name="T44" fmla="*/ 121 w 563"/>
                <a:gd name="T45" fmla="*/ 656 h 964"/>
                <a:gd name="T46" fmla="*/ 149 w 563"/>
                <a:gd name="T47" fmla="*/ 668 h 964"/>
                <a:gd name="T48" fmla="*/ 187 w 563"/>
                <a:gd name="T49" fmla="*/ 638 h 964"/>
                <a:gd name="T50" fmla="*/ 245 w 563"/>
                <a:gd name="T51" fmla="*/ 608 h 964"/>
                <a:gd name="T52" fmla="*/ 260 w 563"/>
                <a:gd name="T53" fmla="*/ 664 h 964"/>
                <a:gd name="T54" fmla="*/ 217 w 563"/>
                <a:gd name="T55" fmla="*/ 678 h 964"/>
                <a:gd name="T56" fmla="*/ 211 w 563"/>
                <a:gd name="T57" fmla="*/ 705 h 964"/>
                <a:gd name="T58" fmla="*/ 183 w 563"/>
                <a:gd name="T59" fmla="*/ 753 h 964"/>
                <a:gd name="T60" fmla="*/ 179 w 563"/>
                <a:gd name="T61" fmla="*/ 775 h 964"/>
                <a:gd name="T62" fmla="*/ 173 w 563"/>
                <a:gd name="T63" fmla="*/ 803 h 964"/>
                <a:gd name="T64" fmla="*/ 191 w 563"/>
                <a:gd name="T65" fmla="*/ 819 h 964"/>
                <a:gd name="T66" fmla="*/ 223 w 563"/>
                <a:gd name="T67" fmla="*/ 831 h 964"/>
                <a:gd name="T68" fmla="*/ 249 w 563"/>
                <a:gd name="T69" fmla="*/ 877 h 964"/>
                <a:gd name="T70" fmla="*/ 274 w 563"/>
                <a:gd name="T71" fmla="*/ 861 h 964"/>
                <a:gd name="T72" fmla="*/ 324 w 563"/>
                <a:gd name="T73" fmla="*/ 863 h 964"/>
                <a:gd name="T74" fmla="*/ 364 w 563"/>
                <a:gd name="T75" fmla="*/ 853 h 964"/>
                <a:gd name="T76" fmla="*/ 388 w 563"/>
                <a:gd name="T77" fmla="*/ 871 h 964"/>
                <a:gd name="T78" fmla="*/ 404 w 563"/>
                <a:gd name="T79" fmla="*/ 911 h 964"/>
                <a:gd name="T80" fmla="*/ 408 w 563"/>
                <a:gd name="T81" fmla="*/ 964 h 964"/>
                <a:gd name="T82" fmla="*/ 426 w 563"/>
                <a:gd name="T83" fmla="*/ 922 h 964"/>
                <a:gd name="T84" fmla="*/ 462 w 563"/>
                <a:gd name="T85" fmla="*/ 914 h 964"/>
                <a:gd name="T86" fmla="*/ 499 w 563"/>
                <a:gd name="T87" fmla="*/ 893 h 964"/>
                <a:gd name="T88" fmla="*/ 517 w 563"/>
                <a:gd name="T89" fmla="*/ 855 h 964"/>
                <a:gd name="T90" fmla="*/ 497 w 563"/>
                <a:gd name="T91" fmla="*/ 833 h 964"/>
                <a:gd name="T92" fmla="*/ 491 w 563"/>
                <a:gd name="T93" fmla="*/ 809 h 964"/>
                <a:gd name="T94" fmla="*/ 519 w 563"/>
                <a:gd name="T95" fmla="*/ 795 h 964"/>
                <a:gd name="T96" fmla="*/ 543 w 563"/>
                <a:gd name="T97" fmla="*/ 825 h 964"/>
                <a:gd name="T98" fmla="*/ 563 w 563"/>
                <a:gd name="T99" fmla="*/ 745 h 964"/>
                <a:gd name="T100" fmla="*/ 487 w 563"/>
                <a:gd name="T101" fmla="*/ 598 h 964"/>
                <a:gd name="T102" fmla="*/ 468 w 563"/>
                <a:gd name="T103" fmla="*/ 534 h 964"/>
                <a:gd name="T104" fmla="*/ 448 w 563"/>
                <a:gd name="T105" fmla="*/ 496 h 964"/>
                <a:gd name="T106" fmla="*/ 382 w 563"/>
                <a:gd name="T107" fmla="*/ 478 h 964"/>
                <a:gd name="T108" fmla="*/ 336 w 563"/>
                <a:gd name="T109" fmla="*/ 500 h 964"/>
                <a:gd name="T110" fmla="*/ 316 w 563"/>
                <a:gd name="T111" fmla="*/ 536 h 964"/>
                <a:gd name="T112" fmla="*/ 296 w 563"/>
                <a:gd name="T113" fmla="*/ 548 h 964"/>
                <a:gd name="T114" fmla="*/ 264 w 563"/>
                <a:gd name="T115" fmla="*/ 512 h 964"/>
                <a:gd name="T116" fmla="*/ 219 w 563"/>
                <a:gd name="T117" fmla="*/ 504 h 964"/>
                <a:gd name="T118" fmla="*/ 245 w 563"/>
                <a:gd name="T119" fmla="*/ 379 h 964"/>
                <a:gd name="T120" fmla="*/ 256 w 563"/>
                <a:gd name="T121" fmla="*/ 255 h 964"/>
                <a:gd name="T122" fmla="*/ 284 w 563"/>
                <a:gd name="T123" fmla="*/ 164 h 964"/>
                <a:gd name="T124" fmla="*/ 356 w 563"/>
                <a:gd name="T125" fmla="*/ 122 h 9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63" h="964">
                  <a:moveTo>
                    <a:pt x="340" y="68"/>
                  </a:moveTo>
                  <a:lnTo>
                    <a:pt x="310" y="78"/>
                  </a:lnTo>
                  <a:lnTo>
                    <a:pt x="294" y="78"/>
                  </a:lnTo>
                  <a:lnTo>
                    <a:pt x="296" y="60"/>
                  </a:lnTo>
                  <a:lnTo>
                    <a:pt x="304" y="50"/>
                  </a:lnTo>
                  <a:lnTo>
                    <a:pt x="304" y="36"/>
                  </a:lnTo>
                  <a:lnTo>
                    <a:pt x="304" y="36"/>
                  </a:lnTo>
                  <a:lnTo>
                    <a:pt x="292" y="24"/>
                  </a:lnTo>
                  <a:lnTo>
                    <a:pt x="284" y="18"/>
                  </a:lnTo>
                  <a:lnTo>
                    <a:pt x="278" y="10"/>
                  </a:lnTo>
                  <a:lnTo>
                    <a:pt x="278" y="10"/>
                  </a:lnTo>
                  <a:lnTo>
                    <a:pt x="266" y="2"/>
                  </a:lnTo>
                  <a:lnTo>
                    <a:pt x="262" y="2"/>
                  </a:lnTo>
                  <a:lnTo>
                    <a:pt x="258" y="0"/>
                  </a:lnTo>
                  <a:lnTo>
                    <a:pt x="252" y="0"/>
                  </a:lnTo>
                  <a:lnTo>
                    <a:pt x="249" y="2"/>
                  </a:lnTo>
                  <a:lnTo>
                    <a:pt x="249" y="2"/>
                  </a:lnTo>
                  <a:lnTo>
                    <a:pt x="221" y="16"/>
                  </a:lnTo>
                  <a:lnTo>
                    <a:pt x="215" y="16"/>
                  </a:lnTo>
                  <a:lnTo>
                    <a:pt x="215" y="16"/>
                  </a:lnTo>
                  <a:lnTo>
                    <a:pt x="217" y="26"/>
                  </a:lnTo>
                  <a:lnTo>
                    <a:pt x="217" y="26"/>
                  </a:lnTo>
                  <a:lnTo>
                    <a:pt x="217" y="30"/>
                  </a:lnTo>
                  <a:lnTo>
                    <a:pt x="217" y="38"/>
                  </a:lnTo>
                  <a:lnTo>
                    <a:pt x="215" y="42"/>
                  </a:lnTo>
                  <a:lnTo>
                    <a:pt x="211" y="46"/>
                  </a:lnTo>
                  <a:lnTo>
                    <a:pt x="211" y="46"/>
                  </a:lnTo>
                  <a:lnTo>
                    <a:pt x="207" y="46"/>
                  </a:lnTo>
                  <a:lnTo>
                    <a:pt x="207" y="46"/>
                  </a:lnTo>
                  <a:lnTo>
                    <a:pt x="203" y="44"/>
                  </a:lnTo>
                  <a:lnTo>
                    <a:pt x="203" y="42"/>
                  </a:lnTo>
                  <a:lnTo>
                    <a:pt x="201" y="38"/>
                  </a:lnTo>
                  <a:lnTo>
                    <a:pt x="201" y="38"/>
                  </a:lnTo>
                  <a:lnTo>
                    <a:pt x="199" y="38"/>
                  </a:lnTo>
                  <a:lnTo>
                    <a:pt x="199" y="40"/>
                  </a:lnTo>
                  <a:lnTo>
                    <a:pt x="199" y="42"/>
                  </a:lnTo>
                  <a:lnTo>
                    <a:pt x="199" y="46"/>
                  </a:lnTo>
                  <a:lnTo>
                    <a:pt x="199" y="46"/>
                  </a:lnTo>
                  <a:lnTo>
                    <a:pt x="195" y="46"/>
                  </a:lnTo>
                  <a:lnTo>
                    <a:pt x="195" y="46"/>
                  </a:lnTo>
                  <a:lnTo>
                    <a:pt x="193" y="44"/>
                  </a:lnTo>
                  <a:lnTo>
                    <a:pt x="193" y="44"/>
                  </a:lnTo>
                  <a:lnTo>
                    <a:pt x="191" y="42"/>
                  </a:lnTo>
                  <a:lnTo>
                    <a:pt x="183" y="42"/>
                  </a:lnTo>
                  <a:lnTo>
                    <a:pt x="179" y="42"/>
                  </a:lnTo>
                  <a:lnTo>
                    <a:pt x="179" y="54"/>
                  </a:lnTo>
                  <a:lnTo>
                    <a:pt x="179" y="54"/>
                  </a:lnTo>
                  <a:lnTo>
                    <a:pt x="177" y="54"/>
                  </a:lnTo>
                  <a:lnTo>
                    <a:pt x="173" y="56"/>
                  </a:lnTo>
                  <a:lnTo>
                    <a:pt x="173" y="56"/>
                  </a:lnTo>
                  <a:lnTo>
                    <a:pt x="171" y="60"/>
                  </a:lnTo>
                  <a:lnTo>
                    <a:pt x="171" y="60"/>
                  </a:lnTo>
                  <a:lnTo>
                    <a:pt x="171" y="64"/>
                  </a:lnTo>
                  <a:lnTo>
                    <a:pt x="167" y="66"/>
                  </a:lnTo>
                  <a:lnTo>
                    <a:pt x="167" y="66"/>
                  </a:lnTo>
                  <a:lnTo>
                    <a:pt x="165" y="68"/>
                  </a:lnTo>
                  <a:lnTo>
                    <a:pt x="161" y="66"/>
                  </a:lnTo>
                  <a:lnTo>
                    <a:pt x="157" y="64"/>
                  </a:lnTo>
                  <a:lnTo>
                    <a:pt x="157" y="64"/>
                  </a:lnTo>
                  <a:lnTo>
                    <a:pt x="153" y="64"/>
                  </a:lnTo>
                  <a:lnTo>
                    <a:pt x="153" y="64"/>
                  </a:lnTo>
                  <a:lnTo>
                    <a:pt x="149" y="68"/>
                  </a:lnTo>
                  <a:lnTo>
                    <a:pt x="149" y="68"/>
                  </a:lnTo>
                  <a:lnTo>
                    <a:pt x="149" y="68"/>
                  </a:lnTo>
                  <a:lnTo>
                    <a:pt x="147" y="68"/>
                  </a:lnTo>
                  <a:lnTo>
                    <a:pt x="141" y="68"/>
                  </a:lnTo>
                  <a:lnTo>
                    <a:pt x="127" y="64"/>
                  </a:lnTo>
                  <a:lnTo>
                    <a:pt x="127" y="64"/>
                  </a:lnTo>
                  <a:lnTo>
                    <a:pt x="123" y="62"/>
                  </a:lnTo>
                  <a:lnTo>
                    <a:pt x="115" y="62"/>
                  </a:lnTo>
                  <a:lnTo>
                    <a:pt x="115" y="62"/>
                  </a:lnTo>
                  <a:lnTo>
                    <a:pt x="107" y="60"/>
                  </a:lnTo>
                  <a:lnTo>
                    <a:pt x="107" y="60"/>
                  </a:lnTo>
                  <a:lnTo>
                    <a:pt x="107" y="62"/>
                  </a:lnTo>
                  <a:lnTo>
                    <a:pt x="107" y="64"/>
                  </a:lnTo>
                  <a:lnTo>
                    <a:pt x="107" y="68"/>
                  </a:lnTo>
                  <a:lnTo>
                    <a:pt x="107" y="68"/>
                  </a:lnTo>
                  <a:lnTo>
                    <a:pt x="103" y="72"/>
                  </a:lnTo>
                  <a:lnTo>
                    <a:pt x="103" y="72"/>
                  </a:lnTo>
                  <a:lnTo>
                    <a:pt x="103" y="74"/>
                  </a:lnTo>
                  <a:lnTo>
                    <a:pt x="103" y="76"/>
                  </a:lnTo>
                  <a:lnTo>
                    <a:pt x="103" y="84"/>
                  </a:lnTo>
                  <a:lnTo>
                    <a:pt x="109" y="92"/>
                  </a:lnTo>
                  <a:lnTo>
                    <a:pt x="109" y="92"/>
                  </a:lnTo>
                  <a:lnTo>
                    <a:pt x="109" y="94"/>
                  </a:lnTo>
                  <a:lnTo>
                    <a:pt x="107" y="94"/>
                  </a:lnTo>
                  <a:lnTo>
                    <a:pt x="105" y="98"/>
                  </a:lnTo>
                  <a:lnTo>
                    <a:pt x="105" y="98"/>
                  </a:lnTo>
                  <a:lnTo>
                    <a:pt x="113" y="120"/>
                  </a:lnTo>
                  <a:lnTo>
                    <a:pt x="113" y="120"/>
                  </a:lnTo>
                  <a:lnTo>
                    <a:pt x="113" y="122"/>
                  </a:lnTo>
                  <a:lnTo>
                    <a:pt x="113" y="128"/>
                  </a:lnTo>
                  <a:lnTo>
                    <a:pt x="111" y="132"/>
                  </a:lnTo>
                  <a:lnTo>
                    <a:pt x="109" y="136"/>
                  </a:lnTo>
                  <a:lnTo>
                    <a:pt x="109" y="136"/>
                  </a:lnTo>
                  <a:lnTo>
                    <a:pt x="107" y="138"/>
                  </a:lnTo>
                  <a:lnTo>
                    <a:pt x="103" y="140"/>
                  </a:lnTo>
                  <a:lnTo>
                    <a:pt x="103" y="142"/>
                  </a:lnTo>
                  <a:lnTo>
                    <a:pt x="103" y="144"/>
                  </a:lnTo>
                  <a:lnTo>
                    <a:pt x="103" y="144"/>
                  </a:lnTo>
                  <a:lnTo>
                    <a:pt x="103" y="146"/>
                  </a:lnTo>
                  <a:lnTo>
                    <a:pt x="101" y="146"/>
                  </a:lnTo>
                  <a:lnTo>
                    <a:pt x="97" y="152"/>
                  </a:lnTo>
                  <a:lnTo>
                    <a:pt x="97" y="152"/>
                  </a:lnTo>
                  <a:lnTo>
                    <a:pt x="97" y="154"/>
                  </a:lnTo>
                  <a:lnTo>
                    <a:pt x="97" y="154"/>
                  </a:lnTo>
                  <a:lnTo>
                    <a:pt x="99" y="158"/>
                  </a:lnTo>
                  <a:lnTo>
                    <a:pt x="99" y="158"/>
                  </a:lnTo>
                  <a:lnTo>
                    <a:pt x="97" y="160"/>
                  </a:lnTo>
                  <a:lnTo>
                    <a:pt x="97" y="164"/>
                  </a:lnTo>
                  <a:lnTo>
                    <a:pt x="97" y="164"/>
                  </a:lnTo>
                  <a:lnTo>
                    <a:pt x="93" y="166"/>
                  </a:lnTo>
                  <a:lnTo>
                    <a:pt x="93" y="168"/>
                  </a:lnTo>
                  <a:lnTo>
                    <a:pt x="97" y="178"/>
                  </a:lnTo>
                  <a:lnTo>
                    <a:pt x="97" y="178"/>
                  </a:lnTo>
                  <a:lnTo>
                    <a:pt x="101" y="184"/>
                  </a:lnTo>
                  <a:lnTo>
                    <a:pt x="107" y="186"/>
                  </a:lnTo>
                  <a:lnTo>
                    <a:pt x="107" y="186"/>
                  </a:lnTo>
                  <a:lnTo>
                    <a:pt x="111" y="188"/>
                  </a:lnTo>
                  <a:lnTo>
                    <a:pt x="111" y="190"/>
                  </a:lnTo>
                  <a:lnTo>
                    <a:pt x="115" y="200"/>
                  </a:lnTo>
                  <a:lnTo>
                    <a:pt x="115" y="200"/>
                  </a:lnTo>
                  <a:lnTo>
                    <a:pt x="119" y="204"/>
                  </a:lnTo>
                  <a:lnTo>
                    <a:pt x="121" y="206"/>
                  </a:lnTo>
                  <a:lnTo>
                    <a:pt x="121" y="208"/>
                  </a:lnTo>
                  <a:lnTo>
                    <a:pt x="121" y="208"/>
                  </a:lnTo>
                  <a:lnTo>
                    <a:pt x="123" y="214"/>
                  </a:lnTo>
                  <a:lnTo>
                    <a:pt x="125" y="221"/>
                  </a:lnTo>
                  <a:lnTo>
                    <a:pt x="131" y="231"/>
                  </a:lnTo>
                  <a:lnTo>
                    <a:pt x="131" y="231"/>
                  </a:lnTo>
                  <a:lnTo>
                    <a:pt x="135" y="237"/>
                  </a:lnTo>
                  <a:lnTo>
                    <a:pt x="135" y="239"/>
                  </a:lnTo>
                  <a:lnTo>
                    <a:pt x="135" y="243"/>
                  </a:lnTo>
                  <a:lnTo>
                    <a:pt x="135" y="243"/>
                  </a:lnTo>
                  <a:lnTo>
                    <a:pt x="135" y="243"/>
                  </a:lnTo>
                  <a:lnTo>
                    <a:pt x="133" y="243"/>
                  </a:lnTo>
                  <a:lnTo>
                    <a:pt x="131" y="239"/>
                  </a:lnTo>
                  <a:lnTo>
                    <a:pt x="131" y="239"/>
                  </a:lnTo>
                  <a:lnTo>
                    <a:pt x="131" y="237"/>
                  </a:lnTo>
                  <a:lnTo>
                    <a:pt x="129" y="237"/>
                  </a:lnTo>
                  <a:lnTo>
                    <a:pt x="127" y="243"/>
                  </a:lnTo>
                  <a:lnTo>
                    <a:pt x="123" y="247"/>
                  </a:lnTo>
                  <a:lnTo>
                    <a:pt x="123" y="247"/>
                  </a:lnTo>
                  <a:lnTo>
                    <a:pt x="121" y="249"/>
                  </a:lnTo>
                  <a:lnTo>
                    <a:pt x="121" y="251"/>
                  </a:lnTo>
                  <a:lnTo>
                    <a:pt x="121" y="253"/>
                  </a:lnTo>
                  <a:lnTo>
                    <a:pt x="123" y="255"/>
                  </a:lnTo>
                  <a:lnTo>
                    <a:pt x="123" y="255"/>
                  </a:lnTo>
                  <a:lnTo>
                    <a:pt x="123" y="257"/>
                  </a:lnTo>
                  <a:lnTo>
                    <a:pt x="123" y="259"/>
                  </a:lnTo>
                  <a:lnTo>
                    <a:pt x="119" y="267"/>
                  </a:lnTo>
                  <a:lnTo>
                    <a:pt x="119" y="267"/>
                  </a:lnTo>
                  <a:lnTo>
                    <a:pt x="115" y="271"/>
                  </a:lnTo>
                  <a:lnTo>
                    <a:pt x="113" y="275"/>
                  </a:lnTo>
                  <a:lnTo>
                    <a:pt x="107" y="279"/>
                  </a:lnTo>
                  <a:lnTo>
                    <a:pt x="107" y="279"/>
                  </a:lnTo>
                  <a:lnTo>
                    <a:pt x="107" y="281"/>
                  </a:lnTo>
                  <a:lnTo>
                    <a:pt x="103" y="281"/>
                  </a:lnTo>
                  <a:lnTo>
                    <a:pt x="99" y="281"/>
                  </a:lnTo>
                  <a:lnTo>
                    <a:pt x="97" y="283"/>
                  </a:lnTo>
                  <a:lnTo>
                    <a:pt x="97" y="283"/>
                  </a:lnTo>
                  <a:lnTo>
                    <a:pt x="89" y="283"/>
                  </a:lnTo>
                  <a:lnTo>
                    <a:pt x="81" y="285"/>
                  </a:lnTo>
                  <a:lnTo>
                    <a:pt x="81" y="285"/>
                  </a:lnTo>
                  <a:lnTo>
                    <a:pt x="77" y="285"/>
                  </a:lnTo>
                  <a:lnTo>
                    <a:pt x="77" y="289"/>
                  </a:lnTo>
                  <a:lnTo>
                    <a:pt x="73" y="297"/>
                  </a:lnTo>
                  <a:lnTo>
                    <a:pt x="73" y="297"/>
                  </a:lnTo>
                  <a:lnTo>
                    <a:pt x="73" y="301"/>
                  </a:lnTo>
                  <a:lnTo>
                    <a:pt x="73" y="301"/>
                  </a:lnTo>
                  <a:lnTo>
                    <a:pt x="73" y="305"/>
                  </a:lnTo>
                  <a:lnTo>
                    <a:pt x="77" y="317"/>
                  </a:lnTo>
                  <a:lnTo>
                    <a:pt x="63" y="319"/>
                  </a:lnTo>
                  <a:lnTo>
                    <a:pt x="59" y="319"/>
                  </a:lnTo>
                  <a:lnTo>
                    <a:pt x="55" y="323"/>
                  </a:lnTo>
                  <a:lnTo>
                    <a:pt x="41" y="325"/>
                  </a:lnTo>
                  <a:lnTo>
                    <a:pt x="41" y="325"/>
                  </a:lnTo>
                  <a:lnTo>
                    <a:pt x="33" y="329"/>
                  </a:lnTo>
                  <a:lnTo>
                    <a:pt x="33" y="329"/>
                  </a:lnTo>
                  <a:lnTo>
                    <a:pt x="24" y="329"/>
                  </a:lnTo>
                  <a:lnTo>
                    <a:pt x="22" y="337"/>
                  </a:lnTo>
                  <a:lnTo>
                    <a:pt x="22" y="337"/>
                  </a:lnTo>
                  <a:lnTo>
                    <a:pt x="18" y="341"/>
                  </a:lnTo>
                  <a:lnTo>
                    <a:pt x="18" y="341"/>
                  </a:lnTo>
                  <a:lnTo>
                    <a:pt x="16" y="341"/>
                  </a:lnTo>
                  <a:lnTo>
                    <a:pt x="14" y="345"/>
                  </a:lnTo>
                  <a:lnTo>
                    <a:pt x="14" y="351"/>
                  </a:lnTo>
                  <a:lnTo>
                    <a:pt x="16" y="357"/>
                  </a:lnTo>
                  <a:lnTo>
                    <a:pt x="16" y="365"/>
                  </a:lnTo>
                  <a:lnTo>
                    <a:pt x="14" y="367"/>
                  </a:lnTo>
                  <a:lnTo>
                    <a:pt x="16" y="379"/>
                  </a:lnTo>
                  <a:lnTo>
                    <a:pt x="16" y="385"/>
                  </a:lnTo>
                  <a:lnTo>
                    <a:pt x="12" y="391"/>
                  </a:lnTo>
                  <a:lnTo>
                    <a:pt x="16" y="399"/>
                  </a:lnTo>
                  <a:lnTo>
                    <a:pt x="16" y="407"/>
                  </a:lnTo>
                  <a:lnTo>
                    <a:pt x="18" y="413"/>
                  </a:lnTo>
                  <a:lnTo>
                    <a:pt x="18" y="413"/>
                  </a:lnTo>
                  <a:lnTo>
                    <a:pt x="6" y="413"/>
                  </a:lnTo>
                  <a:lnTo>
                    <a:pt x="6" y="413"/>
                  </a:lnTo>
                  <a:lnTo>
                    <a:pt x="2" y="413"/>
                  </a:lnTo>
                  <a:lnTo>
                    <a:pt x="0" y="415"/>
                  </a:lnTo>
                  <a:lnTo>
                    <a:pt x="18" y="427"/>
                  </a:lnTo>
                  <a:lnTo>
                    <a:pt x="29" y="435"/>
                  </a:lnTo>
                  <a:lnTo>
                    <a:pt x="29" y="435"/>
                  </a:lnTo>
                  <a:lnTo>
                    <a:pt x="28" y="439"/>
                  </a:lnTo>
                  <a:lnTo>
                    <a:pt x="22" y="443"/>
                  </a:lnTo>
                  <a:lnTo>
                    <a:pt x="22" y="445"/>
                  </a:lnTo>
                  <a:lnTo>
                    <a:pt x="22" y="445"/>
                  </a:lnTo>
                  <a:lnTo>
                    <a:pt x="24" y="454"/>
                  </a:lnTo>
                  <a:lnTo>
                    <a:pt x="28" y="460"/>
                  </a:lnTo>
                  <a:lnTo>
                    <a:pt x="28" y="460"/>
                  </a:lnTo>
                  <a:lnTo>
                    <a:pt x="28" y="462"/>
                  </a:lnTo>
                  <a:lnTo>
                    <a:pt x="24" y="462"/>
                  </a:lnTo>
                  <a:lnTo>
                    <a:pt x="20" y="462"/>
                  </a:lnTo>
                  <a:lnTo>
                    <a:pt x="16" y="462"/>
                  </a:lnTo>
                  <a:lnTo>
                    <a:pt x="16" y="466"/>
                  </a:lnTo>
                  <a:lnTo>
                    <a:pt x="16" y="466"/>
                  </a:lnTo>
                  <a:lnTo>
                    <a:pt x="28" y="474"/>
                  </a:lnTo>
                  <a:lnTo>
                    <a:pt x="28" y="474"/>
                  </a:lnTo>
                  <a:lnTo>
                    <a:pt x="35" y="480"/>
                  </a:lnTo>
                  <a:lnTo>
                    <a:pt x="43" y="484"/>
                  </a:lnTo>
                  <a:lnTo>
                    <a:pt x="43" y="484"/>
                  </a:lnTo>
                  <a:lnTo>
                    <a:pt x="45" y="488"/>
                  </a:lnTo>
                  <a:lnTo>
                    <a:pt x="47" y="494"/>
                  </a:lnTo>
                  <a:lnTo>
                    <a:pt x="51" y="502"/>
                  </a:lnTo>
                  <a:lnTo>
                    <a:pt x="43" y="504"/>
                  </a:lnTo>
                  <a:lnTo>
                    <a:pt x="43" y="504"/>
                  </a:lnTo>
                  <a:lnTo>
                    <a:pt x="41" y="504"/>
                  </a:lnTo>
                  <a:lnTo>
                    <a:pt x="37" y="508"/>
                  </a:lnTo>
                  <a:lnTo>
                    <a:pt x="37" y="508"/>
                  </a:lnTo>
                  <a:lnTo>
                    <a:pt x="37" y="508"/>
                  </a:lnTo>
                  <a:lnTo>
                    <a:pt x="37" y="512"/>
                  </a:lnTo>
                  <a:lnTo>
                    <a:pt x="37" y="518"/>
                  </a:lnTo>
                  <a:lnTo>
                    <a:pt x="39" y="524"/>
                  </a:lnTo>
                  <a:lnTo>
                    <a:pt x="37" y="526"/>
                  </a:lnTo>
                  <a:lnTo>
                    <a:pt x="37" y="526"/>
                  </a:lnTo>
                  <a:lnTo>
                    <a:pt x="37" y="530"/>
                  </a:lnTo>
                  <a:lnTo>
                    <a:pt x="37" y="534"/>
                  </a:lnTo>
                  <a:lnTo>
                    <a:pt x="39" y="542"/>
                  </a:lnTo>
                  <a:lnTo>
                    <a:pt x="43" y="548"/>
                  </a:lnTo>
                  <a:lnTo>
                    <a:pt x="47" y="554"/>
                  </a:lnTo>
                  <a:lnTo>
                    <a:pt x="47" y="554"/>
                  </a:lnTo>
                  <a:lnTo>
                    <a:pt x="55" y="552"/>
                  </a:lnTo>
                  <a:lnTo>
                    <a:pt x="61" y="550"/>
                  </a:lnTo>
                  <a:lnTo>
                    <a:pt x="61" y="550"/>
                  </a:lnTo>
                  <a:lnTo>
                    <a:pt x="67" y="546"/>
                  </a:lnTo>
                  <a:lnTo>
                    <a:pt x="75" y="542"/>
                  </a:lnTo>
                  <a:lnTo>
                    <a:pt x="81" y="540"/>
                  </a:lnTo>
                  <a:lnTo>
                    <a:pt x="85" y="536"/>
                  </a:lnTo>
                  <a:lnTo>
                    <a:pt x="85" y="536"/>
                  </a:lnTo>
                  <a:lnTo>
                    <a:pt x="87" y="534"/>
                  </a:lnTo>
                  <a:lnTo>
                    <a:pt x="91" y="530"/>
                  </a:lnTo>
                  <a:lnTo>
                    <a:pt x="97" y="528"/>
                  </a:lnTo>
                  <a:lnTo>
                    <a:pt x="99" y="528"/>
                  </a:lnTo>
                  <a:lnTo>
                    <a:pt x="99" y="530"/>
                  </a:lnTo>
                  <a:lnTo>
                    <a:pt x="99" y="530"/>
                  </a:lnTo>
                  <a:lnTo>
                    <a:pt x="103" y="532"/>
                  </a:lnTo>
                  <a:lnTo>
                    <a:pt x="103" y="534"/>
                  </a:lnTo>
                  <a:lnTo>
                    <a:pt x="105" y="536"/>
                  </a:lnTo>
                  <a:lnTo>
                    <a:pt x="107" y="536"/>
                  </a:lnTo>
                  <a:lnTo>
                    <a:pt x="107" y="536"/>
                  </a:lnTo>
                  <a:lnTo>
                    <a:pt x="111" y="536"/>
                  </a:lnTo>
                  <a:lnTo>
                    <a:pt x="115" y="540"/>
                  </a:lnTo>
                  <a:lnTo>
                    <a:pt x="119" y="540"/>
                  </a:lnTo>
                  <a:lnTo>
                    <a:pt x="111" y="546"/>
                  </a:lnTo>
                  <a:lnTo>
                    <a:pt x="111" y="552"/>
                  </a:lnTo>
                  <a:lnTo>
                    <a:pt x="107" y="552"/>
                  </a:lnTo>
                  <a:lnTo>
                    <a:pt x="107" y="562"/>
                  </a:lnTo>
                  <a:lnTo>
                    <a:pt x="101" y="568"/>
                  </a:lnTo>
                  <a:lnTo>
                    <a:pt x="101" y="578"/>
                  </a:lnTo>
                  <a:lnTo>
                    <a:pt x="101" y="578"/>
                  </a:lnTo>
                  <a:lnTo>
                    <a:pt x="91" y="592"/>
                  </a:lnTo>
                  <a:lnTo>
                    <a:pt x="85" y="600"/>
                  </a:lnTo>
                  <a:lnTo>
                    <a:pt x="83" y="604"/>
                  </a:lnTo>
                  <a:lnTo>
                    <a:pt x="83" y="604"/>
                  </a:lnTo>
                  <a:lnTo>
                    <a:pt x="89" y="620"/>
                  </a:lnTo>
                  <a:lnTo>
                    <a:pt x="89" y="620"/>
                  </a:lnTo>
                  <a:lnTo>
                    <a:pt x="83" y="624"/>
                  </a:lnTo>
                  <a:lnTo>
                    <a:pt x="79" y="628"/>
                  </a:lnTo>
                  <a:lnTo>
                    <a:pt x="77" y="634"/>
                  </a:lnTo>
                  <a:lnTo>
                    <a:pt x="77" y="634"/>
                  </a:lnTo>
                  <a:lnTo>
                    <a:pt x="77" y="646"/>
                  </a:lnTo>
                  <a:lnTo>
                    <a:pt x="77" y="654"/>
                  </a:lnTo>
                  <a:lnTo>
                    <a:pt x="77" y="656"/>
                  </a:lnTo>
                  <a:lnTo>
                    <a:pt x="79" y="656"/>
                  </a:lnTo>
                  <a:lnTo>
                    <a:pt x="79" y="656"/>
                  </a:lnTo>
                  <a:lnTo>
                    <a:pt x="87" y="654"/>
                  </a:lnTo>
                  <a:lnTo>
                    <a:pt x="91" y="654"/>
                  </a:lnTo>
                  <a:lnTo>
                    <a:pt x="93" y="654"/>
                  </a:lnTo>
                  <a:lnTo>
                    <a:pt x="93" y="654"/>
                  </a:lnTo>
                  <a:lnTo>
                    <a:pt x="97" y="654"/>
                  </a:lnTo>
                  <a:lnTo>
                    <a:pt x="99" y="650"/>
                  </a:lnTo>
                  <a:lnTo>
                    <a:pt x="105" y="648"/>
                  </a:lnTo>
                  <a:lnTo>
                    <a:pt x="105" y="648"/>
                  </a:lnTo>
                  <a:lnTo>
                    <a:pt x="107" y="648"/>
                  </a:lnTo>
                  <a:lnTo>
                    <a:pt x="113" y="648"/>
                  </a:lnTo>
                  <a:lnTo>
                    <a:pt x="119" y="650"/>
                  </a:lnTo>
                  <a:lnTo>
                    <a:pt x="121" y="656"/>
                  </a:lnTo>
                  <a:lnTo>
                    <a:pt x="121" y="656"/>
                  </a:lnTo>
                  <a:lnTo>
                    <a:pt x="125" y="666"/>
                  </a:lnTo>
                  <a:lnTo>
                    <a:pt x="125" y="672"/>
                  </a:lnTo>
                  <a:lnTo>
                    <a:pt x="127" y="672"/>
                  </a:lnTo>
                  <a:lnTo>
                    <a:pt x="127" y="672"/>
                  </a:lnTo>
                  <a:lnTo>
                    <a:pt x="127" y="672"/>
                  </a:lnTo>
                  <a:lnTo>
                    <a:pt x="131" y="672"/>
                  </a:lnTo>
                  <a:lnTo>
                    <a:pt x="135" y="668"/>
                  </a:lnTo>
                  <a:lnTo>
                    <a:pt x="141" y="668"/>
                  </a:lnTo>
                  <a:lnTo>
                    <a:pt x="141" y="668"/>
                  </a:lnTo>
                  <a:lnTo>
                    <a:pt x="141" y="668"/>
                  </a:lnTo>
                  <a:lnTo>
                    <a:pt x="141" y="668"/>
                  </a:lnTo>
                  <a:lnTo>
                    <a:pt x="145" y="668"/>
                  </a:lnTo>
                  <a:lnTo>
                    <a:pt x="149" y="668"/>
                  </a:lnTo>
                  <a:lnTo>
                    <a:pt x="149" y="668"/>
                  </a:lnTo>
                  <a:lnTo>
                    <a:pt x="153" y="664"/>
                  </a:lnTo>
                  <a:lnTo>
                    <a:pt x="153" y="664"/>
                  </a:lnTo>
                  <a:lnTo>
                    <a:pt x="167" y="660"/>
                  </a:lnTo>
                  <a:lnTo>
                    <a:pt x="179" y="650"/>
                  </a:lnTo>
                  <a:lnTo>
                    <a:pt x="179" y="650"/>
                  </a:lnTo>
                  <a:lnTo>
                    <a:pt x="189" y="646"/>
                  </a:lnTo>
                  <a:lnTo>
                    <a:pt x="191" y="644"/>
                  </a:lnTo>
                  <a:lnTo>
                    <a:pt x="191" y="642"/>
                  </a:lnTo>
                  <a:lnTo>
                    <a:pt x="189" y="642"/>
                  </a:lnTo>
                  <a:lnTo>
                    <a:pt x="189" y="642"/>
                  </a:lnTo>
                  <a:lnTo>
                    <a:pt x="187" y="642"/>
                  </a:lnTo>
                  <a:lnTo>
                    <a:pt x="187" y="638"/>
                  </a:lnTo>
                  <a:lnTo>
                    <a:pt x="189" y="638"/>
                  </a:lnTo>
                  <a:lnTo>
                    <a:pt x="189" y="638"/>
                  </a:lnTo>
                  <a:lnTo>
                    <a:pt x="201" y="624"/>
                  </a:lnTo>
                  <a:lnTo>
                    <a:pt x="207" y="622"/>
                  </a:lnTo>
                  <a:lnTo>
                    <a:pt x="217" y="620"/>
                  </a:lnTo>
                  <a:lnTo>
                    <a:pt x="217" y="620"/>
                  </a:lnTo>
                  <a:lnTo>
                    <a:pt x="221" y="616"/>
                  </a:lnTo>
                  <a:lnTo>
                    <a:pt x="225" y="610"/>
                  </a:lnTo>
                  <a:lnTo>
                    <a:pt x="225" y="610"/>
                  </a:lnTo>
                  <a:lnTo>
                    <a:pt x="225" y="608"/>
                  </a:lnTo>
                  <a:lnTo>
                    <a:pt x="225" y="604"/>
                  </a:lnTo>
                  <a:lnTo>
                    <a:pt x="245" y="608"/>
                  </a:lnTo>
                  <a:lnTo>
                    <a:pt x="245" y="608"/>
                  </a:lnTo>
                  <a:lnTo>
                    <a:pt x="247" y="616"/>
                  </a:lnTo>
                  <a:lnTo>
                    <a:pt x="249" y="620"/>
                  </a:lnTo>
                  <a:lnTo>
                    <a:pt x="249" y="624"/>
                  </a:lnTo>
                  <a:lnTo>
                    <a:pt x="249" y="624"/>
                  </a:lnTo>
                  <a:lnTo>
                    <a:pt x="250" y="628"/>
                  </a:lnTo>
                  <a:lnTo>
                    <a:pt x="250" y="638"/>
                  </a:lnTo>
                  <a:lnTo>
                    <a:pt x="256" y="642"/>
                  </a:lnTo>
                  <a:lnTo>
                    <a:pt x="258" y="646"/>
                  </a:lnTo>
                  <a:lnTo>
                    <a:pt x="258" y="646"/>
                  </a:lnTo>
                  <a:lnTo>
                    <a:pt x="260" y="650"/>
                  </a:lnTo>
                  <a:lnTo>
                    <a:pt x="260" y="656"/>
                  </a:lnTo>
                  <a:lnTo>
                    <a:pt x="260" y="660"/>
                  </a:lnTo>
                  <a:lnTo>
                    <a:pt x="260" y="664"/>
                  </a:lnTo>
                  <a:lnTo>
                    <a:pt x="260" y="664"/>
                  </a:lnTo>
                  <a:lnTo>
                    <a:pt x="256" y="666"/>
                  </a:lnTo>
                  <a:lnTo>
                    <a:pt x="249" y="668"/>
                  </a:lnTo>
                  <a:lnTo>
                    <a:pt x="243" y="668"/>
                  </a:lnTo>
                  <a:lnTo>
                    <a:pt x="235" y="670"/>
                  </a:lnTo>
                  <a:lnTo>
                    <a:pt x="235" y="670"/>
                  </a:lnTo>
                  <a:lnTo>
                    <a:pt x="221" y="668"/>
                  </a:lnTo>
                  <a:lnTo>
                    <a:pt x="217" y="668"/>
                  </a:lnTo>
                  <a:lnTo>
                    <a:pt x="215" y="670"/>
                  </a:lnTo>
                  <a:lnTo>
                    <a:pt x="217" y="670"/>
                  </a:lnTo>
                  <a:lnTo>
                    <a:pt x="217" y="670"/>
                  </a:lnTo>
                  <a:lnTo>
                    <a:pt x="217" y="676"/>
                  </a:lnTo>
                  <a:lnTo>
                    <a:pt x="217" y="678"/>
                  </a:lnTo>
                  <a:lnTo>
                    <a:pt x="217" y="681"/>
                  </a:lnTo>
                  <a:lnTo>
                    <a:pt x="217" y="683"/>
                  </a:lnTo>
                  <a:lnTo>
                    <a:pt x="219" y="683"/>
                  </a:lnTo>
                  <a:lnTo>
                    <a:pt x="219" y="683"/>
                  </a:lnTo>
                  <a:lnTo>
                    <a:pt x="223" y="685"/>
                  </a:lnTo>
                  <a:lnTo>
                    <a:pt x="225" y="689"/>
                  </a:lnTo>
                  <a:lnTo>
                    <a:pt x="229" y="693"/>
                  </a:lnTo>
                  <a:lnTo>
                    <a:pt x="229" y="693"/>
                  </a:lnTo>
                  <a:lnTo>
                    <a:pt x="229" y="693"/>
                  </a:lnTo>
                  <a:lnTo>
                    <a:pt x="229" y="693"/>
                  </a:lnTo>
                  <a:lnTo>
                    <a:pt x="219" y="701"/>
                  </a:lnTo>
                  <a:lnTo>
                    <a:pt x="211" y="705"/>
                  </a:lnTo>
                  <a:lnTo>
                    <a:pt x="211" y="705"/>
                  </a:lnTo>
                  <a:lnTo>
                    <a:pt x="207" y="713"/>
                  </a:lnTo>
                  <a:lnTo>
                    <a:pt x="205" y="717"/>
                  </a:lnTo>
                  <a:lnTo>
                    <a:pt x="205" y="721"/>
                  </a:lnTo>
                  <a:lnTo>
                    <a:pt x="205" y="721"/>
                  </a:lnTo>
                  <a:lnTo>
                    <a:pt x="207" y="729"/>
                  </a:lnTo>
                  <a:lnTo>
                    <a:pt x="205" y="731"/>
                  </a:lnTo>
                  <a:lnTo>
                    <a:pt x="203" y="733"/>
                  </a:lnTo>
                  <a:lnTo>
                    <a:pt x="203" y="733"/>
                  </a:lnTo>
                  <a:lnTo>
                    <a:pt x="199" y="739"/>
                  </a:lnTo>
                  <a:lnTo>
                    <a:pt x="199" y="739"/>
                  </a:lnTo>
                  <a:lnTo>
                    <a:pt x="193" y="747"/>
                  </a:lnTo>
                  <a:lnTo>
                    <a:pt x="189" y="749"/>
                  </a:lnTo>
                  <a:lnTo>
                    <a:pt x="183" y="753"/>
                  </a:lnTo>
                  <a:lnTo>
                    <a:pt x="183" y="753"/>
                  </a:lnTo>
                  <a:lnTo>
                    <a:pt x="175" y="755"/>
                  </a:lnTo>
                  <a:lnTo>
                    <a:pt x="175" y="757"/>
                  </a:lnTo>
                  <a:lnTo>
                    <a:pt x="175" y="757"/>
                  </a:lnTo>
                  <a:lnTo>
                    <a:pt x="175" y="757"/>
                  </a:lnTo>
                  <a:lnTo>
                    <a:pt x="183" y="767"/>
                  </a:lnTo>
                  <a:lnTo>
                    <a:pt x="189" y="771"/>
                  </a:lnTo>
                  <a:lnTo>
                    <a:pt x="189" y="771"/>
                  </a:lnTo>
                  <a:lnTo>
                    <a:pt x="189" y="773"/>
                  </a:lnTo>
                  <a:lnTo>
                    <a:pt x="189" y="773"/>
                  </a:lnTo>
                  <a:lnTo>
                    <a:pt x="183" y="773"/>
                  </a:lnTo>
                  <a:lnTo>
                    <a:pt x="181" y="775"/>
                  </a:lnTo>
                  <a:lnTo>
                    <a:pt x="179" y="775"/>
                  </a:lnTo>
                  <a:lnTo>
                    <a:pt x="179" y="775"/>
                  </a:lnTo>
                  <a:lnTo>
                    <a:pt x="179" y="779"/>
                  </a:lnTo>
                  <a:lnTo>
                    <a:pt x="175" y="779"/>
                  </a:lnTo>
                  <a:lnTo>
                    <a:pt x="173" y="781"/>
                  </a:lnTo>
                  <a:lnTo>
                    <a:pt x="173" y="781"/>
                  </a:lnTo>
                  <a:lnTo>
                    <a:pt x="173" y="783"/>
                  </a:lnTo>
                  <a:lnTo>
                    <a:pt x="173" y="783"/>
                  </a:lnTo>
                  <a:lnTo>
                    <a:pt x="175" y="793"/>
                  </a:lnTo>
                  <a:lnTo>
                    <a:pt x="175" y="797"/>
                  </a:lnTo>
                  <a:lnTo>
                    <a:pt x="173" y="799"/>
                  </a:lnTo>
                  <a:lnTo>
                    <a:pt x="173" y="799"/>
                  </a:lnTo>
                  <a:lnTo>
                    <a:pt x="173" y="801"/>
                  </a:lnTo>
                  <a:lnTo>
                    <a:pt x="173" y="803"/>
                  </a:lnTo>
                  <a:lnTo>
                    <a:pt x="173" y="803"/>
                  </a:lnTo>
                  <a:lnTo>
                    <a:pt x="173" y="805"/>
                  </a:lnTo>
                  <a:lnTo>
                    <a:pt x="173" y="805"/>
                  </a:lnTo>
                  <a:lnTo>
                    <a:pt x="175" y="807"/>
                  </a:lnTo>
                  <a:lnTo>
                    <a:pt x="175" y="807"/>
                  </a:lnTo>
                  <a:lnTo>
                    <a:pt x="175" y="813"/>
                  </a:lnTo>
                  <a:lnTo>
                    <a:pt x="175" y="813"/>
                  </a:lnTo>
                  <a:lnTo>
                    <a:pt x="175" y="821"/>
                  </a:lnTo>
                  <a:lnTo>
                    <a:pt x="175" y="823"/>
                  </a:lnTo>
                  <a:lnTo>
                    <a:pt x="177" y="823"/>
                  </a:lnTo>
                  <a:lnTo>
                    <a:pt x="179" y="823"/>
                  </a:lnTo>
                  <a:lnTo>
                    <a:pt x="179" y="823"/>
                  </a:lnTo>
                  <a:lnTo>
                    <a:pt x="191" y="819"/>
                  </a:lnTo>
                  <a:lnTo>
                    <a:pt x="193" y="817"/>
                  </a:lnTo>
                  <a:lnTo>
                    <a:pt x="195" y="819"/>
                  </a:lnTo>
                  <a:lnTo>
                    <a:pt x="195" y="821"/>
                  </a:lnTo>
                  <a:lnTo>
                    <a:pt x="195" y="821"/>
                  </a:lnTo>
                  <a:lnTo>
                    <a:pt x="197" y="823"/>
                  </a:lnTo>
                  <a:lnTo>
                    <a:pt x="199" y="825"/>
                  </a:lnTo>
                  <a:lnTo>
                    <a:pt x="201" y="825"/>
                  </a:lnTo>
                  <a:lnTo>
                    <a:pt x="205" y="825"/>
                  </a:lnTo>
                  <a:lnTo>
                    <a:pt x="205" y="825"/>
                  </a:lnTo>
                  <a:lnTo>
                    <a:pt x="211" y="825"/>
                  </a:lnTo>
                  <a:lnTo>
                    <a:pt x="217" y="827"/>
                  </a:lnTo>
                  <a:lnTo>
                    <a:pt x="223" y="831"/>
                  </a:lnTo>
                  <a:lnTo>
                    <a:pt x="223" y="831"/>
                  </a:lnTo>
                  <a:lnTo>
                    <a:pt x="225" y="837"/>
                  </a:lnTo>
                  <a:lnTo>
                    <a:pt x="229" y="845"/>
                  </a:lnTo>
                  <a:lnTo>
                    <a:pt x="237" y="853"/>
                  </a:lnTo>
                  <a:lnTo>
                    <a:pt x="235" y="861"/>
                  </a:lnTo>
                  <a:lnTo>
                    <a:pt x="235" y="861"/>
                  </a:lnTo>
                  <a:lnTo>
                    <a:pt x="239" y="863"/>
                  </a:lnTo>
                  <a:lnTo>
                    <a:pt x="243" y="867"/>
                  </a:lnTo>
                  <a:lnTo>
                    <a:pt x="247" y="871"/>
                  </a:lnTo>
                  <a:lnTo>
                    <a:pt x="247" y="871"/>
                  </a:lnTo>
                  <a:lnTo>
                    <a:pt x="247" y="877"/>
                  </a:lnTo>
                  <a:lnTo>
                    <a:pt x="247" y="883"/>
                  </a:lnTo>
                  <a:lnTo>
                    <a:pt x="247" y="883"/>
                  </a:lnTo>
                  <a:lnTo>
                    <a:pt x="249" y="877"/>
                  </a:lnTo>
                  <a:lnTo>
                    <a:pt x="252" y="875"/>
                  </a:lnTo>
                  <a:lnTo>
                    <a:pt x="260" y="871"/>
                  </a:lnTo>
                  <a:lnTo>
                    <a:pt x="260" y="871"/>
                  </a:lnTo>
                  <a:lnTo>
                    <a:pt x="266" y="871"/>
                  </a:lnTo>
                  <a:lnTo>
                    <a:pt x="266" y="869"/>
                  </a:lnTo>
                  <a:lnTo>
                    <a:pt x="266" y="869"/>
                  </a:lnTo>
                  <a:lnTo>
                    <a:pt x="264" y="863"/>
                  </a:lnTo>
                  <a:lnTo>
                    <a:pt x="264" y="861"/>
                  </a:lnTo>
                  <a:lnTo>
                    <a:pt x="264" y="859"/>
                  </a:lnTo>
                  <a:lnTo>
                    <a:pt x="266" y="855"/>
                  </a:lnTo>
                  <a:lnTo>
                    <a:pt x="266" y="855"/>
                  </a:lnTo>
                  <a:lnTo>
                    <a:pt x="270" y="855"/>
                  </a:lnTo>
                  <a:lnTo>
                    <a:pt x="274" y="861"/>
                  </a:lnTo>
                  <a:lnTo>
                    <a:pt x="282" y="861"/>
                  </a:lnTo>
                  <a:lnTo>
                    <a:pt x="282" y="861"/>
                  </a:lnTo>
                  <a:lnTo>
                    <a:pt x="286" y="859"/>
                  </a:lnTo>
                  <a:lnTo>
                    <a:pt x="288" y="855"/>
                  </a:lnTo>
                  <a:lnTo>
                    <a:pt x="292" y="851"/>
                  </a:lnTo>
                  <a:lnTo>
                    <a:pt x="292" y="851"/>
                  </a:lnTo>
                  <a:lnTo>
                    <a:pt x="292" y="851"/>
                  </a:lnTo>
                  <a:lnTo>
                    <a:pt x="292" y="851"/>
                  </a:lnTo>
                  <a:lnTo>
                    <a:pt x="302" y="853"/>
                  </a:lnTo>
                  <a:lnTo>
                    <a:pt x="302" y="853"/>
                  </a:lnTo>
                  <a:lnTo>
                    <a:pt x="306" y="855"/>
                  </a:lnTo>
                  <a:lnTo>
                    <a:pt x="314" y="861"/>
                  </a:lnTo>
                  <a:lnTo>
                    <a:pt x="324" y="863"/>
                  </a:lnTo>
                  <a:lnTo>
                    <a:pt x="328" y="865"/>
                  </a:lnTo>
                  <a:lnTo>
                    <a:pt x="328" y="865"/>
                  </a:lnTo>
                  <a:lnTo>
                    <a:pt x="332" y="867"/>
                  </a:lnTo>
                  <a:lnTo>
                    <a:pt x="338" y="867"/>
                  </a:lnTo>
                  <a:lnTo>
                    <a:pt x="344" y="867"/>
                  </a:lnTo>
                  <a:lnTo>
                    <a:pt x="344" y="867"/>
                  </a:lnTo>
                  <a:lnTo>
                    <a:pt x="352" y="867"/>
                  </a:lnTo>
                  <a:lnTo>
                    <a:pt x="354" y="865"/>
                  </a:lnTo>
                  <a:lnTo>
                    <a:pt x="356" y="863"/>
                  </a:lnTo>
                  <a:lnTo>
                    <a:pt x="358" y="861"/>
                  </a:lnTo>
                  <a:lnTo>
                    <a:pt x="358" y="861"/>
                  </a:lnTo>
                  <a:lnTo>
                    <a:pt x="360" y="855"/>
                  </a:lnTo>
                  <a:lnTo>
                    <a:pt x="364" y="853"/>
                  </a:lnTo>
                  <a:lnTo>
                    <a:pt x="366" y="853"/>
                  </a:lnTo>
                  <a:lnTo>
                    <a:pt x="366" y="853"/>
                  </a:lnTo>
                  <a:lnTo>
                    <a:pt x="374" y="851"/>
                  </a:lnTo>
                  <a:lnTo>
                    <a:pt x="378" y="851"/>
                  </a:lnTo>
                  <a:lnTo>
                    <a:pt x="382" y="849"/>
                  </a:lnTo>
                  <a:lnTo>
                    <a:pt x="382" y="849"/>
                  </a:lnTo>
                  <a:lnTo>
                    <a:pt x="382" y="849"/>
                  </a:lnTo>
                  <a:lnTo>
                    <a:pt x="386" y="849"/>
                  </a:lnTo>
                  <a:lnTo>
                    <a:pt x="388" y="851"/>
                  </a:lnTo>
                  <a:lnTo>
                    <a:pt x="390" y="853"/>
                  </a:lnTo>
                  <a:lnTo>
                    <a:pt x="386" y="869"/>
                  </a:lnTo>
                  <a:lnTo>
                    <a:pt x="386" y="869"/>
                  </a:lnTo>
                  <a:lnTo>
                    <a:pt x="388" y="871"/>
                  </a:lnTo>
                  <a:lnTo>
                    <a:pt x="388" y="871"/>
                  </a:lnTo>
                  <a:lnTo>
                    <a:pt x="388" y="873"/>
                  </a:lnTo>
                  <a:lnTo>
                    <a:pt x="388" y="877"/>
                  </a:lnTo>
                  <a:lnTo>
                    <a:pt x="390" y="885"/>
                  </a:lnTo>
                  <a:lnTo>
                    <a:pt x="390" y="889"/>
                  </a:lnTo>
                  <a:lnTo>
                    <a:pt x="390" y="889"/>
                  </a:lnTo>
                  <a:lnTo>
                    <a:pt x="396" y="889"/>
                  </a:lnTo>
                  <a:lnTo>
                    <a:pt x="400" y="891"/>
                  </a:lnTo>
                  <a:lnTo>
                    <a:pt x="404" y="893"/>
                  </a:lnTo>
                  <a:lnTo>
                    <a:pt x="406" y="893"/>
                  </a:lnTo>
                  <a:lnTo>
                    <a:pt x="406" y="897"/>
                  </a:lnTo>
                  <a:lnTo>
                    <a:pt x="406" y="897"/>
                  </a:lnTo>
                  <a:lnTo>
                    <a:pt x="404" y="911"/>
                  </a:lnTo>
                  <a:lnTo>
                    <a:pt x="404" y="916"/>
                  </a:lnTo>
                  <a:lnTo>
                    <a:pt x="400" y="918"/>
                  </a:lnTo>
                  <a:lnTo>
                    <a:pt x="400" y="918"/>
                  </a:lnTo>
                  <a:lnTo>
                    <a:pt x="400" y="922"/>
                  </a:lnTo>
                  <a:lnTo>
                    <a:pt x="400" y="928"/>
                  </a:lnTo>
                  <a:lnTo>
                    <a:pt x="400" y="932"/>
                  </a:lnTo>
                  <a:lnTo>
                    <a:pt x="402" y="936"/>
                  </a:lnTo>
                  <a:lnTo>
                    <a:pt x="402" y="936"/>
                  </a:lnTo>
                  <a:lnTo>
                    <a:pt x="404" y="942"/>
                  </a:lnTo>
                  <a:lnTo>
                    <a:pt x="406" y="950"/>
                  </a:lnTo>
                  <a:lnTo>
                    <a:pt x="406" y="950"/>
                  </a:lnTo>
                  <a:lnTo>
                    <a:pt x="406" y="956"/>
                  </a:lnTo>
                  <a:lnTo>
                    <a:pt x="408" y="964"/>
                  </a:lnTo>
                  <a:lnTo>
                    <a:pt x="408" y="964"/>
                  </a:lnTo>
                  <a:lnTo>
                    <a:pt x="420" y="958"/>
                  </a:lnTo>
                  <a:lnTo>
                    <a:pt x="422" y="954"/>
                  </a:lnTo>
                  <a:lnTo>
                    <a:pt x="424" y="952"/>
                  </a:lnTo>
                  <a:lnTo>
                    <a:pt x="424" y="952"/>
                  </a:lnTo>
                  <a:lnTo>
                    <a:pt x="424" y="942"/>
                  </a:lnTo>
                  <a:lnTo>
                    <a:pt x="422" y="936"/>
                  </a:lnTo>
                  <a:lnTo>
                    <a:pt x="422" y="936"/>
                  </a:lnTo>
                  <a:lnTo>
                    <a:pt x="422" y="934"/>
                  </a:lnTo>
                  <a:lnTo>
                    <a:pt x="422" y="932"/>
                  </a:lnTo>
                  <a:lnTo>
                    <a:pt x="424" y="928"/>
                  </a:lnTo>
                  <a:lnTo>
                    <a:pt x="426" y="922"/>
                  </a:lnTo>
                  <a:lnTo>
                    <a:pt x="426" y="922"/>
                  </a:lnTo>
                  <a:lnTo>
                    <a:pt x="432" y="920"/>
                  </a:lnTo>
                  <a:lnTo>
                    <a:pt x="434" y="916"/>
                  </a:lnTo>
                  <a:lnTo>
                    <a:pt x="440" y="914"/>
                  </a:lnTo>
                  <a:lnTo>
                    <a:pt x="442" y="914"/>
                  </a:lnTo>
                  <a:lnTo>
                    <a:pt x="444" y="914"/>
                  </a:lnTo>
                  <a:lnTo>
                    <a:pt x="444" y="914"/>
                  </a:lnTo>
                  <a:lnTo>
                    <a:pt x="446" y="918"/>
                  </a:lnTo>
                  <a:lnTo>
                    <a:pt x="448" y="918"/>
                  </a:lnTo>
                  <a:lnTo>
                    <a:pt x="450" y="920"/>
                  </a:lnTo>
                  <a:lnTo>
                    <a:pt x="454" y="918"/>
                  </a:lnTo>
                  <a:lnTo>
                    <a:pt x="454" y="918"/>
                  </a:lnTo>
                  <a:lnTo>
                    <a:pt x="458" y="916"/>
                  </a:lnTo>
                  <a:lnTo>
                    <a:pt x="462" y="914"/>
                  </a:lnTo>
                  <a:lnTo>
                    <a:pt x="466" y="916"/>
                  </a:lnTo>
                  <a:lnTo>
                    <a:pt x="471" y="918"/>
                  </a:lnTo>
                  <a:lnTo>
                    <a:pt x="471" y="918"/>
                  </a:lnTo>
                  <a:lnTo>
                    <a:pt x="471" y="916"/>
                  </a:lnTo>
                  <a:lnTo>
                    <a:pt x="473" y="914"/>
                  </a:lnTo>
                  <a:lnTo>
                    <a:pt x="477" y="914"/>
                  </a:lnTo>
                  <a:lnTo>
                    <a:pt x="477" y="914"/>
                  </a:lnTo>
                  <a:lnTo>
                    <a:pt x="485" y="911"/>
                  </a:lnTo>
                  <a:lnTo>
                    <a:pt x="491" y="909"/>
                  </a:lnTo>
                  <a:lnTo>
                    <a:pt x="491" y="909"/>
                  </a:lnTo>
                  <a:lnTo>
                    <a:pt x="493" y="907"/>
                  </a:lnTo>
                  <a:lnTo>
                    <a:pt x="497" y="901"/>
                  </a:lnTo>
                  <a:lnTo>
                    <a:pt x="499" y="893"/>
                  </a:lnTo>
                  <a:lnTo>
                    <a:pt x="499" y="889"/>
                  </a:lnTo>
                  <a:lnTo>
                    <a:pt x="499" y="889"/>
                  </a:lnTo>
                  <a:lnTo>
                    <a:pt x="495" y="877"/>
                  </a:lnTo>
                  <a:lnTo>
                    <a:pt x="493" y="871"/>
                  </a:lnTo>
                  <a:lnTo>
                    <a:pt x="495" y="871"/>
                  </a:lnTo>
                  <a:lnTo>
                    <a:pt x="497" y="869"/>
                  </a:lnTo>
                  <a:lnTo>
                    <a:pt x="497" y="869"/>
                  </a:lnTo>
                  <a:lnTo>
                    <a:pt x="503" y="869"/>
                  </a:lnTo>
                  <a:lnTo>
                    <a:pt x="507" y="869"/>
                  </a:lnTo>
                  <a:lnTo>
                    <a:pt x="511" y="869"/>
                  </a:lnTo>
                  <a:lnTo>
                    <a:pt x="515" y="863"/>
                  </a:lnTo>
                  <a:lnTo>
                    <a:pt x="515" y="863"/>
                  </a:lnTo>
                  <a:lnTo>
                    <a:pt x="517" y="855"/>
                  </a:lnTo>
                  <a:lnTo>
                    <a:pt x="521" y="849"/>
                  </a:lnTo>
                  <a:lnTo>
                    <a:pt x="525" y="843"/>
                  </a:lnTo>
                  <a:lnTo>
                    <a:pt x="525" y="841"/>
                  </a:lnTo>
                  <a:lnTo>
                    <a:pt x="523" y="839"/>
                  </a:lnTo>
                  <a:lnTo>
                    <a:pt x="523" y="839"/>
                  </a:lnTo>
                  <a:lnTo>
                    <a:pt x="519" y="831"/>
                  </a:lnTo>
                  <a:lnTo>
                    <a:pt x="517" y="831"/>
                  </a:lnTo>
                  <a:lnTo>
                    <a:pt x="513" y="831"/>
                  </a:lnTo>
                  <a:lnTo>
                    <a:pt x="513" y="831"/>
                  </a:lnTo>
                  <a:lnTo>
                    <a:pt x="501" y="833"/>
                  </a:lnTo>
                  <a:lnTo>
                    <a:pt x="495" y="839"/>
                  </a:lnTo>
                  <a:lnTo>
                    <a:pt x="495" y="839"/>
                  </a:lnTo>
                  <a:lnTo>
                    <a:pt x="497" y="833"/>
                  </a:lnTo>
                  <a:lnTo>
                    <a:pt x="497" y="829"/>
                  </a:lnTo>
                  <a:lnTo>
                    <a:pt x="497" y="829"/>
                  </a:lnTo>
                  <a:lnTo>
                    <a:pt x="493" y="827"/>
                  </a:lnTo>
                  <a:lnTo>
                    <a:pt x="493" y="827"/>
                  </a:lnTo>
                  <a:lnTo>
                    <a:pt x="489" y="827"/>
                  </a:lnTo>
                  <a:lnTo>
                    <a:pt x="485" y="825"/>
                  </a:lnTo>
                  <a:lnTo>
                    <a:pt x="485" y="825"/>
                  </a:lnTo>
                  <a:lnTo>
                    <a:pt x="483" y="823"/>
                  </a:lnTo>
                  <a:lnTo>
                    <a:pt x="483" y="823"/>
                  </a:lnTo>
                  <a:lnTo>
                    <a:pt x="485" y="821"/>
                  </a:lnTo>
                  <a:lnTo>
                    <a:pt x="485" y="821"/>
                  </a:lnTo>
                  <a:lnTo>
                    <a:pt x="487" y="815"/>
                  </a:lnTo>
                  <a:lnTo>
                    <a:pt x="491" y="809"/>
                  </a:lnTo>
                  <a:lnTo>
                    <a:pt x="495" y="807"/>
                  </a:lnTo>
                  <a:lnTo>
                    <a:pt x="497" y="803"/>
                  </a:lnTo>
                  <a:lnTo>
                    <a:pt x="497" y="803"/>
                  </a:lnTo>
                  <a:lnTo>
                    <a:pt x="499" y="793"/>
                  </a:lnTo>
                  <a:lnTo>
                    <a:pt x="501" y="785"/>
                  </a:lnTo>
                  <a:lnTo>
                    <a:pt x="503" y="785"/>
                  </a:lnTo>
                  <a:lnTo>
                    <a:pt x="503" y="783"/>
                  </a:lnTo>
                  <a:lnTo>
                    <a:pt x="503" y="783"/>
                  </a:lnTo>
                  <a:lnTo>
                    <a:pt x="507" y="785"/>
                  </a:lnTo>
                  <a:lnTo>
                    <a:pt x="509" y="785"/>
                  </a:lnTo>
                  <a:lnTo>
                    <a:pt x="513" y="791"/>
                  </a:lnTo>
                  <a:lnTo>
                    <a:pt x="517" y="795"/>
                  </a:lnTo>
                  <a:lnTo>
                    <a:pt x="519" y="795"/>
                  </a:lnTo>
                  <a:lnTo>
                    <a:pt x="521" y="795"/>
                  </a:lnTo>
                  <a:lnTo>
                    <a:pt x="521" y="795"/>
                  </a:lnTo>
                  <a:lnTo>
                    <a:pt x="525" y="797"/>
                  </a:lnTo>
                  <a:lnTo>
                    <a:pt x="533" y="801"/>
                  </a:lnTo>
                  <a:lnTo>
                    <a:pt x="537" y="803"/>
                  </a:lnTo>
                  <a:lnTo>
                    <a:pt x="539" y="807"/>
                  </a:lnTo>
                  <a:lnTo>
                    <a:pt x="539" y="807"/>
                  </a:lnTo>
                  <a:lnTo>
                    <a:pt x="537" y="817"/>
                  </a:lnTo>
                  <a:lnTo>
                    <a:pt x="537" y="821"/>
                  </a:lnTo>
                  <a:lnTo>
                    <a:pt x="537" y="821"/>
                  </a:lnTo>
                  <a:lnTo>
                    <a:pt x="539" y="823"/>
                  </a:lnTo>
                  <a:lnTo>
                    <a:pt x="539" y="823"/>
                  </a:lnTo>
                  <a:lnTo>
                    <a:pt x="543" y="825"/>
                  </a:lnTo>
                  <a:lnTo>
                    <a:pt x="543" y="825"/>
                  </a:lnTo>
                  <a:lnTo>
                    <a:pt x="563" y="823"/>
                  </a:lnTo>
                  <a:lnTo>
                    <a:pt x="563" y="823"/>
                  </a:lnTo>
                  <a:lnTo>
                    <a:pt x="563" y="821"/>
                  </a:lnTo>
                  <a:lnTo>
                    <a:pt x="563" y="821"/>
                  </a:lnTo>
                  <a:lnTo>
                    <a:pt x="561" y="813"/>
                  </a:lnTo>
                  <a:lnTo>
                    <a:pt x="559" y="803"/>
                  </a:lnTo>
                  <a:lnTo>
                    <a:pt x="559" y="793"/>
                  </a:lnTo>
                  <a:lnTo>
                    <a:pt x="561" y="781"/>
                  </a:lnTo>
                  <a:lnTo>
                    <a:pt x="561" y="781"/>
                  </a:lnTo>
                  <a:lnTo>
                    <a:pt x="561" y="771"/>
                  </a:lnTo>
                  <a:lnTo>
                    <a:pt x="563" y="759"/>
                  </a:lnTo>
                  <a:lnTo>
                    <a:pt x="563" y="745"/>
                  </a:lnTo>
                  <a:lnTo>
                    <a:pt x="555" y="713"/>
                  </a:lnTo>
                  <a:lnTo>
                    <a:pt x="555" y="713"/>
                  </a:lnTo>
                  <a:lnTo>
                    <a:pt x="547" y="701"/>
                  </a:lnTo>
                  <a:lnTo>
                    <a:pt x="539" y="687"/>
                  </a:lnTo>
                  <a:lnTo>
                    <a:pt x="537" y="681"/>
                  </a:lnTo>
                  <a:lnTo>
                    <a:pt x="537" y="681"/>
                  </a:lnTo>
                  <a:lnTo>
                    <a:pt x="519" y="660"/>
                  </a:lnTo>
                  <a:lnTo>
                    <a:pt x="511" y="646"/>
                  </a:lnTo>
                  <a:lnTo>
                    <a:pt x="503" y="638"/>
                  </a:lnTo>
                  <a:lnTo>
                    <a:pt x="503" y="638"/>
                  </a:lnTo>
                  <a:lnTo>
                    <a:pt x="493" y="618"/>
                  </a:lnTo>
                  <a:lnTo>
                    <a:pt x="489" y="608"/>
                  </a:lnTo>
                  <a:lnTo>
                    <a:pt x="487" y="598"/>
                  </a:lnTo>
                  <a:lnTo>
                    <a:pt x="487" y="598"/>
                  </a:lnTo>
                  <a:lnTo>
                    <a:pt x="487" y="582"/>
                  </a:lnTo>
                  <a:lnTo>
                    <a:pt x="487" y="570"/>
                  </a:lnTo>
                  <a:lnTo>
                    <a:pt x="487" y="570"/>
                  </a:lnTo>
                  <a:lnTo>
                    <a:pt x="487" y="564"/>
                  </a:lnTo>
                  <a:lnTo>
                    <a:pt x="487" y="558"/>
                  </a:lnTo>
                  <a:lnTo>
                    <a:pt x="487" y="552"/>
                  </a:lnTo>
                  <a:lnTo>
                    <a:pt x="487" y="548"/>
                  </a:lnTo>
                  <a:lnTo>
                    <a:pt x="485" y="546"/>
                  </a:lnTo>
                  <a:lnTo>
                    <a:pt x="485" y="546"/>
                  </a:lnTo>
                  <a:lnTo>
                    <a:pt x="479" y="542"/>
                  </a:lnTo>
                  <a:lnTo>
                    <a:pt x="475" y="540"/>
                  </a:lnTo>
                  <a:lnTo>
                    <a:pt x="468" y="534"/>
                  </a:lnTo>
                  <a:lnTo>
                    <a:pt x="468" y="534"/>
                  </a:lnTo>
                  <a:lnTo>
                    <a:pt x="464" y="530"/>
                  </a:lnTo>
                  <a:lnTo>
                    <a:pt x="462" y="526"/>
                  </a:lnTo>
                  <a:lnTo>
                    <a:pt x="458" y="524"/>
                  </a:lnTo>
                  <a:lnTo>
                    <a:pt x="456" y="520"/>
                  </a:lnTo>
                  <a:lnTo>
                    <a:pt x="456" y="520"/>
                  </a:lnTo>
                  <a:lnTo>
                    <a:pt x="450" y="516"/>
                  </a:lnTo>
                  <a:lnTo>
                    <a:pt x="446" y="512"/>
                  </a:lnTo>
                  <a:lnTo>
                    <a:pt x="442" y="510"/>
                  </a:lnTo>
                  <a:lnTo>
                    <a:pt x="442" y="510"/>
                  </a:lnTo>
                  <a:lnTo>
                    <a:pt x="446" y="504"/>
                  </a:lnTo>
                  <a:lnTo>
                    <a:pt x="448" y="498"/>
                  </a:lnTo>
                  <a:lnTo>
                    <a:pt x="448" y="496"/>
                  </a:lnTo>
                  <a:lnTo>
                    <a:pt x="446" y="494"/>
                  </a:lnTo>
                  <a:lnTo>
                    <a:pt x="446" y="494"/>
                  </a:lnTo>
                  <a:lnTo>
                    <a:pt x="436" y="488"/>
                  </a:lnTo>
                  <a:lnTo>
                    <a:pt x="432" y="488"/>
                  </a:lnTo>
                  <a:lnTo>
                    <a:pt x="426" y="486"/>
                  </a:lnTo>
                  <a:lnTo>
                    <a:pt x="426" y="486"/>
                  </a:lnTo>
                  <a:lnTo>
                    <a:pt x="404" y="486"/>
                  </a:lnTo>
                  <a:lnTo>
                    <a:pt x="396" y="486"/>
                  </a:lnTo>
                  <a:lnTo>
                    <a:pt x="388" y="484"/>
                  </a:lnTo>
                  <a:lnTo>
                    <a:pt x="388" y="484"/>
                  </a:lnTo>
                  <a:lnTo>
                    <a:pt x="386" y="484"/>
                  </a:lnTo>
                  <a:lnTo>
                    <a:pt x="386" y="480"/>
                  </a:lnTo>
                  <a:lnTo>
                    <a:pt x="382" y="478"/>
                  </a:lnTo>
                  <a:lnTo>
                    <a:pt x="376" y="476"/>
                  </a:lnTo>
                  <a:lnTo>
                    <a:pt x="376" y="476"/>
                  </a:lnTo>
                  <a:lnTo>
                    <a:pt x="370" y="478"/>
                  </a:lnTo>
                  <a:lnTo>
                    <a:pt x="364" y="480"/>
                  </a:lnTo>
                  <a:lnTo>
                    <a:pt x="360" y="482"/>
                  </a:lnTo>
                  <a:lnTo>
                    <a:pt x="352" y="484"/>
                  </a:lnTo>
                  <a:lnTo>
                    <a:pt x="352" y="484"/>
                  </a:lnTo>
                  <a:lnTo>
                    <a:pt x="336" y="488"/>
                  </a:lnTo>
                  <a:lnTo>
                    <a:pt x="332" y="490"/>
                  </a:lnTo>
                  <a:lnTo>
                    <a:pt x="332" y="494"/>
                  </a:lnTo>
                  <a:lnTo>
                    <a:pt x="332" y="494"/>
                  </a:lnTo>
                  <a:lnTo>
                    <a:pt x="332" y="494"/>
                  </a:lnTo>
                  <a:lnTo>
                    <a:pt x="336" y="500"/>
                  </a:lnTo>
                  <a:lnTo>
                    <a:pt x="340" y="516"/>
                  </a:lnTo>
                  <a:lnTo>
                    <a:pt x="342" y="524"/>
                  </a:lnTo>
                  <a:lnTo>
                    <a:pt x="340" y="530"/>
                  </a:lnTo>
                  <a:lnTo>
                    <a:pt x="338" y="536"/>
                  </a:lnTo>
                  <a:lnTo>
                    <a:pt x="336" y="540"/>
                  </a:lnTo>
                  <a:lnTo>
                    <a:pt x="332" y="544"/>
                  </a:lnTo>
                  <a:lnTo>
                    <a:pt x="332" y="544"/>
                  </a:lnTo>
                  <a:lnTo>
                    <a:pt x="324" y="550"/>
                  </a:lnTo>
                  <a:lnTo>
                    <a:pt x="318" y="552"/>
                  </a:lnTo>
                  <a:lnTo>
                    <a:pt x="316" y="552"/>
                  </a:lnTo>
                  <a:lnTo>
                    <a:pt x="314" y="550"/>
                  </a:lnTo>
                  <a:lnTo>
                    <a:pt x="314" y="548"/>
                  </a:lnTo>
                  <a:lnTo>
                    <a:pt x="316" y="536"/>
                  </a:lnTo>
                  <a:lnTo>
                    <a:pt x="316" y="536"/>
                  </a:lnTo>
                  <a:lnTo>
                    <a:pt x="316" y="528"/>
                  </a:lnTo>
                  <a:lnTo>
                    <a:pt x="316" y="526"/>
                  </a:lnTo>
                  <a:lnTo>
                    <a:pt x="314" y="526"/>
                  </a:lnTo>
                  <a:lnTo>
                    <a:pt x="312" y="530"/>
                  </a:lnTo>
                  <a:lnTo>
                    <a:pt x="310" y="530"/>
                  </a:lnTo>
                  <a:lnTo>
                    <a:pt x="306" y="532"/>
                  </a:lnTo>
                  <a:lnTo>
                    <a:pt x="306" y="532"/>
                  </a:lnTo>
                  <a:lnTo>
                    <a:pt x="304" y="532"/>
                  </a:lnTo>
                  <a:lnTo>
                    <a:pt x="304" y="534"/>
                  </a:lnTo>
                  <a:lnTo>
                    <a:pt x="302" y="536"/>
                  </a:lnTo>
                  <a:lnTo>
                    <a:pt x="298" y="544"/>
                  </a:lnTo>
                  <a:lnTo>
                    <a:pt x="296" y="548"/>
                  </a:lnTo>
                  <a:lnTo>
                    <a:pt x="296" y="548"/>
                  </a:lnTo>
                  <a:lnTo>
                    <a:pt x="294" y="552"/>
                  </a:lnTo>
                  <a:lnTo>
                    <a:pt x="292" y="554"/>
                  </a:lnTo>
                  <a:lnTo>
                    <a:pt x="288" y="554"/>
                  </a:lnTo>
                  <a:lnTo>
                    <a:pt x="288" y="552"/>
                  </a:lnTo>
                  <a:lnTo>
                    <a:pt x="284" y="544"/>
                  </a:lnTo>
                  <a:lnTo>
                    <a:pt x="284" y="544"/>
                  </a:lnTo>
                  <a:lnTo>
                    <a:pt x="280" y="532"/>
                  </a:lnTo>
                  <a:lnTo>
                    <a:pt x="274" y="522"/>
                  </a:lnTo>
                  <a:lnTo>
                    <a:pt x="268" y="516"/>
                  </a:lnTo>
                  <a:lnTo>
                    <a:pt x="266" y="510"/>
                  </a:lnTo>
                  <a:lnTo>
                    <a:pt x="264" y="512"/>
                  </a:lnTo>
                  <a:lnTo>
                    <a:pt x="264" y="512"/>
                  </a:lnTo>
                  <a:lnTo>
                    <a:pt x="249" y="526"/>
                  </a:lnTo>
                  <a:lnTo>
                    <a:pt x="241" y="532"/>
                  </a:lnTo>
                  <a:lnTo>
                    <a:pt x="239" y="534"/>
                  </a:lnTo>
                  <a:lnTo>
                    <a:pt x="235" y="534"/>
                  </a:lnTo>
                  <a:lnTo>
                    <a:pt x="235" y="534"/>
                  </a:lnTo>
                  <a:lnTo>
                    <a:pt x="219" y="534"/>
                  </a:lnTo>
                  <a:lnTo>
                    <a:pt x="213" y="534"/>
                  </a:lnTo>
                  <a:lnTo>
                    <a:pt x="207" y="534"/>
                  </a:lnTo>
                  <a:lnTo>
                    <a:pt x="207" y="530"/>
                  </a:lnTo>
                  <a:lnTo>
                    <a:pt x="207" y="530"/>
                  </a:lnTo>
                  <a:lnTo>
                    <a:pt x="211" y="524"/>
                  </a:lnTo>
                  <a:lnTo>
                    <a:pt x="215" y="516"/>
                  </a:lnTo>
                  <a:lnTo>
                    <a:pt x="219" y="504"/>
                  </a:lnTo>
                  <a:lnTo>
                    <a:pt x="221" y="494"/>
                  </a:lnTo>
                  <a:lnTo>
                    <a:pt x="221" y="494"/>
                  </a:lnTo>
                  <a:lnTo>
                    <a:pt x="223" y="484"/>
                  </a:lnTo>
                  <a:lnTo>
                    <a:pt x="225" y="476"/>
                  </a:lnTo>
                  <a:lnTo>
                    <a:pt x="229" y="456"/>
                  </a:lnTo>
                  <a:lnTo>
                    <a:pt x="229" y="456"/>
                  </a:lnTo>
                  <a:lnTo>
                    <a:pt x="239" y="425"/>
                  </a:lnTo>
                  <a:lnTo>
                    <a:pt x="243" y="407"/>
                  </a:lnTo>
                  <a:lnTo>
                    <a:pt x="245" y="403"/>
                  </a:lnTo>
                  <a:lnTo>
                    <a:pt x="245" y="395"/>
                  </a:lnTo>
                  <a:lnTo>
                    <a:pt x="245" y="395"/>
                  </a:lnTo>
                  <a:lnTo>
                    <a:pt x="245" y="387"/>
                  </a:lnTo>
                  <a:lnTo>
                    <a:pt x="245" y="379"/>
                  </a:lnTo>
                  <a:lnTo>
                    <a:pt x="247" y="353"/>
                  </a:lnTo>
                  <a:lnTo>
                    <a:pt x="247" y="353"/>
                  </a:lnTo>
                  <a:lnTo>
                    <a:pt x="249" y="341"/>
                  </a:lnTo>
                  <a:lnTo>
                    <a:pt x="256" y="323"/>
                  </a:lnTo>
                  <a:lnTo>
                    <a:pt x="260" y="303"/>
                  </a:lnTo>
                  <a:lnTo>
                    <a:pt x="262" y="297"/>
                  </a:lnTo>
                  <a:lnTo>
                    <a:pt x="262" y="293"/>
                  </a:lnTo>
                  <a:lnTo>
                    <a:pt x="262" y="293"/>
                  </a:lnTo>
                  <a:lnTo>
                    <a:pt x="260" y="281"/>
                  </a:lnTo>
                  <a:lnTo>
                    <a:pt x="258" y="273"/>
                  </a:lnTo>
                  <a:lnTo>
                    <a:pt x="256" y="265"/>
                  </a:lnTo>
                  <a:lnTo>
                    <a:pt x="256" y="259"/>
                  </a:lnTo>
                  <a:lnTo>
                    <a:pt x="256" y="255"/>
                  </a:lnTo>
                  <a:lnTo>
                    <a:pt x="256" y="255"/>
                  </a:lnTo>
                  <a:lnTo>
                    <a:pt x="260" y="247"/>
                  </a:lnTo>
                  <a:lnTo>
                    <a:pt x="262" y="237"/>
                  </a:lnTo>
                  <a:lnTo>
                    <a:pt x="264" y="229"/>
                  </a:lnTo>
                  <a:lnTo>
                    <a:pt x="264" y="221"/>
                  </a:lnTo>
                  <a:lnTo>
                    <a:pt x="264" y="221"/>
                  </a:lnTo>
                  <a:lnTo>
                    <a:pt x="264" y="212"/>
                  </a:lnTo>
                  <a:lnTo>
                    <a:pt x="266" y="200"/>
                  </a:lnTo>
                  <a:lnTo>
                    <a:pt x="268" y="188"/>
                  </a:lnTo>
                  <a:lnTo>
                    <a:pt x="270" y="184"/>
                  </a:lnTo>
                  <a:lnTo>
                    <a:pt x="272" y="178"/>
                  </a:lnTo>
                  <a:lnTo>
                    <a:pt x="272" y="178"/>
                  </a:lnTo>
                  <a:lnTo>
                    <a:pt x="284" y="164"/>
                  </a:lnTo>
                  <a:lnTo>
                    <a:pt x="302" y="148"/>
                  </a:lnTo>
                  <a:lnTo>
                    <a:pt x="316" y="136"/>
                  </a:lnTo>
                  <a:lnTo>
                    <a:pt x="330" y="124"/>
                  </a:lnTo>
                  <a:lnTo>
                    <a:pt x="330" y="124"/>
                  </a:lnTo>
                  <a:lnTo>
                    <a:pt x="334" y="122"/>
                  </a:lnTo>
                  <a:lnTo>
                    <a:pt x="338" y="122"/>
                  </a:lnTo>
                  <a:lnTo>
                    <a:pt x="340" y="122"/>
                  </a:lnTo>
                  <a:lnTo>
                    <a:pt x="344" y="124"/>
                  </a:lnTo>
                  <a:lnTo>
                    <a:pt x="350" y="128"/>
                  </a:lnTo>
                  <a:lnTo>
                    <a:pt x="352" y="128"/>
                  </a:lnTo>
                  <a:lnTo>
                    <a:pt x="354" y="128"/>
                  </a:lnTo>
                  <a:lnTo>
                    <a:pt x="354" y="128"/>
                  </a:lnTo>
                  <a:lnTo>
                    <a:pt x="356" y="122"/>
                  </a:lnTo>
                  <a:lnTo>
                    <a:pt x="356" y="120"/>
                  </a:lnTo>
                  <a:lnTo>
                    <a:pt x="356" y="114"/>
                  </a:lnTo>
                  <a:lnTo>
                    <a:pt x="356" y="108"/>
                  </a:lnTo>
                  <a:lnTo>
                    <a:pt x="358" y="106"/>
                  </a:lnTo>
                  <a:lnTo>
                    <a:pt x="360" y="102"/>
                  </a:lnTo>
                  <a:lnTo>
                    <a:pt x="360" y="102"/>
                  </a:lnTo>
                  <a:lnTo>
                    <a:pt x="370" y="98"/>
                  </a:lnTo>
                  <a:lnTo>
                    <a:pt x="358" y="82"/>
                  </a:lnTo>
                  <a:lnTo>
                    <a:pt x="340" y="68"/>
                  </a:lnTo>
                  <a:lnTo>
                    <a:pt x="340" y="68"/>
                  </a:lnTo>
                  <a:lnTo>
                    <a:pt x="340" y="68"/>
                  </a:lnTo>
                  <a:lnTo>
                    <a:pt x="340" y="68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00" name="Freeform 59"/>
            <p:cNvSpPr>
              <a:spLocks/>
            </p:cNvSpPr>
            <p:nvPr/>
          </p:nvSpPr>
          <p:spPr bwMode="auto">
            <a:xfrm>
              <a:off x="4503" y="1510"/>
              <a:ext cx="509" cy="823"/>
            </a:xfrm>
            <a:custGeom>
              <a:avLst/>
              <a:gdLst>
                <a:gd name="T0" fmla="*/ 497 w 509"/>
                <a:gd name="T1" fmla="*/ 749 h 823"/>
                <a:gd name="T2" fmla="*/ 471 w 509"/>
                <a:gd name="T3" fmla="*/ 713 h 823"/>
                <a:gd name="T4" fmla="*/ 471 w 509"/>
                <a:gd name="T5" fmla="*/ 661 h 823"/>
                <a:gd name="T6" fmla="*/ 487 w 509"/>
                <a:gd name="T7" fmla="*/ 653 h 823"/>
                <a:gd name="T8" fmla="*/ 444 w 509"/>
                <a:gd name="T9" fmla="*/ 627 h 823"/>
                <a:gd name="T10" fmla="*/ 442 w 509"/>
                <a:gd name="T11" fmla="*/ 576 h 823"/>
                <a:gd name="T12" fmla="*/ 460 w 509"/>
                <a:gd name="T13" fmla="*/ 560 h 823"/>
                <a:gd name="T14" fmla="*/ 438 w 509"/>
                <a:gd name="T15" fmla="*/ 538 h 823"/>
                <a:gd name="T16" fmla="*/ 406 w 509"/>
                <a:gd name="T17" fmla="*/ 518 h 823"/>
                <a:gd name="T18" fmla="*/ 392 w 509"/>
                <a:gd name="T19" fmla="*/ 490 h 823"/>
                <a:gd name="T20" fmla="*/ 414 w 509"/>
                <a:gd name="T21" fmla="*/ 474 h 823"/>
                <a:gd name="T22" fmla="*/ 396 w 509"/>
                <a:gd name="T23" fmla="*/ 452 h 823"/>
                <a:gd name="T24" fmla="*/ 374 w 509"/>
                <a:gd name="T25" fmla="*/ 454 h 823"/>
                <a:gd name="T26" fmla="*/ 346 w 509"/>
                <a:gd name="T27" fmla="*/ 432 h 823"/>
                <a:gd name="T28" fmla="*/ 336 w 509"/>
                <a:gd name="T29" fmla="*/ 410 h 823"/>
                <a:gd name="T30" fmla="*/ 314 w 509"/>
                <a:gd name="T31" fmla="*/ 422 h 823"/>
                <a:gd name="T32" fmla="*/ 298 w 509"/>
                <a:gd name="T33" fmla="*/ 430 h 823"/>
                <a:gd name="T34" fmla="*/ 280 w 509"/>
                <a:gd name="T35" fmla="*/ 388 h 823"/>
                <a:gd name="T36" fmla="*/ 241 w 509"/>
                <a:gd name="T37" fmla="*/ 335 h 823"/>
                <a:gd name="T38" fmla="*/ 258 w 509"/>
                <a:gd name="T39" fmla="*/ 301 h 823"/>
                <a:gd name="T40" fmla="*/ 260 w 509"/>
                <a:gd name="T41" fmla="*/ 283 h 823"/>
                <a:gd name="T42" fmla="*/ 264 w 509"/>
                <a:gd name="T43" fmla="*/ 253 h 823"/>
                <a:gd name="T44" fmla="*/ 286 w 509"/>
                <a:gd name="T45" fmla="*/ 267 h 823"/>
                <a:gd name="T46" fmla="*/ 280 w 509"/>
                <a:gd name="T47" fmla="*/ 209 h 823"/>
                <a:gd name="T48" fmla="*/ 308 w 509"/>
                <a:gd name="T49" fmla="*/ 169 h 823"/>
                <a:gd name="T50" fmla="*/ 344 w 509"/>
                <a:gd name="T51" fmla="*/ 163 h 823"/>
                <a:gd name="T52" fmla="*/ 328 w 509"/>
                <a:gd name="T53" fmla="*/ 131 h 823"/>
                <a:gd name="T54" fmla="*/ 302 w 509"/>
                <a:gd name="T55" fmla="*/ 2 h 823"/>
                <a:gd name="T56" fmla="*/ 262 w 509"/>
                <a:gd name="T57" fmla="*/ 2 h 823"/>
                <a:gd name="T58" fmla="*/ 252 w 509"/>
                <a:gd name="T59" fmla="*/ 38 h 823"/>
                <a:gd name="T60" fmla="*/ 229 w 509"/>
                <a:gd name="T61" fmla="*/ 94 h 823"/>
                <a:gd name="T62" fmla="*/ 163 w 509"/>
                <a:gd name="T63" fmla="*/ 110 h 823"/>
                <a:gd name="T64" fmla="*/ 67 w 509"/>
                <a:gd name="T65" fmla="*/ 96 h 823"/>
                <a:gd name="T66" fmla="*/ 0 w 509"/>
                <a:gd name="T67" fmla="*/ 171 h 823"/>
                <a:gd name="T68" fmla="*/ 53 w 509"/>
                <a:gd name="T69" fmla="*/ 217 h 823"/>
                <a:gd name="T70" fmla="*/ 97 w 509"/>
                <a:gd name="T71" fmla="*/ 253 h 823"/>
                <a:gd name="T72" fmla="*/ 113 w 509"/>
                <a:gd name="T73" fmla="*/ 285 h 823"/>
                <a:gd name="T74" fmla="*/ 141 w 509"/>
                <a:gd name="T75" fmla="*/ 291 h 823"/>
                <a:gd name="T76" fmla="*/ 153 w 509"/>
                <a:gd name="T77" fmla="*/ 283 h 823"/>
                <a:gd name="T78" fmla="*/ 137 w 509"/>
                <a:gd name="T79" fmla="*/ 277 h 823"/>
                <a:gd name="T80" fmla="*/ 115 w 509"/>
                <a:gd name="T81" fmla="*/ 241 h 823"/>
                <a:gd name="T82" fmla="*/ 139 w 509"/>
                <a:gd name="T83" fmla="*/ 213 h 823"/>
                <a:gd name="T84" fmla="*/ 135 w 509"/>
                <a:gd name="T85" fmla="*/ 229 h 823"/>
                <a:gd name="T86" fmla="*/ 159 w 509"/>
                <a:gd name="T87" fmla="*/ 261 h 823"/>
                <a:gd name="T88" fmla="*/ 175 w 509"/>
                <a:gd name="T89" fmla="*/ 283 h 823"/>
                <a:gd name="T90" fmla="*/ 193 w 509"/>
                <a:gd name="T91" fmla="*/ 297 h 823"/>
                <a:gd name="T92" fmla="*/ 197 w 509"/>
                <a:gd name="T93" fmla="*/ 370 h 823"/>
                <a:gd name="T94" fmla="*/ 209 w 509"/>
                <a:gd name="T95" fmla="*/ 434 h 823"/>
                <a:gd name="T96" fmla="*/ 227 w 509"/>
                <a:gd name="T97" fmla="*/ 522 h 823"/>
                <a:gd name="T98" fmla="*/ 221 w 509"/>
                <a:gd name="T99" fmla="*/ 552 h 823"/>
                <a:gd name="T100" fmla="*/ 211 w 509"/>
                <a:gd name="T101" fmla="*/ 566 h 823"/>
                <a:gd name="T102" fmla="*/ 233 w 509"/>
                <a:gd name="T103" fmla="*/ 597 h 823"/>
                <a:gd name="T104" fmla="*/ 264 w 509"/>
                <a:gd name="T105" fmla="*/ 667 h 823"/>
                <a:gd name="T106" fmla="*/ 400 w 509"/>
                <a:gd name="T107" fmla="*/ 759 h 823"/>
                <a:gd name="T108" fmla="*/ 491 w 509"/>
                <a:gd name="T109" fmla="*/ 819 h 823"/>
                <a:gd name="T110" fmla="*/ 507 w 509"/>
                <a:gd name="T111" fmla="*/ 791 h 8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09" h="823">
                  <a:moveTo>
                    <a:pt x="507" y="791"/>
                  </a:moveTo>
                  <a:lnTo>
                    <a:pt x="507" y="791"/>
                  </a:lnTo>
                  <a:lnTo>
                    <a:pt x="507" y="773"/>
                  </a:lnTo>
                  <a:lnTo>
                    <a:pt x="505" y="765"/>
                  </a:lnTo>
                  <a:lnTo>
                    <a:pt x="503" y="757"/>
                  </a:lnTo>
                  <a:lnTo>
                    <a:pt x="503" y="757"/>
                  </a:lnTo>
                  <a:lnTo>
                    <a:pt x="497" y="749"/>
                  </a:lnTo>
                  <a:lnTo>
                    <a:pt x="493" y="739"/>
                  </a:lnTo>
                  <a:lnTo>
                    <a:pt x="487" y="729"/>
                  </a:lnTo>
                  <a:lnTo>
                    <a:pt x="485" y="725"/>
                  </a:lnTo>
                  <a:lnTo>
                    <a:pt x="481" y="723"/>
                  </a:lnTo>
                  <a:lnTo>
                    <a:pt x="481" y="723"/>
                  </a:lnTo>
                  <a:lnTo>
                    <a:pt x="477" y="719"/>
                  </a:lnTo>
                  <a:lnTo>
                    <a:pt x="471" y="713"/>
                  </a:lnTo>
                  <a:lnTo>
                    <a:pt x="470" y="705"/>
                  </a:lnTo>
                  <a:lnTo>
                    <a:pt x="470" y="705"/>
                  </a:lnTo>
                  <a:lnTo>
                    <a:pt x="468" y="693"/>
                  </a:lnTo>
                  <a:lnTo>
                    <a:pt x="470" y="679"/>
                  </a:lnTo>
                  <a:lnTo>
                    <a:pt x="470" y="679"/>
                  </a:lnTo>
                  <a:lnTo>
                    <a:pt x="470" y="667"/>
                  </a:lnTo>
                  <a:lnTo>
                    <a:pt x="471" y="661"/>
                  </a:lnTo>
                  <a:lnTo>
                    <a:pt x="471" y="661"/>
                  </a:lnTo>
                  <a:lnTo>
                    <a:pt x="477" y="659"/>
                  </a:lnTo>
                  <a:lnTo>
                    <a:pt x="477" y="659"/>
                  </a:lnTo>
                  <a:lnTo>
                    <a:pt x="485" y="657"/>
                  </a:lnTo>
                  <a:lnTo>
                    <a:pt x="487" y="657"/>
                  </a:lnTo>
                  <a:lnTo>
                    <a:pt x="487" y="655"/>
                  </a:lnTo>
                  <a:lnTo>
                    <a:pt x="487" y="653"/>
                  </a:lnTo>
                  <a:lnTo>
                    <a:pt x="487" y="653"/>
                  </a:lnTo>
                  <a:lnTo>
                    <a:pt x="471" y="649"/>
                  </a:lnTo>
                  <a:lnTo>
                    <a:pt x="462" y="639"/>
                  </a:lnTo>
                  <a:lnTo>
                    <a:pt x="462" y="639"/>
                  </a:lnTo>
                  <a:lnTo>
                    <a:pt x="456" y="635"/>
                  </a:lnTo>
                  <a:lnTo>
                    <a:pt x="446" y="629"/>
                  </a:lnTo>
                  <a:lnTo>
                    <a:pt x="444" y="627"/>
                  </a:lnTo>
                  <a:lnTo>
                    <a:pt x="442" y="619"/>
                  </a:lnTo>
                  <a:lnTo>
                    <a:pt x="440" y="613"/>
                  </a:lnTo>
                  <a:lnTo>
                    <a:pt x="440" y="609"/>
                  </a:lnTo>
                  <a:lnTo>
                    <a:pt x="440" y="609"/>
                  </a:lnTo>
                  <a:lnTo>
                    <a:pt x="438" y="588"/>
                  </a:lnTo>
                  <a:lnTo>
                    <a:pt x="440" y="582"/>
                  </a:lnTo>
                  <a:lnTo>
                    <a:pt x="442" y="576"/>
                  </a:lnTo>
                  <a:lnTo>
                    <a:pt x="444" y="574"/>
                  </a:lnTo>
                  <a:lnTo>
                    <a:pt x="444" y="574"/>
                  </a:lnTo>
                  <a:lnTo>
                    <a:pt x="450" y="572"/>
                  </a:lnTo>
                  <a:lnTo>
                    <a:pt x="456" y="570"/>
                  </a:lnTo>
                  <a:lnTo>
                    <a:pt x="460" y="566"/>
                  </a:lnTo>
                  <a:lnTo>
                    <a:pt x="460" y="560"/>
                  </a:lnTo>
                  <a:lnTo>
                    <a:pt x="460" y="560"/>
                  </a:lnTo>
                  <a:lnTo>
                    <a:pt x="458" y="546"/>
                  </a:lnTo>
                  <a:lnTo>
                    <a:pt x="456" y="542"/>
                  </a:lnTo>
                  <a:lnTo>
                    <a:pt x="452" y="540"/>
                  </a:lnTo>
                  <a:lnTo>
                    <a:pt x="450" y="538"/>
                  </a:lnTo>
                  <a:lnTo>
                    <a:pt x="450" y="538"/>
                  </a:lnTo>
                  <a:lnTo>
                    <a:pt x="444" y="538"/>
                  </a:lnTo>
                  <a:lnTo>
                    <a:pt x="438" y="538"/>
                  </a:lnTo>
                  <a:lnTo>
                    <a:pt x="432" y="538"/>
                  </a:lnTo>
                  <a:lnTo>
                    <a:pt x="428" y="538"/>
                  </a:lnTo>
                  <a:lnTo>
                    <a:pt x="426" y="538"/>
                  </a:lnTo>
                  <a:lnTo>
                    <a:pt x="426" y="538"/>
                  </a:lnTo>
                  <a:lnTo>
                    <a:pt x="418" y="528"/>
                  </a:lnTo>
                  <a:lnTo>
                    <a:pt x="412" y="522"/>
                  </a:lnTo>
                  <a:lnTo>
                    <a:pt x="406" y="518"/>
                  </a:lnTo>
                  <a:lnTo>
                    <a:pt x="406" y="518"/>
                  </a:lnTo>
                  <a:lnTo>
                    <a:pt x="402" y="512"/>
                  </a:lnTo>
                  <a:lnTo>
                    <a:pt x="396" y="506"/>
                  </a:lnTo>
                  <a:lnTo>
                    <a:pt x="394" y="502"/>
                  </a:lnTo>
                  <a:lnTo>
                    <a:pt x="392" y="496"/>
                  </a:lnTo>
                  <a:lnTo>
                    <a:pt x="392" y="496"/>
                  </a:lnTo>
                  <a:lnTo>
                    <a:pt x="392" y="490"/>
                  </a:lnTo>
                  <a:lnTo>
                    <a:pt x="394" y="484"/>
                  </a:lnTo>
                  <a:lnTo>
                    <a:pt x="396" y="480"/>
                  </a:lnTo>
                  <a:lnTo>
                    <a:pt x="400" y="478"/>
                  </a:lnTo>
                  <a:lnTo>
                    <a:pt x="400" y="478"/>
                  </a:lnTo>
                  <a:lnTo>
                    <a:pt x="406" y="478"/>
                  </a:lnTo>
                  <a:lnTo>
                    <a:pt x="412" y="476"/>
                  </a:lnTo>
                  <a:lnTo>
                    <a:pt x="414" y="474"/>
                  </a:lnTo>
                  <a:lnTo>
                    <a:pt x="414" y="472"/>
                  </a:lnTo>
                  <a:lnTo>
                    <a:pt x="414" y="472"/>
                  </a:lnTo>
                  <a:lnTo>
                    <a:pt x="414" y="470"/>
                  </a:lnTo>
                  <a:lnTo>
                    <a:pt x="412" y="466"/>
                  </a:lnTo>
                  <a:lnTo>
                    <a:pt x="410" y="460"/>
                  </a:lnTo>
                  <a:lnTo>
                    <a:pt x="396" y="452"/>
                  </a:lnTo>
                  <a:lnTo>
                    <a:pt x="396" y="452"/>
                  </a:lnTo>
                  <a:lnTo>
                    <a:pt x="392" y="450"/>
                  </a:lnTo>
                  <a:lnTo>
                    <a:pt x="388" y="448"/>
                  </a:lnTo>
                  <a:lnTo>
                    <a:pt x="382" y="450"/>
                  </a:lnTo>
                  <a:lnTo>
                    <a:pt x="380" y="452"/>
                  </a:lnTo>
                  <a:lnTo>
                    <a:pt x="380" y="452"/>
                  </a:lnTo>
                  <a:lnTo>
                    <a:pt x="378" y="454"/>
                  </a:lnTo>
                  <a:lnTo>
                    <a:pt x="374" y="454"/>
                  </a:lnTo>
                  <a:lnTo>
                    <a:pt x="370" y="452"/>
                  </a:lnTo>
                  <a:lnTo>
                    <a:pt x="366" y="448"/>
                  </a:lnTo>
                  <a:lnTo>
                    <a:pt x="366" y="448"/>
                  </a:lnTo>
                  <a:lnTo>
                    <a:pt x="358" y="444"/>
                  </a:lnTo>
                  <a:lnTo>
                    <a:pt x="352" y="438"/>
                  </a:lnTo>
                  <a:lnTo>
                    <a:pt x="348" y="434"/>
                  </a:lnTo>
                  <a:lnTo>
                    <a:pt x="346" y="432"/>
                  </a:lnTo>
                  <a:lnTo>
                    <a:pt x="346" y="428"/>
                  </a:lnTo>
                  <a:lnTo>
                    <a:pt x="346" y="428"/>
                  </a:lnTo>
                  <a:lnTo>
                    <a:pt x="346" y="424"/>
                  </a:lnTo>
                  <a:lnTo>
                    <a:pt x="346" y="422"/>
                  </a:lnTo>
                  <a:lnTo>
                    <a:pt x="344" y="414"/>
                  </a:lnTo>
                  <a:lnTo>
                    <a:pt x="342" y="412"/>
                  </a:lnTo>
                  <a:lnTo>
                    <a:pt x="336" y="410"/>
                  </a:lnTo>
                  <a:lnTo>
                    <a:pt x="334" y="410"/>
                  </a:lnTo>
                  <a:lnTo>
                    <a:pt x="332" y="410"/>
                  </a:lnTo>
                  <a:lnTo>
                    <a:pt x="332" y="410"/>
                  </a:lnTo>
                  <a:lnTo>
                    <a:pt x="320" y="420"/>
                  </a:lnTo>
                  <a:lnTo>
                    <a:pt x="314" y="420"/>
                  </a:lnTo>
                  <a:lnTo>
                    <a:pt x="314" y="422"/>
                  </a:lnTo>
                  <a:lnTo>
                    <a:pt x="314" y="422"/>
                  </a:lnTo>
                  <a:lnTo>
                    <a:pt x="314" y="432"/>
                  </a:lnTo>
                  <a:lnTo>
                    <a:pt x="314" y="434"/>
                  </a:lnTo>
                  <a:lnTo>
                    <a:pt x="314" y="436"/>
                  </a:lnTo>
                  <a:lnTo>
                    <a:pt x="312" y="436"/>
                  </a:lnTo>
                  <a:lnTo>
                    <a:pt x="312" y="436"/>
                  </a:lnTo>
                  <a:lnTo>
                    <a:pt x="306" y="434"/>
                  </a:lnTo>
                  <a:lnTo>
                    <a:pt x="298" y="430"/>
                  </a:lnTo>
                  <a:lnTo>
                    <a:pt x="288" y="424"/>
                  </a:lnTo>
                  <a:lnTo>
                    <a:pt x="286" y="420"/>
                  </a:lnTo>
                  <a:lnTo>
                    <a:pt x="282" y="414"/>
                  </a:lnTo>
                  <a:lnTo>
                    <a:pt x="282" y="414"/>
                  </a:lnTo>
                  <a:lnTo>
                    <a:pt x="280" y="410"/>
                  </a:lnTo>
                  <a:lnTo>
                    <a:pt x="280" y="402"/>
                  </a:lnTo>
                  <a:lnTo>
                    <a:pt x="280" y="388"/>
                  </a:lnTo>
                  <a:lnTo>
                    <a:pt x="278" y="376"/>
                  </a:lnTo>
                  <a:lnTo>
                    <a:pt x="278" y="368"/>
                  </a:lnTo>
                  <a:lnTo>
                    <a:pt x="274" y="366"/>
                  </a:lnTo>
                  <a:lnTo>
                    <a:pt x="274" y="366"/>
                  </a:lnTo>
                  <a:lnTo>
                    <a:pt x="254" y="351"/>
                  </a:lnTo>
                  <a:lnTo>
                    <a:pt x="243" y="341"/>
                  </a:lnTo>
                  <a:lnTo>
                    <a:pt x="241" y="335"/>
                  </a:lnTo>
                  <a:lnTo>
                    <a:pt x="241" y="331"/>
                  </a:lnTo>
                  <a:lnTo>
                    <a:pt x="241" y="331"/>
                  </a:lnTo>
                  <a:lnTo>
                    <a:pt x="243" y="321"/>
                  </a:lnTo>
                  <a:lnTo>
                    <a:pt x="247" y="313"/>
                  </a:lnTo>
                  <a:lnTo>
                    <a:pt x="252" y="305"/>
                  </a:lnTo>
                  <a:lnTo>
                    <a:pt x="256" y="301"/>
                  </a:lnTo>
                  <a:lnTo>
                    <a:pt x="258" y="301"/>
                  </a:lnTo>
                  <a:lnTo>
                    <a:pt x="258" y="301"/>
                  </a:lnTo>
                  <a:lnTo>
                    <a:pt x="264" y="301"/>
                  </a:lnTo>
                  <a:lnTo>
                    <a:pt x="266" y="299"/>
                  </a:lnTo>
                  <a:lnTo>
                    <a:pt x="266" y="295"/>
                  </a:lnTo>
                  <a:lnTo>
                    <a:pt x="264" y="291"/>
                  </a:lnTo>
                  <a:lnTo>
                    <a:pt x="264" y="291"/>
                  </a:lnTo>
                  <a:lnTo>
                    <a:pt x="260" y="283"/>
                  </a:lnTo>
                  <a:lnTo>
                    <a:pt x="256" y="267"/>
                  </a:lnTo>
                  <a:lnTo>
                    <a:pt x="254" y="259"/>
                  </a:lnTo>
                  <a:lnTo>
                    <a:pt x="256" y="253"/>
                  </a:lnTo>
                  <a:lnTo>
                    <a:pt x="256" y="249"/>
                  </a:lnTo>
                  <a:lnTo>
                    <a:pt x="256" y="249"/>
                  </a:lnTo>
                  <a:lnTo>
                    <a:pt x="260" y="251"/>
                  </a:lnTo>
                  <a:lnTo>
                    <a:pt x="264" y="253"/>
                  </a:lnTo>
                  <a:lnTo>
                    <a:pt x="274" y="263"/>
                  </a:lnTo>
                  <a:lnTo>
                    <a:pt x="280" y="269"/>
                  </a:lnTo>
                  <a:lnTo>
                    <a:pt x="284" y="271"/>
                  </a:lnTo>
                  <a:lnTo>
                    <a:pt x="286" y="271"/>
                  </a:lnTo>
                  <a:lnTo>
                    <a:pt x="286" y="271"/>
                  </a:lnTo>
                  <a:lnTo>
                    <a:pt x="286" y="269"/>
                  </a:lnTo>
                  <a:lnTo>
                    <a:pt x="286" y="267"/>
                  </a:lnTo>
                  <a:lnTo>
                    <a:pt x="284" y="255"/>
                  </a:lnTo>
                  <a:lnTo>
                    <a:pt x="280" y="243"/>
                  </a:lnTo>
                  <a:lnTo>
                    <a:pt x="280" y="237"/>
                  </a:lnTo>
                  <a:lnTo>
                    <a:pt x="278" y="231"/>
                  </a:lnTo>
                  <a:lnTo>
                    <a:pt x="278" y="231"/>
                  </a:lnTo>
                  <a:lnTo>
                    <a:pt x="280" y="221"/>
                  </a:lnTo>
                  <a:lnTo>
                    <a:pt x="280" y="209"/>
                  </a:lnTo>
                  <a:lnTo>
                    <a:pt x="284" y="197"/>
                  </a:lnTo>
                  <a:lnTo>
                    <a:pt x="286" y="191"/>
                  </a:lnTo>
                  <a:lnTo>
                    <a:pt x="288" y="187"/>
                  </a:lnTo>
                  <a:lnTo>
                    <a:pt x="288" y="187"/>
                  </a:lnTo>
                  <a:lnTo>
                    <a:pt x="300" y="177"/>
                  </a:lnTo>
                  <a:lnTo>
                    <a:pt x="306" y="173"/>
                  </a:lnTo>
                  <a:lnTo>
                    <a:pt x="308" y="169"/>
                  </a:lnTo>
                  <a:lnTo>
                    <a:pt x="308" y="169"/>
                  </a:lnTo>
                  <a:lnTo>
                    <a:pt x="314" y="169"/>
                  </a:lnTo>
                  <a:lnTo>
                    <a:pt x="322" y="169"/>
                  </a:lnTo>
                  <a:lnTo>
                    <a:pt x="328" y="169"/>
                  </a:lnTo>
                  <a:lnTo>
                    <a:pt x="332" y="169"/>
                  </a:lnTo>
                  <a:lnTo>
                    <a:pt x="332" y="169"/>
                  </a:lnTo>
                  <a:lnTo>
                    <a:pt x="344" y="163"/>
                  </a:lnTo>
                  <a:lnTo>
                    <a:pt x="346" y="163"/>
                  </a:lnTo>
                  <a:lnTo>
                    <a:pt x="346" y="161"/>
                  </a:lnTo>
                  <a:lnTo>
                    <a:pt x="346" y="161"/>
                  </a:lnTo>
                  <a:lnTo>
                    <a:pt x="336" y="151"/>
                  </a:lnTo>
                  <a:lnTo>
                    <a:pt x="332" y="141"/>
                  </a:lnTo>
                  <a:lnTo>
                    <a:pt x="330" y="135"/>
                  </a:lnTo>
                  <a:lnTo>
                    <a:pt x="328" y="131"/>
                  </a:lnTo>
                  <a:lnTo>
                    <a:pt x="328" y="131"/>
                  </a:lnTo>
                  <a:lnTo>
                    <a:pt x="326" y="118"/>
                  </a:lnTo>
                  <a:lnTo>
                    <a:pt x="322" y="96"/>
                  </a:lnTo>
                  <a:lnTo>
                    <a:pt x="310" y="54"/>
                  </a:lnTo>
                  <a:lnTo>
                    <a:pt x="310" y="54"/>
                  </a:lnTo>
                  <a:lnTo>
                    <a:pt x="306" y="28"/>
                  </a:lnTo>
                  <a:lnTo>
                    <a:pt x="302" y="2"/>
                  </a:lnTo>
                  <a:lnTo>
                    <a:pt x="282" y="2"/>
                  </a:lnTo>
                  <a:lnTo>
                    <a:pt x="282" y="2"/>
                  </a:lnTo>
                  <a:lnTo>
                    <a:pt x="278" y="2"/>
                  </a:lnTo>
                  <a:lnTo>
                    <a:pt x="272" y="0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262" y="2"/>
                  </a:lnTo>
                  <a:lnTo>
                    <a:pt x="260" y="4"/>
                  </a:lnTo>
                  <a:lnTo>
                    <a:pt x="258" y="12"/>
                  </a:lnTo>
                  <a:lnTo>
                    <a:pt x="256" y="20"/>
                  </a:lnTo>
                  <a:lnTo>
                    <a:pt x="256" y="26"/>
                  </a:lnTo>
                  <a:lnTo>
                    <a:pt x="256" y="26"/>
                  </a:lnTo>
                  <a:lnTo>
                    <a:pt x="254" y="32"/>
                  </a:lnTo>
                  <a:lnTo>
                    <a:pt x="252" y="38"/>
                  </a:lnTo>
                  <a:lnTo>
                    <a:pt x="243" y="50"/>
                  </a:lnTo>
                  <a:lnTo>
                    <a:pt x="243" y="50"/>
                  </a:lnTo>
                  <a:lnTo>
                    <a:pt x="239" y="54"/>
                  </a:lnTo>
                  <a:lnTo>
                    <a:pt x="239" y="58"/>
                  </a:lnTo>
                  <a:lnTo>
                    <a:pt x="239" y="64"/>
                  </a:lnTo>
                  <a:lnTo>
                    <a:pt x="239" y="72"/>
                  </a:lnTo>
                  <a:lnTo>
                    <a:pt x="229" y="94"/>
                  </a:lnTo>
                  <a:lnTo>
                    <a:pt x="229" y="94"/>
                  </a:lnTo>
                  <a:lnTo>
                    <a:pt x="223" y="100"/>
                  </a:lnTo>
                  <a:lnTo>
                    <a:pt x="219" y="100"/>
                  </a:lnTo>
                  <a:lnTo>
                    <a:pt x="213" y="102"/>
                  </a:lnTo>
                  <a:lnTo>
                    <a:pt x="213" y="102"/>
                  </a:lnTo>
                  <a:lnTo>
                    <a:pt x="181" y="104"/>
                  </a:lnTo>
                  <a:lnTo>
                    <a:pt x="163" y="110"/>
                  </a:lnTo>
                  <a:lnTo>
                    <a:pt x="155" y="94"/>
                  </a:lnTo>
                  <a:lnTo>
                    <a:pt x="151" y="72"/>
                  </a:lnTo>
                  <a:lnTo>
                    <a:pt x="135" y="72"/>
                  </a:lnTo>
                  <a:lnTo>
                    <a:pt x="123" y="78"/>
                  </a:lnTo>
                  <a:lnTo>
                    <a:pt x="101" y="82"/>
                  </a:lnTo>
                  <a:lnTo>
                    <a:pt x="85" y="94"/>
                  </a:lnTo>
                  <a:lnTo>
                    <a:pt x="67" y="96"/>
                  </a:lnTo>
                  <a:lnTo>
                    <a:pt x="69" y="108"/>
                  </a:lnTo>
                  <a:lnTo>
                    <a:pt x="53" y="126"/>
                  </a:lnTo>
                  <a:lnTo>
                    <a:pt x="28" y="133"/>
                  </a:lnTo>
                  <a:lnTo>
                    <a:pt x="30" y="137"/>
                  </a:lnTo>
                  <a:lnTo>
                    <a:pt x="16" y="145"/>
                  </a:lnTo>
                  <a:lnTo>
                    <a:pt x="6" y="159"/>
                  </a:lnTo>
                  <a:lnTo>
                    <a:pt x="0" y="171"/>
                  </a:lnTo>
                  <a:lnTo>
                    <a:pt x="22" y="179"/>
                  </a:lnTo>
                  <a:lnTo>
                    <a:pt x="28" y="199"/>
                  </a:lnTo>
                  <a:lnTo>
                    <a:pt x="28" y="199"/>
                  </a:lnTo>
                  <a:lnTo>
                    <a:pt x="35" y="207"/>
                  </a:lnTo>
                  <a:lnTo>
                    <a:pt x="47" y="213"/>
                  </a:lnTo>
                  <a:lnTo>
                    <a:pt x="53" y="217"/>
                  </a:lnTo>
                  <a:lnTo>
                    <a:pt x="53" y="217"/>
                  </a:lnTo>
                  <a:lnTo>
                    <a:pt x="57" y="219"/>
                  </a:lnTo>
                  <a:lnTo>
                    <a:pt x="61" y="221"/>
                  </a:lnTo>
                  <a:lnTo>
                    <a:pt x="63" y="227"/>
                  </a:lnTo>
                  <a:lnTo>
                    <a:pt x="69" y="233"/>
                  </a:lnTo>
                  <a:lnTo>
                    <a:pt x="71" y="253"/>
                  </a:lnTo>
                  <a:lnTo>
                    <a:pt x="97" y="253"/>
                  </a:lnTo>
                  <a:lnTo>
                    <a:pt x="97" y="253"/>
                  </a:lnTo>
                  <a:lnTo>
                    <a:pt x="101" y="259"/>
                  </a:lnTo>
                  <a:lnTo>
                    <a:pt x="113" y="265"/>
                  </a:lnTo>
                  <a:lnTo>
                    <a:pt x="113" y="265"/>
                  </a:lnTo>
                  <a:lnTo>
                    <a:pt x="113" y="267"/>
                  </a:lnTo>
                  <a:lnTo>
                    <a:pt x="113" y="269"/>
                  </a:lnTo>
                  <a:lnTo>
                    <a:pt x="115" y="275"/>
                  </a:lnTo>
                  <a:lnTo>
                    <a:pt x="113" y="285"/>
                  </a:lnTo>
                  <a:lnTo>
                    <a:pt x="113" y="285"/>
                  </a:lnTo>
                  <a:lnTo>
                    <a:pt x="123" y="285"/>
                  </a:lnTo>
                  <a:lnTo>
                    <a:pt x="123" y="285"/>
                  </a:lnTo>
                  <a:lnTo>
                    <a:pt x="129" y="289"/>
                  </a:lnTo>
                  <a:lnTo>
                    <a:pt x="139" y="293"/>
                  </a:lnTo>
                  <a:lnTo>
                    <a:pt x="139" y="293"/>
                  </a:lnTo>
                  <a:lnTo>
                    <a:pt x="141" y="291"/>
                  </a:lnTo>
                  <a:lnTo>
                    <a:pt x="143" y="289"/>
                  </a:lnTo>
                  <a:lnTo>
                    <a:pt x="147" y="287"/>
                  </a:lnTo>
                  <a:lnTo>
                    <a:pt x="149" y="287"/>
                  </a:lnTo>
                  <a:lnTo>
                    <a:pt x="149" y="287"/>
                  </a:lnTo>
                  <a:lnTo>
                    <a:pt x="151" y="287"/>
                  </a:lnTo>
                  <a:lnTo>
                    <a:pt x="151" y="287"/>
                  </a:lnTo>
                  <a:lnTo>
                    <a:pt x="153" y="283"/>
                  </a:lnTo>
                  <a:lnTo>
                    <a:pt x="153" y="277"/>
                  </a:lnTo>
                  <a:lnTo>
                    <a:pt x="151" y="275"/>
                  </a:lnTo>
                  <a:lnTo>
                    <a:pt x="151" y="273"/>
                  </a:lnTo>
                  <a:lnTo>
                    <a:pt x="151" y="273"/>
                  </a:lnTo>
                  <a:lnTo>
                    <a:pt x="147" y="275"/>
                  </a:lnTo>
                  <a:lnTo>
                    <a:pt x="143" y="277"/>
                  </a:lnTo>
                  <a:lnTo>
                    <a:pt x="137" y="277"/>
                  </a:lnTo>
                  <a:lnTo>
                    <a:pt x="137" y="277"/>
                  </a:lnTo>
                  <a:lnTo>
                    <a:pt x="125" y="267"/>
                  </a:lnTo>
                  <a:lnTo>
                    <a:pt x="119" y="259"/>
                  </a:lnTo>
                  <a:lnTo>
                    <a:pt x="117" y="253"/>
                  </a:lnTo>
                  <a:lnTo>
                    <a:pt x="115" y="249"/>
                  </a:lnTo>
                  <a:lnTo>
                    <a:pt x="115" y="249"/>
                  </a:lnTo>
                  <a:lnTo>
                    <a:pt x="115" y="241"/>
                  </a:lnTo>
                  <a:lnTo>
                    <a:pt x="117" y="231"/>
                  </a:lnTo>
                  <a:lnTo>
                    <a:pt x="117" y="227"/>
                  </a:lnTo>
                  <a:lnTo>
                    <a:pt x="119" y="223"/>
                  </a:lnTo>
                  <a:lnTo>
                    <a:pt x="121" y="221"/>
                  </a:lnTo>
                  <a:lnTo>
                    <a:pt x="125" y="219"/>
                  </a:lnTo>
                  <a:lnTo>
                    <a:pt x="125" y="219"/>
                  </a:lnTo>
                  <a:lnTo>
                    <a:pt x="139" y="213"/>
                  </a:lnTo>
                  <a:lnTo>
                    <a:pt x="143" y="213"/>
                  </a:lnTo>
                  <a:lnTo>
                    <a:pt x="145" y="213"/>
                  </a:lnTo>
                  <a:lnTo>
                    <a:pt x="145" y="213"/>
                  </a:lnTo>
                  <a:lnTo>
                    <a:pt x="139" y="219"/>
                  </a:lnTo>
                  <a:lnTo>
                    <a:pt x="135" y="223"/>
                  </a:lnTo>
                  <a:lnTo>
                    <a:pt x="135" y="227"/>
                  </a:lnTo>
                  <a:lnTo>
                    <a:pt x="135" y="229"/>
                  </a:lnTo>
                  <a:lnTo>
                    <a:pt x="135" y="229"/>
                  </a:lnTo>
                  <a:lnTo>
                    <a:pt x="137" y="237"/>
                  </a:lnTo>
                  <a:lnTo>
                    <a:pt x="141" y="243"/>
                  </a:lnTo>
                  <a:lnTo>
                    <a:pt x="147" y="249"/>
                  </a:lnTo>
                  <a:lnTo>
                    <a:pt x="153" y="253"/>
                  </a:lnTo>
                  <a:lnTo>
                    <a:pt x="153" y="253"/>
                  </a:lnTo>
                  <a:lnTo>
                    <a:pt x="159" y="261"/>
                  </a:lnTo>
                  <a:lnTo>
                    <a:pt x="163" y="267"/>
                  </a:lnTo>
                  <a:lnTo>
                    <a:pt x="165" y="271"/>
                  </a:lnTo>
                  <a:lnTo>
                    <a:pt x="167" y="273"/>
                  </a:lnTo>
                  <a:lnTo>
                    <a:pt x="171" y="275"/>
                  </a:lnTo>
                  <a:lnTo>
                    <a:pt x="171" y="275"/>
                  </a:lnTo>
                  <a:lnTo>
                    <a:pt x="175" y="277"/>
                  </a:lnTo>
                  <a:lnTo>
                    <a:pt x="175" y="283"/>
                  </a:lnTo>
                  <a:lnTo>
                    <a:pt x="183" y="291"/>
                  </a:lnTo>
                  <a:lnTo>
                    <a:pt x="183" y="291"/>
                  </a:lnTo>
                  <a:lnTo>
                    <a:pt x="185" y="295"/>
                  </a:lnTo>
                  <a:lnTo>
                    <a:pt x="187" y="295"/>
                  </a:lnTo>
                  <a:lnTo>
                    <a:pt x="189" y="295"/>
                  </a:lnTo>
                  <a:lnTo>
                    <a:pt x="191" y="295"/>
                  </a:lnTo>
                  <a:lnTo>
                    <a:pt x="193" y="297"/>
                  </a:lnTo>
                  <a:lnTo>
                    <a:pt x="193" y="305"/>
                  </a:lnTo>
                  <a:lnTo>
                    <a:pt x="193" y="305"/>
                  </a:lnTo>
                  <a:lnTo>
                    <a:pt x="189" y="321"/>
                  </a:lnTo>
                  <a:lnTo>
                    <a:pt x="187" y="335"/>
                  </a:lnTo>
                  <a:lnTo>
                    <a:pt x="189" y="343"/>
                  </a:lnTo>
                  <a:lnTo>
                    <a:pt x="189" y="343"/>
                  </a:lnTo>
                  <a:lnTo>
                    <a:pt x="197" y="370"/>
                  </a:lnTo>
                  <a:lnTo>
                    <a:pt x="201" y="388"/>
                  </a:lnTo>
                  <a:lnTo>
                    <a:pt x="205" y="400"/>
                  </a:lnTo>
                  <a:lnTo>
                    <a:pt x="205" y="400"/>
                  </a:lnTo>
                  <a:lnTo>
                    <a:pt x="205" y="408"/>
                  </a:lnTo>
                  <a:lnTo>
                    <a:pt x="205" y="414"/>
                  </a:lnTo>
                  <a:lnTo>
                    <a:pt x="207" y="422"/>
                  </a:lnTo>
                  <a:lnTo>
                    <a:pt x="209" y="434"/>
                  </a:lnTo>
                  <a:lnTo>
                    <a:pt x="209" y="434"/>
                  </a:lnTo>
                  <a:lnTo>
                    <a:pt x="215" y="452"/>
                  </a:lnTo>
                  <a:lnTo>
                    <a:pt x="221" y="472"/>
                  </a:lnTo>
                  <a:lnTo>
                    <a:pt x="223" y="494"/>
                  </a:lnTo>
                  <a:lnTo>
                    <a:pt x="227" y="512"/>
                  </a:lnTo>
                  <a:lnTo>
                    <a:pt x="227" y="512"/>
                  </a:lnTo>
                  <a:lnTo>
                    <a:pt x="227" y="522"/>
                  </a:lnTo>
                  <a:lnTo>
                    <a:pt x="221" y="530"/>
                  </a:lnTo>
                  <a:lnTo>
                    <a:pt x="219" y="540"/>
                  </a:lnTo>
                  <a:lnTo>
                    <a:pt x="219" y="540"/>
                  </a:lnTo>
                  <a:lnTo>
                    <a:pt x="219" y="544"/>
                  </a:lnTo>
                  <a:lnTo>
                    <a:pt x="221" y="546"/>
                  </a:lnTo>
                  <a:lnTo>
                    <a:pt x="221" y="548"/>
                  </a:lnTo>
                  <a:lnTo>
                    <a:pt x="221" y="552"/>
                  </a:lnTo>
                  <a:lnTo>
                    <a:pt x="221" y="552"/>
                  </a:lnTo>
                  <a:lnTo>
                    <a:pt x="217" y="558"/>
                  </a:lnTo>
                  <a:lnTo>
                    <a:pt x="213" y="560"/>
                  </a:lnTo>
                  <a:lnTo>
                    <a:pt x="211" y="562"/>
                  </a:lnTo>
                  <a:lnTo>
                    <a:pt x="211" y="564"/>
                  </a:lnTo>
                  <a:lnTo>
                    <a:pt x="211" y="564"/>
                  </a:lnTo>
                  <a:lnTo>
                    <a:pt x="211" y="566"/>
                  </a:lnTo>
                  <a:lnTo>
                    <a:pt x="213" y="568"/>
                  </a:lnTo>
                  <a:lnTo>
                    <a:pt x="217" y="572"/>
                  </a:lnTo>
                  <a:lnTo>
                    <a:pt x="227" y="574"/>
                  </a:lnTo>
                  <a:lnTo>
                    <a:pt x="229" y="582"/>
                  </a:lnTo>
                  <a:lnTo>
                    <a:pt x="229" y="582"/>
                  </a:lnTo>
                  <a:lnTo>
                    <a:pt x="233" y="588"/>
                  </a:lnTo>
                  <a:lnTo>
                    <a:pt x="233" y="597"/>
                  </a:lnTo>
                  <a:lnTo>
                    <a:pt x="235" y="615"/>
                  </a:lnTo>
                  <a:lnTo>
                    <a:pt x="235" y="615"/>
                  </a:lnTo>
                  <a:lnTo>
                    <a:pt x="237" y="621"/>
                  </a:lnTo>
                  <a:lnTo>
                    <a:pt x="239" y="629"/>
                  </a:lnTo>
                  <a:lnTo>
                    <a:pt x="247" y="643"/>
                  </a:lnTo>
                  <a:lnTo>
                    <a:pt x="264" y="667"/>
                  </a:lnTo>
                  <a:lnTo>
                    <a:pt x="264" y="667"/>
                  </a:lnTo>
                  <a:lnTo>
                    <a:pt x="268" y="675"/>
                  </a:lnTo>
                  <a:lnTo>
                    <a:pt x="278" y="681"/>
                  </a:lnTo>
                  <a:lnTo>
                    <a:pt x="300" y="699"/>
                  </a:lnTo>
                  <a:lnTo>
                    <a:pt x="326" y="719"/>
                  </a:lnTo>
                  <a:lnTo>
                    <a:pt x="350" y="731"/>
                  </a:lnTo>
                  <a:lnTo>
                    <a:pt x="350" y="731"/>
                  </a:lnTo>
                  <a:lnTo>
                    <a:pt x="400" y="759"/>
                  </a:lnTo>
                  <a:lnTo>
                    <a:pt x="444" y="787"/>
                  </a:lnTo>
                  <a:lnTo>
                    <a:pt x="444" y="787"/>
                  </a:lnTo>
                  <a:lnTo>
                    <a:pt x="458" y="795"/>
                  </a:lnTo>
                  <a:lnTo>
                    <a:pt x="471" y="805"/>
                  </a:lnTo>
                  <a:lnTo>
                    <a:pt x="485" y="815"/>
                  </a:lnTo>
                  <a:lnTo>
                    <a:pt x="491" y="819"/>
                  </a:lnTo>
                  <a:lnTo>
                    <a:pt x="491" y="819"/>
                  </a:lnTo>
                  <a:lnTo>
                    <a:pt x="503" y="823"/>
                  </a:lnTo>
                  <a:lnTo>
                    <a:pt x="507" y="823"/>
                  </a:lnTo>
                  <a:lnTo>
                    <a:pt x="507" y="823"/>
                  </a:lnTo>
                  <a:lnTo>
                    <a:pt x="509" y="821"/>
                  </a:lnTo>
                  <a:lnTo>
                    <a:pt x="509" y="821"/>
                  </a:lnTo>
                  <a:lnTo>
                    <a:pt x="507" y="791"/>
                  </a:lnTo>
                  <a:lnTo>
                    <a:pt x="507" y="791"/>
                  </a:lnTo>
                  <a:lnTo>
                    <a:pt x="507" y="791"/>
                  </a:lnTo>
                  <a:lnTo>
                    <a:pt x="507" y="791"/>
                  </a:lnTo>
                  <a:lnTo>
                    <a:pt x="507" y="791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01" name="Freeform 60"/>
            <p:cNvSpPr>
              <a:spLocks/>
            </p:cNvSpPr>
            <p:nvPr/>
          </p:nvSpPr>
          <p:spPr bwMode="auto">
            <a:xfrm>
              <a:off x="1863" y="2526"/>
              <a:ext cx="213" cy="169"/>
            </a:xfrm>
            <a:custGeom>
              <a:avLst/>
              <a:gdLst>
                <a:gd name="T0" fmla="*/ 207 w 213"/>
                <a:gd name="T1" fmla="*/ 131 h 169"/>
                <a:gd name="T2" fmla="*/ 199 w 213"/>
                <a:gd name="T3" fmla="*/ 129 h 169"/>
                <a:gd name="T4" fmla="*/ 189 w 213"/>
                <a:gd name="T5" fmla="*/ 119 h 169"/>
                <a:gd name="T6" fmla="*/ 177 w 213"/>
                <a:gd name="T7" fmla="*/ 99 h 169"/>
                <a:gd name="T8" fmla="*/ 165 w 213"/>
                <a:gd name="T9" fmla="*/ 91 h 169"/>
                <a:gd name="T10" fmla="*/ 153 w 213"/>
                <a:gd name="T11" fmla="*/ 83 h 169"/>
                <a:gd name="T12" fmla="*/ 137 w 213"/>
                <a:gd name="T13" fmla="*/ 53 h 169"/>
                <a:gd name="T14" fmla="*/ 151 w 213"/>
                <a:gd name="T15" fmla="*/ 30 h 169"/>
                <a:gd name="T16" fmla="*/ 147 w 213"/>
                <a:gd name="T17" fmla="*/ 26 h 169"/>
                <a:gd name="T18" fmla="*/ 115 w 213"/>
                <a:gd name="T19" fmla="*/ 28 h 169"/>
                <a:gd name="T20" fmla="*/ 93 w 213"/>
                <a:gd name="T21" fmla="*/ 10 h 169"/>
                <a:gd name="T22" fmla="*/ 49 w 213"/>
                <a:gd name="T23" fmla="*/ 4 h 169"/>
                <a:gd name="T24" fmla="*/ 47 w 213"/>
                <a:gd name="T25" fmla="*/ 8 h 169"/>
                <a:gd name="T26" fmla="*/ 45 w 213"/>
                <a:gd name="T27" fmla="*/ 20 h 169"/>
                <a:gd name="T28" fmla="*/ 45 w 213"/>
                <a:gd name="T29" fmla="*/ 34 h 169"/>
                <a:gd name="T30" fmla="*/ 45 w 213"/>
                <a:gd name="T31" fmla="*/ 45 h 169"/>
                <a:gd name="T32" fmla="*/ 41 w 213"/>
                <a:gd name="T33" fmla="*/ 51 h 169"/>
                <a:gd name="T34" fmla="*/ 27 w 213"/>
                <a:gd name="T35" fmla="*/ 53 h 169"/>
                <a:gd name="T36" fmla="*/ 24 w 213"/>
                <a:gd name="T37" fmla="*/ 53 h 169"/>
                <a:gd name="T38" fmla="*/ 18 w 213"/>
                <a:gd name="T39" fmla="*/ 57 h 169"/>
                <a:gd name="T40" fmla="*/ 18 w 213"/>
                <a:gd name="T41" fmla="*/ 65 h 169"/>
                <a:gd name="T42" fmla="*/ 14 w 213"/>
                <a:gd name="T43" fmla="*/ 69 h 169"/>
                <a:gd name="T44" fmla="*/ 6 w 213"/>
                <a:gd name="T45" fmla="*/ 69 h 169"/>
                <a:gd name="T46" fmla="*/ 4 w 213"/>
                <a:gd name="T47" fmla="*/ 71 h 169"/>
                <a:gd name="T48" fmla="*/ 0 w 213"/>
                <a:gd name="T49" fmla="*/ 81 h 169"/>
                <a:gd name="T50" fmla="*/ 0 w 213"/>
                <a:gd name="T51" fmla="*/ 81 h 169"/>
                <a:gd name="T52" fmla="*/ 4 w 213"/>
                <a:gd name="T53" fmla="*/ 83 h 169"/>
                <a:gd name="T54" fmla="*/ 10 w 213"/>
                <a:gd name="T55" fmla="*/ 85 h 169"/>
                <a:gd name="T56" fmla="*/ 16 w 213"/>
                <a:gd name="T57" fmla="*/ 91 h 169"/>
                <a:gd name="T58" fmla="*/ 16 w 213"/>
                <a:gd name="T59" fmla="*/ 95 h 169"/>
                <a:gd name="T60" fmla="*/ 27 w 213"/>
                <a:gd name="T61" fmla="*/ 99 h 169"/>
                <a:gd name="T62" fmla="*/ 31 w 213"/>
                <a:gd name="T63" fmla="*/ 101 h 169"/>
                <a:gd name="T64" fmla="*/ 31 w 213"/>
                <a:gd name="T65" fmla="*/ 105 h 169"/>
                <a:gd name="T66" fmla="*/ 27 w 213"/>
                <a:gd name="T67" fmla="*/ 113 h 169"/>
                <a:gd name="T68" fmla="*/ 22 w 213"/>
                <a:gd name="T69" fmla="*/ 119 h 169"/>
                <a:gd name="T70" fmla="*/ 22 w 213"/>
                <a:gd name="T71" fmla="*/ 121 h 169"/>
                <a:gd name="T72" fmla="*/ 24 w 213"/>
                <a:gd name="T73" fmla="*/ 129 h 169"/>
                <a:gd name="T74" fmla="*/ 75 w 213"/>
                <a:gd name="T75" fmla="*/ 147 h 169"/>
                <a:gd name="T76" fmla="*/ 77 w 213"/>
                <a:gd name="T77" fmla="*/ 151 h 169"/>
                <a:gd name="T78" fmla="*/ 83 w 213"/>
                <a:gd name="T79" fmla="*/ 157 h 169"/>
                <a:gd name="T80" fmla="*/ 87 w 213"/>
                <a:gd name="T81" fmla="*/ 147 h 169"/>
                <a:gd name="T82" fmla="*/ 93 w 213"/>
                <a:gd name="T83" fmla="*/ 143 h 169"/>
                <a:gd name="T84" fmla="*/ 93 w 213"/>
                <a:gd name="T85" fmla="*/ 143 h 169"/>
                <a:gd name="T86" fmla="*/ 117 w 213"/>
                <a:gd name="T87" fmla="*/ 153 h 169"/>
                <a:gd name="T88" fmla="*/ 173 w 213"/>
                <a:gd name="T89" fmla="*/ 167 h 169"/>
                <a:gd name="T90" fmla="*/ 179 w 213"/>
                <a:gd name="T91" fmla="*/ 165 h 169"/>
                <a:gd name="T92" fmla="*/ 181 w 213"/>
                <a:gd name="T93" fmla="*/ 165 h 169"/>
                <a:gd name="T94" fmla="*/ 189 w 213"/>
                <a:gd name="T95" fmla="*/ 169 h 169"/>
                <a:gd name="T96" fmla="*/ 191 w 213"/>
                <a:gd name="T97" fmla="*/ 169 h 169"/>
                <a:gd name="T98" fmla="*/ 191 w 213"/>
                <a:gd name="T99" fmla="*/ 161 h 169"/>
                <a:gd name="T100" fmla="*/ 193 w 213"/>
                <a:gd name="T101" fmla="*/ 161 h 169"/>
                <a:gd name="T102" fmla="*/ 203 w 213"/>
                <a:gd name="T103" fmla="*/ 163 h 169"/>
                <a:gd name="T104" fmla="*/ 207 w 213"/>
                <a:gd name="T105" fmla="*/ 163 h 169"/>
                <a:gd name="T106" fmla="*/ 213 w 213"/>
                <a:gd name="T107" fmla="*/ 161 h 169"/>
                <a:gd name="T108" fmla="*/ 207 w 213"/>
                <a:gd name="T109" fmla="*/ 143 h 169"/>
                <a:gd name="T110" fmla="*/ 207 w 213"/>
                <a:gd name="T111" fmla="*/ 135 h 169"/>
                <a:gd name="T112" fmla="*/ 207 w 213"/>
                <a:gd name="T113" fmla="*/ 131 h 169"/>
                <a:gd name="T114" fmla="*/ 207 w 213"/>
                <a:gd name="T115" fmla="*/ 131 h 169"/>
                <a:gd name="T116" fmla="*/ 207 w 213"/>
                <a:gd name="T117" fmla="*/ 131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13" h="169">
                  <a:moveTo>
                    <a:pt x="207" y="131"/>
                  </a:moveTo>
                  <a:lnTo>
                    <a:pt x="207" y="131"/>
                  </a:lnTo>
                  <a:lnTo>
                    <a:pt x="203" y="131"/>
                  </a:lnTo>
                  <a:lnTo>
                    <a:pt x="199" y="129"/>
                  </a:lnTo>
                  <a:lnTo>
                    <a:pt x="197" y="125"/>
                  </a:lnTo>
                  <a:lnTo>
                    <a:pt x="189" y="119"/>
                  </a:lnTo>
                  <a:lnTo>
                    <a:pt x="189" y="107"/>
                  </a:lnTo>
                  <a:lnTo>
                    <a:pt x="177" y="99"/>
                  </a:lnTo>
                  <a:lnTo>
                    <a:pt x="175" y="93"/>
                  </a:lnTo>
                  <a:lnTo>
                    <a:pt x="165" y="91"/>
                  </a:lnTo>
                  <a:lnTo>
                    <a:pt x="163" y="83"/>
                  </a:lnTo>
                  <a:lnTo>
                    <a:pt x="153" y="83"/>
                  </a:lnTo>
                  <a:lnTo>
                    <a:pt x="147" y="65"/>
                  </a:lnTo>
                  <a:lnTo>
                    <a:pt x="137" y="53"/>
                  </a:lnTo>
                  <a:lnTo>
                    <a:pt x="143" y="28"/>
                  </a:lnTo>
                  <a:lnTo>
                    <a:pt x="151" y="30"/>
                  </a:lnTo>
                  <a:lnTo>
                    <a:pt x="153" y="30"/>
                  </a:lnTo>
                  <a:lnTo>
                    <a:pt x="147" y="26"/>
                  </a:lnTo>
                  <a:lnTo>
                    <a:pt x="123" y="22"/>
                  </a:lnTo>
                  <a:lnTo>
                    <a:pt x="115" y="28"/>
                  </a:lnTo>
                  <a:lnTo>
                    <a:pt x="105" y="16"/>
                  </a:lnTo>
                  <a:lnTo>
                    <a:pt x="93" y="10"/>
                  </a:lnTo>
                  <a:lnTo>
                    <a:pt x="71" y="0"/>
                  </a:lnTo>
                  <a:lnTo>
                    <a:pt x="49" y="4"/>
                  </a:lnTo>
                  <a:lnTo>
                    <a:pt x="43" y="4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5" y="20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5" y="40"/>
                  </a:lnTo>
                  <a:lnTo>
                    <a:pt x="45" y="45"/>
                  </a:lnTo>
                  <a:lnTo>
                    <a:pt x="41" y="51"/>
                  </a:lnTo>
                  <a:lnTo>
                    <a:pt x="41" y="51"/>
                  </a:lnTo>
                  <a:lnTo>
                    <a:pt x="35" y="51"/>
                  </a:lnTo>
                  <a:lnTo>
                    <a:pt x="27" y="53"/>
                  </a:lnTo>
                  <a:lnTo>
                    <a:pt x="24" y="53"/>
                  </a:lnTo>
                  <a:lnTo>
                    <a:pt x="24" y="53"/>
                  </a:lnTo>
                  <a:lnTo>
                    <a:pt x="22" y="53"/>
                  </a:lnTo>
                  <a:lnTo>
                    <a:pt x="18" y="57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69"/>
                  </a:lnTo>
                  <a:lnTo>
                    <a:pt x="14" y="69"/>
                  </a:lnTo>
                  <a:lnTo>
                    <a:pt x="6" y="69"/>
                  </a:lnTo>
                  <a:lnTo>
                    <a:pt x="6" y="69"/>
                  </a:lnTo>
                  <a:lnTo>
                    <a:pt x="6" y="69"/>
                  </a:lnTo>
                  <a:lnTo>
                    <a:pt x="4" y="71"/>
                  </a:lnTo>
                  <a:lnTo>
                    <a:pt x="4" y="75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3"/>
                  </a:lnTo>
                  <a:lnTo>
                    <a:pt x="4" y="83"/>
                  </a:lnTo>
                  <a:lnTo>
                    <a:pt x="10" y="85"/>
                  </a:lnTo>
                  <a:lnTo>
                    <a:pt x="10" y="85"/>
                  </a:lnTo>
                  <a:lnTo>
                    <a:pt x="14" y="89"/>
                  </a:lnTo>
                  <a:lnTo>
                    <a:pt x="16" y="91"/>
                  </a:lnTo>
                  <a:lnTo>
                    <a:pt x="16" y="95"/>
                  </a:lnTo>
                  <a:lnTo>
                    <a:pt x="16" y="95"/>
                  </a:lnTo>
                  <a:lnTo>
                    <a:pt x="22" y="97"/>
                  </a:lnTo>
                  <a:lnTo>
                    <a:pt x="27" y="99"/>
                  </a:lnTo>
                  <a:lnTo>
                    <a:pt x="31" y="101"/>
                  </a:lnTo>
                  <a:lnTo>
                    <a:pt x="31" y="101"/>
                  </a:lnTo>
                  <a:lnTo>
                    <a:pt x="31" y="103"/>
                  </a:lnTo>
                  <a:lnTo>
                    <a:pt x="31" y="105"/>
                  </a:lnTo>
                  <a:lnTo>
                    <a:pt x="27" y="113"/>
                  </a:lnTo>
                  <a:lnTo>
                    <a:pt x="27" y="113"/>
                  </a:lnTo>
                  <a:lnTo>
                    <a:pt x="24" y="119"/>
                  </a:lnTo>
                  <a:lnTo>
                    <a:pt x="22" y="119"/>
                  </a:lnTo>
                  <a:lnTo>
                    <a:pt x="22" y="121"/>
                  </a:lnTo>
                  <a:lnTo>
                    <a:pt x="22" y="121"/>
                  </a:lnTo>
                  <a:lnTo>
                    <a:pt x="24" y="125"/>
                  </a:lnTo>
                  <a:lnTo>
                    <a:pt x="24" y="129"/>
                  </a:lnTo>
                  <a:lnTo>
                    <a:pt x="69" y="145"/>
                  </a:lnTo>
                  <a:lnTo>
                    <a:pt x="75" y="147"/>
                  </a:lnTo>
                  <a:lnTo>
                    <a:pt x="75" y="147"/>
                  </a:lnTo>
                  <a:lnTo>
                    <a:pt x="77" y="151"/>
                  </a:lnTo>
                  <a:lnTo>
                    <a:pt x="81" y="153"/>
                  </a:lnTo>
                  <a:lnTo>
                    <a:pt x="83" y="157"/>
                  </a:lnTo>
                  <a:lnTo>
                    <a:pt x="83" y="157"/>
                  </a:lnTo>
                  <a:lnTo>
                    <a:pt x="87" y="147"/>
                  </a:lnTo>
                  <a:lnTo>
                    <a:pt x="89" y="145"/>
                  </a:lnTo>
                  <a:lnTo>
                    <a:pt x="93" y="143"/>
                  </a:lnTo>
                  <a:lnTo>
                    <a:pt x="93" y="143"/>
                  </a:lnTo>
                  <a:lnTo>
                    <a:pt x="93" y="143"/>
                  </a:lnTo>
                  <a:lnTo>
                    <a:pt x="109" y="149"/>
                  </a:lnTo>
                  <a:lnTo>
                    <a:pt x="117" y="153"/>
                  </a:lnTo>
                  <a:lnTo>
                    <a:pt x="173" y="167"/>
                  </a:lnTo>
                  <a:lnTo>
                    <a:pt x="173" y="167"/>
                  </a:lnTo>
                  <a:lnTo>
                    <a:pt x="175" y="165"/>
                  </a:lnTo>
                  <a:lnTo>
                    <a:pt x="179" y="165"/>
                  </a:lnTo>
                  <a:lnTo>
                    <a:pt x="181" y="165"/>
                  </a:lnTo>
                  <a:lnTo>
                    <a:pt x="181" y="165"/>
                  </a:lnTo>
                  <a:lnTo>
                    <a:pt x="187" y="169"/>
                  </a:lnTo>
                  <a:lnTo>
                    <a:pt x="189" y="169"/>
                  </a:lnTo>
                  <a:lnTo>
                    <a:pt x="191" y="169"/>
                  </a:lnTo>
                  <a:lnTo>
                    <a:pt x="191" y="169"/>
                  </a:lnTo>
                  <a:lnTo>
                    <a:pt x="191" y="163"/>
                  </a:lnTo>
                  <a:lnTo>
                    <a:pt x="191" y="161"/>
                  </a:lnTo>
                  <a:lnTo>
                    <a:pt x="191" y="161"/>
                  </a:lnTo>
                  <a:lnTo>
                    <a:pt x="193" y="161"/>
                  </a:lnTo>
                  <a:lnTo>
                    <a:pt x="193" y="161"/>
                  </a:lnTo>
                  <a:lnTo>
                    <a:pt x="203" y="163"/>
                  </a:lnTo>
                  <a:lnTo>
                    <a:pt x="205" y="165"/>
                  </a:lnTo>
                  <a:lnTo>
                    <a:pt x="207" y="163"/>
                  </a:lnTo>
                  <a:lnTo>
                    <a:pt x="207" y="163"/>
                  </a:lnTo>
                  <a:lnTo>
                    <a:pt x="213" y="161"/>
                  </a:lnTo>
                  <a:lnTo>
                    <a:pt x="207" y="143"/>
                  </a:lnTo>
                  <a:lnTo>
                    <a:pt x="207" y="143"/>
                  </a:lnTo>
                  <a:lnTo>
                    <a:pt x="209" y="139"/>
                  </a:lnTo>
                  <a:lnTo>
                    <a:pt x="207" y="135"/>
                  </a:lnTo>
                  <a:lnTo>
                    <a:pt x="207" y="131"/>
                  </a:lnTo>
                  <a:lnTo>
                    <a:pt x="207" y="131"/>
                  </a:lnTo>
                  <a:lnTo>
                    <a:pt x="207" y="131"/>
                  </a:lnTo>
                  <a:lnTo>
                    <a:pt x="207" y="131"/>
                  </a:lnTo>
                  <a:lnTo>
                    <a:pt x="207" y="131"/>
                  </a:lnTo>
                  <a:lnTo>
                    <a:pt x="207" y="131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02" name="Freeform 61"/>
            <p:cNvSpPr>
              <a:spLocks/>
            </p:cNvSpPr>
            <p:nvPr/>
          </p:nvSpPr>
          <p:spPr bwMode="auto">
            <a:xfrm>
              <a:off x="2259" y="2677"/>
              <a:ext cx="320" cy="273"/>
            </a:xfrm>
            <a:custGeom>
              <a:avLst/>
              <a:gdLst>
                <a:gd name="T0" fmla="*/ 77 w 320"/>
                <a:gd name="T1" fmla="*/ 231 h 273"/>
                <a:gd name="T2" fmla="*/ 131 w 320"/>
                <a:gd name="T3" fmla="*/ 225 h 273"/>
                <a:gd name="T4" fmla="*/ 151 w 320"/>
                <a:gd name="T5" fmla="*/ 221 h 273"/>
                <a:gd name="T6" fmla="*/ 181 w 320"/>
                <a:gd name="T7" fmla="*/ 225 h 273"/>
                <a:gd name="T8" fmla="*/ 197 w 320"/>
                <a:gd name="T9" fmla="*/ 257 h 273"/>
                <a:gd name="T10" fmla="*/ 223 w 320"/>
                <a:gd name="T11" fmla="*/ 267 h 273"/>
                <a:gd name="T12" fmla="*/ 249 w 320"/>
                <a:gd name="T13" fmla="*/ 249 h 273"/>
                <a:gd name="T14" fmla="*/ 261 w 320"/>
                <a:gd name="T15" fmla="*/ 251 h 273"/>
                <a:gd name="T16" fmla="*/ 294 w 320"/>
                <a:gd name="T17" fmla="*/ 251 h 273"/>
                <a:gd name="T18" fmla="*/ 314 w 320"/>
                <a:gd name="T19" fmla="*/ 243 h 273"/>
                <a:gd name="T20" fmla="*/ 316 w 320"/>
                <a:gd name="T21" fmla="*/ 241 h 273"/>
                <a:gd name="T22" fmla="*/ 316 w 320"/>
                <a:gd name="T23" fmla="*/ 217 h 273"/>
                <a:gd name="T24" fmla="*/ 320 w 320"/>
                <a:gd name="T25" fmla="*/ 181 h 273"/>
                <a:gd name="T26" fmla="*/ 318 w 320"/>
                <a:gd name="T27" fmla="*/ 149 h 273"/>
                <a:gd name="T28" fmla="*/ 308 w 320"/>
                <a:gd name="T29" fmla="*/ 143 h 273"/>
                <a:gd name="T30" fmla="*/ 287 w 320"/>
                <a:gd name="T31" fmla="*/ 157 h 273"/>
                <a:gd name="T32" fmla="*/ 279 w 320"/>
                <a:gd name="T33" fmla="*/ 124 h 273"/>
                <a:gd name="T34" fmla="*/ 287 w 320"/>
                <a:gd name="T35" fmla="*/ 116 h 273"/>
                <a:gd name="T36" fmla="*/ 283 w 320"/>
                <a:gd name="T37" fmla="*/ 110 h 273"/>
                <a:gd name="T38" fmla="*/ 279 w 320"/>
                <a:gd name="T39" fmla="*/ 108 h 273"/>
                <a:gd name="T40" fmla="*/ 273 w 320"/>
                <a:gd name="T41" fmla="*/ 110 h 273"/>
                <a:gd name="T42" fmla="*/ 229 w 320"/>
                <a:gd name="T43" fmla="*/ 110 h 273"/>
                <a:gd name="T44" fmla="*/ 191 w 320"/>
                <a:gd name="T45" fmla="*/ 88 h 273"/>
                <a:gd name="T46" fmla="*/ 187 w 320"/>
                <a:gd name="T47" fmla="*/ 72 h 273"/>
                <a:gd name="T48" fmla="*/ 179 w 320"/>
                <a:gd name="T49" fmla="*/ 54 h 273"/>
                <a:gd name="T50" fmla="*/ 161 w 320"/>
                <a:gd name="T51" fmla="*/ 40 h 273"/>
                <a:gd name="T52" fmla="*/ 115 w 320"/>
                <a:gd name="T53" fmla="*/ 18 h 273"/>
                <a:gd name="T54" fmla="*/ 79 w 320"/>
                <a:gd name="T55" fmla="*/ 20 h 273"/>
                <a:gd name="T56" fmla="*/ 52 w 320"/>
                <a:gd name="T57" fmla="*/ 36 h 273"/>
                <a:gd name="T58" fmla="*/ 62 w 320"/>
                <a:gd name="T59" fmla="*/ 54 h 273"/>
                <a:gd name="T60" fmla="*/ 44 w 320"/>
                <a:gd name="T61" fmla="*/ 60 h 273"/>
                <a:gd name="T62" fmla="*/ 20 w 320"/>
                <a:gd name="T63" fmla="*/ 72 h 273"/>
                <a:gd name="T64" fmla="*/ 10 w 320"/>
                <a:gd name="T65" fmla="*/ 100 h 273"/>
                <a:gd name="T66" fmla="*/ 16 w 320"/>
                <a:gd name="T67" fmla="*/ 135 h 273"/>
                <a:gd name="T68" fmla="*/ 0 w 320"/>
                <a:gd name="T69" fmla="*/ 167 h 273"/>
                <a:gd name="T70" fmla="*/ 18 w 320"/>
                <a:gd name="T71" fmla="*/ 167 h 273"/>
                <a:gd name="T72" fmla="*/ 34 w 320"/>
                <a:gd name="T73" fmla="*/ 165 h 273"/>
                <a:gd name="T74" fmla="*/ 46 w 320"/>
                <a:gd name="T75" fmla="*/ 165 h 273"/>
                <a:gd name="T76" fmla="*/ 48 w 320"/>
                <a:gd name="T77" fmla="*/ 165 h 273"/>
                <a:gd name="T78" fmla="*/ 48 w 320"/>
                <a:gd name="T79" fmla="*/ 171 h 273"/>
                <a:gd name="T80" fmla="*/ 44 w 320"/>
                <a:gd name="T81" fmla="*/ 175 h 273"/>
                <a:gd name="T82" fmla="*/ 34 w 320"/>
                <a:gd name="T83" fmla="*/ 175 h 273"/>
                <a:gd name="T84" fmla="*/ 30 w 320"/>
                <a:gd name="T85" fmla="*/ 179 h 273"/>
                <a:gd name="T86" fmla="*/ 32 w 320"/>
                <a:gd name="T87" fmla="*/ 185 h 273"/>
                <a:gd name="T88" fmla="*/ 58 w 320"/>
                <a:gd name="T89" fmla="*/ 239 h 273"/>
                <a:gd name="T90" fmla="*/ 73 w 320"/>
                <a:gd name="T91" fmla="*/ 225 h 273"/>
                <a:gd name="T92" fmla="*/ 73 w 320"/>
                <a:gd name="T93" fmla="*/ 225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20" h="273">
                  <a:moveTo>
                    <a:pt x="73" y="225"/>
                  </a:moveTo>
                  <a:lnTo>
                    <a:pt x="77" y="231"/>
                  </a:lnTo>
                  <a:lnTo>
                    <a:pt x="103" y="229"/>
                  </a:lnTo>
                  <a:lnTo>
                    <a:pt x="131" y="225"/>
                  </a:lnTo>
                  <a:lnTo>
                    <a:pt x="147" y="219"/>
                  </a:lnTo>
                  <a:lnTo>
                    <a:pt x="151" y="221"/>
                  </a:lnTo>
                  <a:lnTo>
                    <a:pt x="175" y="211"/>
                  </a:lnTo>
                  <a:lnTo>
                    <a:pt x="181" y="225"/>
                  </a:lnTo>
                  <a:lnTo>
                    <a:pt x="197" y="245"/>
                  </a:lnTo>
                  <a:lnTo>
                    <a:pt x="197" y="257"/>
                  </a:lnTo>
                  <a:lnTo>
                    <a:pt x="213" y="273"/>
                  </a:lnTo>
                  <a:lnTo>
                    <a:pt x="223" y="267"/>
                  </a:lnTo>
                  <a:lnTo>
                    <a:pt x="237" y="251"/>
                  </a:lnTo>
                  <a:lnTo>
                    <a:pt x="249" y="249"/>
                  </a:lnTo>
                  <a:lnTo>
                    <a:pt x="257" y="257"/>
                  </a:lnTo>
                  <a:lnTo>
                    <a:pt x="261" y="251"/>
                  </a:lnTo>
                  <a:lnTo>
                    <a:pt x="283" y="251"/>
                  </a:lnTo>
                  <a:lnTo>
                    <a:pt x="294" y="251"/>
                  </a:lnTo>
                  <a:lnTo>
                    <a:pt x="294" y="249"/>
                  </a:lnTo>
                  <a:lnTo>
                    <a:pt x="314" y="243"/>
                  </a:lnTo>
                  <a:lnTo>
                    <a:pt x="316" y="243"/>
                  </a:lnTo>
                  <a:lnTo>
                    <a:pt x="316" y="241"/>
                  </a:lnTo>
                  <a:lnTo>
                    <a:pt x="316" y="229"/>
                  </a:lnTo>
                  <a:lnTo>
                    <a:pt x="316" y="217"/>
                  </a:lnTo>
                  <a:lnTo>
                    <a:pt x="316" y="193"/>
                  </a:lnTo>
                  <a:lnTo>
                    <a:pt x="320" y="181"/>
                  </a:lnTo>
                  <a:lnTo>
                    <a:pt x="314" y="159"/>
                  </a:lnTo>
                  <a:lnTo>
                    <a:pt x="318" y="149"/>
                  </a:lnTo>
                  <a:lnTo>
                    <a:pt x="316" y="149"/>
                  </a:lnTo>
                  <a:lnTo>
                    <a:pt x="308" y="143"/>
                  </a:lnTo>
                  <a:lnTo>
                    <a:pt x="294" y="147"/>
                  </a:lnTo>
                  <a:lnTo>
                    <a:pt x="287" y="157"/>
                  </a:lnTo>
                  <a:lnTo>
                    <a:pt x="279" y="153"/>
                  </a:lnTo>
                  <a:lnTo>
                    <a:pt x="279" y="124"/>
                  </a:lnTo>
                  <a:lnTo>
                    <a:pt x="287" y="116"/>
                  </a:lnTo>
                  <a:lnTo>
                    <a:pt x="287" y="116"/>
                  </a:lnTo>
                  <a:lnTo>
                    <a:pt x="283" y="112"/>
                  </a:lnTo>
                  <a:lnTo>
                    <a:pt x="283" y="110"/>
                  </a:lnTo>
                  <a:lnTo>
                    <a:pt x="279" y="108"/>
                  </a:lnTo>
                  <a:lnTo>
                    <a:pt x="279" y="108"/>
                  </a:lnTo>
                  <a:lnTo>
                    <a:pt x="275" y="108"/>
                  </a:lnTo>
                  <a:lnTo>
                    <a:pt x="273" y="110"/>
                  </a:lnTo>
                  <a:lnTo>
                    <a:pt x="269" y="110"/>
                  </a:lnTo>
                  <a:lnTo>
                    <a:pt x="229" y="110"/>
                  </a:lnTo>
                  <a:lnTo>
                    <a:pt x="223" y="90"/>
                  </a:lnTo>
                  <a:lnTo>
                    <a:pt x="191" y="88"/>
                  </a:lnTo>
                  <a:lnTo>
                    <a:pt x="191" y="88"/>
                  </a:lnTo>
                  <a:lnTo>
                    <a:pt x="187" y="72"/>
                  </a:lnTo>
                  <a:lnTo>
                    <a:pt x="179" y="54"/>
                  </a:lnTo>
                  <a:lnTo>
                    <a:pt x="179" y="54"/>
                  </a:lnTo>
                  <a:lnTo>
                    <a:pt x="171" y="46"/>
                  </a:lnTo>
                  <a:lnTo>
                    <a:pt x="161" y="40"/>
                  </a:lnTo>
                  <a:lnTo>
                    <a:pt x="149" y="30"/>
                  </a:lnTo>
                  <a:lnTo>
                    <a:pt x="115" y="18"/>
                  </a:lnTo>
                  <a:lnTo>
                    <a:pt x="83" y="0"/>
                  </a:lnTo>
                  <a:lnTo>
                    <a:pt x="79" y="20"/>
                  </a:lnTo>
                  <a:lnTo>
                    <a:pt x="70" y="34"/>
                  </a:lnTo>
                  <a:lnTo>
                    <a:pt x="52" y="36"/>
                  </a:lnTo>
                  <a:lnTo>
                    <a:pt x="64" y="42"/>
                  </a:lnTo>
                  <a:lnTo>
                    <a:pt x="62" y="54"/>
                  </a:lnTo>
                  <a:lnTo>
                    <a:pt x="64" y="60"/>
                  </a:lnTo>
                  <a:lnTo>
                    <a:pt x="44" y="60"/>
                  </a:lnTo>
                  <a:lnTo>
                    <a:pt x="30" y="66"/>
                  </a:lnTo>
                  <a:lnTo>
                    <a:pt x="20" y="72"/>
                  </a:lnTo>
                  <a:lnTo>
                    <a:pt x="18" y="88"/>
                  </a:lnTo>
                  <a:lnTo>
                    <a:pt x="10" y="100"/>
                  </a:lnTo>
                  <a:lnTo>
                    <a:pt x="10" y="114"/>
                  </a:lnTo>
                  <a:lnTo>
                    <a:pt x="16" y="135"/>
                  </a:lnTo>
                  <a:lnTo>
                    <a:pt x="8" y="153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18" y="167"/>
                  </a:lnTo>
                  <a:lnTo>
                    <a:pt x="18" y="167"/>
                  </a:lnTo>
                  <a:lnTo>
                    <a:pt x="34" y="165"/>
                  </a:lnTo>
                  <a:lnTo>
                    <a:pt x="40" y="165"/>
                  </a:lnTo>
                  <a:lnTo>
                    <a:pt x="46" y="165"/>
                  </a:lnTo>
                  <a:lnTo>
                    <a:pt x="46" y="165"/>
                  </a:lnTo>
                  <a:lnTo>
                    <a:pt x="48" y="165"/>
                  </a:lnTo>
                  <a:lnTo>
                    <a:pt x="52" y="169"/>
                  </a:lnTo>
                  <a:lnTo>
                    <a:pt x="48" y="171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38" y="175"/>
                  </a:lnTo>
                  <a:lnTo>
                    <a:pt x="34" y="175"/>
                  </a:lnTo>
                  <a:lnTo>
                    <a:pt x="32" y="177"/>
                  </a:lnTo>
                  <a:lnTo>
                    <a:pt x="30" y="179"/>
                  </a:lnTo>
                  <a:lnTo>
                    <a:pt x="30" y="183"/>
                  </a:lnTo>
                  <a:lnTo>
                    <a:pt x="32" y="185"/>
                  </a:lnTo>
                  <a:lnTo>
                    <a:pt x="32" y="185"/>
                  </a:lnTo>
                  <a:lnTo>
                    <a:pt x="58" y="239"/>
                  </a:lnTo>
                  <a:lnTo>
                    <a:pt x="62" y="231"/>
                  </a:lnTo>
                  <a:lnTo>
                    <a:pt x="73" y="225"/>
                  </a:lnTo>
                  <a:lnTo>
                    <a:pt x="73" y="225"/>
                  </a:lnTo>
                  <a:lnTo>
                    <a:pt x="73" y="225"/>
                  </a:lnTo>
                  <a:lnTo>
                    <a:pt x="73" y="225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03" name="Freeform 62"/>
            <p:cNvSpPr>
              <a:spLocks/>
            </p:cNvSpPr>
            <p:nvPr/>
          </p:nvSpPr>
          <p:spPr bwMode="auto">
            <a:xfrm>
              <a:off x="2671" y="3014"/>
              <a:ext cx="382" cy="231"/>
            </a:xfrm>
            <a:custGeom>
              <a:avLst/>
              <a:gdLst>
                <a:gd name="T0" fmla="*/ 382 w 382"/>
                <a:gd name="T1" fmla="*/ 49 h 231"/>
                <a:gd name="T2" fmla="*/ 370 w 382"/>
                <a:gd name="T3" fmla="*/ 35 h 231"/>
                <a:gd name="T4" fmla="*/ 350 w 382"/>
                <a:gd name="T5" fmla="*/ 37 h 231"/>
                <a:gd name="T6" fmla="*/ 336 w 382"/>
                <a:gd name="T7" fmla="*/ 23 h 231"/>
                <a:gd name="T8" fmla="*/ 319 w 382"/>
                <a:gd name="T9" fmla="*/ 18 h 231"/>
                <a:gd name="T10" fmla="*/ 309 w 382"/>
                <a:gd name="T11" fmla="*/ 2 h 231"/>
                <a:gd name="T12" fmla="*/ 297 w 382"/>
                <a:gd name="T13" fmla="*/ 4 h 231"/>
                <a:gd name="T14" fmla="*/ 295 w 382"/>
                <a:gd name="T15" fmla="*/ 8 h 231"/>
                <a:gd name="T16" fmla="*/ 283 w 382"/>
                <a:gd name="T17" fmla="*/ 8 h 231"/>
                <a:gd name="T18" fmla="*/ 265 w 382"/>
                <a:gd name="T19" fmla="*/ 12 h 231"/>
                <a:gd name="T20" fmla="*/ 239 w 382"/>
                <a:gd name="T21" fmla="*/ 14 h 231"/>
                <a:gd name="T22" fmla="*/ 223 w 382"/>
                <a:gd name="T23" fmla="*/ 21 h 231"/>
                <a:gd name="T24" fmla="*/ 213 w 382"/>
                <a:gd name="T25" fmla="*/ 41 h 231"/>
                <a:gd name="T26" fmla="*/ 195 w 382"/>
                <a:gd name="T27" fmla="*/ 53 h 231"/>
                <a:gd name="T28" fmla="*/ 175 w 382"/>
                <a:gd name="T29" fmla="*/ 83 h 231"/>
                <a:gd name="T30" fmla="*/ 157 w 382"/>
                <a:gd name="T31" fmla="*/ 93 h 231"/>
                <a:gd name="T32" fmla="*/ 125 w 382"/>
                <a:gd name="T33" fmla="*/ 95 h 231"/>
                <a:gd name="T34" fmla="*/ 98 w 382"/>
                <a:gd name="T35" fmla="*/ 87 h 231"/>
                <a:gd name="T36" fmla="*/ 78 w 382"/>
                <a:gd name="T37" fmla="*/ 85 h 231"/>
                <a:gd name="T38" fmla="*/ 68 w 382"/>
                <a:gd name="T39" fmla="*/ 67 h 231"/>
                <a:gd name="T40" fmla="*/ 58 w 382"/>
                <a:gd name="T41" fmla="*/ 67 h 231"/>
                <a:gd name="T42" fmla="*/ 54 w 382"/>
                <a:gd name="T43" fmla="*/ 81 h 231"/>
                <a:gd name="T44" fmla="*/ 42 w 382"/>
                <a:gd name="T45" fmla="*/ 97 h 231"/>
                <a:gd name="T46" fmla="*/ 36 w 382"/>
                <a:gd name="T47" fmla="*/ 103 h 231"/>
                <a:gd name="T48" fmla="*/ 18 w 382"/>
                <a:gd name="T49" fmla="*/ 95 h 231"/>
                <a:gd name="T50" fmla="*/ 6 w 382"/>
                <a:gd name="T51" fmla="*/ 107 h 231"/>
                <a:gd name="T52" fmla="*/ 32 w 382"/>
                <a:gd name="T53" fmla="*/ 167 h 231"/>
                <a:gd name="T54" fmla="*/ 20 w 382"/>
                <a:gd name="T55" fmla="*/ 171 h 231"/>
                <a:gd name="T56" fmla="*/ 6 w 382"/>
                <a:gd name="T57" fmla="*/ 179 h 231"/>
                <a:gd name="T58" fmla="*/ 14 w 382"/>
                <a:gd name="T59" fmla="*/ 187 h 231"/>
                <a:gd name="T60" fmla="*/ 18 w 382"/>
                <a:gd name="T61" fmla="*/ 197 h 231"/>
                <a:gd name="T62" fmla="*/ 60 w 382"/>
                <a:gd name="T63" fmla="*/ 181 h 231"/>
                <a:gd name="T64" fmla="*/ 96 w 382"/>
                <a:gd name="T65" fmla="*/ 165 h 231"/>
                <a:gd name="T66" fmla="*/ 107 w 382"/>
                <a:gd name="T67" fmla="*/ 161 h 231"/>
                <a:gd name="T68" fmla="*/ 125 w 382"/>
                <a:gd name="T69" fmla="*/ 159 h 231"/>
                <a:gd name="T70" fmla="*/ 133 w 382"/>
                <a:gd name="T71" fmla="*/ 161 h 231"/>
                <a:gd name="T72" fmla="*/ 149 w 382"/>
                <a:gd name="T73" fmla="*/ 157 h 231"/>
                <a:gd name="T74" fmla="*/ 155 w 382"/>
                <a:gd name="T75" fmla="*/ 167 h 231"/>
                <a:gd name="T76" fmla="*/ 193 w 382"/>
                <a:gd name="T77" fmla="*/ 175 h 231"/>
                <a:gd name="T78" fmla="*/ 201 w 382"/>
                <a:gd name="T79" fmla="*/ 201 h 231"/>
                <a:gd name="T80" fmla="*/ 215 w 382"/>
                <a:gd name="T81" fmla="*/ 209 h 231"/>
                <a:gd name="T82" fmla="*/ 239 w 382"/>
                <a:gd name="T83" fmla="*/ 217 h 231"/>
                <a:gd name="T84" fmla="*/ 269 w 382"/>
                <a:gd name="T85" fmla="*/ 219 h 231"/>
                <a:gd name="T86" fmla="*/ 291 w 382"/>
                <a:gd name="T87" fmla="*/ 223 h 231"/>
                <a:gd name="T88" fmla="*/ 307 w 382"/>
                <a:gd name="T89" fmla="*/ 231 h 231"/>
                <a:gd name="T90" fmla="*/ 317 w 382"/>
                <a:gd name="T91" fmla="*/ 225 h 231"/>
                <a:gd name="T92" fmla="*/ 332 w 382"/>
                <a:gd name="T93" fmla="*/ 219 h 231"/>
                <a:gd name="T94" fmla="*/ 346 w 382"/>
                <a:gd name="T95" fmla="*/ 201 h 231"/>
                <a:gd name="T96" fmla="*/ 346 w 382"/>
                <a:gd name="T97" fmla="*/ 189 h 231"/>
                <a:gd name="T98" fmla="*/ 334 w 382"/>
                <a:gd name="T99" fmla="*/ 173 h 231"/>
                <a:gd name="T100" fmla="*/ 332 w 382"/>
                <a:gd name="T101" fmla="*/ 153 h 231"/>
                <a:gd name="T102" fmla="*/ 346 w 382"/>
                <a:gd name="T103" fmla="*/ 133 h 231"/>
                <a:gd name="T104" fmla="*/ 352 w 382"/>
                <a:gd name="T105" fmla="*/ 117 h 231"/>
                <a:gd name="T106" fmla="*/ 370 w 382"/>
                <a:gd name="T107" fmla="*/ 107 h 231"/>
                <a:gd name="T108" fmla="*/ 374 w 382"/>
                <a:gd name="T109" fmla="*/ 65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82" h="231">
                  <a:moveTo>
                    <a:pt x="374" y="65"/>
                  </a:moveTo>
                  <a:lnTo>
                    <a:pt x="372" y="59"/>
                  </a:lnTo>
                  <a:lnTo>
                    <a:pt x="376" y="49"/>
                  </a:lnTo>
                  <a:lnTo>
                    <a:pt x="382" y="51"/>
                  </a:lnTo>
                  <a:lnTo>
                    <a:pt x="382" y="49"/>
                  </a:lnTo>
                  <a:lnTo>
                    <a:pt x="382" y="49"/>
                  </a:lnTo>
                  <a:lnTo>
                    <a:pt x="378" y="43"/>
                  </a:lnTo>
                  <a:lnTo>
                    <a:pt x="372" y="37"/>
                  </a:lnTo>
                  <a:lnTo>
                    <a:pt x="372" y="37"/>
                  </a:lnTo>
                  <a:lnTo>
                    <a:pt x="370" y="35"/>
                  </a:lnTo>
                  <a:lnTo>
                    <a:pt x="364" y="35"/>
                  </a:lnTo>
                  <a:lnTo>
                    <a:pt x="360" y="39"/>
                  </a:lnTo>
                  <a:lnTo>
                    <a:pt x="360" y="39"/>
                  </a:lnTo>
                  <a:lnTo>
                    <a:pt x="354" y="39"/>
                  </a:lnTo>
                  <a:lnTo>
                    <a:pt x="350" y="37"/>
                  </a:lnTo>
                  <a:lnTo>
                    <a:pt x="350" y="35"/>
                  </a:lnTo>
                  <a:lnTo>
                    <a:pt x="350" y="35"/>
                  </a:lnTo>
                  <a:lnTo>
                    <a:pt x="348" y="35"/>
                  </a:lnTo>
                  <a:lnTo>
                    <a:pt x="346" y="29"/>
                  </a:lnTo>
                  <a:lnTo>
                    <a:pt x="336" y="23"/>
                  </a:lnTo>
                  <a:lnTo>
                    <a:pt x="336" y="23"/>
                  </a:lnTo>
                  <a:lnTo>
                    <a:pt x="330" y="21"/>
                  </a:lnTo>
                  <a:lnTo>
                    <a:pt x="320" y="20"/>
                  </a:lnTo>
                  <a:lnTo>
                    <a:pt x="320" y="20"/>
                  </a:lnTo>
                  <a:lnTo>
                    <a:pt x="319" y="18"/>
                  </a:lnTo>
                  <a:lnTo>
                    <a:pt x="319" y="14"/>
                  </a:lnTo>
                  <a:lnTo>
                    <a:pt x="317" y="8"/>
                  </a:lnTo>
                  <a:lnTo>
                    <a:pt x="317" y="8"/>
                  </a:lnTo>
                  <a:lnTo>
                    <a:pt x="313" y="6"/>
                  </a:lnTo>
                  <a:lnTo>
                    <a:pt x="309" y="2"/>
                  </a:lnTo>
                  <a:lnTo>
                    <a:pt x="305" y="0"/>
                  </a:lnTo>
                  <a:lnTo>
                    <a:pt x="305" y="0"/>
                  </a:lnTo>
                  <a:lnTo>
                    <a:pt x="303" y="0"/>
                  </a:lnTo>
                  <a:lnTo>
                    <a:pt x="301" y="0"/>
                  </a:lnTo>
                  <a:lnTo>
                    <a:pt x="297" y="4"/>
                  </a:lnTo>
                  <a:lnTo>
                    <a:pt x="297" y="4"/>
                  </a:lnTo>
                  <a:lnTo>
                    <a:pt x="297" y="4"/>
                  </a:lnTo>
                  <a:lnTo>
                    <a:pt x="295" y="4"/>
                  </a:lnTo>
                  <a:lnTo>
                    <a:pt x="295" y="8"/>
                  </a:lnTo>
                  <a:lnTo>
                    <a:pt x="295" y="8"/>
                  </a:lnTo>
                  <a:lnTo>
                    <a:pt x="291" y="8"/>
                  </a:lnTo>
                  <a:lnTo>
                    <a:pt x="291" y="8"/>
                  </a:lnTo>
                  <a:lnTo>
                    <a:pt x="287" y="8"/>
                  </a:lnTo>
                  <a:lnTo>
                    <a:pt x="287" y="8"/>
                  </a:lnTo>
                  <a:lnTo>
                    <a:pt x="283" y="8"/>
                  </a:lnTo>
                  <a:lnTo>
                    <a:pt x="279" y="8"/>
                  </a:lnTo>
                  <a:lnTo>
                    <a:pt x="273" y="8"/>
                  </a:lnTo>
                  <a:lnTo>
                    <a:pt x="269" y="12"/>
                  </a:lnTo>
                  <a:lnTo>
                    <a:pt x="269" y="12"/>
                  </a:lnTo>
                  <a:lnTo>
                    <a:pt x="265" y="12"/>
                  </a:lnTo>
                  <a:lnTo>
                    <a:pt x="261" y="14"/>
                  </a:lnTo>
                  <a:lnTo>
                    <a:pt x="257" y="14"/>
                  </a:lnTo>
                  <a:lnTo>
                    <a:pt x="251" y="14"/>
                  </a:lnTo>
                  <a:lnTo>
                    <a:pt x="251" y="14"/>
                  </a:lnTo>
                  <a:lnTo>
                    <a:pt x="239" y="14"/>
                  </a:lnTo>
                  <a:lnTo>
                    <a:pt x="227" y="16"/>
                  </a:lnTo>
                  <a:lnTo>
                    <a:pt x="227" y="16"/>
                  </a:lnTo>
                  <a:lnTo>
                    <a:pt x="225" y="18"/>
                  </a:lnTo>
                  <a:lnTo>
                    <a:pt x="223" y="18"/>
                  </a:lnTo>
                  <a:lnTo>
                    <a:pt x="223" y="21"/>
                  </a:lnTo>
                  <a:lnTo>
                    <a:pt x="219" y="35"/>
                  </a:lnTo>
                  <a:lnTo>
                    <a:pt x="219" y="35"/>
                  </a:lnTo>
                  <a:lnTo>
                    <a:pt x="219" y="39"/>
                  </a:lnTo>
                  <a:lnTo>
                    <a:pt x="215" y="39"/>
                  </a:lnTo>
                  <a:lnTo>
                    <a:pt x="213" y="41"/>
                  </a:lnTo>
                  <a:lnTo>
                    <a:pt x="203" y="43"/>
                  </a:lnTo>
                  <a:lnTo>
                    <a:pt x="203" y="43"/>
                  </a:lnTo>
                  <a:lnTo>
                    <a:pt x="201" y="43"/>
                  </a:lnTo>
                  <a:lnTo>
                    <a:pt x="199" y="47"/>
                  </a:lnTo>
                  <a:lnTo>
                    <a:pt x="195" y="53"/>
                  </a:lnTo>
                  <a:lnTo>
                    <a:pt x="191" y="65"/>
                  </a:lnTo>
                  <a:lnTo>
                    <a:pt x="187" y="71"/>
                  </a:lnTo>
                  <a:lnTo>
                    <a:pt x="187" y="71"/>
                  </a:lnTo>
                  <a:lnTo>
                    <a:pt x="181" y="77"/>
                  </a:lnTo>
                  <a:lnTo>
                    <a:pt x="175" y="83"/>
                  </a:lnTo>
                  <a:lnTo>
                    <a:pt x="167" y="87"/>
                  </a:lnTo>
                  <a:lnTo>
                    <a:pt x="163" y="91"/>
                  </a:lnTo>
                  <a:lnTo>
                    <a:pt x="163" y="91"/>
                  </a:lnTo>
                  <a:lnTo>
                    <a:pt x="159" y="93"/>
                  </a:lnTo>
                  <a:lnTo>
                    <a:pt x="157" y="93"/>
                  </a:lnTo>
                  <a:lnTo>
                    <a:pt x="151" y="95"/>
                  </a:lnTo>
                  <a:lnTo>
                    <a:pt x="135" y="97"/>
                  </a:lnTo>
                  <a:lnTo>
                    <a:pt x="135" y="97"/>
                  </a:lnTo>
                  <a:lnTo>
                    <a:pt x="129" y="97"/>
                  </a:lnTo>
                  <a:lnTo>
                    <a:pt x="125" y="95"/>
                  </a:lnTo>
                  <a:lnTo>
                    <a:pt x="113" y="89"/>
                  </a:lnTo>
                  <a:lnTo>
                    <a:pt x="113" y="89"/>
                  </a:lnTo>
                  <a:lnTo>
                    <a:pt x="109" y="89"/>
                  </a:lnTo>
                  <a:lnTo>
                    <a:pt x="107" y="89"/>
                  </a:lnTo>
                  <a:lnTo>
                    <a:pt x="98" y="87"/>
                  </a:lnTo>
                  <a:lnTo>
                    <a:pt x="98" y="87"/>
                  </a:lnTo>
                  <a:lnTo>
                    <a:pt x="82" y="87"/>
                  </a:lnTo>
                  <a:lnTo>
                    <a:pt x="82" y="87"/>
                  </a:lnTo>
                  <a:lnTo>
                    <a:pt x="80" y="85"/>
                  </a:lnTo>
                  <a:lnTo>
                    <a:pt x="78" y="85"/>
                  </a:lnTo>
                  <a:lnTo>
                    <a:pt x="78" y="75"/>
                  </a:lnTo>
                  <a:lnTo>
                    <a:pt x="76" y="67"/>
                  </a:lnTo>
                  <a:lnTo>
                    <a:pt x="74" y="63"/>
                  </a:lnTo>
                  <a:lnTo>
                    <a:pt x="74" y="63"/>
                  </a:lnTo>
                  <a:lnTo>
                    <a:pt x="68" y="67"/>
                  </a:lnTo>
                  <a:lnTo>
                    <a:pt x="68" y="67"/>
                  </a:lnTo>
                  <a:lnTo>
                    <a:pt x="66" y="67"/>
                  </a:lnTo>
                  <a:lnTo>
                    <a:pt x="62" y="67"/>
                  </a:lnTo>
                  <a:lnTo>
                    <a:pt x="60" y="67"/>
                  </a:lnTo>
                  <a:lnTo>
                    <a:pt x="58" y="67"/>
                  </a:lnTo>
                  <a:lnTo>
                    <a:pt x="58" y="67"/>
                  </a:lnTo>
                  <a:lnTo>
                    <a:pt x="56" y="75"/>
                  </a:lnTo>
                  <a:lnTo>
                    <a:pt x="54" y="77"/>
                  </a:lnTo>
                  <a:lnTo>
                    <a:pt x="54" y="81"/>
                  </a:lnTo>
                  <a:lnTo>
                    <a:pt x="54" y="81"/>
                  </a:lnTo>
                  <a:lnTo>
                    <a:pt x="52" y="89"/>
                  </a:lnTo>
                  <a:lnTo>
                    <a:pt x="52" y="93"/>
                  </a:lnTo>
                  <a:lnTo>
                    <a:pt x="52" y="93"/>
                  </a:lnTo>
                  <a:lnTo>
                    <a:pt x="46" y="95"/>
                  </a:lnTo>
                  <a:lnTo>
                    <a:pt x="42" y="97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36" y="103"/>
                  </a:lnTo>
                  <a:lnTo>
                    <a:pt x="34" y="103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0" y="95"/>
                  </a:lnTo>
                  <a:lnTo>
                    <a:pt x="18" y="95"/>
                  </a:lnTo>
                  <a:lnTo>
                    <a:pt x="14" y="95"/>
                  </a:lnTo>
                  <a:lnTo>
                    <a:pt x="14" y="95"/>
                  </a:lnTo>
                  <a:lnTo>
                    <a:pt x="0" y="97"/>
                  </a:lnTo>
                  <a:lnTo>
                    <a:pt x="0" y="99"/>
                  </a:lnTo>
                  <a:lnTo>
                    <a:pt x="6" y="107"/>
                  </a:lnTo>
                  <a:lnTo>
                    <a:pt x="6" y="127"/>
                  </a:lnTo>
                  <a:lnTo>
                    <a:pt x="24" y="159"/>
                  </a:lnTo>
                  <a:lnTo>
                    <a:pt x="24" y="159"/>
                  </a:lnTo>
                  <a:lnTo>
                    <a:pt x="30" y="163"/>
                  </a:lnTo>
                  <a:lnTo>
                    <a:pt x="32" y="167"/>
                  </a:lnTo>
                  <a:lnTo>
                    <a:pt x="32" y="167"/>
                  </a:lnTo>
                  <a:lnTo>
                    <a:pt x="30" y="171"/>
                  </a:lnTo>
                  <a:lnTo>
                    <a:pt x="28" y="171"/>
                  </a:lnTo>
                  <a:lnTo>
                    <a:pt x="28" y="171"/>
                  </a:lnTo>
                  <a:lnTo>
                    <a:pt x="20" y="171"/>
                  </a:lnTo>
                  <a:lnTo>
                    <a:pt x="16" y="167"/>
                  </a:lnTo>
                  <a:lnTo>
                    <a:pt x="14" y="165"/>
                  </a:lnTo>
                  <a:lnTo>
                    <a:pt x="14" y="165"/>
                  </a:lnTo>
                  <a:lnTo>
                    <a:pt x="6" y="179"/>
                  </a:lnTo>
                  <a:lnTo>
                    <a:pt x="6" y="179"/>
                  </a:lnTo>
                  <a:lnTo>
                    <a:pt x="6" y="179"/>
                  </a:lnTo>
                  <a:lnTo>
                    <a:pt x="10" y="179"/>
                  </a:lnTo>
                  <a:lnTo>
                    <a:pt x="12" y="181"/>
                  </a:lnTo>
                  <a:lnTo>
                    <a:pt x="14" y="187"/>
                  </a:lnTo>
                  <a:lnTo>
                    <a:pt x="14" y="187"/>
                  </a:lnTo>
                  <a:lnTo>
                    <a:pt x="14" y="197"/>
                  </a:lnTo>
                  <a:lnTo>
                    <a:pt x="14" y="197"/>
                  </a:lnTo>
                  <a:lnTo>
                    <a:pt x="16" y="197"/>
                  </a:lnTo>
                  <a:lnTo>
                    <a:pt x="18" y="197"/>
                  </a:lnTo>
                  <a:lnTo>
                    <a:pt x="18" y="197"/>
                  </a:lnTo>
                  <a:lnTo>
                    <a:pt x="28" y="191"/>
                  </a:lnTo>
                  <a:lnTo>
                    <a:pt x="36" y="189"/>
                  </a:lnTo>
                  <a:lnTo>
                    <a:pt x="36" y="189"/>
                  </a:lnTo>
                  <a:lnTo>
                    <a:pt x="60" y="181"/>
                  </a:lnTo>
                  <a:lnTo>
                    <a:pt x="60" y="181"/>
                  </a:lnTo>
                  <a:lnTo>
                    <a:pt x="78" y="177"/>
                  </a:lnTo>
                  <a:lnTo>
                    <a:pt x="78" y="177"/>
                  </a:lnTo>
                  <a:lnTo>
                    <a:pt x="82" y="175"/>
                  </a:lnTo>
                  <a:lnTo>
                    <a:pt x="86" y="173"/>
                  </a:lnTo>
                  <a:lnTo>
                    <a:pt x="96" y="165"/>
                  </a:lnTo>
                  <a:lnTo>
                    <a:pt x="96" y="165"/>
                  </a:lnTo>
                  <a:lnTo>
                    <a:pt x="103" y="163"/>
                  </a:lnTo>
                  <a:lnTo>
                    <a:pt x="107" y="161"/>
                  </a:lnTo>
                  <a:lnTo>
                    <a:pt x="107" y="161"/>
                  </a:lnTo>
                  <a:lnTo>
                    <a:pt x="107" y="161"/>
                  </a:lnTo>
                  <a:lnTo>
                    <a:pt x="111" y="163"/>
                  </a:lnTo>
                  <a:lnTo>
                    <a:pt x="119" y="161"/>
                  </a:lnTo>
                  <a:lnTo>
                    <a:pt x="123" y="161"/>
                  </a:lnTo>
                  <a:lnTo>
                    <a:pt x="125" y="159"/>
                  </a:lnTo>
                  <a:lnTo>
                    <a:pt x="125" y="159"/>
                  </a:lnTo>
                  <a:lnTo>
                    <a:pt x="123" y="155"/>
                  </a:lnTo>
                  <a:lnTo>
                    <a:pt x="125" y="153"/>
                  </a:lnTo>
                  <a:lnTo>
                    <a:pt x="125" y="155"/>
                  </a:lnTo>
                  <a:lnTo>
                    <a:pt x="125" y="155"/>
                  </a:lnTo>
                  <a:lnTo>
                    <a:pt x="133" y="161"/>
                  </a:lnTo>
                  <a:lnTo>
                    <a:pt x="135" y="163"/>
                  </a:lnTo>
                  <a:lnTo>
                    <a:pt x="137" y="163"/>
                  </a:lnTo>
                  <a:lnTo>
                    <a:pt x="137" y="163"/>
                  </a:lnTo>
                  <a:lnTo>
                    <a:pt x="145" y="159"/>
                  </a:lnTo>
                  <a:lnTo>
                    <a:pt x="149" y="157"/>
                  </a:lnTo>
                  <a:lnTo>
                    <a:pt x="149" y="159"/>
                  </a:lnTo>
                  <a:lnTo>
                    <a:pt x="149" y="161"/>
                  </a:lnTo>
                  <a:lnTo>
                    <a:pt x="149" y="161"/>
                  </a:lnTo>
                  <a:lnTo>
                    <a:pt x="151" y="163"/>
                  </a:lnTo>
                  <a:lnTo>
                    <a:pt x="155" y="167"/>
                  </a:lnTo>
                  <a:lnTo>
                    <a:pt x="159" y="171"/>
                  </a:lnTo>
                  <a:lnTo>
                    <a:pt x="167" y="171"/>
                  </a:lnTo>
                  <a:lnTo>
                    <a:pt x="167" y="171"/>
                  </a:lnTo>
                  <a:lnTo>
                    <a:pt x="183" y="175"/>
                  </a:lnTo>
                  <a:lnTo>
                    <a:pt x="193" y="175"/>
                  </a:lnTo>
                  <a:lnTo>
                    <a:pt x="195" y="177"/>
                  </a:lnTo>
                  <a:lnTo>
                    <a:pt x="197" y="179"/>
                  </a:lnTo>
                  <a:lnTo>
                    <a:pt x="197" y="179"/>
                  </a:lnTo>
                  <a:lnTo>
                    <a:pt x="199" y="191"/>
                  </a:lnTo>
                  <a:lnTo>
                    <a:pt x="201" y="201"/>
                  </a:lnTo>
                  <a:lnTo>
                    <a:pt x="203" y="205"/>
                  </a:lnTo>
                  <a:lnTo>
                    <a:pt x="203" y="205"/>
                  </a:lnTo>
                  <a:lnTo>
                    <a:pt x="209" y="207"/>
                  </a:lnTo>
                  <a:lnTo>
                    <a:pt x="215" y="209"/>
                  </a:lnTo>
                  <a:lnTo>
                    <a:pt x="215" y="209"/>
                  </a:lnTo>
                  <a:lnTo>
                    <a:pt x="223" y="213"/>
                  </a:lnTo>
                  <a:lnTo>
                    <a:pt x="227" y="217"/>
                  </a:lnTo>
                  <a:lnTo>
                    <a:pt x="235" y="217"/>
                  </a:lnTo>
                  <a:lnTo>
                    <a:pt x="235" y="217"/>
                  </a:lnTo>
                  <a:lnTo>
                    <a:pt x="239" y="217"/>
                  </a:lnTo>
                  <a:lnTo>
                    <a:pt x="243" y="213"/>
                  </a:lnTo>
                  <a:lnTo>
                    <a:pt x="247" y="213"/>
                  </a:lnTo>
                  <a:lnTo>
                    <a:pt x="251" y="213"/>
                  </a:lnTo>
                  <a:lnTo>
                    <a:pt x="251" y="213"/>
                  </a:lnTo>
                  <a:lnTo>
                    <a:pt x="269" y="219"/>
                  </a:lnTo>
                  <a:lnTo>
                    <a:pt x="269" y="219"/>
                  </a:lnTo>
                  <a:lnTo>
                    <a:pt x="273" y="221"/>
                  </a:lnTo>
                  <a:lnTo>
                    <a:pt x="281" y="223"/>
                  </a:lnTo>
                  <a:lnTo>
                    <a:pt x="287" y="223"/>
                  </a:lnTo>
                  <a:lnTo>
                    <a:pt x="291" y="223"/>
                  </a:lnTo>
                  <a:lnTo>
                    <a:pt x="291" y="223"/>
                  </a:lnTo>
                  <a:lnTo>
                    <a:pt x="295" y="225"/>
                  </a:lnTo>
                  <a:lnTo>
                    <a:pt x="301" y="227"/>
                  </a:lnTo>
                  <a:lnTo>
                    <a:pt x="303" y="229"/>
                  </a:lnTo>
                  <a:lnTo>
                    <a:pt x="307" y="231"/>
                  </a:lnTo>
                  <a:lnTo>
                    <a:pt x="307" y="231"/>
                  </a:lnTo>
                  <a:lnTo>
                    <a:pt x="309" y="229"/>
                  </a:lnTo>
                  <a:lnTo>
                    <a:pt x="309" y="229"/>
                  </a:lnTo>
                  <a:lnTo>
                    <a:pt x="315" y="227"/>
                  </a:lnTo>
                  <a:lnTo>
                    <a:pt x="317" y="225"/>
                  </a:lnTo>
                  <a:lnTo>
                    <a:pt x="319" y="223"/>
                  </a:lnTo>
                  <a:lnTo>
                    <a:pt x="324" y="221"/>
                  </a:lnTo>
                  <a:lnTo>
                    <a:pt x="324" y="221"/>
                  </a:lnTo>
                  <a:lnTo>
                    <a:pt x="328" y="221"/>
                  </a:lnTo>
                  <a:lnTo>
                    <a:pt x="332" y="219"/>
                  </a:lnTo>
                  <a:lnTo>
                    <a:pt x="334" y="219"/>
                  </a:lnTo>
                  <a:lnTo>
                    <a:pt x="334" y="219"/>
                  </a:lnTo>
                  <a:lnTo>
                    <a:pt x="340" y="209"/>
                  </a:lnTo>
                  <a:lnTo>
                    <a:pt x="342" y="205"/>
                  </a:lnTo>
                  <a:lnTo>
                    <a:pt x="346" y="201"/>
                  </a:lnTo>
                  <a:lnTo>
                    <a:pt x="346" y="201"/>
                  </a:lnTo>
                  <a:lnTo>
                    <a:pt x="348" y="195"/>
                  </a:lnTo>
                  <a:lnTo>
                    <a:pt x="348" y="191"/>
                  </a:lnTo>
                  <a:lnTo>
                    <a:pt x="346" y="189"/>
                  </a:lnTo>
                  <a:lnTo>
                    <a:pt x="346" y="189"/>
                  </a:lnTo>
                  <a:lnTo>
                    <a:pt x="336" y="181"/>
                  </a:lnTo>
                  <a:lnTo>
                    <a:pt x="334" y="177"/>
                  </a:lnTo>
                  <a:lnTo>
                    <a:pt x="334" y="175"/>
                  </a:lnTo>
                  <a:lnTo>
                    <a:pt x="334" y="173"/>
                  </a:lnTo>
                  <a:lnTo>
                    <a:pt x="334" y="173"/>
                  </a:lnTo>
                  <a:lnTo>
                    <a:pt x="336" y="171"/>
                  </a:lnTo>
                  <a:lnTo>
                    <a:pt x="334" y="167"/>
                  </a:lnTo>
                  <a:lnTo>
                    <a:pt x="332" y="161"/>
                  </a:lnTo>
                  <a:lnTo>
                    <a:pt x="332" y="161"/>
                  </a:lnTo>
                  <a:lnTo>
                    <a:pt x="332" y="153"/>
                  </a:lnTo>
                  <a:lnTo>
                    <a:pt x="336" y="141"/>
                  </a:lnTo>
                  <a:lnTo>
                    <a:pt x="336" y="141"/>
                  </a:lnTo>
                  <a:lnTo>
                    <a:pt x="340" y="137"/>
                  </a:lnTo>
                  <a:lnTo>
                    <a:pt x="346" y="133"/>
                  </a:lnTo>
                  <a:lnTo>
                    <a:pt x="346" y="133"/>
                  </a:lnTo>
                  <a:lnTo>
                    <a:pt x="348" y="129"/>
                  </a:lnTo>
                  <a:lnTo>
                    <a:pt x="350" y="125"/>
                  </a:lnTo>
                  <a:lnTo>
                    <a:pt x="350" y="119"/>
                  </a:lnTo>
                  <a:lnTo>
                    <a:pt x="352" y="117"/>
                  </a:lnTo>
                  <a:lnTo>
                    <a:pt x="352" y="117"/>
                  </a:lnTo>
                  <a:lnTo>
                    <a:pt x="354" y="115"/>
                  </a:lnTo>
                  <a:lnTo>
                    <a:pt x="360" y="113"/>
                  </a:lnTo>
                  <a:lnTo>
                    <a:pt x="364" y="111"/>
                  </a:lnTo>
                  <a:lnTo>
                    <a:pt x="370" y="107"/>
                  </a:lnTo>
                  <a:lnTo>
                    <a:pt x="370" y="107"/>
                  </a:lnTo>
                  <a:lnTo>
                    <a:pt x="370" y="99"/>
                  </a:lnTo>
                  <a:lnTo>
                    <a:pt x="370" y="97"/>
                  </a:lnTo>
                  <a:lnTo>
                    <a:pt x="370" y="93"/>
                  </a:lnTo>
                  <a:lnTo>
                    <a:pt x="364" y="77"/>
                  </a:lnTo>
                  <a:lnTo>
                    <a:pt x="374" y="65"/>
                  </a:lnTo>
                  <a:lnTo>
                    <a:pt x="374" y="65"/>
                  </a:lnTo>
                  <a:lnTo>
                    <a:pt x="374" y="65"/>
                  </a:lnTo>
                  <a:lnTo>
                    <a:pt x="374" y="65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04" name="Freeform 63"/>
            <p:cNvSpPr>
              <a:spLocks/>
            </p:cNvSpPr>
            <p:nvPr/>
          </p:nvSpPr>
          <p:spPr bwMode="auto">
            <a:xfrm>
              <a:off x="2486" y="3035"/>
              <a:ext cx="217" cy="208"/>
            </a:xfrm>
            <a:custGeom>
              <a:avLst/>
              <a:gdLst>
                <a:gd name="T0" fmla="*/ 199 w 217"/>
                <a:gd name="T1" fmla="*/ 144 h 208"/>
                <a:gd name="T2" fmla="*/ 205 w 217"/>
                <a:gd name="T3" fmla="*/ 150 h 208"/>
                <a:gd name="T4" fmla="*/ 215 w 217"/>
                <a:gd name="T5" fmla="*/ 150 h 208"/>
                <a:gd name="T6" fmla="*/ 215 w 217"/>
                <a:gd name="T7" fmla="*/ 142 h 208"/>
                <a:gd name="T8" fmla="*/ 191 w 217"/>
                <a:gd name="T9" fmla="*/ 86 h 208"/>
                <a:gd name="T10" fmla="*/ 177 w 217"/>
                <a:gd name="T11" fmla="*/ 84 h 208"/>
                <a:gd name="T12" fmla="*/ 153 w 217"/>
                <a:gd name="T13" fmla="*/ 72 h 208"/>
                <a:gd name="T14" fmla="*/ 163 w 217"/>
                <a:gd name="T15" fmla="*/ 44 h 208"/>
                <a:gd name="T16" fmla="*/ 179 w 217"/>
                <a:gd name="T17" fmla="*/ 28 h 208"/>
                <a:gd name="T18" fmla="*/ 171 w 217"/>
                <a:gd name="T19" fmla="*/ 18 h 208"/>
                <a:gd name="T20" fmla="*/ 149 w 217"/>
                <a:gd name="T21" fmla="*/ 14 h 208"/>
                <a:gd name="T22" fmla="*/ 131 w 217"/>
                <a:gd name="T23" fmla="*/ 0 h 208"/>
                <a:gd name="T24" fmla="*/ 113 w 217"/>
                <a:gd name="T25" fmla="*/ 4 h 208"/>
                <a:gd name="T26" fmla="*/ 111 w 217"/>
                <a:gd name="T27" fmla="*/ 8 h 208"/>
                <a:gd name="T28" fmla="*/ 111 w 217"/>
                <a:gd name="T29" fmla="*/ 26 h 208"/>
                <a:gd name="T30" fmla="*/ 109 w 217"/>
                <a:gd name="T31" fmla="*/ 28 h 208"/>
                <a:gd name="T32" fmla="*/ 87 w 217"/>
                <a:gd name="T33" fmla="*/ 26 h 208"/>
                <a:gd name="T34" fmla="*/ 81 w 217"/>
                <a:gd name="T35" fmla="*/ 30 h 208"/>
                <a:gd name="T36" fmla="*/ 71 w 217"/>
                <a:gd name="T37" fmla="*/ 42 h 208"/>
                <a:gd name="T38" fmla="*/ 34 w 217"/>
                <a:gd name="T39" fmla="*/ 52 h 208"/>
                <a:gd name="T40" fmla="*/ 16 w 217"/>
                <a:gd name="T41" fmla="*/ 60 h 208"/>
                <a:gd name="T42" fmla="*/ 20 w 217"/>
                <a:gd name="T43" fmla="*/ 84 h 208"/>
                <a:gd name="T44" fmla="*/ 20 w 217"/>
                <a:gd name="T45" fmla="*/ 86 h 208"/>
                <a:gd name="T46" fmla="*/ 0 w 217"/>
                <a:gd name="T47" fmla="*/ 94 h 208"/>
                <a:gd name="T48" fmla="*/ 2 w 217"/>
                <a:gd name="T49" fmla="*/ 108 h 208"/>
                <a:gd name="T50" fmla="*/ 8 w 217"/>
                <a:gd name="T51" fmla="*/ 118 h 208"/>
                <a:gd name="T52" fmla="*/ 16 w 217"/>
                <a:gd name="T53" fmla="*/ 124 h 208"/>
                <a:gd name="T54" fmla="*/ 24 w 217"/>
                <a:gd name="T55" fmla="*/ 136 h 208"/>
                <a:gd name="T56" fmla="*/ 26 w 217"/>
                <a:gd name="T57" fmla="*/ 152 h 208"/>
                <a:gd name="T58" fmla="*/ 30 w 217"/>
                <a:gd name="T59" fmla="*/ 158 h 208"/>
                <a:gd name="T60" fmla="*/ 34 w 217"/>
                <a:gd name="T61" fmla="*/ 164 h 208"/>
                <a:gd name="T62" fmla="*/ 54 w 217"/>
                <a:gd name="T63" fmla="*/ 174 h 208"/>
                <a:gd name="T64" fmla="*/ 60 w 217"/>
                <a:gd name="T65" fmla="*/ 176 h 208"/>
                <a:gd name="T66" fmla="*/ 77 w 217"/>
                <a:gd name="T67" fmla="*/ 168 h 208"/>
                <a:gd name="T68" fmla="*/ 85 w 217"/>
                <a:gd name="T69" fmla="*/ 166 h 208"/>
                <a:gd name="T70" fmla="*/ 85 w 217"/>
                <a:gd name="T71" fmla="*/ 168 h 208"/>
                <a:gd name="T72" fmla="*/ 87 w 217"/>
                <a:gd name="T73" fmla="*/ 182 h 208"/>
                <a:gd name="T74" fmla="*/ 91 w 217"/>
                <a:gd name="T75" fmla="*/ 192 h 208"/>
                <a:gd name="T76" fmla="*/ 101 w 217"/>
                <a:gd name="T77" fmla="*/ 202 h 208"/>
                <a:gd name="T78" fmla="*/ 109 w 217"/>
                <a:gd name="T79" fmla="*/ 208 h 208"/>
                <a:gd name="T80" fmla="*/ 123 w 217"/>
                <a:gd name="T81" fmla="*/ 206 h 208"/>
                <a:gd name="T82" fmla="*/ 133 w 217"/>
                <a:gd name="T83" fmla="*/ 202 h 208"/>
                <a:gd name="T84" fmla="*/ 137 w 217"/>
                <a:gd name="T85" fmla="*/ 192 h 208"/>
                <a:gd name="T86" fmla="*/ 159 w 217"/>
                <a:gd name="T87" fmla="*/ 196 h 208"/>
                <a:gd name="T88" fmla="*/ 179 w 217"/>
                <a:gd name="T89" fmla="*/ 196 h 208"/>
                <a:gd name="T90" fmla="*/ 191 w 217"/>
                <a:gd name="T91" fmla="*/ 190 h 208"/>
                <a:gd name="T92" fmla="*/ 197 w 217"/>
                <a:gd name="T93" fmla="*/ 188 h 208"/>
                <a:gd name="T94" fmla="*/ 199 w 217"/>
                <a:gd name="T95" fmla="*/ 176 h 208"/>
                <a:gd name="T96" fmla="*/ 197 w 217"/>
                <a:gd name="T97" fmla="*/ 160 h 208"/>
                <a:gd name="T98" fmla="*/ 191 w 217"/>
                <a:gd name="T99" fmla="*/ 158 h 208"/>
                <a:gd name="T100" fmla="*/ 191 w 217"/>
                <a:gd name="T101" fmla="*/ 15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17" h="208">
                  <a:moveTo>
                    <a:pt x="191" y="158"/>
                  </a:moveTo>
                  <a:lnTo>
                    <a:pt x="199" y="144"/>
                  </a:lnTo>
                  <a:lnTo>
                    <a:pt x="199" y="144"/>
                  </a:lnTo>
                  <a:lnTo>
                    <a:pt x="199" y="144"/>
                  </a:lnTo>
                  <a:lnTo>
                    <a:pt x="201" y="146"/>
                  </a:lnTo>
                  <a:lnTo>
                    <a:pt x="205" y="150"/>
                  </a:lnTo>
                  <a:lnTo>
                    <a:pt x="213" y="150"/>
                  </a:lnTo>
                  <a:lnTo>
                    <a:pt x="213" y="150"/>
                  </a:lnTo>
                  <a:lnTo>
                    <a:pt x="215" y="150"/>
                  </a:lnTo>
                  <a:lnTo>
                    <a:pt x="217" y="146"/>
                  </a:lnTo>
                  <a:lnTo>
                    <a:pt x="217" y="146"/>
                  </a:lnTo>
                  <a:lnTo>
                    <a:pt x="215" y="142"/>
                  </a:lnTo>
                  <a:lnTo>
                    <a:pt x="209" y="138"/>
                  </a:lnTo>
                  <a:lnTo>
                    <a:pt x="191" y="106"/>
                  </a:lnTo>
                  <a:lnTo>
                    <a:pt x="191" y="86"/>
                  </a:lnTo>
                  <a:lnTo>
                    <a:pt x="185" y="78"/>
                  </a:lnTo>
                  <a:lnTo>
                    <a:pt x="185" y="76"/>
                  </a:lnTo>
                  <a:lnTo>
                    <a:pt x="177" y="84"/>
                  </a:lnTo>
                  <a:lnTo>
                    <a:pt x="173" y="84"/>
                  </a:lnTo>
                  <a:lnTo>
                    <a:pt x="163" y="86"/>
                  </a:lnTo>
                  <a:lnTo>
                    <a:pt x="153" y="72"/>
                  </a:lnTo>
                  <a:lnTo>
                    <a:pt x="161" y="60"/>
                  </a:lnTo>
                  <a:lnTo>
                    <a:pt x="157" y="56"/>
                  </a:lnTo>
                  <a:lnTo>
                    <a:pt x="163" y="44"/>
                  </a:lnTo>
                  <a:lnTo>
                    <a:pt x="175" y="38"/>
                  </a:lnTo>
                  <a:lnTo>
                    <a:pt x="185" y="32"/>
                  </a:lnTo>
                  <a:lnTo>
                    <a:pt x="179" y="28"/>
                  </a:lnTo>
                  <a:lnTo>
                    <a:pt x="177" y="22"/>
                  </a:lnTo>
                  <a:lnTo>
                    <a:pt x="177" y="22"/>
                  </a:lnTo>
                  <a:lnTo>
                    <a:pt x="171" y="18"/>
                  </a:lnTo>
                  <a:lnTo>
                    <a:pt x="163" y="14"/>
                  </a:lnTo>
                  <a:lnTo>
                    <a:pt x="163" y="14"/>
                  </a:lnTo>
                  <a:lnTo>
                    <a:pt x="149" y="14"/>
                  </a:lnTo>
                  <a:lnTo>
                    <a:pt x="139" y="6"/>
                  </a:lnTo>
                  <a:lnTo>
                    <a:pt x="135" y="4"/>
                  </a:lnTo>
                  <a:lnTo>
                    <a:pt x="131" y="0"/>
                  </a:lnTo>
                  <a:lnTo>
                    <a:pt x="131" y="0"/>
                  </a:lnTo>
                  <a:lnTo>
                    <a:pt x="123" y="2"/>
                  </a:lnTo>
                  <a:lnTo>
                    <a:pt x="113" y="4"/>
                  </a:lnTo>
                  <a:lnTo>
                    <a:pt x="113" y="4"/>
                  </a:lnTo>
                  <a:lnTo>
                    <a:pt x="111" y="6"/>
                  </a:lnTo>
                  <a:lnTo>
                    <a:pt x="111" y="8"/>
                  </a:lnTo>
                  <a:lnTo>
                    <a:pt x="111" y="14"/>
                  </a:lnTo>
                  <a:lnTo>
                    <a:pt x="113" y="22"/>
                  </a:lnTo>
                  <a:lnTo>
                    <a:pt x="111" y="26"/>
                  </a:lnTo>
                  <a:lnTo>
                    <a:pt x="111" y="26"/>
                  </a:lnTo>
                  <a:lnTo>
                    <a:pt x="111" y="26"/>
                  </a:lnTo>
                  <a:lnTo>
                    <a:pt x="109" y="28"/>
                  </a:lnTo>
                  <a:lnTo>
                    <a:pt x="107" y="28"/>
                  </a:lnTo>
                  <a:lnTo>
                    <a:pt x="101" y="28"/>
                  </a:lnTo>
                  <a:lnTo>
                    <a:pt x="87" y="26"/>
                  </a:lnTo>
                  <a:lnTo>
                    <a:pt x="87" y="26"/>
                  </a:lnTo>
                  <a:lnTo>
                    <a:pt x="85" y="26"/>
                  </a:lnTo>
                  <a:lnTo>
                    <a:pt x="81" y="30"/>
                  </a:lnTo>
                  <a:lnTo>
                    <a:pt x="77" y="40"/>
                  </a:lnTo>
                  <a:lnTo>
                    <a:pt x="77" y="40"/>
                  </a:lnTo>
                  <a:lnTo>
                    <a:pt x="71" y="42"/>
                  </a:lnTo>
                  <a:lnTo>
                    <a:pt x="67" y="44"/>
                  </a:lnTo>
                  <a:lnTo>
                    <a:pt x="58" y="48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26" y="54"/>
                  </a:lnTo>
                  <a:lnTo>
                    <a:pt x="16" y="60"/>
                  </a:lnTo>
                  <a:lnTo>
                    <a:pt x="6" y="66"/>
                  </a:lnTo>
                  <a:lnTo>
                    <a:pt x="6" y="66"/>
                  </a:lnTo>
                  <a:lnTo>
                    <a:pt x="20" y="84"/>
                  </a:lnTo>
                  <a:lnTo>
                    <a:pt x="20" y="84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18" y="90"/>
                  </a:lnTo>
                  <a:lnTo>
                    <a:pt x="14" y="94"/>
                  </a:lnTo>
                  <a:lnTo>
                    <a:pt x="0" y="94"/>
                  </a:lnTo>
                  <a:lnTo>
                    <a:pt x="0" y="94"/>
                  </a:lnTo>
                  <a:lnTo>
                    <a:pt x="2" y="108"/>
                  </a:lnTo>
                  <a:lnTo>
                    <a:pt x="2" y="108"/>
                  </a:lnTo>
                  <a:lnTo>
                    <a:pt x="2" y="114"/>
                  </a:lnTo>
                  <a:lnTo>
                    <a:pt x="6" y="118"/>
                  </a:lnTo>
                  <a:lnTo>
                    <a:pt x="8" y="118"/>
                  </a:lnTo>
                  <a:lnTo>
                    <a:pt x="8" y="118"/>
                  </a:lnTo>
                  <a:lnTo>
                    <a:pt x="12" y="120"/>
                  </a:lnTo>
                  <a:lnTo>
                    <a:pt x="16" y="124"/>
                  </a:lnTo>
                  <a:lnTo>
                    <a:pt x="20" y="132"/>
                  </a:lnTo>
                  <a:lnTo>
                    <a:pt x="24" y="136"/>
                  </a:lnTo>
                  <a:lnTo>
                    <a:pt x="24" y="136"/>
                  </a:lnTo>
                  <a:lnTo>
                    <a:pt x="24" y="142"/>
                  </a:lnTo>
                  <a:lnTo>
                    <a:pt x="24" y="146"/>
                  </a:lnTo>
                  <a:lnTo>
                    <a:pt x="26" y="152"/>
                  </a:lnTo>
                  <a:lnTo>
                    <a:pt x="26" y="152"/>
                  </a:lnTo>
                  <a:lnTo>
                    <a:pt x="30" y="156"/>
                  </a:lnTo>
                  <a:lnTo>
                    <a:pt x="30" y="158"/>
                  </a:lnTo>
                  <a:lnTo>
                    <a:pt x="32" y="162"/>
                  </a:lnTo>
                  <a:lnTo>
                    <a:pt x="34" y="164"/>
                  </a:lnTo>
                  <a:lnTo>
                    <a:pt x="34" y="164"/>
                  </a:lnTo>
                  <a:lnTo>
                    <a:pt x="40" y="166"/>
                  </a:lnTo>
                  <a:lnTo>
                    <a:pt x="46" y="168"/>
                  </a:lnTo>
                  <a:lnTo>
                    <a:pt x="54" y="174"/>
                  </a:lnTo>
                  <a:lnTo>
                    <a:pt x="56" y="174"/>
                  </a:lnTo>
                  <a:lnTo>
                    <a:pt x="60" y="176"/>
                  </a:lnTo>
                  <a:lnTo>
                    <a:pt x="60" y="176"/>
                  </a:lnTo>
                  <a:lnTo>
                    <a:pt x="63" y="174"/>
                  </a:lnTo>
                  <a:lnTo>
                    <a:pt x="67" y="170"/>
                  </a:lnTo>
                  <a:lnTo>
                    <a:pt x="77" y="168"/>
                  </a:lnTo>
                  <a:lnTo>
                    <a:pt x="77" y="168"/>
                  </a:lnTo>
                  <a:lnTo>
                    <a:pt x="83" y="164"/>
                  </a:lnTo>
                  <a:lnTo>
                    <a:pt x="85" y="166"/>
                  </a:lnTo>
                  <a:lnTo>
                    <a:pt x="85" y="166"/>
                  </a:lnTo>
                  <a:lnTo>
                    <a:pt x="85" y="168"/>
                  </a:lnTo>
                  <a:lnTo>
                    <a:pt x="85" y="168"/>
                  </a:lnTo>
                  <a:lnTo>
                    <a:pt x="85" y="174"/>
                  </a:lnTo>
                  <a:lnTo>
                    <a:pt x="85" y="178"/>
                  </a:lnTo>
                  <a:lnTo>
                    <a:pt x="87" y="182"/>
                  </a:lnTo>
                  <a:lnTo>
                    <a:pt x="89" y="188"/>
                  </a:lnTo>
                  <a:lnTo>
                    <a:pt x="89" y="188"/>
                  </a:lnTo>
                  <a:lnTo>
                    <a:pt x="91" y="192"/>
                  </a:lnTo>
                  <a:lnTo>
                    <a:pt x="97" y="196"/>
                  </a:lnTo>
                  <a:lnTo>
                    <a:pt x="101" y="202"/>
                  </a:lnTo>
                  <a:lnTo>
                    <a:pt x="101" y="202"/>
                  </a:lnTo>
                  <a:lnTo>
                    <a:pt x="103" y="206"/>
                  </a:lnTo>
                  <a:lnTo>
                    <a:pt x="105" y="206"/>
                  </a:lnTo>
                  <a:lnTo>
                    <a:pt x="109" y="208"/>
                  </a:lnTo>
                  <a:lnTo>
                    <a:pt x="111" y="208"/>
                  </a:lnTo>
                  <a:lnTo>
                    <a:pt x="111" y="208"/>
                  </a:lnTo>
                  <a:lnTo>
                    <a:pt x="123" y="206"/>
                  </a:lnTo>
                  <a:lnTo>
                    <a:pt x="129" y="206"/>
                  </a:lnTo>
                  <a:lnTo>
                    <a:pt x="133" y="202"/>
                  </a:lnTo>
                  <a:lnTo>
                    <a:pt x="133" y="202"/>
                  </a:lnTo>
                  <a:lnTo>
                    <a:pt x="135" y="198"/>
                  </a:lnTo>
                  <a:lnTo>
                    <a:pt x="137" y="196"/>
                  </a:lnTo>
                  <a:lnTo>
                    <a:pt x="137" y="192"/>
                  </a:lnTo>
                  <a:lnTo>
                    <a:pt x="143" y="192"/>
                  </a:lnTo>
                  <a:lnTo>
                    <a:pt x="143" y="192"/>
                  </a:lnTo>
                  <a:lnTo>
                    <a:pt x="159" y="196"/>
                  </a:lnTo>
                  <a:lnTo>
                    <a:pt x="173" y="198"/>
                  </a:lnTo>
                  <a:lnTo>
                    <a:pt x="173" y="198"/>
                  </a:lnTo>
                  <a:lnTo>
                    <a:pt x="179" y="196"/>
                  </a:lnTo>
                  <a:lnTo>
                    <a:pt x="185" y="192"/>
                  </a:lnTo>
                  <a:lnTo>
                    <a:pt x="185" y="192"/>
                  </a:lnTo>
                  <a:lnTo>
                    <a:pt x="191" y="190"/>
                  </a:lnTo>
                  <a:lnTo>
                    <a:pt x="195" y="188"/>
                  </a:lnTo>
                  <a:lnTo>
                    <a:pt x="197" y="188"/>
                  </a:lnTo>
                  <a:lnTo>
                    <a:pt x="197" y="188"/>
                  </a:lnTo>
                  <a:lnTo>
                    <a:pt x="199" y="182"/>
                  </a:lnTo>
                  <a:lnTo>
                    <a:pt x="199" y="176"/>
                  </a:lnTo>
                  <a:lnTo>
                    <a:pt x="199" y="176"/>
                  </a:lnTo>
                  <a:lnTo>
                    <a:pt x="199" y="166"/>
                  </a:lnTo>
                  <a:lnTo>
                    <a:pt x="199" y="166"/>
                  </a:lnTo>
                  <a:lnTo>
                    <a:pt x="197" y="160"/>
                  </a:lnTo>
                  <a:lnTo>
                    <a:pt x="195" y="158"/>
                  </a:lnTo>
                  <a:lnTo>
                    <a:pt x="191" y="158"/>
                  </a:lnTo>
                  <a:lnTo>
                    <a:pt x="191" y="158"/>
                  </a:lnTo>
                  <a:lnTo>
                    <a:pt x="191" y="158"/>
                  </a:lnTo>
                  <a:lnTo>
                    <a:pt x="191" y="158"/>
                  </a:lnTo>
                  <a:lnTo>
                    <a:pt x="191" y="158"/>
                  </a:lnTo>
                  <a:lnTo>
                    <a:pt x="191" y="158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05" name="Freeform 64"/>
            <p:cNvSpPr>
              <a:spLocks/>
            </p:cNvSpPr>
            <p:nvPr/>
          </p:nvSpPr>
          <p:spPr bwMode="auto">
            <a:xfrm>
              <a:off x="2639" y="2884"/>
              <a:ext cx="161" cy="237"/>
            </a:xfrm>
            <a:custGeom>
              <a:avLst/>
              <a:gdLst>
                <a:gd name="T0" fmla="*/ 116 w 161"/>
                <a:gd name="T1" fmla="*/ 181 h 237"/>
                <a:gd name="T2" fmla="*/ 130 w 161"/>
                <a:gd name="T3" fmla="*/ 171 h 237"/>
                <a:gd name="T4" fmla="*/ 139 w 161"/>
                <a:gd name="T5" fmla="*/ 165 h 237"/>
                <a:gd name="T6" fmla="*/ 143 w 161"/>
                <a:gd name="T7" fmla="*/ 151 h 237"/>
                <a:gd name="T8" fmla="*/ 149 w 161"/>
                <a:gd name="T9" fmla="*/ 148 h 237"/>
                <a:gd name="T10" fmla="*/ 155 w 161"/>
                <a:gd name="T11" fmla="*/ 146 h 237"/>
                <a:gd name="T12" fmla="*/ 159 w 161"/>
                <a:gd name="T13" fmla="*/ 144 h 237"/>
                <a:gd name="T14" fmla="*/ 161 w 161"/>
                <a:gd name="T15" fmla="*/ 136 h 237"/>
                <a:gd name="T16" fmla="*/ 157 w 161"/>
                <a:gd name="T17" fmla="*/ 130 h 237"/>
                <a:gd name="T18" fmla="*/ 155 w 161"/>
                <a:gd name="T19" fmla="*/ 126 h 237"/>
                <a:gd name="T20" fmla="*/ 149 w 161"/>
                <a:gd name="T21" fmla="*/ 106 h 237"/>
                <a:gd name="T22" fmla="*/ 149 w 161"/>
                <a:gd name="T23" fmla="*/ 102 h 237"/>
                <a:gd name="T24" fmla="*/ 151 w 161"/>
                <a:gd name="T25" fmla="*/ 92 h 237"/>
                <a:gd name="T26" fmla="*/ 149 w 161"/>
                <a:gd name="T27" fmla="*/ 90 h 237"/>
                <a:gd name="T28" fmla="*/ 145 w 161"/>
                <a:gd name="T29" fmla="*/ 78 h 237"/>
                <a:gd name="T30" fmla="*/ 143 w 161"/>
                <a:gd name="T31" fmla="*/ 70 h 237"/>
                <a:gd name="T32" fmla="*/ 135 w 161"/>
                <a:gd name="T33" fmla="*/ 60 h 237"/>
                <a:gd name="T34" fmla="*/ 135 w 161"/>
                <a:gd name="T35" fmla="*/ 60 h 237"/>
                <a:gd name="T36" fmla="*/ 135 w 161"/>
                <a:gd name="T37" fmla="*/ 52 h 237"/>
                <a:gd name="T38" fmla="*/ 128 w 161"/>
                <a:gd name="T39" fmla="*/ 34 h 237"/>
                <a:gd name="T40" fmla="*/ 96 w 161"/>
                <a:gd name="T41" fmla="*/ 28 h 237"/>
                <a:gd name="T42" fmla="*/ 82 w 161"/>
                <a:gd name="T43" fmla="*/ 14 h 237"/>
                <a:gd name="T44" fmla="*/ 70 w 161"/>
                <a:gd name="T45" fmla="*/ 0 h 237"/>
                <a:gd name="T46" fmla="*/ 64 w 161"/>
                <a:gd name="T47" fmla="*/ 8 h 237"/>
                <a:gd name="T48" fmla="*/ 64 w 161"/>
                <a:gd name="T49" fmla="*/ 10 h 237"/>
                <a:gd name="T50" fmla="*/ 64 w 161"/>
                <a:gd name="T51" fmla="*/ 30 h 237"/>
                <a:gd name="T52" fmla="*/ 60 w 161"/>
                <a:gd name="T53" fmla="*/ 44 h 237"/>
                <a:gd name="T54" fmla="*/ 56 w 161"/>
                <a:gd name="T55" fmla="*/ 66 h 237"/>
                <a:gd name="T56" fmla="*/ 68 w 161"/>
                <a:gd name="T57" fmla="*/ 66 h 237"/>
                <a:gd name="T58" fmla="*/ 68 w 161"/>
                <a:gd name="T59" fmla="*/ 86 h 237"/>
                <a:gd name="T60" fmla="*/ 56 w 161"/>
                <a:gd name="T61" fmla="*/ 108 h 237"/>
                <a:gd name="T62" fmla="*/ 62 w 161"/>
                <a:gd name="T63" fmla="*/ 134 h 237"/>
                <a:gd name="T64" fmla="*/ 60 w 161"/>
                <a:gd name="T65" fmla="*/ 155 h 237"/>
                <a:gd name="T66" fmla="*/ 32 w 161"/>
                <a:gd name="T67" fmla="*/ 183 h 237"/>
                <a:gd name="T68" fmla="*/ 10 w 161"/>
                <a:gd name="T69" fmla="*/ 195 h 237"/>
                <a:gd name="T70" fmla="*/ 8 w 161"/>
                <a:gd name="T71" fmla="*/ 211 h 237"/>
                <a:gd name="T72" fmla="*/ 10 w 161"/>
                <a:gd name="T73" fmla="*/ 237 h 237"/>
                <a:gd name="T74" fmla="*/ 24 w 161"/>
                <a:gd name="T75" fmla="*/ 235 h 237"/>
                <a:gd name="T76" fmla="*/ 32 w 161"/>
                <a:gd name="T77" fmla="*/ 229 h 237"/>
                <a:gd name="T78" fmla="*/ 32 w 161"/>
                <a:gd name="T79" fmla="*/ 227 h 237"/>
                <a:gd name="T80" fmla="*/ 46 w 161"/>
                <a:gd name="T81" fmla="*/ 225 h 237"/>
                <a:gd name="T82" fmla="*/ 52 w 161"/>
                <a:gd name="T83" fmla="*/ 225 h 237"/>
                <a:gd name="T84" fmla="*/ 60 w 161"/>
                <a:gd name="T85" fmla="*/ 229 h 237"/>
                <a:gd name="T86" fmla="*/ 68 w 161"/>
                <a:gd name="T87" fmla="*/ 233 h 237"/>
                <a:gd name="T88" fmla="*/ 72 w 161"/>
                <a:gd name="T89" fmla="*/ 229 h 237"/>
                <a:gd name="T90" fmla="*/ 72 w 161"/>
                <a:gd name="T91" fmla="*/ 229 h 237"/>
                <a:gd name="T92" fmla="*/ 78 w 161"/>
                <a:gd name="T93" fmla="*/ 225 h 237"/>
                <a:gd name="T94" fmla="*/ 84 w 161"/>
                <a:gd name="T95" fmla="*/ 223 h 237"/>
                <a:gd name="T96" fmla="*/ 86 w 161"/>
                <a:gd name="T97" fmla="*/ 211 h 237"/>
                <a:gd name="T98" fmla="*/ 86 w 161"/>
                <a:gd name="T99" fmla="*/ 207 h 237"/>
                <a:gd name="T100" fmla="*/ 90 w 161"/>
                <a:gd name="T101" fmla="*/ 197 h 237"/>
                <a:gd name="T102" fmla="*/ 92 w 161"/>
                <a:gd name="T103" fmla="*/ 197 h 237"/>
                <a:gd name="T104" fmla="*/ 98 w 161"/>
                <a:gd name="T105" fmla="*/ 197 h 237"/>
                <a:gd name="T106" fmla="*/ 100 w 161"/>
                <a:gd name="T107" fmla="*/ 197 h 237"/>
                <a:gd name="T108" fmla="*/ 106 w 161"/>
                <a:gd name="T109" fmla="*/ 193 h 237"/>
                <a:gd name="T110" fmla="*/ 116 w 161"/>
                <a:gd name="T111" fmla="*/ 181 h 237"/>
                <a:gd name="T112" fmla="*/ 116 w 161"/>
                <a:gd name="T113" fmla="*/ 181 h 237"/>
                <a:gd name="T114" fmla="*/ 116 w 161"/>
                <a:gd name="T115" fmla="*/ 181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1" h="237">
                  <a:moveTo>
                    <a:pt x="116" y="181"/>
                  </a:moveTo>
                  <a:lnTo>
                    <a:pt x="116" y="181"/>
                  </a:lnTo>
                  <a:lnTo>
                    <a:pt x="122" y="177"/>
                  </a:lnTo>
                  <a:lnTo>
                    <a:pt x="130" y="171"/>
                  </a:lnTo>
                  <a:lnTo>
                    <a:pt x="139" y="165"/>
                  </a:lnTo>
                  <a:lnTo>
                    <a:pt x="139" y="165"/>
                  </a:lnTo>
                  <a:lnTo>
                    <a:pt x="141" y="159"/>
                  </a:lnTo>
                  <a:lnTo>
                    <a:pt x="143" y="151"/>
                  </a:lnTo>
                  <a:lnTo>
                    <a:pt x="143" y="151"/>
                  </a:lnTo>
                  <a:lnTo>
                    <a:pt x="149" y="148"/>
                  </a:lnTo>
                  <a:lnTo>
                    <a:pt x="151" y="148"/>
                  </a:lnTo>
                  <a:lnTo>
                    <a:pt x="155" y="146"/>
                  </a:lnTo>
                  <a:lnTo>
                    <a:pt x="159" y="144"/>
                  </a:lnTo>
                  <a:lnTo>
                    <a:pt x="159" y="144"/>
                  </a:lnTo>
                  <a:lnTo>
                    <a:pt x="161" y="138"/>
                  </a:lnTo>
                  <a:lnTo>
                    <a:pt x="161" y="136"/>
                  </a:lnTo>
                  <a:lnTo>
                    <a:pt x="159" y="134"/>
                  </a:lnTo>
                  <a:lnTo>
                    <a:pt x="157" y="130"/>
                  </a:lnTo>
                  <a:lnTo>
                    <a:pt x="157" y="130"/>
                  </a:lnTo>
                  <a:lnTo>
                    <a:pt x="155" y="126"/>
                  </a:lnTo>
                  <a:lnTo>
                    <a:pt x="153" y="120"/>
                  </a:lnTo>
                  <a:lnTo>
                    <a:pt x="149" y="106"/>
                  </a:lnTo>
                  <a:lnTo>
                    <a:pt x="149" y="106"/>
                  </a:lnTo>
                  <a:lnTo>
                    <a:pt x="149" y="102"/>
                  </a:lnTo>
                  <a:lnTo>
                    <a:pt x="149" y="98"/>
                  </a:lnTo>
                  <a:lnTo>
                    <a:pt x="151" y="92"/>
                  </a:lnTo>
                  <a:lnTo>
                    <a:pt x="149" y="90"/>
                  </a:lnTo>
                  <a:lnTo>
                    <a:pt x="149" y="90"/>
                  </a:lnTo>
                  <a:lnTo>
                    <a:pt x="145" y="84"/>
                  </a:lnTo>
                  <a:lnTo>
                    <a:pt x="145" y="78"/>
                  </a:lnTo>
                  <a:lnTo>
                    <a:pt x="145" y="78"/>
                  </a:lnTo>
                  <a:lnTo>
                    <a:pt x="143" y="70"/>
                  </a:lnTo>
                  <a:lnTo>
                    <a:pt x="141" y="66"/>
                  </a:lnTo>
                  <a:lnTo>
                    <a:pt x="135" y="60"/>
                  </a:lnTo>
                  <a:lnTo>
                    <a:pt x="135" y="60"/>
                  </a:lnTo>
                  <a:lnTo>
                    <a:pt x="135" y="60"/>
                  </a:lnTo>
                  <a:lnTo>
                    <a:pt x="135" y="58"/>
                  </a:lnTo>
                  <a:lnTo>
                    <a:pt x="135" y="52"/>
                  </a:lnTo>
                  <a:lnTo>
                    <a:pt x="137" y="44"/>
                  </a:lnTo>
                  <a:lnTo>
                    <a:pt x="128" y="34"/>
                  </a:lnTo>
                  <a:lnTo>
                    <a:pt x="112" y="28"/>
                  </a:lnTo>
                  <a:lnTo>
                    <a:pt x="96" y="28"/>
                  </a:lnTo>
                  <a:lnTo>
                    <a:pt x="84" y="24"/>
                  </a:lnTo>
                  <a:lnTo>
                    <a:pt x="82" y="14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64" y="6"/>
                  </a:lnTo>
                  <a:lnTo>
                    <a:pt x="64" y="8"/>
                  </a:lnTo>
                  <a:lnTo>
                    <a:pt x="64" y="10"/>
                  </a:lnTo>
                  <a:lnTo>
                    <a:pt x="64" y="10"/>
                  </a:lnTo>
                  <a:lnTo>
                    <a:pt x="64" y="20"/>
                  </a:lnTo>
                  <a:lnTo>
                    <a:pt x="64" y="30"/>
                  </a:lnTo>
                  <a:lnTo>
                    <a:pt x="66" y="38"/>
                  </a:lnTo>
                  <a:lnTo>
                    <a:pt x="60" y="44"/>
                  </a:lnTo>
                  <a:lnTo>
                    <a:pt x="52" y="58"/>
                  </a:lnTo>
                  <a:lnTo>
                    <a:pt x="56" y="66"/>
                  </a:lnTo>
                  <a:lnTo>
                    <a:pt x="64" y="60"/>
                  </a:lnTo>
                  <a:lnTo>
                    <a:pt x="68" y="66"/>
                  </a:lnTo>
                  <a:lnTo>
                    <a:pt x="82" y="66"/>
                  </a:lnTo>
                  <a:lnTo>
                    <a:pt x="68" y="86"/>
                  </a:lnTo>
                  <a:lnTo>
                    <a:pt x="72" y="98"/>
                  </a:lnTo>
                  <a:lnTo>
                    <a:pt x="56" y="108"/>
                  </a:lnTo>
                  <a:lnTo>
                    <a:pt x="54" y="122"/>
                  </a:lnTo>
                  <a:lnTo>
                    <a:pt x="62" y="134"/>
                  </a:lnTo>
                  <a:lnTo>
                    <a:pt x="54" y="148"/>
                  </a:lnTo>
                  <a:lnTo>
                    <a:pt x="60" y="155"/>
                  </a:lnTo>
                  <a:lnTo>
                    <a:pt x="38" y="181"/>
                  </a:lnTo>
                  <a:lnTo>
                    <a:pt x="32" y="183"/>
                  </a:lnTo>
                  <a:lnTo>
                    <a:pt x="22" y="189"/>
                  </a:lnTo>
                  <a:lnTo>
                    <a:pt x="10" y="195"/>
                  </a:lnTo>
                  <a:lnTo>
                    <a:pt x="4" y="207"/>
                  </a:lnTo>
                  <a:lnTo>
                    <a:pt x="8" y="211"/>
                  </a:lnTo>
                  <a:lnTo>
                    <a:pt x="0" y="223"/>
                  </a:lnTo>
                  <a:lnTo>
                    <a:pt x="10" y="237"/>
                  </a:lnTo>
                  <a:lnTo>
                    <a:pt x="20" y="235"/>
                  </a:lnTo>
                  <a:lnTo>
                    <a:pt x="24" y="235"/>
                  </a:lnTo>
                  <a:lnTo>
                    <a:pt x="32" y="227"/>
                  </a:lnTo>
                  <a:lnTo>
                    <a:pt x="32" y="229"/>
                  </a:lnTo>
                  <a:lnTo>
                    <a:pt x="32" y="227"/>
                  </a:lnTo>
                  <a:lnTo>
                    <a:pt x="32" y="227"/>
                  </a:lnTo>
                  <a:lnTo>
                    <a:pt x="46" y="225"/>
                  </a:lnTo>
                  <a:lnTo>
                    <a:pt x="46" y="225"/>
                  </a:lnTo>
                  <a:lnTo>
                    <a:pt x="50" y="225"/>
                  </a:lnTo>
                  <a:lnTo>
                    <a:pt x="52" y="225"/>
                  </a:lnTo>
                  <a:lnTo>
                    <a:pt x="60" y="229"/>
                  </a:lnTo>
                  <a:lnTo>
                    <a:pt x="60" y="229"/>
                  </a:lnTo>
                  <a:lnTo>
                    <a:pt x="66" y="233"/>
                  </a:lnTo>
                  <a:lnTo>
                    <a:pt x="68" y="233"/>
                  </a:lnTo>
                  <a:lnTo>
                    <a:pt x="72" y="229"/>
                  </a:lnTo>
                  <a:lnTo>
                    <a:pt x="72" y="229"/>
                  </a:lnTo>
                  <a:lnTo>
                    <a:pt x="72" y="229"/>
                  </a:lnTo>
                  <a:lnTo>
                    <a:pt x="72" y="229"/>
                  </a:lnTo>
                  <a:lnTo>
                    <a:pt x="74" y="227"/>
                  </a:lnTo>
                  <a:lnTo>
                    <a:pt x="78" y="225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19"/>
                  </a:lnTo>
                  <a:lnTo>
                    <a:pt x="86" y="211"/>
                  </a:lnTo>
                  <a:lnTo>
                    <a:pt x="86" y="211"/>
                  </a:lnTo>
                  <a:lnTo>
                    <a:pt x="86" y="207"/>
                  </a:lnTo>
                  <a:lnTo>
                    <a:pt x="88" y="205"/>
                  </a:lnTo>
                  <a:lnTo>
                    <a:pt x="90" y="197"/>
                  </a:lnTo>
                  <a:lnTo>
                    <a:pt x="90" y="197"/>
                  </a:lnTo>
                  <a:lnTo>
                    <a:pt x="92" y="197"/>
                  </a:lnTo>
                  <a:lnTo>
                    <a:pt x="94" y="197"/>
                  </a:lnTo>
                  <a:lnTo>
                    <a:pt x="98" y="197"/>
                  </a:lnTo>
                  <a:lnTo>
                    <a:pt x="100" y="197"/>
                  </a:lnTo>
                  <a:lnTo>
                    <a:pt x="100" y="197"/>
                  </a:lnTo>
                  <a:lnTo>
                    <a:pt x="106" y="193"/>
                  </a:lnTo>
                  <a:lnTo>
                    <a:pt x="106" y="193"/>
                  </a:lnTo>
                  <a:lnTo>
                    <a:pt x="110" y="189"/>
                  </a:lnTo>
                  <a:lnTo>
                    <a:pt x="116" y="181"/>
                  </a:lnTo>
                  <a:lnTo>
                    <a:pt x="116" y="181"/>
                  </a:lnTo>
                  <a:lnTo>
                    <a:pt x="116" y="181"/>
                  </a:lnTo>
                  <a:lnTo>
                    <a:pt x="116" y="181"/>
                  </a:lnTo>
                  <a:lnTo>
                    <a:pt x="116" y="181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06" name="Freeform 65"/>
            <p:cNvSpPr>
              <a:spLocks/>
            </p:cNvSpPr>
            <p:nvPr/>
          </p:nvSpPr>
          <p:spPr bwMode="auto">
            <a:xfrm>
              <a:off x="3716" y="2717"/>
              <a:ext cx="20" cy="24"/>
            </a:xfrm>
            <a:custGeom>
              <a:avLst/>
              <a:gdLst>
                <a:gd name="T0" fmla="*/ 0 w 20"/>
                <a:gd name="T1" fmla="*/ 0 h 24"/>
                <a:gd name="T2" fmla="*/ 0 w 20"/>
                <a:gd name="T3" fmla="*/ 0 h 24"/>
                <a:gd name="T4" fmla="*/ 4 w 20"/>
                <a:gd name="T5" fmla="*/ 12 h 24"/>
                <a:gd name="T6" fmla="*/ 10 w 20"/>
                <a:gd name="T7" fmla="*/ 16 h 24"/>
                <a:gd name="T8" fmla="*/ 10 w 20"/>
                <a:gd name="T9" fmla="*/ 16 h 24"/>
                <a:gd name="T10" fmla="*/ 20 w 20"/>
                <a:gd name="T11" fmla="*/ 24 h 24"/>
                <a:gd name="T12" fmla="*/ 20 w 20"/>
                <a:gd name="T13" fmla="*/ 24 h 24"/>
                <a:gd name="T14" fmla="*/ 20 w 20"/>
                <a:gd name="T15" fmla="*/ 24 h 24"/>
                <a:gd name="T16" fmla="*/ 12 w 20"/>
                <a:gd name="T17" fmla="*/ 2 h 24"/>
                <a:gd name="T18" fmla="*/ 0 w 20"/>
                <a:gd name="T19" fmla="*/ 0 h 24"/>
                <a:gd name="T20" fmla="*/ 0 w 20"/>
                <a:gd name="T21" fmla="*/ 0 h 24"/>
                <a:gd name="T22" fmla="*/ 0 w 20"/>
                <a:gd name="T23" fmla="*/ 0 h 24"/>
                <a:gd name="T24" fmla="*/ 0 w 20"/>
                <a:gd name="T2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0" y="0"/>
                  </a:lnTo>
                  <a:lnTo>
                    <a:pt x="4" y="12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2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07" name="Freeform 66"/>
            <p:cNvSpPr>
              <a:spLocks/>
            </p:cNvSpPr>
            <p:nvPr/>
          </p:nvSpPr>
          <p:spPr bwMode="auto">
            <a:xfrm>
              <a:off x="3690" y="2675"/>
              <a:ext cx="26" cy="42"/>
            </a:xfrm>
            <a:custGeom>
              <a:avLst/>
              <a:gdLst>
                <a:gd name="T0" fmla="*/ 20 w 26"/>
                <a:gd name="T1" fmla="*/ 34 h 42"/>
                <a:gd name="T2" fmla="*/ 20 w 26"/>
                <a:gd name="T3" fmla="*/ 34 h 42"/>
                <a:gd name="T4" fmla="*/ 18 w 26"/>
                <a:gd name="T5" fmla="*/ 36 h 42"/>
                <a:gd name="T6" fmla="*/ 18 w 26"/>
                <a:gd name="T7" fmla="*/ 34 h 42"/>
                <a:gd name="T8" fmla="*/ 16 w 26"/>
                <a:gd name="T9" fmla="*/ 32 h 42"/>
                <a:gd name="T10" fmla="*/ 14 w 26"/>
                <a:gd name="T11" fmla="*/ 32 h 42"/>
                <a:gd name="T12" fmla="*/ 14 w 26"/>
                <a:gd name="T13" fmla="*/ 32 h 42"/>
                <a:gd name="T14" fmla="*/ 14 w 26"/>
                <a:gd name="T15" fmla="*/ 28 h 42"/>
                <a:gd name="T16" fmla="*/ 12 w 26"/>
                <a:gd name="T17" fmla="*/ 26 h 42"/>
                <a:gd name="T18" fmla="*/ 8 w 26"/>
                <a:gd name="T19" fmla="*/ 24 h 42"/>
                <a:gd name="T20" fmla="*/ 6 w 26"/>
                <a:gd name="T21" fmla="*/ 22 h 42"/>
                <a:gd name="T22" fmla="*/ 6 w 26"/>
                <a:gd name="T23" fmla="*/ 22 h 42"/>
                <a:gd name="T24" fmla="*/ 4 w 26"/>
                <a:gd name="T25" fmla="*/ 12 h 42"/>
                <a:gd name="T26" fmla="*/ 2 w 26"/>
                <a:gd name="T27" fmla="*/ 0 h 42"/>
                <a:gd name="T28" fmla="*/ 2 w 26"/>
                <a:gd name="T29" fmla="*/ 0 h 42"/>
                <a:gd name="T30" fmla="*/ 0 w 26"/>
                <a:gd name="T31" fmla="*/ 0 h 42"/>
                <a:gd name="T32" fmla="*/ 0 w 26"/>
                <a:gd name="T33" fmla="*/ 0 h 42"/>
                <a:gd name="T34" fmla="*/ 4 w 26"/>
                <a:gd name="T35" fmla="*/ 38 h 42"/>
                <a:gd name="T36" fmla="*/ 26 w 26"/>
                <a:gd name="T37" fmla="*/ 42 h 42"/>
                <a:gd name="T38" fmla="*/ 26 w 26"/>
                <a:gd name="T39" fmla="*/ 42 h 42"/>
                <a:gd name="T40" fmla="*/ 24 w 26"/>
                <a:gd name="T41" fmla="*/ 38 h 42"/>
                <a:gd name="T42" fmla="*/ 24 w 26"/>
                <a:gd name="T43" fmla="*/ 38 h 42"/>
                <a:gd name="T44" fmla="*/ 20 w 26"/>
                <a:gd name="T45" fmla="*/ 34 h 42"/>
                <a:gd name="T46" fmla="*/ 20 w 26"/>
                <a:gd name="T47" fmla="*/ 32 h 42"/>
                <a:gd name="T48" fmla="*/ 20 w 26"/>
                <a:gd name="T49" fmla="*/ 34 h 42"/>
                <a:gd name="T50" fmla="*/ 20 w 26"/>
                <a:gd name="T51" fmla="*/ 34 h 42"/>
                <a:gd name="T52" fmla="*/ 20 w 26"/>
                <a:gd name="T53" fmla="*/ 34 h 42"/>
                <a:gd name="T54" fmla="*/ 20 w 26"/>
                <a:gd name="T55" fmla="*/ 34 h 42"/>
                <a:gd name="T56" fmla="*/ 20 w 26"/>
                <a:gd name="T57" fmla="*/ 34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6" h="42">
                  <a:moveTo>
                    <a:pt x="20" y="34"/>
                  </a:moveTo>
                  <a:lnTo>
                    <a:pt x="20" y="34"/>
                  </a:lnTo>
                  <a:lnTo>
                    <a:pt x="18" y="36"/>
                  </a:lnTo>
                  <a:lnTo>
                    <a:pt x="18" y="34"/>
                  </a:lnTo>
                  <a:lnTo>
                    <a:pt x="16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28"/>
                  </a:lnTo>
                  <a:lnTo>
                    <a:pt x="12" y="26"/>
                  </a:lnTo>
                  <a:lnTo>
                    <a:pt x="8" y="24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4" y="12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38"/>
                  </a:lnTo>
                  <a:lnTo>
                    <a:pt x="26" y="42"/>
                  </a:lnTo>
                  <a:lnTo>
                    <a:pt x="26" y="42"/>
                  </a:lnTo>
                  <a:lnTo>
                    <a:pt x="24" y="38"/>
                  </a:lnTo>
                  <a:lnTo>
                    <a:pt x="24" y="38"/>
                  </a:lnTo>
                  <a:lnTo>
                    <a:pt x="20" y="34"/>
                  </a:lnTo>
                  <a:lnTo>
                    <a:pt x="20" y="32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08" name="Freeform 67"/>
            <p:cNvSpPr>
              <a:spLocks/>
            </p:cNvSpPr>
            <p:nvPr/>
          </p:nvSpPr>
          <p:spPr bwMode="auto">
            <a:xfrm>
              <a:off x="2119" y="2548"/>
              <a:ext cx="223" cy="314"/>
            </a:xfrm>
            <a:custGeom>
              <a:avLst/>
              <a:gdLst>
                <a:gd name="T0" fmla="*/ 158 w 223"/>
                <a:gd name="T1" fmla="*/ 217 h 314"/>
                <a:gd name="T2" fmla="*/ 204 w 223"/>
                <a:gd name="T3" fmla="*/ 189 h 314"/>
                <a:gd name="T4" fmla="*/ 210 w 223"/>
                <a:gd name="T5" fmla="*/ 163 h 314"/>
                <a:gd name="T6" fmla="*/ 215 w 223"/>
                <a:gd name="T7" fmla="*/ 101 h 314"/>
                <a:gd name="T8" fmla="*/ 215 w 223"/>
                <a:gd name="T9" fmla="*/ 57 h 314"/>
                <a:gd name="T10" fmla="*/ 168 w 223"/>
                <a:gd name="T11" fmla="*/ 51 h 314"/>
                <a:gd name="T12" fmla="*/ 122 w 223"/>
                <a:gd name="T13" fmla="*/ 35 h 314"/>
                <a:gd name="T14" fmla="*/ 68 w 223"/>
                <a:gd name="T15" fmla="*/ 31 h 314"/>
                <a:gd name="T16" fmla="*/ 60 w 223"/>
                <a:gd name="T17" fmla="*/ 57 h 314"/>
                <a:gd name="T18" fmla="*/ 66 w 223"/>
                <a:gd name="T19" fmla="*/ 67 h 314"/>
                <a:gd name="T20" fmla="*/ 76 w 223"/>
                <a:gd name="T21" fmla="*/ 61 h 314"/>
                <a:gd name="T22" fmla="*/ 80 w 223"/>
                <a:gd name="T23" fmla="*/ 103 h 314"/>
                <a:gd name="T24" fmla="*/ 78 w 223"/>
                <a:gd name="T25" fmla="*/ 105 h 314"/>
                <a:gd name="T26" fmla="*/ 60 w 223"/>
                <a:gd name="T27" fmla="*/ 101 h 314"/>
                <a:gd name="T28" fmla="*/ 56 w 223"/>
                <a:gd name="T29" fmla="*/ 107 h 314"/>
                <a:gd name="T30" fmla="*/ 48 w 223"/>
                <a:gd name="T31" fmla="*/ 113 h 314"/>
                <a:gd name="T32" fmla="*/ 38 w 223"/>
                <a:gd name="T33" fmla="*/ 135 h 314"/>
                <a:gd name="T34" fmla="*/ 20 w 223"/>
                <a:gd name="T35" fmla="*/ 155 h 314"/>
                <a:gd name="T36" fmla="*/ 8 w 223"/>
                <a:gd name="T37" fmla="*/ 167 h 314"/>
                <a:gd name="T38" fmla="*/ 18 w 223"/>
                <a:gd name="T39" fmla="*/ 173 h 314"/>
                <a:gd name="T40" fmla="*/ 14 w 223"/>
                <a:gd name="T41" fmla="*/ 199 h 314"/>
                <a:gd name="T42" fmla="*/ 18 w 223"/>
                <a:gd name="T43" fmla="*/ 209 h 314"/>
                <a:gd name="T44" fmla="*/ 14 w 223"/>
                <a:gd name="T45" fmla="*/ 215 h 314"/>
                <a:gd name="T46" fmla="*/ 10 w 223"/>
                <a:gd name="T47" fmla="*/ 227 h 314"/>
                <a:gd name="T48" fmla="*/ 0 w 223"/>
                <a:gd name="T49" fmla="*/ 227 h 314"/>
                <a:gd name="T50" fmla="*/ 0 w 223"/>
                <a:gd name="T51" fmla="*/ 235 h 314"/>
                <a:gd name="T52" fmla="*/ 12 w 223"/>
                <a:gd name="T53" fmla="*/ 237 h 314"/>
                <a:gd name="T54" fmla="*/ 18 w 223"/>
                <a:gd name="T55" fmla="*/ 245 h 314"/>
                <a:gd name="T56" fmla="*/ 22 w 223"/>
                <a:gd name="T57" fmla="*/ 241 h 314"/>
                <a:gd name="T58" fmla="*/ 30 w 223"/>
                <a:gd name="T59" fmla="*/ 243 h 314"/>
                <a:gd name="T60" fmla="*/ 32 w 223"/>
                <a:gd name="T61" fmla="*/ 237 h 314"/>
                <a:gd name="T62" fmla="*/ 36 w 223"/>
                <a:gd name="T63" fmla="*/ 237 h 314"/>
                <a:gd name="T64" fmla="*/ 38 w 223"/>
                <a:gd name="T65" fmla="*/ 258 h 314"/>
                <a:gd name="T66" fmla="*/ 36 w 223"/>
                <a:gd name="T67" fmla="*/ 264 h 314"/>
                <a:gd name="T68" fmla="*/ 48 w 223"/>
                <a:gd name="T69" fmla="*/ 262 h 314"/>
                <a:gd name="T70" fmla="*/ 48 w 223"/>
                <a:gd name="T71" fmla="*/ 258 h 314"/>
                <a:gd name="T72" fmla="*/ 62 w 223"/>
                <a:gd name="T73" fmla="*/ 274 h 314"/>
                <a:gd name="T74" fmla="*/ 76 w 223"/>
                <a:gd name="T75" fmla="*/ 272 h 314"/>
                <a:gd name="T76" fmla="*/ 82 w 223"/>
                <a:gd name="T77" fmla="*/ 274 h 314"/>
                <a:gd name="T78" fmla="*/ 64 w 223"/>
                <a:gd name="T79" fmla="*/ 284 h 314"/>
                <a:gd name="T80" fmla="*/ 54 w 223"/>
                <a:gd name="T81" fmla="*/ 296 h 314"/>
                <a:gd name="T82" fmla="*/ 60 w 223"/>
                <a:gd name="T83" fmla="*/ 300 h 314"/>
                <a:gd name="T84" fmla="*/ 78 w 223"/>
                <a:gd name="T85" fmla="*/ 300 h 314"/>
                <a:gd name="T86" fmla="*/ 86 w 223"/>
                <a:gd name="T87" fmla="*/ 314 h 314"/>
                <a:gd name="T88" fmla="*/ 100 w 223"/>
                <a:gd name="T89" fmla="*/ 306 h 314"/>
                <a:gd name="T90" fmla="*/ 124 w 223"/>
                <a:gd name="T91" fmla="*/ 302 h 314"/>
                <a:gd name="T92" fmla="*/ 138 w 223"/>
                <a:gd name="T93" fmla="*/ 296 h 314"/>
                <a:gd name="T94" fmla="*/ 156 w 223"/>
                <a:gd name="T95" fmla="*/ 264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23" h="314">
                  <a:moveTo>
                    <a:pt x="156" y="264"/>
                  </a:moveTo>
                  <a:lnTo>
                    <a:pt x="150" y="243"/>
                  </a:lnTo>
                  <a:lnTo>
                    <a:pt x="150" y="229"/>
                  </a:lnTo>
                  <a:lnTo>
                    <a:pt x="158" y="217"/>
                  </a:lnTo>
                  <a:lnTo>
                    <a:pt x="160" y="201"/>
                  </a:lnTo>
                  <a:lnTo>
                    <a:pt x="170" y="195"/>
                  </a:lnTo>
                  <a:lnTo>
                    <a:pt x="184" y="189"/>
                  </a:lnTo>
                  <a:lnTo>
                    <a:pt x="204" y="189"/>
                  </a:lnTo>
                  <a:lnTo>
                    <a:pt x="202" y="183"/>
                  </a:lnTo>
                  <a:lnTo>
                    <a:pt x="204" y="171"/>
                  </a:lnTo>
                  <a:lnTo>
                    <a:pt x="192" y="165"/>
                  </a:lnTo>
                  <a:lnTo>
                    <a:pt x="210" y="163"/>
                  </a:lnTo>
                  <a:lnTo>
                    <a:pt x="219" y="149"/>
                  </a:lnTo>
                  <a:lnTo>
                    <a:pt x="223" y="129"/>
                  </a:lnTo>
                  <a:lnTo>
                    <a:pt x="219" y="113"/>
                  </a:lnTo>
                  <a:lnTo>
                    <a:pt x="215" y="101"/>
                  </a:lnTo>
                  <a:lnTo>
                    <a:pt x="219" y="83"/>
                  </a:lnTo>
                  <a:lnTo>
                    <a:pt x="210" y="71"/>
                  </a:lnTo>
                  <a:lnTo>
                    <a:pt x="217" y="67"/>
                  </a:lnTo>
                  <a:lnTo>
                    <a:pt x="215" y="57"/>
                  </a:lnTo>
                  <a:lnTo>
                    <a:pt x="223" y="57"/>
                  </a:lnTo>
                  <a:lnTo>
                    <a:pt x="221" y="47"/>
                  </a:lnTo>
                  <a:lnTo>
                    <a:pt x="184" y="59"/>
                  </a:lnTo>
                  <a:lnTo>
                    <a:pt x="168" y="51"/>
                  </a:lnTo>
                  <a:lnTo>
                    <a:pt x="152" y="47"/>
                  </a:lnTo>
                  <a:lnTo>
                    <a:pt x="148" y="53"/>
                  </a:lnTo>
                  <a:lnTo>
                    <a:pt x="134" y="47"/>
                  </a:lnTo>
                  <a:lnTo>
                    <a:pt x="122" y="35"/>
                  </a:lnTo>
                  <a:lnTo>
                    <a:pt x="104" y="29"/>
                  </a:lnTo>
                  <a:lnTo>
                    <a:pt x="108" y="8"/>
                  </a:lnTo>
                  <a:lnTo>
                    <a:pt x="102" y="0"/>
                  </a:lnTo>
                  <a:lnTo>
                    <a:pt x="68" y="31"/>
                  </a:lnTo>
                  <a:lnTo>
                    <a:pt x="70" y="47"/>
                  </a:lnTo>
                  <a:lnTo>
                    <a:pt x="58" y="53"/>
                  </a:lnTo>
                  <a:lnTo>
                    <a:pt x="58" y="53"/>
                  </a:lnTo>
                  <a:lnTo>
                    <a:pt x="60" y="57"/>
                  </a:lnTo>
                  <a:lnTo>
                    <a:pt x="64" y="67"/>
                  </a:lnTo>
                  <a:lnTo>
                    <a:pt x="64" y="67"/>
                  </a:lnTo>
                  <a:lnTo>
                    <a:pt x="64" y="67"/>
                  </a:lnTo>
                  <a:lnTo>
                    <a:pt x="66" y="67"/>
                  </a:lnTo>
                  <a:lnTo>
                    <a:pt x="70" y="61"/>
                  </a:lnTo>
                  <a:lnTo>
                    <a:pt x="72" y="61"/>
                  </a:lnTo>
                  <a:lnTo>
                    <a:pt x="72" y="61"/>
                  </a:lnTo>
                  <a:lnTo>
                    <a:pt x="76" y="61"/>
                  </a:lnTo>
                  <a:lnTo>
                    <a:pt x="78" y="67"/>
                  </a:lnTo>
                  <a:lnTo>
                    <a:pt x="80" y="79"/>
                  </a:lnTo>
                  <a:lnTo>
                    <a:pt x="80" y="93"/>
                  </a:lnTo>
                  <a:lnTo>
                    <a:pt x="80" y="103"/>
                  </a:lnTo>
                  <a:lnTo>
                    <a:pt x="80" y="103"/>
                  </a:lnTo>
                  <a:lnTo>
                    <a:pt x="80" y="103"/>
                  </a:lnTo>
                  <a:lnTo>
                    <a:pt x="78" y="105"/>
                  </a:lnTo>
                  <a:lnTo>
                    <a:pt x="78" y="105"/>
                  </a:lnTo>
                  <a:lnTo>
                    <a:pt x="70" y="103"/>
                  </a:lnTo>
                  <a:lnTo>
                    <a:pt x="64" y="103"/>
                  </a:lnTo>
                  <a:lnTo>
                    <a:pt x="60" y="101"/>
                  </a:lnTo>
                  <a:lnTo>
                    <a:pt x="60" y="101"/>
                  </a:lnTo>
                  <a:lnTo>
                    <a:pt x="58" y="101"/>
                  </a:lnTo>
                  <a:lnTo>
                    <a:pt x="58" y="101"/>
                  </a:lnTo>
                  <a:lnTo>
                    <a:pt x="58" y="103"/>
                  </a:lnTo>
                  <a:lnTo>
                    <a:pt x="56" y="107"/>
                  </a:lnTo>
                  <a:lnTo>
                    <a:pt x="56" y="109"/>
                  </a:lnTo>
                  <a:lnTo>
                    <a:pt x="50" y="109"/>
                  </a:lnTo>
                  <a:lnTo>
                    <a:pt x="50" y="109"/>
                  </a:lnTo>
                  <a:lnTo>
                    <a:pt x="48" y="113"/>
                  </a:lnTo>
                  <a:lnTo>
                    <a:pt x="46" y="113"/>
                  </a:lnTo>
                  <a:lnTo>
                    <a:pt x="44" y="117"/>
                  </a:lnTo>
                  <a:lnTo>
                    <a:pt x="40" y="123"/>
                  </a:lnTo>
                  <a:lnTo>
                    <a:pt x="38" y="135"/>
                  </a:lnTo>
                  <a:lnTo>
                    <a:pt x="26" y="137"/>
                  </a:lnTo>
                  <a:lnTo>
                    <a:pt x="20" y="147"/>
                  </a:lnTo>
                  <a:lnTo>
                    <a:pt x="22" y="153"/>
                  </a:lnTo>
                  <a:lnTo>
                    <a:pt x="20" y="155"/>
                  </a:lnTo>
                  <a:lnTo>
                    <a:pt x="16" y="155"/>
                  </a:lnTo>
                  <a:lnTo>
                    <a:pt x="12" y="165"/>
                  </a:lnTo>
                  <a:lnTo>
                    <a:pt x="8" y="167"/>
                  </a:lnTo>
                  <a:lnTo>
                    <a:pt x="8" y="167"/>
                  </a:lnTo>
                  <a:lnTo>
                    <a:pt x="14" y="169"/>
                  </a:lnTo>
                  <a:lnTo>
                    <a:pt x="16" y="169"/>
                  </a:lnTo>
                  <a:lnTo>
                    <a:pt x="18" y="173"/>
                  </a:lnTo>
                  <a:lnTo>
                    <a:pt x="18" y="173"/>
                  </a:lnTo>
                  <a:lnTo>
                    <a:pt x="18" y="177"/>
                  </a:lnTo>
                  <a:lnTo>
                    <a:pt x="18" y="181"/>
                  </a:lnTo>
                  <a:lnTo>
                    <a:pt x="16" y="191"/>
                  </a:lnTo>
                  <a:lnTo>
                    <a:pt x="14" y="199"/>
                  </a:lnTo>
                  <a:lnTo>
                    <a:pt x="12" y="201"/>
                  </a:lnTo>
                  <a:lnTo>
                    <a:pt x="14" y="207"/>
                  </a:lnTo>
                  <a:lnTo>
                    <a:pt x="14" y="207"/>
                  </a:lnTo>
                  <a:lnTo>
                    <a:pt x="18" y="209"/>
                  </a:lnTo>
                  <a:lnTo>
                    <a:pt x="18" y="211"/>
                  </a:lnTo>
                  <a:lnTo>
                    <a:pt x="16" y="211"/>
                  </a:lnTo>
                  <a:lnTo>
                    <a:pt x="16" y="211"/>
                  </a:lnTo>
                  <a:lnTo>
                    <a:pt x="14" y="215"/>
                  </a:lnTo>
                  <a:lnTo>
                    <a:pt x="12" y="217"/>
                  </a:lnTo>
                  <a:lnTo>
                    <a:pt x="12" y="221"/>
                  </a:lnTo>
                  <a:lnTo>
                    <a:pt x="10" y="227"/>
                  </a:lnTo>
                  <a:lnTo>
                    <a:pt x="10" y="227"/>
                  </a:lnTo>
                  <a:lnTo>
                    <a:pt x="8" y="227"/>
                  </a:lnTo>
                  <a:lnTo>
                    <a:pt x="4" y="223"/>
                  </a:lnTo>
                  <a:lnTo>
                    <a:pt x="0" y="223"/>
                  </a:lnTo>
                  <a:lnTo>
                    <a:pt x="0" y="227"/>
                  </a:lnTo>
                  <a:lnTo>
                    <a:pt x="0" y="227"/>
                  </a:lnTo>
                  <a:lnTo>
                    <a:pt x="0" y="229"/>
                  </a:lnTo>
                  <a:lnTo>
                    <a:pt x="0" y="233"/>
                  </a:lnTo>
                  <a:lnTo>
                    <a:pt x="0" y="235"/>
                  </a:lnTo>
                  <a:lnTo>
                    <a:pt x="0" y="237"/>
                  </a:lnTo>
                  <a:lnTo>
                    <a:pt x="0" y="237"/>
                  </a:lnTo>
                  <a:lnTo>
                    <a:pt x="10" y="237"/>
                  </a:lnTo>
                  <a:lnTo>
                    <a:pt x="12" y="237"/>
                  </a:lnTo>
                  <a:lnTo>
                    <a:pt x="14" y="239"/>
                  </a:lnTo>
                  <a:lnTo>
                    <a:pt x="14" y="239"/>
                  </a:lnTo>
                  <a:lnTo>
                    <a:pt x="16" y="245"/>
                  </a:lnTo>
                  <a:lnTo>
                    <a:pt x="18" y="245"/>
                  </a:lnTo>
                  <a:lnTo>
                    <a:pt x="18" y="243"/>
                  </a:lnTo>
                  <a:lnTo>
                    <a:pt x="18" y="243"/>
                  </a:lnTo>
                  <a:lnTo>
                    <a:pt x="22" y="241"/>
                  </a:lnTo>
                  <a:lnTo>
                    <a:pt x="22" y="241"/>
                  </a:lnTo>
                  <a:lnTo>
                    <a:pt x="26" y="241"/>
                  </a:lnTo>
                  <a:lnTo>
                    <a:pt x="26" y="243"/>
                  </a:lnTo>
                  <a:lnTo>
                    <a:pt x="26" y="243"/>
                  </a:lnTo>
                  <a:lnTo>
                    <a:pt x="30" y="243"/>
                  </a:lnTo>
                  <a:lnTo>
                    <a:pt x="30" y="243"/>
                  </a:lnTo>
                  <a:lnTo>
                    <a:pt x="32" y="241"/>
                  </a:lnTo>
                  <a:lnTo>
                    <a:pt x="32" y="237"/>
                  </a:lnTo>
                  <a:lnTo>
                    <a:pt x="32" y="237"/>
                  </a:lnTo>
                  <a:lnTo>
                    <a:pt x="34" y="235"/>
                  </a:lnTo>
                  <a:lnTo>
                    <a:pt x="34" y="235"/>
                  </a:lnTo>
                  <a:lnTo>
                    <a:pt x="36" y="237"/>
                  </a:lnTo>
                  <a:lnTo>
                    <a:pt x="36" y="237"/>
                  </a:lnTo>
                  <a:lnTo>
                    <a:pt x="36" y="241"/>
                  </a:lnTo>
                  <a:lnTo>
                    <a:pt x="40" y="254"/>
                  </a:lnTo>
                  <a:lnTo>
                    <a:pt x="40" y="254"/>
                  </a:lnTo>
                  <a:lnTo>
                    <a:pt x="38" y="258"/>
                  </a:lnTo>
                  <a:lnTo>
                    <a:pt x="36" y="262"/>
                  </a:lnTo>
                  <a:lnTo>
                    <a:pt x="36" y="264"/>
                  </a:lnTo>
                  <a:lnTo>
                    <a:pt x="36" y="264"/>
                  </a:lnTo>
                  <a:lnTo>
                    <a:pt x="36" y="264"/>
                  </a:lnTo>
                  <a:lnTo>
                    <a:pt x="40" y="264"/>
                  </a:lnTo>
                  <a:lnTo>
                    <a:pt x="44" y="264"/>
                  </a:lnTo>
                  <a:lnTo>
                    <a:pt x="48" y="264"/>
                  </a:lnTo>
                  <a:lnTo>
                    <a:pt x="48" y="262"/>
                  </a:lnTo>
                  <a:lnTo>
                    <a:pt x="48" y="262"/>
                  </a:lnTo>
                  <a:lnTo>
                    <a:pt x="44" y="256"/>
                  </a:lnTo>
                  <a:lnTo>
                    <a:pt x="46" y="254"/>
                  </a:lnTo>
                  <a:lnTo>
                    <a:pt x="48" y="258"/>
                  </a:lnTo>
                  <a:lnTo>
                    <a:pt x="48" y="258"/>
                  </a:lnTo>
                  <a:lnTo>
                    <a:pt x="54" y="262"/>
                  </a:lnTo>
                  <a:lnTo>
                    <a:pt x="58" y="268"/>
                  </a:lnTo>
                  <a:lnTo>
                    <a:pt x="62" y="274"/>
                  </a:lnTo>
                  <a:lnTo>
                    <a:pt x="62" y="276"/>
                  </a:lnTo>
                  <a:lnTo>
                    <a:pt x="66" y="276"/>
                  </a:lnTo>
                  <a:lnTo>
                    <a:pt x="66" y="276"/>
                  </a:lnTo>
                  <a:lnTo>
                    <a:pt x="76" y="272"/>
                  </a:lnTo>
                  <a:lnTo>
                    <a:pt x="80" y="272"/>
                  </a:lnTo>
                  <a:lnTo>
                    <a:pt x="82" y="272"/>
                  </a:lnTo>
                  <a:lnTo>
                    <a:pt x="82" y="274"/>
                  </a:lnTo>
                  <a:lnTo>
                    <a:pt x="82" y="274"/>
                  </a:lnTo>
                  <a:lnTo>
                    <a:pt x="78" y="278"/>
                  </a:lnTo>
                  <a:lnTo>
                    <a:pt x="72" y="280"/>
                  </a:lnTo>
                  <a:lnTo>
                    <a:pt x="64" y="284"/>
                  </a:lnTo>
                  <a:lnTo>
                    <a:pt x="64" y="284"/>
                  </a:lnTo>
                  <a:lnTo>
                    <a:pt x="60" y="286"/>
                  </a:lnTo>
                  <a:lnTo>
                    <a:pt x="58" y="290"/>
                  </a:lnTo>
                  <a:lnTo>
                    <a:pt x="54" y="296"/>
                  </a:lnTo>
                  <a:lnTo>
                    <a:pt x="54" y="296"/>
                  </a:lnTo>
                  <a:lnTo>
                    <a:pt x="56" y="300"/>
                  </a:lnTo>
                  <a:lnTo>
                    <a:pt x="56" y="300"/>
                  </a:lnTo>
                  <a:lnTo>
                    <a:pt x="58" y="300"/>
                  </a:lnTo>
                  <a:lnTo>
                    <a:pt x="60" y="300"/>
                  </a:lnTo>
                  <a:lnTo>
                    <a:pt x="64" y="300"/>
                  </a:lnTo>
                  <a:lnTo>
                    <a:pt x="70" y="298"/>
                  </a:lnTo>
                  <a:lnTo>
                    <a:pt x="72" y="300"/>
                  </a:lnTo>
                  <a:lnTo>
                    <a:pt x="78" y="300"/>
                  </a:lnTo>
                  <a:lnTo>
                    <a:pt x="78" y="300"/>
                  </a:lnTo>
                  <a:lnTo>
                    <a:pt x="80" y="304"/>
                  </a:lnTo>
                  <a:lnTo>
                    <a:pt x="82" y="310"/>
                  </a:lnTo>
                  <a:lnTo>
                    <a:pt x="86" y="314"/>
                  </a:lnTo>
                  <a:lnTo>
                    <a:pt x="86" y="314"/>
                  </a:lnTo>
                  <a:lnTo>
                    <a:pt x="88" y="312"/>
                  </a:lnTo>
                  <a:lnTo>
                    <a:pt x="88" y="312"/>
                  </a:lnTo>
                  <a:lnTo>
                    <a:pt x="100" y="306"/>
                  </a:lnTo>
                  <a:lnTo>
                    <a:pt x="104" y="304"/>
                  </a:lnTo>
                  <a:lnTo>
                    <a:pt x="112" y="302"/>
                  </a:lnTo>
                  <a:lnTo>
                    <a:pt x="112" y="302"/>
                  </a:lnTo>
                  <a:lnTo>
                    <a:pt x="124" y="302"/>
                  </a:lnTo>
                  <a:lnTo>
                    <a:pt x="130" y="300"/>
                  </a:lnTo>
                  <a:lnTo>
                    <a:pt x="134" y="300"/>
                  </a:lnTo>
                  <a:lnTo>
                    <a:pt x="134" y="300"/>
                  </a:lnTo>
                  <a:lnTo>
                    <a:pt x="138" y="296"/>
                  </a:lnTo>
                  <a:lnTo>
                    <a:pt x="140" y="296"/>
                  </a:lnTo>
                  <a:lnTo>
                    <a:pt x="148" y="282"/>
                  </a:lnTo>
                  <a:lnTo>
                    <a:pt x="156" y="264"/>
                  </a:lnTo>
                  <a:lnTo>
                    <a:pt x="156" y="264"/>
                  </a:lnTo>
                  <a:lnTo>
                    <a:pt x="156" y="264"/>
                  </a:lnTo>
                  <a:lnTo>
                    <a:pt x="156" y="264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09" name="Freeform 68"/>
            <p:cNvSpPr>
              <a:spLocks/>
            </p:cNvSpPr>
            <p:nvPr/>
          </p:nvSpPr>
          <p:spPr bwMode="auto">
            <a:xfrm>
              <a:off x="1697" y="2480"/>
              <a:ext cx="213" cy="227"/>
            </a:xfrm>
            <a:custGeom>
              <a:avLst/>
              <a:gdLst>
                <a:gd name="T0" fmla="*/ 193 w 213"/>
                <a:gd name="T1" fmla="*/ 159 h 227"/>
                <a:gd name="T2" fmla="*/ 197 w 213"/>
                <a:gd name="T3" fmla="*/ 147 h 227"/>
                <a:gd name="T4" fmla="*/ 182 w 213"/>
                <a:gd name="T5" fmla="*/ 137 h 227"/>
                <a:gd name="T6" fmla="*/ 166 w 213"/>
                <a:gd name="T7" fmla="*/ 129 h 227"/>
                <a:gd name="T8" fmla="*/ 170 w 213"/>
                <a:gd name="T9" fmla="*/ 117 h 227"/>
                <a:gd name="T10" fmla="*/ 184 w 213"/>
                <a:gd name="T11" fmla="*/ 115 h 227"/>
                <a:gd name="T12" fmla="*/ 190 w 213"/>
                <a:gd name="T13" fmla="*/ 99 h 227"/>
                <a:gd name="T14" fmla="*/ 207 w 213"/>
                <a:gd name="T15" fmla="*/ 97 h 227"/>
                <a:gd name="T16" fmla="*/ 211 w 213"/>
                <a:gd name="T17" fmla="*/ 66 h 227"/>
                <a:gd name="T18" fmla="*/ 191 w 213"/>
                <a:gd name="T19" fmla="*/ 34 h 227"/>
                <a:gd name="T20" fmla="*/ 184 w 213"/>
                <a:gd name="T21" fmla="*/ 32 h 227"/>
                <a:gd name="T22" fmla="*/ 162 w 213"/>
                <a:gd name="T23" fmla="*/ 14 h 227"/>
                <a:gd name="T24" fmla="*/ 142 w 213"/>
                <a:gd name="T25" fmla="*/ 0 h 227"/>
                <a:gd name="T26" fmla="*/ 138 w 213"/>
                <a:gd name="T27" fmla="*/ 8 h 227"/>
                <a:gd name="T28" fmla="*/ 130 w 213"/>
                <a:gd name="T29" fmla="*/ 14 h 227"/>
                <a:gd name="T30" fmla="*/ 122 w 213"/>
                <a:gd name="T31" fmla="*/ 26 h 227"/>
                <a:gd name="T32" fmla="*/ 126 w 213"/>
                <a:gd name="T33" fmla="*/ 44 h 227"/>
                <a:gd name="T34" fmla="*/ 116 w 213"/>
                <a:gd name="T35" fmla="*/ 40 h 227"/>
                <a:gd name="T36" fmla="*/ 106 w 213"/>
                <a:gd name="T37" fmla="*/ 44 h 227"/>
                <a:gd name="T38" fmla="*/ 92 w 213"/>
                <a:gd name="T39" fmla="*/ 40 h 227"/>
                <a:gd name="T40" fmla="*/ 80 w 213"/>
                <a:gd name="T41" fmla="*/ 50 h 227"/>
                <a:gd name="T42" fmla="*/ 76 w 213"/>
                <a:gd name="T43" fmla="*/ 36 h 227"/>
                <a:gd name="T44" fmla="*/ 68 w 213"/>
                <a:gd name="T45" fmla="*/ 38 h 227"/>
                <a:gd name="T46" fmla="*/ 66 w 213"/>
                <a:gd name="T47" fmla="*/ 32 h 227"/>
                <a:gd name="T48" fmla="*/ 68 w 213"/>
                <a:gd name="T49" fmla="*/ 20 h 227"/>
                <a:gd name="T50" fmla="*/ 48 w 213"/>
                <a:gd name="T51" fmla="*/ 10 h 227"/>
                <a:gd name="T52" fmla="*/ 34 w 213"/>
                <a:gd name="T53" fmla="*/ 24 h 227"/>
                <a:gd name="T54" fmla="*/ 42 w 213"/>
                <a:gd name="T55" fmla="*/ 38 h 227"/>
                <a:gd name="T56" fmla="*/ 42 w 213"/>
                <a:gd name="T57" fmla="*/ 62 h 227"/>
                <a:gd name="T58" fmla="*/ 56 w 213"/>
                <a:gd name="T59" fmla="*/ 66 h 227"/>
                <a:gd name="T60" fmla="*/ 84 w 213"/>
                <a:gd name="T61" fmla="*/ 78 h 227"/>
                <a:gd name="T62" fmla="*/ 106 w 213"/>
                <a:gd name="T63" fmla="*/ 78 h 227"/>
                <a:gd name="T64" fmla="*/ 112 w 213"/>
                <a:gd name="T65" fmla="*/ 84 h 227"/>
                <a:gd name="T66" fmla="*/ 92 w 213"/>
                <a:gd name="T67" fmla="*/ 99 h 227"/>
                <a:gd name="T68" fmla="*/ 84 w 213"/>
                <a:gd name="T69" fmla="*/ 111 h 227"/>
                <a:gd name="T70" fmla="*/ 68 w 213"/>
                <a:gd name="T71" fmla="*/ 103 h 227"/>
                <a:gd name="T72" fmla="*/ 46 w 213"/>
                <a:gd name="T73" fmla="*/ 117 h 227"/>
                <a:gd name="T74" fmla="*/ 32 w 213"/>
                <a:gd name="T75" fmla="*/ 139 h 227"/>
                <a:gd name="T76" fmla="*/ 12 w 213"/>
                <a:gd name="T77" fmla="*/ 157 h 227"/>
                <a:gd name="T78" fmla="*/ 4 w 213"/>
                <a:gd name="T79" fmla="*/ 177 h 227"/>
                <a:gd name="T80" fmla="*/ 28 w 213"/>
                <a:gd name="T81" fmla="*/ 193 h 227"/>
                <a:gd name="T82" fmla="*/ 22 w 213"/>
                <a:gd name="T83" fmla="*/ 215 h 227"/>
                <a:gd name="T84" fmla="*/ 24 w 213"/>
                <a:gd name="T85" fmla="*/ 227 h 227"/>
                <a:gd name="T86" fmla="*/ 64 w 213"/>
                <a:gd name="T87" fmla="*/ 223 h 227"/>
                <a:gd name="T88" fmla="*/ 68 w 213"/>
                <a:gd name="T89" fmla="*/ 203 h 227"/>
                <a:gd name="T90" fmla="*/ 112 w 213"/>
                <a:gd name="T91" fmla="*/ 211 h 227"/>
                <a:gd name="T92" fmla="*/ 118 w 213"/>
                <a:gd name="T93" fmla="*/ 211 h 227"/>
                <a:gd name="T94" fmla="*/ 98 w 213"/>
                <a:gd name="T95" fmla="*/ 177 h 227"/>
                <a:gd name="T96" fmla="*/ 106 w 213"/>
                <a:gd name="T97" fmla="*/ 173 h 227"/>
                <a:gd name="T98" fmla="*/ 118 w 213"/>
                <a:gd name="T99" fmla="*/ 175 h 227"/>
                <a:gd name="T100" fmla="*/ 98 w 213"/>
                <a:gd name="T101" fmla="*/ 159 h 227"/>
                <a:gd name="T102" fmla="*/ 116 w 213"/>
                <a:gd name="T103" fmla="*/ 159 h 227"/>
                <a:gd name="T104" fmla="*/ 112 w 213"/>
                <a:gd name="T105" fmla="*/ 149 h 227"/>
                <a:gd name="T106" fmla="*/ 122 w 213"/>
                <a:gd name="T107" fmla="*/ 151 h 227"/>
                <a:gd name="T108" fmla="*/ 124 w 213"/>
                <a:gd name="T109" fmla="*/ 145 h 227"/>
                <a:gd name="T110" fmla="*/ 130 w 213"/>
                <a:gd name="T111" fmla="*/ 153 h 227"/>
                <a:gd name="T112" fmla="*/ 140 w 213"/>
                <a:gd name="T113" fmla="*/ 161 h 227"/>
                <a:gd name="T114" fmla="*/ 148 w 213"/>
                <a:gd name="T115" fmla="*/ 165 h 227"/>
                <a:gd name="T116" fmla="*/ 156 w 213"/>
                <a:gd name="T117" fmla="*/ 173 h 227"/>
                <a:gd name="T118" fmla="*/ 186 w 213"/>
                <a:gd name="T119" fmla="*/ 175 h 227"/>
                <a:gd name="T120" fmla="*/ 188 w 213"/>
                <a:gd name="T121" fmla="*/ 167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13" h="227">
                  <a:moveTo>
                    <a:pt x="188" y="167"/>
                  </a:moveTo>
                  <a:lnTo>
                    <a:pt x="188" y="167"/>
                  </a:lnTo>
                  <a:lnTo>
                    <a:pt x="188" y="165"/>
                  </a:lnTo>
                  <a:lnTo>
                    <a:pt x="190" y="165"/>
                  </a:lnTo>
                  <a:lnTo>
                    <a:pt x="193" y="159"/>
                  </a:lnTo>
                  <a:lnTo>
                    <a:pt x="193" y="159"/>
                  </a:lnTo>
                  <a:lnTo>
                    <a:pt x="197" y="151"/>
                  </a:lnTo>
                  <a:lnTo>
                    <a:pt x="197" y="149"/>
                  </a:lnTo>
                  <a:lnTo>
                    <a:pt x="197" y="147"/>
                  </a:lnTo>
                  <a:lnTo>
                    <a:pt x="197" y="147"/>
                  </a:lnTo>
                  <a:lnTo>
                    <a:pt x="193" y="145"/>
                  </a:lnTo>
                  <a:lnTo>
                    <a:pt x="188" y="143"/>
                  </a:lnTo>
                  <a:lnTo>
                    <a:pt x="182" y="141"/>
                  </a:lnTo>
                  <a:lnTo>
                    <a:pt x="182" y="141"/>
                  </a:lnTo>
                  <a:lnTo>
                    <a:pt x="182" y="137"/>
                  </a:lnTo>
                  <a:lnTo>
                    <a:pt x="180" y="135"/>
                  </a:lnTo>
                  <a:lnTo>
                    <a:pt x="176" y="131"/>
                  </a:lnTo>
                  <a:lnTo>
                    <a:pt x="176" y="131"/>
                  </a:lnTo>
                  <a:lnTo>
                    <a:pt x="170" y="129"/>
                  </a:lnTo>
                  <a:lnTo>
                    <a:pt x="166" y="129"/>
                  </a:lnTo>
                  <a:lnTo>
                    <a:pt x="166" y="127"/>
                  </a:lnTo>
                  <a:lnTo>
                    <a:pt x="166" y="127"/>
                  </a:lnTo>
                  <a:lnTo>
                    <a:pt x="166" y="127"/>
                  </a:lnTo>
                  <a:lnTo>
                    <a:pt x="170" y="121"/>
                  </a:lnTo>
                  <a:lnTo>
                    <a:pt x="170" y="117"/>
                  </a:lnTo>
                  <a:lnTo>
                    <a:pt x="172" y="115"/>
                  </a:lnTo>
                  <a:lnTo>
                    <a:pt x="172" y="115"/>
                  </a:lnTo>
                  <a:lnTo>
                    <a:pt x="172" y="115"/>
                  </a:lnTo>
                  <a:lnTo>
                    <a:pt x="180" y="115"/>
                  </a:lnTo>
                  <a:lnTo>
                    <a:pt x="184" y="115"/>
                  </a:lnTo>
                  <a:lnTo>
                    <a:pt x="184" y="111"/>
                  </a:lnTo>
                  <a:lnTo>
                    <a:pt x="184" y="111"/>
                  </a:lnTo>
                  <a:lnTo>
                    <a:pt x="184" y="103"/>
                  </a:lnTo>
                  <a:lnTo>
                    <a:pt x="188" y="99"/>
                  </a:lnTo>
                  <a:lnTo>
                    <a:pt x="190" y="99"/>
                  </a:lnTo>
                  <a:lnTo>
                    <a:pt x="190" y="99"/>
                  </a:lnTo>
                  <a:lnTo>
                    <a:pt x="193" y="99"/>
                  </a:lnTo>
                  <a:lnTo>
                    <a:pt x="201" y="97"/>
                  </a:lnTo>
                  <a:lnTo>
                    <a:pt x="207" y="97"/>
                  </a:lnTo>
                  <a:lnTo>
                    <a:pt x="207" y="97"/>
                  </a:lnTo>
                  <a:lnTo>
                    <a:pt x="211" y="91"/>
                  </a:lnTo>
                  <a:lnTo>
                    <a:pt x="211" y="86"/>
                  </a:lnTo>
                  <a:lnTo>
                    <a:pt x="211" y="80"/>
                  </a:lnTo>
                  <a:lnTo>
                    <a:pt x="211" y="80"/>
                  </a:lnTo>
                  <a:lnTo>
                    <a:pt x="211" y="66"/>
                  </a:lnTo>
                  <a:lnTo>
                    <a:pt x="213" y="54"/>
                  </a:lnTo>
                  <a:lnTo>
                    <a:pt x="209" y="50"/>
                  </a:lnTo>
                  <a:lnTo>
                    <a:pt x="193" y="32"/>
                  </a:lnTo>
                  <a:lnTo>
                    <a:pt x="193" y="32"/>
                  </a:lnTo>
                  <a:lnTo>
                    <a:pt x="191" y="34"/>
                  </a:lnTo>
                  <a:lnTo>
                    <a:pt x="188" y="36"/>
                  </a:lnTo>
                  <a:lnTo>
                    <a:pt x="186" y="36"/>
                  </a:lnTo>
                  <a:lnTo>
                    <a:pt x="184" y="34"/>
                  </a:lnTo>
                  <a:lnTo>
                    <a:pt x="184" y="34"/>
                  </a:lnTo>
                  <a:lnTo>
                    <a:pt x="184" y="32"/>
                  </a:lnTo>
                  <a:lnTo>
                    <a:pt x="184" y="32"/>
                  </a:lnTo>
                  <a:lnTo>
                    <a:pt x="176" y="28"/>
                  </a:lnTo>
                  <a:lnTo>
                    <a:pt x="170" y="22"/>
                  </a:lnTo>
                  <a:lnTo>
                    <a:pt x="162" y="14"/>
                  </a:lnTo>
                  <a:lnTo>
                    <a:pt x="162" y="14"/>
                  </a:lnTo>
                  <a:lnTo>
                    <a:pt x="152" y="6"/>
                  </a:lnTo>
                  <a:lnTo>
                    <a:pt x="148" y="2"/>
                  </a:lnTo>
                  <a:lnTo>
                    <a:pt x="144" y="0"/>
                  </a:lnTo>
                  <a:lnTo>
                    <a:pt x="142" y="0"/>
                  </a:lnTo>
                  <a:lnTo>
                    <a:pt x="142" y="0"/>
                  </a:lnTo>
                  <a:lnTo>
                    <a:pt x="136" y="2"/>
                  </a:lnTo>
                  <a:lnTo>
                    <a:pt x="128" y="4"/>
                  </a:lnTo>
                  <a:lnTo>
                    <a:pt x="128" y="4"/>
                  </a:lnTo>
                  <a:lnTo>
                    <a:pt x="134" y="6"/>
                  </a:lnTo>
                  <a:lnTo>
                    <a:pt x="138" y="8"/>
                  </a:lnTo>
                  <a:lnTo>
                    <a:pt x="138" y="8"/>
                  </a:lnTo>
                  <a:lnTo>
                    <a:pt x="140" y="10"/>
                  </a:lnTo>
                  <a:lnTo>
                    <a:pt x="138" y="12"/>
                  </a:lnTo>
                  <a:lnTo>
                    <a:pt x="130" y="14"/>
                  </a:lnTo>
                  <a:lnTo>
                    <a:pt x="130" y="14"/>
                  </a:lnTo>
                  <a:lnTo>
                    <a:pt x="128" y="16"/>
                  </a:lnTo>
                  <a:lnTo>
                    <a:pt x="126" y="20"/>
                  </a:lnTo>
                  <a:lnTo>
                    <a:pt x="124" y="24"/>
                  </a:lnTo>
                  <a:lnTo>
                    <a:pt x="122" y="26"/>
                  </a:lnTo>
                  <a:lnTo>
                    <a:pt x="122" y="26"/>
                  </a:lnTo>
                  <a:lnTo>
                    <a:pt x="120" y="28"/>
                  </a:lnTo>
                  <a:lnTo>
                    <a:pt x="120" y="30"/>
                  </a:lnTo>
                  <a:lnTo>
                    <a:pt x="122" y="34"/>
                  </a:lnTo>
                  <a:lnTo>
                    <a:pt x="126" y="44"/>
                  </a:lnTo>
                  <a:lnTo>
                    <a:pt x="126" y="44"/>
                  </a:lnTo>
                  <a:lnTo>
                    <a:pt x="126" y="46"/>
                  </a:lnTo>
                  <a:lnTo>
                    <a:pt x="126" y="46"/>
                  </a:lnTo>
                  <a:lnTo>
                    <a:pt x="122" y="46"/>
                  </a:lnTo>
                  <a:lnTo>
                    <a:pt x="116" y="40"/>
                  </a:lnTo>
                  <a:lnTo>
                    <a:pt x="116" y="40"/>
                  </a:lnTo>
                  <a:lnTo>
                    <a:pt x="114" y="38"/>
                  </a:lnTo>
                  <a:lnTo>
                    <a:pt x="112" y="38"/>
                  </a:lnTo>
                  <a:lnTo>
                    <a:pt x="110" y="40"/>
                  </a:lnTo>
                  <a:lnTo>
                    <a:pt x="110" y="40"/>
                  </a:lnTo>
                  <a:lnTo>
                    <a:pt x="106" y="44"/>
                  </a:lnTo>
                  <a:lnTo>
                    <a:pt x="102" y="44"/>
                  </a:lnTo>
                  <a:lnTo>
                    <a:pt x="94" y="40"/>
                  </a:lnTo>
                  <a:lnTo>
                    <a:pt x="94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88" y="46"/>
                  </a:lnTo>
                  <a:lnTo>
                    <a:pt x="84" y="50"/>
                  </a:lnTo>
                  <a:lnTo>
                    <a:pt x="82" y="50"/>
                  </a:lnTo>
                  <a:lnTo>
                    <a:pt x="80" y="50"/>
                  </a:lnTo>
                  <a:lnTo>
                    <a:pt x="80" y="50"/>
                  </a:lnTo>
                  <a:lnTo>
                    <a:pt x="78" y="50"/>
                  </a:lnTo>
                  <a:lnTo>
                    <a:pt x="76" y="50"/>
                  </a:lnTo>
                  <a:lnTo>
                    <a:pt x="76" y="46"/>
                  </a:lnTo>
                  <a:lnTo>
                    <a:pt x="76" y="40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4"/>
                  </a:lnTo>
                  <a:lnTo>
                    <a:pt x="74" y="34"/>
                  </a:lnTo>
                  <a:lnTo>
                    <a:pt x="72" y="36"/>
                  </a:lnTo>
                  <a:lnTo>
                    <a:pt x="68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4"/>
                  </a:lnTo>
                  <a:lnTo>
                    <a:pt x="66" y="32"/>
                  </a:lnTo>
                  <a:lnTo>
                    <a:pt x="68" y="28"/>
                  </a:lnTo>
                  <a:lnTo>
                    <a:pt x="70" y="24"/>
                  </a:lnTo>
                  <a:lnTo>
                    <a:pt x="70" y="22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4" y="14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0" y="10"/>
                  </a:lnTo>
                  <a:lnTo>
                    <a:pt x="48" y="10"/>
                  </a:lnTo>
                  <a:lnTo>
                    <a:pt x="46" y="14"/>
                  </a:lnTo>
                  <a:lnTo>
                    <a:pt x="42" y="20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4" y="28"/>
                  </a:lnTo>
                  <a:lnTo>
                    <a:pt x="36" y="34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4" y="46"/>
                  </a:lnTo>
                  <a:lnTo>
                    <a:pt x="44" y="50"/>
                  </a:lnTo>
                  <a:lnTo>
                    <a:pt x="44" y="56"/>
                  </a:lnTo>
                  <a:lnTo>
                    <a:pt x="42" y="62"/>
                  </a:lnTo>
                  <a:lnTo>
                    <a:pt x="42" y="62"/>
                  </a:lnTo>
                  <a:lnTo>
                    <a:pt x="42" y="62"/>
                  </a:lnTo>
                  <a:lnTo>
                    <a:pt x="42" y="66"/>
                  </a:lnTo>
                  <a:lnTo>
                    <a:pt x="4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60" y="68"/>
                  </a:lnTo>
                  <a:lnTo>
                    <a:pt x="66" y="70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84" y="78"/>
                  </a:lnTo>
                  <a:lnTo>
                    <a:pt x="90" y="80"/>
                  </a:lnTo>
                  <a:lnTo>
                    <a:pt x="98" y="78"/>
                  </a:lnTo>
                  <a:lnTo>
                    <a:pt x="98" y="78"/>
                  </a:lnTo>
                  <a:lnTo>
                    <a:pt x="104" y="76"/>
                  </a:lnTo>
                  <a:lnTo>
                    <a:pt x="106" y="78"/>
                  </a:lnTo>
                  <a:lnTo>
                    <a:pt x="114" y="80"/>
                  </a:lnTo>
                  <a:lnTo>
                    <a:pt x="114" y="80"/>
                  </a:lnTo>
                  <a:lnTo>
                    <a:pt x="116" y="80"/>
                  </a:lnTo>
                  <a:lnTo>
                    <a:pt x="116" y="82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02" y="89"/>
                  </a:lnTo>
                  <a:lnTo>
                    <a:pt x="94" y="95"/>
                  </a:lnTo>
                  <a:lnTo>
                    <a:pt x="94" y="95"/>
                  </a:lnTo>
                  <a:lnTo>
                    <a:pt x="92" y="99"/>
                  </a:lnTo>
                  <a:lnTo>
                    <a:pt x="92" y="99"/>
                  </a:lnTo>
                  <a:lnTo>
                    <a:pt x="90" y="107"/>
                  </a:lnTo>
                  <a:lnTo>
                    <a:pt x="90" y="107"/>
                  </a:lnTo>
                  <a:lnTo>
                    <a:pt x="88" y="111"/>
                  </a:lnTo>
                  <a:lnTo>
                    <a:pt x="84" y="111"/>
                  </a:lnTo>
                  <a:lnTo>
                    <a:pt x="76" y="105"/>
                  </a:lnTo>
                  <a:lnTo>
                    <a:pt x="76" y="105"/>
                  </a:lnTo>
                  <a:lnTo>
                    <a:pt x="72" y="103"/>
                  </a:lnTo>
                  <a:lnTo>
                    <a:pt x="70" y="103"/>
                  </a:lnTo>
                  <a:lnTo>
                    <a:pt x="68" y="103"/>
                  </a:lnTo>
                  <a:lnTo>
                    <a:pt x="64" y="105"/>
                  </a:lnTo>
                  <a:lnTo>
                    <a:pt x="64" y="105"/>
                  </a:lnTo>
                  <a:lnTo>
                    <a:pt x="54" y="113"/>
                  </a:lnTo>
                  <a:lnTo>
                    <a:pt x="50" y="113"/>
                  </a:lnTo>
                  <a:lnTo>
                    <a:pt x="46" y="117"/>
                  </a:lnTo>
                  <a:lnTo>
                    <a:pt x="46" y="117"/>
                  </a:lnTo>
                  <a:lnTo>
                    <a:pt x="42" y="123"/>
                  </a:lnTo>
                  <a:lnTo>
                    <a:pt x="36" y="127"/>
                  </a:lnTo>
                  <a:lnTo>
                    <a:pt x="32" y="139"/>
                  </a:lnTo>
                  <a:lnTo>
                    <a:pt x="32" y="139"/>
                  </a:lnTo>
                  <a:lnTo>
                    <a:pt x="30" y="143"/>
                  </a:lnTo>
                  <a:lnTo>
                    <a:pt x="24" y="145"/>
                  </a:lnTo>
                  <a:lnTo>
                    <a:pt x="14" y="151"/>
                  </a:lnTo>
                  <a:lnTo>
                    <a:pt x="14" y="151"/>
                  </a:lnTo>
                  <a:lnTo>
                    <a:pt x="12" y="157"/>
                  </a:lnTo>
                  <a:lnTo>
                    <a:pt x="8" y="161"/>
                  </a:lnTo>
                  <a:lnTo>
                    <a:pt x="4" y="171"/>
                  </a:lnTo>
                  <a:lnTo>
                    <a:pt x="4" y="171"/>
                  </a:lnTo>
                  <a:lnTo>
                    <a:pt x="0" y="181"/>
                  </a:lnTo>
                  <a:lnTo>
                    <a:pt x="4" y="177"/>
                  </a:lnTo>
                  <a:lnTo>
                    <a:pt x="6" y="193"/>
                  </a:lnTo>
                  <a:lnTo>
                    <a:pt x="14" y="185"/>
                  </a:lnTo>
                  <a:lnTo>
                    <a:pt x="18" y="187"/>
                  </a:lnTo>
                  <a:lnTo>
                    <a:pt x="20" y="191"/>
                  </a:lnTo>
                  <a:lnTo>
                    <a:pt x="28" y="193"/>
                  </a:lnTo>
                  <a:lnTo>
                    <a:pt x="36" y="205"/>
                  </a:lnTo>
                  <a:lnTo>
                    <a:pt x="34" y="211"/>
                  </a:lnTo>
                  <a:lnTo>
                    <a:pt x="34" y="211"/>
                  </a:lnTo>
                  <a:lnTo>
                    <a:pt x="26" y="211"/>
                  </a:lnTo>
                  <a:lnTo>
                    <a:pt x="22" y="215"/>
                  </a:lnTo>
                  <a:lnTo>
                    <a:pt x="20" y="217"/>
                  </a:lnTo>
                  <a:lnTo>
                    <a:pt x="20" y="217"/>
                  </a:lnTo>
                  <a:lnTo>
                    <a:pt x="20" y="219"/>
                  </a:lnTo>
                  <a:lnTo>
                    <a:pt x="24" y="227"/>
                  </a:lnTo>
                  <a:lnTo>
                    <a:pt x="24" y="227"/>
                  </a:lnTo>
                  <a:lnTo>
                    <a:pt x="26" y="227"/>
                  </a:lnTo>
                  <a:lnTo>
                    <a:pt x="26" y="227"/>
                  </a:lnTo>
                  <a:lnTo>
                    <a:pt x="42" y="223"/>
                  </a:lnTo>
                  <a:lnTo>
                    <a:pt x="42" y="223"/>
                  </a:lnTo>
                  <a:lnTo>
                    <a:pt x="64" y="223"/>
                  </a:lnTo>
                  <a:lnTo>
                    <a:pt x="64" y="223"/>
                  </a:lnTo>
                  <a:lnTo>
                    <a:pt x="64" y="213"/>
                  </a:lnTo>
                  <a:lnTo>
                    <a:pt x="64" y="207"/>
                  </a:lnTo>
                  <a:lnTo>
                    <a:pt x="64" y="203"/>
                  </a:lnTo>
                  <a:lnTo>
                    <a:pt x="68" y="203"/>
                  </a:lnTo>
                  <a:lnTo>
                    <a:pt x="68" y="203"/>
                  </a:lnTo>
                  <a:lnTo>
                    <a:pt x="72" y="197"/>
                  </a:lnTo>
                  <a:lnTo>
                    <a:pt x="78" y="197"/>
                  </a:lnTo>
                  <a:lnTo>
                    <a:pt x="84" y="195"/>
                  </a:lnTo>
                  <a:lnTo>
                    <a:pt x="112" y="211"/>
                  </a:lnTo>
                  <a:lnTo>
                    <a:pt x="112" y="211"/>
                  </a:lnTo>
                  <a:lnTo>
                    <a:pt x="116" y="213"/>
                  </a:lnTo>
                  <a:lnTo>
                    <a:pt x="118" y="213"/>
                  </a:lnTo>
                  <a:lnTo>
                    <a:pt x="118" y="211"/>
                  </a:lnTo>
                  <a:lnTo>
                    <a:pt x="118" y="211"/>
                  </a:lnTo>
                  <a:lnTo>
                    <a:pt x="118" y="211"/>
                  </a:lnTo>
                  <a:lnTo>
                    <a:pt x="114" y="203"/>
                  </a:lnTo>
                  <a:lnTo>
                    <a:pt x="106" y="193"/>
                  </a:lnTo>
                  <a:lnTo>
                    <a:pt x="98" y="181"/>
                  </a:lnTo>
                  <a:lnTo>
                    <a:pt x="98" y="177"/>
                  </a:lnTo>
                  <a:lnTo>
                    <a:pt x="98" y="175"/>
                  </a:lnTo>
                  <a:lnTo>
                    <a:pt x="98" y="175"/>
                  </a:lnTo>
                  <a:lnTo>
                    <a:pt x="102" y="171"/>
                  </a:lnTo>
                  <a:lnTo>
                    <a:pt x="106" y="173"/>
                  </a:lnTo>
                  <a:lnTo>
                    <a:pt x="106" y="173"/>
                  </a:lnTo>
                  <a:lnTo>
                    <a:pt x="112" y="175"/>
                  </a:lnTo>
                  <a:lnTo>
                    <a:pt x="114" y="177"/>
                  </a:lnTo>
                  <a:lnTo>
                    <a:pt x="114" y="177"/>
                  </a:lnTo>
                  <a:lnTo>
                    <a:pt x="116" y="175"/>
                  </a:lnTo>
                  <a:lnTo>
                    <a:pt x="118" y="175"/>
                  </a:lnTo>
                  <a:lnTo>
                    <a:pt x="118" y="175"/>
                  </a:lnTo>
                  <a:lnTo>
                    <a:pt x="106" y="167"/>
                  </a:lnTo>
                  <a:lnTo>
                    <a:pt x="100" y="161"/>
                  </a:lnTo>
                  <a:lnTo>
                    <a:pt x="98" y="161"/>
                  </a:lnTo>
                  <a:lnTo>
                    <a:pt x="98" y="159"/>
                  </a:lnTo>
                  <a:lnTo>
                    <a:pt x="98" y="159"/>
                  </a:lnTo>
                  <a:lnTo>
                    <a:pt x="102" y="159"/>
                  </a:lnTo>
                  <a:lnTo>
                    <a:pt x="106" y="159"/>
                  </a:lnTo>
                  <a:lnTo>
                    <a:pt x="112" y="159"/>
                  </a:lnTo>
                  <a:lnTo>
                    <a:pt x="116" y="159"/>
                  </a:lnTo>
                  <a:lnTo>
                    <a:pt x="116" y="159"/>
                  </a:lnTo>
                  <a:lnTo>
                    <a:pt x="116" y="157"/>
                  </a:lnTo>
                  <a:lnTo>
                    <a:pt x="114" y="151"/>
                  </a:lnTo>
                  <a:lnTo>
                    <a:pt x="112" y="149"/>
                  </a:lnTo>
                  <a:lnTo>
                    <a:pt x="112" y="149"/>
                  </a:lnTo>
                  <a:lnTo>
                    <a:pt x="112" y="149"/>
                  </a:lnTo>
                  <a:lnTo>
                    <a:pt x="116" y="149"/>
                  </a:lnTo>
                  <a:lnTo>
                    <a:pt x="118" y="149"/>
                  </a:lnTo>
                  <a:lnTo>
                    <a:pt x="120" y="151"/>
                  </a:lnTo>
                  <a:lnTo>
                    <a:pt x="122" y="151"/>
                  </a:lnTo>
                  <a:lnTo>
                    <a:pt x="122" y="151"/>
                  </a:lnTo>
                  <a:lnTo>
                    <a:pt x="122" y="149"/>
                  </a:lnTo>
                  <a:lnTo>
                    <a:pt x="122" y="147"/>
                  </a:lnTo>
                  <a:lnTo>
                    <a:pt x="122" y="145"/>
                  </a:lnTo>
                  <a:lnTo>
                    <a:pt x="124" y="145"/>
                  </a:lnTo>
                  <a:lnTo>
                    <a:pt x="124" y="145"/>
                  </a:lnTo>
                  <a:lnTo>
                    <a:pt x="128" y="147"/>
                  </a:lnTo>
                  <a:lnTo>
                    <a:pt x="130" y="149"/>
                  </a:lnTo>
                  <a:lnTo>
                    <a:pt x="130" y="149"/>
                  </a:lnTo>
                  <a:lnTo>
                    <a:pt x="130" y="153"/>
                  </a:lnTo>
                  <a:lnTo>
                    <a:pt x="134" y="157"/>
                  </a:lnTo>
                  <a:lnTo>
                    <a:pt x="136" y="157"/>
                  </a:lnTo>
                  <a:lnTo>
                    <a:pt x="136" y="157"/>
                  </a:lnTo>
                  <a:lnTo>
                    <a:pt x="138" y="159"/>
                  </a:lnTo>
                  <a:lnTo>
                    <a:pt x="140" y="161"/>
                  </a:lnTo>
                  <a:lnTo>
                    <a:pt x="140" y="163"/>
                  </a:lnTo>
                  <a:lnTo>
                    <a:pt x="142" y="163"/>
                  </a:lnTo>
                  <a:lnTo>
                    <a:pt x="142" y="163"/>
                  </a:lnTo>
                  <a:lnTo>
                    <a:pt x="144" y="163"/>
                  </a:lnTo>
                  <a:lnTo>
                    <a:pt x="148" y="165"/>
                  </a:lnTo>
                  <a:lnTo>
                    <a:pt x="150" y="165"/>
                  </a:lnTo>
                  <a:lnTo>
                    <a:pt x="158" y="169"/>
                  </a:lnTo>
                  <a:lnTo>
                    <a:pt x="158" y="169"/>
                  </a:lnTo>
                  <a:lnTo>
                    <a:pt x="158" y="171"/>
                  </a:lnTo>
                  <a:lnTo>
                    <a:pt x="156" y="173"/>
                  </a:lnTo>
                  <a:lnTo>
                    <a:pt x="158" y="175"/>
                  </a:lnTo>
                  <a:lnTo>
                    <a:pt x="158" y="175"/>
                  </a:lnTo>
                  <a:lnTo>
                    <a:pt x="162" y="171"/>
                  </a:lnTo>
                  <a:lnTo>
                    <a:pt x="166" y="171"/>
                  </a:lnTo>
                  <a:lnTo>
                    <a:pt x="186" y="175"/>
                  </a:lnTo>
                  <a:lnTo>
                    <a:pt x="190" y="175"/>
                  </a:lnTo>
                  <a:lnTo>
                    <a:pt x="190" y="175"/>
                  </a:lnTo>
                  <a:lnTo>
                    <a:pt x="190" y="171"/>
                  </a:lnTo>
                  <a:lnTo>
                    <a:pt x="188" y="167"/>
                  </a:lnTo>
                  <a:lnTo>
                    <a:pt x="188" y="167"/>
                  </a:lnTo>
                  <a:lnTo>
                    <a:pt x="188" y="167"/>
                  </a:lnTo>
                  <a:lnTo>
                    <a:pt x="188" y="167"/>
                  </a:lnTo>
                  <a:lnTo>
                    <a:pt x="188" y="167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10" name="Freeform 69"/>
            <p:cNvSpPr>
              <a:spLocks/>
            </p:cNvSpPr>
            <p:nvPr/>
          </p:nvSpPr>
          <p:spPr bwMode="auto">
            <a:xfrm>
              <a:off x="2329" y="2492"/>
              <a:ext cx="426" cy="342"/>
            </a:xfrm>
            <a:custGeom>
              <a:avLst/>
              <a:gdLst>
                <a:gd name="T0" fmla="*/ 282 w 426"/>
                <a:gd name="T1" fmla="*/ 328 h 342"/>
                <a:gd name="T2" fmla="*/ 288 w 426"/>
                <a:gd name="T3" fmla="*/ 328 h 342"/>
                <a:gd name="T4" fmla="*/ 314 w 426"/>
                <a:gd name="T5" fmla="*/ 312 h 342"/>
                <a:gd name="T6" fmla="*/ 326 w 426"/>
                <a:gd name="T7" fmla="*/ 316 h 342"/>
                <a:gd name="T8" fmla="*/ 336 w 426"/>
                <a:gd name="T9" fmla="*/ 316 h 342"/>
                <a:gd name="T10" fmla="*/ 358 w 426"/>
                <a:gd name="T11" fmla="*/ 320 h 342"/>
                <a:gd name="T12" fmla="*/ 370 w 426"/>
                <a:gd name="T13" fmla="*/ 318 h 342"/>
                <a:gd name="T14" fmla="*/ 388 w 426"/>
                <a:gd name="T15" fmla="*/ 312 h 342"/>
                <a:gd name="T16" fmla="*/ 398 w 426"/>
                <a:gd name="T17" fmla="*/ 305 h 342"/>
                <a:gd name="T18" fmla="*/ 410 w 426"/>
                <a:gd name="T19" fmla="*/ 275 h 342"/>
                <a:gd name="T20" fmla="*/ 426 w 426"/>
                <a:gd name="T21" fmla="*/ 249 h 342"/>
                <a:gd name="T22" fmla="*/ 388 w 426"/>
                <a:gd name="T23" fmla="*/ 233 h 342"/>
                <a:gd name="T24" fmla="*/ 388 w 426"/>
                <a:gd name="T25" fmla="*/ 211 h 342"/>
                <a:gd name="T26" fmla="*/ 392 w 426"/>
                <a:gd name="T27" fmla="*/ 205 h 342"/>
                <a:gd name="T28" fmla="*/ 418 w 426"/>
                <a:gd name="T29" fmla="*/ 169 h 342"/>
                <a:gd name="T30" fmla="*/ 382 w 426"/>
                <a:gd name="T31" fmla="*/ 137 h 342"/>
                <a:gd name="T32" fmla="*/ 360 w 426"/>
                <a:gd name="T33" fmla="*/ 123 h 342"/>
                <a:gd name="T34" fmla="*/ 334 w 426"/>
                <a:gd name="T35" fmla="*/ 117 h 342"/>
                <a:gd name="T36" fmla="*/ 306 w 426"/>
                <a:gd name="T37" fmla="*/ 113 h 342"/>
                <a:gd name="T38" fmla="*/ 306 w 426"/>
                <a:gd name="T39" fmla="*/ 56 h 342"/>
                <a:gd name="T40" fmla="*/ 294 w 426"/>
                <a:gd name="T41" fmla="*/ 46 h 342"/>
                <a:gd name="T42" fmla="*/ 286 w 426"/>
                <a:gd name="T43" fmla="*/ 40 h 342"/>
                <a:gd name="T44" fmla="*/ 260 w 426"/>
                <a:gd name="T45" fmla="*/ 50 h 342"/>
                <a:gd name="T46" fmla="*/ 248 w 426"/>
                <a:gd name="T47" fmla="*/ 58 h 342"/>
                <a:gd name="T48" fmla="*/ 242 w 426"/>
                <a:gd name="T49" fmla="*/ 58 h 342"/>
                <a:gd name="T50" fmla="*/ 228 w 426"/>
                <a:gd name="T51" fmla="*/ 48 h 342"/>
                <a:gd name="T52" fmla="*/ 219 w 426"/>
                <a:gd name="T53" fmla="*/ 42 h 342"/>
                <a:gd name="T54" fmla="*/ 217 w 426"/>
                <a:gd name="T55" fmla="*/ 38 h 342"/>
                <a:gd name="T56" fmla="*/ 213 w 426"/>
                <a:gd name="T57" fmla="*/ 36 h 342"/>
                <a:gd name="T58" fmla="*/ 183 w 426"/>
                <a:gd name="T59" fmla="*/ 34 h 342"/>
                <a:gd name="T60" fmla="*/ 171 w 426"/>
                <a:gd name="T61" fmla="*/ 24 h 342"/>
                <a:gd name="T62" fmla="*/ 169 w 426"/>
                <a:gd name="T63" fmla="*/ 20 h 342"/>
                <a:gd name="T64" fmla="*/ 141 w 426"/>
                <a:gd name="T65" fmla="*/ 12 h 342"/>
                <a:gd name="T66" fmla="*/ 127 w 426"/>
                <a:gd name="T67" fmla="*/ 8 h 342"/>
                <a:gd name="T68" fmla="*/ 117 w 426"/>
                <a:gd name="T69" fmla="*/ 0 h 342"/>
                <a:gd name="T70" fmla="*/ 111 w 426"/>
                <a:gd name="T71" fmla="*/ 4 h 342"/>
                <a:gd name="T72" fmla="*/ 107 w 426"/>
                <a:gd name="T73" fmla="*/ 14 h 342"/>
                <a:gd name="T74" fmla="*/ 87 w 426"/>
                <a:gd name="T75" fmla="*/ 38 h 342"/>
                <a:gd name="T76" fmla="*/ 77 w 426"/>
                <a:gd name="T77" fmla="*/ 60 h 342"/>
                <a:gd name="T78" fmla="*/ 59 w 426"/>
                <a:gd name="T79" fmla="*/ 64 h 342"/>
                <a:gd name="T80" fmla="*/ 49 w 426"/>
                <a:gd name="T81" fmla="*/ 70 h 342"/>
                <a:gd name="T82" fmla="*/ 35 w 426"/>
                <a:gd name="T83" fmla="*/ 83 h 342"/>
                <a:gd name="T84" fmla="*/ 23 w 426"/>
                <a:gd name="T85" fmla="*/ 91 h 342"/>
                <a:gd name="T86" fmla="*/ 13 w 426"/>
                <a:gd name="T87" fmla="*/ 113 h 342"/>
                <a:gd name="T88" fmla="*/ 0 w 426"/>
                <a:gd name="T89" fmla="*/ 127 h 342"/>
                <a:gd name="T90" fmla="*/ 9 w 426"/>
                <a:gd name="T91" fmla="*/ 169 h 342"/>
                <a:gd name="T92" fmla="*/ 79 w 426"/>
                <a:gd name="T93" fmla="*/ 215 h 342"/>
                <a:gd name="T94" fmla="*/ 101 w 426"/>
                <a:gd name="T95" fmla="*/ 231 h 342"/>
                <a:gd name="T96" fmla="*/ 117 w 426"/>
                <a:gd name="T97" fmla="*/ 257 h 342"/>
                <a:gd name="T98" fmla="*/ 159 w 426"/>
                <a:gd name="T99" fmla="*/ 295 h 342"/>
                <a:gd name="T100" fmla="*/ 203 w 426"/>
                <a:gd name="T101" fmla="*/ 295 h 342"/>
                <a:gd name="T102" fmla="*/ 209 w 426"/>
                <a:gd name="T103" fmla="*/ 293 h 342"/>
                <a:gd name="T104" fmla="*/ 217 w 426"/>
                <a:gd name="T105" fmla="*/ 301 h 342"/>
                <a:gd name="T106" fmla="*/ 217 w 426"/>
                <a:gd name="T107" fmla="*/ 342 h 342"/>
                <a:gd name="T108" fmla="*/ 246 w 426"/>
                <a:gd name="T109" fmla="*/ 334 h 342"/>
                <a:gd name="T110" fmla="*/ 278 w 426"/>
                <a:gd name="T111" fmla="*/ 328 h 342"/>
                <a:gd name="T112" fmla="*/ 278 w 426"/>
                <a:gd name="T113" fmla="*/ 328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26" h="342">
                  <a:moveTo>
                    <a:pt x="278" y="328"/>
                  </a:moveTo>
                  <a:lnTo>
                    <a:pt x="278" y="328"/>
                  </a:lnTo>
                  <a:lnTo>
                    <a:pt x="282" y="328"/>
                  </a:lnTo>
                  <a:lnTo>
                    <a:pt x="286" y="328"/>
                  </a:lnTo>
                  <a:lnTo>
                    <a:pt x="288" y="328"/>
                  </a:lnTo>
                  <a:lnTo>
                    <a:pt x="288" y="328"/>
                  </a:lnTo>
                  <a:lnTo>
                    <a:pt x="300" y="318"/>
                  </a:lnTo>
                  <a:lnTo>
                    <a:pt x="310" y="314"/>
                  </a:lnTo>
                  <a:lnTo>
                    <a:pt x="314" y="312"/>
                  </a:lnTo>
                  <a:lnTo>
                    <a:pt x="316" y="312"/>
                  </a:lnTo>
                  <a:lnTo>
                    <a:pt x="316" y="312"/>
                  </a:lnTo>
                  <a:lnTo>
                    <a:pt x="326" y="316"/>
                  </a:lnTo>
                  <a:lnTo>
                    <a:pt x="330" y="316"/>
                  </a:lnTo>
                  <a:lnTo>
                    <a:pt x="336" y="316"/>
                  </a:lnTo>
                  <a:lnTo>
                    <a:pt x="336" y="316"/>
                  </a:lnTo>
                  <a:lnTo>
                    <a:pt x="342" y="316"/>
                  </a:lnTo>
                  <a:lnTo>
                    <a:pt x="348" y="318"/>
                  </a:lnTo>
                  <a:lnTo>
                    <a:pt x="358" y="320"/>
                  </a:lnTo>
                  <a:lnTo>
                    <a:pt x="358" y="320"/>
                  </a:lnTo>
                  <a:lnTo>
                    <a:pt x="362" y="320"/>
                  </a:lnTo>
                  <a:lnTo>
                    <a:pt x="370" y="318"/>
                  </a:lnTo>
                  <a:lnTo>
                    <a:pt x="382" y="314"/>
                  </a:lnTo>
                  <a:lnTo>
                    <a:pt x="382" y="314"/>
                  </a:lnTo>
                  <a:lnTo>
                    <a:pt x="388" y="312"/>
                  </a:lnTo>
                  <a:lnTo>
                    <a:pt x="394" y="312"/>
                  </a:lnTo>
                  <a:lnTo>
                    <a:pt x="394" y="310"/>
                  </a:lnTo>
                  <a:lnTo>
                    <a:pt x="398" y="305"/>
                  </a:lnTo>
                  <a:lnTo>
                    <a:pt x="396" y="295"/>
                  </a:lnTo>
                  <a:lnTo>
                    <a:pt x="404" y="283"/>
                  </a:lnTo>
                  <a:lnTo>
                    <a:pt x="410" y="275"/>
                  </a:lnTo>
                  <a:lnTo>
                    <a:pt x="418" y="271"/>
                  </a:lnTo>
                  <a:lnTo>
                    <a:pt x="424" y="271"/>
                  </a:lnTo>
                  <a:lnTo>
                    <a:pt x="426" y="249"/>
                  </a:lnTo>
                  <a:lnTo>
                    <a:pt x="410" y="245"/>
                  </a:lnTo>
                  <a:lnTo>
                    <a:pt x="388" y="233"/>
                  </a:lnTo>
                  <a:lnTo>
                    <a:pt x="388" y="233"/>
                  </a:lnTo>
                  <a:lnTo>
                    <a:pt x="392" y="225"/>
                  </a:lnTo>
                  <a:lnTo>
                    <a:pt x="392" y="219"/>
                  </a:lnTo>
                  <a:lnTo>
                    <a:pt x="388" y="211"/>
                  </a:lnTo>
                  <a:lnTo>
                    <a:pt x="388" y="211"/>
                  </a:lnTo>
                  <a:lnTo>
                    <a:pt x="388" y="209"/>
                  </a:lnTo>
                  <a:lnTo>
                    <a:pt x="392" y="205"/>
                  </a:lnTo>
                  <a:lnTo>
                    <a:pt x="402" y="195"/>
                  </a:lnTo>
                  <a:lnTo>
                    <a:pt x="420" y="183"/>
                  </a:lnTo>
                  <a:lnTo>
                    <a:pt x="418" y="169"/>
                  </a:lnTo>
                  <a:lnTo>
                    <a:pt x="394" y="165"/>
                  </a:lnTo>
                  <a:lnTo>
                    <a:pt x="392" y="147"/>
                  </a:lnTo>
                  <a:lnTo>
                    <a:pt x="382" y="137"/>
                  </a:lnTo>
                  <a:lnTo>
                    <a:pt x="378" y="127"/>
                  </a:lnTo>
                  <a:lnTo>
                    <a:pt x="378" y="127"/>
                  </a:lnTo>
                  <a:lnTo>
                    <a:pt x="360" y="123"/>
                  </a:lnTo>
                  <a:lnTo>
                    <a:pt x="346" y="117"/>
                  </a:lnTo>
                  <a:lnTo>
                    <a:pt x="334" y="117"/>
                  </a:lnTo>
                  <a:lnTo>
                    <a:pt x="334" y="117"/>
                  </a:lnTo>
                  <a:lnTo>
                    <a:pt x="326" y="117"/>
                  </a:lnTo>
                  <a:lnTo>
                    <a:pt x="316" y="113"/>
                  </a:lnTo>
                  <a:lnTo>
                    <a:pt x="306" y="113"/>
                  </a:lnTo>
                  <a:lnTo>
                    <a:pt x="318" y="91"/>
                  </a:lnTo>
                  <a:lnTo>
                    <a:pt x="314" y="56"/>
                  </a:lnTo>
                  <a:lnTo>
                    <a:pt x="306" y="56"/>
                  </a:lnTo>
                  <a:lnTo>
                    <a:pt x="306" y="56"/>
                  </a:lnTo>
                  <a:lnTo>
                    <a:pt x="300" y="50"/>
                  </a:lnTo>
                  <a:lnTo>
                    <a:pt x="294" y="46"/>
                  </a:lnTo>
                  <a:lnTo>
                    <a:pt x="288" y="42"/>
                  </a:lnTo>
                  <a:lnTo>
                    <a:pt x="288" y="42"/>
                  </a:lnTo>
                  <a:lnTo>
                    <a:pt x="286" y="40"/>
                  </a:lnTo>
                  <a:lnTo>
                    <a:pt x="280" y="40"/>
                  </a:lnTo>
                  <a:lnTo>
                    <a:pt x="268" y="44"/>
                  </a:lnTo>
                  <a:lnTo>
                    <a:pt x="260" y="50"/>
                  </a:lnTo>
                  <a:lnTo>
                    <a:pt x="254" y="54"/>
                  </a:lnTo>
                  <a:lnTo>
                    <a:pt x="254" y="54"/>
                  </a:lnTo>
                  <a:lnTo>
                    <a:pt x="248" y="58"/>
                  </a:lnTo>
                  <a:lnTo>
                    <a:pt x="244" y="58"/>
                  </a:lnTo>
                  <a:lnTo>
                    <a:pt x="244" y="58"/>
                  </a:lnTo>
                  <a:lnTo>
                    <a:pt x="242" y="58"/>
                  </a:lnTo>
                  <a:lnTo>
                    <a:pt x="238" y="54"/>
                  </a:lnTo>
                  <a:lnTo>
                    <a:pt x="234" y="50"/>
                  </a:lnTo>
                  <a:lnTo>
                    <a:pt x="228" y="48"/>
                  </a:lnTo>
                  <a:lnTo>
                    <a:pt x="228" y="48"/>
                  </a:lnTo>
                  <a:lnTo>
                    <a:pt x="220" y="44"/>
                  </a:lnTo>
                  <a:lnTo>
                    <a:pt x="219" y="42"/>
                  </a:lnTo>
                  <a:lnTo>
                    <a:pt x="217" y="42"/>
                  </a:lnTo>
                  <a:lnTo>
                    <a:pt x="217" y="42"/>
                  </a:lnTo>
                  <a:lnTo>
                    <a:pt x="217" y="38"/>
                  </a:lnTo>
                  <a:lnTo>
                    <a:pt x="217" y="36"/>
                  </a:lnTo>
                  <a:lnTo>
                    <a:pt x="213" y="36"/>
                  </a:lnTo>
                  <a:lnTo>
                    <a:pt x="213" y="36"/>
                  </a:lnTo>
                  <a:lnTo>
                    <a:pt x="199" y="34"/>
                  </a:lnTo>
                  <a:lnTo>
                    <a:pt x="183" y="34"/>
                  </a:lnTo>
                  <a:lnTo>
                    <a:pt x="183" y="34"/>
                  </a:lnTo>
                  <a:lnTo>
                    <a:pt x="177" y="32"/>
                  </a:lnTo>
                  <a:lnTo>
                    <a:pt x="173" y="28"/>
                  </a:lnTo>
                  <a:lnTo>
                    <a:pt x="171" y="24"/>
                  </a:lnTo>
                  <a:lnTo>
                    <a:pt x="171" y="20"/>
                  </a:lnTo>
                  <a:lnTo>
                    <a:pt x="171" y="20"/>
                  </a:lnTo>
                  <a:lnTo>
                    <a:pt x="169" y="20"/>
                  </a:lnTo>
                  <a:lnTo>
                    <a:pt x="167" y="18"/>
                  </a:lnTo>
                  <a:lnTo>
                    <a:pt x="159" y="16"/>
                  </a:lnTo>
                  <a:lnTo>
                    <a:pt x="141" y="12"/>
                  </a:lnTo>
                  <a:lnTo>
                    <a:pt x="141" y="12"/>
                  </a:lnTo>
                  <a:lnTo>
                    <a:pt x="135" y="10"/>
                  </a:lnTo>
                  <a:lnTo>
                    <a:pt x="127" y="8"/>
                  </a:lnTo>
                  <a:lnTo>
                    <a:pt x="119" y="2"/>
                  </a:lnTo>
                  <a:lnTo>
                    <a:pt x="117" y="0"/>
                  </a:lnTo>
                  <a:lnTo>
                    <a:pt x="117" y="0"/>
                  </a:lnTo>
                  <a:lnTo>
                    <a:pt x="113" y="0"/>
                  </a:lnTo>
                  <a:lnTo>
                    <a:pt x="111" y="2"/>
                  </a:lnTo>
                  <a:lnTo>
                    <a:pt x="111" y="4"/>
                  </a:lnTo>
                  <a:lnTo>
                    <a:pt x="109" y="10"/>
                  </a:lnTo>
                  <a:lnTo>
                    <a:pt x="107" y="14"/>
                  </a:lnTo>
                  <a:lnTo>
                    <a:pt x="107" y="14"/>
                  </a:lnTo>
                  <a:lnTo>
                    <a:pt x="97" y="28"/>
                  </a:lnTo>
                  <a:lnTo>
                    <a:pt x="87" y="38"/>
                  </a:lnTo>
                  <a:lnTo>
                    <a:pt x="87" y="38"/>
                  </a:lnTo>
                  <a:lnTo>
                    <a:pt x="83" y="48"/>
                  </a:lnTo>
                  <a:lnTo>
                    <a:pt x="79" y="58"/>
                  </a:lnTo>
                  <a:lnTo>
                    <a:pt x="77" y="60"/>
                  </a:lnTo>
                  <a:lnTo>
                    <a:pt x="73" y="62"/>
                  </a:lnTo>
                  <a:lnTo>
                    <a:pt x="73" y="62"/>
                  </a:lnTo>
                  <a:lnTo>
                    <a:pt x="59" y="64"/>
                  </a:lnTo>
                  <a:lnTo>
                    <a:pt x="53" y="68"/>
                  </a:lnTo>
                  <a:lnTo>
                    <a:pt x="49" y="70"/>
                  </a:lnTo>
                  <a:lnTo>
                    <a:pt x="49" y="70"/>
                  </a:lnTo>
                  <a:lnTo>
                    <a:pt x="39" y="74"/>
                  </a:lnTo>
                  <a:lnTo>
                    <a:pt x="37" y="79"/>
                  </a:lnTo>
                  <a:lnTo>
                    <a:pt x="35" y="83"/>
                  </a:lnTo>
                  <a:lnTo>
                    <a:pt x="35" y="83"/>
                  </a:lnTo>
                  <a:lnTo>
                    <a:pt x="33" y="87"/>
                  </a:lnTo>
                  <a:lnTo>
                    <a:pt x="23" y="91"/>
                  </a:lnTo>
                  <a:lnTo>
                    <a:pt x="13" y="103"/>
                  </a:lnTo>
                  <a:lnTo>
                    <a:pt x="11" y="103"/>
                  </a:lnTo>
                  <a:lnTo>
                    <a:pt x="13" y="113"/>
                  </a:lnTo>
                  <a:lnTo>
                    <a:pt x="5" y="113"/>
                  </a:lnTo>
                  <a:lnTo>
                    <a:pt x="7" y="123"/>
                  </a:lnTo>
                  <a:lnTo>
                    <a:pt x="0" y="127"/>
                  </a:lnTo>
                  <a:lnTo>
                    <a:pt x="9" y="139"/>
                  </a:lnTo>
                  <a:lnTo>
                    <a:pt x="5" y="157"/>
                  </a:lnTo>
                  <a:lnTo>
                    <a:pt x="9" y="169"/>
                  </a:lnTo>
                  <a:lnTo>
                    <a:pt x="13" y="185"/>
                  </a:lnTo>
                  <a:lnTo>
                    <a:pt x="45" y="203"/>
                  </a:lnTo>
                  <a:lnTo>
                    <a:pt x="79" y="215"/>
                  </a:lnTo>
                  <a:lnTo>
                    <a:pt x="79" y="215"/>
                  </a:lnTo>
                  <a:lnTo>
                    <a:pt x="91" y="225"/>
                  </a:lnTo>
                  <a:lnTo>
                    <a:pt x="101" y="231"/>
                  </a:lnTo>
                  <a:lnTo>
                    <a:pt x="109" y="239"/>
                  </a:lnTo>
                  <a:lnTo>
                    <a:pt x="109" y="239"/>
                  </a:lnTo>
                  <a:lnTo>
                    <a:pt x="117" y="257"/>
                  </a:lnTo>
                  <a:lnTo>
                    <a:pt x="121" y="273"/>
                  </a:lnTo>
                  <a:lnTo>
                    <a:pt x="153" y="275"/>
                  </a:lnTo>
                  <a:lnTo>
                    <a:pt x="159" y="295"/>
                  </a:lnTo>
                  <a:lnTo>
                    <a:pt x="199" y="295"/>
                  </a:lnTo>
                  <a:lnTo>
                    <a:pt x="199" y="295"/>
                  </a:lnTo>
                  <a:lnTo>
                    <a:pt x="203" y="295"/>
                  </a:lnTo>
                  <a:lnTo>
                    <a:pt x="205" y="293"/>
                  </a:lnTo>
                  <a:lnTo>
                    <a:pt x="209" y="293"/>
                  </a:lnTo>
                  <a:lnTo>
                    <a:pt x="209" y="293"/>
                  </a:lnTo>
                  <a:lnTo>
                    <a:pt x="213" y="295"/>
                  </a:lnTo>
                  <a:lnTo>
                    <a:pt x="213" y="297"/>
                  </a:lnTo>
                  <a:lnTo>
                    <a:pt x="217" y="301"/>
                  </a:lnTo>
                  <a:lnTo>
                    <a:pt x="209" y="309"/>
                  </a:lnTo>
                  <a:lnTo>
                    <a:pt x="209" y="338"/>
                  </a:lnTo>
                  <a:lnTo>
                    <a:pt x="217" y="342"/>
                  </a:lnTo>
                  <a:lnTo>
                    <a:pt x="224" y="332"/>
                  </a:lnTo>
                  <a:lnTo>
                    <a:pt x="238" y="328"/>
                  </a:lnTo>
                  <a:lnTo>
                    <a:pt x="246" y="334"/>
                  </a:lnTo>
                  <a:lnTo>
                    <a:pt x="248" y="334"/>
                  </a:lnTo>
                  <a:lnTo>
                    <a:pt x="248" y="330"/>
                  </a:lnTo>
                  <a:lnTo>
                    <a:pt x="278" y="328"/>
                  </a:lnTo>
                  <a:lnTo>
                    <a:pt x="278" y="328"/>
                  </a:lnTo>
                  <a:lnTo>
                    <a:pt x="278" y="328"/>
                  </a:lnTo>
                  <a:lnTo>
                    <a:pt x="278" y="328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11" name="Freeform 70"/>
            <p:cNvSpPr>
              <a:spLocks/>
            </p:cNvSpPr>
            <p:nvPr/>
          </p:nvSpPr>
          <p:spPr bwMode="auto">
            <a:xfrm>
              <a:off x="2317" y="2888"/>
              <a:ext cx="308" cy="241"/>
            </a:xfrm>
            <a:custGeom>
              <a:avLst/>
              <a:gdLst>
                <a:gd name="T0" fmla="*/ 175 w 308"/>
                <a:gd name="T1" fmla="*/ 213 h 241"/>
                <a:gd name="T2" fmla="*/ 195 w 308"/>
                <a:gd name="T3" fmla="*/ 201 h 241"/>
                <a:gd name="T4" fmla="*/ 227 w 308"/>
                <a:gd name="T5" fmla="*/ 195 h 241"/>
                <a:gd name="T6" fmla="*/ 246 w 308"/>
                <a:gd name="T7" fmla="*/ 187 h 241"/>
                <a:gd name="T8" fmla="*/ 254 w 308"/>
                <a:gd name="T9" fmla="*/ 173 h 241"/>
                <a:gd name="T10" fmla="*/ 270 w 308"/>
                <a:gd name="T11" fmla="*/ 175 h 241"/>
                <a:gd name="T12" fmla="*/ 280 w 308"/>
                <a:gd name="T13" fmla="*/ 173 h 241"/>
                <a:gd name="T14" fmla="*/ 282 w 308"/>
                <a:gd name="T15" fmla="*/ 169 h 241"/>
                <a:gd name="T16" fmla="*/ 280 w 308"/>
                <a:gd name="T17" fmla="*/ 153 h 241"/>
                <a:gd name="T18" fmla="*/ 292 w 308"/>
                <a:gd name="T19" fmla="*/ 149 h 241"/>
                <a:gd name="T20" fmla="*/ 304 w 308"/>
                <a:gd name="T21" fmla="*/ 146 h 241"/>
                <a:gd name="T22" fmla="*/ 306 w 308"/>
                <a:gd name="T23" fmla="*/ 126 h 241"/>
                <a:gd name="T24" fmla="*/ 308 w 308"/>
                <a:gd name="T25" fmla="*/ 100 h 241"/>
                <a:gd name="T26" fmla="*/ 278 w 308"/>
                <a:gd name="T27" fmla="*/ 56 h 241"/>
                <a:gd name="T28" fmla="*/ 258 w 308"/>
                <a:gd name="T29" fmla="*/ 32 h 241"/>
                <a:gd name="T30" fmla="*/ 236 w 308"/>
                <a:gd name="T31" fmla="*/ 40 h 241"/>
                <a:gd name="T32" fmla="*/ 199 w 308"/>
                <a:gd name="T33" fmla="*/ 46 h 241"/>
                <a:gd name="T34" fmla="*/ 165 w 308"/>
                <a:gd name="T35" fmla="*/ 56 h 241"/>
                <a:gd name="T36" fmla="*/ 139 w 308"/>
                <a:gd name="T37" fmla="*/ 34 h 241"/>
                <a:gd name="T38" fmla="*/ 93 w 308"/>
                <a:gd name="T39" fmla="*/ 10 h 241"/>
                <a:gd name="T40" fmla="*/ 45 w 308"/>
                <a:gd name="T41" fmla="*/ 18 h 241"/>
                <a:gd name="T42" fmla="*/ 4 w 308"/>
                <a:gd name="T43" fmla="*/ 20 h 241"/>
                <a:gd name="T44" fmla="*/ 2 w 308"/>
                <a:gd name="T45" fmla="*/ 32 h 241"/>
                <a:gd name="T46" fmla="*/ 12 w 308"/>
                <a:gd name="T47" fmla="*/ 80 h 241"/>
                <a:gd name="T48" fmla="*/ 23 w 308"/>
                <a:gd name="T49" fmla="*/ 165 h 241"/>
                <a:gd name="T50" fmla="*/ 39 w 308"/>
                <a:gd name="T51" fmla="*/ 187 h 241"/>
                <a:gd name="T52" fmla="*/ 45 w 308"/>
                <a:gd name="T53" fmla="*/ 185 h 241"/>
                <a:gd name="T54" fmla="*/ 47 w 308"/>
                <a:gd name="T55" fmla="*/ 179 h 241"/>
                <a:gd name="T56" fmla="*/ 51 w 308"/>
                <a:gd name="T57" fmla="*/ 173 h 241"/>
                <a:gd name="T58" fmla="*/ 57 w 308"/>
                <a:gd name="T59" fmla="*/ 169 h 241"/>
                <a:gd name="T60" fmla="*/ 63 w 308"/>
                <a:gd name="T61" fmla="*/ 169 h 241"/>
                <a:gd name="T62" fmla="*/ 71 w 308"/>
                <a:gd name="T63" fmla="*/ 179 h 241"/>
                <a:gd name="T64" fmla="*/ 69 w 308"/>
                <a:gd name="T65" fmla="*/ 187 h 241"/>
                <a:gd name="T66" fmla="*/ 67 w 308"/>
                <a:gd name="T67" fmla="*/ 191 h 241"/>
                <a:gd name="T68" fmla="*/ 73 w 308"/>
                <a:gd name="T69" fmla="*/ 193 h 241"/>
                <a:gd name="T70" fmla="*/ 77 w 308"/>
                <a:gd name="T71" fmla="*/ 195 h 241"/>
                <a:gd name="T72" fmla="*/ 81 w 308"/>
                <a:gd name="T73" fmla="*/ 211 h 241"/>
                <a:gd name="T74" fmla="*/ 89 w 308"/>
                <a:gd name="T75" fmla="*/ 211 h 241"/>
                <a:gd name="T76" fmla="*/ 95 w 308"/>
                <a:gd name="T77" fmla="*/ 211 h 241"/>
                <a:gd name="T78" fmla="*/ 109 w 308"/>
                <a:gd name="T79" fmla="*/ 215 h 241"/>
                <a:gd name="T80" fmla="*/ 115 w 308"/>
                <a:gd name="T81" fmla="*/ 219 h 241"/>
                <a:gd name="T82" fmla="*/ 123 w 308"/>
                <a:gd name="T83" fmla="*/ 215 h 241"/>
                <a:gd name="T84" fmla="*/ 129 w 308"/>
                <a:gd name="T85" fmla="*/ 213 h 241"/>
                <a:gd name="T86" fmla="*/ 139 w 308"/>
                <a:gd name="T87" fmla="*/ 215 h 241"/>
                <a:gd name="T88" fmla="*/ 147 w 308"/>
                <a:gd name="T89" fmla="*/ 213 h 241"/>
                <a:gd name="T90" fmla="*/ 161 w 308"/>
                <a:gd name="T91" fmla="*/ 221 h 241"/>
                <a:gd name="T92" fmla="*/ 165 w 308"/>
                <a:gd name="T93" fmla="*/ 229 h 241"/>
                <a:gd name="T94" fmla="*/ 183 w 308"/>
                <a:gd name="T95" fmla="*/ 241 h 241"/>
                <a:gd name="T96" fmla="*/ 189 w 308"/>
                <a:gd name="T97" fmla="*/ 233 h 241"/>
                <a:gd name="T98" fmla="*/ 189 w 308"/>
                <a:gd name="T99" fmla="*/ 23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08" h="241">
                  <a:moveTo>
                    <a:pt x="189" y="231"/>
                  </a:moveTo>
                  <a:lnTo>
                    <a:pt x="189" y="231"/>
                  </a:lnTo>
                  <a:lnTo>
                    <a:pt x="175" y="213"/>
                  </a:lnTo>
                  <a:lnTo>
                    <a:pt x="175" y="213"/>
                  </a:lnTo>
                  <a:lnTo>
                    <a:pt x="185" y="207"/>
                  </a:lnTo>
                  <a:lnTo>
                    <a:pt x="195" y="201"/>
                  </a:lnTo>
                  <a:lnTo>
                    <a:pt x="203" y="199"/>
                  </a:lnTo>
                  <a:lnTo>
                    <a:pt x="203" y="199"/>
                  </a:lnTo>
                  <a:lnTo>
                    <a:pt x="227" y="195"/>
                  </a:lnTo>
                  <a:lnTo>
                    <a:pt x="236" y="191"/>
                  </a:lnTo>
                  <a:lnTo>
                    <a:pt x="240" y="189"/>
                  </a:lnTo>
                  <a:lnTo>
                    <a:pt x="246" y="187"/>
                  </a:lnTo>
                  <a:lnTo>
                    <a:pt x="246" y="187"/>
                  </a:lnTo>
                  <a:lnTo>
                    <a:pt x="250" y="177"/>
                  </a:lnTo>
                  <a:lnTo>
                    <a:pt x="254" y="173"/>
                  </a:lnTo>
                  <a:lnTo>
                    <a:pt x="256" y="173"/>
                  </a:lnTo>
                  <a:lnTo>
                    <a:pt x="256" y="173"/>
                  </a:lnTo>
                  <a:lnTo>
                    <a:pt x="270" y="175"/>
                  </a:lnTo>
                  <a:lnTo>
                    <a:pt x="276" y="175"/>
                  </a:lnTo>
                  <a:lnTo>
                    <a:pt x="278" y="175"/>
                  </a:lnTo>
                  <a:lnTo>
                    <a:pt x="280" y="173"/>
                  </a:lnTo>
                  <a:lnTo>
                    <a:pt x="280" y="173"/>
                  </a:lnTo>
                  <a:lnTo>
                    <a:pt x="280" y="173"/>
                  </a:lnTo>
                  <a:lnTo>
                    <a:pt x="282" y="169"/>
                  </a:lnTo>
                  <a:lnTo>
                    <a:pt x="280" y="161"/>
                  </a:lnTo>
                  <a:lnTo>
                    <a:pt x="280" y="155"/>
                  </a:lnTo>
                  <a:lnTo>
                    <a:pt x="280" y="153"/>
                  </a:lnTo>
                  <a:lnTo>
                    <a:pt x="282" y="151"/>
                  </a:lnTo>
                  <a:lnTo>
                    <a:pt x="282" y="151"/>
                  </a:lnTo>
                  <a:lnTo>
                    <a:pt x="292" y="149"/>
                  </a:lnTo>
                  <a:lnTo>
                    <a:pt x="300" y="147"/>
                  </a:lnTo>
                  <a:lnTo>
                    <a:pt x="300" y="147"/>
                  </a:lnTo>
                  <a:lnTo>
                    <a:pt x="304" y="146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94" y="112"/>
                  </a:lnTo>
                  <a:lnTo>
                    <a:pt x="304" y="108"/>
                  </a:lnTo>
                  <a:lnTo>
                    <a:pt x="308" y="100"/>
                  </a:lnTo>
                  <a:lnTo>
                    <a:pt x="296" y="96"/>
                  </a:lnTo>
                  <a:lnTo>
                    <a:pt x="286" y="64"/>
                  </a:lnTo>
                  <a:lnTo>
                    <a:pt x="278" y="56"/>
                  </a:lnTo>
                  <a:lnTo>
                    <a:pt x="272" y="50"/>
                  </a:lnTo>
                  <a:lnTo>
                    <a:pt x="266" y="48"/>
                  </a:lnTo>
                  <a:lnTo>
                    <a:pt x="258" y="32"/>
                  </a:lnTo>
                  <a:lnTo>
                    <a:pt x="256" y="32"/>
                  </a:lnTo>
                  <a:lnTo>
                    <a:pt x="236" y="38"/>
                  </a:lnTo>
                  <a:lnTo>
                    <a:pt x="236" y="40"/>
                  </a:lnTo>
                  <a:lnTo>
                    <a:pt x="225" y="40"/>
                  </a:lnTo>
                  <a:lnTo>
                    <a:pt x="203" y="40"/>
                  </a:lnTo>
                  <a:lnTo>
                    <a:pt x="199" y="46"/>
                  </a:lnTo>
                  <a:lnTo>
                    <a:pt x="191" y="38"/>
                  </a:lnTo>
                  <a:lnTo>
                    <a:pt x="179" y="40"/>
                  </a:lnTo>
                  <a:lnTo>
                    <a:pt x="165" y="56"/>
                  </a:lnTo>
                  <a:lnTo>
                    <a:pt x="155" y="62"/>
                  </a:lnTo>
                  <a:lnTo>
                    <a:pt x="139" y="46"/>
                  </a:lnTo>
                  <a:lnTo>
                    <a:pt x="139" y="34"/>
                  </a:lnTo>
                  <a:lnTo>
                    <a:pt x="123" y="14"/>
                  </a:lnTo>
                  <a:lnTo>
                    <a:pt x="117" y="0"/>
                  </a:lnTo>
                  <a:lnTo>
                    <a:pt x="93" y="10"/>
                  </a:lnTo>
                  <a:lnTo>
                    <a:pt x="89" y="8"/>
                  </a:lnTo>
                  <a:lnTo>
                    <a:pt x="73" y="14"/>
                  </a:lnTo>
                  <a:lnTo>
                    <a:pt x="45" y="18"/>
                  </a:lnTo>
                  <a:lnTo>
                    <a:pt x="19" y="20"/>
                  </a:lnTo>
                  <a:lnTo>
                    <a:pt x="15" y="14"/>
                  </a:lnTo>
                  <a:lnTo>
                    <a:pt x="4" y="20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6" y="50"/>
                  </a:lnTo>
                  <a:lnTo>
                    <a:pt x="12" y="80"/>
                  </a:lnTo>
                  <a:lnTo>
                    <a:pt x="19" y="130"/>
                  </a:lnTo>
                  <a:lnTo>
                    <a:pt x="19" y="130"/>
                  </a:lnTo>
                  <a:lnTo>
                    <a:pt x="23" y="165"/>
                  </a:lnTo>
                  <a:lnTo>
                    <a:pt x="27" y="189"/>
                  </a:lnTo>
                  <a:lnTo>
                    <a:pt x="27" y="189"/>
                  </a:lnTo>
                  <a:lnTo>
                    <a:pt x="39" y="187"/>
                  </a:lnTo>
                  <a:lnTo>
                    <a:pt x="39" y="187"/>
                  </a:lnTo>
                  <a:lnTo>
                    <a:pt x="41" y="187"/>
                  </a:lnTo>
                  <a:lnTo>
                    <a:pt x="45" y="185"/>
                  </a:lnTo>
                  <a:lnTo>
                    <a:pt x="47" y="183"/>
                  </a:lnTo>
                  <a:lnTo>
                    <a:pt x="47" y="179"/>
                  </a:lnTo>
                  <a:lnTo>
                    <a:pt x="47" y="179"/>
                  </a:lnTo>
                  <a:lnTo>
                    <a:pt x="49" y="175"/>
                  </a:lnTo>
                  <a:lnTo>
                    <a:pt x="51" y="173"/>
                  </a:lnTo>
                  <a:lnTo>
                    <a:pt x="51" y="173"/>
                  </a:lnTo>
                  <a:lnTo>
                    <a:pt x="51" y="173"/>
                  </a:lnTo>
                  <a:lnTo>
                    <a:pt x="53" y="171"/>
                  </a:lnTo>
                  <a:lnTo>
                    <a:pt x="57" y="169"/>
                  </a:lnTo>
                  <a:lnTo>
                    <a:pt x="61" y="169"/>
                  </a:lnTo>
                  <a:lnTo>
                    <a:pt x="63" y="169"/>
                  </a:lnTo>
                  <a:lnTo>
                    <a:pt x="63" y="169"/>
                  </a:lnTo>
                  <a:lnTo>
                    <a:pt x="69" y="175"/>
                  </a:lnTo>
                  <a:lnTo>
                    <a:pt x="71" y="177"/>
                  </a:lnTo>
                  <a:lnTo>
                    <a:pt x="71" y="179"/>
                  </a:lnTo>
                  <a:lnTo>
                    <a:pt x="71" y="179"/>
                  </a:lnTo>
                  <a:lnTo>
                    <a:pt x="71" y="185"/>
                  </a:lnTo>
                  <a:lnTo>
                    <a:pt x="69" y="187"/>
                  </a:lnTo>
                  <a:lnTo>
                    <a:pt x="67" y="191"/>
                  </a:lnTo>
                  <a:lnTo>
                    <a:pt x="67" y="191"/>
                  </a:lnTo>
                  <a:lnTo>
                    <a:pt x="67" y="191"/>
                  </a:lnTo>
                  <a:lnTo>
                    <a:pt x="67" y="191"/>
                  </a:lnTo>
                  <a:lnTo>
                    <a:pt x="69" y="193"/>
                  </a:lnTo>
                  <a:lnTo>
                    <a:pt x="73" y="193"/>
                  </a:lnTo>
                  <a:lnTo>
                    <a:pt x="75" y="193"/>
                  </a:lnTo>
                  <a:lnTo>
                    <a:pt x="77" y="195"/>
                  </a:lnTo>
                  <a:lnTo>
                    <a:pt x="77" y="195"/>
                  </a:lnTo>
                  <a:lnTo>
                    <a:pt x="79" y="207"/>
                  </a:lnTo>
                  <a:lnTo>
                    <a:pt x="79" y="211"/>
                  </a:lnTo>
                  <a:lnTo>
                    <a:pt x="81" y="211"/>
                  </a:lnTo>
                  <a:lnTo>
                    <a:pt x="85" y="211"/>
                  </a:lnTo>
                  <a:lnTo>
                    <a:pt x="85" y="211"/>
                  </a:lnTo>
                  <a:lnTo>
                    <a:pt x="89" y="211"/>
                  </a:lnTo>
                  <a:lnTo>
                    <a:pt x="93" y="211"/>
                  </a:lnTo>
                  <a:lnTo>
                    <a:pt x="95" y="211"/>
                  </a:lnTo>
                  <a:lnTo>
                    <a:pt x="95" y="211"/>
                  </a:lnTo>
                  <a:lnTo>
                    <a:pt x="101" y="215"/>
                  </a:lnTo>
                  <a:lnTo>
                    <a:pt x="109" y="215"/>
                  </a:lnTo>
                  <a:lnTo>
                    <a:pt x="109" y="215"/>
                  </a:lnTo>
                  <a:lnTo>
                    <a:pt x="111" y="217"/>
                  </a:lnTo>
                  <a:lnTo>
                    <a:pt x="113" y="219"/>
                  </a:lnTo>
                  <a:lnTo>
                    <a:pt x="115" y="219"/>
                  </a:lnTo>
                  <a:lnTo>
                    <a:pt x="117" y="219"/>
                  </a:lnTo>
                  <a:lnTo>
                    <a:pt x="117" y="219"/>
                  </a:lnTo>
                  <a:lnTo>
                    <a:pt x="123" y="215"/>
                  </a:lnTo>
                  <a:lnTo>
                    <a:pt x="125" y="213"/>
                  </a:lnTo>
                  <a:lnTo>
                    <a:pt x="129" y="213"/>
                  </a:lnTo>
                  <a:lnTo>
                    <a:pt x="129" y="213"/>
                  </a:lnTo>
                  <a:lnTo>
                    <a:pt x="135" y="215"/>
                  </a:lnTo>
                  <a:lnTo>
                    <a:pt x="137" y="215"/>
                  </a:lnTo>
                  <a:lnTo>
                    <a:pt x="139" y="215"/>
                  </a:lnTo>
                  <a:lnTo>
                    <a:pt x="139" y="215"/>
                  </a:lnTo>
                  <a:lnTo>
                    <a:pt x="145" y="213"/>
                  </a:lnTo>
                  <a:lnTo>
                    <a:pt x="147" y="213"/>
                  </a:lnTo>
                  <a:lnTo>
                    <a:pt x="153" y="215"/>
                  </a:lnTo>
                  <a:lnTo>
                    <a:pt x="153" y="215"/>
                  </a:lnTo>
                  <a:lnTo>
                    <a:pt x="161" y="221"/>
                  </a:lnTo>
                  <a:lnTo>
                    <a:pt x="165" y="223"/>
                  </a:lnTo>
                  <a:lnTo>
                    <a:pt x="165" y="229"/>
                  </a:lnTo>
                  <a:lnTo>
                    <a:pt x="165" y="229"/>
                  </a:lnTo>
                  <a:lnTo>
                    <a:pt x="169" y="241"/>
                  </a:lnTo>
                  <a:lnTo>
                    <a:pt x="183" y="241"/>
                  </a:lnTo>
                  <a:lnTo>
                    <a:pt x="183" y="241"/>
                  </a:lnTo>
                  <a:lnTo>
                    <a:pt x="187" y="237"/>
                  </a:lnTo>
                  <a:lnTo>
                    <a:pt x="189" y="233"/>
                  </a:lnTo>
                  <a:lnTo>
                    <a:pt x="189" y="233"/>
                  </a:lnTo>
                  <a:lnTo>
                    <a:pt x="189" y="231"/>
                  </a:lnTo>
                  <a:lnTo>
                    <a:pt x="189" y="231"/>
                  </a:lnTo>
                  <a:lnTo>
                    <a:pt x="189" y="231"/>
                  </a:lnTo>
                  <a:lnTo>
                    <a:pt x="189" y="231"/>
                  </a:lnTo>
                  <a:lnTo>
                    <a:pt x="189" y="231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12" name="Freeform 71"/>
            <p:cNvSpPr>
              <a:spLocks/>
            </p:cNvSpPr>
            <p:nvPr/>
          </p:nvSpPr>
          <p:spPr bwMode="auto">
            <a:xfrm>
              <a:off x="1022" y="1922"/>
              <a:ext cx="132" cy="134"/>
            </a:xfrm>
            <a:custGeom>
              <a:avLst/>
              <a:gdLst>
                <a:gd name="T0" fmla="*/ 56 w 132"/>
                <a:gd name="T1" fmla="*/ 134 h 134"/>
                <a:gd name="T2" fmla="*/ 62 w 132"/>
                <a:gd name="T3" fmla="*/ 130 h 134"/>
                <a:gd name="T4" fmla="*/ 66 w 132"/>
                <a:gd name="T5" fmla="*/ 134 h 134"/>
                <a:gd name="T6" fmla="*/ 74 w 132"/>
                <a:gd name="T7" fmla="*/ 130 h 134"/>
                <a:gd name="T8" fmla="*/ 82 w 132"/>
                <a:gd name="T9" fmla="*/ 126 h 134"/>
                <a:gd name="T10" fmla="*/ 94 w 132"/>
                <a:gd name="T11" fmla="*/ 122 h 134"/>
                <a:gd name="T12" fmla="*/ 94 w 132"/>
                <a:gd name="T13" fmla="*/ 112 h 134"/>
                <a:gd name="T14" fmla="*/ 100 w 132"/>
                <a:gd name="T15" fmla="*/ 110 h 134"/>
                <a:gd name="T16" fmla="*/ 114 w 132"/>
                <a:gd name="T17" fmla="*/ 116 h 134"/>
                <a:gd name="T18" fmla="*/ 116 w 132"/>
                <a:gd name="T19" fmla="*/ 112 h 134"/>
                <a:gd name="T20" fmla="*/ 118 w 132"/>
                <a:gd name="T21" fmla="*/ 108 h 134"/>
                <a:gd name="T22" fmla="*/ 120 w 132"/>
                <a:gd name="T23" fmla="*/ 108 h 134"/>
                <a:gd name="T24" fmla="*/ 120 w 132"/>
                <a:gd name="T25" fmla="*/ 96 h 134"/>
                <a:gd name="T26" fmla="*/ 118 w 132"/>
                <a:gd name="T27" fmla="*/ 94 h 134"/>
                <a:gd name="T28" fmla="*/ 118 w 132"/>
                <a:gd name="T29" fmla="*/ 86 h 134"/>
                <a:gd name="T30" fmla="*/ 132 w 132"/>
                <a:gd name="T31" fmla="*/ 72 h 134"/>
                <a:gd name="T32" fmla="*/ 132 w 132"/>
                <a:gd name="T33" fmla="*/ 62 h 134"/>
                <a:gd name="T34" fmla="*/ 128 w 132"/>
                <a:gd name="T35" fmla="*/ 48 h 134"/>
                <a:gd name="T36" fmla="*/ 132 w 132"/>
                <a:gd name="T37" fmla="*/ 44 h 134"/>
                <a:gd name="T38" fmla="*/ 130 w 132"/>
                <a:gd name="T39" fmla="*/ 38 h 134"/>
                <a:gd name="T40" fmla="*/ 126 w 132"/>
                <a:gd name="T41" fmla="*/ 34 h 134"/>
                <a:gd name="T42" fmla="*/ 118 w 132"/>
                <a:gd name="T43" fmla="*/ 34 h 134"/>
                <a:gd name="T44" fmla="*/ 112 w 132"/>
                <a:gd name="T45" fmla="*/ 34 h 134"/>
                <a:gd name="T46" fmla="*/ 104 w 132"/>
                <a:gd name="T47" fmla="*/ 34 h 134"/>
                <a:gd name="T48" fmla="*/ 84 w 132"/>
                <a:gd name="T49" fmla="*/ 34 h 134"/>
                <a:gd name="T50" fmla="*/ 84 w 132"/>
                <a:gd name="T51" fmla="*/ 34 h 134"/>
                <a:gd name="T52" fmla="*/ 70 w 132"/>
                <a:gd name="T53" fmla="*/ 32 h 134"/>
                <a:gd name="T54" fmla="*/ 54 w 132"/>
                <a:gd name="T55" fmla="*/ 22 h 134"/>
                <a:gd name="T56" fmla="*/ 50 w 132"/>
                <a:gd name="T57" fmla="*/ 10 h 134"/>
                <a:gd name="T58" fmla="*/ 50 w 132"/>
                <a:gd name="T59" fmla="*/ 2 h 134"/>
                <a:gd name="T60" fmla="*/ 40 w 132"/>
                <a:gd name="T61" fmla="*/ 2 h 134"/>
                <a:gd name="T62" fmla="*/ 36 w 132"/>
                <a:gd name="T63" fmla="*/ 8 h 134"/>
                <a:gd name="T64" fmla="*/ 28 w 132"/>
                <a:gd name="T65" fmla="*/ 20 h 134"/>
                <a:gd name="T66" fmla="*/ 24 w 132"/>
                <a:gd name="T67" fmla="*/ 22 h 134"/>
                <a:gd name="T68" fmla="*/ 18 w 132"/>
                <a:gd name="T69" fmla="*/ 26 h 134"/>
                <a:gd name="T70" fmla="*/ 8 w 132"/>
                <a:gd name="T71" fmla="*/ 34 h 134"/>
                <a:gd name="T72" fmla="*/ 2 w 132"/>
                <a:gd name="T73" fmla="*/ 46 h 134"/>
                <a:gd name="T74" fmla="*/ 4 w 132"/>
                <a:gd name="T75" fmla="*/ 60 h 134"/>
                <a:gd name="T76" fmla="*/ 14 w 132"/>
                <a:gd name="T77" fmla="*/ 60 h 134"/>
                <a:gd name="T78" fmla="*/ 22 w 132"/>
                <a:gd name="T79" fmla="*/ 58 h 134"/>
                <a:gd name="T80" fmla="*/ 24 w 132"/>
                <a:gd name="T81" fmla="*/ 68 h 134"/>
                <a:gd name="T82" fmla="*/ 28 w 132"/>
                <a:gd name="T83" fmla="*/ 76 h 134"/>
                <a:gd name="T84" fmla="*/ 38 w 132"/>
                <a:gd name="T85" fmla="*/ 80 h 134"/>
                <a:gd name="T86" fmla="*/ 42 w 132"/>
                <a:gd name="T87" fmla="*/ 82 h 134"/>
                <a:gd name="T88" fmla="*/ 46 w 132"/>
                <a:gd name="T89" fmla="*/ 94 h 134"/>
                <a:gd name="T90" fmla="*/ 50 w 132"/>
                <a:gd name="T91" fmla="*/ 96 h 134"/>
                <a:gd name="T92" fmla="*/ 46 w 132"/>
                <a:gd name="T93" fmla="*/ 108 h 134"/>
                <a:gd name="T94" fmla="*/ 40 w 132"/>
                <a:gd name="T95" fmla="*/ 126 h 134"/>
                <a:gd name="T96" fmla="*/ 44 w 132"/>
                <a:gd name="T97" fmla="*/ 126 h 134"/>
                <a:gd name="T98" fmla="*/ 54 w 132"/>
                <a:gd name="T99" fmla="*/ 132 h 134"/>
                <a:gd name="T100" fmla="*/ 54 w 132"/>
                <a:gd name="T101" fmla="*/ 132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32" h="134">
                  <a:moveTo>
                    <a:pt x="54" y="132"/>
                  </a:moveTo>
                  <a:lnTo>
                    <a:pt x="54" y="132"/>
                  </a:lnTo>
                  <a:lnTo>
                    <a:pt x="56" y="134"/>
                  </a:lnTo>
                  <a:lnTo>
                    <a:pt x="58" y="134"/>
                  </a:lnTo>
                  <a:lnTo>
                    <a:pt x="62" y="130"/>
                  </a:lnTo>
                  <a:lnTo>
                    <a:pt x="62" y="130"/>
                  </a:lnTo>
                  <a:lnTo>
                    <a:pt x="64" y="130"/>
                  </a:lnTo>
                  <a:lnTo>
                    <a:pt x="64" y="130"/>
                  </a:lnTo>
                  <a:lnTo>
                    <a:pt x="66" y="134"/>
                  </a:lnTo>
                  <a:lnTo>
                    <a:pt x="66" y="134"/>
                  </a:lnTo>
                  <a:lnTo>
                    <a:pt x="74" y="130"/>
                  </a:lnTo>
                  <a:lnTo>
                    <a:pt x="74" y="130"/>
                  </a:lnTo>
                  <a:lnTo>
                    <a:pt x="78" y="130"/>
                  </a:lnTo>
                  <a:lnTo>
                    <a:pt x="82" y="126"/>
                  </a:lnTo>
                  <a:lnTo>
                    <a:pt x="82" y="126"/>
                  </a:lnTo>
                  <a:lnTo>
                    <a:pt x="90" y="126"/>
                  </a:lnTo>
                  <a:lnTo>
                    <a:pt x="94" y="122"/>
                  </a:lnTo>
                  <a:lnTo>
                    <a:pt x="94" y="122"/>
                  </a:lnTo>
                  <a:lnTo>
                    <a:pt x="94" y="122"/>
                  </a:lnTo>
                  <a:lnTo>
                    <a:pt x="94" y="114"/>
                  </a:lnTo>
                  <a:lnTo>
                    <a:pt x="94" y="112"/>
                  </a:lnTo>
                  <a:lnTo>
                    <a:pt x="94" y="110"/>
                  </a:lnTo>
                  <a:lnTo>
                    <a:pt x="94" y="110"/>
                  </a:lnTo>
                  <a:lnTo>
                    <a:pt x="100" y="110"/>
                  </a:lnTo>
                  <a:lnTo>
                    <a:pt x="106" y="114"/>
                  </a:lnTo>
                  <a:lnTo>
                    <a:pt x="110" y="114"/>
                  </a:lnTo>
                  <a:lnTo>
                    <a:pt x="114" y="116"/>
                  </a:lnTo>
                  <a:lnTo>
                    <a:pt x="114" y="116"/>
                  </a:lnTo>
                  <a:lnTo>
                    <a:pt x="114" y="114"/>
                  </a:lnTo>
                  <a:lnTo>
                    <a:pt x="116" y="112"/>
                  </a:lnTo>
                  <a:lnTo>
                    <a:pt x="118" y="110"/>
                  </a:lnTo>
                  <a:lnTo>
                    <a:pt x="118" y="108"/>
                  </a:lnTo>
                  <a:lnTo>
                    <a:pt x="118" y="108"/>
                  </a:lnTo>
                  <a:lnTo>
                    <a:pt x="120" y="108"/>
                  </a:lnTo>
                  <a:lnTo>
                    <a:pt x="120" y="108"/>
                  </a:lnTo>
                  <a:lnTo>
                    <a:pt x="120" y="108"/>
                  </a:lnTo>
                  <a:lnTo>
                    <a:pt x="120" y="108"/>
                  </a:lnTo>
                  <a:lnTo>
                    <a:pt x="124" y="104"/>
                  </a:lnTo>
                  <a:lnTo>
                    <a:pt x="120" y="96"/>
                  </a:lnTo>
                  <a:lnTo>
                    <a:pt x="120" y="96"/>
                  </a:lnTo>
                  <a:lnTo>
                    <a:pt x="118" y="96"/>
                  </a:lnTo>
                  <a:lnTo>
                    <a:pt x="118" y="94"/>
                  </a:lnTo>
                  <a:lnTo>
                    <a:pt x="118" y="92"/>
                  </a:lnTo>
                  <a:lnTo>
                    <a:pt x="118" y="86"/>
                  </a:lnTo>
                  <a:lnTo>
                    <a:pt x="118" y="86"/>
                  </a:lnTo>
                  <a:lnTo>
                    <a:pt x="124" y="82"/>
                  </a:lnTo>
                  <a:lnTo>
                    <a:pt x="128" y="78"/>
                  </a:lnTo>
                  <a:lnTo>
                    <a:pt x="132" y="72"/>
                  </a:lnTo>
                  <a:lnTo>
                    <a:pt x="132" y="66"/>
                  </a:lnTo>
                  <a:lnTo>
                    <a:pt x="132" y="66"/>
                  </a:lnTo>
                  <a:lnTo>
                    <a:pt x="132" y="62"/>
                  </a:lnTo>
                  <a:lnTo>
                    <a:pt x="128" y="58"/>
                  </a:lnTo>
                  <a:lnTo>
                    <a:pt x="128" y="54"/>
                  </a:lnTo>
                  <a:lnTo>
                    <a:pt x="128" y="48"/>
                  </a:lnTo>
                  <a:lnTo>
                    <a:pt x="128" y="48"/>
                  </a:lnTo>
                  <a:lnTo>
                    <a:pt x="128" y="48"/>
                  </a:lnTo>
                  <a:lnTo>
                    <a:pt x="132" y="44"/>
                  </a:lnTo>
                  <a:lnTo>
                    <a:pt x="132" y="40"/>
                  </a:lnTo>
                  <a:lnTo>
                    <a:pt x="130" y="38"/>
                  </a:lnTo>
                  <a:lnTo>
                    <a:pt x="130" y="38"/>
                  </a:lnTo>
                  <a:lnTo>
                    <a:pt x="128" y="36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6" y="34"/>
                  </a:lnTo>
                  <a:lnTo>
                    <a:pt x="112" y="34"/>
                  </a:lnTo>
                  <a:lnTo>
                    <a:pt x="112" y="34"/>
                  </a:lnTo>
                  <a:lnTo>
                    <a:pt x="108" y="34"/>
                  </a:lnTo>
                  <a:lnTo>
                    <a:pt x="104" y="34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84" y="34"/>
                  </a:lnTo>
                  <a:lnTo>
                    <a:pt x="84" y="34"/>
                  </a:lnTo>
                  <a:lnTo>
                    <a:pt x="84" y="34"/>
                  </a:lnTo>
                  <a:lnTo>
                    <a:pt x="84" y="34"/>
                  </a:lnTo>
                  <a:lnTo>
                    <a:pt x="78" y="32"/>
                  </a:lnTo>
                  <a:lnTo>
                    <a:pt x="70" y="32"/>
                  </a:lnTo>
                  <a:lnTo>
                    <a:pt x="70" y="32"/>
                  </a:lnTo>
                  <a:lnTo>
                    <a:pt x="60" y="26"/>
                  </a:lnTo>
                  <a:lnTo>
                    <a:pt x="56" y="24"/>
                  </a:lnTo>
                  <a:lnTo>
                    <a:pt x="54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10"/>
                  </a:lnTo>
                  <a:lnTo>
                    <a:pt x="50" y="8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46" y="0"/>
                  </a:lnTo>
                  <a:lnTo>
                    <a:pt x="42" y="0"/>
                  </a:lnTo>
                  <a:lnTo>
                    <a:pt x="40" y="2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6" y="8"/>
                  </a:lnTo>
                  <a:lnTo>
                    <a:pt x="34" y="14"/>
                  </a:lnTo>
                  <a:lnTo>
                    <a:pt x="34" y="18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6" y="20"/>
                  </a:lnTo>
                  <a:lnTo>
                    <a:pt x="24" y="22"/>
                  </a:lnTo>
                  <a:lnTo>
                    <a:pt x="20" y="24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4" y="26"/>
                  </a:lnTo>
                  <a:lnTo>
                    <a:pt x="12" y="32"/>
                  </a:lnTo>
                  <a:lnTo>
                    <a:pt x="8" y="3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2" y="46"/>
                  </a:lnTo>
                  <a:lnTo>
                    <a:pt x="0" y="54"/>
                  </a:lnTo>
                  <a:lnTo>
                    <a:pt x="2" y="58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10" y="60"/>
                  </a:lnTo>
                  <a:lnTo>
                    <a:pt x="14" y="60"/>
                  </a:lnTo>
                  <a:lnTo>
                    <a:pt x="20" y="58"/>
                  </a:lnTo>
                  <a:lnTo>
                    <a:pt x="20" y="58"/>
                  </a:lnTo>
                  <a:lnTo>
                    <a:pt x="22" y="58"/>
                  </a:lnTo>
                  <a:lnTo>
                    <a:pt x="22" y="58"/>
                  </a:lnTo>
                  <a:lnTo>
                    <a:pt x="22" y="62"/>
                  </a:lnTo>
                  <a:lnTo>
                    <a:pt x="24" y="68"/>
                  </a:lnTo>
                  <a:lnTo>
                    <a:pt x="26" y="76"/>
                  </a:lnTo>
                  <a:lnTo>
                    <a:pt x="26" y="76"/>
                  </a:lnTo>
                  <a:lnTo>
                    <a:pt x="28" y="76"/>
                  </a:lnTo>
                  <a:lnTo>
                    <a:pt x="34" y="78"/>
                  </a:lnTo>
                  <a:lnTo>
                    <a:pt x="38" y="80"/>
                  </a:lnTo>
                  <a:lnTo>
                    <a:pt x="38" y="80"/>
                  </a:lnTo>
                  <a:lnTo>
                    <a:pt x="40" y="80"/>
                  </a:lnTo>
                  <a:lnTo>
                    <a:pt x="42" y="82"/>
                  </a:lnTo>
                  <a:lnTo>
                    <a:pt x="42" y="82"/>
                  </a:lnTo>
                  <a:lnTo>
                    <a:pt x="44" y="90"/>
                  </a:lnTo>
                  <a:lnTo>
                    <a:pt x="46" y="94"/>
                  </a:lnTo>
                  <a:lnTo>
                    <a:pt x="46" y="94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0" y="102"/>
                  </a:lnTo>
                  <a:lnTo>
                    <a:pt x="50" y="104"/>
                  </a:lnTo>
                  <a:lnTo>
                    <a:pt x="46" y="108"/>
                  </a:lnTo>
                  <a:lnTo>
                    <a:pt x="46" y="108"/>
                  </a:lnTo>
                  <a:lnTo>
                    <a:pt x="42" y="114"/>
                  </a:lnTo>
                  <a:lnTo>
                    <a:pt x="40" y="126"/>
                  </a:lnTo>
                  <a:lnTo>
                    <a:pt x="40" y="126"/>
                  </a:lnTo>
                  <a:lnTo>
                    <a:pt x="44" y="126"/>
                  </a:lnTo>
                  <a:lnTo>
                    <a:pt x="44" y="126"/>
                  </a:lnTo>
                  <a:lnTo>
                    <a:pt x="50" y="128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13" name="Freeform 72"/>
            <p:cNvSpPr>
              <a:spLocks/>
            </p:cNvSpPr>
            <p:nvPr/>
          </p:nvSpPr>
          <p:spPr bwMode="auto">
            <a:xfrm>
              <a:off x="2573" y="2804"/>
              <a:ext cx="164" cy="263"/>
            </a:xfrm>
            <a:custGeom>
              <a:avLst/>
              <a:gdLst>
                <a:gd name="T0" fmla="*/ 120 w 164"/>
                <a:gd name="T1" fmla="*/ 228 h 263"/>
                <a:gd name="T2" fmla="*/ 120 w 164"/>
                <a:gd name="T3" fmla="*/ 202 h 263"/>
                <a:gd name="T4" fmla="*/ 138 w 164"/>
                <a:gd name="T5" fmla="*/ 178 h 263"/>
                <a:gd name="T6" fmla="*/ 148 w 164"/>
                <a:gd name="T7" fmla="*/ 146 h 263"/>
                <a:gd name="T8" fmla="*/ 130 w 164"/>
                <a:gd name="T9" fmla="*/ 140 h 263"/>
                <a:gd name="T10" fmla="*/ 118 w 164"/>
                <a:gd name="T11" fmla="*/ 138 h 263"/>
                <a:gd name="T12" fmla="*/ 132 w 164"/>
                <a:gd name="T13" fmla="*/ 118 h 263"/>
                <a:gd name="T14" fmla="*/ 130 w 164"/>
                <a:gd name="T15" fmla="*/ 110 h 263"/>
                <a:gd name="T16" fmla="*/ 130 w 164"/>
                <a:gd name="T17" fmla="*/ 90 h 263"/>
                <a:gd name="T18" fmla="*/ 130 w 164"/>
                <a:gd name="T19" fmla="*/ 88 h 263"/>
                <a:gd name="T20" fmla="*/ 136 w 164"/>
                <a:gd name="T21" fmla="*/ 80 h 263"/>
                <a:gd name="T22" fmla="*/ 138 w 164"/>
                <a:gd name="T23" fmla="*/ 78 h 263"/>
                <a:gd name="T24" fmla="*/ 142 w 164"/>
                <a:gd name="T25" fmla="*/ 74 h 263"/>
                <a:gd name="T26" fmla="*/ 164 w 164"/>
                <a:gd name="T27" fmla="*/ 64 h 263"/>
                <a:gd name="T28" fmla="*/ 160 w 164"/>
                <a:gd name="T29" fmla="*/ 40 h 263"/>
                <a:gd name="T30" fmla="*/ 158 w 164"/>
                <a:gd name="T31" fmla="*/ 38 h 263"/>
                <a:gd name="T32" fmla="*/ 154 w 164"/>
                <a:gd name="T33" fmla="*/ 28 h 263"/>
                <a:gd name="T34" fmla="*/ 152 w 164"/>
                <a:gd name="T35" fmla="*/ 26 h 263"/>
                <a:gd name="T36" fmla="*/ 148 w 164"/>
                <a:gd name="T37" fmla="*/ 18 h 263"/>
                <a:gd name="T38" fmla="*/ 150 w 164"/>
                <a:gd name="T39" fmla="*/ 6 h 263"/>
                <a:gd name="T40" fmla="*/ 150 w 164"/>
                <a:gd name="T41" fmla="*/ 0 h 263"/>
                <a:gd name="T42" fmla="*/ 138 w 164"/>
                <a:gd name="T43" fmla="*/ 2 h 263"/>
                <a:gd name="T44" fmla="*/ 126 w 164"/>
                <a:gd name="T45" fmla="*/ 6 h 263"/>
                <a:gd name="T46" fmla="*/ 114 w 164"/>
                <a:gd name="T47" fmla="*/ 8 h 263"/>
                <a:gd name="T48" fmla="*/ 104 w 164"/>
                <a:gd name="T49" fmla="*/ 6 h 263"/>
                <a:gd name="T50" fmla="*/ 92 w 164"/>
                <a:gd name="T51" fmla="*/ 4 h 263"/>
                <a:gd name="T52" fmla="*/ 86 w 164"/>
                <a:gd name="T53" fmla="*/ 4 h 263"/>
                <a:gd name="T54" fmla="*/ 72 w 164"/>
                <a:gd name="T55" fmla="*/ 0 h 263"/>
                <a:gd name="T56" fmla="*/ 70 w 164"/>
                <a:gd name="T57" fmla="*/ 0 h 263"/>
                <a:gd name="T58" fmla="*/ 56 w 164"/>
                <a:gd name="T59" fmla="*/ 6 h 263"/>
                <a:gd name="T60" fmla="*/ 44 w 164"/>
                <a:gd name="T61" fmla="*/ 16 h 263"/>
                <a:gd name="T62" fmla="*/ 38 w 164"/>
                <a:gd name="T63" fmla="*/ 16 h 263"/>
                <a:gd name="T64" fmla="*/ 4 w 164"/>
                <a:gd name="T65" fmla="*/ 18 h 263"/>
                <a:gd name="T66" fmla="*/ 0 w 164"/>
                <a:gd name="T67" fmla="*/ 32 h 263"/>
                <a:gd name="T68" fmla="*/ 2 w 164"/>
                <a:gd name="T69" fmla="*/ 66 h 263"/>
                <a:gd name="T70" fmla="*/ 2 w 164"/>
                <a:gd name="T71" fmla="*/ 102 h 263"/>
                <a:gd name="T72" fmla="*/ 2 w 164"/>
                <a:gd name="T73" fmla="*/ 116 h 263"/>
                <a:gd name="T74" fmla="*/ 16 w 164"/>
                <a:gd name="T75" fmla="*/ 134 h 263"/>
                <a:gd name="T76" fmla="*/ 30 w 164"/>
                <a:gd name="T77" fmla="*/ 148 h 263"/>
                <a:gd name="T78" fmla="*/ 52 w 164"/>
                <a:gd name="T79" fmla="*/ 184 h 263"/>
                <a:gd name="T80" fmla="*/ 38 w 164"/>
                <a:gd name="T81" fmla="*/ 196 h 263"/>
                <a:gd name="T82" fmla="*/ 50 w 164"/>
                <a:gd name="T83" fmla="*/ 216 h 263"/>
                <a:gd name="T84" fmla="*/ 48 w 164"/>
                <a:gd name="T85" fmla="*/ 230 h 263"/>
                <a:gd name="T86" fmla="*/ 44 w 164"/>
                <a:gd name="T87" fmla="*/ 231 h 263"/>
                <a:gd name="T88" fmla="*/ 52 w 164"/>
                <a:gd name="T89" fmla="*/ 237 h 263"/>
                <a:gd name="T90" fmla="*/ 62 w 164"/>
                <a:gd name="T91" fmla="*/ 245 h 263"/>
                <a:gd name="T92" fmla="*/ 76 w 164"/>
                <a:gd name="T93" fmla="*/ 245 h 263"/>
                <a:gd name="T94" fmla="*/ 90 w 164"/>
                <a:gd name="T95" fmla="*/ 253 h 263"/>
                <a:gd name="T96" fmla="*/ 98 w 164"/>
                <a:gd name="T97" fmla="*/ 263 h 263"/>
                <a:gd name="T98" fmla="*/ 126 w 164"/>
                <a:gd name="T99" fmla="*/ 235 h 263"/>
                <a:gd name="T100" fmla="*/ 126 w 164"/>
                <a:gd name="T101" fmla="*/ 235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4" h="263">
                  <a:moveTo>
                    <a:pt x="126" y="235"/>
                  </a:moveTo>
                  <a:lnTo>
                    <a:pt x="120" y="228"/>
                  </a:lnTo>
                  <a:lnTo>
                    <a:pt x="128" y="214"/>
                  </a:lnTo>
                  <a:lnTo>
                    <a:pt x="120" y="202"/>
                  </a:lnTo>
                  <a:lnTo>
                    <a:pt x="122" y="188"/>
                  </a:lnTo>
                  <a:lnTo>
                    <a:pt x="138" y="178"/>
                  </a:lnTo>
                  <a:lnTo>
                    <a:pt x="134" y="166"/>
                  </a:lnTo>
                  <a:lnTo>
                    <a:pt x="148" y="146"/>
                  </a:lnTo>
                  <a:lnTo>
                    <a:pt x="134" y="146"/>
                  </a:lnTo>
                  <a:lnTo>
                    <a:pt x="130" y="140"/>
                  </a:lnTo>
                  <a:lnTo>
                    <a:pt x="122" y="146"/>
                  </a:lnTo>
                  <a:lnTo>
                    <a:pt x="118" y="138"/>
                  </a:lnTo>
                  <a:lnTo>
                    <a:pt x="126" y="124"/>
                  </a:lnTo>
                  <a:lnTo>
                    <a:pt x="132" y="118"/>
                  </a:lnTo>
                  <a:lnTo>
                    <a:pt x="130" y="110"/>
                  </a:lnTo>
                  <a:lnTo>
                    <a:pt x="130" y="110"/>
                  </a:lnTo>
                  <a:lnTo>
                    <a:pt x="130" y="100"/>
                  </a:lnTo>
                  <a:lnTo>
                    <a:pt x="130" y="90"/>
                  </a:lnTo>
                  <a:lnTo>
                    <a:pt x="130" y="90"/>
                  </a:lnTo>
                  <a:lnTo>
                    <a:pt x="130" y="88"/>
                  </a:lnTo>
                  <a:lnTo>
                    <a:pt x="130" y="86"/>
                  </a:lnTo>
                  <a:lnTo>
                    <a:pt x="136" y="80"/>
                  </a:lnTo>
                  <a:lnTo>
                    <a:pt x="136" y="80"/>
                  </a:lnTo>
                  <a:lnTo>
                    <a:pt x="138" y="78"/>
                  </a:lnTo>
                  <a:lnTo>
                    <a:pt x="138" y="78"/>
                  </a:lnTo>
                  <a:lnTo>
                    <a:pt x="142" y="74"/>
                  </a:lnTo>
                  <a:lnTo>
                    <a:pt x="154" y="70"/>
                  </a:lnTo>
                  <a:lnTo>
                    <a:pt x="164" y="64"/>
                  </a:lnTo>
                  <a:lnTo>
                    <a:pt x="164" y="64"/>
                  </a:lnTo>
                  <a:lnTo>
                    <a:pt x="160" y="40"/>
                  </a:lnTo>
                  <a:lnTo>
                    <a:pt x="160" y="40"/>
                  </a:lnTo>
                  <a:lnTo>
                    <a:pt x="158" y="38"/>
                  </a:lnTo>
                  <a:lnTo>
                    <a:pt x="156" y="30"/>
                  </a:lnTo>
                  <a:lnTo>
                    <a:pt x="154" y="28"/>
                  </a:lnTo>
                  <a:lnTo>
                    <a:pt x="152" y="26"/>
                  </a:lnTo>
                  <a:lnTo>
                    <a:pt x="152" y="26"/>
                  </a:lnTo>
                  <a:lnTo>
                    <a:pt x="150" y="24"/>
                  </a:lnTo>
                  <a:lnTo>
                    <a:pt x="148" y="18"/>
                  </a:lnTo>
                  <a:lnTo>
                    <a:pt x="142" y="10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38" y="2"/>
                  </a:lnTo>
                  <a:lnTo>
                    <a:pt x="138" y="2"/>
                  </a:lnTo>
                  <a:lnTo>
                    <a:pt x="126" y="6"/>
                  </a:lnTo>
                  <a:lnTo>
                    <a:pt x="118" y="8"/>
                  </a:lnTo>
                  <a:lnTo>
                    <a:pt x="114" y="8"/>
                  </a:lnTo>
                  <a:lnTo>
                    <a:pt x="114" y="8"/>
                  </a:lnTo>
                  <a:lnTo>
                    <a:pt x="104" y="6"/>
                  </a:lnTo>
                  <a:lnTo>
                    <a:pt x="98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86" y="4"/>
                  </a:lnTo>
                  <a:lnTo>
                    <a:pt x="82" y="4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0" y="0"/>
                  </a:lnTo>
                  <a:lnTo>
                    <a:pt x="66" y="2"/>
                  </a:lnTo>
                  <a:lnTo>
                    <a:pt x="56" y="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2" y="16"/>
                  </a:lnTo>
                  <a:lnTo>
                    <a:pt x="38" y="16"/>
                  </a:lnTo>
                  <a:lnTo>
                    <a:pt x="34" y="16"/>
                  </a:lnTo>
                  <a:lnTo>
                    <a:pt x="4" y="18"/>
                  </a:lnTo>
                  <a:lnTo>
                    <a:pt x="4" y="22"/>
                  </a:lnTo>
                  <a:lnTo>
                    <a:pt x="0" y="32"/>
                  </a:lnTo>
                  <a:lnTo>
                    <a:pt x="6" y="54"/>
                  </a:lnTo>
                  <a:lnTo>
                    <a:pt x="2" y="66"/>
                  </a:lnTo>
                  <a:lnTo>
                    <a:pt x="2" y="90"/>
                  </a:lnTo>
                  <a:lnTo>
                    <a:pt x="2" y="102"/>
                  </a:lnTo>
                  <a:lnTo>
                    <a:pt x="2" y="114"/>
                  </a:lnTo>
                  <a:lnTo>
                    <a:pt x="2" y="116"/>
                  </a:lnTo>
                  <a:lnTo>
                    <a:pt x="10" y="132"/>
                  </a:lnTo>
                  <a:lnTo>
                    <a:pt x="16" y="134"/>
                  </a:lnTo>
                  <a:lnTo>
                    <a:pt x="22" y="140"/>
                  </a:lnTo>
                  <a:lnTo>
                    <a:pt x="30" y="148"/>
                  </a:lnTo>
                  <a:lnTo>
                    <a:pt x="40" y="180"/>
                  </a:lnTo>
                  <a:lnTo>
                    <a:pt x="52" y="184"/>
                  </a:lnTo>
                  <a:lnTo>
                    <a:pt x="48" y="192"/>
                  </a:lnTo>
                  <a:lnTo>
                    <a:pt x="38" y="196"/>
                  </a:lnTo>
                  <a:lnTo>
                    <a:pt x="50" y="210"/>
                  </a:lnTo>
                  <a:lnTo>
                    <a:pt x="50" y="216"/>
                  </a:lnTo>
                  <a:lnTo>
                    <a:pt x="44" y="222"/>
                  </a:lnTo>
                  <a:lnTo>
                    <a:pt x="48" y="230"/>
                  </a:lnTo>
                  <a:lnTo>
                    <a:pt x="48" y="230"/>
                  </a:lnTo>
                  <a:lnTo>
                    <a:pt x="44" y="231"/>
                  </a:lnTo>
                  <a:lnTo>
                    <a:pt x="48" y="235"/>
                  </a:lnTo>
                  <a:lnTo>
                    <a:pt x="52" y="237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76" y="245"/>
                  </a:lnTo>
                  <a:lnTo>
                    <a:pt x="76" y="245"/>
                  </a:lnTo>
                  <a:lnTo>
                    <a:pt x="84" y="249"/>
                  </a:lnTo>
                  <a:lnTo>
                    <a:pt x="90" y="253"/>
                  </a:lnTo>
                  <a:lnTo>
                    <a:pt x="92" y="259"/>
                  </a:lnTo>
                  <a:lnTo>
                    <a:pt x="98" y="263"/>
                  </a:lnTo>
                  <a:lnTo>
                    <a:pt x="104" y="261"/>
                  </a:lnTo>
                  <a:lnTo>
                    <a:pt x="126" y="235"/>
                  </a:lnTo>
                  <a:lnTo>
                    <a:pt x="126" y="235"/>
                  </a:lnTo>
                  <a:lnTo>
                    <a:pt x="126" y="235"/>
                  </a:lnTo>
                  <a:lnTo>
                    <a:pt x="126" y="235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14" name="Freeform 73"/>
            <p:cNvSpPr>
              <a:spLocks/>
            </p:cNvSpPr>
            <p:nvPr/>
          </p:nvSpPr>
          <p:spPr bwMode="auto">
            <a:xfrm>
              <a:off x="1791" y="2213"/>
              <a:ext cx="301" cy="343"/>
            </a:xfrm>
            <a:custGeom>
              <a:avLst/>
              <a:gdLst>
                <a:gd name="T0" fmla="*/ 217 w 301"/>
                <a:gd name="T1" fmla="*/ 22 h 343"/>
                <a:gd name="T2" fmla="*/ 211 w 301"/>
                <a:gd name="T3" fmla="*/ 44 h 343"/>
                <a:gd name="T4" fmla="*/ 205 w 301"/>
                <a:gd name="T5" fmla="*/ 52 h 343"/>
                <a:gd name="T6" fmla="*/ 165 w 301"/>
                <a:gd name="T7" fmla="*/ 84 h 343"/>
                <a:gd name="T8" fmla="*/ 159 w 301"/>
                <a:gd name="T9" fmla="*/ 88 h 343"/>
                <a:gd name="T10" fmla="*/ 139 w 301"/>
                <a:gd name="T11" fmla="*/ 96 h 343"/>
                <a:gd name="T12" fmla="*/ 135 w 301"/>
                <a:gd name="T13" fmla="*/ 102 h 343"/>
                <a:gd name="T14" fmla="*/ 135 w 301"/>
                <a:gd name="T15" fmla="*/ 112 h 343"/>
                <a:gd name="T16" fmla="*/ 143 w 301"/>
                <a:gd name="T17" fmla="*/ 122 h 343"/>
                <a:gd name="T18" fmla="*/ 133 w 301"/>
                <a:gd name="T19" fmla="*/ 135 h 343"/>
                <a:gd name="T20" fmla="*/ 131 w 301"/>
                <a:gd name="T21" fmla="*/ 141 h 343"/>
                <a:gd name="T22" fmla="*/ 127 w 301"/>
                <a:gd name="T23" fmla="*/ 159 h 343"/>
                <a:gd name="T24" fmla="*/ 125 w 301"/>
                <a:gd name="T25" fmla="*/ 163 h 343"/>
                <a:gd name="T26" fmla="*/ 107 w 301"/>
                <a:gd name="T27" fmla="*/ 161 h 343"/>
                <a:gd name="T28" fmla="*/ 97 w 301"/>
                <a:gd name="T29" fmla="*/ 167 h 343"/>
                <a:gd name="T30" fmla="*/ 92 w 301"/>
                <a:gd name="T31" fmla="*/ 175 h 343"/>
                <a:gd name="T32" fmla="*/ 90 w 301"/>
                <a:gd name="T33" fmla="*/ 183 h 343"/>
                <a:gd name="T34" fmla="*/ 80 w 301"/>
                <a:gd name="T35" fmla="*/ 187 h 343"/>
                <a:gd name="T36" fmla="*/ 70 w 301"/>
                <a:gd name="T37" fmla="*/ 179 h 343"/>
                <a:gd name="T38" fmla="*/ 66 w 301"/>
                <a:gd name="T39" fmla="*/ 177 h 343"/>
                <a:gd name="T40" fmla="*/ 52 w 301"/>
                <a:gd name="T41" fmla="*/ 187 h 343"/>
                <a:gd name="T42" fmla="*/ 44 w 301"/>
                <a:gd name="T43" fmla="*/ 201 h 343"/>
                <a:gd name="T44" fmla="*/ 32 w 301"/>
                <a:gd name="T45" fmla="*/ 209 h 343"/>
                <a:gd name="T46" fmla="*/ 24 w 301"/>
                <a:gd name="T47" fmla="*/ 205 h 343"/>
                <a:gd name="T48" fmla="*/ 16 w 301"/>
                <a:gd name="T49" fmla="*/ 201 h 343"/>
                <a:gd name="T50" fmla="*/ 12 w 301"/>
                <a:gd name="T51" fmla="*/ 205 h 343"/>
                <a:gd name="T52" fmla="*/ 10 w 301"/>
                <a:gd name="T53" fmla="*/ 219 h 343"/>
                <a:gd name="T54" fmla="*/ 0 w 301"/>
                <a:gd name="T55" fmla="*/ 229 h 343"/>
                <a:gd name="T56" fmla="*/ 0 w 301"/>
                <a:gd name="T57" fmla="*/ 233 h 343"/>
                <a:gd name="T58" fmla="*/ 0 w 301"/>
                <a:gd name="T59" fmla="*/ 245 h 343"/>
                <a:gd name="T60" fmla="*/ 12 w 301"/>
                <a:gd name="T61" fmla="*/ 253 h 343"/>
                <a:gd name="T62" fmla="*/ 30 w 301"/>
                <a:gd name="T63" fmla="*/ 269 h 343"/>
                <a:gd name="T64" fmla="*/ 42 w 301"/>
                <a:gd name="T65" fmla="*/ 269 h 343"/>
                <a:gd name="T66" fmla="*/ 50 w 301"/>
                <a:gd name="T67" fmla="*/ 267 h 343"/>
                <a:gd name="T68" fmla="*/ 68 w 301"/>
                <a:gd name="T69" fmla="*/ 281 h 343"/>
                <a:gd name="T70" fmla="*/ 82 w 301"/>
                <a:gd name="T71" fmla="*/ 295 h 343"/>
                <a:gd name="T72" fmla="*/ 90 w 301"/>
                <a:gd name="T73" fmla="*/ 301 h 343"/>
                <a:gd name="T74" fmla="*/ 94 w 301"/>
                <a:gd name="T75" fmla="*/ 303 h 343"/>
                <a:gd name="T76" fmla="*/ 115 w 301"/>
                <a:gd name="T77" fmla="*/ 317 h 343"/>
                <a:gd name="T78" fmla="*/ 165 w 301"/>
                <a:gd name="T79" fmla="*/ 323 h 343"/>
                <a:gd name="T80" fmla="*/ 195 w 301"/>
                <a:gd name="T81" fmla="*/ 335 h 343"/>
                <a:gd name="T82" fmla="*/ 229 w 301"/>
                <a:gd name="T83" fmla="*/ 339 h 343"/>
                <a:gd name="T84" fmla="*/ 235 w 301"/>
                <a:gd name="T85" fmla="*/ 305 h 343"/>
                <a:gd name="T86" fmla="*/ 261 w 301"/>
                <a:gd name="T87" fmla="*/ 297 h 343"/>
                <a:gd name="T88" fmla="*/ 287 w 301"/>
                <a:gd name="T89" fmla="*/ 295 h 343"/>
                <a:gd name="T90" fmla="*/ 287 w 301"/>
                <a:gd name="T91" fmla="*/ 287 h 343"/>
                <a:gd name="T92" fmla="*/ 301 w 301"/>
                <a:gd name="T93" fmla="*/ 261 h 343"/>
                <a:gd name="T94" fmla="*/ 297 w 301"/>
                <a:gd name="T95" fmla="*/ 225 h 343"/>
                <a:gd name="T96" fmla="*/ 271 w 301"/>
                <a:gd name="T97" fmla="*/ 189 h 343"/>
                <a:gd name="T98" fmla="*/ 277 w 301"/>
                <a:gd name="T99" fmla="*/ 137 h 343"/>
                <a:gd name="T100" fmla="*/ 279 w 301"/>
                <a:gd name="T101" fmla="*/ 133 h 343"/>
                <a:gd name="T102" fmla="*/ 283 w 301"/>
                <a:gd name="T103" fmla="*/ 108 h 343"/>
                <a:gd name="T104" fmla="*/ 287 w 301"/>
                <a:gd name="T105" fmla="*/ 98 h 343"/>
                <a:gd name="T106" fmla="*/ 293 w 301"/>
                <a:gd name="T107" fmla="*/ 84 h 343"/>
                <a:gd name="T108" fmla="*/ 285 w 301"/>
                <a:gd name="T109" fmla="*/ 66 h 343"/>
                <a:gd name="T110" fmla="*/ 271 w 301"/>
                <a:gd name="T111" fmla="*/ 36 h 343"/>
                <a:gd name="T112" fmla="*/ 265 w 301"/>
                <a:gd name="T113" fmla="*/ 26 h 343"/>
                <a:gd name="T114" fmla="*/ 251 w 301"/>
                <a:gd name="T115" fmla="*/ 14 h 343"/>
                <a:gd name="T116" fmla="*/ 247 w 301"/>
                <a:gd name="T117" fmla="*/ 0 h 343"/>
                <a:gd name="T118" fmla="*/ 229 w 301"/>
                <a:gd name="T119" fmla="*/ 10 h 343"/>
                <a:gd name="T120" fmla="*/ 223 w 301"/>
                <a:gd name="T121" fmla="*/ 16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01" h="343">
                  <a:moveTo>
                    <a:pt x="223" y="16"/>
                  </a:moveTo>
                  <a:lnTo>
                    <a:pt x="223" y="16"/>
                  </a:lnTo>
                  <a:lnTo>
                    <a:pt x="217" y="22"/>
                  </a:lnTo>
                  <a:lnTo>
                    <a:pt x="215" y="30"/>
                  </a:lnTo>
                  <a:lnTo>
                    <a:pt x="213" y="38"/>
                  </a:lnTo>
                  <a:lnTo>
                    <a:pt x="211" y="44"/>
                  </a:lnTo>
                  <a:lnTo>
                    <a:pt x="211" y="44"/>
                  </a:lnTo>
                  <a:lnTo>
                    <a:pt x="209" y="48"/>
                  </a:lnTo>
                  <a:lnTo>
                    <a:pt x="205" y="52"/>
                  </a:lnTo>
                  <a:lnTo>
                    <a:pt x="189" y="64"/>
                  </a:lnTo>
                  <a:lnTo>
                    <a:pt x="177" y="74"/>
                  </a:lnTo>
                  <a:lnTo>
                    <a:pt x="165" y="84"/>
                  </a:lnTo>
                  <a:lnTo>
                    <a:pt x="165" y="84"/>
                  </a:lnTo>
                  <a:lnTo>
                    <a:pt x="163" y="86"/>
                  </a:lnTo>
                  <a:lnTo>
                    <a:pt x="159" y="88"/>
                  </a:lnTo>
                  <a:lnTo>
                    <a:pt x="153" y="92"/>
                  </a:lnTo>
                  <a:lnTo>
                    <a:pt x="143" y="94"/>
                  </a:lnTo>
                  <a:lnTo>
                    <a:pt x="139" y="96"/>
                  </a:lnTo>
                  <a:lnTo>
                    <a:pt x="135" y="98"/>
                  </a:lnTo>
                  <a:lnTo>
                    <a:pt x="135" y="98"/>
                  </a:lnTo>
                  <a:lnTo>
                    <a:pt x="135" y="102"/>
                  </a:lnTo>
                  <a:lnTo>
                    <a:pt x="133" y="108"/>
                  </a:lnTo>
                  <a:lnTo>
                    <a:pt x="135" y="108"/>
                  </a:lnTo>
                  <a:lnTo>
                    <a:pt x="135" y="112"/>
                  </a:lnTo>
                  <a:lnTo>
                    <a:pt x="139" y="116"/>
                  </a:lnTo>
                  <a:lnTo>
                    <a:pt x="143" y="122"/>
                  </a:lnTo>
                  <a:lnTo>
                    <a:pt x="143" y="122"/>
                  </a:lnTo>
                  <a:lnTo>
                    <a:pt x="145" y="127"/>
                  </a:lnTo>
                  <a:lnTo>
                    <a:pt x="143" y="129"/>
                  </a:lnTo>
                  <a:lnTo>
                    <a:pt x="133" y="135"/>
                  </a:lnTo>
                  <a:lnTo>
                    <a:pt x="133" y="135"/>
                  </a:lnTo>
                  <a:lnTo>
                    <a:pt x="131" y="137"/>
                  </a:lnTo>
                  <a:lnTo>
                    <a:pt x="131" y="141"/>
                  </a:lnTo>
                  <a:lnTo>
                    <a:pt x="131" y="147"/>
                  </a:lnTo>
                  <a:lnTo>
                    <a:pt x="131" y="157"/>
                  </a:lnTo>
                  <a:lnTo>
                    <a:pt x="127" y="159"/>
                  </a:lnTo>
                  <a:lnTo>
                    <a:pt x="125" y="161"/>
                  </a:lnTo>
                  <a:lnTo>
                    <a:pt x="125" y="161"/>
                  </a:lnTo>
                  <a:lnTo>
                    <a:pt x="125" y="163"/>
                  </a:lnTo>
                  <a:lnTo>
                    <a:pt x="121" y="163"/>
                  </a:lnTo>
                  <a:lnTo>
                    <a:pt x="117" y="163"/>
                  </a:lnTo>
                  <a:lnTo>
                    <a:pt x="107" y="161"/>
                  </a:lnTo>
                  <a:lnTo>
                    <a:pt x="107" y="161"/>
                  </a:lnTo>
                  <a:lnTo>
                    <a:pt x="103" y="163"/>
                  </a:lnTo>
                  <a:lnTo>
                    <a:pt x="97" y="167"/>
                  </a:lnTo>
                  <a:lnTo>
                    <a:pt x="94" y="173"/>
                  </a:lnTo>
                  <a:lnTo>
                    <a:pt x="92" y="175"/>
                  </a:lnTo>
                  <a:lnTo>
                    <a:pt x="92" y="175"/>
                  </a:lnTo>
                  <a:lnTo>
                    <a:pt x="92" y="175"/>
                  </a:lnTo>
                  <a:lnTo>
                    <a:pt x="92" y="179"/>
                  </a:lnTo>
                  <a:lnTo>
                    <a:pt x="90" y="183"/>
                  </a:lnTo>
                  <a:lnTo>
                    <a:pt x="86" y="185"/>
                  </a:lnTo>
                  <a:lnTo>
                    <a:pt x="80" y="187"/>
                  </a:lnTo>
                  <a:lnTo>
                    <a:pt x="80" y="187"/>
                  </a:lnTo>
                  <a:lnTo>
                    <a:pt x="78" y="187"/>
                  </a:lnTo>
                  <a:lnTo>
                    <a:pt x="76" y="185"/>
                  </a:lnTo>
                  <a:lnTo>
                    <a:pt x="70" y="179"/>
                  </a:lnTo>
                  <a:lnTo>
                    <a:pt x="70" y="179"/>
                  </a:lnTo>
                  <a:lnTo>
                    <a:pt x="68" y="177"/>
                  </a:lnTo>
                  <a:lnTo>
                    <a:pt x="66" y="177"/>
                  </a:lnTo>
                  <a:lnTo>
                    <a:pt x="58" y="181"/>
                  </a:lnTo>
                  <a:lnTo>
                    <a:pt x="58" y="181"/>
                  </a:lnTo>
                  <a:lnTo>
                    <a:pt x="52" y="187"/>
                  </a:lnTo>
                  <a:lnTo>
                    <a:pt x="50" y="193"/>
                  </a:lnTo>
                  <a:lnTo>
                    <a:pt x="50" y="193"/>
                  </a:lnTo>
                  <a:lnTo>
                    <a:pt x="44" y="201"/>
                  </a:lnTo>
                  <a:lnTo>
                    <a:pt x="40" y="205"/>
                  </a:lnTo>
                  <a:lnTo>
                    <a:pt x="32" y="209"/>
                  </a:lnTo>
                  <a:lnTo>
                    <a:pt x="32" y="209"/>
                  </a:lnTo>
                  <a:lnTo>
                    <a:pt x="30" y="209"/>
                  </a:lnTo>
                  <a:lnTo>
                    <a:pt x="28" y="209"/>
                  </a:lnTo>
                  <a:lnTo>
                    <a:pt x="24" y="205"/>
                  </a:lnTo>
                  <a:lnTo>
                    <a:pt x="22" y="203"/>
                  </a:lnTo>
                  <a:lnTo>
                    <a:pt x="18" y="201"/>
                  </a:lnTo>
                  <a:lnTo>
                    <a:pt x="16" y="201"/>
                  </a:lnTo>
                  <a:lnTo>
                    <a:pt x="16" y="201"/>
                  </a:lnTo>
                  <a:lnTo>
                    <a:pt x="12" y="203"/>
                  </a:lnTo>
                  <a:lnTo>
                    <a:pt x="12" y="205"/>
                  </a:lnTo>
                  <a:lnTo>
                    <a:pt x="12" y="209"/>
                  </a:lnTo>
                  <a:lnTo>
                    <a:pt x="10" y="213"/>
                  </a:lnTo>
                  <a:lnTo>
                    <a:pt x="10" y="219"/>
                  </a:lnTo>
                  <a:lnTo>
                    <a:pt x="8" y="221"/>
                  </a:lnTo>
                  <a:lnTo>
                    <a:pt x="8" y="221"/>
                  </a:lnTo>
                  <a:lnTo>
                    <a:pt x="0" y="229"/>
                  </a:lnTo>
                  <a:lnTo>
                    <a:pt x="0" y="229"/>
                  </a:lnTo>
                  <a:lnTo>
                    <a:pt x="2" y="231"/>
                  </a:lnTo>
                  <a:lnTo>
                    <a:pt x="0" y="233"/>
                  </a:lnTo>
                  <a:lnTo>
                    <a:pt x="0" y="241"/>
                  </a:lnTo>
                  <a:lnTo>
                    <a:pt x="0" y="241"/>
                  </a:lnTo>
                  <a:lnTo>
                    <a:pt x="0" y="245"/>
                  </a:lnTo>
                  <a:lnTo>
                    <a:pt x="4" y="249"/>
                  </a:lnTo>
                  <a:lnTo>
                    <a:pt x="12" y="253"/>
                  </a:lnTo>
                  <a:lnTo>
                    <a:pt x="12" y="253"/>
                  </a:lnTo>
                  <a:lnTo>
                    <a:pt x="24" y="261"/>
                  </a:lnTo>
                  <a:lnTo>
                    <a:pt x="30" y="269"/>
                  </a:lnTo>
                  <a:lnTo>
                    <a:pt x="30" y="269"/>
                  </a:lnTo>
                  <a:lnTo>
                    <a:pt x="34" y="271"/>
                  </a:lnTo>
                  <a:lnTo>
                    <a:pt x="34" y="271"/>
                  </a:lnTo>
                  <a:lnTo>
                    <a:pt x="42" y="269"/>
                  </a:lnTo>
                  <a:lnTo>
                    <a:pt x="48" y="267"/>
                  </a:lnTo>
                  <a:lnTo>
                    <a:pt x="48" y="267"/>
                  </a:lnTo>
                  <a:lnTo>
                    <a:pt x="50" y="267"/>
                  </a:lnTo>
                  <a:lnTo>
                    <a:pt x="54" y="269"/>
                  </a:lnTo>
                  <a:lnTo>
                    <a:pt x="58" y="273"/>
                  </a:lnTo>
                  <a:lnTo>
                    <a:pt x="68" y="281"/>
                  </a:lnTo>
                  <a:lnTo>
                    <a:pt x="68" y="281"/>
                  </a:lnTo>
                  <a:lnTo>
                    <a:pt x="76" y="289"/>
                  </a:lnTo>
                  <a:lnTo>
                    <a:pt x="82" y="295"/>
                  </a:lnTo>
                  <a:lnTo>
                    <a:pt x="90" y="299"/>
                  </a:lnTo>
                  <a:lnTo>
                    <a:pt x="90" y="299"/>
                  </a:lnTo>
                  <a:lnTo>
                    <a:pt x="90" y="301"/>
                  </a:lnTo>
                  <a:lnTo>
                    <a:pt x="90" y="301"/>
                  </a:lnTo>
                  <a:lnTo>
                    <a:pt x="92" y="303"/>
                  </a:lnTo>
                  <a:lnTo>
                    <a:pt x="94" y="303"/>
                  </a:lnTo>
                  <a:lnTo>
                    <a:pt x="97" y="301"/>
                  </a:lnTo>
                  <a:lnTo>
                    <a:pt x="99" y="299"/>
                  </a:lnTo>
                  <a:lnTo>
                    <a:pt x="115" y="317"/>
                  </a:lnTo>
                  <a:lnTo>
                    <a:pt x="121" y="317"/>
                  </a:lnTo>
                  <a:lnTo>
                    <a:pt x="143" y="313"/>
                  </a:lnTo>
                  <a:lnTo>
                    <a:pt x="165" y="323"/>
                  </a:lnTo>
                  <a:lnTo>
                    <a:pt x="177" y="329"/>
                  </a:lnTo>
                  <a:lnTo>
                    <a:pt x="187" y="341"/>
                  </a:lnTo>
                  <a:lnTo>
                    <a:pt x="195" y="335"/>
                  </a:lnTo>
                  <a:lnTo>
                    <a:pt x="219" y="339"/>
                  </a:lnTo>
                  <a:lnTo>
                    <a:pt x="225" y="343"/>
                  </a:lnTo>
                  <a:lnTo>
                    <a:pt x="229" y="339"/>
                  </a:lnTo>
                  <a:lnTo>
                    <a:pt x="227" y="329"/>
                  </a:lnTo>
                  <a:lnTo>
                    <a:pt x="233" y="315"/>
                  </a:lnTo>
                  <a:lnTo>
                    <a:pt x="235" y="305"/>
                  </a:lnTo>
                  <a:lnTo>
                    <a:pt x="241" y="295"/>
                  </a:lnTo>
                  <a:lnTo>
                    <a:pt x="259" y="293"/>
                  </a:lnTo>
                  <a:lnTo>
                    <a:pt x="261" y="297"/>
                  </a:lnTo>
                  <a:lnTo>
                    <a:pt x="275" y="295"/>
                  </a:lnTo>
                  <a:lnTo>
                    <a:pt x="287" y="295"/>
                  </a:lnTo>
                  <a:lnTo>
                    <a:pt x="287" y="295"/>
                  </a:lnTo>
                  <a:lnTo>
                    <a:pt x="287" y="293"/>
                  </a:lnTo>
                  <a:lnTo>
                    <a:pt x="287" y="287"/>
                  </a:lnTo>
                  <a:lnTo>
                    <a:pt x="287" y="287"/>
                  </a:lnTo>
                  <a:lnTo>
                    <a:pt x="291" y="279"/>
                  </a:lnTo>
                  <a:lnTo>
                    <a:pt x="295" y="273"/>
                  </a:lnTo>
                  <a:lnTo>
                    <a:pt x="301" y="261"/>
                  </a:lnTo>
                  <a:lnTo>
                    <a:pt x="293" y="257"/>
                  </a:lnTo>
                  <a:lnTo>
                    <a:pt x="291" y="241"/>
                  </a:lnTo>
                  <a:lnTo>
                    <a:pt x="297" y="225"/>
                  </a:lnTo>
                  <a:lnTo>
                    <a:pt x="297" y="219"/>
                  </a:lnTo>
                  <a:lnTo>
                    <a:pt x="297" y="209"/>
                  </a:lnTo>
                  <a:lnTo>
                    <a:pt x="271" y="189"/>
                  </a:lnTo>
                  <a:lnTo>
                    <a:pt x="271" y="183"/>
                  </a:lnTo>
                  <a:lnTo>
                    <a:pt x="283" y="151"/>
                  </a:lnTo>
                  <a:lnTo>
                    <a:pt x="277" y="137"/>
                  </a:lnTo>
                  <a:lnTo>
                    <a:pt x="277" y="137"/>
                  </a:lnTo>
                  <a:lnTo>
                    <a:pt x="279" y="137"/>
                  </a:lnTo>
                  <a:lnTo>
                    <a:pt x="279" y="133"/>
                  </a:lnTo>
                  <a:lnTo>
                    <a:pt x="279" y="133"/>
                  </a:lnTo>
                  <a:lnTo>
                    <a:pt x="281" y="116"/>
                  </a:lnTo>
                  <a:lnTo>
                    <a:pt x="283" y="108"/>
                  </a:lnTo>
                  <a:lnTo>
                    <a:pt x="285" y="102"/>
                  </a:lnTo>
                  <a:lnTo>
                    <a:pt x="285" y="102"/>
                  </a:lnTo>
                  <a:lnTo>
                    <a:pt x="287" y="98"/>
                  </a:lnTo>
                  <a:lnTo>
                    <a:pt x="287" y="94"/>
                  </a:lnTo>
                  <a:lnTo>
                    <a:pt x="293" y="84"/>
                  </a:lnTo>
                  <a:lnTo>
                    <a:pt x="293" y="84"/>
                  </a:lnTo>
                  <a:lnTo>
                    <a:pt x="293" y="82"/>
                  </a:lnTo>
                  <a:lnTo>
                    <a:pt x="291" y="76"/>
                  </a:lnTo>
                  <a:lnTo>
                    <a:pt x="285" y="66"/>
                  </a:lnTo>
                  <a:lnTo>
                    <a:pt x="277" y="44"/>
                  </a:lnTo>
                  <a:lnTo>
                    <a:pt x="277" y="44"/>
                  </a:lnTo>
                  <a:lnTo>
                    <a:pt x="271" y="36"/>
                  </a:lnTo>
                  <a:lnTo>
                    <a:pt x="269" y="28"/>
                  </a:lnTo>
                  <a:lnTo>
                    <a:pt x="265" y="26"/>
                  </a:lnTo>
                  <a:lnTo>
                    <a:pt x="265" y="26"/>
                  </a:lnTo>
                  <a:lnTo>
                    <a:pt x="257" y="20"/>
                  </a:lnTo>
                  <a:lnTo>
                    <a:pt x="251" y="16"/>
                  </a:lnTo>
                  <a:lnTo>
                    <a:pt x="251" y="14"/>
                  </a:lnTo>
                  <a:lnTo>
                    <a:pt x="251" y="14"/>
                  </a:lnTo>
                  <a:lnTo>
                    <a:pt x="253" y="4"/>
                  </a:lnTo>
                  <a:lnTo>
                    <a:pt x="247" y="0"/>
                  </a:lnTo>
                  <a:lnTo>
                    <a:pt x="247" y="0"/>
                  </a:lnTo>
                  <a:lnTo>
                    <a:pt x="235" y="6"/>
                  </a:lnTo>
                  <a:lnTo>
                    <a:pt x="229" y="10"/>
                  </a:lnTo>
                  <a:lnTo>
                    <a:pt x="223" y="16"/>
                  </a:lnTo>
                  <a:lnTo>
                    <a:pt x="223" y="16"/>
                  </a:lnTo>
                  <a:lnTo>
                    <a:pt x="223" y="16"/>
                  </a:lnTo>
                  <a:lnTo>
                    <a:pt x="223" y="16"/>
                  </a:lnTo>
                  <a:lnTo>
                    <a:pt x="223" y="16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15" name="Freeform 74"/>
            <p:cNvSpPr>
              <a:spLocks/>
            </p:cNvSpPr>
            <p:nvPr/>
          </p:nvSpPr>
          <p:spPr bwMode="auto">
            <a:xfrm>
              <a:off x="1106" y="1831"/>
              <a:ext cx="171" cy="139"/>
            </a:xfrm>
            <a:custGeom>
              <a:avLst/>
              <a:gdLst>
                <a:gd name="T0" fmla="*/ 32 w 171"/>
                <a:gd name="T1" fmla="*/ 125 h 139"/>
                <a:gd name="T2" fmla="*/ 34 w 171"/>
                <a:gd name="T3" fmla="*/ 125 h 139"/>
                <a:gd name="T4" fmla="*/ 42 w 171"/>
                <a:gd name="T5" fmla="*/ 125 h 139"/>
                <a:gd name="T6" fmla="*/ 48 w 171"/>
                <a:gd name="T7" fmla="*/ 125 h 139"/>
                <a:gd name="T8" fmla="*/ 62 w 171"/>
                <a:gd name="T9" fmla="*/ 123 h 139"/>
                <a:gd name="T10" fmla="*/ 62 w 171"/>
                <a:gd name="T11" fmla="*/ 123 h 139"/>
                <a:gd name="T12" fmla="*/ 70 w 171"/>
                <a:gd name="T13" fmla="*/ 113 h 139"/>
                <a:gd name="T14" fmla="*/ 78 w 171"/>
                <a:gd name="T15" fmla="*/ 121 h 139"/>
                <a:gd name="T16" fmla="*/ 86 w 171"/>
                <a:gd name="T17" fmla="*/ 137 h 139"/>
                <a:gd name="T18" fmla="*/ 88 w 171"/>
                <a:gd name="T19" fmla="*/ 135 h 139"/>
                <a:gd name="T20" fmla="*/ 96 w 171"/>
                <a:gd name="T21" fmla="*/ 133 h 139"/>
                <a:gd name="T22" fmla="*/ 102 w 171"/>
                <a:gd name="T23" fmla="*/ 139 h 139"/>
                <a:gd name="T24" fmla="*/ 110 w 171"/>
                <a:gd name="T25" fmla="*/ 139 h 139"/>
                <a:gd name="T26" fmla="*/ 114 w 171"/>
                <a:gd name="T27" fmla="*/ 137 h 139"/>
                <a:gd name="T28" fmla="*/ 137 w 171"/>
                <a:gd name="T29" fmla="*/ 139 h 139"/>
                <a:gd name="T30" fmla="*/ 139 w 171"/>
                <a:gd name="T31" fmla="*/ 135 h 139"/>
                <a:gd name="T32" fmla="*/ 149 w 171"/>
                <a:gd name="T33" fmla="*/ 125 h 139"/>
                <a:gd name="T34" fmla="*/ 157 w 171"/>
                <a:gd name="T35" fmla="*/ 123 h 139"/>
                <a:gd name="T36" fmla="*/ 167 w 171"/>
                <a:gd name="T37" fmla="*/ 117 h 139"/>
                <a:gd name="T38" fmla="*/ 171 w 171"/>
                <a:gd name="T39" fmla="*/ 107 h 139"/>
                <a:gd name="T40" fmla="*/ 167 w 171"/>
                <a:gd name="T41" fmla="*/ 107 h 139"/>
                <a:gd name="T42" fmla="*/ 161 w 171"/>
                <a:gd name="T43" fmla="*/ 99 h 139"/>
                <a:gd name="T44" fmla="*/ 157 w 171"/>
                <a:gd name="T45" fmla="*/ 83 h 139"/>
                <a:gd name="T46" fmla="*/ 149 w 171"/>
                <a:gd name="T47" fmla="*/ 71 h 139"/>
                <a:gd name="T48" fmla="*/ 143 w 171"/>
                <a:gd name="T49" fmla="*/ 71 h 139"/>
                <a:gd name="T50" fmla="*/ 131 w 171"/>
                <a:gd name="T51" fmla="*/ 69 h 139"/>
                <a:gd name="T52" fmla="*/ 118 w 171"/>
                <a:gd name="T53" fmla="*/ 61 h 139"/>
                <a:gd name="T54" fmla="*/ 110 w 171"/>
                <a:gd name="T55" fmla="*/ 45 h 139"/>
                <a:gd name="T56" fmla="*/ 102 w 171"/>
                <a:gd name="T57" fmla="*/ 38 h 139"/>
                <a:gd name="T58" fmla="*/ 100 w 171"/>
                <a:gd name="T59" fmla="*/ 34 h 139"/>
                <a:gd name="T60" fmla="*/ 102 w 171"/>
                <a:gd name="T61" fmla="*/ 26 h 139"/>
                <a:gd name="T62" fmla="*/ 98 w 171"/>
                <a:gd name="T63" fmla="*/ 22 h 139"/>
                <a:gd name="T64" fmla="*/ 92 w 171"/>
                <a:gd name="T65" fmla="*/ 18 h 139"/>
                <a:gd name="T66" fmla="*/ 88 w 171"/>
                <a:gd name="T67" fmla="*/ 8 h 139"/>
                <a:gd name="T68" fmla="*/ 86 w 171"/>
                <a:gd name="T69" fmla="*/ 2 h 139"/>
                <a:gd name="T70" fmla="*/ 74 w 171"/>
                <a:gd name="T71" fmla="*/ 2 h 139"/>
                <a:gd name="T72" fmla="*/ 70 w 171"/>
                <a:gd name="T73" fmla="*/ 8 h 139"/>
                <a:gd name="T74" fmla="*/ 62 w 171"/>
                <a:gd name="T75" fmla="*/ 10 h 139"/>
                <a:gd name="T76" fmla="*/ 52 w 171"/>
                <a:gd name="T77" fmla="*/ 22 h 139"/>
                <a:gd name="T78" fmla="*/ 34 w 171"/>
                <a:gd name="T79" fmla="*/ 22 h 139"/>
                <a:gd name="T80" fmla="*/ 34 w 171"/>
                <a:gd name="T81" fmla="*/ 36 h 139"/>
                <a:gd name="T82" fmla="*/ 26 w 171"/>
                <a:gd name="T83" fmla="*/ 41 h 139"/>
                <a:gd name="T84" fmla="*/ 24 w 171"/>
                <a:gd name="T85" fmla="*/ 45 h 139"/>
                <a:gd name="T86" fmla="*/ 18 w 171"/>
                <a:gd name="T87" fmla="*/ 53 h 139"/>
                <a:gd name="T88" fmla="*/ 16 w 171"/>
                <a:gd name="T89" fmla="*/ 63 h 139"/>
                <a:gd name="T90" fmla="*/ 16 w 171"/>
                <a:gd name="T91" fmla="*/ 77 h 139"/>
                <a:gd name="T92" fmla="*/ 12 w 171"/>
                <a:gd name="T93" fmla="*/ 81 h 139"/>
                <a:gd name="T94" fmla="*/ 2 w 171"/>
                <a:gd name="T95" fmla="*/ 85 h 139"/>
                <a:gd name="T96" fmla="*/ 6 w 171"/>
                <a:gd name="T97" fmla="*/ 99 h 139"/>
                <a:gd name="T98" fmla="*/ 6 w 171"/>
                <a:gd name="T99" fmla="*/ 107 h 139"/>
                <a:gd name="T100" fmla="*/ 2 w 171"/>
                <a:gd name="T101" fmla="*/ 111 h 139"/>
                <a:gd name="T102" fmla="*/ 0 w 171"/>
                <a:gd name="T103" fmla="*/ 125 h 139"/>
                <a:gd name="T104" fmla="*/ 8 w 171"/>
                <a:gd name="T105" fmla="*/ 125 h 139"/>
                <a:gd name="T106" fmla="*/ 28 w 171"/>
                <a:gd name="T107" fmla="*/ 125 h 139"/>
                <a:gd name="T108" fmla="*/ 28 w 171"/>
                <a:gd name="T109" fmla="*/ 125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1" h="139">
                  <a:moveTo>
                    <a:pt x="28" y="125"/>
                  </a:moveTo>
                  <a:lnTo>
                    <a:pt x="28" y="125"/>
                  </a:lnTo>
                  <a:lnTo>
                    <a:pt x="32" y="125"/>
                  </a:lnTo>
                  <a:lnTo>
                    <a:pt x="34" y="125"/>
                  </a:lnTo>
                  <a:lnTo>
                    <a:pt x="34" y="125"/>
                  </a:lnTo>
                  <a:lnTo>
                    <a:pt x="34" y="125"/>
                  </a:lnTo>
                  <a:lnTo>
                    <a:pt x="34" y="125"/>
                  </a:lnTo>
                  <a:lnTo>
                    <a:pt x="42" y="125"/>
                  </a:lnTo>
                  <a:lnTo>
                    <a:pt x="42" y="125"/>
                  </a:lnTo>
                  <a:lnTo>
                    <a:pt x="44" y="125"/>
                  </a:lnTo>
                  <a:lnTo>
                    <a:pt x="48" y="125"/>
                  </a:lnTo>
                  <a:lnTo>
                    <a:pt x="48" y="125"/>
                  </a:lnTo>
                  <a:lnTo>
                    <a:pt x="56" y="125"/>
                  </a:lnTo>
                  <a:lnTo>
                    <a:pt x="62" y="125"/>
                  </a:lnTo>
                  <a:lnTo>
                    <a:pt x="62" y="123"/>
                  </a:lnTo>
                  <a:lnTo>
                    <a:pt x="62" y="123"/>
                  </a:lnTo>
                  <a:lnTo>
                    <a:pt x="62" y="123"/>
                  </a:lnTo>
                  <a:lnTo>
                    <a:pt x="62" y="123"/>
                  </a:lnTo>
                  <a:lnTo>
                    <a:pt x="66" y="117"/>
                  </a:lnTo>
                  <a:lnTo>
                    <a:pt x="66" y="115"/>
                  </a:lnTo>
                  <a:lnTo>
                    <a:pt x="70" y="113"/>
                  </a:lnTo>
                  <a:lnTo>
                    <a:pt x="70" y="113"/>
                  </a:lnTo>
                  <a:lnTo>
                    <a:pt x="74" y="117"/>
                  </a:lnTo>
                  <a:lnTo>
                    <a:pt x="78" y="121"/>
                  </a:lnTo>
                  <a:lnTo>
                    <a:pt x="80" y="131"/>
                  </a:lnTo>
                  <a:lnTo>
                    <a:pt x="80" y="131"/>
                  </a:lnTo>
                  <a:lnTo>
                    <a:pt x="86" y="137"/>
                  </a:lnTo>
                  <a:lnTo>
                    <a:pt x="86" y="137"/>
                  </a:lnTo>
                  <a:lnTo>
                    <a:pt x="88" y="135"/>
                  </a:lnTo>
                  <a:lnTo>
                    <a:pt x="88" y="135"/>
                  </a:lnTo>
                  <a:lnTo>
                    <a:pt x="94" y="131"/>
                  </a:lnTo>
                  <a:lnTo>
                    <a:pt x="96" y="131"/>
                  </a:lnTo>
                  <a:lnTo>
                    <a:pt x="96" y="133"/>
                  </a:lnTo>
                  <a:lnTo>
                    <a:pt x="96" y="133"/>
                  </a:lnTo>
                  <a:lnTo>
                    <a:pt x="100" y="139"/>
                  </a:lnTo>
                  <a:lnTo>
                    <a:pt x="102" y="139"/>
                  </a:lnTo>
                  <a:lnTo>
                    <a:pt x="104" y="139"/>
                  </a:lnTo>
                  <a:lnTo>
                    <a:pt x="104" y="139"/>
                  </a:lnTo>
                  <a:lnTo>
                    <a:pt x="110" y="139"/>
                  </a:lnTo>
                  <a:lnTo>
                    <a:pt x="112" y="137"/>
                  </a:lnTo>
                  <a:lnTo>
                    <a:pt x="114" y="137"/>
                  </a:lnTo>
                  <a:lnTo>
                    <a:pt x="114" y="137"/>
                  </a:lnTo>
                  <a:lnTo>
                    <a:pt x="123" y="139"/>
                  </a:lnTo>
                  <a:lnTo>
                    <a:pt x="133" y="139"/>
                  </a:lnTo>
                  <a:lnTo>
                    <a:pt x="137" y="139"/>
                  </a:lnTo>
                  <a:lnTo>
                    <a:pt x="137" y="137"/>
                  </a:lnTo>
                  <a:lnTo>
                    <a:pt x="137" y="137"/>
                  </a:lnTo>
                  <a:lnTo>
                    <a:pt x="139" y="135"/>
                  </a:lnTo>
                  <a:lnTo>
                    <a:pt x="139" y="135"/>
                  </a:lnTo>
                  <a:lnTo>
                    <a:pt x="145" y="129"/>
                  </a:lnTo>
                  <a:lnTo>
                    <a:pt x="149" y="125"/>
                  </a:lnTo>
                  <a:lnTo>
                    <a:pt x="155" y="125"/>
                  </a:lnTo>
                  <a:lnTo>
                    <a:pt x="155" y="125"/>
                  </a:lnTo>
                  <a:lnTo>
                    <a:pt x="157" y="123"/>
                  </a:lnTo>
                  <a:lnTo>
                    <a:pt x="161" y="123"/>
                  </a:lnTo>
                  <a:lnTo>
                    <a:pt x="165" y="123"/>
                  </a:lnTo>
                  <a:lnTo>
                    <a:pt x="167" y="117"/>
                  </a:lnTo>
                  <a:lnTo>
                    <a:pt x="167" y="117"/>
                  </a:lnTo>
                  <a:lnTo>
                    <a:pt x="171" y="107"/>
                  </a:lnTo>
                  <a:lnTo>
                    <a:pt x="171" y="107"/>
                  </a:lnTo>
                  <a:lnTo>
                    <a:pt x="169" y="107"/>
                  </a:lnTo>
                  <a:lnTo>
                    <a:pt x="169" y="107"/>
                  </a:lnTo>
                  <a:lnTo>
                    <a:pt x="167" y="107"/>
                  </a:lnTo>
                  <a:lnTo>
                    <a:pt x="165" y="103"/>
                  </a:lnTo>
                  <a:lnTo>
                    <a:pt x="161" y="99"/>
                  </a:lnTo>
                  <a:lnTo>
                    <a:pt x="161" y="99"/>
                  </a:lnTo>
                  <a:lnTo>
                    <a:pt x="157" y="87"/>
                  </a:lnTo>
                  <a:lnTo>
                    <a:pt x="157" y="87"/>
                  </a:lnTo>
                  <a:lnTo>
                    <a:pt x="157" y="83"/>
                  </a:lnTo>
                  <a:lnTo>
                    <a:pt x="155" y="81"/>
                  </a:lnTo>
                  <a:lnTo>
                    <a:pt x="155" y="77"/>
                  </a:lnTo>
                  <a:lnTo>
                    <a:pt x="149" y="71"/>
                  </a:lnTo>
                  <a:lnTo>
                    <a:pt x="149" y="71"/>
                  </a:lnTo>
                  <a:lnTo>
                    <a:pt x="147" y="71"/>
                  </a:lnTo>
                  <a:lnTo>
                    <a:pt x="143" y="71"/>
                  </a:lnTo>
                  <a:lnTo>
                    <a:pt x="143" y="71"/>
                  </a:lnTo>
                  <a:lnTo>
                    <a:pt x="139" y="71"/>
                  </a:lnTo>
                  <a:lnTo>
                    <a:pt x="131" y="69"/>
                  </a:lnTo>
                  <a:lnTo>
                    <a:pt x="131" y="69"/>
                  </a:lnTo>
                  <a:lnTo>
                    <a:pt x="123" y="65"/>
                  </a:lnTo>
                  <a:lnTo>
                    <a:pt x="118" y="61"/>
                  </a:lnTo>
                  <a:lnTo>
                    <a:pt x="112" y="49"/>
                  </a:lnTo>
                  <a:lnTo>
                    <a:pt x="112" y="49"/>
                  </a:lnTo>
                  <a:lnTo>
                    <a:pt x="110" y="45"/>
                  </a:lnTo>
                  <a:lnTo>
                    <a:pt x="108" y="41"/>
                  </a:lnTo>
                  <a:lnTo>
                    <a:pt x="108" y="41"/>
                  </a:lnTo>
                  <a:lnTo>
                    <a:pt x="102" y="38"/>
                  </a:lnTo>
                  <a:lnTo>
                    <a:pt x="100" y="34"/>
                  </a:lnTo>
                  <a:lnTo>
                    <a:pt x="100" y="34"/>
                  </a:lnTo>
                  <a:lnTo>
                    <a:pt x="100" y="34"/>
                  </a:lnTo>
                  <a:lnTo>
                    <a:pt x="100" y="34"/>
                  </a:lnTo>
                  <a:lnTo>
                    <a:pt x="102" y="32"/>
                  </a:lnTo>
                  <a:lnTo>
                    <a:pt x="102" y="26"/>
                  </a:lnTo>
                  <a:lnTo>
                    <a:pt x="100" y="24"/>
                  </a:lnTo>
                  <a:lnTo>
                    <a:pt x="98" y="22"/>
                  </a:lnTo>
                  <a:lnTo>
                    <a:pt x="98" y="22"/>
                  </a:lnTo>
                  <a:lnTo>
                    <a:pt x="96" y="22"/>
                  </a:lnTo>
                  <a:lnTo>
                    <a:pt x="94" y="20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88" y="12"/>
                  </a:lnTo>
                  <a:lnTo>
                    <a:pt x="88" y="8"/>
                  </a:lnTo>
                  <a:lnTo>
                    <a:pt x="86" y="2"/>
                  </a:lnTo>
                  <a:lnTo>
                    <a:pt x="86" y="2"/>
                  </a:lnTo>
                  <a:lnTo>
                    <a:pt x="86" y="2"/>
                  </a:lnTo>
                  <a:lnTo>
                    <a:pt x="80" y="0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0" y="8"/>
                  </a:lnTo>
                  <a:lnTo>
                    <a:pt x="66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56" y="18"/>
                  </a:lnTo>
                  <a:lnTo>
                    <a:pt x="52" y="20"/>
                  </a:lnTo>
                  <a:lnTo>
                    <a:pt x="52" y="22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2" y="38"/>
                  </a:lnTo>
                  <a:lnTo>
                    <a:pt x="30" y="40"/>
                  </a:lnTo>
                  <a:lnTo>
                    <a:pt x="26" y="41"/>
                  </a:lnTo>
                  <a:lnTo>
                    <a:pt x="26" y="41"/>
                  </a:lnTo>
                  <a:lnTo>
                    <a:pt x="26" y="45"/>
                  </a:lnTo>
                  <a:lnTo>
                    <a:pt x="24" y="45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18" y="53"/>
                  </a:lnTo>
                  <a:lnTo>
                    <a:pt x="16" y="55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6" y="77"/>
                  </a:lnTo>
                  <a:lnTo>
                    <a:pt x="16" y="79"/>
                  </a:lnTo>
                  <a:lnTo>
                    <a:pt x="12" y="81"/>
                  </a:lnTo>
                  <a:lnTo>
                    <a:pt x="12" y="81"/>
                  </a:lnTo>
                  <a:lnTo>
                    <a:pt x="6" y="81"/>
                  </a:lnTo>
                  <a:lnTo>
                    <a:pt x="4" y="83"/>
                  </a:lnTo>
                  <a:lnTo>
                    <a:pt x="2" y="85"/>
                  </a:lnTo>
                  <a:lnTo>
                    <a:pt x="2" y="85"/>
                  </a:lnTo>
                  <a:lnTo>
                    <a:pt x="4" y="91"/>
                  </a:lnTo>
                  <a:lnTo>
                    <a:pt x="6" y="99"/>
                  </a:lnTo>
                  <a:lnTo>
                    <a:pt x="8" y="107"/>
                  </a:lnTo>
                  <a:lnTo>
                    <a:pt x="8" y="107"/>
                  </a:lnTo>
                  <a:lnTo>
                    <a:pt x="6" y="107"/>
                  </a:lnTo>
                  <a:lnTo>
                    <a:pt x="4" y="107"/>
                  </a:lnTo>
                  <a:lnTo>
                    <a:pt x="2" y="111"/>
                  </a:lnTo>
                  <a:lnTo>
                    <a:pt x="2" y="111"/>
                  </a:lnTo>
                  <a:lnTo>
                    <a:pt x="2" y="117"/>
                  </a:lnTo>
                  <a:lnTo>
                    <a:pt x="2" y="123"/>
                  </a:lnTo>
                  <a:lnTo>
                    <a:pt x="0" y="125"/>
                  </a:lnTo>
                  <a:lnTo>
                    <a:pt x="0" y="125"/>
                  </a:lnTo>
                  <a:lnTo>
                    <a:pt x="8" y="125"/>
                  </a:lnTo>
                  <a:lnTo>
                    <a:pt x="8" y="125"/>
                  </a:lnTo>
                  <a:lnTo>
                    <a:pt x="20" y="125"/>
                  </a:lnTo>
                  <a:lnTo>
                    <a:pt x="24" y="125"/>
                  </a:lnTo>
                  <a:lnTo>
                    <a:pt x="28" y="125"/>
                  </a:lnTo>
                  <a:lnTo>
                    <a:pt x="28" y="125"/>
                  </a:lnTo>
                  <a:lnTo>
                    <a:pt x="28" y="125"/>
                  </a:lnTo>
                  <a:lnTo>
                    <a:pt x="28" y="125"/>
                  </a:lnTo>
                  <a:lnTo>
                    <a:pt x="28" y="125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16" name="Freeform 75"/>
            <p:cNvSpPr>
              <a:spLocks/>
            </p:cNvSpPr>
            <p:nvPr/>
          </p:nvSpPr>
          <p:spPr bwMode="auto">
            <a:xfrm>
              <a:off x="1723" y="1385"/>
              <a:ext cx="207" cy="308"/>
            </a:xfrm>
            <a:custGeom>
              <a:avLst/>
              <a:gdLst>
                <a:gd name="T0" fmla="*/ 24 w 207"/>
                <a:gd name="T1" fmla="*/ 133 h 308"/>
                <a:gd name="T2" fmla="*/ 24 w 207"/>
                <a:gd name="T3" fmla="*/ 139 h 308"/>
                <a:gd name="T4" fmla="*/ 32 w 207"/>
                <a:gd name="T5" fmla="*/ 147 h 308"/>
                <a:gd name="T6" fmla="*/ 38 w 207"/>
                <a:gd name="T7" fmla="*/ 151 h 308"/>
                <a:gd name="T8" fmla="*/ 42 w 207"/>
                <a:gd name="T9" fmla="*/ 159 h 308"/>
                <a:gd name="T10" fmla="*/ 42 w 207"/>
                <a:gd name="T11" fmla="*/ 169 h 308"/>
                <a:gd name="T12" fmla="*/ 46 w 207"/>
                <a:gd name="T13" fmla="*/ 151 h 308"/>
                <a:gd name="T14" fmla="*/ 50 w 207"/>
                <a:gd name="T15" fmla="*/ 147 h 308"/>
                <a:gd name="T16" fmla="*/ 62 w 207"/>
                <a:gd name="T17" fmla="*/ 127 h 308"/>
                <a:gd name="T18" fmla="*/ 64 w 207"/>
                <a:gd name="T19" fmla="*/ 133 h 308"/>
                <a:gd name="T20" fmla="*/ 64 w 207"/>
                <a:gd name="T21" fmla="*/ 139 h 308"/>
                <a:gd name="T22" fmla="*/ 58 w 207"/>
                <a:gd name="T23" fmla="*/ 147 h 308"/>
                <a:gd name="T24" fmla="*/ 56 w 207"/>
                <a:gd name="T25" fmla="*/ 159 h 308"/>
                <a:gd name="T26" fmla="*/ 56 w 207"/>
                <a:gd name="T27" fmla="*/ 165 h 308"/>
                <a:gd name="T28" fmla="*/ 62 w 207"/>
                <a:gd name="T29" fmla="*/ 179 h 308"/>
                <a:gd name="T30" fmla="*/ 64 w 207"/>
                <a:gd name="T31" fmla="*/ 189 h 308"/>
                <a:gd name="T32" fmla="*/ 66 w 207"/>
                <a:gd name="T33" fmla="*/ 213 h 308"/>
                <a:gd name="T34" fmla="*/ 68 w 207"/>
                <a:gd name="T35" fmla="*/ 225 h 308"/>
                <a:gd name="T36" fmla="*/ 76 w 207"/>
                <a:gd name="T37" fmla="*/ 241 h 308"/>
                <a:gd name="T38" fmla="*/ 80 w 207"/>
                <a:gd name="T39" fmla="*/ 254 h 308"/>
                <a:gd name="T40" fmla="*/ 90 w 207"/>
                <a:gd name="T41" fmla="*/ 278 h 308"/>
                <a:gd name="T42" fmla="*/ 98 w 207"/>
                <a:gd name="T43" fmla="*/ 288 h 308"/>
                <a:gd name="T44" fmla="*/ 112 w 207"/>
                <a:gd name="T45" fmla="*/ 300 h 308"/>
                <a:gd name="T46" fmla="*/ 126 w 207"/>
                <a:gd name="T47" fmla="*/ 304 h 308"/>
                <a:gd name="T48" fmla="*/ 154 w 207"/>
                <a:gd name="T49" fmla="*/ 308 h 308"/>
                <a:gd name="T50" fmla="*/ 164 w 207"/>
                <a:gd name="T51" fmla="*/ 306 h 308"/>
                <a:gd name="T52" fmla="*/ 175 w 207"/>
                <a:gd name="T53" fmla="*/ 302 h 308"/>
                <a:gd name="T54" fmla="*/ 189 w 207"/>
                <a:gd name="T55" fmla="*/ 284 h 308"/>
                <a:gd name="T56" fmla="*/ 193 w 207"/>
                <a:gd name="T57" fmla="*/ 276 h 308"/>
                <a:gd name="T58" fmla="*/ 201 w 207"/>
                <a:gd name="T59" fmla="*/ 262 h 308"/>
                <a:gd name="T60" fmla="*/ 203 w 207"/>
                <a:gd name="T61" fmla="*/ 245 h 308"/>
                <a:gd name="T62" fmla="*/ 199 w 207"/>
                <a:gd name="T63" fmla="*/ 219 h 308"/>
                <a:gd name="T64" fmla="*/ 201 w 207"/>
                <a:gd name="T65" fmla="*/ 187 h 308"/>
                <a:gd name="T66" fmla="*/ 207 w 207"/>
                <a:gd name="T67" fmla="*/ 153 h 308"/>
                <a:gd name="T68" fmla="*/ 207 w 207"/>
                <a:gd name="T69" fmla="*/ 133 h 308"/>
                <a:gd name="T70" fmla="*/ 205 w 207"/>
                <a:gd name="T71" fmla="*/ 123 h 308"/>
                <a:gd name="T72" fmla="*/ 199 w 207"/>
                <a:gd name="T73" fmla="*/ 111 h 308"/>
                <a:gd name="T74" fmla="*/ 187 w 207"/>
                <a:gd name="T75" fmla="*/ 93 h 308"/>
                <a:gd name="T76" fmla="*/ 185 w 207"/>
                <a:gd name="T77" fmla="*/ 83 h 308"/>
                <a:gd name="T78" fmla="*/ 183 w 207"/>
                <a:gd name="T79" fmla="*/ 69 h 308"/>
                <a:gd name="T80" fmla="*/ 177 w 207"/>
                <a:gd name="T81" fmla="*/ 21 h 308"/>
                <a:gd name="T82" fmla="*/ 162 w 207"/>
                <a:gd name="T83" fmla="*/ 21 h 308"/>
                <a:gd name="T84" fmla="*/ 162 w 207"/>
                <a:gd name="T85" fmla="*/ 12 h 308"/>
                <a:gd name="T86" fmla="*/ 156 w 207"/>
                <a:gd name="T87" fmla="*/ 16 h 308"/>
                <a:gd name="T88" fmla="*/ 154 w 207"/>
                <a:gd name="T89" fmla="*/ 16 h 308"/>
                <a:gd name="T90" fmla="*/ 142 w 207"/>
                <a:gd name="T91" fmla="*/ 10 h 308"/>
                <a:gd name="T92" fmla="*/ 122 w 207"/>
                <a:gd name="T93" fmla="*/ 12 h 308"/>
                <a:gd name="T94" fmla="*/ 110 w 207"/>
                <a:gd name="T95" fmla="*/ 0 h 308"/>
                <a:gd name="T96" fmla="*/ 110 w 207"/>
                <a:gd name="T97" fmla="*/ 10 h 308"/>
                <a:gd name="T98" fmla="*/ 72 w 207"/>
                <a:gd name="T99" fmla="*/ 25 h 308"/>
                <a:gd name="T100" fmla="*/ 64 w 207"/>
                <a:gd name="T101" fmla="*/ 55 h 308"/>
                <a:gd name="T102" fmla="*/ 38 w 207"/>
                <a:gd name="T103" fmla="*/ 71 h 308"/>
                <a:gd name="T104" fmla="*/ 26 w 207"/>
                <a:gd name="T105" fmla="*/ 69 h 308"/>
                <a:gd name="T106" fmla="*/ 12 w 207"/>
                <a:gd name="T107" fmla="*/ 71 h 308"/>
                <a:gd name="T108" fmla="*/ 8 w 207"/>
                <a:gd name="T109" fmla="*/ 73 h 308"/>
                <a:gd name="T110" fmla="*/ 0 w 207"/>
                <a:gd name="T111" fmla="*/ 87 h 308"/>
                <a:gd name="T112" fmla="*/ 0 w 207"/>
                <a:gd name="T113" fmla="*/ 87 h 308"/>
                <a:gd name="T114" fmla="*/ 6 w 207"/>
                <a:gd name="T115" fmla="*/ 99 h 308"/>
                <a:gd name="T116" fmla="*/ 10 w 207"/>
                <a:gd name="T117" fmla="*/ 111 h 308"/>
                <a:gd name="T118" fmla="*/ 16 w 207"/>
                <a:gd name="T119" fmla="*/ 113 h 308"/>
                <a:gd name="T120" fmla="*/ 22 w 207"/>
                <a:gd name="T121" fmla="*/ 125 h 308"/>
                <a:gd name="T122" fmla="*/ 24 w 207"/>
                <a:gd name="T123" fmla="*/ 133 h 308"/>
                <a:gd name="T124" fmla="*/ 24 w 207"/>
                <a:gd name="T125" fmla="*/ 133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7" h="308">
                  <a:moveTo>
                    <a:pt x="24" y="133"/>
                  </a:moveTo>
                  <a:lnTo>
                    <a:pt x="24" y="133"/>
                  </a:lnTo>
                  <a:lnTo>
                    <a:pt x="24" y="137"/>
                  </a:lnTo>
                  <a:lnTo>
                    <a:pt x="24" y="139"/>
                  </a:lnTo>
                  <a:lnTo>
                    <a:pt x="28" y="143"/>
                  </a:lnTo>
                  <a:lnTo>
                    <a:pt x="32" y="147"/>
                  </a:lnTo>
                  <a:lnTo>
                    <a:pt x="38" y="151"/>
                  </a:lnTo>
                  <a:lnTo>
                    <a:pt x="38" y="151"/>
                  </a:lnTo>
                  <a:lnTo>
                    <a:pt x="38" y="153"/>
                  </a:lnTo>
                  <a:lnTo>
                    <a:pt x="42" y="159"/>
                  </a:lnTo>
                  <a:lnTo>
                    <a:pt x="42" y="169"/>
                  </a:lnTo>
                  <a:lnTo>
                    <a:pt x="42" y="169"/>
                  </a:lnTo>
                  <a:lnTo>
                    <a:pt x="46" y="157"/>
                  </a:lnTo>
                  <a:lnTo>
                    <a:pt x="46" y="151"/>
                  </a:lnTo>
                  <a:lnTo>
                    <a:pt x="50" y="147"/>
                  </a:lnTo>
                  <a:lnTo>
                    <a:pt x="50" y="147"/>
                  </a:lnTo>
                  <a:lnTo>
                    <a:pt x="58" y="137"/>
                  </a:lnTo>
                  <a:lnTo>
                    <a:pt x="62" y="127"/>
                  </a:lnTo>
                  <a:lnTo>
                    <a:pt x="62" y="127"/>
                  </a:lnTo>
                  <a:lnTo>
                    <a:pt x="64" y="133"/>
                  </a:lnTo>
                  <a:lnTo>
                    <a:pt x="66" y="137"/>
                  </a:lnTo>
                  <a:lnTo>
                    <a:pt x="64" y="139"/>
                  </a:lnTo>
                  <a:lnTo>
                    <a:pt x="64" y="139"/>
                  </a:lnTo>
                  <a:lnTo>
                    <a:pt x="58" y="147"/>
                  </a:lnTo>
                  <a:lnTo>
                    <a:pt x="56" y="151"/>
                  </a:lnTo>
                  <a:lnTo>
                    <a:pt x="56" y="159"/>
                  </a:lnTo>
                  <a:lnTo>
                    <a:pt x="56" y="159"/>
                  </a:lnTo>
                  <a:lnTo>
                    <a:pt x="56" y="165"/>
                  </a:lnTo>
                  <a:lnTo>
                    <a:pt x="58" y="171"/>
                  </a:lnTo>
                  <a:lnTo>
                    <a:pt x="62" y="179"/>
                  </a:lnTo>
                  <a:lnTo>
                    <a:pt x="64" y="189"/>
                  </a:lnTo>
                  <a:lnTo>
                    <a:pt x="64" y="189"/>
                  </a:lnTo>
                  <a:lnTo>
                    <a:pt x="64" y="207"/>
                  </a:lnTo>
                  <a:lnTo>
                    <a:pt x="66" y="213"/>
                  </a:lnTo>
                  <a:lnTo>
                    <a:pt x="68" y="225"/>
                  </a:lnTo>
                  <a:lnTo>
                    <a:pt x="68" y="225"/>
                  </a:lnTo>
                  <a:lnTo>
                    <a:pt x="74" y="237"/>
                  </a:lnTo>
                  <a:lnTo>
                    <a:pt x="76" y="241"/>
                  </a:lnTo>
                  <a:lnTo>
                    <a:pt x="80" y="254"/>
                  </a:lnTo>
                  <a:lnTo>
                    <a:pt x="80" y="254"/>
                  </a:lnTo>
                  <a:lnTo>
                    <a:pt x="86" y="266"/>
                  </a:lnTo>
                  <a:lnTo>
                    <a:pt x="90" y="278"/>
                  </a:lnTo>
                  <a:lnTo>
                    <a:pt x="94" y="284"/>
                  </a:lnTo>
                  <a:lnTo>
                    <a:pt x="98" y="288"/>
                  </a:lnTo>
                  <a:lnTo>
                    <a:pt x="104" y="296"/>
                  </a:lnTo>
                  <a:lnTo>
                    <a:pt x="112" y="300"/>
                  </a:lnTo>
                  <a:lnTo>
                    <a:pt x="112" y="300"/>
                  </a:lnTo>
                  <a:lnTo>
                    <a:pt x="126" y="304"/>
                  </a:lnTo>
                  <a:lnTo>
                    <a:pt x="140" y="308"/>
                  </a:lnTo>
                  <a:lnTo>
                    <a:pt x="154" y="308"/>
                  </a:lnTo>
                  <a:lnTo>
                    <a:pt x="164" y="306"/>
                  </a:lnTo>
                  <a:lnTo>
                    <a:pt x="164" y="306"/>
                  </a:lnTo>
                  <a:lnTo>
                    <a:pt x="167" y="304"/>
                  </a:lnTo>
                  <a:lnTo>
                    <a:pt x="175" y="302"/>
                  </a:lnTo>
                  <a:lnTo>
                    <a:pt x="181" y="294"/>
                  </a:lnTo>
                  <a:lnTo>
                    <a:pt x="189" y="284"/>
                  </a:lnTo>
                  <a:lnTo>
                    <a:pt x="193" y="276"/>
                  </a:lnTo>
                  <a:lnTo>
                    <a:pt x="193" y="276"/>
                  </a:lnTo>
                  <a:lnTo>
                    <a:pt x="199" y="270"/>
                  </a:lnTo>
                  <a:lnTo>
                    <a:pt x="201" y="262"/>
                  </a:lnTo>
                  <a:lnTo>
                    <a:pt x="203" y="254"/>
                  </a:lnTo>
                  <a:lnTo>
                    <a:pt x="203" y="245"/>
                  </a:lnTo>
                  <a:lnTo>
                    <a:pt x="203" y="245"/>
                  </a:lnTo>
                  <a:lnTo>
                    <a:pt x="199" y="219"/>
                  </a:lnTo>
                  <a:lnTo>
                    <a:pt x="199" y="205"/>
                  </a:lnTo>
                  <a:lnTo>
                    <a:pt x="201" y="187"/>
                  </a:lnTo>
                  <a:lnTo>
                    <a:pt x="201" y="187"/>
                  </a:lnTo>
                  <a:lnTo>
                    <a:pt x="207" y="153"/>
                  </a:lnTo>
                  <a:lnTo>
                    <a:pt x="207" y="139"/>
                  </a:lnTo>
                  <a:lnTo>
                    <a:pt x="207" y="133"/>
                  </a:lnTo>
                  <a:lnTo>
                    <a:pt x="205" y="123"/>
                  </a:lnTo>
                  <a:lnTo>
                    <a:pt x="205" y="123"/>
                  </a:lnTo>
                  <a:lnTo>
                    <a:pt x="203" y="117"/>
                  </a:lnTo>
                  <a:lnTo>
                    <a:pt x="199" y="111"/>
                  </a:lnTo>
                  <a:lnTo>
                    <a:pt x="193" y="101"/>
                  </a:lnTo>
                  <a:lnTo>
                    <a:pt x="187" y="93"/>
                  </a:lnTo>
                  <a:lnTo>
                    <a:pt x="185" y="89"/>
                  </a:lnTo>
                  <a:lnTo>
                    <a:pt x="185" y="83"/>
                  </a:lnTo>
                  <a:lnTo>
                    <a:pt x="185" y="83"/>
                  </a:lnTo>
                  <a:lnTo>
                    <a:pt x="183" y="69"/>
                  </a:lnTo>
                  <a:lnTo>
                    <a:pt x="181" y="49"/>
                  </a:lnTo>
                  <a:lnTo>
                    <a:pt x="177" y="21"/>
                  </a:lnTo>
                  <a:lnTo>
                    <a:pt x="169" y="25"/>
                  </a:lnTo>
                  <a:lnTo>
                    <a:pt x="162" y="21"/>
                  </a:lnTo>
                  <a:lnTo>
                    <a:pt x="162" y="12"/>
                  </a:lnTo>
                  <a:lnTo>
                    <a:pt x="162" y="12"/>
                  </a:lnTo>
                  <a:lnTo>
                    <a:pt x="158" y="14"/>
                  </a:lnTo>
                  <a:lnTo>
                    <a:pt x="156" y="16"/>
                  </a:lnTo>
                  <a:lnTo>
                    <a:pt x="154" y="16"/>
                  </a:lnTo>
                  <a:lnTo>
                    <a:pt x="154" y="16"/>
                  </a:lnTo>
                  <a:lnTo>
                    <a:pt x="146" y="12"/>
                  </a:lnTo>
                  <a:lnTo>
                    <a:pt x="142" y="10"/>
                  </a:lnTo>
                  <a:lnTo>
                    <a:pt x="138" y="6"/>
                  </a:lnTo>
                  <a:lnTo>
                    <a:pt x="122" y="12"/>
                  </a:lnTo>
                  <a:lnTo>
                    <a:pt x="120" y="8"/>
                  </a:lnTo>
                  <a:lnTo>
                    <a:pt x="110" y="0"/>
                  </a:lnTo>
                  <a:lnTo>
                    <a:pt x="104" y="2"/>
                  </a:lnTo>
                  <a:lnTo>
                    <a:pt x="110" y="10"/>
                  </a:lnTo>
                  <a:lnTo>
                    <a:pt x="90" y="12"/>
                  </a:lnTo>
                  <a:lnTo>
                    <a:pt x="72" y="25"/>
                  </a:lnTo>
                  <a:lnTo>
                    <a:pt x="72" y="45"/>
                  </a:lnTo>
                  <a:lnTo>
                    <a:pt x="64" y="55"/>
                  </a:lnTo>
                  <a:lnTo>
                    <a:pt x="58" y="67"/>
                  </a:lnTo>
                  <a:lnTo>
                    <a:pt x="38" y="71"/>
                  </a:lnTo>
                  <a:lnTo>
                    <a:pt x="38" y="71"/>
                  </a:lnTo>
                  <a:lnTo>
                    <a:pt x="26" y="69"/>
                  </a:lnTo>
                  <a:lnTo>
                    <a:pt x="18" y="69"/>
                  </a:lnTo>
                  <a:lnTo>
                    <a:pt x="12" y="71"/>
                  </a:lnTo>
                  <a:lnTo>
                    <a:pt x="12" y="71"/>
                  </a:lnTo>
                  <a:lnTo>
                    <a:pt x="8" y="73"/>
                  </a:lnTo>
                  <a:lnTo>
                    <a:pt x="6" y="75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6" y="99"/>
                  </a:lnTo>
                  <a:lnTo>
                    <a:pt x="8" y="105"/>
                  </a:lnTo>
                  <a:lnTo>
                    <a:pt x="10" y="111"/>
                  </a:lnTo>
                  <a:lnTo>
                    <a:pt x="10" y="111"/>
                  </a:lnTo>
                  <a:lnTo>
                    <a:pt x="16" y="113"/>
                  </a:lnTo>
                  <a:lnTo>
                    <a:pt x="20" y="117"/>
                  </a:lnTo>
                  <a:lnTo>
                    <a:pt x="22" y="125"/>
                  </a:lnTo>
                  <a:lnTo>
                    <a:pt x="24" y="133"/>
                  </a:lnTo>
                  <a:lnTo>
                    <a:pt x="24" y="133"/>
                  </a:lnTo>
                  <a:lnTo>
                    <a:pt x="24" y="133"/>
                  </a:lnTo>
                  <a:lnTo>
                    <a:pt x="24" y="133"/>
                  </a:lnTo>
                  <a:lnTo>
                    <a:pt x="24" y="133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17" name="Freeform 76"/>
            <p:cNvSpPr>
              <a:spLocks/>
            </p:cNvSpPr>
            <p:nvPr/>
          </p:nvSpPr>
          <p:spPr bwMode="auto">
            <a:xfrm>
              <a:off x="1162" y="1647"/>
              <a:ext cx="153" cy="202"/>
            </a:xfrm>
            <a:custGeom>
              <a:avLst/>
              <a:gdLst>
                <a:gd name="T0" fmla="*/ 32 w 153"/>
                <a:gd name="T1" fmla="*/ 192 h 202"/>
                <a:gd name="T2" fmla="*/ 36 w 153"/>
                <a:gd name="T3" fmla="*/ 202 h 202"/>
                <a:gd name="T4" fmla="*/ 46 w 153"/>
                <a:gd name="T5" fmla="*/ 188 h 202"/>
                <a:gd name="T6" fmla="*/ 62 w 153"/>
                <a:gd name="T7" fmla="*/ 184 h 202"/>
                <a:gd name="T8" fmla="*/ 64 w 153"/>
                <a:gd name="T9" fmla="*/ 182 h 202"/>
                <a:gd name="T10" fmla="*/ 65 w 153"/>
                <a:gd name="T11" fmla="*/ 172 h 202"/>
                <a:gd name="T12" fmla="*/ 71 w 153"/>
                <a:gd name="T13" fmla="*/ 158 h 202"/>
                <a:gd name="T14" fmla="*/ 81 w 153"/>
                <a:gd name="T15" fmla="*/ 150 h 202"/>
                <a:gd name="T16" fmla="*/ 89 w 153"/>
                <a:gd name="T17" fmla="*/ 148 h 202"/>
                <a:gd name="T18" fmla="*/ 87 w 153"/>
                <a:gd name="T19" fmla="*/ 142 h 202"/>
                <a:gd name="T20" fmla="*/ 89 w 153"/>
                <a:gd name="T21" fmla="*/ 134 h 202"/>
                <a:gd name="T22" fmla="*/ 99 w 153"/>
                <a:gd name="T23" fmla="*/ 132 h 202"/>
                <a:gd name="T24" fmla="*/ 101 w 153"/>
                <a:gd name="T25" fmla="*/ 130 h 202"/>
                <a:gd name="T26" fmla="*/ 105 w 153"/>
                <a:gd name="T27" fmla="*/ 122 h 202"/>
                <a:gd name="T28" fmla="*/ 109 w 153"/>
                <a:gd name="T29" fmla="*/ 118 h 202"/>
                <a:gd name="T30" fmla="*/ 115 w 153"/>
                <a:gd name="T31" fmla="*/ 122 h 202"/>
                <a:gd name="T32" fmla="*/ 125 w 153"/>
                <a:gd name="T33" fmla="*/ 112 h 202"/>
                <a:gd name="T34" fmla="*/ 129 w 153"/>
                <a:gd name="T35" fmla="*/ 104 h 202"/>
                <a:gd name="T36" fmla="*/ 127 w 153"/>
                <a:gd name="T37" fmla="*/ 96 h 202"/>
                <a:gd name="T38" fmla="*/ 127 w 153"/>
                <a:gd name="T39" fmla="*/ 86 h 202"/>
                <a:gd name="T40" fmla="*/ 127 w 153"/>
                <a:gd name="T41" fmla="*/ 78 h 202"/>
                <a:gd name="T42" fmla="*/ 133 w 153"/>
                <a:gd name="T43" fmla="*/ 76 h 202"/>
                <a:gd name="T44" fmla="*/ 145 w 153"/>
                <a:gd name="T45" fmla="*/ 76 h 202"/>
                <a:gd name="T46" fmla="*/ 143 w 153"/>
                <a:gd name="T47" fmla="*/ 68 h 202"/>
                <a:gd name="T48" fmla="*/ 145 w 153"/>
                <a:gd name="T49" fmla="*/ 56 h 202"/>
                <a:gd name="T50" fmla="*/ 149 w 153"/>
                <a:gd name="T51" fmla="*/ 48 h 202"/>
                <a:gd name="T52" fmla="*/ 153 w 153"/>
                <a:gd name="T53" fmla="*/ 36 h 202"/>
                <a:gd name="T54" fmla="*/ 147 w 153"/>
                <a:gd name="T55" fmla="*/ 20 h 202"/>
                <a:gd name="T56" fmla="*/ 147 w 153"/>
                <a:gd name="T57" fmla="*/ 16 h 202"/>
                <a:gd name="T58" fmla="*/ 149 w 153"/>
                <a:gd name="T59" fmla="*/ 8 h 202"/>
                <a:gd name="T60" fmla="*/ 145 w 153"/>
                <a:gd name="T61" fmla="*/ 0 h 202"/>
                <a:gd name="T62" fmla="*/ 125 w 153"/>
                <a:gd name="T63" fmla="*/ 0 h 202"/>
                <a:gd name="T64" fmla="*/ 109 w 153"/>
                <a:gd name="T65" fmla="*/ 14 h 202"/>
                <a:gd name="T66" fmla="*/ 99 w 153"/>
                <a:gd name="T67" fmla="*/ 22 h 202"/>
                <a:gd name="T68" fmla="*/ 89 w 153"/>
                <a:gd name="T69" fmla="*/ 32 h 202"/>
                <a:gd name="T70" fmla="*/ 62 w 153"/>
                <a:gd name="T71" fmla="*/ 34 h 202"/>
                <a:gd name="T72" fmla="*/ 58 w 153"/>
                <a:gd name="T73" fmla="*/ 50 h 202"/>
                <a:gd name="T74" fmla="*/ 32 w 153"/>
                <a:gd name="T75" fmla="*/ 60 h 202"/>
                <a:gd name="T76" fmla="*/ 30 w 153"/>
                <a:gd name="T77" fmla="*/ 72 h 202"/>
                <a:gd name="T78" fmla="*/ 0 w 153"/>
                <a:gd name="T79" fmla="*/ 96 h 202"/>
                <a:gd name="T80" fmla="*/ 10 w 153"/>
                <a:gd name="T81" fmla="*/ 124 h 202"/>
                <a:gd name="T82" fmla="*/ 0 w 153"/>
                <a:gd name="T83" fmla="*/ 140 h 202"/>
                <a:gd name="T84" fmla="*/ 16 w 153"/>
                <a:gd name="T85" fmla="*/ 152 h 202"/>
                <a:gd name="T86" fmla="*/ 22 w 153"/>
                <a:gd name="T87" fmla="*/ 168 h 202"/>
                <a:gd name="T88" fmla="*/ 18 w 153"/>
                <a:gd name="T89" fmla="*/ 186 h 202"/>
                <a:gd name="T90" fmla="*/ 30 w 153"/>
                <a:gd name="T91" fmla="*/ 186 h 202"/>
                <a:gd name="T92" fmla="*/ 30 w 153"/>
                <a:gd name="T93" fmla="*/ 186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53" h="202">
                  <a:moveTo>
                    <a:pt x="30" y="186"/>
                  </a:moveTo>
                  <a:lnTo>
                    <a:pt x="30" y="186"/>
                  </a:lnTo>
                  <a:lnTo>
                    <a:pt x="32" y="192"/>
                  </a:lnTo>
                  <a:lnTo>
                    <a:pt x="32" y="196"/>
                  </a:lnTo>
                  <a:lnTo>
                    <a:pt x="36" y="202"/>
                  </a:lnTo>
                  <a:lnTo>
                    <a:pt x="36" y="202"/>
                  </a:lnTo>
                  <a:lnTo>
                    <a:pt x="40" y="196"/>
                  </a:lnTo>
                  <a:lnTo>
                    <a:pt x="44" y="194"/>
                  </a:lnTo>
                  <a:lnTo>
                    <a:pt x="46" y="188"/>
                  </a:lnTo>
                  <a:lnTo>
                    <a:pt x="46" y="188"/>
                  </a:lnTo>
                  <a:lnTo>
                    <a:pt x="58" y="186"/>
                  </a:lnTo>
                  <a:lnTo>
                    <a:pt x="62" y="184"/>
                  </a:lnTo>
                  <a:lnTo>
                    <a:pt x="64" y="184"/>
                  </a:lnTo>
                  <a:lnTo>
                    <a:pt x="64" y="182"/>
                  </a:lnTo>
                  <a:lnTo>
                    <a:pt x="64" y="182"/>
                  </a:lnTo>
                  <a:lnTo>
                    <a:pt x="64" y="176"/>
                  </a:lnTo>
                  <a:lnTo>
                    <a:pt x="65" y="172"/>
                  </a:lnTo>
                  <a:lnTo>
                    <a:pt x="65" y="172"/>
                  </a:lnTo>
                  <a:lnTo>
                    <a:pt x="67" y="168"/>
                  </a:lnTo>
                  <a:lnTo>
                    <a:pt x="71" y="158"/>
                  </a:lnTo>
                  <a:lnTo>
                    <a:pt x="71" y="158"/>
                  </a:lnTo>
                  <a:lnTo>
                    <a:pt x="75" y="152"/>
                  </a:lnTo>
                  <a:lnTo>
                    <a:pt x="77" y="152"/>
                  </a:lnTo>
                  <a:lnTo>
                    <a:pt x="81" y="150"/>
                  </a:lnTo>
                  <a:lnTo>
                    <a:pt x="81" y="150"/>
                  </a:lnTo>
                  <a:lnTo>
                    <a:pt x="89" y="148"/>
                  </a:lnTo>
                  <a:lnTo>
                    <a:pt x="89" y="148"/>
                  </a:lnTo>
                  <a:lnTo>
                    <a:pt x="89" y="148"/>
                  </a:lnTo>
                  <a:lnTo>
                    <a:pt x="89" y="148"/>
                  </a:lnTo>
                  <a:lnTo>
                    <a:pt x="87" y="142"/>
                  </a:lnTo>
                  <a:lnTo>
                    <a:pt x="87" y="138"/>
                  </a:lnTo>
                  <a:lnTo>
                    <a:pt x="89" y="136"/>
                  </a:lnTo>
                  <a:lnTo>
                    <a:pt x="89" y="134"/>
                  </a:lnTo>
                  <a:lnTo>
                    <a:pt x="89" y="134"/>
                  </a:lnTo>
                  <a:lnTo>
                    <a:pt x="93" y="132"/>
                  </a:lnTo>
                  <a:lnTo>
                    <a:pt x="99" y="132"/>
                  </a:lnTo>
                  <a:lnTo>
                    <a:pt x="101" y="132"/>
                  </a:lnTo>
                  <a:lnTo>
                    <a:pt x="101" y="130"/>
                  </a:lnTo>
                  <a:lnTo>
                    <a:pt x="101" y="130"/>
                  </a:lnTo>
                  <a:lnTo>
                    <a:pt x="101" y="126"/>
                  </a:lnTo>
                  <a:lnTo>
                    <a:pt x="101" y="124"/>
                  </a:lnTo>
                  <a:lnTo>
                    <a:pt x="105" y="122"/>
                  </a:lnTo>
                  <a:lnTo>
                    <a:pt x="107" y="122"/>
                  </a:lnTo>
                  <a:lnTo>
                    <a:pt x="107" y="122"/>
                  </a:lnTo>
                  <a:lnTo>
                    <a:pt x="109" y="118"/>
                  </a:lnTo>
                  <a:lnTo>
                    <a:pt x="111" y="122"/>
                  </a:lnTo>
                  <a:lnTo>
                    <a:pt x="111" y="122"/>
                  </a:lnTo>
                  <a:lnTo>
                    <a:pt x="115" y="122"/>
                  </a:lnTo>
                  <a:lnTo>
                    <a:pt x="115" y="122"/>
                  </a:lnTo>
                  <a:lnTo>
                    <a:pt x="121" y="116"/>
                  </a:lnTo>
                  <a:lnTo>
                    <a:pt x="125" y="112"/>
                  </a:lnTo>
                  <a:lnTo>
                    <a:pt x="125" y="112"/>
                  </a:lnTo>
                  <a:lnTo>
                    <a:pt x="129" y="108"/>
                  </a:lnTo>
                  <a:lnTo>
                    <a:pt x="129" y="104"/>
                  </a:lnTo>
                  <a:lnTo>
                    <a:pt x="129" y="104"/>
                  </a:lnTo>
                  <a:lnTo>
                    <a:pt x="127" y="100"/>
                  </a:lnTo>
                  <a:lnTo>
                    <a:pt x="127" y="96"/>
                  </a:lnTo>
                  <a:lnTo>
                    <a:pt x="127" y="94"/>
                  </a:lnTo>
                  <a:lnTo>
                    <a:pt x="127" y="94"/>
                  </a:lnTo>
                  <a:lnTo>
                    <a:pt x="127" y="86"/>
                  </a:lnTo>
                  <a:lnTo>
                    <a:pt x="127" y="82"/>
                  </a:lnTo>
                  <a:lnTo>
                    <a:pt x="127" y="82"/>
                  </a:lnTo>
                  <a:lnTo>
                    <a:pt x="127" y="78"/>
                  </a:lnTo>
                  <a:lnTo>
                    <a:pt x="129" y="76"/>
                  </a:lnTo>
                  <a:lnTo>
                    <a:pt x="133" y="76"/>
                  </a:lnTo>
                  <a:lnTo>
                    <a:pt x="133" y="76"/>
                  </a:lnTo>
                  <a:lnTo>
                    <a:pt x="139" y="76"/>
                  </a:lnTo>
                  <a:lnTo>
                    <a:pt x="145" y="76"/>
                  </a:lnTo>
                  <a:lnTo>
                    <a:pt x="145" y="76"/>
                  </a:lnTo>
                  <a:lnTo>
                    <a:pt x="145" y="72"/>
                  </a:lnTo>
                  <a:lnTo>
                    <a:pt x="145" y="72"/>
                  </a:lnTo>
                  <a:lnTo>
                    <a:pt x="143" y="68"/>
                  </a:lnTo>
                  <a:lnTo>
                    <a:pt x="145" y="64"/>
                  </a:lnTo>
                  <a:lnTo>
                    <a:pt x="145" y="60"/>
                  </a:lnTo>
                  <a:lnTo>
                    <a:pt x="145" y="56"/>
                  </a:lnTo>
                  <a:lnTo>
                    <a:pt x="145" y="56"/>
                  </a:lnTo>
                  <a:lnTo>
                    <a:pt x="147" y="50"/>
                  </a:lnTo>
                  <a:lnTo>
                    <a:pt x="149" y="48"/>
                  </a:lnTo>
                  <a:lnTo>
                    <a:pt x="153" y="40"/>
                  </a:lnTo>
                  <a:lnTo>
                    <a:pt x="153" y="40"/>
                  </a:lnTo>
                  <a:lnTo>
                    <a:pt x="153" y="36"/>
                  </a:lnTo>
                  <a:lnTo>
                    <a:pt x="153" y="28"/>
                  </a:lnTo>
                  <a:lnTo>
                    <a:pt x="149" y="24"/>
                  </a:lnTo>
                  <a:lnTo>
                    <a:pt x="147" y="20"/>
                  </a:lnTo>
                  <a:lnTo>
                    <a:pt x="147" y="20"/>
                  </a:lnTo>
                  <a:lnTo>
                    <a:pt x="145" y="18"/>
                  </a:lnTo>
                  <a:lnTo>
                    <a:pt x="147" y="16"/>
                  </a:lnTo>
                  <a:lnTo>
                    <a:pt x="149" y="12"/>
                  </a:lnTo>
                  <a:lnTo>
                    <a:pt x="149" y="8"/>
                  </a:lnTo>
                  <a:lnTo>
                    <a:pt x="149" y="8"/>
                  </a:lnTo>
                  <a:lnTo>
                    <a:pt x="147" y="4"/>
                  </a:lnTo>
                  <a:lnTo>
                    <a:pt x="145" y="0"/>
                  </a:lnTo>
                  <a:lnTo>
                    <a:pt x="145" y="0"/>
                  </a:lnTo>
                  <a:lnTo>
                    <a:pt x="135" y="0"/>
                  </a:lnTo>
                  <a:lnTo>
                    <a:pt x="131" y="0"/>
                  </a:lnTo>
                  <a:lnTo>
                    <a:pt x="125" y="0"/>
                  </a:lnTo>
                  <a:lnTo>
                    <a:pt x="125" y="0"/>
                  </a:lnTo>
                  <a:lnTo>
                    <a:pt x="115" y="8"/>
                  </a:lnTo>
                  <a:lnTo>
                    <a:pt x="109" y="14"/>
                  </a:lnTo>
                  <a:lnTo>
                    <a:pt x="109" y="14"/>
                  </a:lnTo>
                  <a:lnTo>
                    <a:pt x="105" y="18"/>
                  </a:lnTo>
                  <a:lnTo>
                    <a:pt x="99" y="22"/>
                  </a:lnTo>
                  <a:lnTo>
                    <a:pt x="93" y="26"/>
                  </a:lnTo>
                  <a:lnTo>
                    <a:pt x="89" y="32"/>
                  </a:lnTo>
                  <a:lnTo>
                    <a:pt x="89" y="32"/>
                  </a:lnTo>
                  <a:lnTo>
                    <a:pt x="81" y="28"/>
                  </a:lnTo>
                  <a:lnTo>
                    <a:pt x="69" y="28"/>
                  </a:lnTo>
                  <a:lnTo>
                    <a:pt x="62" y="34"/>
                  </a:lnTo>
                  <a:lnTo>
                    <a:pt x="64" y="38"/>
                  </a:lnTo>
                  <a:lnTo>
                    <a:pt x="60" y="42"/>
                  </a:lnTo>
                  <a:lnTo>
                    <a:pt x="58" y="50"/>
                  </a:lnTo>
                  <a:lnTo>
                    <a:pt x="46" y="54"/>
                  </a:lnTo>
                  <a:lnTo>
                    <a:pt x="40" y="58"/>
                  </a:lnTo>
                  <a:lnTo>
                    <a:pt x="32" y="60"/>
                  </a:lnTo>
                  <a:lnTo>
                    <a:pt x="36" y="66"/>
                  </a:lnTo>
                  <a:lnTo>
                    <a:pt x="36" y="66"/>
                  </a:lnTo>
                  <a:lnTo>
                    <a:pt x="30" y="72"/>
                  </a:lnTo>
                  <a:lnTo>
                    <a:pt x="16" y="86"/>
                  </a:lnTo>
                  <a:lnTo>
                    <a:pt x="0" y="92"/>
                  </a:lnTo>
                  <a:lnTo>
                    <a:pt x="0" y="96"/>
                  </a:lnTo>
                  <a:lnTo>
                    <a:pt x="8" y="106"/>
                  </a:lnTo>
                  <a:lnTo>
                    <a:pt x="2" y="114"/>
                  </a:lnTo>
                  <a:lnTo>
                    <a:pt x="10" y="124"/>
                  </a:lnTo>
                  <a:lnTo>
                    <a:pt x="14" y="134"/>
                  </a:lnTo>
                  <a:lnTo>
                    <a:pt x="6" y="136"/>
                  </a:lnTo>
                  <a:lnTo>
                    <a:pt x="0" y="140"/>
                  </a:lnTo>
                  <a:lnTo>
                    <a:pt x="8" y="148"/>
                  </a:lnTo>
                  <a:lnTo>
                    <a:pt x="16" y="152"/>
                  </a:lnTo>
                  <a:lnTo>
                    <a:pt x="16" y="152"/>
                  </a:lnTo>
                  <a:lnTo>
                    <a:pt x="18" y="158"/>
                  </a:lnTo>
                  <a:lnTo>
                    <a:pt x="22" y="168"/>
                  </a:lnTo>
                  <a:lnTo>
                    <a:pt x="22" y="168"/>
                  </a:lnTo>
                  <a:lnTo>
                    <a:pt x="20" y="176"/>
                  </a:lnTo>
                  <a:lnTo>
                    <a:pt x="20" y="182"/>
                  </a:lnTo>
                  <a:lnTo>
                    <a:pt x="18" y="186"/>
                  </a:lnTo>
                  <a:lnTo>
                    <a:pt x="18" y="186"/>
                  </a:lnTo>
                  <a:lnTo>
                    <a:pt x="24" y="184"/>
                  </a:lnTo>
                  <a:lnTo>
                    <a:pt x="30" y="186"/>
                  </a:lnTo>
                  <a:lnTo>
                    <a:pt x="30" y="186"/>
                  </a:lnTo>
                  <a:lnTo>
                    <a:pt x="30" y="186"/>
                  </a:lnTo>
                  <a:lnTo>
                    <a:pt x="30" y="186"/>
                  </a:lnTo>
                  <a:lnTo>
                    <a:pt x="30" y="186"/>
                  </a:lnTo>
                  <a:lnTo>
                    <a:pt x="30" y="186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18" name="Freeform 77"/>
            <p:cNvSpPr>
              <a:spLocks/>
            </p:cNvSpPr>
            <p:nvPr/>
          </p:nvSpPr>
          <p:spPr bwMode="auto">
            <a:xfrm>
              <a:off x="2635" y="1610"/>
              <a:ext cx="713" cy="1501"/>
            </a:xfrm>
            <a:custGeom>
              <a:avLst/>
              <a:gdLst>
                <a:gd name="T0" fmla="*/ 86 w 713"/>
                <a:gd name="T1" fmla="*/ 298 h 1501"/>
                <a:gd name="T2" fmla="*/ 80 w 713"/>
                <a:gd name="T3" fmla="*/ 356 h 1501"/>
                <a:gd name="T4" fmla="*/ 36 w 713"/>
                <a:gd name="T5" fmla="*/ 422 h 1501"/>
                <a:gd name="T6" fmla="*/ 86 w 713"/>
                <a:gd name="T7" fmla="*/ 450 h 1501"/>
                <a:gd name="T8" fmla="*/ 78 w 713"/>
                <a:gd name="T9" fmla="*/ 503 h 1501"/>
                <a:gd name="T10" fmla="*/ 58 w 713"/>
                <a:gd name="T11" fmla="*/ 609 h 1501"/>
                <a:gd name="T12" fmla="*/ 76 w 713"/>
                <a:gd name="T13" fmla="*/ 659 h 1501"/>
                <a:gd name="T14" fmla="*/ 98 w 713"/>
                <a:gd name="T15" fmla="*/ 719 h 1501"/>
                <a:gd name="T16" fmla="*/ 78 w 713"/>
                <a:gd name="T17" fmla="*/ 772 h 1501"/>
                <a:gd name="T18" fmla="*/ 50 w 713"/>
                <a:gd name="T19" fmla="*/ 840 h 1501"/>
                <a:gd name="T20" fmla="*/ 54 w 713"/>
                <a:gd name="T21" fmla="*/ 904 h 1501"/>
                <a:gd name="T22" fmla="*/ 0 w 713"/>
                <a:gd name="T23" fmla="*/ 995 h 1501"/>
                <a:gd name="T24" fmla="*/ 114 w 713"/>
                <a:gd name="T25" fmla="*/ 1065 h 1501"/>
                <a:gd name="T26" fmla="*/ 104 w 713"/>
                <a:gd name="T27" fmla="*/ 1157 h 1501"/>
                <a:gd name="T28" fmla="*/ 92 w 713"/>
                <a:gd name="T29" fmla="*/ 1222 h 1501"/>
                <a:gd name="T30" fmla="*/ 88 w 713"/>
                <a:gd name="T31" fmla="*/ 1298 h 1501"/>
                <a:gd name="T32" fmla="*/ 149 w 713"/>
                <a:gd name="T33" fmla="*/ 1352 h 1501"/>
                <a:gd name="T34" fmla="*/ 161 w 713"/>
                <a:gd name="T35" fmla="*/ 1404 h 1501"/>
                <a:gd name="T36" fmla="*/ 143 w 713"/>
                <a:gd name="T37" fmla="*/ 1439 h 1501"/>
                <a:gd name="T38" fmla="*/ 118 w 713"/>
                <a:gd name="T39" fmla="*/ 1491 h 1501"/>
                <a:gd name="T40" fmla="*/ 195 w 713"/>
                <a:gd name="T41" fmla="*/ 1497 h 1501"/>
                <a:gd name="T42" fmla="*/ 239 w 713"/>
                <a:gd name="T43" fmla="*/ 1447 h 1501"/>
                <a:gd name="T44" fmla="*/ 287 w 713"/>
                <a:gd name="T45" fmla="*/ 1418 h 1501"/>
                <a:gd name="T46" fmla="*/ 331 w 713"/>
                <a:gd name="T47" fmla="*/ 1412 h 1501"/>
                <a:gd name="T48" fmla="*/ 309 w 713"/>
                <a:gd name="T49" fmla="*/ 1364 h 1501"/>
                <a:gd name="T50" fmla="*/ 343 w 713"/>
                <a:gd name="T51" fmla="*/ 1312 h 1501"/>
                <a:gd name="T52" fmla="*/ 374 w 713"/>
                <a:gd name="T53" fmla="*/ 1242 h 1501"/>
                <a:gd name="T54" fmla="*/ 422 w 713"/>
                <a:gd name="T55" fmla="*/ 1175 h 1501"/>
                <a:gd name="T56" fmla="*/ 458 w 713"/>
                <a:gd name="T57" fmla="*/ 1167 h 1501"/>
                <a:gd name="T58" fmla="*/ 484 w 713"/>
                <a:gd name="T59" fmla="*/ 1161 h 1501"/>
                <a:gd name="T60" fmla="*/ 516 w 713"/>
                <a:gd name="T61" fmla="*/ 1127 h 1501"/>
                <a:gd name="T62" fmla="*/ 548 w 713"/>
                <a:gd name="T63" fmla="*/ 1079 h 1501"/>
                <a:gd name="T64" fmla="*/ 611 w 713"/>
                <a:gd name="T65" fmla="*/ 1065 h 1501"/>
                <a:gd name="T66" fmla="*/ 627 w 713"/>
                <a:gd name="T67" fmla="*/ 936 h 1501"/>
                <a:gd name="T68" fmla="*/ 651 w 713"/>
                <a:gd name="T69" fmla="*/ 808 h 1501"/>
                <a:gd name="T70" fmla="*/ 683 w 713"/>
                <a:gd name="T71" fmla="*/ 776 h 1501"/>
                <a:gd name="T72" fmla="*/ 613 w 713"/>
                <a:gd name="T73" fmla="*/ 760 h 1501"/>
                <a:gd name="T74" fmla="*/ 627 w 713"/>
                <a:gd name="T75" fmla="*/ 701 h 1501"/>
                <a:gd name="T76" fmla="*/ 605 w 713"/>
                <a:gd name="T77" fmla="*/ 633 h 1501"/>
                <a:gd name="T78" fmla="*/ 597 w 713"/>
                <a:gd name="T79" fmla="*/ 488 h 1501"/>
                <a:gd name="T80" fmla="*/ 647 w 713"/>
                <a:gd name="T81" fmla="*/ 450 h 1501"/>
                <a:gd name="T82" fmla="*/ 669 w 713"/>
                <a:gd name="T83" fmla="*/ 418 h 1501"/>
                <a:gd name="T84" fmla="*/ 697 w 713"/>
                <a:gd name="T85" fmla="*/ 338 h 1501"/>
                <a:gd name="T86" fmla="*/ 665 w 713"/>
                <a:gd name="T87" fmla="*/ 280 h 1501"/>
                <a:gd name="T88" fmla="*/ 661 w 713"/>
                <a:gd name="T89" fmla="*/ 207 h 1501"/>
                <a:gd name="T90" fmla="*/ 657 w 713"/>
                <a:gd name="T91" fmla="*/ 217 h 1501"/>
                <a:gd name="T92" fmla="*/ 589 w 713"/>
                <a:gd name="T93" fmla="*/ 259 h 1501"/>
                <a:gd name="T94" fmla="*/ 595 w 713"/>
                <a:gd name="T95" fmla="*/ 241 h 1501"/>
                <a:gd name="T96" fmla="*/ 657 w 713"/>
                <a:gd name="T97" fmla="*/ 163 h 1501"/>
                <a:gd name="T98" fmla="*/ 673 w 713"/>
                <a:gd name="T99" fmla="*/ 69 h 1501"/>
                <a:gd name="T100" fmla="*/ 583 w 713"/>
                <a:gd name="T101" fmla="*/ 57 h 1501"/>
                <a:gd name="T102" fmla="*/ 568 w 713"/>
                <a:gd name="T103" fmla="*/ 31 h 1501"/>
                <a:gd name="T104" fmla="*/ 526 w 713"/>
                <a:gd name="T105" fmla="*/ 0 h 1501"/>
                <a:gd name="T106" fmla="*/ 488 w 713"/>
                <a:gd name="T107" fmla="*/ 57 h 1501"/>
                <a:gd name="T108" fmla="*/ 458 w 713"/>
                <a:gd name="T109" fmla="*/ 79 h 1501"/>
                <a:gd name="T110" fmla="*/ 366 w 713"/>
                <a:gd name="T111" fmla="*/ 93 h 1501"/>
                <a:gd name="T112" fmla="*/ 279 w 713"/>
                <a:gd name="T113" fmla="*/ 119 h 1501"/>
                <a:gd name="T114" fmla="*/ 235 w 713"/>
                <a:gd name="T115" fmla="*/ 195 h 1501"/>
                <a:gd name="T116" fmla="*/ 126 w 713"/>
                <a:gd name="T117" fmla="*/ 197 h 1501"/>
                <a:gd name="T118" fmla="*/ 126 w 713"/>
                <a:gd name="T119" fmla="*/ 280 h 1501"/>
                <a:gd name="T120" fmla="*/ 118 w 713"/>
                <a:gd name="T121" fmla="*/ 304 h 1501"/>
                <a:gd name="T122" fmla="*/ 68 w 713"/>
                <a:gd name="T123" fmla="*/ 253 h 15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13" h="1501">
                  <a:moveTo>
                    <a:pt x="70" y="266"/>
                  </a:moveTo>
                  <a:lnTo>
                    <a:pt x="70" y="266"/>
                  </a:lnTo>
                  <a:lnTo>
                    <a:pt x="82" y="278"/>
                  </a:lnTo>
                  <a:lnTo>
                    <a:pt x="88" y="284"/>
                  </a:lnTo>
                  <a:lnTo>
                    <a:pt x="90" y="288"/>
                  </a:lnTo>
                  <a:lnTo>
                    <a:pt x="90" y="290"/>
                  </a:lnTo>
                  <a:lnTo>
                    <a:pt x="90" y="290"/>
                  </a:lnTo>
                  <a:lnTo>
                    <a:pt x="90" y="292"/>
                  </a:lnTo>
                  <a:lnTo>
                    <a:pt x="88" y="292"/>
                  </a:lnTo>
                  <a:lnTo>
                    <a:pt x="86" y="292"/>
                  </a:lnTo>
                  <a:lnTo>
                    <a:pt x="86" y="298"/>
                  </a:lnTo>
                  <a:lnTo>
                    <a:pt x="86" y="298"/>
                  </a:lnTo>
                  <a:lnTo>
                    <a:pt x="86" y="298"/>
                  </a:lnTo>
                  <a:lnTo>
                    <a:pt x="86" y="300"/>
                  </a:lnTo>
                  <a:lnTo>
                    <a:pt x="80" y="302"/>
                  </a:lnTo>
                  <a:lnTo>
                    <a:pt x="70" y="302"/>
                  </a:lnTo>
                  <a:lnTo>
                    <a:pt x="70" y="302"/>
                  </a:lnTo>
                  <a:lnTo>
                    <a:pt x="68" y="304"/>
                  </a:lnTo>
                  <a:lnTo>
                    <a:pt x="64" y="306"/>
                  </a:lnTo>
                  <a:lnTo>
                    <a:pt x="60" y="310"/>
                  </a:lnTo>
                  <a:lnTo>
                    <a:pt x="60" y="310"/>
                  </a:lnTo>
                  <a:lnTo>
                    <a:pt x="74" y="332"/>
                  </a:lnTo>
                  <a:lnTo>
                    <a:pt x="74" y="332"/>
                  </a:lnTo>
                  <a:lnTo>
                    <a:pt x="76" y="338"/>
                  </a:lnTo>
                  <a:lnTo>
                    <a:pt x="78" y="346"/>
                  </a:lnTo>
                  <a:lnTo>
                    <a:pt x="80" y="356"/>
                  </a:lnTo>
                  <a:lnTo>
                    <a:pt x="80" y="356"/>
                  </a:lnTo>
                  <a:lnTo>
                    <a:pt x="76" y="368"/>
                  </a:lnTo>
                  <a:lnTo>
                    <a:pt x="76" y="372"/>
                  </a:lnTo>
                  <a:lnTo>
                    <a:pt x="74" y="372"/>
                  </a:lnTo>
                  <a:lnTo>
                    <a:pt x="72" y="372"/>
                  </a:lnTo>
                  <a:lnTo>
                    <a:pt x="72" y="372"/>
                  </a:lnTo>
                  <a:lnTo>
                    <a:pt x="72" y="370"/>
                  </a:lnTo>
                  <a:lnTo>
                    <a:pt x="68" y="370"/>
                  </a:lnTo>
                  <a:lnTo>
                    <a:pt x="66" y="372"/>
                  </a:lnTo>
                  <a:lnTo>
                    <a:pt x="58" y="374"/>
                  </a:lnTo>
                  <a:lnTo>
                    <a:pt x="58" y="374"/>
                  </a:lnTo>
                  <a:lnTo>
                    <a:pt x="28" y="396"/>
                  </a:lnTo>
                  <a:lnTo>
                    <a:pt x="36" y="422"/>
                  </a:lnTo>
                  <a:lnTo>
                    <a:pt x="36" y="422"/>
                  </a:lnTo>
                  <a:lnTo>
                    <a:pt x="36" y="424"/>
                  </a:lnTo>
                  <a:lnTo>
                    <a:pt x="42" y="428"/>
                  </a:lnTo>
                  <a:lnTo>
                    <a:pt x="46" y="430"/>
                  </a:lnTo>
                  <a:lnTo>
                    <a:pt x="46" y="430"/>
                  </a:lnTo>
                  <a:lnTo>
                    <a:pt x="58" y="438"/>
                  </a:lnTo>
                  <a:lnTo>
                    <a:pt x="64" y="442"/>
                  </a:lnTo>
                  <a:lnTo>
                    <a:pt x="72" y="442"/>
                  </a:lnTo>
                  <a:lnTo>
                    <a:pt x="72" y="442"/>
                  </a:lnTo>
                  <a:lnTo>
                    <a:pt x="76" y="442"/>
                  </a:lnTo>
                  <a:lnTo>
                    <a:pt x="80" y="446"/>
                  </a:lnTo>
                  <a:lnTo>
                    <a:pt x="80" y="448"/>
                  </a:lnTo>
                  <a:lnTo>
                    <a:pt x="86" y="450"/>
                  </a:lnTo>
                  <a:lnTo>
                    <a:pt x="86" y="450"/>
                  </a:lnTo>
                  <a:lnTo>
                    <a:pt x="86" y="452"/>
                  </a:lnTo>
                  <a:lnTo>
                    <a:pt x="88" y="458"/>
                  </a:lnTo>
                  <a:lnTo>
                    <a:pt x="88" y="466"/>
                  </a:lnTo>
                  <a:lnTo>
                    <a:pt x="88" y="480"/>
                  </a:lnTo>
                  <a:lnTo>
                    <a:pt x="88" y="480"/>
                  </a:lnTo>
                  <a:lnTo>
                    <a:pt x="88" y="484"/>
                  </a:lnTo>
                  <a:lnTo>
                    <a:pt x="86" y="486"/>
                  </a:lnTo>
                  <a:lnTo>
                    <a:pt x="82" y="490"/>
                  </a:lnTo>
                  <a:lnTo>
                    <a:pt x="80" y="495"/>
                  </a:lnTo>
                  <a:lnTo>
                    <a:pt x="80" y="495"/>
                  </a:lnTo>
                  <a:lnTo>
                    <a:pt x="80" y="501"/>
                  </a:lnTo>
                  <a:lnTo>
                    <a:pt x="78" y="503"/>
                  </a:lnTo>
                  <a:lnTo>
                    <a:pt x="74" y="509"/>
                  </a:lnTo>
                  <a:lnTo>
                    <a:pt x="68" y="519"/>
                  </a:lnTo>
                  <a:lnTo>
                    <a:pt x="54" y="517"/>
                  </a:lnTo>
                  <a:lnTo>
                    <a:pt x="58" y="549"/>
                  </a:lnTo>
                  <a:lnTo>
                    <a:pt x="50" y="559"/>
                  </a:lnTo>
                  <a:lnTo>
                    <a:pt x="50" y="559"/>
                  </a:lnTo>
                  <a:lnTo>
                    <a:pt x="54" y="563"/>
                  </a:lnTo>
                  <a:lnTo>
                    <a:pt x="56" y="571"/>
                  </a:lnTo>
                  <a:lnTo>
                    <a:pt x="60" y="577"/>
                  </a:lnTo>
                  <a:lnTo>
                    <a:pt x="60" y="577"/>
                  </a:lnTo>
                  <a:lnTo>
                    <a:pt x="66" y="593"/>
                  </a:lnTo>
                  <a:lnTo>
                    <a:pt x="68" y="599"/>
                  </a:lnTo>
                  <a:lnTo>
                    <a:pt x="58" y="609"/>
                  </a:lnTo>
                  <a:lnTo>
                    <a:pt x="68" y="625"/>
                  </a:lnTo>
                  <a:lnTo>
                    <a:pt x="68" y="625"/>
                  </a:lnTo>
                  <a:lnTo>
                    <a:pt x="66" y="627"/>
                  </a:lnTo>
                  <a:lnTo>
                    <a:pt x="66" y="629"/>
                  </a:lnTo>
                  <a:lnTo>
                    <a:pt x="64" y="631"/>
                  </a:lnTo>
                  <a:lnTo>
                    <a:pt x="64" y="631"/>
                  </a:lnTo>
                  <a:lnTo>
                    <a:pt x="60" y="635"/>
                  </a:lnTo>
                  <a:lnTo>
                    <a:pt x="58" y="643"/>
                  </a:lnTo>
                  <a:lnTo>
                    <a:pt x="58" y="651"/>
                  </a:lnTo>
                  <a:lnTo>
                    <a:pt x="58" y="651"/>
                  </a:lnTo>
                  <a:lnTo>
                    <a:pt x="68" y="653"/>
                  </a:lnTo>
                  <a:lnTo>
                    <a:pt x="72" y="655"/>
                  </a:lnTo>
                  <a:lnTo>
                    <a:pt x="76" y="659"/>
                  </a:lnTo>
                  <a:lnTo>
                    <a:pt x="76" y="659"/>
                  </a:lnTo>
                  <a:lnTo>
                    <a:pt x="76" y="667"/>
                  </a:lnTo>
                  <a:lnTo>
                    <a:pt x="78" y="675"/>
                  </a:lnTo>
                  <a:lnTo>
                    <a:pt x="76" y="681"/>
                  </a:lnTo>
                  <a:lnTo>
                    <a:pt x="76" y="689"/>
                  </a:lnTo>
                  <a:lnTo>
                    <a:pt x="76" y="689"/>
                  </a:lnTo>
                  <a:lnTo>
                    <a:pt x="68" y="705"/>
                  </a:lnTo>
                  <a:lnTo>
                    <a:pt x="68" y="705"/>
                  </a:lnTo>
                  <a:lnTo>
                    <a:pt x="80" y="711"/>
                  </a:lnTo>
                  <a:lnTo>
                    <a:pt x="90" y="715"/>
                  </a:lnTo>
                  <a:lnTo>
                    <a:pt x="96" y="717"/>
                  </a:lnTo>
                  <a:lnTo>
                    <a:pt x="96" y="717"/>
                  </a:lnTo>
                  <a:lnTo>
                    <a:pt x="98" y="719"/>
                  </a:lnTo>
                  <a:lnTo>
                    <a:pt x="100" y="721"/>
                  </a:lnTo>
                  <a:lnTo>
                    <a:pt x="102" y="732"/>
                  </a:lnTo>
                  <a:lnTo>
                    <a:pt x="102" y="732"/>
                  </a:lnTo>
                  <a:lnTo>
                    <a:pt x="100" y="736"/>
                  </a:lnTo>
                  <a:lnTo>
                    <a:pt x="98" y="742"/>
                  </a:lnTo>
                  <a:lnTo>
                    <a:pt x="94" y="756"/>
                  </a:lnTo>
                  <a:lnTo>
                    <a:pt x="94" y="756"/>
                  </a:lnTo>
                  <a:lnTo>
                    <a:pt x="92" y="760"/>
                  </a:lnTo>
                  <a:lnTo>
                    <a:pt x="92" y="762"/>
                  </a:lnTo>
                  <a:lnTo>
                    <a:pt x="88" y="762"/>
                  </a:lnTo>
                  <a:lnTo>
                    <a:pt x="86" y="766"/>
                  </a:lnTo>
                  <a:lnTo>
                    <a:pt x="86" y="766"/>
                  </a:lnTo>
                  <a:lnTo>
                    <a:pt x="78" y="772"/>
                  </a:lnTo>
                  <a:lnTo>
                    <a:pt x="72" y="780"/>
                  </a:lnTo>
                  <a:lnTo>
                    <a:pt x="68" y="788"/>
                  </a:lnTo>
                  <a:lnTo>
                    <a:pt x="68" y="788"/>
                  </a:lnTo>
                  <a:lnTo>
                    <a:pt x="72" y="796"/>
                  </a:lnTo>
                  <a:lnTo>
                    <a:pt x="72" y="796"/>
                  </a:lnTo>
                  <a:lnTo>
                    <a:pt x="74" y="802"/>
                  </a:lnTo>
                  <a:lnTo>
                    <a:pt x="74" y="808"/>
                  </a:lnTo>
                  <a:lnTo>
                    <a:pt x="74" y="812"/>
                  </a:lnTo>
                  <a:lnTo>
                    <a:pt x="72" y="816"/>
                  </a:lnTo>
                  <a:lnTo>
                    <a:pt x="72" y="816"/>
                  </a:lnTo>
                  <a:lnTo>
                    <a:pt x="64" y="830"/>
                  </a:lnTo>
                  <a:lnTo>
                    <a:pt x="50" y="840"/>
                  </a:lnTo>
                  <a:lnTo>
                    <a:pt x="50" y="840"/>
                  </a:lnTo>
                  <a:lnTo>
                    <a:pt x="42" y="848"/>
                  </a:lnTo>
                  <a:lnTo>
                    <a:pt x="40" y="852"/>
                  </a:lnTo>
                  <a:lnTo>
                    <a:pt x="34" y="858"/>
                  </a:lnTo>
                  <a:lnTo>
                    <a:pt x="34" y="858"/>
                  </a:lnTo>
                  <a:lnTo>
                    <a:pt x="32" y="862"/>
                  </a:lnTo>
                  <a:lnTo>
                    <a:pt x="32" y="862"/>
                  </a:lnTo>
                  <a:lnTo>
                    <a:pt x="30" y="870"/>
                  </a:lnTo>
                  <a:lnTo>
                    <a:pt x="28" y="876"/>
                  </a:lnTo>
                  <a:lnTo>
                    <a:pt x="30" y="884"/>
                  </a:lnTo>
                  <a:lnTo>
                    <a:pt x="30" y="884"/>
                  </a:lnTo>
                  <a:lnTo>
                    <a:pt x="32" y="890"/>
                  </a:lnTo>
                  <a:lnTo>
                    <a:pt x="42" y="894"/>
                  </a:lnTo>
                  <a:lnTo>
                    <a:pt x="54" y="904"/>
                  </a:lnTo>
                  <a:lnTo>
                    <a:pt x="54" y="904"/>
                  </a:lnTo>
                  <a:lnTo>
                    <a:pt x="60" y="908"/>
                  </a:lnTo>
                  <a:lnTo>
                    <a:pt x="64" y="910"/>
                  </a:lnTo>
                  <a:lnTo>
                    <a:pt x="64" y="910"/>
                  </a:lnTo>
                  <a:lnTo>
                    <a:pt x="64" y="914"/>
                  </a:lnTo>
                  <a:lnTo>
                    <a:pt x="58" y="916"/>
                  </a:lnTo>
                  <a:lnTo>
                    <a:pt x="52" y="918"/>
                  </a:lnTo>
                  <a:lnTo>
                    <a:pt x="52" y="924"/>
                  </a:lnTo>
                  <a:lnTo>
                    <a:pt x="0" y="938"/>
                  </a:lnTo>
                  <a:lnTo>
                    <a:pt x="8" y="938"/>
                  </a:lnTo>
                  <a:lnTo>
                    <a:pt x="12" y="973"/>
                  </a:lnTo>
                  <a:lnTo>
                    <a:pt x="0" y="995"/>
                  </a:lnTo>
                  <a:lnTo>
                    <a:pt x="0" y="995"/>
                  </a:lnTo>
                  <a:lnTo>
                    <a:pt x="10" y="995"/>
                  </a:lnTo>
                  <a:lnTo>
                    <a:pt x="20" y="999"/>
                  </a:lnTo>
                  <a:lnTo>
                    <a:pt x="28" y="999"/>
                  </a:lnTo>
                  <a:lnTo>
                    <a:pt x="28" y="999"/>
                  </a:lnTo>
                  <a:lnTo>
                    <a:pt x="40" y="999"/>
                  </a:lnTo>
                  <a:lnTo>
                    <a:pt x="54" y="1005"/>
                  </a:lnTo>
                  <a:lnTo>
                    <a:pt x="72" y="1009"/>
                  </a:lnTo>
                  <a:lnTo>
                    <a:pt x="76" y="1019"/>
                  </a:lnTo>
                  <a:lnTo>
                    <a:pt x="86" y="1029"/>
                  </a:lnTo>
                  <a:lnTo>
                    <a:pt x="88" y="1047"/>
                  </a:lnTo>
                  <a:lnTo>
                    <a:pt x="112" y="1051"/>
                  </a:lnTo>
                  <a:lnTo>
                    <a:pt x="114" y="1065"/>
                  </a:lnTo>
                  <a:lnTo>
                    <a:pt x="114" y="1065"/>
                  </a:lnTo>
                  <a:lnTo>
                    <a:pt x="96" y="1077"/>
                  </a:lnTo>
                  <a:lnTo>
                    <a:pt x="86" y="1087"/>
                  </a:lnTo>
                  <a:lnTo>
                    <a:pt x="82" y="1091"/>
                  </a:lnTo>
                  <a:lnTo>
                    <a:pt x="82" y="1093"/>
                  </a:lnTo>
                  <a:lnTo>
                    <a:pt x="82" y="1093"/>
                  </a:lnTo>
                  <a:lnTo>
                    <a:pt x="86" y="1101"/>
                  </a:lnTo>
                  <a:lnTo>
                    <a:pt x="86" y="1107"/>
                  </a:lnTo>
                  <a:lnTo>
                    <a:pt x="82" y="1115"/>
                  </a:lnTo>
                  <a:lnTo>
                    <a:pt x="104" y="1127"/>
                  </a:lnTo>
                  <a:lnTo>
                    <a:pt x="120" y="1131"/>
                  </a:lnTo>
                  <a:lnTo>
                    <a:pt x="118" y="1153"/>
                  </a:lnTo>
                  <a:lnTo>
                    <a:pt x="112" y="1153"/>
                  </a:lnTo>
                  <a:lnTo>
                    <a:pt x="104" y="1157"/>
                  </a:lnTo>
                  <a:lnTo>
                    <a:pt x="98" y="1165"/>
                  </a:lnTo>
                  <a:lnTo>
                    <a:pt x="90" y="1177"/>
                  </a:lnTo>
                  <a:lnTo>
                    <a:pt x="92" y="1187"/>
                  </a:lnTo>
                  <a:lnTo>
                    <a:pt x="88" y="1192"/>
                  </a:lnTo>
                  <a:lnTo>
                    <a:pt x="88" y="1194"/>
                  </a:lnTo>
                  <a:lnTo>
                    <a:pt x="88" y="1200"/>
                  </a:lnTo>
                  <a:lnTo>
                    <a:pt x="80" y="1204"/>
                  </a:lnTo>
                  <a:lnTo>
                    <a:pt x="80" y="1204"/>
                  </a:lnTo>
                  <a:lnTo>
                    <a:pt x="86" y="1212"/>
                  </a:lnTo>
                  <a:lnTo>
                    <a:pt x="88" y="1218"/>
                  </a:lnTo>
                  <a:lnTo>
                    <a:pt x="90" y="1220"/>
                  </a:lnTo>
                  <a:lnTo>
                    <a:pt x="90" y="1220"/>
                  </a:lnTo>
                  <a:lnTo>
                    <a:pt x="92" y="1222"/>
                  </a:lnTo>
                  <a:lnTo>
                    <a:pt x="94" y="1224"/>
                  </a:lnTo>
                  <a:lnTo>
                    <a:pt x="96" y="1232"/>
                  </a:lnTo>
                  <a:lnTo>
                    <a:pt x="98" y="1234"/>
                  </a:lnTo>
                  <a:lnTo>
                    <a:pt x="98" y="1234"/>
                  </a:lnTo>
                  <a:lnTo>
                    <a:pt x="102" y="1258"/>
                  </a:lnTo>
                  <a:lnTo>
                    <a:pt x="102" y="1258"/>
                  </a:lnTo>
                  <a:lnTo>
                    <a:pt x="92" y="1264"/>
                  </a:lnTo>
                  <a:lnTo>
                    <a:pt x="80" y="1268"/>
                  </a:lnTo>
                  <a:lnTo>
                    <a:pt x="76" y="1272"/>
                  </a:lnTo>
                  <a:lnTo>
                    <a:pt x="76" y="1272"/>
                  </a:lnTo>
                  <a:lnTo>
                    <a:pt x="74" y="1274"/>
                  </a:lnTo>
                  <a:lnTo>
                    <a:pt x="86" y="1288"/>
                  </a:lnTo>
                  <a:lnTo>
                    <a:pt x="88" y="1298"/>
                  </a:lnTo>
                  <a:lnTo>
                    <a:pt x="100" y="1302"/>
                  </a:lnTo>
                  <a:lnTo>
                    <a:pt x="116" y="1302"/>
                  </a:lnTo>
                  <a:lnTo>
                    <a:pt x="132" y="1308"/>
                  </a:lnTo>
                  <a:lnTo>
                    <a:pt x="141" y="1318"/>
                  </a:lnTo>
                  <a:lnTo>
                    <a:pt x="141" y="1318"/>
                  </a:lnTo>
                  <a:lnTo>
                    <a:pt x="139" y="1326"/>
                  </a:lnTo>
                  <a:lnTo>
                    <a:pt x="139" y="1332"/>
                  </a:lnTo>
                  <a:lnTo>
                    <a:pt x="139" y="1334"/>
                  </a:lnTo>
                  <a:lnTo>
                    <a:pt x="139" y="1334"/>
                  </a:lnTo>
                  <a:lnTo>
                    <a:pt x="139" y="1334"/>
                  </a:lnTo>
                  <a:lnTo>
                    <a:pt x="145" y="1340"/>
                  </a:lnTo>
                  <a:lnTo>
                    <a:pt x="147" y="1344"/>
                  </a:lnTo>
                  <a:lnTo>
                    <a:pt x="149" y="1352"/>
                  </a:lnTo>
                  <a:lnTo>
                    <a:pt x="149" y="1352"/>
                  </a:lnTo>
                  <a:lnTo>
                    <a:pt x="149" y="1358"/>
                  </a:lnTo>
                  <a:lnTo>
                    <a:pt x="153" y="1364"/>
                  </a:lnTo>
                  <a:lnTo>
                    <a:pt x="153" y="1364"/>
                  </a:lnTo>
                  <a:lnTo>
                    <a:pt x="155" y="1366"/>
                  </a:lnTo>
                  <a:lnTo>
                    <a:pt x="153" y="1372"/>
                  </a:lnTo>
                  <a:lnTo>
                    <a:pt x="153" y="1376"/>
                  </a:lnTo>
                  <a:lnTo>
                    <a:pt x="153" y="1380"/>
                  </a:lnTo>
                  <a:lnTo>
                    <a:pt x="153" y="1380"/>
                  </a:lnTo>
                  <a:lnTo>
                    <a:pt x="157" y="1394"/>
                  </a:lnTo>
                  <a:lnTo>
                    <a:pt x="159" y="1400"/>
                  </a:lnTo>
                  <a:lnTo>
                    <a:pt x="161" y="1404"/>
                  </a:lnTo>
                  <a:lnTo>
                    <a:pt x="161" y="1404"/>
                  </a:lnTo>
                  <a:lnTo>
                    <a:pt x="163" y="1408"/>
                  </a:lnTo>
                  <a:lnTo>
                    <a:pt x="165" y="1410"/>
                  </a:lnTo>
                  <a:lnTo>
                    <a:pt x="165" y="1412"/>
                  </a:lnTo>
                  <a:lnTo>
                    <a:pt x="163" y="1418"/>
                  </a:lnTo>
                  <a:lnTo>
                    <a:pt x="163" y="1418"/>
                  </a:lnTo>
                  <a:lnTo>
                    <a:pt x="159" y="1420"/>
                  </a:lnTo>
                  <a:lnTo>
                    <a:pt x="155" y="1422"/>
                  </a:lnTo>
                  <a:lnTo>
                    <a:pt x="153" y="1422"/>
                  </a:lnTo>
                  <a:lnTo>
                    <a:pt x="147" y="1425"/>
                  </a:lnTo>
                  <a:lnTo>
                    <a:pt x="147" y="1425"/>
                  </a:lnTo>
                  <a:lnTo>
                    <a:pt x="145" y="1433"/>
                  </a:lnTo>
                  <a:lnTo>
                    <a:pt x="143" y="1439"/>
                  </a:lnTo>
                  <a:lnTo>
                    <a:pt x="143" y="1439"/>
                  </a:lnTo>
                  <a:lnTo>
                    <a:pt x="134" y="1445"/>
                  </a:lnTo>
                  <a:lnTo>
                    <a:pt x="126" y="1451"/>
                  </a:lnTo>
                  <a:lnTo>
                    <a:pt x="120" y="1455"/>
                  </a:lnTo>
                  <a:lnTo>
                    <a:pt x="120" y="1455"/>
                  </a:lnTo>
                  <a:lnTo>
                    <a:pt x="114" y="1463"/>
                  </a:lnTo>
                  <a:lnTo>
                    <a:pt x="110" y="1467"/>
                  </a:lnTo>
                  <a:lnTo>
                    <a:pt x="112" y="1471"/>
                  </a:lnTo>
                  <a:lnTo>
                    <a:pt x="112" y="1471"/>
                  </a:lnTo>
                  <a:lnTo>
                    <a:pt x="114" y="1479"/>
                  </a:lnTo>
                  <a:lnTo>
                    <a:pt x="114" y="1489"/>
                  </a:lnTo>
                  <a:lnTo>
                    <a:pt x="116" y="1489"/>
                  </a:lnTo>
                  <a:lnTo>
                    <a:pt x="118" y="1491"/>
                  </a:lnTo>
                  <a:lnTo>
                    <a:pt x="118" y="1491"/>
                  </a:lnTo>
                  <a:lnTo>
                    <a:pt x="134" y="1491"/>
                  </a:lnTo>
                  <a:lnTo>
                    <a:pt x="134" y="1491"/>
                  </a:lnTo>
                  <a:lnTo>
                    <a:pt x="143" y="1493"/>
                  </a:lnTo>
                  <a:lnTo>
                    <a:pt x="145" y="1493"/>
                  </a:lnTo>
                  <a:lnTo>
                    <a:pt x="149" y="1493"/>
                  </a:lnTo>
                  <a:lnTo>
                    <a:pt x="149" y="1493"/>
                  </a:lnTo>
                  <a:lnTo>
                    <a:pt x="161" y="1499"/>
                  </a:lnTo>
                  <a:lnTo>
                    <a:pt x="165" y="1501"/>
                  </a:lnTo>
                  <a:lnTo>
                    <a:pt x="171" y="1501"/>
                  </a:lnTo>
                  <a:lnTo>
                    <a:pt x="171" y="1501"/>
                  </a:lnTo>
                  <a:lnTo>
                    <a:pt x="187" y="1499"/>
                  </a:lnTo>
                  <a:lnTo>
                    <a:pt x="193" y="1497"/>
                  </a:lnTo>
                  <a:lnTo>
                    <a:pt x="195" y="1497"/>
                  </a:lnTo>
                  <a:lnTo>
                    <a:pt x="199" y="1495"/>
                  </a:lnTo>
                  <a:lnTo>
                    <a:pt x="199" y="1495"/>
                  </a:lnTo>
                  <a:lnTo>
                    <a:pt x="203" y="1491"/>
                  </a:lnTo>
                  <a:lnTo>
                    <a:pt x="211" y="1487"/>
                  </a:lnTo>
                  <a:lnTo>
                    <a:pt x="217" y="1481"/>
                  </a:lnTo>
                  <a:lnTo>
                    <a:pt x="223" y="1475"/>
                  </a:lnTo>
                  <a:lnTo>
                    <a:pt x="223" y="1475"/>
                  </a:lnTo>
                  <a:lnTo>
                    <a:pt x="227" y="1469"/>
                  </a:lnTo>
                  <a:lnTo>
                    <a:pt x="231" y="1457"/>
                  </a:lnTo>
                  <a:lnTo>
                    <a:pt x="235" y="1451"/>
                  </a:lnTo>
                  <a:lnTo>
                    <a:pt x="237" y="1447"/>
                  </a:lnTo>
                  <a:lnTo>
                    <a:pt x="239" y="1447"/>
                  </a:lnTo>
                  <a:lnTo>
                    <a:pt x="239" y="1447"/>
                  </a:lnTo>
                  <a:lnTo>
                    <a:pt x="249" y="1445"/>
                  </a:lnTo>
                  <a:lnTo>
                    <a:pt x="251" y="1443"/>
                  </a:lnTo>
                  <a:lnTo>
                    <a:pt x="255" y="1443"/>
                  </a:lnTo>
                  <a:lnTo>
                    <a:pt x="255" y="1439"/>
                  </a:lnTo>
                  <a:lnTo>
                    <a:pt x="255" y="1439"/>
                  </a:lnTo>
                  <a:lnTo>
                    <a:pt x="259" y="1425"/>
                  </a:lnTo>
                  <a:lnTo>
                    <a:pt x="259" y="1422"/>
                  </a:lnTo>
                  <a:lnTo>
                    <a:pt x="261" y="1422"/>
                  </a:lnTo>
                  <a:lnTo>
                    <a:pt x="263" y="1420"/>
                  </a:lnTo>
                  <a:lnTo>
                    <a:pt x="263" y="1420"/>
                  </a:lnTo>
                  <a:lnTo>
                    <a:pt x="275" y="1418"/>
                  </a:lnTo>
                  <a:lnTo>
                    <a:pt x="287" y="1418"/>
                  </a:lnTo>
                  <a:lnTo>
                    <a:pt x="287" y="1418"/>
                  </a:lnTo>
                  <a:lnTo>
                    <a:pt x="293" y="1418"/>
                  </a:lnTo>
                  <a:lnTo>
                    <a:pt x="297" y="1418"/>
                  </a:lnTo>
                  <a:lnTo>
                    <a:pt x="301" y="1416"/>
                  </a:lnTo>
                  <a:lnTo>
                    <a:pt x="305" y="1416"/>
                  </a:lnTo>
                  <a:lnTo>
                    <a:pt x="305" y="1416"/>
                  </a:lnTo>
                  <a:lnTo>
                    <a:pt x="309" y="1412"/>
                  </a:lnTo>
                  <a:lnTo>
                    <a:pt x="315" y="1412"/>
                  </a:lnTo>
                  <a:lnTo>
                    <a:pt x="319" y="1412"/>
                  </a:lnTo>
                  <a:lnTo>
                    <a:pt x="323" y="1412"/>
                  </a:lnTo>
                  <a:lnTo>
                    <a:pt x="323" y="1412"/>
                  </a:lnTo>
                  <a:lnTo>
                    <a:pt x="327" y="1412"/>
                  </a:lnTo>
                  <a:lnTo>
                    <a:pt x="327" y="1412"/>
                  </a:lnTo>
                  <a:lnTo>
                    <a:pt x="331" y="1412"/>
                  </a:lnTo>
                  <a:lnTo>
                    <a:pt x="331" y="1408"/>
                  </a:lnTo>
                  <a:lnTo>
                    <a:pt x="333" y="1406"/>
                  </a:lnTo>
                  <a:lnTo>
                    <a:pt x="333" y="1406"/>
                  </a:lnTo>
                  <a:lnTo>
                    <a:pt x="329" y="1402"/>
                  </a:lnTo>
                  <a:lnTo>
                    <a:pt x="325" y="1400"/>
                  </a:lnTo>
                  <a:lnTo>
                    <a:pt x="325" y="1400"/>
                  </a:lnTo>
                  <a:lnTo>
                    <a:pt x="321" y="1396"/>
                  </a:lnTo>
                  <a:lnTo>
                    <a:pt x="317" y="1394"/>
                  </a:lnTo>
                  <a:lnTo>
                    <a:pt x="315" y="1386"/>
                  </a:lnTo>
                  <a:lnTo>
                    <a:pt x="311" y="1382"/>
                  </a:lnTo>
                  <a:lnTo>
                    <a:pt x="309" y="1372"/>
                  </a:lnTo>
                  <a:lnTo>
                    <a:pt x="309" y="1364"/>
                  </a:lnTo>
                  <a:lnTo>
                    <a:pt x="309" y="1364"/>
                  </a:lnTo>
                  <a:lnTo>
                    <a:pt x="309" y="1362"/>
                  </a:lnTo>
                  <a:lnTo>
                    <a:pt x="311" y="1360"/>
                  </a:lnTo>
                  <a:lnTo>
                    <a:pt x="317" y="1358"/>
                  </a:lnTo>
                  <a:lnTo>
                    <a:pt x="323" y="1354"/>
                  </a:lnTo>
                  <a:lnTo>
                    <a:pt x="327" y="1352"/>
                  </a:lnTo>
                  <a:lnTo>
                    <a:pt x="327" y="1352"/>
                  </a:lnTo>
                  <a:lnTo>
                    <a:pt x="331" y="1344"/>
                  </a:lnTo>
                  <a:lnTo>
                    <a:pt x="337" y="1340"/>
                  </a:lnTo>
                  <a:lnTo>
                    <a:pt x="339" y="1332"/>
                  </a:lnTo>
                  <a:lnTo>
                    <a:pt x="339" y="1324"/>
                  </a:lnTo>
                  <a:lnTo>
                    <a:pt x="339" y="1324"/>
                  </a:lnTo>
                  <a:lnTo>
                    <a:pt x="341" y="1316"/>
                  </a:lnTo>
                  <a:lnTo>
                    <a:pt x="343" y="1312"/>
                  </a:lnTo>
                  <a:lnTo>
                    <a:pt x="347" y="1304"/>
                  </a:lnTo>
                  <a:lnTo>
                    <a:pt x="347" y="1292"/>
                  </a:lnTo>
                  <a:lnTo>
                    <a:pt x="347" y="1292"/>
                  </a:lnTo>
                  <a:lnTo>
                    <a:pt x="349" y="1286"/>
                  </a:lnTo>
                  <a:lnTo>
                    <a:pt x="349" y="1284"/>
                  </a:lnTo>
                  <a:lnTo>
                    <a:pt x="353" y="1282"/>
                  </a:lnTo>
                  <a:lnTo>
                    <a:pt x="355" y="1278"/>
                  </a:lnTo>
                  <a:lnTo>
                    <a:pt x="356" y="1274"/>
                  </a:lnTo>
                  <a:lnTo>
                    <a:pt x="360" y="1270"/>
                  </a:lnTo>
                  <a:lnTo>
                    <a:pt x="360" y="1270"/>
                  </a:lnTo>
                  <a:lnTo>
                    <a:pt x="364" y="1260"/>
                  </a:lnTo>
                  <a:lnTo>
                    <a:pt x="368" y="1250"/>
                  </a:lnTo>
                  <a:lnTo>
                    <a:pt x="374" y="1242"/>
                  </a:lnTo>
                  <a:lnTo>
                    <a:pt x="378" y="1232"/>
                  </a:lnTo>
                  <a:lnTo>
                    <a:pt x="378" y="1232"/>
                  </a:lnTo>
                  <a:lnTo>
                    <a:pt x="382" y="1226"/>
                  </a:lnTo>
                  <a:lnTo>
                    <a:pt x="378" y="1222"/>
                  </a:lnTo>
                  <a:lnTo>
                    <a:pt x="376" y="1218"/>
                  </a:lnTo>
                  <a:lnTo>
                    <a:pt x="374" y="1216"/>
                  </a:lnTo>
                  <a:lnTo>
                    <a:pt x="368" y="1212"/>
                  </a:lnTo>
                  <a:lnTo>
                    <a:pt x="364" y="1210"/>
                  </a:lnTo>
                  <a:lnTo>
                    <a:pt x="390" y="1167"/>
                  </a:lnTo>
                  <a:lnTo>
                    <a:pt x="390" y="1167"/>
                  </a:lnTo>
                  <a:lnTo>
                    <a:pt x="402" y="1171"/>
                  </a:lnTo>
                  <a:lnTo>
                    <a:pt x="414" y="1173"/>
                  </a:lnTo>
                  <a:lnTo>
                    <a:pt x="422" y="1175"/>
                  </a:lnTo>
                  <a:lnTo>
                    <a:pt x="422" y="1175"/>
                  </a:lnTo>
                  <a:lnTo>
                    <a:pt x="424" y="1173"/>
                  </a:lnTo>
                  <a:lnTo>
                    <a:pt x="430" y="1171"/>
                  </a:lnTo>
                  <a:lnTo>
                    <a:pt x="436" y="1161"/>
                  </a:lnTo>
                  <a:lnTo>
                    <a:pt x="444" y="1153"/>
                  </a:lnTo>
                  <a:lnTo>
                    <a:pt x="448" y="1153"/>
                  </a:lnTo>
                  <a:lnTo>
                    <a:pt x="454" y="1153"/>
                  </a:lnTo>
                  <a:lnTo>
                    <a:pt x="454" y="1153"/>
                  </a:lnTo>
                  <a:lnTo>
                    <a:pt x="456" y="1153"/>
                  </a:lnTo>
                  <a:lnTo>
                    <a:pt x="458" y="1153"/>
                  </a:lnTo>
                  <a:lnTo>
                    <a:pt x="458" y="1157"/>
                  </a:lnTo>
                  <a:lnTo>
                    <a:pt x="458" y="1161"/>
                  </a:lnTo>
                  <a:lnTo>
                    <a:pt x="458" y="1167"/>
                  </a:lnTo>
                  <a:lnTo>
                    <a:pt x="458" y="1169"/>
                  </a:lnTo>
                  <a:lnTo>
                    <a:pt x="458" y="1169"/>
                  </a:lnTo>
                  <a:lnTo>
                    <a:pt x="468" y="1179"/>
                  </a:lnTo>
                  <a:lnTo>
                    <a:pt x="476" y="1183"/>
                  </a:lnTo>
                  <a:lnTo>
                    <a:pt x="482" y="1189"/>
                  </a:lnTo>
                  <a:lnTo>
                    <a:pt x="482" y="1189"/>
                  </a:lnTo>
                  <a:lnTo>
                    <a:pt x="484" y="1189"/>
                  </a:lnTo>
                  <a:lnTo>
                    <a:pt x="484" y="1189"/>
                  </a:lnTo>
                  <a:lnTo>
                    <a:pt x="484" y="1183"/>
                  </a:lnTo>
                  <a:lnTo>
                    <a:pt x="482" y="1171"/>
                  </a:lnTo>
                  <a:lnTo>
                    <a:pt x="482" y="1171"/>
                  </a:lnTo>
                  <a:lnTo>
                    <a:pt x="482" y="1165"/>
                  </a:lnTo>
                  <a:lnTo>
                    <a:pt x="484" y="1161"/>
                  </a:lnTo>
                  <a:lnTo>
                    <a:pt x="488" y="1157"/>
                  </a:lnTo>
                  <a:lnTo>
                    <a:pt x="490" y="1153"/>
                  </a:lnTo>
                  <a:lnTo>
                    <a:pt x="490" y="1153"/>
                  </a:lnTo>
                  <a:lnTo>
                    <a:pt x="492" y="1153"/>
                  </a:lnTo>
                  <a:lnTo>
                    <a:pt x="496" y="1149"/>
                  </a:lnTo>
                  <a:lnTo>
                    <a:pt x="500" y="1145"/>
                  </a:lnTo>
                  <a:lnTo>
                    <a:pt x="500" y="1145"/>
                  </a:lnTo>
                  <a:lnTo>
                    <a:pt x="504" y="1139"/>
                  </a:lnTo>
                  <a:lnTo>
                    <a:pt x="508" y="1135"/>
                  </a:lnTo>
                  <a:lnTo>
                    <a:pt x="510" y="1131"/>
                  </a:lnTo>
                  <a:lnTo>
                    <a:pt x="512" y="1127"/>
                  </a:lnTo>
                  <a:lnTo>
                    <a:pt x="512" y="1127"/>
                  </a:lnTo>
                  <a:lnTo>
                    <a:pt x="516" y="1127"/>
                  </a:lnTo>
                  <a:lnTo>
                    <a:pt x="522" y="1123"/>
                  </a:lnTo>
                  <a:lnTo>
                    <a:pt x="524" y="1119"/>
                  </a:lnTo>
                  <a:lnTo>
                    <a:pt x="530" y="1113"/>
                  </a:lnTo>
                  <a:lnTo>
                    <a:pt x="530" y="1113"/>
                  </a:lnTo>
                  <a:lnTo>
                    <a:pt x="532" y="1111"/>
                  </a:lnTo>
                  <a:lnTo>
                    <a:pt x="534" y="1109"/>
                  </a:lnTo>
                  <a:lnTo>
                    <a:pt x="534" y="1103"/>
                  </a:lnTo>
                  <a:lnTo>
                    <a:pt x="532" y="1099"/>
                  </a:lnTo>
                  <a:lnTo>
                    <a:pt x="532" y="1093"/>
                  </a:lnTo>
                  <a:lnTo>
                    <a:pt x="532" y="1093"/>
                  </a:lnTo>
                  <a:lnTo>
                    <a:pt x="534" y="1089"/>
                  </a:lnTo>
                  <a:lnTo>
                    <a:pt x="538" y="1085"/>
                  </a:lnTo>
                  <a:lnTo>
                    <a:pt x="548" y="1079"/>
                  </a:lnTo>
                  <a:lnTo>
                    <a:pt x="568" y="1101"/>
                  </a:lnTo>
                  <a:lnTo>
                    <a:pt x="568" y="1101"/>
                  </a:lnTo>
                  <a:lnTo>
                    <a:pt x="577" y="1107"/>
                  </a:lnTo>
                  <a:lnTo>
                    <a:pt x="587" y="1111"/>
                  </a:lnTo>
                  <a:lnTo>
                    <a:pt x="591" y="1115"/>
                  </a:lnTo>
                  <a:lnTo>
                    <a:pt x="591" y="1115"/>
                  </a:lnTo>
                  <a:lnTo>
                    <a:pt x="593" y="1119"/>
                  </a:lnTo>
                  <a:lnTo>
                    <a:pt x="595" y="1119"/>
                  </a:lnTo>
                  <a:lnTo>
                    <a:pt x="601" y="1115"/>
                  </a:lnTo>
                  <a:lnTo>
                    <a:pt x="607" y="1109"/>
                  </a:lnTo>
                  <a:lnTo>
                    <a:pt x="617" y="1091"/>
                  </a:lnTo>
                  <a:lnTo>
                    <a:pt x="623" y="1077"/>
                  </a:lnTo>
                  <a:lnTo>
                    <a:pt x="611" y="1065"/>
                  </a:lnTo>
                  <a:lnTo>
                    <a:pt x="607" y="1047"/>
                  </a:lnTo>
                  <a:lnTo>
                    <a:pt x="623" y="1041"/>
                  </a:lnTo>
                  <a:lnTo>
                    <a:pt x="623" y="1019"/>
                  </a:lnTo>
                  <a:lnTo>
                    <a:pt x="623" y="1019"/>
                  </a:lnTo>
                  <a:lnTo>
                    <a:pt x="613" y="1019"/>
                  </a:lnTo>
                  <a:lnTo>
                    <a:pt x="605" y="1017"/>
                  </a:lnTo>
                  <a:lnTo>
                    <a:pt x="601" y="1015"/>
                  </a:lnTo>
                  <a:lnTo>
                    <a:pt x="601" y="1015"/>
                  </a:lnTo>
                  <a:lnTo>
                    <a:pt x="597" y="1009"/>
                  </a:lnTo>
                  <a:lnTo>
                    <a:pt x="593" y="997"/>
                  </a:lnTo>
                  <a:lnTo>
                    <a:pt x="589" y="983"/>
                  </a:lnTo>
                  <a:lnTo>
                    <a:pt x="601" y="956"/>
                  </a:lnTo>
                  <a:lnTo>
                    <a:pt x="627" y="936"/>
                  </a:lnTo>
                  <a:lnTo>
                    <a:pt x="627" y="928"/>
                  </a:lnTo>
                  <a:lnTo>
                    <a:pt x="639" y="916"/>
                  </a:lnTo>
                  <a:lnTo>
                    <a:pt x="639" y="898"/>
                  </a:lnTo>
                  <a:lnTo>
                    <a:pt x="639" y="898"/>
                  </a:lnTo>
                  <a:lnTo>
                    <a:pt x="647" y="880"/>
                  </a:lnTo>
                  <a:lnTo>
                    <a:pt x="647" y="880"/>
                  </a:lnTo>
                  <a:lnTo>
                    <a:pt x="643" y="876"/>
                  </a:lnTo>
                  <a:lnTo>
                    <a:pt x="639" y="870"/>
                  </a:lnTo>
                  <a:lnTo>
                    <a:pt x="629" y="856"/>
                  </a:lnTo>
                  <a:lnTo>
                    <a:pt x="637" y="848"/>
                  </a:lnTo>
                  <a:lnTo>
                    <a:pt x="637" y="826"/>
                  </a:lnTo>
                  <a:lnTo>
                    <a:pt x="639" y="804"/>
                  </a:lnTo>
                  <a:lnTo>
                    <a:pt x="651" y="808"/>
                  </a:lnTo>
                  <a:lnTo>
                    <a:pt x="651" y="808"/>
                  </a:lnTo>
                  <a:lnTo>
                    <a:pt x="661" y="800"/>
                  </a:lnTo>
                  <a:lnTo>
                    <a:pt x="667" y="794"/>
                  </a:lnTo>
                  <a:lnTo>
                    <a:pt x="673" y="790"/>
                  </a:lnTo>
                  <a:lnTo>
                    <a:pt x="679" y="790"/>
                  </a:lnTo>
                  <a:lnTo>
                    <a:pt x="679" y="790"/>
                  </a:lnTo>
                  <a:lnTo>
                    <a:pt x="681" y="788"/>
                  </a:lnTo>
                  <a:lnTo>
                    <a:pt x="683" y="786"/>
                  </a:lnTo>
                  <a:lnTo>
                    <a:pt x="683" y="782"/>
                  </a:lnTo>
                  <a:lnTo>
                    <a:pt x="683" y="778"/>
                  </a:lnTo>
                  <a:lnTo>
                    <a:pt x="683" y="778"/>
                  </a:lnTo>
                  <a:lnTo>
                    <a:pt x="683" y="776"/>
                  </a:lnTo>
                  <a:lnTo>
                    <a:pt x="683" y="776"/>
                  </a:lnTo>
                  <a:lnTo>
                    <a:pt x="669" y="776"/>
                  </a:lnTo>
                  <a:lnTo>
                    <a:pt x="659" y="776"/>
                  </a:lnTo>
                  <a:lnTo>
                    <a:pt x="647" y="776"/>
                  </a:lnTo>
                  <a:lnTo>
                    <a:pt x="647" y="776"/>
                  </a:lnTo>
                  <a:lnTo>
                    <a:pt x="641" y="772"/>
                  </a:lnTo>
                  <a:lnTo>
                    <a:pt x="635" y="772"/>
                  </a:lnTo>
                  <a:lnTo>
                    <a:pt x="627" y="772"/>
                  </a:lnTo>
                  <a:lnTo>
                    <a:pt x="623" y="770"/>
                  </a:lnTo>
                  <a:lnTo>
                    <a:pt x="623" y="770"/>
                  </a:lnTo>
                  <a:lnTo>
                    <a:pt x="617" y="770"/>
                  </a:lnTo>
                  <a:lnTo>
                    <a:pt x="613" y="766"/>
                  </a:lnTo>
                  <a:lnTo>
                    <a:pt x="613" y="764"/>
                  </a:lnTo>
                  <a:lnTo>
                    <a:pt x="613" y="760"/>
                  </a:lnTo>
                  <a:lnTo>
                    <a:pt x="613" y="760"/>
                  </a:lnTo>
                  <a:lnTo>
                    <a:pt x="615" y="744"/>
                  </a:lnTo>
                  <a:lnTo>
                    <a:pt x="615" y="738"/>
                  </a:lnTo>
                  <a:lnTo>
                    <a:pt x="619" y="732"/>
                  </a:lnTo>
                  <a:lnTo>
                    <a:pt x="619" y="732"/>
                  </a:lnTo>
                  <a:lnTo>
                    <a:pt x="623" y="723"/>
                  </a:lnTo>
                  <a:lnTo>
                    <a:pt x="629" y="719"/>
                  </a:lnTo>
                  <a:lnTo>
                    <a:pt x="635" y="713"/>
                  </a:lnTo>
                  <a:lnTo>
                    <a:pt x="635" y="711"/>
                  </a:lnTo>
                  <a:lnTo>
                    <a:pt x="635" y="711"/>
                  </a:lnTo>
                  <a:lnTo>
                    <a:pt x="635" y="711"/>
                  </a:lnTo>
                  <a:lnTo>
                    <a:pt x="629" y="705"/>
                  </a:lnTo>
                  <a:lnTo>
                    <a:pt x="627" y="701"/>
                  </a:lnTo>
                  <a:lnTo>
                    <a:pt x="623" y="697"/>
                  </a:lnTo>
                  <a:lnTo>
                    <a:pt x="623" y="691"/>
                  </a:lnTo>
                  <a:lnTo>
                    <a:pt x="623" y="691"/>
                  </a:lnTo>
                  <a:lnTo>
                    <a:pt x="621" y="679"/>
                  </a:lnTo>
                  <a:lnTo>
                    <a:pt x="621" y="675"/>
                  </a:lnTo>
                  <a:lnTo>
                    <a:pt x="619" y="673"/>
                  </a:lnTo>
                  <a:lnTo>
                    <a:pt x="619" y="673"/>
                  </a:lnTo>
                  <a:lnTo>
                    <a:pt x="617" y="671"/>
                  </a:lnTo>
                  <a:lnTo>
                    <a:pt x="615" y="669"/>
                  </a:lnTo>
                  <a:lnTo>
                    <a:pt x="613" y="663"/>
                  </a:lnTo>
                  <a:lnTo>
                    <a:pt x="613" y="643"/>
                  </a:lnTo>
                  <a:lnTo>
                    <a:pt x="613" y="643"/>
                  </a:lnTo>
                  <a:lnTo>
                    <a:pt x="605" y="633"/>
                  </a:lnTo>
                  <a:lnTo>
                    <a:pt x="599" y="629"/>
                  </a:lnTo>
                  <a:lnTo>
                    <a:pt x="597" y="625"/>
                  </a:lnTo>
                  <a:lnTo>
                    <a:pt x="599" y="623"/>
                  </a:lnTo>
                  <a:lnTo>
                    <a:pt x="599" y="623"/>
                  </a:lnTo>
                  <a:lnTo>
                    <a:pt x="621" y="597"/>
                  </a:lnTo>
                  <a:lnTo>
                    <a:pt x="621" y="597"/>
                  </a:lnTo>
                  <a:lnTo>
                    <a:pt x="619" y="555"/>
                  </a:lnTo>
                  <a:lnTo>
                    <a:pt x="615" y="507"/>
                  </a:lnTo>
                  <a:lnTo>
                    <a:pt x="615" y="507"/>
                  </a:lnTo>
                  <a:lnTo>
                    <a:pt x="613" y="503"/>
                  </a:lnTo>
                  <a:lnTo>
                    <a:pt x="611" y="501"/>
                  </a:lnTo>
                  <a:lnTo>
                    <a:pt x="601" y="492"/>
                  </a:lnTo>
                  <a:lnTo>
                    <a:pt x="597" y="488"/>
                  </a:lnTo>
                  <a:lnTo>
                    <a:pt x="593" y="486"/>
                  </a:lnTo>
                  <a:lnTo>
                    <a:pt x="593" y="482"/>
                  </a:lnTo>
                  <a:lnTo>
                    <a:pt x="595" y="476"/>
                  </a:lnTo>
                  <a:lnTo>
                    <a:pt x="595" y="476"/>
                  </a:lnTo>
                  <a:lnTo>
                    <a:pt x="605" y="472"/>
                  </a:lnTo>
                  <a:lnTo>
                    <a:pt x="619" y="466"/>
                  </a:lnTo>
                  <a:lnTo>
                    <a:pt x="635" y="460"/>
                  </a:lnTo>
                  <a:lnTo>
                    <a:pt x="635" y="460"/>
                  </a:lnTo>
                  <a:lnTo>
                    <a:pt x="637" y="458"/>
                  </a:lnTo>
                  <a:lnTo>
                    <a:pt x="639" y="452"/>
                  </a:lnTo>
                  <a:lnTo>
                    <a:pt x="643" y="450"/>
                  </a:lnTo>
                  <a:lnTo>
                    <a:pt x="643" y="448"/>
                  </a:lnTo>
                  <a:lnTo>
                    <a:pt x="647" y="450"/>
                  </a:lnTo>
                  <a:lnTo>
                    <a:pt x="647" y="450"/>
                  </a:lnTo>
                  <a:lnTo>
                    <a:pt x="653" y="450"/>
                  </a:lnTo>
                  <a:lnTo>
                    <a:pt x="659" y="450"/>
                  </a:lnTo>
                  <a:lnTo>
                    <a:pt x="661" y="450"/>
                  </a:lnTo>
                  <a:lnTo>
                    <a:pt x="663" y="446"/>
                  </a:lnTo>
                  <a:lnTo>
                    <a:pt x="663" y="446"/>
                  </a:lnTo>
                  <a:lnTo>
                    <a:pt x="663" y="440"/>
                  </a:lnTo>
                  <a:lnTo>
                    <a:pt x="661" y="436"/>
                  </a:lnTo>
                  <a:lnTo>
                    <a:pt x="659" y="428"/>
                  </a:lnTo>
                  <a:lnTo>
                    <a:pt x="659" y="428"/>
                  </a:lnTo>
                  <a:lnTo>
                    <a:pt x="661" y="426"/>
                  </a:lnTo>
                  <a:lnTo>
                    <a:pt x="661" y="426"/>
                  </a:lnTo>
                  <a:lnTo>
                    <a:pt x="669" y="418"/>
                  </a:lnTo>
                  <a:lnTo>
                    <a:pt x="673" y="414"/>
                  </a:lnTo>
                  <a:lnTo>
                    <a:pt x="669" y="402"/>
                  </a:lnTo>
                  <a:lnTo>
                    <a:pt x="669" y="402"/>
                  </a:lnTo>
                  <a:lnTo>
                    <a:pt x="691" y="388"/>
                  </a:lnTo>
                  <a:lnTo>
                    <a:pt x="691" y="388"/>
                  </a:lnTo>
                  <a:lnTo>
                    <a:pt x="699" y="378"/>
                  </a:lnTo>
                  <a:lnTo>
                    <a:pt x="707" y="372"/>
                  </a:lnTo>
                  <a:lnTo>
                    <a:pt x="713" y="362"/>
                  </a:lnTo>
                  <a:lnTo>
                    <a:pt x="713" y="362"/>
                  </a:lnTo>
                  <a:lnTo>
                    <a:pt x="707" y="352"/>
                  </a:lnTo>
                  <a:lnTo>
                    <a:pt x="699" y="346"/>
                  </a:lnTo>
                  <a:lnTo>
                    <a:pt x="697" y="338"/>
                  </a:lnTo>
                  <a:lnTo>
                    <a:pt x="697" y="338"/>
                  </a:lnTo>
                  <a:lnTo>
                    <a:pt x="695" y="324"/>
                  </a:lnTo>
                  <a:lnTo>
                    <a:pt x="693" y="314"/>
                  </a:lnTo>
                  <a:lnTo>
                    <a:pt x="691" y="310"/>
                  </a:lnTo>
                  <a:lnTo>
                    <a:pt x="691" y="306"/>
                  </a:lnTo>
                  <a:lnTo>
                    <a:pt x="691" y="306"/>
                  </a:lnTo>
                  <a:lnTo>
                    <a:pt x="687" y="304"/>
                  </a:lnTo>
                  <a:lnTo>
                    <a:pt x="683" y="302"/>
                  </a:lnTo>
                  <a:lnTo>
                    <a:pt x="673" y="298"/>
                  </a:lnTo>
                  <a:lnTo>
                    <a:pt x="671" y="292"/>
                  </a:lnTo>
                  <a:lnTo>
                    <a:pt x="669" y="292"/>
                  </a:lnTo>
                  <a:lnTo>
                    <a:pt x="665" y="288"/>
                  </a:lnTo>
                  <a:lnTo>
                    <a:pt x="665" y="280"/>
                  </a:lnTo>
                  <a:lnTo>
                    <a:pt x="665" y="280"/>
                  </a:lnTo>
                  <a:lnTo>
                    <a:pt x="665" y="274"/>
                  </a:lnTo>
                  <a:lnTo>
                    <a:pt x="663" y="266"/>
                  </a:lnTo>
                  <a:lnTo>
                    <a:pt x="657" y="261"/>
                  </a:lnTo>
                  <a:lnTo>
                    <a:pt x="653" y="257"/>
                  </a:lnTo>
                  <a:lnTo>
                    <a:pt x="651" y="255"/>
                  </a:lnTo>
                  <a:lnTo>
                    <a:pt x="651" y="251"/>
                  </a:lnTo>
                  <a:lnTo>
                    <a:pt x="653" y="245"/>
                  </a:lnTo>
                  <a:lnTo>
                    <a:pt x="653" y="245"/>
                  </a:lnTo>
                  <a:lnTo>
                    <a:pt x="659" y="239"/>
                  </a:lnTo>
                  <a:lnTo>
                    <a:pt x="661" y="231"/>
                  </a:lnTo>
                  <a:lnTo>
                    <a:pt x="665" y="211"/>
                  </a:lnTo>
                  <a:lnTo>
                    <a:pt x="665" y="211"/>
                  </a:lnTo>
                  <a:lnTo>
                    <a:pt x="661" y="207"/>
                  </a:lnTo>
                  <a:lnTo>
                    <a:pt x="651" y="205"/>
                  </a:lnTo>
                  <a:lnTo>
                    <a:pt x="647" y="201"/>
                  </a:lnTo>
                  <a:lnTo>
                    <a:pt x="643" y="205"/>
                  </a:lnTo>
                  <a:lnTo>
                    <a:pt x="641" y="207"/>
                  </a:lnTo>
                  <a:lnTo>
                    <a:pt x="641" y="207"/>
                  </a:lnTo>
                  <a:lnTo>
                    <a:pt x="633" y="217"/>
                  </a:lnTo>
                  <a:lnTo>
                    <a:pt x="629" y="221"/>
                  </a:lnTo>
                  <a:lnTo>
                    <a:pt x="633" y="221"/>
                  </a:lnTo>
                  <a:lnTo>
                    <a:pt x="635" y="221"/>
                  </a:lnTo>
                  <a:lnTo>
                    <a:pt x="635" y="221"/>
                  </a:lnTo>
                  <a:lnTo>
                    <a:pt x="639" y="221"/>
                  </a:lnTo>
                  <a:lnTo>
                    <a:pt x="647" y="217"/>
                  </a:lnTo>
                  <a:lnTo>
                    <a:pt x="657" y="217"/>
                  </a:lnTo>
                  <a:lnTo>
                    <a:pt x="657" y="217"/>
                  </a:lnTo>
                  <a:lnTo>
                    <a:pt x="659" y="217"/>
                  </a:lnTo>
                  <a:lnTo>
                    <a:pt x="659" y="217"/>
                  </a:lnTo>
                  <a:lnTo>
                    <a:pt x="657" y="221"/>
                  </a:lnTo>
                  <a:lnTo>
                    <a:pt x="653" y="221"/>
                  </a:lnTo>
                  <a:lnTo>
                    <a:pt x="647" y="229"/>
                  </a:lnTo>
                  <a:lnTo>
                    <a:pt x="633" y="239"/>
                  </a:lnTo>
                  <a:lnTo>
                    <a:pt x="633" y="239"/>
                  </a:lnTo>
                  <a:lnTo>
                    <a:pt x="615" y="247"/>
                  </a:lnTo>
                  <a:lnTo>
                    <a:pt x="605" y="255"/>
                  </a:lnTo>
                  <a:lnTo>
                    <a:pt x="595" y="259"/>
                  </a:lnTo>
                  <a:lnTo>
                    <a:pt x="595" y="259"/>
                  </a:lnTo>
                  <a:lnTo>
                    <a:pt x="589" y="259"/>
                  </a:lnTo>
                  <a:lnTo>
                    <a:pt x="581" y="262"/>
                  </a:lnTo>
                  <a:lnTo>
                    <a:pt x="577" y="266"/>
                  </a:lnTo>
                  <a:lnTo>
                    <a:pt x="576" y="270"/>
                  </a:lnTo>
                  <a:lnTo>
                    <a:pt x="576" y="270"/>
                  </a:lnTo>
                  <a:lnTo>
                    <a:pt x="576" y="270"/>
                  </a:lnTo>
                  <a:lnTo>
                    <a:pt x="576" y="270"/>
                  </a:lnTo>
                  <a:lnTo>
                    <a:pt x="576" y="270"/>
                  </a:lnTo>
                  <a:lnTo>
                    <a:pt x="576" y="270"/>
                  </a:lnTo>
                  <a:lnTo>
                    <a:pt x="579" y="262"/>
                  </a:lnTo>
                  <a:lnTo>
                    <a:pt x="581" y="257"/>
                  </a:lnTo>
                  <a:lnTo>
                    <a:pt x="587" y="253"/>
                  </a:lnTo>
                  <a:lnTo>
                    <a:pt x="587" y="253"/>
                  </a:lnTo>
                  <a:lnTo>
                    <a:pt x="595" y="241"/>
                  </a:lnTo>
                  <a:lnTo>
                    <a:pt x="605" y="231"/>
                  </a:lnTo>
                  <a:lnTo>
                    <a:pt x="605" y="231"/>
                  </a:lnTo>
                  <a:lnTo>
                    <a:pt x="613" y="223"/>
                  </a:lnTo>
                  <a:lnTo>
                    <a:pt x="617" y="217"/>
                  </a:lnTo>
                  <a:lnTo>
                    <a:pt x="623" y="211"/>
                  </a:lnTo>
                  <a:lnTo>
                    <a:pt x="627" y="205"/>
                  </a:lnTo>
                  <a:lnTo>
                    <a:pt x="627" y="205"/>
                  </a:lnTo>
                  <a:lnTo>
                    <a:pt x="635" y="195"/>
                  </a:lnTo>
                  <a:lnTo>
                    <a:pt x="641" y="183"/>
                  </a:lnTo>
                  <a:lnTo>
                    <a:pt x="649" y="169"/>
                  </a:lnTo>
                  <a:lnTo>
                    <a:pt x="653" y="165"/>
                  </a:lnTo>
                  <a:lnTo>
                    <a:pt x="657" y="163"/>
                  </a:lnTo>
                  <a:lnTo>
                    <a:pt x="657" y="163"/>
                  </a:lnTo>
                  <a:lnTo>
                    <a:pt x="665" y="159"/>
                  </a:lnTo>
                  <a:lnTo>
                    <a:pt x="669" y="153"/>
                  </a:lnTo>
                  <a:lnTo>
                    <a:pt x="673" y="147"/>
                  </a:lnTo>
                  <a:lnTo>
                    <a:pt x="679" y="141"/>
                  </a:lnTo>
                  <a:lnTo>
                    <a:pt x="679" y="141"/>
                  </a:lnTo>
                  <a:lnTo>
                    <a:pt x="685" y="127"/>
                  </a:lnTo>
                  <a:lnTo>
                    <a:pt x="687" y="119"/>
                  </a:lnTo>
                  <a:lnTo>
                    <a:pt x="689" y="115"/>
                  </a:lnTo>
                  <a:lnTo>
                    <a:pt x="687" y="109"/>
                  </a:lnTo>
                  <a:lnTo>
                    <a:pt x="687" y="109"/>
                  </a:lnTo>
                  <a:lnTo>
                    <a:pt x="683" y="87"/>
                  </a:lnTo>
                  <a:lnTo>
                    <a:pt x="673" y="69"/>
                  </a:lnTo>
                  <a:lnTo>
                    <a:pt x="673" y="69"/>
                  </a:lnTo>
                  <a:lnTo>
                    <a:pt x="667" y="57"/>
                  </a:lnTo>
                  <a:lnTo>
                    <a:pt x="663" y="51"/>
                  </a:lnTo>
                  <a:lnTo>
                    <a:pt x="653" y="47"/>
                  </a:lnTo>
                  <a:lnTo>
                    <a:pt x="647" y="41"/>
                  </a:lnTo>
                  <a:lnTo>
                    <a:pt x="647" y="41"/>
                  </a:lnTo>
                  <a:lnTo>
                    <a:pt x="639" y="41"/>
                  </a:lnTo>
                  <a:lnTo>
                    <a:pt x="623" y="47"/>
                  </a:lnTo>
                  <a:lnTo>
                    <a:pt x="607" y="47"/>
                  </a:lnTo>
                  <a:lnTo>
                    <a:pt x="597" y="49"/>
                  </a:lnTo>
                  <a:lnTo>
                    <a:pt x="597" y="49"/>
                  </a:lnTo>
                  <a:lnTo>
                    <a:pt x="593" y="51"/>
                  </a:lnTo>
                  <a:lnTo>
                    <a:pt x="589" y="51"/>
                  </a:lnTo>
                  <a:lnTo>
                    <a:pt x="583" y="57"/>
                  </a:lnTo>
                  <a:lnTo>
                    <a:pt x="577" y="61"/>
                  </a:lnTo>
                  <a:lnTo>
                    <a:pt x="576" y="63"/>
                  </a:lnTo>
                  <a:lnTo>
                    <a:pt x="572" y="63"/>
                  </a:lnTo>
                  <a:lnTo>
                    <a:pt x="572" y="63"/>
                  </a:lnTo>
                  <a:lnTo>
                    <a:pt x="570" y="63"/>
                  </a:lnTo>
                  <a:lnTo>
                    <a:pt x="570" y="59"/>
                  </a:lnTo>
                  <a:lnTo>
                    <a:pt x="572" y="53"/>
                  </a:lnTo>
                  <a:lnTo>
                    <a:pt x="576" y="47"/>
                  </a:lnTo>
                  <a:lnTo>
                    <a:pt x="576" y="39"/>
                  </a:lnTo>
                  <a:lnTo>
                    <a:pt x="576" y="39"/>
                  </a:lnTo>
                  <a:lnTo>
                    <a:pt x="576" y="35"/>
                  </a:lnTo>
                  <a:lnTo>
                    <a:pt x="572" y="33"/>
                  </a:lnTo>
                  <a:lnTo>
                    <a:pt x="568" y="31"/>
                  </a:lnTo>
                  <a:lnTo>
                    <a:pt x="562" y="31"/>
                  </a:lnTo>
                  <a:lnTo>
                    <a:pt x="562" y="31"/>
                  </a:lnTo>
                  <a:lnTo>
                    <a:pt x="560" y="31"/>
                  </a:lnTo>
                  <a:lnTo>
                    <a:pt x="558" y="29"/>
                  </a:lnTo>
                  <a:lnTo>
                    <a:pt x="558" y="26"/>
                  </a:lnTo>
                  <a:lnTo>
                    <a:pt x="558" y="20"/>
                  </a:lnTo>
                  <a:lnTo>
                    <a:pt x="556" y="12"/>
                  </a:lnTo>
                  <a:lnTo>
                    <a:pt x="556" y="12"/>
                  </a:lnTo>
                  <a:lnTo>
                    <a:pt x="554" y="8"/>
                  </a:lnTo>
                  <a:lnTo>
                    <a:pt x="550" y="6"/>
                  </a:lnTo>
                  <a:lnTo>
                    <a:pt x="542" y="2"/>
                  </a:lnTo>
                  <a:lnTo>
                    <a:pt x="532" y="0"/>
                  </a:lnTo>
                  <a:lnTo>
                    <a:pt x="526" y="0"/>
                  </a:lnTo>
                  <a:lnTo>
                    <a:pt x="526" y="0"/>
                  </a:lnTo>
                  <a:lnTo>
                    <a:pt x="520" y="0"/>
                  </a:lnTo>
                  <a:lnTo>
                    <a:pt x="512" y="4"/>
                  </a:lnTo>
                  <a:lnTo>
                    <a:pt x="500" y="20"/>
                  </a:lnTo>
                  <a:lnTo>
                    <a:pt x="500" y="20"/>
                  </a:lnTo>
                  <a:lnTo>
                    <a:pt x="492" y="29"/>
                  </a:lnTo>
                  <a:lnTo>
                    <a:pt x="484" y="33"/>
                  </a:lnTo>
                  <a:lnTo>
                    <a:pt x="482" y="37"/>
                  </a:lnTo>
                  <a:lnTo>
                    <a:pt x="482" y="41"/>
                  </a:lnTo>
                  <a:lnTo>
                    <a:pt x="482" y="47"/>
                  </a:lnTo>
                  <a:lnTo>
                    <a:pt x="484" y="51"/>
                  </a:lnTo>
                  <a:lnTo>
                    <a:pt x="484" y="51"/>
                  </a:lnTo>
                  <a:lnTo>
                    <a:pt x="488" y="57"/>
                  </a:lnTo>
                  <a:lnTo>
                    <a:pt x="488" y="59"/>
                  </a:lnTo>
                  <a:lnTo>
                    <a:pt x="488" y="63"/>
                  </a:lnTo>
                  <a:lnTo>
                    <a:pt x="486" y="63"/>
                  </a:lnTo>
                  <a:lnTo>
                    <a:pt x="482" y="69"/>
                  </a:lnTo>
                  <a:lnTo>
                    <a:pt x="476" y="69"/>
                  </a:lnTo>
                  <a:lnTo>
                    <a:pt x="476" y="69"/>
                  </a:lnTo>
                  <a:lnTo>
                    <a:pt x="462" y="69"/>
                  </a:lnTo>
                  <a:lnTo>
                    <a:pt x="458" y="69"/>
                  </a:lnTo>
                  <a:lnTo>
                    <a:pt x="454" y="69"/>
                  </a:lnTo>
                  <a:lnTo>
                    <a:pt x="454" y="69"/>
                  </a:lnTo>
                  <a:lnTo>
                    <a:pt x="456" y="73"/>
                  </a:lnTo>
                  <a:lnTo>
                    <a:pt x="458" y="77"/>
                  </a:lnTo>
                  <a:lnTo>
                    <a:pt x="458" y="79"/>
                  </a:lnTo>
                  <a:lnTo>
                    <a:pt x="458" y="81"/>
                  </a:lnTo>
                  <a:lnTo>
                    <a:pt x="456" y="83"/>
                  </a:lnTo>
                  <a:lnTo>
                    <a:pt x="452" y="83"/>
                  </a:lnTo>
                  <a:lnTo>
                    <a:pt x="452" y="83"/>
                  </a:lnTo>
                  <a:lnTo>
                    <a:pt x="446" y="85"/>
                  </a:lnTo>
                  <a:lnTo>
                    <a:pt x="440" y="85"/>
                  </a:lnTo>
                  <a:lnTo>
                    <a:pt x="432" y="83"/>
                  </a:lnTo>
                  <a:lnTo>
                    <a:pt x="422" y="79"/>
                  </a:lnTo>
                  <a:lnTo>
                    <a:pt x="418" y="79"/>
                  </a:lnTo>
                  <a:lnTo>
                    <a:pt x="414" y="79"/>
                  </a:lnTo>
                  <a:lnTo>
                    <a:pt x="414" y="79"/>
                  </a:lnTo>
                  <a:lnTo>
                    <a:pt x="382" y="87"/>
                  </a:lnTo>
                  <a:lnTo>
                    <a:pt x="366" y="93"/>
                  </a:lnTo>
                  <a:lnTo>
                    <a:pt x="355" y="97"/>
                  </a:lnTo>
                  <a:lnTo>
                    <a:pt x="355" y="97"/>
                  </a:lnTo>
                  <a:lnTo>
                    <a:pt x="351" y="105"/>
                  </a:lnTo>
                  <a:lnTo>
                    <a:pt x="347" y="107"/>
                  </a:lnTo>
                  <a:lnTo>
                    <a:pt x="341" y="109"/>
                  </a:lnTo>
                  <a:lnTo>
                    <a:pt x="341" y="109"/>
                  </a:lnTo>
                  <a:lnTo>
                    <a:pt x="331" y="109"/>
                  </a:lnTo>
                  <a:lnTo>
                    <a:pt x="323" y="109"/>
                  </a:lnTo>
                  <a:lnTo>
                    <a:pt x="311" y="109"/>
                  </a:lnTo>
                  <a:lnTo>
                    <a:pt x="305" y="109"/>
                  </a:lnTo>
                  <a:lnTo>
                    <a:pt x="297" y="113"/>
                  </a:lnTo>
                  <a:lnTo>
                    <a:pt x="297" y="113"/>
                  </a:lnTo>
                  <a:lnTo>
                    <a:pt x="279" y="119"/>
                  </a:lnTo>
                  <a:lnTo>
                    <a:pt x="265" y="127"/>
                  </a:lnTo>
                  <a:lnTo>
                    <a:pt x="251" y="137"/>
                  </a:lnTo>
                  <a:lnTo>
                    <a:pt x="239" y="145"/>
                  </a:lnTo>
                  <a:lnTo>
                    <a:pt x="239" y="145"/>
                  </a:lnTo>
                  <a:lnTo>
                    <a:pt x="229" y="153"/>
                  </a:lnTo>
                  <a:lnTo>
                    <a:pt x="227" y="159"/>
                  </a:lnTo>
                  <a:lnTo>
                    <a:pt x="229" y="163"/>
                  </a:lnTo>
                  <a:lnTo>
                    <a:pt x="229" y="163"/>
                  </a:lnTo>
                  <a:lnTo>
                    <a:pt x="233" y="177"/>
                  </a:lnTo>
                  <a:lnTo>
                    <a:pt x="235" y="191"/>
                  </a:lnTo>
                  <a:lnTo>
                    <a:pt x="235" y="191"/>
                  </a:lnTo>
                  <a:lnTo>
                    <a:pt x="235" y="193"/>
                  </a:lnTo>
                  <a:lnTo>
                    <a:pt x="235" y="195"/>
                  </a:lnTo>
                  <a:lnTo>
                    <a:pt x="229" y="199"/>
                  </a:lnTo>
                  <a:lnTo>
                    <a:pt x="219" y="205"/>
                  </a:lnTo>
                  <a:lnTo>
                    <a:pt x="215" y="205"/>
                  </a:lnTo>
                  <a:lnTo>
                    <a:pt x="211" y="205"/>
                  </a:lnTo>
                  <a:lnTo>
                    <a:pt x="211" y="205"/>
                  </a:lnTo>
                  <a:lnTo>
                    <a:pt x="179" y="197"/>
                  </a:lnTo>
                  <a:lnTo>
                    <a:pt x="157" y="195"/>
                  </a:lnTo>
                  <a:lnTo>
                    <a:pt x="143" y="193"/>
                  </a:lnTo>
                  <a:lnTo>
                    <a:pt x="143" y="193"/>
                  </a:lnTo>
                  <a:lnTo>
                    <a:pt x="137" y="193"/>
                  </a:lnTo>
                  <a:lnTo>
                    <a:pt x="134" y="191"/>
                  </a:lnTo>
                  <a:lnTo>
                    <a:pt x="132" y="193"/>
                  </a:lnTo>
                  <a:lnTo>
                    <a:pt x="126" y="197"/>
                  </a:lnTo>
                  <a:lnTo>
                    <a:pt x="126" y="197"/>
                  </a:lnTo>
                  <a:lnTo>
                    <a:pt x="122" y="201"/>
                  </a:lnTo>
                  <a:lnTo>
                    <a:pt x="120" y="209"/>
                  </a:lnTo>
                  <a:lnTo>
                    <a:pt x="118" y="225"/>
                  </a:lnTo>
                  <a:lnTo>
                    <a:pt x="118" y="225"/>
                  </a:lnTo>
                  <a:lnTo>
                    <a:pt x="114" y="237"/>
                  </a:lnTo>
                  <a:lnTo>
                    <a:pt x="112" y="243"/>
                  </a:lnTo>
                  <a:lnTo>
                    <a:pt x="110" y="253"/>
                  </a:lnTo>
                  <a:lnTo>
                    <a:pt x="110" y="255"/>
                  </a:lnTo>
                  <a:lnTo>
                    <a:pt x="114" y="257"/>
                  </a:lnTo>
                  <a:lnTo>
                    <a:pt x="114" y="257"/>
                  </a:lnTo>
                  <a:lnTo>
                    <a:pt x="122" y="270"/>
                  </a:lnTo>
                  <a:lnTo>
                    <a:pt x="126" y="280"/>
                  </a:lnTo>
                  <a:lnTo>
                    <a:pt x="132" y="284"/>
                  </a:lnTo>
                  <a:lnTo>
                    <a:pt x="132" y="284"/>
                  </a:lnTo>
                  <a:lnTo>
                    <a:pt x="132" y="288"/>
                  </a:lnTo>
                  <a:lnTo>
                    <a:pt x="135" y="292"/>
                  </a:lnTo>
                  <a:lnTo>
                    <a:pt x="137" y="298"/>
                  </a:lnTo>
                  <a:lnTo>
                    <a:pt x="137" y="302"/>
                  </a:lnTo>
                  <a:lnTo>
                    <a:pt x="137" y="302"/>
                  </a:lnTo>
                  <a:lnTo>
                    <a:pt x="135" y="304"/>
                  </a:lnTo>
                  <a:lnTo>
                    <a:pt x="128" y="306"/>
                  </a:lnTo>
                  <a:lnTo>
                    <a:pt x="126" y="308"/>
                  </a:lnTo>
                  <a:lnTo>
                    <a:pt x="122" y="308"/>
                  </a:lnTo>
                  <a:lnTo>
                    <a:pt x="120" y="306"/>
                  </a:lnTo>
                  <a:lnTo>
                    <a:pt x="118" y="304"/>
                  </a:lnTo>
                  <a:lnTo>
                    <a:pt x="118" y="304"/>
                  </a:lnTo>
                  <a:lnTo>
                    <a:pt x="114" y="298"/>
                  </a:lnTo>
                  <a:lnTo>
                    <a:pt x="106" y="288"/>
                  </a:lnTo>
                  <a:lnTo>
                    <a:pt x="100" y="270"/>
                  </a:lnTo>
                  <a:lnTo>
                    <a:pt x="100" y="270"/>
                  </a:lnTo>
                  <a:lnTo>
                    <a:pt x="96" y="266"/>
                  </a:lnTo>
                  <a:lnTo>
                    <a:pt x="90" y="259"/>
                  </a:lnTo>
                  <a:lnTo>
                    <a:pt x="80" y="253"/>
                  </a:lnTo>
                  <a:lnTo>
                    <a:pt x="76" y="247"/>
                  </a:lnTo>
                  <a:lnTo>
                    <a:pt x="70" y="245"/>
                  </a:lnTo>
                  <a:lnTo>
                    <a:pt x="70" y="245"/>
                  </a:lnTo>
                  <a:lnTo>
                    <a:pt x="68" y="253"/>
                  </a:lnTo>
                  <a:lnTo>
                    <a:pt x="68" y="253"/>
                  </a:lnTo>
                  <a:lnTo>
                    <a:pt x="68" y="259"/>
                  </a:lnTo>
                  <a:lnTo>
                    <a:pt x="68" y="262"/>
                  </a:lnTo>
                  <a:lnTo>
                    <a:pt x="70" y="266"/>
                  </a:lnTo>
                  <a:lnTo>
                    <a:pt x="70" y="266"/>
                  </a:lnTo>
                  <a:lnTo>
                    <a:pt x="70" y="266"/>
                  </a:lnTo>
                  <a:lnTo>
                    <a:pt x="70" y="266"/>
                  </a:lnTo>
                  <a:lnTo>
                    <a:pt x="70" y="266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19" name="Freeform 78"/>
            <p:cNvSpPr>
              <a:spLocks/>
            </p:cNvSpPr>
            <p:nvPr/>
          </p:nvSpPr>
          <p:spPr bwMode="auto">
            <a:xfrm>
              <a:off x="3228" y="1532"/>
              <a:ext cx="1143" cy="1215"/>
            </a:xfrm>
            <a:custGeom>
              <a:avLst/>
              <a:gdLst>
                <a:gd name="T0" fmla="*/ 114 w 1143"/>
                <a:gd name="T1" fmla="*/ 430 h 1215"/>
                <a:gd name="T2" fmla="*/ 70 w 1143"/>
                <a:gd name="T3" fmla="*/ 524 h 1215"/>
                <a:gd name="T4" fmla="*/ 0 w 1143"/>
                <a:gd name="T5" fmla="*/ 560 h 1215"/>
                <a:gd name="T6" fmla="*/ 20 w 1143"/>
                <a:gd name="T7" fmla="*/ 741 h 1215"/>
                <a:gd name="T8" fmla="*/ 36 w 1143"/>
                <a:gd name="T9" fmla="*/ 797 h 1215"/>
                <a:gd name="T10" fmla="*/ 54 w 1143"/>
                <a:gd name="T11" fmla="*/ 854 h 1215"/>
                <a:gd name="T12" fmla="*/ 86 w 1143"/>
                <a:gd name="T13" fmla="*/ 894 h 1215"/>
                <a:gd name="T14" fmla="*/ 126 w 1143"/>
                <a:gd name="T15" fmla="*/ 952 h 1215"/>
                <a:gd name="T16" fmla="*/ 140 w 1143"/>
                <a:gd name="T17" fmla="*/ 988 h 1215"/>
                <a:gd name="T18" fmla="*/ 160 w 1143"/>
                <a:gd name="T19" fmla="*/ 1083 h 1215"/>
                <a:gd name="T20" fmla="*/ 192 w 1143"/>
                <a:gd name="T21" fmla="*/ 1145 h 1215"/>
                <a:gd name="T22" fmla="*/ 259 w 1143"/>
                <a:gd name="T23" fmla="*/ 1141 h 1215"/>
                <a:gd name="T24" fmla="*/ 301 w 1143"/>
                <a:gd name="T25" fmla="*/ 1077 h 1215"/>
                <a:gd name="T26" fmla="*/ 383 w 1143"/>
                <a:gd name="T27" fmla="*/ 1069 h 1215"/>
                <a:gd name="T28" fmla="*/ 436 w 1143"/>
                <a:gd name="T29" fmla="*/ 1087 h 1215"/>
                <a:gd name="T30" fmla="*/ 476 w 1143"/>
                <a:gd name="T31" fmla="*/ 1175 h 1215"/>
                <a:gd name="T32" fmla="*/ 528 w 1143"/>
                <a:gd name="T33" fmla="*/ 1197 h 1215"/>
                <a:gd name="T34" fmla="*/ 590 w 1143"/>
                <a:gd name="T35" fmla="*/ 1199 h 1215"/>
                <a:gd name="T36" fmla="*/ 653 w 1143"/>
                <a:gd name="T37" fmla="*/ 1199 h 1215"/>
                <a:gd name="T38" fmla="*/ 711 w 1143"/>
                <a:gd name="T39" fmla="*/ 1209 h 1215"/>
                <a:gd name="T40" fmla="*/ 745 w 1143"/>
                <a:gd name="T41" fmla="*/ 1209 h 1215"/>
                <a:gd name="T42" fmla="*/ 781 w 1143"/>
                <a:gd name="T43" fmla="*/ 1199 h 1215"/>
                <a:gd name="T44" fmla="*/ 827 w 1143"/>
                <a:gd name="T45" fmla="*/ 1169 h 1215"/>
                <a:gd name="T46" fmla="*/ 872 w 1143"/>
                <a:gd name="T47" fmla="*/ 1097 h 1215"/>
                <a:gd name="T48" fmla="*/ 855 w 1143"/>
                <a:gd name="T49" fmla="*/ 1051 h 1215"/>
                <a:gd name="T50" fmla="*/ 853 w 1143"/>
                <a:gd name="T51" fmla="*/ 1002 h 1215"/>
                <a:gd name="T52" fmla="*/ 859 w 1143"/>
                <a:gd name="T53" fmla="*/ 918 h 1215"/>
                <a:gd name="T54" fmla="*/ 916 w 1143"/>
                <a:gd name="T55" fmla="*/ 874 h 1215"/>
                <a:gd name="T56" fmla="*/ 956 w 1143"/>
                <a:gd name="T57" fmla="*/ 842 h 1215"/>
                <a:gd name="T58" fmla="*/ 966 w 1143"/>
                <a:gd name="T59" fmla="*/ 820 h 1215"/>
                <a:gd name="T60" fmla="*/ 928 w 1143"/>
                <a:gd name="T61" fmla="*/ 755 h 1215"/>
                <a:gd name="T62" fmla="*/ 944 w 1143"/>
                <a:gd name="T63" fmla="*/ 725 h 1215"/>
                <a:gd name="T64" fmla="*/ 938 w 1143"/>
                <a:gd name="T65" fmla="*/ 661 h 1215"/>
                <a:gd name="T66" fmla="*/ 988 w 1143"/>
                <a:gd name="T67" fmla="*/ 653 h 1215"/>
                <a:gd name="T68" fmla="*/ 1018 w 1143"/>
                <a:gd name="T69" fmla="*/ 631 h 1215"/>
                <a:gd name="T70" fmla="*/ 1046 w 1143"/>
                <a:gd name="T71" fmla="*/ 635 h 1215"/>
                <a:gd name="T72" fmla="*/ 1014 w 1143"/>
                <a:gd name="T73" fmla="*/ 548 h 1215"/>
                <a:gd name="T74" fmla="*/ 1010 w 1143"/>
                <a:gd name="T75" fmla="*/ 478 h 1215"/>
                <a:gd name="T76" fmla="*/ 1038 w 1143"/>
                <a:gd name="T77" fmla="*/ 452 h 1215"/>
                <a:gd name="T78" fmla="*/ 1056 w 1143"/>
                <a:gd name="T79" fmla="*/ 426 h 1215"/>
                <a:gd name="T80" fmla="*/ 1082 w 1143"/>
                <a:gd name="T81" fmla="*/ 416 h 1215"/>
                <a:gd name="T82" fmla="*/ 1107 w 1143"/>
                <a:gd name="T83" fmla="*/ 376 h 1215"/>
                <a:gd name="T84" fmla="*/ 1085 w 1143"/>
                <a:gd name="T85" fmla="*/ 340 h 1215"/>
                <a:gd name="T86" fmla="*/ 1074 w 1143"/>
                <a:gd name="T87" fmla="*/ 295 h 1215"/>
                <a:gd name="T88" fmla="*/ 1076 w 1143"/>
                <a:gd name="T89" fmla="*/ 261 h 1215"/>
                <a:gd name="T90" fmla="*/ 1127 w 1143"/>
                <a:gd name="T91" fmla="*/ 185 h 1215"/>
                <a:gd name="T92" fmla="*/ 1072 w 1143"/>
                <a:gd name="T93" fmla="*/ 86 h 1215"/>
                <a:gd name="T94" fmla="*/ 1042 w 1143"/>
                <a:gd name="T95" fmla="*/ 6 h 1215"/>
                <a:gd name="T96" fmla="*/ 970 w 1143"/>
                <a:gd name="T97" fmla="*/ 12 h 1215"/>
                <a:gd name="T98" fmla="*/ 847 w 1143"/>
                <a:gd name="T99" fmla="*/ 98 h 1215"/>
                <a:gd name="T100" fmla="*/ 763 w 1143"/>
                <a:gd name="T101" fmla="*/ 94 h 1215"/>
                <a:gd name="T102" fmla="*/ 659 w 1143"/>
                <a:gd name="T103" fmla="*/ 119 h 1215"/>
                <a:gd name="T104" fmla="*/ 600 w 1143"/>
                <a:gd name="T105" fmla="*/ 165 h 1215"/>
                <a:gd name="T106" fmla="*/ 600 w 1143"/>
                <a:gd name="T107" fmla="*/ 191 h 1215"/>
                <a:gd name="T108" fmla="*/ 582 w 1143"/>
                <a:gd name="T109" fmla="*/ 247 h 1215"/>
                <a:gd name="T110" fmla="*/ 512 w 1143"/>
                <a:gd name="T111" fmla="*/ 291 h 1215"/>
                <a:gd name="T112" fmla="*/ 470 w 1143"/>
                <a:gd name="T113" fmla="*/ 346 h 1215"/>
                <a:gd name="T114" fmla="*/ 369 w 1143"/>
                <a:gd name="T115" fmla="*/ 229 h 1215"/>
                <a:gd name="T116" fmla="*/ 283 w 1143"/>
                <a:gd name="T117" fmla="*/ 251 h 1215"/>
                <a:gd name="T118" fmla="*/ 215 w 1143"/>
                <a:gd name="T119" fmla="*/ 299 h 1215"/>
                <a:gd name="T120" fmla="*/ 162 w 1143"/>
                <a:gd name="T121" fmla="*/ 283 h 1215"/>
                <a:gd name="T122" fmla="*/ 80 w 1143"/>
                <a:gd name="T123" fmla="*/ 293 h 1215"/>
                <a:gd name="T124" fmla="*/ 72 w 1143"/>
                <a:gd name="T125" fmla="*/ 358 h 1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43" h="1215">
                  <a:moveTo>
                    <a:pt x="72" y="358"/>
                  </a:moveTo>
                  <a:lnTo>
                    <a:pt x="72" y="358"/>
                  </a:lnTo>
                  <a:lnTo>
                    <a:pt x="72" y="366"/>
                  </a:lnTo>
                  <a:lnTo>
                    <a:pt x="76" y="370"/>
                  </a:lnTo>
                  <a:lnTo>
                    <a:pt x="78" y="370"/>
                  </a:lnTo>
                  <a:lnTo>
                    <a:pt x="80" y="376"/>
                  </a:lnTo>
                  <a:lnTo>
                    <a:pt x="90" y="380"/>
                  </a:lnTo>
                  <a:lnTo>
                    <a:pt x="94" y="382"/>
                  </a:lnTo>
                  <a:lnTo>
                    <a:pt x="98" y="384"/>
                  </a:lnTo>
                  <a:lnTo>
                    <a:pt x="98" y="384"/>
                  </a:lnTo>
                  <a:lnTo>
                    <a:pt x="98" y="388"/>
                  </a:lnTo>
                  <a:lnTo>
                    <a:pt x="100" y="392"/>
                  </a:lnTo>
                  <a:lnTo>
                    <a:pt x="102" y="402"/>
                  </a:lnTo>
                  <a:lnTo>
                    <a:pt x="104" y="416"/>
                  </a:lnTo>
                  <a:lnTo>
                    <a:pt x="104" y="416"/>
                  </a:lnTo>
                  <a:lnTo>
                    <a:pt x="106" y="424"/>
                  </a:lnTo>
                  <a:lnTo>
                    <a:pt x="114" y="430"/>
                  </a:lnTo>
                  <a:lnTo>
                    <a:pt x="120" y="440"/>
                  </a:lnTo>
                  <a:lnTo>
                    <a:pt x="120" y="440"/>
                  </a:lnTo>
                  <a:lnTo>
                    <a:pt x="114" y="450"/>
                  </a:lnTo>
                  <a:lnTo>
                    <a:pt x="106" y="456"/>
                  </a:lnTo>
                  <a:lnTo>
                    <a:pt x="98" y="466"/>
                  </a:lnTo>
                  <a:lnTo>
                    <a:pt x="98" y="466"/>
                  </a:lnTo>
                  <a:lnTo>
                    <a:pt x="76" y="480"/>
                  </a:lnTo>
                  <a:lnTo>
                    <a:pt x="80" y="492"/>
                  </a:lnTo>
                  <a:lnTo>
                    <a:pt x="80" y="492"/>
                  </a:lnTo>
                  <a:lnTo>
                    <a:pt x="76" y="496"/>
                  </a:lnTo>
                  <a:lnTo>
                    <a:pt x="68" y="504"/>
                  </a:lnTo>
                  <a:lnTo>
                    <a:pt x="68" y="504"/>
                  </a:lnTo>
                  <a:lnTo>
                    <a:pt x="66" y="506"/>
                  </a:lnTo>
                  <a:lnTo>
                    <a:pt x="66" y="506"/>
                  </a:lnTo>
                  <a:lnTo>
                    <a:pt x="68" y="514"/>
                  </a:lnTo>
                  <a:lnTo>
                    <a:pt x="70" y="518"/>
                  </a:lnTo>
                  <a:lnTo>
                    <a:pt x="70" y="524"/>
                  </a:lnTo>
                  <a:lnTo>
                    <a:pt x="70" y="524"/>
                  </a:lnTo>
                  <a:lnTo>
                    <a:pt x="68" y="528"/>
                  </a:lnTo>
                  <a:lnTo>
                    <a:pt x="66" y="528"/>
                  </a:lnTo>
                  <a:lnTo>
                    <a:pt x="60" y="528"/>
                  </a:lnTo>
                  <a:lnTo>
                    <a:pt x="54" y="528"/>
                  </a:lnTo>
                  <a:lnTo>
                    <a:pt x="54" y="528"/>
                  </a:lnTo>
                  <a:lnTo>
                    <a:pt x="50" y="526"/>
                  </a:lnTo>
                  <a:lnTo>
                    <a:pt x="50" y="528"/>
                  </a:lnTo>
                  <a:lnTo>
                    <a:pt x="46" y="530"/>
                  </a:lnTo>
                  <a:lnTo>
                    <a:pt x="44" y="536"/>
                  </a:lnTo>
                  <a:lnTo>
                    <a:pt x="42" y="538"/>
                  </a:lnTo>
                  <a:lnTo>
                    <a:pt x="42" y="538"/>
                  </a:lnTo>
                  <a:lnTo>
                    <a:pt x="26" y="544"/>
                  </a:lnTo>
                  <a:lnTo>
                    <a:pt x="12" y="550"/>
                  </a:lnTo>
                  <a:lnTo>
                    <a:pt x="2" y="554"/>
                  </a:lnTo>
                  <a:lnTo>
                    <a:pt x="2" y="554"/>
                  </a:lnTo>
                  <a:lnTo>
                    <a:pt x="0" y="560"/>
                  </a:lnTo>
                  <a:lnTo>
                    <a:pt x="0" y="564"/>
                  </a:lnTo>
                  <a:lnTo>
                    <a:pt x="4" y="566"/>
                  </a:lnTo>
                  <a:lnTo>
                    <a:pt x="8" y="570"/>
                  </a:lnTo>
                  <a:lnTo>
                    <a:pt x="18" y="579"/>
                  </a:lnTo>
                  <a:lnTo>
                    <a:pt x="20" y="581"/>
                  </a:lnTo>
                  <a:lnTo>
                    <a:pt x="22" y="585"/>
                  </a:lnTo>
                  <a:lnTo>
                    <a:pt x="22" y="585"/>
                  </a:lnTo>
                  <a:lnTo>
                    <a:pt x="26" y="633"/>
                  </a:lnTo>
                  <a:lnTo>
                    <a:pt x="28" y="675"/>
                  </a:lnTo>
                  <a:lnTo>
                    <a:pt x="28" y="675"/>
                  </a:lnTo>
                  <a:lnTo>
                    <a:pt x="6" y="701"/>
                  </a:lnTo>
                  <a:lnTo>
                    <a:pt x="6" y="701"/>
                  </a:lnTo>
                  <a:lnTo>
                    <a:pt x="4" y="703"/>
                  </a:lnTo>
                  <a:lnTo>
                    <a:pt x="6" y="707"/>
                  </a:lnTo>
                  <a:lnTo>
                    <a:pt x="12" y="711"/>
                  </a:lnTo>
                  <a:lnTo>
                    <a:pt x="20" y="721"/>
                  </a:lnTo>
                  <a:lnTo>
                    <a:pt x="20" y="741"/>
                  </a:lnTo>
                  <a:lnTo>
                    <a:pt x="20" y="741"/>
                  </a:lnTo>
                  <a:lnTo>
                    <a:pt x="22" y="747"/>
                  </a:lnTo>
                  <a:lnTo>
                    <a:pt x="24" y="749"/>
                  </a:lnTo>
                  <a:lnTo>
                    <a:pt x="26" y="751"/>
                  </a:lnTo>
                  <a:lnTo>
                    <a:pt x="26" y="751"/>
                  </a:lnTo>
                  <a:lnTo>
                    <a:pt x="28" y="753"/>
                  </a:lnTo>
                  <a:lnTo>
                    <a:pt x="28" y="757"/>
                  </a:lnTo>
                  <a:lnTo>
                    <a:pt x="30" y="769"/>
                  </a:lnTo>
                  <a:lnTo>
                    <a:pt x="30" y="769"/>
                  </a:lnTo>
                  <a:lnTo>
                    <a:pt x="30" y="775"/>
                  </a:lnTo>
                  <a:lnTo>
                    <a:pt x="34" y="779"/>
                  </a:lnTo>
                  <a:lnTo>
                    <a:pt x="36" y="783"/>
                  </a:lnTo>
                  <a:lnTo>
                    <a:pt x="42" y="789"/>
                  </a:lnTo>
                  <a:lnTo>
                    <a:pt x="42" y="789"/>
                  </a:lnTo>
                  <a:lnTo>
                    <a:pt x="42" y="789"/>
                  </a:lnTo>
                  <a:lnTo>
                    <a:pt x="42" y="791"/>
                  </a:lnTo>
                  <a:lnTo>
                    <a:pt x="36" y="797"/>
                  </a:lnTo>
                  <a:lnTo>
                    <a:pt x="30" y="801"/>
                  </a:lnTo>
                  <a:lnTo>
                    <a:pt x="26" y="810"/>
                  </a:lnTo>
                  <a:lnTo>
                    <a:pt x="26" y="810"/>
                  </a:lnTo>
                  <a:lnTo>
                    <a:pt x="22" y="816"/>
                  </a:lnTo>
                  <a:lnTo>
                    <a:pt x="22" y="822"/>
                  </a:lnTo>
                  <a:lnTo>
                    <a:pt x="20" y="838"/>
                  </a:lnTo>
                  <a:lnTo>
                    <a:pt x="20" y="838"/>
                  </a:lnTo>
                  <a:lnTo>
                    <a:pt x="20" y="842"/>
                  </a:lnTo>
                  <a:lnTo>
                    <a:pt x="20" y="844"/>
                  </a:lnTo>
                  <a:lnTo>
                    <a:pt x="24" y="848"/>
                  </a:lnTo>
                  <a:lnTo>
                    <a:pt x="30" y="848"/>
                  </a:lnTo>
                  <a:lnTo>
                    <a:pt x="30" y="848"/>
                  </a:lnTo>
                  <a:lnTo>
                    <a:pt x="34" y="850"/>
                  </a:lnTo>
                  <a:lnTo>
                    <a:pt x="42" y="850"/>
                  </a:lnTo>
                  <a:lnTo>
                    <a:pt x="48" y="850"/>
                  </a:lnTo>
                  <a:lnTo>
                    <a:pt x="54" y="854"/>
                  </a:lnTo>
                  <a:lnTo>
                    <a:pt x="54" y="854"/>
                  </a:lnTo>
                  <a:lnTo>
                    <a:pt x="66" y="854"/>
                  </a:lnTo>
                  <a:lnTo>
                    <a:pt x="76" y="854"/>
                  </a:lnTo>
                  <a:lnTo>
                    <a:pt x="90" y="854"/>
                  </a:lnTo>
                  <a:lnTo>
                    <a:pt x="90" y="854"/>
                  </a:lnTo>
                  <a:lnTo>
                    <a:pt x="90" y="856"/>
                  </a:lnTo>
                  <a:lnTo>
                    <a:pt x="100" y="878"/>
                  </a:lnTo>
                  <a:lnTo>
                    <a:pt x="100" y="878"/>
                  </a:lnTo>
                  <a:lnTo>
                    <a:pt x="102" y="882"/>
                  </a:lnTo>
                  <a:lnTo>
                    <a:pt x="102" y="884"/>
                  </a:lnTo>
                  <a:lnTo>
                    <a:pt x="100" y="886"/>
                  </a:lnTo>
                  <a:lnTo>
                    <a:pt x="98" y="886"/>
                  </a:lnTo>
                  <a:lnTo>
                    <a:pt x="92" y="888"/>
                  </a:lnTo>
                  <a:lnTo>
                    <a:pt x="90" y="890"/>
                  </a:lnTo>
                  <a:lnTo>
                    <a:pt x="86" y="890"/>
                  </a:lnTo>
                  <a:lnTo>
                    <a:pt x="86" y="890"/>
                  </a:lnTo>
                  <a:lnTo>
                    <a:pt x="86" y="894"/>
                  </a:lnTo>
                  <a:lnTo>
                    <a:pt x="86" y="894"/>
                  </a:lnTo>
                  <a:lnTo>
                    <a:pt x="92" y="894"/>
                  </a:lnTo>
                  <a:lnTo>
                    <a:pt x="100" y="894"/>
                  </a:lnTo>
                  <a:lnTo>
                    <a:pt x="112" y="900"/>
                  </a:lnTo>
                  <a:lnTo>
                    <a:pt x="112" y="900"/>
                  </a:lnTo>
                  <a:lnTo>
                    <a:pt x="116" y="902"/>
                  </a:lnTo>
                  <a:lnTo>
                    <a:pt x="120" y="904"/>
                  </a:lnTo>
                  <a:lnTo>
                    <a:pt x="122" y="910"/>
                  </a:lnTo>
                  <a:lnTo>
                    <a:pt x="124" y="914"/>
                  </a:lnTo>
                  <a:lnTo>
                    <a:pt x="126" y="926"/>
                  </a:lnTo>
                  <a:lnTo>
                    <a:pt x="128" y="928"/>
                  </a:lnTo>
                  <a:lnTo>
                    <a:pt x="132" y="932"/>
                  </a:lnTo>
                  <a:lnTo>
                    <a:pt x="132" y="932"/>
                  </a:lnTo>
                  <a:lnTo>
                    <a:pt x="134" y="934"/>
                  </a:lnTo>
                  <a:lnTo>
                    <a:pt x="134" y="934"/>
                  </a:lnTo>
                  <a:lnTo>
                    <a:pt x="134" y="938"/>
                  </a:lnTo>
                  <a:lnTo>
                    <a:pt x="132" y="942"/>
                  </a:lnTo>
                  <a:lnTo>
                    <a:pt x="126" y="952"/>
                  </a:lnTo>
                  <a:lnTo>
                    <a:pt x="126" y="952"/>
                  </a:lnTo>
                  <a:lnTo>
                    <a:pt x="126" y="956"/>
                  </a:lnTo>
                  <a:lnTo>
                    <a:pt x="126" y="958"/>
                  </a:lnTo>
                  <a:lnTo>
                    <a:pt x="128" y="960"/>
                  </a:lnTo>
                  <a:lnTo>
                    <a:pt x="132" y="960"/>
                  </a:lnTo>
                  <a:lnTo>
                    <a:pt x="138" y="960"/>
                  </a:lnTo>
                  <a:lnTo>
                    <a:pt x="142" y="960"/>
                  </a:lnTo>
                  <a:lnTo>
                    <a:pt x="144" y="962"/>
                  </a:lnTo>
                  <a:lnTo>
                    <a:pt x="144" y="962"/>
                  </a:lnTo>
                  <a:lnTo>
                    <a:pt x="148" y="962"/>
                  </a:lnTo>
                  <a:lnTo>
                    <a:pt x="148" y="968"/>
                  </a:lnTo>
                  <a:lnTo>
                    <a:pt x="148" y="970"/>
                  </a:lnTo>
                  <a:lnTo>
                    <a:pt x="148" y="974"/>
                  </a:lnTo>
                  <a:lnTo>
                    <a:pt x="146" y="982"/>
                  </a:lnTo>
                  <a:lnTo>
                    <a:pt x="142" y="988"/>
                  </a:lnTo>
                  <a:lnTo>
                    <a:pt x="142" y="988"/>
                  </a:lnTo>
                  <a:lnTo>
                    <a:pt x="140" y="988"/>
                  </a:lnTo>
                  <a:lnTo>
                    <a:pt x="140" y="994"/>
                  </a:lnTo>
                  <a:lnTo>
                    <a:pt x="142" y="998"/>
                  </a:lnTo>
                  <a:lnTo>
                    <a:pt x="144" y="1006"/>
                  </a:lnTo>
                  <a:lnTo>
                    <a:pt x="146" y="1010"/>
                  </a:lnTo>
                  <a:lnTo>
                    <a:pt x="146" y="1010"/>
                  </a:lnTo>
                  <a:lnTo>
                    <a:pt x="148" y="1014"/>
                  </a:lnTo>
                  <a:lnTo>
                    <a:pt x="150" y="1018"/>
                  </a:lnTo>
                  <a:lnTo>
                    <a:pt x="158" y="1022"/>
                  </a:lnTo>
                  <a:lnTo>
                    <a:pt x="172" y="1030"/>
                  </a:lnTo>
                  <a:lnTo>
                    <a:pt x="172" y="1030"/>
                  </a:lnTo>
                  <a:lnTo>
                    <a:pt x="174" y="1030"/>
                  </a:lnTo>
                  <a:lnTo>
                    <a:pt x="174" y="1034"/>
                  </a:lnTo>
                  <a:lnTo>
                    <a:pt x="174" y="1041"/>
                  </a:lnTo>
                  <a:lnTo>
                    <a:pt x="170" y="1055"/>
                  </a:lnTo>
                  <a:lnTo>
                    <a:pt x="170" y="1055"/>
                  </a:lnTo>
                  <a:lnTo>
                    <a:pt x="162" y="1073"/>
                  </a:lnTo>
                  <a:lnTo>
                    <a:pt x="160" y="1083"/>
                  </a:lnTo>
                  <a:lnTo>
                    <a:pt x="160" y="1095"/>
                  </a:lnTo>
                  <a:lnTo>
                    <a:pt x="160" y="1095"/>
                  </a:lnTo>
                  <a:lnTo>
                    <a:pt x="158" y="1109"/>
                  </a:lnTo>
                  <a:lnTo>
                    <a:pt x="156" y="1119"/>
                  </a:lnTo>
                  <a:lnTo>
                    <a:pt x="152" y="1131"/>
                  </a:lnTo>
                  <a:lnTo>
                    <a:pt x="152" y="1137"/>
                  </a:lnTo>
                  <a:lnTo>
                    <a:pt x="152" y="1139"/>
                  </a:lnTo>
                  <a:lnTo>
                    <a:pt x="152" y="1139"/>
                  </a:lnTo>
                  <a:lnTo>
                    <a:pt x="158" y="1145"/>
                  </a:lnTo>
                  <a:lnTo>
                    <a:pt x="166" y="1151"/>
                  </a:lnTo>
                  <a:lnTo>
                    <a:pt x="174" y="1153"/>
                  </a:lnTo>
                  <a:lnTo>
                    <a:pt x="184" y="1155"/>
                  </a:lnTo>
                  <a:lnTo>
                    <a:pt x="184" y="1155"/>
                  </a:lnTo>
                  <a:lnTo>
                    <a:pt x="188" y="1153"/>
                  </a:lnTo>
                  <a:lnTo>
                    <a:pt x="190" y="1153"/>
                  </a:lnTo>
                  <a:lnTo>
                    <a:pt x="192" y="1151"/>
                  </a:lnTo>
                  <a:lnTo>
                    <a:pt x="192" y="1145"/>
                  </a:lnTo>
                  <a:lnTo>
                    <a:pt x="192" y="1143"/>
                  </a:lnTo>
                  <a:lnTo>
                    <a:pt x="194" y="1141"/>
                  </a:lnTo>
                  <a:lnTo>
                    <a:pt x="196" y="1139"/>
                  </a:lnTo>
                  <a:lnTo>
                    <a:pt x="202" y="1139"/>
                  </a:lnTo>
                  <a:lnTo>
                    <a:pt x="202" y="1139"/>
                  </a:lnTo>
                  <a:lnTo>
                    <a:pt x="203" y="1139"/>
                  </a:lnTo>
                  <a:lnTo>
                    <a:pt x="211" y="1137"/>
                  </a:lnTo>
                  <a:lnTo>
                    <a:pt x="225" y="1133"/>
                  </a:lnTo>
                  <a:lnTo>
                    <a:pt x="237" y="1125"/>
                  </a:lnTo>
                  <a:lnTo>
                    <a:pt x="241" y="1123"/>
                  </a:lnTo>
                  <a:lnTo>
                    <a:pt x="247" y="1121"/>
                  </a:lnTo>
                  <a:lnTo>
                    <a:pt x="247" y="1121"/>
                  </a:lnTo>
                  <a:lnTo>
                    <a:pt x="251" y="1123"/>
                  </a:lnTo>
                  <a:lnTo>
                    <a:pt x="253" y="1123"/>
                  </a:lnTo>
                  <a:lnTo>
                    <a:pt x="255" y="1131"/>
                  </a:lnTo>
                  <a:lnTo>
                    <a:pt x="259" y="1141"/>
                  </a:lnTo>
                  <a:lnTo>
                    <a:pt x="259" y="1141"/>
                  </a:lnTo>
                  <a:lnTo>
                    <a:pt x="263" y="1137"/>
                  </a:lnTo>
                  <a:lnTo>
                    <a:pt x="269" y="1133"/>
                  </a:lnTo>
                  <a:lnTo>
                    <a:pt x="275" y="1133"/>
                  </a:lnTo>
                  <a:lnTo>
                    <a:pt x="275" y="1133"/>
                  </a:lnTo>
                  <a:lnTo>
                    <a:pt x="277" y="1131"/>
                  </a:lnTo>
                  <a:lnTo>
                    <a:pt x="279" y="1129"/>
                  </a:lnTo>
                  <a:lnTo>
                    <a:pt x="279" y="1123"/>
                  </a:lnTo>
                  <a:lnTo>
                    <a:pt x="279" y="1119"/>
                  </a:lnTo>
                  <a:lnTo>
                    <a:pt x="279" y="1115"/>
                  </a:lnTo>
                  <a:lnTo>
                    <a:pt x="279" y="1115"/>
                  </a:lnTo>
                  <a:lnTo>
                    <a:pt x="279" y="1113"/>
                  </a:lnTo>
                  <a:lnTo>
                    <a:pt x="279" y="1109"/>
                  </a:lnTo>
                  <a:lnTo>
                    <a:pt x="283" y="1099"/>
                  </a:lnTo>
                  <a:lnTo>
                    <a:pt x="291" y="1091"/>
                  </a:lnTo>
                  <a:lnTo>
                    <a:pt x="297" y="1083"/>
                  </a:lnTo>
                  <a:lnTo>
                    <a:pt x="297" y="1083"/>
                  </a:lnTo>
                  <a:lnTo>
                    <a:pt x="301" y="1077"/>
                  </a:lnTo>
                  <a:lnTo>
                    <a:pt x="305" y="1073"/>
                  </a:lnTo>
                  <a:lnTo>
                    <a:pt x="309" y="1061"/>
                  </a:lnTo>
                  <a:lnTo>
                    <a:pt x="315" y="1049"/>
                  </a:lnTo>
                  <a:lnTo>
                    <a:pt x="317" y="1045"/>
                  </a:lnTo>
                  <a:lnTo>
                    <a:pt x="319" y="1043"/>
                  </a:lnTo>
                  <a:lnTo>
                    <a:pt x="319" y="1043"/>
                  </a:lnTo>
                  <a:lnTo>
                    <a:pt x="323" y="1041"/>
                  </a:lnTo>
                  <a:lnTo>
                    <a:pt x="325" y="1039"/>
                  </a:lnTo>
                  <a:lnTo>
                    <a:pt x="333" y="1039"/>
                  </a:lnTo>
                  <a:lnTo>
                    <a:pt x="351" y="1041"/>
                  </a:lnTo>
                  <a:lnTo>
                    <a:pt x="351" y="1041"/>
                  </a:lnTo>
                  <a:lnTo>
                    <a:pt x="357" y="1043"/>
                  </a:lnTo>
                  <a:lnTo>
                    <a:pt x="369" y="1047"/>
                  </a:lnTo>
                  <a:lnTo>
                    <a:pt x="383" y="1053"/>
                  </a:lnTo>
                  <a:lnTo>
                    <a:pt x="377" y="1065"/>
                  </a:lnTo>
                  <a:lnTo>
                    <a:pt x="377" y="1065"/>
                  </a:lnTo>
                  <a:lnTo>
                    <a:pt x="383" y="1069"/>
                  </a:lnTo>
                  <a:lnTo>
                    <a:pt x="385" y="1073"/>
                  </a:lnTo>
                  <a:lnTo>
                    <a:pt x="387" y="1083"/>
                  </a:lnTo>
                  <a:lnTo>
                    <a:pt x="387" y="1083"/>
                  </a:lnTo>
                  <a:lnTo>
                    <a:pt x="389" y="1083"/>
                  </a:lnTo>
                  <a:lnTo>
                    <a:pt x="391" y="1085"/>
                  </a:lnTo>
                  <a:lnTo>
                    <a:pt x="397" y="1083"/>
                  </a:lnTo>
                  <a:lnTo>
                    <a:pt x="403" y="1079"/>
                  </a:lnTo>
                  <a:lnTo>
                    <a:pt x="411" y="1077"/>
                  </a:lnTo>
                  <a:lnTo>
                    <a:pt x="411" y="1077"/>
                  </a:lnTo>
                  <a:lnTo>
                    <a:pt x="415" y="1077"/>
                  </a:lnTo>
                  <a:lnTo>
                    <a:pt x="419" y="1075"/>
                  </a:lnTo>
                  <a:lnTo>
                    <a:pt x="421" y="1073"/>
                  </a:lnTo>
                  <a:lnTo>
                    <a:pt x="428" y="1075"/>
                  </a:lnTo>
                  <a:lnTo>
                    <a:pt x="428" y="1075"/>
                  </a:lnTo>
                  <a:lnTo>
                    <a:pt x="430" y="1077"/>
                  </a:lnTo>
                  <a:lnTo>
                    <a:pt x="432" y="1079"/>
                  </a:lnTo>
                  <a:lnTo>
                    <a:pt x="436" y="1087"/>
                  </a:lnTo>
                  <a:lnTo>
                    <a:pt x="436" y="1095"/>
                  </a:lnTo>
                  <a:lnTo>
                    <a:pt x="446" y="1123"/>
                  </a:lnTo>
                  <a:lnTo>
                    <a:pt x="458" y="1125"/>
                  </a:lnTo>
                  <a:lnTo>
                    <a:pt x="462" y="1141"/>
                  </a:lnTo>
                  <a:lnTo>
                    <a:pt x="462" y="1143"/>
                  </a:lnTo>
                  <a:lnTo>
                    <a:pt x="462" y="1143"/>
                  </a:lnTo>
                  <a:lnTo>
                    <a:pt x="462" y="1143"/>
                  </a:lnTo>
                  <a:lnTo>
                    <a:pt x="464" y="1143"/>
                  </a:lnTo>
                  <a:lnTo>
                    <a:pt x="464" y="1143"/>
                  </a:lnTo>
                  <a:lnTo>
                    <a:pt x="466" y="1155"/>
                  </a:lnTo>
                  <a:lnTo>
                    <a:pt x="468" y="1165"/>
                  </a:lnTo>
                  <a:lnTo>
                    <a:pt x="468" y="1165"/>
                  </a:lnTo>
                  <a:lnTo>
                    <a:pt x="470" y="1167"/>
                  </a:lnTo>
                  <a:lnTo>
                    <a:pt x="474" y="1169"/>
                  </a:lnTo>
                  <a:lnTo>
                    <a:pt x="476" y="1171"/>
                  </a:lnTo>
                  <a:lnTo>
                    <a:pt x="476" y="1175"/>
                  </a:lnTo>
                  <a:lnTo>
                    <a:pt x="476" y="1175"/>
                  </a:lnTo>
                  <a:lnTo>
                    <a:pt x="478" y="1175"/>
                  </a:lnTo>
                  <a:lnTo>
                    <a:pt x="480" y="1177"/>
                  </a:lnTo>
                  <a:lnTo>
                    <a:pt x="480" y="1179"/>
                  </a:lnTo>
                  <a:lnTo>
                    <a:pt x="482" y="1177"/>
                  </a:lnTo>
                  <a:lnTo>
                    <a:pt x="482" y="1177"/>
                  </a:lnTo>
                  <a:lnTo>
                    <a:pt x="482" y="1175"/>
                  </a:lnTo>
                  <a:lnTo>
                    <a:pt x="482" y="1177"/>
                  </a:lnTo>
                  <a:lnTo>
                    <a:pt x="486" y="1181"/>
                  </a:lnTo>
                  <a:lnTo>
                    <a:pt x="486" y="1181"/>
                  </a:lnTo>
                  <a:lnTo>
                    <a:pt x="488" y="1185"/>
                  </a:lnTo>
                  <a:lnTo>
                    <a:pt x="500" y="1187"/>
                  </a:lnTo>
                  <a:lnTo>
                    <a:pt x="508" y="1209"/>
                  </a:lnTo>
                  <a:lnTo>
                    <a:pt x="508" y="1209"/>
                  </a:lnTo>
                  <a:lnTo>
                    <a:pt x="514" y="1205"/>
                  </a:lnTo>
                  <a:lnTo>
                    <a:pt x="524" y="1201"/>
                  </a:lnTo>
                  <a:lnTo>
                    <a:pt x="524" y="1201"/>
                  </a:lnTo>
                  <a:lnTo>
                    <a:pt x="528" y="1197"/>
                  </a:lnTo>
                  <a:lnTo>
                    <a:pt x="534" y="1193"/>
                  </a:lnTo>
                  <a:lnTo>
                    <a:pt x="540" y="1191"/>
                  </a:lnTo>
                  <a:lnTo>
                    <a:pt x="544" y="1189"/>
                  </a:lnTo>
                  <a:lnTo>
                    <a:pt x="544" y="1189"/>
                  </a:lnTo>
                  <a:lnTo>
                    <a:pt x="552" y="1189"/>
                  </a:lnTo>
                  <a:lnTo>
                    <a:pt x="556" y="1189"/>
                  </a:lnTo>
                  <a:lnTo>
                    <a:pt x="558" y="1191"/>
                  </a:lnTo>
                  <a:lnTo>
                    <a:pt x="558" y="1191"/>
                  </a:lnTo>
                  <a:lnTo>
                    <a:pt x="562" y="1193"/>
                  </a:lnTo>
                  <a:lnTo>
                    <a:pt x="568" y="1199"/>
                  </a:lnTo>
                  <a:lnTo>
                    <a:pt x="570" y="1201"/>
                  </a:lnTo>
                  <a:lnTo>
                    <a:pt x="572" y="1201"/>
                  </a:lnTo>
                  <a:lnTo>
                    <a:pt x="574" y="1201"/>
                  </a:lnTo>
                  <a:lnTo>
                    <a:pt x="574" y="1201"/>
                  </a:lnTo>
                  <a:lnTo>
                    <a:pt x="580" y="1199"/>
                  </a:lnTo>
                  <a:lnTo>
                    <a:pt x="584" y="1197"/>
                  </a:lnTo>
                  <a:lnTo>
                    <a:pt x="590" y="1199"/>
                  </a:lnTo>
                  <a:lnTo>
                    <a:pt x="590" y="1199"/>
                  </a:lnTo>
                  <a:lnTo>
                    <a:pt x="598" y="1203"/>
                  </a:lnTo>
                  <a:lnTo>
                    <a:pt x="604" y="1205"/>
                  </a:lnTo>
                  <a:lnTo>
                    <a:pt x="606" y="1203"/>
                  </a:lnTo>
                  <a:lnTo>
                    <a:pt x="606" y="1203"/>
                  </a:lnTo>
                  <a:lnTo>
                    <a:pt x="612" y="1199"/>
                  </a:lnTo>
                  <a:lnTo>
                    <a:pt x="612" y="1197"/>
                  </a:lnTo>
                  <a:lnTo>
                    <a:pt x="616" y="1199"/>
                  </a:lnTo>
                  <a:lnTo>
                    <a:pt x="616" y="1199"/>
                  </a:lnTo>
                  <a:lnTo>
                    <a:pt x="620" y="1201"/>
                  </a:lnTo>
                  <a:lnTo>
                    <a:pt x="624" y="1201"/>
                  </a:lnTo>
                  <a:lnTo>
                    <a:pt x="630" y="1201"/>
                  </a:lnTo>
                  <a:lnTo>
                    <a:pt x="636" y="1199"/>
                  </a:lnTo>
                  <a:lnTo>
                    <a:pt x="636" y="1199"/>
                  </a:lnTo>
                  <a:lnTo>
                    <a:pt x="644" y="1197"/>
                  </a:lnTo>
                  <a:lnTo>
                    <a:pt x="649" y="1197"/>
                  </a:lnTo>
                  <a:lnTo>
                    <a:pt x="653" y="1199"/>
                  </a:lnTo>
                  <a:lnTo>
                    <a:pt x="653" y="1199"/>
                  </a:lnTo>
                  <a:lnTo>
                    <a:pt x="665" y="1205"/>
                  </a:lnTo>
                  <a:lnTo>
                    <a:pt x="669" y="1209"/>
                  </a:lnTo>
                  <a:lnTo>
                    <a:pt x="673" y="1211"/>
                  </a:lnTo>
                  <a:lnTo>
                    <a:pt x="673" y="1211"/>
                  </a:lnTo>
                  <a:lnTo>
                    <a:pt x="679" y="1215"/>
                  </a:lnTo>
                  <a:lnTo>
                    <a:pt x="679" y="1215"/>
                  </a:lnTo>
                  <a:lnTo>
                    <a:pt x="681" y="1213"/>
                  </a:lnTo>
                  <a:lnTo>
                    <a:pt x="681" y="1213"/>
                  </a:lnTo>
                  <a:lnTo>
                    <a:pt x="685" y="1213"/>
                  </a:lnTo>
                  <a:lnTo>
                    <a:pt x="691" y="1213"/>
                  </a:lnTo>
                  <a:lnTo>
                    <a:pt x="691" y="1213"/>
                  </a:lnTo>
                  <a:lnTo>
                    <a:pt x="699" y="1209"/>
                  </a:lnTo>
                  <a:lnTo>
                    <a:pt x="707" y="1209"/>
                  </a:lnTo>
                  <a:lnTo>
                    <a:pt x="707" y="1209"/>
                  </a:lnTo>
                  <a:lnTo>
                    <a:pt x="709" y="1209"/>
                  </a:lnTo>
                  <a:lnTo>
                    <a:pt x="711" y="1209"/>
                  </a:lnTo>
                  <a:lnTo>
                    <a:pt x="713" y="1209"/>
                  </a:lnTo>
                  <a:lnTo>
                    <a:pt x="717" y="1209"/>
                  </a:lnTo>
                  <a:lnTo>
                    <a:pt x="717" y="1209"/>
                  </a:lnTo>
                  <a:lnTo>
                    <a:pt x="719" y="1209"/>
                  </a:lnTo>
                  <a:lnTo>
                    <a:pt x="721" y="1207"/>
                  </a:lnTo>
                  <a:lnTo>
                    <a:pt x="725" y="1205"/>
                  </a:lnTo>
                  <a:lnTo>
                    <a:pt x="727" y="1205"/>
                  </a:lnTo>
                  <a:lnTo>
                    <a:pt x="727" y="1205"/>
                  </a:lnTo>
                  <a:lnTo>
                    <a:pt x="729" y="1205"/>
                  </a:lnTo>
                  <a:lnTo>
                    <a:pt x="733" y="1207"/>
                  </a:lnTo>
                  <a:lnTo>
                    <a:pt x="735" y="1209"/>
                  </a:lnTo>
                  <a:lnTo>
                    <a:pt x="737" y="1211"/>
                  </a:lnTo>
                  <a:lnTo>
                    <a:pt x="737" y="1211"/>
                  </a:lnTo>
                  <a:lnTo>
                    <a:pt x="739" y="1213"/>
                  </a:lnTo>
                  <a:lnTo>
                    <a:pt x="741" y="1211"/>
                  </a:lnTo>
                  <a:lnTo>
                    <a:pt x="745" y="1209"/>
                  </a:lnTo>
                  <a:lnTo>
                    <a:pt x="745" y="1209"/>
                  </a:lnTo>
                  <a:lnTo>
                    <a:pt x="749" y="1207"/>
                  </a:lnTo>
                  <a:lnTo>
                    <a:pt x="753" y="1205"/>
                  </a:lnTo>
                  <a:lnTo>
                    <a:pt x="753" y="1205"/>
                  </a:lnTo>
                  <a:lnTo>
                    <a:pt x="755" y="1205"/>
                  </a:lnTo>
                  <a:lnTo>
                    <a:pt x="759" y="1205"/>
                  </a:lnTo>
                  <a:lnTo>
                    <a:pt x="761" y="1205"/>
                  </a:lnTo>
                  <a:lnTo>
                    <a:pt x="763" y="1203"/>
                  </a:lnTo>
                  <a:lnTo>
                    <a:pt x="763" y="1203"/>
                  </a:lnTo>
                  <a:lnTo>
                    <a:pt x="763" y="1201"/>
                  </a:lnTo>
                  <a:lnTo>
                    <a:pt x="765" y="1197"/>
                  </a:lnTo>
                  <a:lnTo>
                    <a:pt x="767" y="1197"/>
                  </a:lnTo>
                  <a:lnTo>
                    <a:pt x="767" y="1197"/>
                  </a:lnTo>
                  <a:lnTo>
                    <a:pt x="773" y="1197"/>
                  </a:lnTo>
                  <a:lnTo>
                    <a:pt x="775" y="1197"/>
                  </a:lnTo>
                  <a:lnTo>
                    <a:pt x="779" y="1199"/>
                  </a:lnTo>
                  <a:lnTo>
                    <a:pt x="781" y="1199"/>
                  </a:lnTo>
                  <a:lnTo>
                    <a:pt x="781" y="1199"/>
                  </a:lnTo>
                  <a:lnTo>
                    <a:pt x="783" y="1197"/>
                  </a:lnTo>
                  <a:lnTo>
                    <a:pt x="783" y="1193"/>
                  </a:lnTo>
                  <a:lnTo>
                    <a:pt x="783" y="1189"/>
                  </a:lnTo>
                  <a:lnTo>
                    <a:pt x="785" y="1187"/>
                  </a:lnTo>
                  <a:lnTo>
                    <a:pt x="785" y="1187"/>
                  </a:lnTo>
                  <a:lnTo>
                    <a:pt x="791" y="1185"/>
                  </a:lnTo>
                  <a:lnTo>
                    <a:pt x="801" y="1181"/>
                  </a:lnTo>
                  <a:lnTo>
                    <a:pt x="801" y="1181"/>
                  </a:lnTo>
                  <a:lnTo>
                    <a:pt x="813" y="1183"/>
                  </a:lnTo>
                  <a:lnTo>
                    <a:pt x="823" y="1183"/>
                  </a:lnTo>
                  <a:lnTo>
                    <a:pt x="823" y="1181"/>
                  </a:lnTo>
                  <a:lnTo>
                    <a:pt x="827" y="1181"/>
                  </a:lnTo>
                  <a:lnTo>
                    <a:pt x="827" y="1181"/>
                  </a:lnTo>
                  <a:lnTo>
                    <a:pt x="827" y="1179"/>
                  </a:lnTo>
                  <a:lnTo>
                    <a:pt x="827" y="1175"/>
                  </a:lnTo>
                  <a:lnTo>
                    <a:pt x="827" y="1171"/>
                  </a:lnTo>
                  <a:lnTo>
                    <a:pt x="827" y="1169"/>
                  </a:lnTo>
                  <a:lnTo>
                    <a:pt x="827" y="1167"/>
                  </a:lnTo>
                  <a:lnTo>
                    <a:pt x="827" y="1167"/>
                  </a:lnTo>
                  <a:lnTo>
                    <a:pt x="868" y="1147"/>
                  </a:lnTo>
                  <a:lnTo>
                    <a:pt x="868" y="1147"/>
                  </a:lnTo>
                  <a:lnTo>
                    <a:pt x="874" y="1145"/>
                  </a:lnTo>
                  <a:lnTo>
                    <a:pt x="882" y="1143"/>
                  </a:lnTo>
                  <a:lnTo>
                    <a:pt x="878" y="1137"/>
                  </a:lnTo>
                  <a:lnTo>
                    <a:pt x="874" y="1131"/>
                  </a:lnTo>
                  <a:lnTo>
                    <a:pt x="874" y="1131"/>
                  </a:lnTo>
                  <a:lnTo>
                    <a:pt x="872" y="1123"/>
                  </a:lnTo>
                  <a:lnTo>
                    <a:pt x="872" y="1119"/>
                  </a:lnTo>
                  <a:lnTo>
                    <a:pt x="872" y="1115"/>
                  </a:lnTo>
                  <a:lnTo>
                    <a:pt x="872" y="1115"/>
                  </a:lnTo>
                  <a:lnTo>
                    <a:pt x="874" y="1113"/>
                  </a:lnTo>
                  <a:lnTo>
                    <a:pt x="872" y="1107"/>
                  </a:lnTo>
                  <a:lnTo>
                    <a:pt x="872" y="1101"/>
                  </a:lnTo>
                  <a:lnTo>
                    <a:pt x="872" y="1097"/>
                  </a:lnTo>
                  <a:lnTo>
                    <a:pt x="872" y="1097"/>
                  </a:lnTo>
                  <a:lnTo>
                    <a:pt x="872" y="1097"/>
                  </a:lnTo>
                  <a:lnTo>
                    <a:pt x="876" y="1093"/>
                  </a:lnTo>
                  <a:lnTo>
                    <a:pt x="878" y="1093"/>
                  </a:lnTo>
                  <a:lnTo>
                    <a:pt x="886" y="1091"/>
                  </a:lnTo>
                  <a:lnTo>
                    <a:pt x="886" y="1091"/>
                  </a:lnTo>
                  <a:lnTo>
                    <a:pt x="882" y="1083"/>
                  </a:lnTo>
                  <a:lnTo>
                    <a:pt x="880" y="1077"/>
                  </a:lnTo>
                  <a:lnTo>
                    <a:pt x="878" y="1073"/>
                  </a:lnTo>
                  <a:lnTo>
                    <a:pt x="878" y="1073"/>
                  </a:lnTo>
                  <a:lnTo>
                    <a:pt x="870" y="1069"/>
                  </a:lnTo>
                  <a:lnTo>
                    <a:pt x="863" y="1063"/>
                  </a:lnTo>
                  <a:lnTo>
                    <a:pt x="863" y="1063"/>
                  </a:lnTo>
                  <a:lnTo>
                    <a:pt x="851" y="1055"/>
                  </a:lnTo>
                  <a:lnTo>
                    <a:pt x="851" y="1051"/>
                  </a:lnTo>
                  <a:lnTo>
                    <a:pt x="851" y="1051"/>
                  </a:lnTo>
                  <a:lnTo>
                    <a:pt x="855" y="1051"/>
                  </a:lnTo>
                  <a:lnTo>
                    <a:pt x="859" y="1051"/>
                  </a:lnTo>
                  <a:lnTo>
                    <a:pt x="863" y="1051"/>
                  </a:lnTo>
                  <a:lnTo>
                    <a:pt x="863" y="1049"/>
                  </a:lnTo>
                  <a:lnTo>
                    <a:pt x="863" y="1049"/>
                  </a:lnTo>
                  <a:lnTo>
                    <a:pt x="859" y="1043"/>
                  </a:lnTo>
                  <a:lnTo>
                    <a:pt x="857" y="1034"/>
                  </a:lnTo>
                  <a:lnTo>
                    <a:pt x="857" y="1034"/>
                  </a:lnTo>
                  <a:lnTo>
                    <a:pt x="857" y="1032"/>
                  </a:lnTo>
                  <a:lnTo>
                    <a:pt x="863" y="1028"/>
                  </a:lnTo>
                  <a:lnTo>
                    <a:pt x="864" y="1024"/>
                  </a:lnTo>
                  <a:lnTo>
                    <a:pt x="853" y="1016"/>
                  </a:lnTo>
                  <a:lnTo>
                    <a:pt x="835" y="1004"/>
                  </a:lnTo>
                  <a:lnTo>
                    <a:pt x="835" y="1004"/>
                  </a:lnTo>
                  <a:lnTo>
                    <a:pt x="837" y="1002"/>
                  </a:lnTo>
                  <a:lnTo>
                    <a:pt x="841" y="1002"/>
                  </a:lnTo>
                  <a:lnTo>
                    <a:pt x="841" y="1002"/>
                  </a:lnTo>
                  <a:lnTo>
                    <a:pt x="853" y="1002"/>
                  </a:lnTo>
                  <a:lnTo>
                    <a:pt x="851" y="996"/>
                  </a:lnTo>
                  <a:lnTo>
                    <a:pt x="851" y="988"/>
                  </a:lnTo>
                  <a:lnTo>
                    <a:pt x="847" y="980"/>
                  </a:lnTo>
                  <a:lnTo>
                    <a:pt x="851" y="974"/>
                  </a:lnTo>
                  <a:lnTo>
                    <a:pt x="851" y="968"/>
                  </a:lnTo>
                  <a:lnTo>
                    <a:pt x="849" y="956"/>
                  </a:lnTo>
                  <a:lnTo>
                    <a:pt x="851" y="954"/>
                  </a:lnTo>
                  <a:lnTo>
                    <a:pt x="851" y="946"/>
                  </a:lnTo>
                  <a:lnTo>
                    <a:pt x="849" y="940"/>
                  </a:lnTo>
                  <a:lnTo>
                    <a:pt x="849" y="940"/>
                  </a:lnTo>
                  <a:lnTo>
                    <a:pt x="849" y="934"/>
                  </a:lnTo>
                  <a:lnTo>
                    <a:pt x="851" y="930"/>
                  </a:lnTo>
                  <a:lnTo>
                    <a:pt x="853" y="930"/>
                  </a:lnTo>
                  <a:lnTo>
                    <a:pt x="853" y="930"/>
                  </a:lnTo>
                  <a:lnTo>
                    <a:pt x="857" y="926"/>
                  </a:lnTo>
                  <a:lnTo>
                    <a:pt x="859" y="918"/>
                  </a:lnTo>
                  <a:lnTo>
                    <a:pt x="859" y="918"/>
                  </a:lnTo>
                  <a:lnTo>
                    <a:pt x="868" y="918"/>
                  </a:lnTo>
                  <a:lnTo>
                    <a:pt x="868" y="918"/>
                  </a:lnTo>
                  <a:lnTo>
                    <a:pt x="876" y="914"/>
                  </a:lnTo>
                  <a:lnTo>
                    <a:pt x="890" y="912"/>
                  </a:lnTo>
                  <a:lnTo>
                    <a:pt x="894" y="908"/>
                  </a:lnTo>
                  <a:lnTo>
                    <a:pt x="898" y="908"/>
                  </a:lnTo>
                  <a:lnTo>
                    <a:pt x="912" y="906"/>
                  </a:lnTo>
                  <a:lnTo>
                    <a:pt x="908" y="894"/>
                  </a:lnTo>
                  <a:lnTo>
                    <a:pt x="908" y="894"/>
                  </a:lnTo>
                  <a:lnTo>
                    <a:pt x="908" y="890"/>
                  </a:lnTo>
                  <a:lnTo>
                    <a:pt x="908" y="890"/>
                  </a:lnTo>
                  <a:lnTo>
                    <a:pt x="908" y="886"/>
                  </a:lnTo>
                  <a:lnTo>
                    <a:pt x="908" y="886"/>
                  </a:lnTo>
                  <a:lnTo>
                    <a:pt x="912" y="878"/>
                  </a:lnTo>
                  <a:lnTo>
                    <a:pt x="912" y="874"/>
                  </a:lnTo>
                  <a:lnTo>
                    <a:pt x="916" y="874"/>
                  </a:lnTo>
                  <a:lnTo>
                    <a:pt x="916" y="874"/>
                  </a:lnTo>
                  <a:lnTo>
                    <a:pt x="924" y="872"/>
                  </a:lnTo>
                  <a:lnTo>
                    <a:pt x="932" y="872"/>
                  </a:lnTo>
                  <a:lnTo>
                    <a:pt x="932" y="872"/>
                  </a:lnTo>
                  <a:lnTo>
                    <a:pt x="934" y="870"/>
                  </a:lnTo>
                  <a:lnTo>
                    <a:pt x="938" y="870"/>
                  </a:lnTo>
                  <a:lnTo>
                    <a:pt x="942" y="870"/>
                  </a:lnTo>
                  <a:lnTo>
                    <a:pt x="942" y="868"/>
                  </a:lnTo>
                  <a:lnTo>
                    <a:pt x="942" y="868"/>
                  </a:lnTo>
                  <a:lnTo>
                    <a:pt x="948" y="864"/>
                  </a:lnTo>
                  <a:lnTo>
                    <a:pt x="950" y="860"/>
                  </a:lnTo>
                  <a:lnTo>
                    <a:pt x="954" y="856"/>
                  </a:lnTo>
                  <a:lnTo>
                    <a:pt x="954" y="856"/>
                  </a:lnTo>
                  <a:lnTo>
                    <a:pt x="958" y="848"/>
                  </a:lnTo>
                  <a:lnTo>
                    <a:pt x="958" y="846"/>
                  </a:lnTo>
                  <a:lnTo>
                    <a:pt x="958" y="844"/>
                  </a:lnTo>
                  <a:lnTo>
                    <a:pt x="958" y="844"/>
                  </a:lnTo>
                  <a:lnTo>
                    <a:pt x="956" y="842"/>
                  </a:lnTo>
                  <a:lnTo>
                    <a:pt x="956" y="840"/>
                  </a:lnTo>
                  <a:lnTo>
                    <a:pt x="956" y="838"/>
                  </a:lnTo>
                  <a:lnTo>
                    <a:pt x="958" y="836"/>
                  </a:lnTo>
                  <a:lnTo>
                    <a:pt x="958" y="836"/>
                  </a:lnTo>
                  <a:lnTo>
                    <a:pt x="962" y="832"/>
                  </a:lnTo>
                  <a:lnTo>
                    <a:pt x="964" y="826"/>
                  </a:lnTo>
                  <a:lnTo>
                    <a:pt x="966" y="826"/>
                  </a:lnTo>
                  <a:lnTo>
                    <a:pt x="966" y="828"/>
                  </a:lnTo>
                  <a:lnTo>
                    <a:pt x="966" y="828"/>
                  </a:lnTo>
                  <a:lnTo>
                    <a:pt x="968" y="832"/>
                  </a:lnTo>
                  <a:lnTo>
                    <a:pt x="970" y="832"/>
                  </a:lnTo>
                  <a:lnTo>
                    <a:pt x="970" y="832"/>
                  </a:lnTo>
                  <a:lnTo>
                    <a:pt x="970" y="832"/>
                  </a:lnTo>
                  <a:lnTo>
                    <a:pt x="970" y="828"/>
                  </a:lnTo>
                  <a:lnTo>
                    <a:pt x="970" y="826"/>
                  </a:lnTo>
                  <a:lnTo>
                    <a:pt x="966" y="820"/>
                  </a:lnTo>
                  <a:lnTo>
                    <a:pt x="966" y="820"/>
                  </a:lnTo>
                  <a:lnTo>
                    <a:pt x="960" y="810"/>
                  </a:lnTo>
                  <a:lnTo>
                    <a:pt x="958" y="803"/>
                  </a:lnTo>
                  <a:lnTo>
                    <a:pt x="956" y="797"/>
                  </a:lnTo>
                  <a:lnTo>
                    <a:pt x="956" y="797"/>
                  </a:lnTo>
                  <a:lnTo>
                    <a:pt x="956" y="795"/>
                  </a:lnTo>
                  <a:lnTo>
                    <a:pt x="954" y="793"/>
                  </a:lnTo>
                  <a:lnTo>
                    <a:pt x="950" y="789"/>
                  </a:lnTo>
                  <a:lnTo>
                    <a:pt x="950" y="789"/>
                  </a:lnTo>
                  <a:lnTo>
                    <a:pt x="946" y="779"/>
                  </a:lnTo>
                  <a:lnTo>
                    <a:pt x="946" y="777"/>
                  </a:lnTo>
                  <a:lnTo>
                    <a:pt x="942" y="775"/>
                  </a:lnTo>
                  <a:lnTo>
                    <a:pt x="942" y="775"/>
                  </a:lnTo>
                  <a:lnTo>
                    <a:pt x="936" y="773"/>
                  </a:lnTo>
                  <a:lnTo>
                    <a:pt x="932" y="767"/>
                  </a:lnTo>
                  <a:lnTo>
                    <a:pt x="932" y="767"/>
                  </a:lnTo>
                  <a:lnTo>
                    <a:pt x="928" y="757"/>
                  </a:lnTo>
                  <a:lnTo>
                    <a:pt x="928" y="755"/>
                  </a:lnTo>
                  <a:lnTo>
                    <a:pt x="932" y="753"/>
                  </a:lnTo>
                  <a:lnTo>
                    <a:pt x="932" y="753"/>
                  </a:lnTo>
                  <a:lnTo>
                    <a:pt x="932" y="749"/>
                  </a:lnTo>
                  <a:lnTo>
                    <a:pt x="934" y="747"/>
                  </a:lnTo>
                  <a:lnTo>
                    <a:pt x="934" y="747"/>
                  </a:lnTo>
                  <a:lnTo>
                    <a:pt x="932" y="743"/>
                  </a:lnTo>
                  <a:lnTo>
                    <a:pt x="932" y="743"/>
                  </a:lnTo>
                  <a:lnTo>
                    <a:pt x="932" y="741"/>
                  </a:lnTo>
                  <a:lnTo>
                    <a:pt x="932" y="741"/>
                  </a:lnTo>
                  <a:lnTo>
                    <a:pt x="936" y="735"/>
                  </a:lnTo>
                  <a:lnTo>
                    <a:pt x="938" y="735"/>
                  </a:lnTo>
                  <a:lnTo>
                    <a:pt x="938" y="733"/>
                  </a:lnTo>
                  <a:lnTo>
                    <a:pt x="938" y="733"/>
                  </a:lnTo>
                  <a:lnTo>
                    <a:pt x="938" y="731"/>
                  </a:lnTo>
                  <a:lnTo>
                    <a:pt x="938" y="729"/>
                  </a:lnTo>
                  <a:lnTo>
                    <a:pt x="942" y="727"/>
                  </a:lnTo>
                  <a:lnTo>
                    <a:pt x="944" y="725"/>
                  </a:lnTo>
                  <a:lnTo>
                    <a:pt x="944" y="725"/>
                  </a:lnTo>
                  <a:lnTo>
                    <a:pt x="946" y="721"/>
                  </a:lnTo>
                  <a:lnTo>
                    <a:pt x="948" y="717"/>
                  </a:lnTo>
                  <a:lnTo>
                    <a:pt x="948" y="711"/>
                  </a:lnTo>
                  <a:lnTo>
                    <a:pt x="948" y="709"/>
                  </a:lnTo>
                  <a:lnTo>
                    <a:pt x="948" y="709"/>
                  </a:lnTo>
                  <a:lnTo>
                    <a:pt x="940" y="687"/>
                  </a:lnTo>
                  <a:lnTo>
                    <a:pt x="940" y="687"/>
                  </a:lnTo>
                  <a:lnTo>
                    <a:pt x="942" y="683"/>
                  </a:lnTo>
                  <a:lnTo>
                    <a:pt x="944" y="683"/>
                  </a:lnTo>
                  <a:lnTo>
                    <a:pt x="944" y="681"/>
                  </a:lnTo>
                  <a:lnTo>
                    <a:pt x="944" y="681"/>
                  </a:lnTo>
                  <a:lnTo>
                    <a:pt x="938" y="673"/>
                  </a:lnTo>
                  <a:lnTo>
                    <a:pt x="938" y="665"/>
                  </a:lnTo>
                  <a:lnTo>
                    <a:pt x="938" y="663"/>
                  </a:lnTo>
                  <a:lnTo>
                    <a:pt x="938" y="661"/>
                  </a:lnTo>
                  <a:lnTo>
                    <a:pt x="938" y="661"/>
                  </a:lnTo>
                  <a:lnTo>
                    <a:pt x="942" y="657"/>
                  </a:lnTo>
                  <a:lnTo>
                    <a:pt x="942" y="657"/>
                  </a:lnTo>
                  <a:lnTo>
                    <a:pt x="942" y="653"/>
                  </a:lnTo>
                  <a:lnTo>
                    <a:pt x="942" y="651"/>
                  </a:lnTo>
                  <a:lnTo>
                    <a:pt x="942" y="649"/>
                  </a:lnTo>
                  <a:lnTo>
                    <a:pt x="942" y="649"/>
                  </a:lnTo>
                  <a:lnTo>
                    <a:pt x="950" y="651"/>
                  </a:lnTo>
                  <a:lnTo>
                    <a:pt x="950" y="651"/>
                  </a:lnTo>
                  <a:lnTo>
                    <a:pt x="958" y="651"/>
                  </a:lnTo>
                  <a:lnTo>
                    <a:pt x="962" y="653"/>
                  </a:lnTo>
                  <a:lnTo>
                    <a:pt x="962" y="653"/>
                  </a:lnTo>
                  <a:lnTo>
                    <a:pt x="976" y="657"/>
                  </a:lnTo>
                  <a:lnTo>
                    <a:pt x="982" y="657"/>
                  </a:lnTo>
                  <a:lnTo>
                    <a:pt x="984" y="657"/>
                  </a:lnTo>
                  <a:lnTo>
                    <a:pt x="984" y="657"/>
                  </a:lnTo>
                  <a:lnTo>
                    <a:pt x="984" y="657"/>
                  </a:lnTo>
                  <a:lnTo>
                    <a:pt x="988" y="653"/>
                  </a:lnTo>
                  <a:lnTo>
                    <a:pt x="988" y="653"/>
                  </a:lnTo>
                  <a:lnTo>
                    <a:pt x="992" y="653"/>
                  </a:lnTo>
                  <a:lnTo>
                    <a:pt x="992" y="653"/>
                  </a:lnTo>
                  <a:lnTo>
                    <a:pt x="996" y="655"/>
                  </a:lnTo>
                  <a:lnTo>
                    <a:pt x="1000" y="657"/>
                  </a:lnTo>
                  <a:lnTo>
                    <a:pt x="1002" y="655"/>
                  </a:lnTo>
                  <a:lnTo>
                    <a:pt x="1002" y="655"/>
                  </a:lnTo>
                  <a:lnTo>
                    <a:pt x="1006" y="653"/>
                  </a:lnTo>
                  <a:lnTo>
                    <a:pt x="1006" y="649"/>
                  </a:lnTo>
                  <a:lnTo>
                    <a:pt x="1006" y="649"/>
                  </a:lnTo>
                  <a:lnTo>
                    <a:pt x="1008" y="645"/>
                  </a:lnTo>
                  <a:lnTo>
                    <a:pt x="1008" y="645"/>
                  </a:lnTo>
                  <a:lnTo>
                    <a:pt x="1012" y="643"/>
                  </a:lnTo>
                  <a:lnTo>
                    <a:pt x="1014" y="643"/>
                  </a:lnTo>
                  <a:lnTo>
                    <a:pt x="1014" y="631"/>
                  </a:lnTo>
                  <a:lnTo>
                    <a:pt x="1014" y="631"/>
                  </a:lnTo>
                  <a:lnTo>
                    <a:pt x="1018" y="631"/>
                  </a:lnTo>
                  <a:lnTo>
                    <a:pt x="1026" y="631"/>
                  </a:lnTo>
                  <a:lnTo>
                    <a:pt x="1028" y="633"/>
                  </a:lnTo>
                  <a:lnTo>
                    <a:pt x="1028" y="633"/>
                  </a:lnTo>
                  <a:lnTo>
                    <a:pt x="1030" y="635"/>
                  </a:lnTo>
                  <a:lnTo>
                    <a:pt x="1030" y="635"/>
                  </a:lnTo>
                  <a:lnTo>
                    <a:pt x="1034" y="635"/>
                  </a:lnTo>
                  <a:lnTo>
                    <a:pt x="1034" y="635"/>
                  </a:lnTo>
                  <a:lnTo>
                    <a:pt x="1034" y="631"/>
                  </a:lnTo>
                  <a:lnTo>
                    <a:pt x="1034" y="629"/>
                  </a:lnTo>
                  <a:lnTo>
                    <a:pt x="1034" y="627"/>
                  </a:lnTo>
                  <a:lnTo>
                    <a:pt x="1036" y="627"/>
                  </a:lnTo>
                  <a:lnTo>
                    <a:pt x="1036" y="627"/>
                  </a:lnTo>
                  <a:lnTo>
                    <a:pt x="1038" y="631"/>
                  </a:lnTo>
                  <a:lnTo>
                    <a:pt x="1038" y="633"/>
                  </a:lnTo>
                  <a:lnTo>
                    <a:pt x="1042" y="635"/>
                  </a:lnTo>
                  <a:lnTo>
                    <a:pt x="1042" y="635"/>
                  </a:lnTo>
                  <a:lnTo>
                    <a:pt x="1046" y="635"/>
                  </a:lnTo>
                  <a:lnTo>
                    <a:pt x="1046" y="635"/>
                  </a:lnTo>
                  <a:lnTo>
                    <a:pt x="1050" y="631"/>
                  </a:lnTo>
                  <a:lnTo>
                    <a:pt x="1052" y="627"/>
                  </a:lnTo>
                  <a:lnTo>
                    <a:pt x="1052" y="619"/>
                  </a:lnTo>
                  <a:lnTo>
                    <a:pt x="1052" y="615"/>
                  </a:lnTo>
                  <a:lnTo>
                    <a:pt x="1052" y="615"/>
                  </a:lnTo>
                  <a:lnTo>
                    <a:pt x="1050" y="605"/>
                  </a:lnTo>
                  <a:lnTo>
                    <a:pt x="1050" y="605"/>
                  </a:lnTo>
                  <a:lnTo>
                    <a:pt x="1046" y="585"/>
                  </a:lnTo>
                  <a:lnTo>
                    <a:pt x="1046" y="585"/>
                  </a:lnTo>
                  <a:lnTo>
                    <a:pt x="1042" y="575"/>
                  </a:lnTo>
                  <a:lnTo>
                    <a:pt x="1040" y="572"/>
                  </a:lnTo>
                  <a:lnTo>
                    <a:pt x="1038" y="566"/>
                  </a:lnTo>
                  <a:lnTo>
                    <a:pt x="1038" y="566"/>
                  </a:lnTo>
                  <a:lnTo>
                    <a:pt x="1028" y="554"/>
                  </a:lnTo>
                  <a:lnTo>
                    <a:pt x="1014" y="548"/>
                  </a:lnTo>
                  <a:lnTo>
                    <a:pt x="1014" y="548"/>
                  </a:lnTo>
                  <a:lnTo>
                    <a:pt x="1014" y="540"/>
                  </a:lnTo>
                  <a:lnTo>
                    <a:pt x="1014" y="534"/>
                  </a:lnTo>
                  <a:lnTo>
                    <a:pt x="1010" y="526"/>
                  </a:lnTo>
                  <a:lnTo>
                    <a:pt x="1010" y="526"/>
                  </a:lnTo>
                  <a:lnTo>
                    <a:pt x="1008" y="524"/>
                  </a:lnTo>
                  <a:lnTo>
                    <a:pt x="1006" y="518"/>
                  </a:lnTo>
                  <a:lnTo>
                    <a:pt x="1004" y="514"/>
                  </a:lnTo>
                  <a:lnTo>
                    <a:pt x="1004" y="514"/>
                  </a:lnTo>
                  <a:lnTo>
                    <a:pt x="1006" y="506"/>
                  </a:lnTo>
                  <a:lnTo>
                    <a:pt x="1008" y="502"/>
                  </a:lnTo>
                  <a:lnTo>
                    <a:pt x="1008" y="498"/>
                  </a:lnTo>
                  <a:lnTo>
                    <a:pt x="1008" y="498"/>
                  </a:lnTo>
                  <a:lnTo>
                    <a:pt x="1006" y="490"/>
                  </a:lnTo>
                  <a:lnTo>
                    <a:pt x="1004" y="484"/>
                  </a:lnTo>
                  <a:lnTo>
                    <a:pt x="1004" y="484"/>
                  </a:lnTo>
                  <a:lnTo>
                    <a:pt x="1008" y="482"/>
                  </a:lnTo>
                  <a:lnTo>
                    <a:pt x="1010" y="478"/>
                  </a:lnTo>
                  <a:lnTo>
                    <a:pt x="1014" y="478"/>
                  </a:lnTo>
                  <a:lnTo>
                    <a:pt x="1014" y="478"/>
                  </a:lnTo>
                  <a:lnTo>
                    <a:pt x="1024" y="476"/>
                  </a:lnTo>
                  <a:lnTo>
                    <a:pt x="1028" y="476"/>
                  </a:lnTo>
                  <a:lnTo>
                    <a:pt x="1028" y="470"/>
                  </a:lnTo>
                  <a:lnTo>
                    <a:pt x="1032" y="466"/>
                  </a:lnTo>
                  <a:lnTo>
                    <a:pt x="1032" y="466"/>
                  </a:lnTo>
                  <a:lnTo>
                    <a:pt x="1038" y="470"/>
                  </a:lnTo>
                  <a:lnTo>
                    <a:pt x="1042" y="472"/>
                  </a:lnTo>
                  <a:lnTo>
                    <a:pt x="1046" y="474"/>
                  </a:lnTo>
                  <a:lnTo>
                    <a:pt x="1048" y="472"/>
                  </a:lnTo>
                  <a:lnTo>
                    <a:pt x="1048" y="472"/>
                  </a:lnTo>
                  <a:lnTo>
                    <a:pt x="1046" y="460"/>
                  </a:lnTo>
                  <a:lnTo>
                    <a:pt x="1042" y="454"/>
                  </a:lnTo>
                  <a:lnTo>
                    <a:pt x="1040" y="452"/>
                  </a:lnTo>
                  <a:lnTo>
                    <a:pt x="1038" y="452"/>
                  </a:lnTo>
                  <a:lnTo>
                    <a:pt x="1038" y="452"/>
                  </a:lnTo>
                  <a:lnTo>
                    <a:pt x="1036" y="452"/>
                  </a:lnTo>
                  <a:lnTo>
                    <a:pt x="1034" y="450"/>
                  </a:lnTo>
                  <a:lnTo>
                    <a:pt x="1030" y="448"/>
                  </a:lnTo>
                  <a:lnTo>
                    <a:pt x="1030" y="448"/>
                  </a:lnTo>
                  <a:lnTo>
                    <a:pt x="1030" y="440"/>
                  </a:lnTo>
                  <a:lnTo>
                    <a:pt x="1030" y="436"/>
                  </a:lnTo>
                  <a:lnTo>
                    <a:pt x="1030" y="434"/>
                  </a:lnTo>
                  <a:lnTo>
                    <a:pt x="1030" y="434"/>
                  </a:lnTo>
                  <a:lnTo>
                    <a:pt x="1034" y="434"/>
                  </a:lnTo>
                  <a:lnTo>
                    <a:pt x="1036" y="434"/>
                  </a:lnTo>
                  <a:lnTo>
                    <a:pt x="1040" y="434"/>
                  </a:lnTo>
                  <a:lnTo>
                    <a:pt x="1042" y="434"/>
                  </a:lnTo>
                  <a:lnTo>
                    <a:pt x="1042" y="434"/>
                  </a:lnTo>
                  <a:lnTo>
                    <a:pt x="1048" y="430"/>
                  </a:lnTo>
                  <a:lnTo>
                    <a:pt x="1052" y="430"/>
                  </a:lnTo>
                  <a:lnTo>
                    <a:pt x="1056" y="426"/>
                  </a:lnTo>
                  <a:lnTo>
                    <a:pt x="1056" y="426"/>
                  </a:lnTo>
                  <a:lnTo>
                    <a:pt x="1058" y="424"/>
                  </a:lnTo>
                  <a:lnTo>
                    <a:pt x="1058" y="424"/>
                  </a:lnTo>
                  <a:lnTo>
                    <a:pt x="1056" y="416"/>
                  </a:lnTo>
                  <a:lnTo>
                    <a:pt x="1058" y="412"/>
                  </a:lnTo>
                  <a:lnTo>
                    <a:pt x="1060" y="410"/>
                  </a:lnTo>
                  <a:lnTo>
                    <a:pt x="1060" y="410"/>
                  </a:lnTo>
                  <a:lnTo>
                    <a:pt x="1060" y="410"/>
                  </a:lnTo>
                  <a:lnTo>
                    <a:pt x="1068" y="410"/>
                  </a:lnTo>
                  <a:lnTo>
                    <a:pt x="1070" y="412"/>
                  </a:lnTo>
                  <a:lnTo>
                    <a:pt x="1072" y="412"/>
                  </a:lnTo>
                  <a:lnTo>
                    <a:pt x="1074" y="416"/>
                  </a:lnTo>
                  <a:lnTo>
                    <a:pt x="1074" y="416"/>
                  </a:lnTo>
                  <a:lnTo>
                    <a:pt x="1074" y="416"/>
                  </a:lnTo>
                  <a:lnTo>
                    <a:pt x="1076" y="416"/>
                  </a:lnTo>
                  <a:lnTo>
                    <a:pt x="1080" y="416"/>
                  </a:lnTo>
                  <a:lnTo>
                    <a:pt x="1082" y="416"/>
                  </a:lnTo>
                  <a:lnTo>
                    <a:pt x="1082" y="416"/>
                  </a:lnTo>
                  <a:lnTo>
                    <a:pt x="1085" y="412"/>
                  </a:lnTo>
                  <a:lnTo>
                    <a:pt x="1091" y="410"/>
                  </a:lnTo>
                  <a:lnTo>
                    <a:pt x="1091" y="410"/>
                  </a:lnTo>
                  <a:lnTo>
                    <a:pt x="1085" y="410"/>
                  </a:lnTo>
                  <a:lnTo>
                    <a:pt x="1084" y="406"/>
                  </a:lnTo>
                  <a:lnTo>
                    <a:pt x="1085" y="406"/>
                  </a:lnTo>
                  <a:lnTo>
                    <a:pt x="1085" y="406"/>
                  </a:lnTo>
                  <a:lnTo>
                    <a:pt x="1091" y="402"/>
                  </a:lnTo>
                  <a:lnTo>
                    <a:pt x="1091" y="400"/>
                  </a:lnTo>
                  <a:lnTo>
                    <a:pt x="1093" y="398"/>
                  </a:lnTo>
                  <a:lnTo>
                    <a:pt x="1093" y="398"/>
                  </a:lnTo>
                  <a:lnTo>
                    <a:pt x="1095" y="392"/>
                  </a:lnTo>
                  <a:lnTo>
                    <a:pt x="1095" y="390"/>
                  </a:lnTo>
                  <a:lnTo>
                    <a:pt x="1095" y="390"/>
                  </a:lnTo>
                  <a:lnTo>
                    <a:pt x="1101" y="382"/>
                  </a:lnTo>
                  <a:lnTo>
                    <a:pt x="1107" y="376"/>
                  </a:lnTo>
                  <a:lnTo>
                    <a:pt x="1107" y="376"/>
                  </a:lnTo>
                  <a:lnTo>
                    <a:pt x="1109" y="374"/>
                  </a:lnTo>
                  <a:lnTo>
                    <a:pt x="1113" y="370"/>
                  </a:lnTo>
                  <a:lnTo>
                    <a:pt x="1113" y="370"/>
                  </a:lnTo>
                  <a:lnTo>
                    <a:pt x="1113" y="370"/>
                  </a:lnTo>
                  <a:lnTo>
                    <a:pt x="1109" y="368"/>
                  </a:lnTo>
                  <a:lnTo>
                    <a:pt x="1109" y="366"/>
                  </a:lnTo>
                  <a:lnTo>
                    <a:pt x="1109" y="358"/>
                  </a:lnTo>
                  <a:lnTo>
                    <a:pt x="1109" y="358"/>
                  </a:lnTo>
                  <a:lnTo>
                    <a:pt x="1107" y="348"/>
                  </a:lnTo>
                  <a:lnTo>
                    <a:pt x="1105" y="346"/>
                  </a:lnTo>
                  <a:lnTo>
                    <a:pt x="1103" y="346"/>
                  </a:lnTo>
                  <a:lnTo>
                    <a:pt x="1103" y="346"/>
                  </a:lnTo>
                  <a:lnTo>
                    <a:pt x="1099" y="344"/>
                  </a:lnTo>
                  <a:lnTo>
                    <a:pt x="1095" y="344"/>
                  </a:lnTo>
                  <a:lnTo>
                    <a:pt x="1091" y="342"/>
                  </a:lnTo>
                  <a:lnTo>
                    <a:pt x="1085" y="340"/>
                  </a:lnTo>
                  <a:lnTo>
                    <a:pt x="1085" y="340"/>
                  </a:lnTo>
                  <a:lnTo>
                    <a:pt x="1084" y="337"/>
                  </a:lnTo>
                  <a:lnTo>
                    <a:pt x="1084" y="333"/>
                  </a:lnTo>
                  <a:lnTo>
                    <a:pt x="1085" y="331"/>
                  </a:lnTo>
                  <a:lnTo>
                    <a:pt x="1085" y="331"/>
                  </a:lnTo>
                  <a:lnTo>
                    <a:pt x="1087" y="329"/>
                  </a:lnTo>
                  <a:lnTo>
                    <a:pt x="1091" y="325"/>
                  </a:lnTo>
                  <a:lnTo>
                    <a:pt x="1091" y="321"/>
                  </a:lnTo>
                  <a:lnTo>
                    <a:pt x="1091" y="319"/>
                  </a:lnTo>
                  <a:lnTo>
                    <a:pt x="1091" y="319"/>
                  </a:lnTo>
                  <a:lnTo>
                    <a:pt x="1091" y="311"/>
                  </a:lnTo>
                  <a:lnTo>
                    <a:pt x="1084" y="309"/>
                  </a:lnTo>
                  <a:lnTo>
                    <a:pt x="1084" y="309"/>
                  </a:lnTo>
                  <a:lnTo>
                    <a:pt x="1084" y="303"/>
                  </a:lnTo>
                  <a:lnTo>
                    <a:pt x="1082" y="299"/>
                  </a:lnTo>
                  <a:lnTo>
                    <a:pt x="1082" y="297"/>
                  </a:lnTo>
                  <a:lnTo>
                    <a:pt x="1082" y="297"/>
                  </a:lnTo>
                  <a:lnTo>
                    <a:pt x="1074" y="295"/>
                  </a:lnTo>
                  <a:lnTo>
                    <a:pt x="1074" y="295"/>
                  </a:lnTo>
                  <a:lnTo>
                    <a:pt x="1074" y="295"/>
                  </a:lnTo>
                  <a:lnTo>
                    <a:pt x="1074" y="293"/>
                  </a:lnTo>
                  <a:lnTo>
                    <a:pt x="1074" y="293"/>
                  </a:lnTo>
                  <a:lnTo>
                    <a:pt x="1084" y="287"/>
                  </a:lnTo>
                  <a:lnTo>
                    <a:pt x="1085" y="285"/>
                  </a:lnTo>
                  <a:lnTo>
                    <a:pt x="1085" y="285"/>
                  </a:lnTo>
                  <a:lnTo>
                    <a:pt x="1085" y="277"/>
                  </a:lnTo>
                  <a:lnTo>
                    <a:pt x="1084" y="273"/>
                  </a:lnTo>
                  <a:lnTo>
                    <a:pt x="1082" y="269"/>
                  </a:lnTo>
                  <a:lnTo>
                    <a:pt x="1082" y="269"/>
                  </a:lnTo>
                  <a:lnTo>
                    <a:pt x="1078" y="271"/>
                  </a:lnTo>
                  <a:lnTo>
                    <a:pt x="1078" y="271"/>
                  </a:lnTo>
                  <a:lnTo>
                    <a:pt x="1074" y="267"/>
                  </a:lnTo>
                  <a:lnTo>
                    <a:pt x="1074" y="263"/>
                  </a:lnTo>
                  <a:lnTo>
                    <a:pt x="1074" y="261"/>
                  </a:lnTo>
                  <a:lnTo>
                    <a:pt x="1076" y="261"/>
                  </a:lnTo>
                  <a:lnTo>
                    <a:pt x="1076" y="261"/>
                  </a:lnTo>
                  <a:lnTo>
                    <a:pt x="1084" y="255"/>
                  </a:lnTo>
                  <a:lnTo>
                    <a:pt x="1085" y="255"/>
                  </a:lnTo>
                  <a:lnTo>
                    <a:pt x="1087" y="249"/>
                  </a:lnTo>
                  <a:lnTo>
                    <a:pt x="1113" y="237"/>
                  </a:lnTo>
                  <a:lnTo>
                    <a:pt x="1109" y="227"/>
                  </a:lnTo>
                  <a:lnTo>
                    <a:pt x="1121" y="225"/>
                  </a:lnTo>
                  <a:lnTo>
                    <a:pt x="1137" y="223"/>
                  </a:lnTo>
                  <a:lnTo>
                    <a:pt x="1133" y="209"/>
                  </a:lnTo>
                  <a:lnTo>
                    <a:pt x="1139" y="199"/>
                  </a:lnTo>
                  <a:lnTo>
                    <a:pt x="1143" y="197"/>
                  </a:lnTo>
                  <a:lnTo>
                    <a:pt x="1143" y="197"/>
                  </a:lnTo>
                  <a:lnTo>
                    <a:pt x="1139" y="191"/>
                  </a:lnTo>
                  <a:lnTo>
                    <a:pt x="1131" y="187"/>
                  </a:lnTo>
                  <a:lnTo>
                    <a:pt x="1131" y="187"/>
                  </a:lnTo>
                  <a:lnTo>
                    <a:pt x="1127" y="185"/>
                  </a:lnTo>
                  <a:lnTo>
                    <a:pt x="1127" y="185"/>
                  </a:lnTo>
                  <a:lnTo>
                    <a:pt x="1125" y="183"/>
                  </a:lnTo>
                  <a:lnTo>
                    <a:pt x="1117" y="161"/>
                  </a:lnTo>
                  <a:lnTo>
                    <a:pt x="1107" y="155"/>
                  </a:lnTo>
                  <a:lnTo>
                    <a:pt x="1093" y="157"/>
                  </a:lnTo>
                  <a:lnTo>
                    <a:pt x="1082" y="161"/>
                  </a:lnTo>
                  <a:lnTo>
                    <a:pt x="1074" y="157"/>
                  </a:lnTo>
                  <a:lnTo>
                    <a:pt x="1064" y="155"/>
                  </a:lnTo>
                  <a:lnTo>
                    <a:pt x="1060" y="143"/>
                  </a:lnTo>
                  <a:lnTo>
                    <a:pt x="1070" y="135"/>
                  </a:lnTo>
                  <a:lnTo>
                    <a:pt x="1064" y="135"/>
                  </a:lnTo>
                  <a:lnTo>
                    <a:pt x="1060" y="137"/>
                  </a:lnTo>
                  <a:lnTo>
                    <a:pt x="1058" y="133"/>
                  </a:lnTo>
                  <a:lnTo>
                    <a:pt x="1052" y="117"/>
                  </a:lnTo>
                  <a:lnTo>
                    <a:pt x="1058" y="111"/>
                  </a:lnTo>
                  <a:lnTo>
                    <a:pt x="1060" y="102"/>
                  </a:lnTo>
                  <a:lnTo>
                    <a:pt x="1072" y="86"/>
                  </a:lnTo>
                  <a:lnTo>
                    <a:pt x="1072" y="86"/>
                  </a:lnTo>
                  <a:lnTo>
                    <a:pt x="1078" y="82"/>
                  </a:lnTo>
                  <a:lnTo>
                    <a:pt x="1080" y="74"/>
                  </a:lnTo>
                  <a:lnTo>
                    <a:pt x="1082" y="72"/>
                  </a:lnTo>
                  <a:lnTo>
                    <a:pt x="1082" y="72"/>
                  </a:lnTo>
                  <a:lnTo>
                    <a:pt x="1082" y="60"/>
                  </a:lnTo>
                  <a:lnTo>
                    <a:pt x="1099" y="44"/>
                  </a:lnTo>
                  <a:lnTo>
                    <a:pt x="1084" y="32"/>
                  </a:lnTo>
                  <a:lnTo>
                    <a:pt x="1078" y="26"/>
                  </a:lnTo>
                  <a:lnTo>
                    <a:pt x="1078" y="20"/>
                  </a:lnTo>
                  <a:lnTo>
                    <a:pt x="1070" y="20"/>
                  </a:lnTo>
                  <a:lnTo>
                    <a:pt x="1062" y="18"/>
                  </a:lnTo>
                  <a:lnTo>
                    <a:pt x="1062" y="18"/>
                  </a:lnTo>
                  <a:lnTo>
                    <a:pt x="1062" y="14"/>
                  </a:lnTo>
                  <a:lnTo>
                    <a:pt x="1062" y="10"/>
                  </a:lnTo>
                  <a:lnTo>
                    <a:pt x="1062" y="10"/>
                  </a:lnTo>
                  <a:lnTo>
                    <a:pt x="1052" y="6"/>
                  </a:lnTo>
                  <a:lnTo>
                    <a:pt x="1042" y="6"/>
                  </a:lnTo>
                  <a:lnTo>
                    <a:pt x="1034" y="0"/>
                  </a:lnTo>
                  <a:lnTo>
                    <a:pt x="1034" y="0"/>
                  </a:lnTo>
                  <a:lnTo>
                    <a:pt x="1030" y="6"/>
                  </a:lnTo>
                  <a:lnTo>
                    <a:pt x="1030" y="6"/>
                  </a:lnTo>
                  <a:lnTo>
                    <a:pt x="1024" y="16"/>
                  </a:lnTo>
                  <a:lnTo>
                    <a:pt x="1010" y="24"/>
                  </a:lnTo>
                  <a:lnTo>
                    <a:pt x="1002" y="34"/>
                  </a:lnTo>
                  <a:lnTo>
                    <a:pt x="996" y="36"/>
                  </a:lnTo>
                  <a:lnTo>
                    <a:pt x="992" y="36"/>
                  </a:lnTo>
                  <a:lnTo>
                    <a:pt x="992" y="36"/>
                  </a:lnTo>
                  <a:lnTo>
                    <a:pt x="988" y="36"/>
                  </a:lnTo>
                  <a:lnTo>
                    <a:pt x="986" y="34"/>
                  </a:lnTo>
                  <a:lnTo>
                    <a:pt x="984" y="26"/>
                  </a:lnTo>
                  <a:lnTo>
                    <a:pt x="978" y="18"/>
                  </a:lnTo>
                  <a:lnTo>
                    <a:pt x="976" y="14"/>
                  </a:lnTo>
                  <a:lnTo>
                    <a:pt x="970" y="12"/>
                  </a:lnTo>
                  <a:lnTo>
                    <a:pt x="970" y="12"/>
                  </a:lnTo>
                  <a:lnTo>
                    <a:pt x="962" y="6"/>
                  </a:lnTo>
                  <a:lnTo>
                    <a:pt x="954" y="6"/>
                  </a:lnTo>
                  <a:lnTo>
                    <a:pt x="946" y="6"/>
                  </a:lnTo>
                  <a:lnTo>
                    <a:pt x="940" y="6"/>
                  </a:lnTo>
                  <a:lnTo>
                    <a:pt x="934" y="10"/>
                  </a:lnTo>
                  <a:lnTo>
                    <a:pt x="924" y="12"/>
                  </a:lnTo>
                  <a:lnTo>
                    <a:pt x="924" y="12"/>
                  </a:lnTo>
                  <a:lnTo>
                    <a:pt x="916" y="16"/>
                  </a:lnTo>
                  <a:lnTo>
                    <a:pt x="908" y="22"/>
                  </a:lnTo>
                  <a:lnTo>
                    <a:pt x="890" y="36"/>
                  </a:lnTo>
                  <a:lnTo>
                    <a:pt x="882" y="44"/>
                  </a:lnTo>
                  <a:lnTo>
                    <a:pt x="876" y="50"/>
                  </a:lnTo>
                  <a:lnTo>
                    <a:pt x="870" y="60"/>
                  </a:lnTo>
                  <a:lnTo>
                    <a:pt x="866" y="70"/>
                  </a:lnTo>
                  <a:lnTo>
                    <a:pt x="866" y="70"/>
                  </a:lnTo>
                  <a:lnTo>
                    <a:pt x="855" y="86"/>
                  </a:lnTo>
                  <a:lnTo>
                    <a:pt x="847" y="98"/>
                  </a:lnTo>
                  <a:lnTo>
                    <a:pt x="841" y="104"/>
                  </a:lnTo>
                  <a:lnTo>
                    <a:pt x="835" y="106"/>
                  </a:lnTo>
                  <a:lnTo>
                    <a:pt x="831" y="107"/>
                  </a:lnTo>
                  <a:lnTo>
                    <a:pt x="827" y="106"/>
                  </a:lnTo>
                  <a:lnTo>
                    <a:pt x="827" y="106"/>
                  </a:lnTo>
                  <a:lnTo>
                    <a:pt x="811" y="102"/>
                  </a:lnTo>
                  <a:lnTo>
                    <a:pt x="797" y="98"/>
                  </a:lnTo>
                  <a:lnTo>
                    <a:pt x="797" y="98"/>
                  </a:lnTo>
                  <a:lnTo>
                    <a:pt x="787" y="102"/>
                  </a:lnTo>
                  <a:lnTo>
                    <a:pt x="777" y="104"/>
                  </a:lnTo>
                  <a:lnTo>
                    <a:pt x="771" y="107"/>
                  </a:lnTo>
                  <a:lnTo>
                    <a:pt x="763" y="107"/>
                  </a:lnTo>
                  <a:lnTo>
                    <a:pt x="763" y="107"/>
                  </a:lnTo>
                  <a:lnTo>
                    <a:pt x="761" y="107"/>
                  </a:lnTo>
                  <a:lnTo>
                    <a:pt x="761" y="106"/>
                  </a:lnTo>
                  <a:lnTo>
                    <a:pt x="763" y="102"/>
                  </a:lnTo>
                  <a:lnTo>
                    <a:pt x="763" y="94"/>
                  </a:lnTo>
                  <a:lnTo>
                    <a:pt x="763" y="92"/>
                  </a:lnTo>
                  <a:lnTo>
                    <a:pt x="763" y="90"/>
                  </a:lnTo>
                  <a:lnTo>
                    <a:pt x="763" y="90"/>
                  </a:lnTo>
                  <a:lnTo>
                    <a:pt x="755" y="88"/>
                  </a:lnTo>
                  <a:lnTo>
                    <a:pt x="745" y="86"/>
                  </a:lnTo>
                  <a:lnTo>
                    <a:pt x="737" y="86"/>
                  </a:lnTo>
                  <a:lnTo>
                    <a:pt x="733" y="86"/>
                  </a:lnTo>
                  <a:lnTo>
                    <a:pt x="727" y="90"/>
                  </a:lnTo>
                  <a:lnTo>
                    <a:pt x="719" y="94"/>
                  </a:lnTo>
                  <a:lnTo>
                    <a:pt x="719" y="94"/>
                  </a:lnTo>
                  <a:lnTo>
                    <a:pt x="707" y="104"/>
                  </a:lnTo>
                  <a:lnTo>
                    <a:pt x="693" y="109"/>
                  </a:lnTo>
                  <a:lnTo>
                    <a:pt x="681" y="111"/>
                  </a:lnTo>
                  <a:lnTo>
                    <a:pt x="669" y="115"/>
                  </a:lnTo>
                  <a:lnTo>
                    <a:pt x="669" y="115"/>
                  </a:lnTo>
                  <a:lnTo>
                    <a:pt x="665" y="115"/>
                  </a:lnTo>
                  <a:lnTo>
                    <a:pt x="659" y="119"/>
                  </a:lnTo>
                  <a:lnTo>
                    <a:pt x="645" y="129"/>
                  </a:lnTo>
                  <a:lnTo>
                    <a:pt x="630" y="135"/>
                  </a:lnTo>
                  <a:lnTo>
                    <a:pt x="620" y="141"/>
                  </a:lnTo>
                  <a:lnTo>
                    <a:pt x="620" y="141"/>
                  </a:lnTo>
                  <a:lnTo>
                    <a:pt x="608" y="147"/>
                  </a:lnTo>
                  <a:lnTo>
                    <a:pt x="598" y="147"/>
                  </a:lnTo>
                  <a:lnTo>
                    <a:pt x="594" y="147"/>
                  </a:lnTo>
                  <a:lnTo>
                    <a:pt x="590" y="149"/>
                  </a:lnTo>
                  <a:lnTo>
                    <a:pt x="590" y="149"/>
                  </a:lnTo>
                  <a:lnTo>
                    <a:pt x="590" y="151"/>
                  </a:lnTo>
                  <a:lnTo>
                    <a:pt x="592" y="151"/>
                  </a:lnTo>
                  <a:lnTo>
                    <a:pt x="596" y="155"/>
                  </a:lnTo>
                  <a:lnTo>
                    <a:pt x="598" y="157"/>
                  </a:lnTo>
                  <a:lnTo>
                    <a:pt x="600" y="161"/>
                  </a:lnTo>
                  <a:lnTo>
                    <a:pt x="602" y="163"/>
                  </a:lnTo>
                  <a:lnTo>
                    <a:pt x="600" y="165"/>
                  </a:lnTo>
                  <a:lnTo>
                    <a:pt x="600" y="165"/>
                  </a:lnTo>
                  <a:lnTo>
                    <a:pt x="594" y="171"/>
                  </a:lnTo>
                  <a:lnTo>
                    <a:pt x="586" y="179"/>
                  </a:lnTo>
                  <a:lnTo>
                    <a:pt x="582" y="183"/>
                  </a:lnTo>
                  <a:lnTo>
                    <a:pt x="582" y="187"/>
                  </a:lnTo>
                  <a:lnTo>
                    <a:pt x="582" y="191"/>
                  </a:lnTo>
                  <a:lnTo>
                    <a:pt x="582" y="191"/>
                  </a:lnTo>
                  <a:lnTo>
                    <a:pt x="584" y="197"/>
                  </a:lnTo>
                  <a:lnTo>
                    <a:pt x="586" y="199"/>
                  </a:lnTo>
                  <a:lnTo>
                    <a:pt x="590" y="201"/>
                  </a:lnTo>
                  <a:lnTo>
                    <a:pt x="592" y="197"/>
                  </a:lnTo>
                  <a:lnTo>
                    <a:pt x="592" y="197"/>
                  </a:lnTo>
                  <a:lnTo>
                    <a:pt x="594" y="193"/>
                  </a:lnTo>
                  <a:lnTo>
                    <a:pt x="596" y="191"/>
                  </a:lnTo>
                  <a:lnTo>
                    <a:pt x="598" y="187"/>
                  </a:lnTo>
                  <a:lnTo>
                    <a:pt x="600" y="187"/>
                  </a:lnTo>
                  <a:lnTo>
                    <a:pt x="600" y="191"/>
                  </a:lnTo>
                  <a:lnTo>
                    <a:pt x="600" y="191"/>
                  </a:lnTo>
                  <a:lnTo>
                    <a:pt x="602" y="201"/>
                  </a:lnTo>
                  <a:lnTo>
                    <a:pt x="602" y="209"/>
                  </a:lnTo>
                  <a:lnTo>
                    <a:pt x="606" y="211"/>
                  </a:lnTo>
                  <a:lnTo>
                    <a:pt x="606" y="211"/>
                  </a:lnTo>
                  <a:lnTo>
                    <a:pt x="612" y="215"/>
                  </a:lnTo>
                  <a:lnTo>
                    <a:pt x="618" y="221"/>
                  </a:lnTo>
                  <a:lnTo>
                    <a:pt x="620" y="227"/>
                  </a:lnTo>
                  <a:lnTo>
                    <a:pt x="620" y="227"/>
                  </a:lnTo>
                  <a:lnTo>
                    <a:pt x="620" y="231"/>
                  </a:lnTo>
                  <a:lnTo>
                    <a:pt x="620" y="231"/>
                  </a:lnTo>
                  <a:lnTo>
                    <a:pt x="618" y="231"/>
                  </a:lnTo>
                  <a:lnTo>
                    <a:pt x="614" y="233"/>
                  </a:lnTo>
                  <a:lnTo>
                    <a:pt x="604" y="231"/>
                  </a:lnTo>
                  <a:lnTo>
                    <a:pt x="604" y="231"/>
                  </a:lnTo>
                  <a:lnTo>
                    <a:pt x="600" y="237"/>
                  </a:lnTo>
                  <a:lnTo>
                    <a:pt x="594" y="239"/>
                  </a:lnTo>
                  <a:lnTo>
                    <a:pt x="582" y="247"/>
                  </a:lnTo>
                  <a:lnTo>
                    <a:pt x="582" y="247"/>
                  </a:lnTo>
                  <a:lnTo>
                    <a:pt x="574" y="253"/>
                  </a:lnTo>
                  <a:lnTo>
                    <a:pt x="570" y="255"/>
                  </a:lnTo>
                  <a:lnTo>
                    <a:pt x="562" y="257"/>
                  </a:lnTo>
                  <a:lnTo>
                    <a:pt x="562" y="257"/>
                  </a:lnTo>
                  <a:lnTo>
                    <a:pt x="556" y="261"/>
                  </a:lnTo>
                  <a:lnTo>
                    <a:pt x="550" y="263"/>
                  </a:lnTo>
                  <a:lnTo>
                    <a:pt x="546" y="267"/>
                  </a:lnTo>
                  <a:lnTo>
                    <a:pt x="540" y="271"/>
                  </a:lnTo>
                  <a:lnTo>
                    <a:pt x="540" y="271"/>
                  </a:lnTo>
                  <a:lnTo>
                    <a:pt x="538" y="277"/>
                  </a:lnTo>
                  <a:lnTo>
                    <a:pt x="530" y="287"/>
                  </a:lnTo>
                  <a:lnTo>
                    <a:pt x="528" y="291"/>
                  </a:lnTo>
                  <a:lnTo>
                    <a:pt x="524" y="291"/>
                  </a:lnTo>
                  <a:lnTo>
                    <a:pt x="516" y="293"/>
                  </a:lnTo>
                  <a:lnTo>
                    <a:pt x="512" y="291"/>
                  </a:lnTo>
                  <a:lnTo>
                    <a:pt x="512" y="291"/>
                  </a:lnTo>
                  <a:lnTo>
                    <a:pt x="502" y="287"/>
                  </a:lnTo>
                  <a:lnTo>
                    <a:pt x="492" y="283"/>
                  </a:lnTo>
                  <a:lnTo>
                    <a:pt x="486" y="275"/>
                  </a:lnTo>
                  <a:lnTo>
                    <a:pt x="486" y="275"/>
                  </a:lnTo>
                  <a:lnTo>
                    <a:pt x="486" y="283"/>
                  </a:lnTo>
                  <a:lnTo>
                    <a:pt x="486" y="289"/>
                  </a:lnTo>
                  <a:lnTo>
                    <a:pt x="486" y="295"/>
                  </a:lnTo>
                  <a:lnTo>
                    <a:pt x="486" y="295"/>
                  </a:lnTo>
                  <a:lnTo>
                    <a:pt x="492" y="321"/>
                  </a:lnTo>
                  <a:lnTo>
                    <a:pt x="494" y="337"/>
                  </a:lnTo>
                  <a:lnTo>
                    <a:pt x="494" y="342"/>
                  </a:lnTo>
                  <a:lnTo>
                    <a:pt x="492" y="344"/>
                  </a:lnTo>
                  <a:lnTo>
                    <a:pt x="492" y="344"/>
                  </a:lnTo>
                  <a:lnTo>
                    <a:pt x="492" y="346"/>
                  </a:lnTo>
                  <a:lnTo>
                    <a:pt x="488" y="348"/>
                  </a:lnTo>
                  <a:lnTo>
                    <a:pt x="482" y="348"/>
                  </a:lnTo>
                  <a:lnTo>
                    <a:pt x="470" y="346"/>
                  </a:lnTo>
                  <a:lnTo>
                    <a:pt x="462" y="344"/>
                  </a:lnTo>
                  <a:lnTo>
                    <a:pt x="462" y="344"/>
                  </a:lnTo>
                  <a:lnTo>
                    <a:pt x="448" y="335"/>
                  </a:lnTo>
                  <a:lnTo>
                    <a:pt x="438" y="323"/>
                  </a:lnTo>
                  <a:lnTo>
                    <a:pt x="430" y="311"/>
                  </a:lnTo>
                  <a:lnTo>
                    <a:pt x="428" y="303"/>
                  </a:lnTo>
                  <a:lnTo>
                    <a:pt x="424" y="299"/>
                  </a:lnTo>
                  <a:lnTo>
                    <a:pt x="424" y="299"/>
                  </a:lnTo>
                  <a:lnTo>
                    <a:pt x="421" y="287"/>
                  </a:lnTo>
                  <a:lnTo>
                    <a:pt x="417" y="273"/>
                  </a:lnTo>
                  <a:lnTo>
                    <a:pt x="411" y="261"/>
                  </a:lnTo>
                  <a:lnTo>
                    <a:pt x="401" y="247"/>
                  </a:lnTo>
                  <a:lnTo>
                    <a:pt x="401" y="247"/>
                  </a:lnTo>
                  <a:lnTo>
                    <a:pt x="395" y="241"/>
                  </a:lnTo>
                  <a:lnTo>
                    <a:pt x="383" y="233"/>
                  </a:lnTo>
                  <a:lnTo>
                    <a:pt x="375" y="231"/>
                  </a:lnTo>
                  <a:lnTo>
                    <a:pt x="369" y="229"/>
                  </a:lnTo>
                  <a:lnTo>
                    <a:pt x="363" y="229"/>
                  </a:lnTo>
                  <a:lnTo>
                    <a:pt x="357" y="231"/>
                  </a:lnTo>
                  <a:lnTo>
                    <a:pt x="357" y="231"/>
                  </a:lnTo>
                  <a:lnTo>
                    <a:pt x="341" y="241"/>
                  </a:lnTo>
                  <a:lnTo>
                    <a:pt x="333" y="243"/>
                  </a:lnTo>
                  <a:lnTo>
                    <a:pt x="329" y="243"/>
                  </a:lnTo>
                  <a:lnTo>
                    <a:pt x="327" y="243"/>
                  </a:lnTo>
                  <a:lnTo>
                    <a:pt x="327" y="243"/>
                  </a:lnTo>
                  <a:lnTo>
                    <a:pt x="319" y="241"/>
                  </a:lnTo>
                  <a:lnTo>
                    <a:pt x="309" y="239"/>
                  </a:lnTo>
                  <a:lnTo>
                    <a:pt x="301" y="239"/>
                  </a:lnTo>
                  <a:lnTo>
                    <a:pt x="297" y="239"/>
                  </a:lnTo>
                  <a:lnTo>
                    <a:pt x="293" y="241"/>
                  </a:lnTo>
                  <a:lnTo>
                    <a:pt x="293" y="241"/>
                  </a:lnTo>
                  <a:lnTo>
                    <a:pt x="287" y="245"/>
                  </a:lnTo>
                  <a:lnTo>
                    <a:pt x="283" y="249"/>
                  </a:lnTo>
                  <a:lnTo>
                    <a:pt x="283" y="251"/>
                  </a:lnTo>
                  <a:lnTo>
                    <a:pt x="283" y="255"/>
                  </a:lnTo>
                  <a:lnTo>
                    <a:pt x="285" y="261"/>
                  </a:lnTo>
                  <a:lnTo>
                    <a:pt x="287" y="265"/>
                  </a:lnTo>
                  <a:lnTo>
                    <a:pt x="287" y="265"/>
                  </a:lnTo>
                  <a:lnTo>
                    <a:pt x="295" y="273"/>
                  </a:lnTo>
                  <a:lnTo>
                    <a:pt x="297" y="277"/>
                  </a:lnTo>
                  <a:lnTo>
                    <a:pt x="295" y="283"/>
                  </a:lnTo>
                  <a:lnTo>
                    <a:pt x="291" y="287"/>
                  </a:lnTo>
                  <a:lnTo>
                    <a:pt x="291" y="287"/>
                  </a:lnTo>
                  <a:lnTo>
                    <a:pt x="281" y="291"/>
                  </a:lnTo>
                  <a:lnTo>
                    <a:pt x="271" y="295"/>
                  </a:lnTo>
                  <a:lnTo>
                    <a:pt x="257" y="299"/>
                  </a:lnTo>
                  <a:lnTo>
                    <a:pt x="251" y="299"/>
                  </a:lnTo>
                  <a:lnTo>
                    <a:pt x="251" y="299"/>
                  </a:lnTo>
                  <a:lnTo>
                    <a:pt x="239" y="299"/>
                  </a:lnTo>
                  <a:lnTo>
                    <a:pt x="225" y="299"/>
                  </a:lnTo>
                  <a:lnTo>
                    <a:pt x="215" y="299"/>
                  </a:lnTo>
                  <a:lnTo>
                    <a:pt x="211" y="299"/>
                  </a:lnTo>
                  <a:lnTo>
                    <a:pt x="205" y="297"/>
                  </a:lnTo>
                  <a:lnTo>
                    <a:pt x="203" y="295"/>
                  </a:lnTo>
                  <a:lnTo>
                    <a:pt x="203" y="295"/>
                  </a:lnTo>
                  <a:lnTo>
                    <a:pt x="203" y="295"/>
                  </a:lnTo>
                  <a:lnTo>
                    <a:pt x="203" y="293"/>
                  </a:lnTo>
                  <a:lnTo>
                    <a:pt x="205" y="291"/>
                  </a:lnTo>
                  <a:lnTo>
                    <a:pt x="207" y="287"/>
                  </a:lnTo>
                  <a:lnTo>
                    <a:pt x="211" y="287"/>
                  </a:lnTo>
                  <a:lnTo>
                    <a:pt x="211" y="285"/>
                  </a:lnTo>
                  <a:lnTo>
                    <a:pt x="211" y="283"/>
                  </a:lnTo>
                  <a:lnTo>
                    <a:pt x="211" y="283"/>
                  </a:lnTo>
                  <a:lnTo>
                    <a:pt x="207" y="279"/>
                  </a:lnTo>
                  <a:lnTo>
                    <a:pt x="205" y="279"/>
                  </a:lnTo>
                  <a:lnTo>
                    <a:pt x="194" y="277"/>
                  </a:lnTo>
                  <a:lnTo>
                    <a:pt x="180" y="279"/>
                  </a:lnTo>
                  <a:lnTo>
                    <a:pt x="162" y="283"/>
                  </a:lnTo>
                  <a:lnTo>
                    <a:pt x="162" y="283"/>
                  </a:lnTo>
                  <a:lnTo>
                    <a:pt x="148" y="287"/>
                  </a:lnTo>
                  <a:lnTo>
                    <a:pt x="134" y="291"/>
                  </a:lnTo>
                  <a:lnTo>
                    <a:pt x="124" y="295"/>
                  </a:lnTo>
                  <a:lnTo>
                    <a:pt x="118" y="297"/>
                  </a:lnTo>
                  <a:lnTo>
                    <a:pt x="118" y="297"/>
                  </a:lnTo>
                  <a:lnTo>
                    <a:pt x="118" y="299"/>
                  </a:lnTo>
                  <a:lnTo>
                    <a:pt x="116" y="299"/>
                  </a:lnTo>
                  <a:lnTo>
                    <a:pt x="112" y="295"/>
                  </a:lnTo>
                  <a:lnTo>
                    <a:pt x="106" y="293"/>
                  </a:lnTo>
                  <a:lnTo>
                    <a:pt x="104" y="287"/>
                  </a:lnTo>
                  <a:lnTo>
                    <a:pt x="104" y="287"/>
                  </a:lnTo>
                  <a:lnTo>
                    <a:pt x="102" y="285"/>
                  </a:lnTo>
                  <a:lnTo>
                    <a:pt x="100" y="285"/>
                  </a:lnTo>
                  <a:lnTo>
                    <a:pt x="94" y="289"/>
                  </a:lnTo>
                  <a:lnTo>
                    <a:pt x="86" y="293"/>
                  </a:lnTo>
                  <a:lnTo>
                    <a:pt x="80" y="293"/>
                  </a:lnTo>
                  <a:lnTo>
                    <a:pt x="78" y="293"/>
                  </a:lnTo>
                  <a:lnTo>
                    <a:pt x="78" y="293"/>
                  </a:lnTo>
                  <a:lnTo>
                    <a:pt x="72" y="289"/>
                  </a:lnTo>
                  <a:lnTo>
                    <a:pt x="72" y="289"/>
                  </a:lnTo>
                  <a:lnTo>
                    <a:pt x="68" y="309"/>
                  </a:lnTo>
                  <a:lnTo>
                    <a:pt x="66" y="317"/>
                  </a:lnTo>
                  <a:lnTo>
                    <a:pt x="60" y="323"/>
                  </a:lnTo>
                  <a:lnTo>
                    <a:pt x="60" y="323"/>
                  </a:lnTo>
                  <a:lnTo>
                    <a:pt x="58" y="329"/>
                  </a:lnTo>
                  <a:lnTo>
                    <a:pt x="58" y="333"/>
                  </a:lnTo>
                  <a:lnTo>
                    <a:pt x="60" y="335"/>
                  </a:lnTo>
                  <a:lnTo>
                    <a:pt x="64" y="339"/>
                  </a:lnTo>
                  <a:lnTo>
                    <a:pt x="70" y="344"/>
                  </a:lnTo>
                  <a:lnTo>
                    <a:pt x="72" y="352"/>
                  </a:lnTo>
                  <a:lnTo>
                    <a:pt x="72" y="358"/>
                  </a:lnTo>
                  <a:lnTo>
                    <a:pt x="72" y="358"/>
                  </a:lnTo>
                  <a:lnTo>
                    <a:pt x="72" y="358"/>
                  </a:lnTo>
                  <a:lnTo>
                    <a:pt x="72" y="358"/>
                  </a:lnTo>
                  <a:lnTo>
                    <a:pt x="72" y="358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20" name="Freeform 79"/>
            <p:cNvSpPr>
              <a:spLocks/>
            </p:cNvSpPr>
            <p:nvPr/>
          </p:nvSpPr>
          <p:spPr bwMode="auto">
            <a:xfrm>
              <a:off x="4262" y="1056"/>
              <a:ext cx="573" cy="669"/>
            </a:xfrm>
            <a:custGeom>
              <a:avLst/>
              <a:gdLst>
                <a:gd name="T0" fmla="*/ 44 w 573"/>
                <a:gd name="T1" fmla="*/ 502 h 669"/>
                <a:gd name="T2" fmla="*/ 46 w 573"/>
                <a:gd name="T3" fmla="*/ 550 h 669"/>
                <a:gd name="T4" fmla="*/ 26 w 573"/>
                <a:gd name="T5" fmla="*/ 613 h 669"/>
                <a:gd name="T6" fmla="*/ 59 w 573"/>
                <a:gd name="T7" fmla="*/ 633 h 669"/>
                <a:gd name="T8" fmla="*/ 113 w 573"/>
                <a:gd name="T9" fmla="*/ 653 h 669"/>
                <a:gd name="T10" fmla="*/ 145 w 573"/>
                <a:gd name="T11" fmla="*/ 663 h 669"/>
                <a:gd name="T12" fmla="*/ 187 w 573"/>
                <a:gd name="T13" fmla="*/ 661 h 669"/>
                <a:gd name="T14" fmla="*/ 211 w 573"/>
                <a:gd name="T15" fmla="*/ 651 h 669"/>
                <a:gd name="T16" fmla="*/ 241 w 573"/>
                <a:gd name="T17" fmla="*/ 631 h 669"/>
                <a:gd name="T18" fmla="*/ 294 w 573"/>
                <a:gd name="T19" fmla="*/ 580 h 669"/>
                <a:gd name="T20" fmla="*/ 392 w 573"/>
                <a:gd name="T21" fmla="*/ 526 h 669"/>
                <a:gd name="T22" fmla="*/ 460 w 573"/>
                <a:gd name="T23" fmla="*/ 554 h 669"/>
                <a:gd name="T24" fmla="*/ 480 w 573"/>
                <a:gd name="T25" fmla="*/ 508 h 669"/>
                <a:gd name="T26" fmla="*/ 497 w 573"/>
                <a:gd name="T27" fmla="*/ 474 h 669"/>
                <a:gd name="T28" fmla="*/ 519 w 573"/>
                <a:gd name="T29" fmla="*/ 456 h 669"/>
                <a:gd name="T30" fmla="*/ 539 w 573"/>
                <a:gd name="T31" fmla="*/ 384 h 669"/>
                <a:gd name="T32" fmla="*/ 553 w 573"/>
                <a:gd name="T33" fmla="*/ 356 h 669"/>
                <a:gd name="T34" fmla="*/ 565 w 573"/>
                <a:gd name="T35" fmla="*/ 319 h 669"/>
                <a:gd name="T36" fmla="*/ 493 w 573"/>
                <a:gd name="T37" fmla="*/ 315 h 669"/>
                <a:gd name="T38" fmla="*/ 448 w 573"/>
                <a:gd name="T39" fmla="*/ 327 h 669"/>
                <a:gd name="T40" fmla="*/ 436 w 573"/>
                <a:gd name="T41" fmla="*/ 309 h 669"/>
                <a:gd name="T42" fmla="*/ 436 w 573"/>
                <a:gd name="T43" fmla="*/ 261 h 669"/>
                <a:gd name="T44" fmla="*/ 416 w 573"/>
                <a:gd name="T45" fmla="*/ 231 h 669"/>
                <a:gd name="T46" fmla="*/ 380 w 573"/>
                <a:gd name="T47" fmla="*/ 235 h 669"/>
                <a:gd name="T48" fmla="*/ 386 w 573"/>
                <a:gd name="T49" fmla="*/ 211 h 669"/>
                <a:gd name="T50" fmla="*/ 416 w 573"/>
                <a:gd name="T51" fmla="*/ 215 h 669"/>
                <a:gd name="T52" fmla="*/ 436 w 573"/>
                <a:gd name="T53" fmla="*/ 193 h 669"/>
                <a:gd name="T54" fmla="*/ 432 w 573"/>
                <a:gd name="T55" fmla="*/ 173 h 669"/>
                <a:gd name="T56" fmla="*/ 470 w 573"/>
                <a:gd name="T57" fmla="*/ 159 h 669"/>
                <a:gd name="T58" fmla="*/ 488 w 573"/>
                <a:gd name="T59" fmla="*/ 143 h 669"/>
                <a:gd name="T60" fmla="*/ 523 w 573"/>
                <a:gd name="T61" fmla="*/ 123 h 669"/>
                <a:gd name="T62" fmla="*/ 531 w 573"/>
                <a:gd name="T63" fmla="*/ 94 h 669"/>
                <a:gd name="T64" fmla="*/ 515 w 573"/>
                <a:gd name="T65" fmla="*/ 80 h 669"/>
                <a:gd name="T66" fmla="*/ 476 w 573"/>
                <a:gd name="T67" fmla="*/ 70 h 669"/>
                <a:gd name="T68" fmla="*/ 476 w 573"/>
                <a:gd name="T69" fmla="*/ 46 h 669"/>
                <a:gd name="T70" fmla="*/ 470 w 573"/>
                <a:gd name="T71" fmla="*/ 22 h 669"/>
                <a:gd name="T72" fmla="*/ 456 w 573"/>
                <a:gd name="T73" fmla="*/ 2 h 669"/>
                <a:gd name="T74" fmla="*/ 438 w 573"/>
                <a:gd name="T75" fmla="*/ 14 h 669"/>
                <a:gd name="T76" fmla="*/ 392 w 573"/>
                <a:gd name="T77" fmla="*/ 34 h 669"/>
                <a:gd name="T78" fmla="*/ 384 w 573"/>
                <a:gd name="T79" fmla="*/ 56 h 669"/>
                <a:gd name="T80" fmla="*/ 368 w 573"/>
                <a:gd name="T81" fmla="*/ 90 h 669"/>
                <a:gd name="T82" fmla="*/ 392 w 573"/>
                <a:gd name="T83" fmla="*/ 92 h 669"/>
                <a:gd name="T84" fmla="*/ 376 w 573"/>
                <a:gd name="T85" fmla="*/ 106 h 669"/>
                <a:gd name="T86" fmla="*/ 340 w 573"/>
                <a:gd name="T87" fmla="*/ 104 h 669"/>
                <a:gd name="T88" fmla="*/ 257 w 573"/>
                <a:gd name="T89" fmla="*/ 149 h 669"/>
                <a:gd name="T90" fmla="*/ 217 w 573"/>
                <a:gd name="T91" fmla="*/ 177 h 669"/>
                <a:gd name="T92" fmla="*/ 165 w 573"/>
                <a:gd name="T93" fmla="*/ 207 h 669"/>
                <a:gd name="T94" fmla="*/ 97 w 573"/>
                <a:gd name="T95" fmla="*/ 291 h 669"/>
                <a:gd name="T96" fmla="*/ 73 w 573"/>
                <a:gd name="T97" fmla="*/ 325 h 669"/>
                <a:gd name="T98" fmla="*/ 119 w 573"/>
                <a:gd name="T99" fmla="*/ 339 h 669"/>
                <a:gd name="T100" fmla="*/ 133 w 573"/>
                <a:gd name="T101" fmla="*/ 370 h 669"/>
                <a:gd name="T102" fmla="*/ 111 w 573"/>
                <a:gd name="T103" fmla="*/ 376 h 669"/>
                <a:gd name="T104" fmla="*/ 75 w 573"/>
                <a:gd name="T105" fmla="*/ 380 h 669"/>
                <a:gd name="T106" fmla="*/ 57 w 573"/>
                <a:gd name="T107" fmla="*/ 380 h 669"/>
                <a:gd name="T108" fmla="*/ 40 w 573"/>
                <a:gd name="T109" fmla="*/ 432 h 669"/>
                <a:gd name="T110" fmla="*/ 12 w 573"/>
                <a:gd name="T111" fmla="*/ 456 h 669"/>
                <a:gd name="T112" fmla="*/ 28 w 573"/>
                <a:gd name="T113" fmla="*/ 486 h 6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3" h="669">
                  <a:moveTo>
                    <a:pt x="28" y="486"/>
                  </a:moveTo>
                  <a:lnTo>
                    <a:pt x="28" y="486"/>
                  </a:lnTo>
                  <a:lnTo>
                    <a:pt x="28" y="490"/>
                  </a:lnTo>
                  <a:lnTo>
                    <a:pt x="28" y="494"/>
                  </a:lnTo>
                  <a:lnTo>
                    <a:pt x="36" y="496"/>
                  </a:lnTo>
                  <a:lnTo>
                    <a:pt x="44" y="496"/>
                  </a:lnTo>
                  <a:lnTo>
                    <a:pt x="44" y="502"/>
                  </a:lnTo>
                  <a:lnTo>
                    <a:pt x="50" y="508"/>
                  </a:lnTo>
                  <a:lnTo>
                    <a:pt x="65" y="520"/>
                  </a:lnTo>
                  <a:lnTo>
                    <a:pt x="48" y="536"/>
                  </a:lnTo>
                  <a:lnTo>
                    <a:pt x="48" y="536"/>
                  </a:lnTo>
                  <a:lnTo>
                    <a:pt x="48" y="548"/>
                  </a:lnTo>
                  <a:lnTo>
                    <a:pt x="48" y="548"/>
                  </a:lnTo>
                  <a:lnTo>
                    <a:pt x="46" y="550"/>
                  </a:lnTo>
                  <a:lnTo>
                    <a:pt x="44" y="558"/>
                  </a:lnTo>
                  <a:lnTo>
                    <a:pt x="38" y="562"/>
                  </a:lnTo>
                  <a:lnTo>
                    <a:pt x="26" y="578"/>
                  </a:lnTo>
                  <a:lnTo>
                    <a:pt x="24" y="587"/>
                  </a:lnTo>
                  <a:lnTo>
                    <a:pt x="18" y="593"/>
                  </a:lnTo>
                  <a:lnTo>
                    <a:pt x="24" y="609"/>
                  </a:lnTo>
                  <a:lnTo>
                    <a:pt x="26" y="613"/>
                  </a:lnTo>
                  <a:lnTo>
                    <a:pt x="30" y="611"/>
                  </a:lnTo>
                  <a:lnTo>
                    <a:pt x="36" y="611"/>
                  </a:lnTo>
                  <a:lnTo>
                    <a:pt x="26" y="619"/>
                  </a:lnTo>
                  <a:lnTo>
                    <a:pt x="30" y="631"/>
                  </a:lnTo>
                  <a:lnTo>
                    <a:pt x="40" y="633"/>
                  </a:lnTo>
                  <a:lnTo>
                    <a:pt x="48" y="637"/>
                  </a:lnTo>
                  <a:lnTo>
                    <a:pt x="59" y="633"/>
                  </a:lnTo>
                  <a:lnTo>
                    <a:pt x="73" y="631"/>
                  </a:lnTo>
                  <a:lnTo>
                    <a:pt x="83" y="637"/>
                  </a:lnTo>
                  <a:lnTo>
                    <a:pt x="91" y="659"/>
                  </a:lnTo>
                  <a:lnTo>
                    <a:pt x="91" y="659"/>
                  </a:lnTo>
                  <a:lnTo>
                    <a:pt x="93" y="661"/>
                  </a:lnTo>
                  <a:lnTo>
                    <a:pt x="113" y="653"/>
                  </a:lnTo>
                  <a:lnTo>
                    <a:pt x="113" y="653"/>
                  </a:lnTo>
                  <a:lnTo>
                    <a:pt x="119" y="661"/>
                  </a:lnTo>
                  <a:lnTo>
                    <a:pt x="127" y="667"/>
                  </a:lnTo>
                  <a:lnTo>
                    <a:pt x="129" y="669"/>
                  </a:lnTo>
                  <a:lnTo>
                    <a:pt x="131" y="669"/>
                  </a:lnTo>
                  <a:lnTo>
                    <a:pt x="131" y="669"/>
                  </a:lnTo>
                  <a:lnTo>
                    <a:pt x="137" y="669"/>
                  </a:lnTo>
                  <a:lnTo>
                    <a:pt x="145" y="663"/>
                  </a:lnTo>
                  <a:lnTo>
                    <a:pt x="157" y="663"/>
                  </a:lnTo>
                  <a:lnTo>
                    <a:pt x="163" y="661"/>
                  </a:lnTo>
                  <a:lnTo>
                    <a:pt x="163" y="661"/>
                  </a:lnTo>
                  <a:lnTo>
                    <a:pt x="173" y="663"/>
                  </a:lnTo>
                  <a:lnTo>
                    <a:pt x="179" y="663"/>
                  </a:lnTo>
                  <a:lnTo>
                    <a:pt x="183" y="663"/>
                  </a:lnTo>
                  <a:lnTo>
                    <a:pt x="187" y="661"/>
                  </a:lnTo>
                  <a:lnTo>
                    <a:pt x="187" y="659"/>
                  </a:lnTo>
                  <a:lnTo>
                    <a:pt x="187" y="659"/>
                  </a:lnTo>
                  <a:lnTo>
                    <a:pt x="195" y="655"/>
                  </a:lnTo>
                  <a:lnTo>
                    <a:pt x="201" y="651"/>
                  </a:lnTo>
                  <a:lnTo>
                    <a:pt x="205" y="651"/>
                  </a:lnTo>
                  <a:lnTo>
                    <a:pt x="211" y="651"/>
                  </a:lnTo>
                  <a:lnTo>
                    <a:pt x="211" y="651"/>
                  </a:lnTo>
                  <a:lnTo>
                    <a:pt x="221" y="651"/>
                  </a:lnTo>
                  <a:lnTo>
                    <a:pt x="227" y="647"/>
                  </a:lnTo>
                  <a:lnTo>
                    <a:pt x="231" y="645"/>
                  </a:lnTo>
                  <a:lnTo>
                    <a:pt x="235" y="639"/>
                  </a:lnTo>
                  <a:lnTo>
                    <a:pt x="235" y="639"/>
                  </a:lnTo>
                  <a:lnTo>
                    <a:pt x="237" y="637"/>
                  </a:lnTo>
                  <a:lnTo>
                    <a:pt x="241" y="631"/>
                  </a:lnTo>
                  <a:lnTo>
                    <a:pt x="237" y="627"/>
                  </a:lnTo>
                  <a:lnTo>
                    <a:pt x="241" y="625"/>
                  </a:lnTo>
                  <a:lnTo>
                    <a:pt x="247" y="613"/>
                  </a:lnTo>
                  <a:lnTo>
                    <a:pt x="257" y="599"/>
                  </a:lnTo>
                  <a:lnTo>
                    <a:pt x="271" y="591"/>
                  </a:lnTo>
                  <a:lnTo>
                    <a:pt x="269" y="587"/>
                  </a:lnTo>
                  <a:lnTo>
                    <a:pt x="294" y="580"/>
                  </a:lnTo>
                  <a:lnTo>
                    <a:pt x="310" y="562"/>
                  </a:lnTo>
                  <a:lnTo>
                    <a:pt x="308" y="550"/>
                  </a:lnTo>
                  <a:lnTo>
                    <a:pt x="326" y="548"/>
                  </a:lnTo>
                  <a:lnTo>
                    <a:pt x="342" y="536"/>
                  </a:lnTo>
                  <a:lnTo>
                    <a:pt x="364" y="532"/>
                  </a:lnTo>
                  <a:lnTo>
                    <a:pt x="376" y="526"/>
                  </a:lnTo>
                  <a:lnTo>
                    <a:pt x="392" y="526"/>
                  </a:lnTo>
                  <a:lnTo>
                    <a:pt x="396" y="548"/>
                  </a:lnTo>
                  <a:lnTo>
                    <a:pt x="404" y="564"/>
                  </a:lnTo>
                  <a:lnTo>
                    <a:pt x="422" y="558"/>
                  </a:lnTo>
                  <a:lnTo>
                    <a:pt x="422" y="558"/>
                  </a:lnTo>
                  <a:lnTo>
                    <a:pt x="454" y="556"/>
                  </a:lnTo>
                  <a:lnTo>
                    <a:pt x="454" y="556"/>
                  </a:lnTo>
                  <a:lnTo>
                    <a:pt x="460" y="554"/>
                  </a:lnTo>
                  <a:lnTo>
                    <a:pt x="464" y="554"/>
                  </a:lnTo>
                  <a:lnTo>
                    <a:pt x="470" y="548"/>
                  </a:lnTo>
                  <a:lnTo>
                    <a:pt x="480" y="526"/>
                  </a:lnTo>
                  <a:lnTo>
                    <a:pt x="480" y="526"/>
                  </a:lnTo>
                  <a:lnTo>
                    <a:pt x="480" y="518"/>
                  </a:lnTo>
                  <a:lnTo>
                    <a:pt x="480" y="512"/>
                  </a:lnTo>
                  <a:lnTo>
                    <a:pt x="480" y="508"/>
                  </a:lnTo>
                  <a:lnTo>
                    <a:pt x="484" y="504"/>
                  </a:lnTo>
                  <a:lnTo>
                    <a:pt x="484" y="504"/>
                  </a:lnTo>
                  <a:lnTo>
                    <a:pt x="493" y="492"/>
                  </a:lnTo>
                  <a:lnTo>
                    <a:pt x="495" y="486"/>
                  </a:lnTo>
                  <a:lnTo>
                    <a:pt x="497" y="480"/>
                  </a:lnTo>
                  <a:lnTo>
                    <a:pt x="497" y="480"/>
                  </a:lnTo>
                  <a:lnTo>
                    <a:pt x="497" y="474"/>
                  </a:lnTo>
                  <a:lnTo>
                    <a:pt x="499" y="466"/>
                  </a:lnTo>
                  <a:lnTo>
                    <a:pt x="501" y="458"/>
                  </a:lnTo>
                  <a:lnTo>
                    <a:pt x="503" y="456"/>
                  </a:lnTo>
                  <a:lnTo>
                    <a:pt x="505" y="454"/>
                  </a:lnTo>
                  <a:lnTo>
                    <a:pt x="505" y="454"/>
                  </a:lnTo>
                  <a:lnTo>
                    <a:pt x="513" y="454"/>
                  </a:lnTo>
                  <a:lnTo>
                    <a:pt x="519" y="456"/>
                  </a:lnTo>
                  <a:lnTo>
                    <a:pt x="523" y="456"/>
                  </a:lnTo>
                  <a:lnTo>
                    <a:pt x="543" y="456"/>
                  </a:lnTo>
                  <a:lnTo>
                    <a:pt x="543" y="456"/>
                  </a:lnTo>
                  <a:lnTo>
                    <a:pt x="543" y="412"/>
                  </a:lnTo>
                  <a:lnTo>
                    <a:pt x="543" y="412"/>
                  </a:lnTo>
                  <a:lnTo>
                    <a:pt x="541" y="400"/>
                  </a:lnTo>
                  <a:lnTo>
                    <a:pt x="539" y="384"/>
                  </a:lnTo>
                  <a:lnTo>
                    <a:pt x="539" y="378"/>
                  </a:lnTo>
                  <a:lnTo>
                    <a:pt x="539" y="374"/>
                  </a:lnTo>
                  <a:lnTo>
                    <a:pt x="541" y="370"/>
                  </a:lnTo>
                  <a:lnTo>
                    <a:pt x="543" y="362"/>
                  </a:lnTo>
                  <a:lnTo>
                    <a:pt x="543" y="362"/>
                  </a:lnTo>
                  <a:lnTo>
                    <a:pt x="549" y="358"/>
                  </a:lnTo>
                  <a:lnTo>
                    <a:pt x="553" y="356"/>
                  </a:lnTo>
                  <a:lnTo>
                    <a:pt x="565" y="350"/>
                  </a:lnTo>
                  <a:lnTo>
                    <a:pt x="573" y="345"/>
                  </a:lnTo>
                  <a:lnTo>
                    <a:pt x="573" y="341"/>
                  </a:lnTo>
                  <a:lnTo>
                    <a:pt x="573" y="337"/>
                  </a:lnTo>
                  <a:lnTo>
                    <a:pt x="573" y="337"/>
                  </a:lnTo>
                  <a:lnTo>
                    <a:pt x="569" y="327"/>
                  </a:lnTo>
                  <a:lnTo>
                    <a:pt x="565" y="319"/>
                  </a:lnTo>
                  <a:lnTo>
                    <a:pt x="555" y="317"/>
                  </a:lnTo>
                  <a:lnTo>
                    <a:pt x="555" y="317"/>
                  </a:lnTo>
                  <a:lnTo>
                    <a:pt x="549" y="315"/>
                  </a:lnTo>
                  <a:lnTo>
                    <a:pt x="539" y="315"/>
                  </a:lnTo>
                  <a:lnTo>
                    <a:pt x="519" y="317"/>
                  </a:lnTo>
                  <a:lnTo>
                    <a:pt x="519" y="317"/>
                  </a:lnTo>
                  <a:lnTo>
                    <a:pt x="493" y="315"/>
                  </a:lnTo>
                  <a:lnTo>
                    <a:pt x="468" y="311"/>
                  </a:lnTo>
                  <a:lnTo>
                    <a:pt x="468" y="311"/>
                  </a:lnTo>
                  <a:lnTo>
                    <a:pt x="462" y="311"/>
                  </a:lnTo>
                  <a:lnTo>
                    <a:pt x="462" y="315"/>
                  </a:lnTo>
                  <a:lnTo>
                    <a:pt x="456" y="319"/>
                  </a:lnTo>
                  <a:lnTo>
                    <a:pt x="452" y="325"/>
                  </a:lnTo>
                  <a:lnTo>
                    <a:pt x="448" y="327"/>
                  </a:lnTo>
                  <a:lnTo>
                    <a:pt x="442" y="327"/>
                  </a:lnTo>
                  <a:lnTo>
                    <a:pt x="442" y="327"/>
                  </a:lnTo>
                  <a:lnTo>
                    <a:pt x="438" y="325"/>
                  </a:lnTo>
                  <a:lnTo>
                    <a:pt x="434" y="325"/>
                  </a:lnTo>
                  <a:lnTo>
                    <a:pt x="430" y="319"/>
                  </a:lnTo>
                  <a:lnTo>
                    <a:pt x="430" y="319"/>
                  </a:lnTo>
                  <a:lnTo>
                    <a:pt x="436" y="309"/>
                  </a:lnTo>
                  <a:lnTo>
                    <a:pt x="440" y="299"/>
                  </a:lnTo>
                  <a:lnTo>
                    <a:pt x="442" y="291"/>
                  </a:lnTo>
                  <a:lnTo>
                    <a:pt x="442" y="291"/>
                  </a:lnTo>
                  <a:lnTo>
                    <a:pt x="442" y="285"/>
                  </a:lnTo>
                  <a:lnTo>
                    <a:pt x="440" y="279"/>
                  </a:lnTo>
                  <a:lnTo>
                    <a:pt x="436" y="261"/>
                  </a:lnTo>
                  <a:lnTo>
                    <a:pt x="436" y="261"/>
                  </a:lnTo>
                  <a:lnTo>
                    <a:pt x="432" y="251"/>
                  </a:lnTo>
                  <a:lnTo>
                    <a:pt x="426" y="247"/>
                  </a:lnTo>
                  <a:lnTo>
                    <a:pt x="422" y="243"/>
                  </a:lnTo>
                  <a:lnTo>
                    <a:pt x="416" y="237"/>
                  </a:lnTo>
                  <a:lnTo>
                    <a:pt x="416" y="237"/>
                  </a:lnTo>
                  <a:lnTo>
                    <a:pt x="416" y="235"/>
                  </a:lnTo>
                  <a:lnTo>
                    <a:pt x="416" y="231"/>
                  </a:lnTo>
                  <a:lnTo>
                    <a:pt x="408" y="231"/>
                  </a:lnTo>
                  <a:lnTo>
                    <a:pt x="408" y="231"/>
                  </a:lnTo>
                  <a:lnTo>
                    <a:pt x="396" y="235"/>
                  </a:lnTo>
                  <a:lnTo>
                    <a:pt x="390" y="237"/>
                  </a:lnTo>
                  <a:lnTo>
                    <a:pt x="386" y="237"/>
                  </a:lnTo>
                  <a:lnTo>
                    <a:pt x="382" y="235"/>
                  </a:lnTo>
                  <a:lnTo>
                    <a:pt x="380" y="235"/>
                  </a:lnTo>
                  <a:lnTo>
                    <a:pt x="380" y="229"/>
                  </a:lnTo>
                  <a:lnTo>
                    <a:pt x="380" y="229"/>
                  </a:lnTo>
                  <a:lnTo>
                    <a:pt x="380" y="217"/>
                  </a:lnTo>
                  <a:lnTo>
                    <a:pt x="382" y="213"/>
                  </a:lnTo>
                  <a:lnTo>
                    <a:pt x="382" y="211"/>
                  </a:lnTo>
                  <a:lnTo>
                    <a:pt x="382" y="211"/>
                  </a:lnTo>
                  <a:lnTo>
                    <a:pt x="386" y="211"/>
                  </a:lnTo>
                  <a:lnTo>
                    <a:pt x="386" y="211"/>
                  </a:lnTo>
                  <a:lnTo>
                    <a:pt x="392" y="213"/>
                  </a:lnTo>
                  <a:lnTo>
                    <a:pt x="396" y="213"/>
                  </a:lnTo>
                  <a:lnTo>
                    <a:pt x="404" y="213"/>
                  </a:lnTo>
                  <a:lnTo>
                    <a:pt x="404" y="213"/>
                  </a:lnTo>
                  <a:lnTo>
                    <a:pt x="410" y="215"/>
                  </a:lnTo>
                  <a:lnTo>
                    <a:pt x="416" y="215"/>
                  </a:lnTo>
                  <a:lnTo>
                    <a:pt x="418" y="217"/>
                  </a:lnTo>
                  <a:lnTo>
                    <a:pt x="422" y="215"/>
                  </a:lnTo>
                  <a:lnTo>
                    <a:pt x="422" y="213"/>
                  </a:lnTo>
                  <a:lnTo>
                    <a:pt x="422" y="213"/>
                  </a:lnTo>
                  <a:lnTo>
                    <a:pt x="432" y="201"/>
                  </a:lnTo>
                  <a:lnTo>
                    <a:pt x="434" y="195"/>
                  </a:lnTo>
                  <a:lnTo>
                    <a:pt x="436" y="193"/>
                  </a:lnTo>
                  <a:lnTo>
                    <a:pt x="434" y="191"/>
                  </a:lnTo>
                  <a:lnTo>
                    <a:pt x="434" y="191"/>
                  </a:lnTo>
                  <a:lnTo>
                    <a:pt x="434" y="185"/>
                  </a:lnTo>
                  <a:lnTo>
                    <a:pt x="430" y="183"/>
                  </a:lnTo>
                  <a:lnTo>
                    <a:pt x="430" y="179"/>
                  </a:lnTo>
                  <a:lnTo>
                    <a:pt x="432" y="173"/>
                  </a:lnTo>
                  <a:lnTo>
                    <a:pt x="432" y="173"/>
                  </a:lnTo>
                  <a:lnTo>
                    <a:pt x="438" y="167"/>
                  </a:lnTo>
                  <a:lnTo>
                    <a:pt x="446" y="159"/>
                  </a:lnTo>
                  <a:lnTo>
                    <a:pt x="454" y="155"/>
                  </a:lnTo>
                  <a:lnTo>
                    <a:pt x="458" y="155"/>
                  </a:lnTo>
                  <a:lnTo>
                    <a:pt x="460" y="155"/>
                  </a:lnTo>
                  <a:lnTo>
                    <a:pt x="460" y="155"/>
                  </a:lnTo>
                  <a:lnTo>
                    <a:pt x="470" y="159"/>
                  </a:lnTo>
                  <a:lnTo>
                    <a:pt x="474" y="159"/>
                  </a:lnTo>
                  <a:lnTo>
                    <a:pt x="478" y="157"/>
                  </a:lnTo>
                  <a:lnTo>
                    <a:pt x="478" y="157"/>
                  </a:lnTo>
                  <a:lnTo>
                    <a:pt x="480" y="155"/>
                  </a:lnTo>
                  <a:lnTo>
                    <a:pt x="484" y="153"/>
                  </a:lnTo>
                  <a:lnTo>
                    <a:pt x="484" y="147"/>
                  </a:lnTo>
                  <a:lnTo>
                    <a:pt x="488" y="143"/>
                  </a:lnTo>
                  <a:lnTo>
                    <a:pt x="488" y="139"/>
                  </a:lnTo>
                  <a:lnTo>
                    <a:pt x="491" y="139"/>
                  </a:lnTo>
                  <a:lnTo>
                    <a:pt x="491" y="139"/>
                  </a:lnTo>
                  <a:lnTo>
                    <a:pt x="503" y="133"/>
                  </a:lnTo>
                  <a:lnTo>
                    <a:pt x="519" y="127"/>
                  </a:lnTo>
                  <a:lnTo>
                    <a:pt x="519" y="127"/>
                  </a:lnTo>
                  <a:lnTo>
                    <a:pt x="523" y="123"/>
                  </a:lnTo>
                  <a:lnTo>
                    <a:pt x="527" y="119"/>
                  </a:lnTo>
                  <a:lnTo>
                    <a:pt x="533" y="114"/>
                  </a:lnTo>
                  <a:lnTo>
                    <a:pt x="533" y="110"/>
                  </a:lnTo>
                  <a:lnTo>
                    <a:pt x="533" y="106"/>
                  </a:lnTo>
                  <a:lnTo>
                    <a:pt x="533" y="106"/>
                  </a:lnTo>
                  <a:lnTo>
                    <a:pt x="531" y="102"/>
                  </a:lnTo>
                  <a:lnTo>
                    <a:pt x="531" y="94"/>
                  </a:lnTo>
                  <a:lnTo>
                    <a:pt x="529" y="90"/>
                  </a:lnTo>
                  <a:lnTo>
                    <a:pt x="529" y="88"/>
                  </a:lnTo>
                  <a:lnTo>
                    <a:pt x="529" y="88"/>
                  </a:lnTo>
                  <a:lnTo>
                    <a:pt x="529" y="88"/>
                  </a:lnTo>
                  <a:lnTo>
                    <a:pt x="525" y="86"/>
                  </a:lnTo>
                  <a:lnTo>
                    <a:pt x="521" y="86"/>
                  </a:lnTo>
                  <a:lnTo>
                    <a:pt x="515" y="80"/>
                  </a:lnTo>
                  <a:lnTo>
                    <a:pt x="515" y="80"/>
                  </a:lnTo>
                  <a:lnTo>
                    <a:pt x="507" y="78"/>
                  </a:lnTo>
                  <a:lnTo>
                    <a:pt x="501" y="76"/>
                  </a:lnTo>
                  <a:lnTo>
                    <a:pt x="488" y="74"/>
                  </a:lnTo>
                  <a:lnTo>
                    <a:pt x="488" y="74"/>
                  </a:lnTo>
                  <a:lnTo>
                    <a:pt x="484" y="74"/>
                  </a:lnTo>
                  <a:lnTo>
                    <a:pt x="476" y="70"/>
                  </a:lnTo>
                  <a:lnTo>
                    <a:pt x="472" y="68"/>
                  </a:lnTo>
                  <a:lnTo>
                    <a:pt x="470" y="66"/>
                  </a:lnTo>
                  <a:lnTo>
                    <a:pt x="470" y="64"/>
                  </a:lnTo>
                  <a:lnTo>
                    <a:pt x="470" y="64"/>
                  </a:lnTo>
                  <a:lnTo>
                    <a:pt x="472" y="60"/>
                  </a:lnTo>
                  <a:lnTo>
                    <a:pt x="474" y="54"/>
                  </a:lnTo>
                  <a:lnTo>
                    <a:pt x="476" y="46"/>
                  </a:lnTo>
                  <a:lnTo>
                    <a:pt x="478" y="42"/>
                  </a:lnTo>
                  <a:lnTo>
                    <a:pt x="478" y="42"/>
                  </a:lnTo>
                  <a:lnTo>
                    <a:pt x="476" y="32"/>
                  </a:lnTo>
                  <a:lnTo>
                    <a:pt x="476" y="28"/>
                  </a:lnTo>
                  <a:lnTo>
                    <a:pt x="474" y="24"/>
                  </a:lnTo>
                  <a:lnTo>
                    <a:pt x="474" y="24"/>
                  </a:lnTo>
                  <a:lnTo>
                    <a:pt x="470" y="22"/>
                  </a:lnTo>
                  <a:lnTo>
                    <a:pt x="462" y="20"/>
                  </a:lnTo>
                  <a:lnTo>
                    <a:pt x="458" y="18"/>
                  </a:lnTo>
                  <a:lnTo>
                    <a:pt x="458" y="16"/>
                  </a:lnTo>
                  <a:lnTo>
                    <a:pt x="456" y="14"/>
                  </a:lnTo>
                  <a:lnTo>
                    <a:pt x="456" y="14"/>
                  </a:lnTo>
                  <a:lnTo>
                    <a:pt x="458" y="6"/>
                  </a:lnTo>
                  <a:lnTo>
                    <a:pt x="456" y="2"/>
                  </a:lnTo>
                  <a:lnTo>
                    <a:pt x="454" y="0"/>
                  </a:lnTo>
                  <a:lnTo>
                    <a:pt x="454" y="0"/>
                  </a:lnTo>
                  <a:lnTo>
                    <a:pt x="452" y="0"/>
                  </a:lnTo>
                  <a:lnTo>
                    <a:pt x="448" y="2"/>
                  </a:lnTo>
                  <a:lnTo>
                    <a:pt x="442" y="8"/>
                  </a:lnTo>
                  <a:lnTo>
                    <a:pt x="438" y="14"/>
                  </a:lnTo>
                  <a:lnTo>
                    <a:pt x="438" y="14"/>
                  </a:lnTo>
                  <a:lnTo>
                    <a:pt x="424" y="24"/>
                  </a:lnTo>
                  <a:lnTo>
                    <a:pt x="416" y="34"/>
                  </a:lnTo>
                  <a:lnTo>
                    <a:pt x="412" y="34"/>
                  </a:lnTo>
                  <a:lnTo>
                    <a:pt x="408" y="34"/>
                  </a:lnTo>
                  <a:lnTo>
                    <a:pt x="408" y="34"/>
                  </a:lnTo>
                  <a:lnTo>
                    <a:pt x="396" y="34"/>
                  </a:lnTo>
                  <a:lnTo>
                    <a:pt x="392" y="34"/>
                  </a:lnTo>
                  <a:lnTo>
                    <a:pt x="390" y="38"/>
                  </a:lnTo>
                  <a:lnTo>
                    <a:pt x="390" y="38"/>
                  </a:lnTo>
                  <a:lnTo>
                    <a:pt x="388" y="40"/>
                  </a:lnTo>
                  <a:lnTo>
                    <a:pt x="386" y="44"/>
                  </a:lnTo>
                  <a:lnTo>
                    <a:pt x="386" y="48"/>
                  </a:lnTo>
                  <a:lnTo>
                    <a:pt x="384" y="56"/>
                  </a:lnTo>
                  <a:lnTo>
                    <a:pt x="384" y="56"/>
                  </a:lnTo>
                  <a:lnTo>
                    <a:pt x="380" y="60"/>
                  </a:lnTo>
                  <a:lnTo>
                    <a:pt x="376" y="68"/>
                  </a:lnTo>
                  <a:lnTo>
                    <a:pt x="376" y="68"/>
                  </a:lnTo>
                  <a:lnTo>
                    <a:pt x="370" y="82"/>
                  </a:lnTo>
                  <a:lnTo>
                    <a:pt x="368" y="86"/>
                  </a:lnTo>
                  <a:lnTo>
                    <a:pt x="368" y="90"/>
                  </a:lnTo>
                  <a:lnTo>
                    <a:pt x="368" y="90"/>
                  </a:lnTo>
                  <a:lnTo>
                    <a:pt x="370" y="90"/>
                  </a:lnTo>
                  <a:lnTo>
                    <a:pt x="372" y="90"/>
                  </a:lnTo>
                  <a:lnTo>
                    <a:pt x="380" y="90"/>
                  </a:lnTo>
                  <a:lnTo>
                    <a:pt x="388" y="90"/>
                  </a:lnTo>
                  <a:lnTo>
                    <a:pt x="390" y="92"/>
                  </a:lnTo>
                  <a:lnTo>
                    <a:pt x="392" y="92"/>
                  </a:lnTo>
                  <a:lnTo>
                    <a:pt x="392" y="92"/>
                  </a:lnTo>
                  <a:lnTo>
                    <a:pt x="400" y="102"/>
                  </a:lnTo>
                  <a:lnTo>
                    <a:pt x="400" y="104"/>
                  </a:lnTo>
                  <a:lnTo>
                    <a:pt x="400" y="104"/>
                  </a:lnTo>
                  <a:lnTo>
                    <a:pt x="400" y="106"/>
                  </a:lnTo>
                  <a:lnTo>
                    <a:pt x="396" y="106"/>
                  </a:lnTo>
                  <a:lnTo>
                    <a:pt x="396" y="106"/>
                  </a:lnTo>
                  <a:lnTo>
                    <a:pt x="376" y="106"/>
                  </a:lnTo>
                  <a:lnTo>
                    <a:pt x="360" y="104"/>
                  </a:lnTo>
                  <a:lnTo>
                    <a:pt x="360" y="104"/>
                  </a:lnTo>
                  <a:lnTo>
                    <a:pt x="356" y="104"/>
                  </a:lnTo>
                  <a:lnTo>
                    <a:pt x="350" y="102"/>
                  </a:lnTo>
                  <a:lnTo>
                    <a:pt x="346" y="102"/>
                  </a:lnTo>
                  <a:lnTo>
                    <a:pt x="346" y="102"/>
                  </a:lnTo>
                  <a:lnTo>
                    <a:pt x="340" y="104"/>
                  </a:lnTo>
                  <a:lnTo>
                    <a:pt x="336" y="104"/>
                  </a:lnTo>
                  <a:lnTo>
                    <a:pt x="318" y="114"/>
                  </a:lnTo>
                  <a:lnTo>
                    <a:pt x="318" y="114"/>
                  </a:lnTo>
                  <a:lnTo>
                    <a:pt x="288" y="133"/>
                  </a:lnTo>
                  <a:lnTo>
                    <a:pt x="271" y="145"/>
                  </a:lnTo>
                  <a:lnTo>
                    <a:pt x="265" y="147"/>
                  </a:lnTo>
                  <a:lnTo>
                    <a:pt x="257" y="149"/>
                  </a:lnTo>
                  <a:lnTo>
                    <a:pt x="257" y="149"/>
                  </a:lnTo>
                  <a:lnTo>
                    <a:pt x="253" y="151"/>
                  </a:lnTo>
                  <a:lnTo>
                    <a:pt x="247" y="155"/>
                  </a:lnTo>
                  <a:lnTo>
                    <a:pt x="235" y="165"/>
                  </a:lnTo>
                  <a:lnTo>
                    <a:pt x="227" y="171"/>
                  </a:lnTo>
                  <a:lnTo>
                    <a:pt x="223" y="175"/>
                  </a:lnTo>
                  <a:lnTo>
                    <a:pt x="217" y="177"/>
                  </a:lnTo>
                  <a:lnTo>
                    <a:pt x="217" y="177"/>
                  </a:lnTo>
                  <a:lnTo>
                    <a:pt x="207" y="179"/>
                  </a:lnTo>
                  <a:lnTo>
                    <a:pt x="197" y="183"/>
                  </a:lnTo>
                  <a:lnTo>
                    <a:pt x="187" y="191"/>
                  </a:lnTo>
                  <a:lnTo>
                    <a:pt x="179" y="197"/>
                  </a:lnTo>
                  <a:lnTo>
                    <a:pt x="179" y="197"/>
                  </a:lnTo>
                  <a:lnTo>
                    <a:pt x="165" y="207"/>
                  </a:lnTo>
                  <a:lnTo>
                    <a:pt x="153" y="219"/>
                  </a:lnTo>
                  <a:lnTo>
                    <a:pt x="141" y="229"/>
                  </a:lnTo>
                  <a:lnTo>
                    <a:pt x="135" y="235"/>
                  </a:lnTo>
                  <a:lnTo>
                    <a:pt x="131" y="241"/>
                  </a:lnTo>
                  <a:lnTo>
                    <a:pt x="131" y="241"/>
                  </a:lnTo>
                  <a:lnTo>
                    <a:pt x="111" y="273"/>
                  </a:lnTo>
                  <a:lnTo>
                    <a:pt x="97" y="291"/>
                  </a:lnTo>
                  <a:lnTo>
                    <a:pt x="93" y="297"/>
                  </a:lnTo>
                  <a:lnTo>
                    <a:pt x="87" y="305"/>
                  </a:lnTo>
                  <a:lnTo>
                    <a:pt x="87" y="305"/>
                  </a:lnTo>
                  <a:lnTo>
                    <a:pt x="81" y="309"/>
                  </a:lnTo>
                  <a:lnTo>
                    <a:pt x="75" y="315"/>
                  </a:lnTo>
                  <a:lnTo>
                    <a:pt x="73" y="321"/>
                  </a:lnTo>
                  <a:lnTo>
                    <a:pt x="73" y="325"/>
                  </a:lnTo>
                  <a:lnTo>
                    <a:pt x="73" y="325"/>
                  </a:lnTo>
                  <a:lnTo>
                    <a:pt x="79" y="329"/>
                  </a:lnTo>
                  <a:lnTo>
                    <a:pt x="83" y="333"/>
                  </a:lnTo>
                  <a:lnTo>
                    <a:pt x="89" y="337"/>
                  </a:lnTo>
                  <a:lnTo>
                    <a:pt x="89" y="337"/>
                  </a:lnTo>
                  <a:lnTo>
                    <a:pt x="109" y="337"/>
                  </a:lnTo>
                  <a:lnTo>
                    <a:pt x="119" y="339"/>
                  </a:lnTo>
                  <a:lnTo>
                    <a:pt x="125" y="341"/>
                  </a:lnTo>
                  <a:lnTo>
                    <a:pt x="129" y="343"/>
                  </a:lnTo>
                  <a:lnTo>
                    <a:pt x="129" y="343"/>
                  </a:lnTo>
                  <a:lnTo>
                    <a:pt x="131" y="350"/>
                  </a:lnTo>
                  <a:lnTo>
                    <a:pt x="133" y="360"/>
                  </a:lnTo>
                  <a:lnTo>
                    <a:pt x="133" y="364"/>
                  </a:lnTo>
                  <a:lnTo>
                    <a:pt x="133" y="370"/>
                  </a:lnTo>
                  <a:lnTo>
                    <a:pt x="131" y="374"/>
                  </a:lnTo>
                  <a:lnTo>
                    <a:pt x="129" y="376"/>
                  </a:lnTo>
                  <a:lnTo>
                    <a:pt x="129" y="376"/>
                  </a:lnTo>
                  <a:lnTo>
                    <a:pt x="125" y="376"/>
                  </a:lnTo>
                  <a:lnTo>
                    <a:pt x="119" y="376"/>
                  </a:lnTo>
                  <a:lnTo>
                    <a:pt x="115" y="374"/>
                  </a:lnTo>
                  <a:lnTo>
                    <a:pt x="111" y="376"/>
                  </a:lnTo>
                  <a:lnTo>
                    <a:pt x="111" y="376"/>
                  </a:lnTo>
                  <a:lnTo>
                    <a:pt x="93" y="382"/>
                  </a:lnTo>
                  <a:lnTo>
                    <a:pt x="85" y="384"/>
                  </a:lnTo>
                  <a:lnTo>
                    <a:pt x="83" y="384"/>
                  </a:lnTo>
                  <a:lnTo>
                    <a:pt x="79" y="384"/>
                  </a:lnTo>
                  <a:lnTo>
                    <a:pt x="79" y="384"/>
                  </a:lnTo>
                  <a:lnTo>
                    <a:pt x="75" y="380"/>
                  </a:lnTo>
                  <a:lnTo>
                    <a:pt x="69" y="378"/>
                  </a:lnTo>
                  <a:lnTo>
                    <a:pt x="63" y="378"/>
                  </a:lnTo>
                  <a:lnTo>
                    <a:pt x="63" y="378"/>
                  </a:lnTo>
                  <a:lnTo>
                    <a:pt x="61" y="378"/>
                  </a:lnTo>
                  <a:lnTo>
                    <a:pt x="59" y="378"/>
                  </a:lnTo>
                  <a:lnTo>
                    <a:pt x="57" y="380"/>
                  </a:lnTo>
                  <a:lnTo>
                    <a:pt x="57" y="380"/>
                  </a:lnTo>
                  <a:lnTo>
                    <a:pt x="61" y="390"/>
                  </a:lnTo>
                  <a:lnTo>
                    <a:pt x="61" y="400"/>
                  </a:lnTo>
                  <a:lnTo>
                    <a:pt x="57" y="406"/>
                  </a:lnTo>
                  <a:lnTo>
                    <a:pt x="57" y="406"/>
                  </a:lnTo>
                  <a:lnTo>
                    <a:pt x="50" y="420"/>
                  </a:lnTo>
                  <a:lnTo>
                    <a:pt x="40" y="432"/>
                  </a:lnTo>
                  <a:lnTo>
                    <a:pt x="40" y="432"/>
                  </a:lnTo>
                  <a:lnTo>
                    <a:pt x="34" y="440"/>
                  </a:lnTo>
                  <a:lnTo>
                    <a:pt x="28" y="442"/>
                  </a:lnTo>
                  <a:lnTo>
                    <a:pt x="28" y="442"/>
                  </a:lnTo>
                  <a:lnTo>
                    <a:pt x="26" y="444"/>
                  </a:lnTo>
                  <a:lnTo>
                    <a:pt x="22" y="446"/>
                  </a:lnTo>
                  <a:lnTo>
                    <a:pt x="12" y="456"/>
                  </a:lnTo>
                  <a:lnTo>
                    <a:pt x="12" y="456"/>
                  </a:lnTo>
                  <a:lnTo>
                    <a:pt x="8" y="462"/>
                  </a:lnTo>
                  <a:lnTo>
                    <a:pt x="4" y="466"/>
                  </a:lnTo>
                  <a:lnTo>
                    <a:pt x="0" y="476"/>
                  </a:lnTo>
                  <a:lnTo>
                    <a:pt x="8" y="482"/>
                  </a:lnTo>
                  <a:lnTo>
                    <a:pt x="8" y="482"/>
                  </a:lnTo>
                  <a:lnTo>
                    <a:pt x="18" y="482"/>
                  </a:lnTo>
                  <a:lnTo>
                    <a:pt x="28" y="486"/>
                  </a:lnTo>
                  <a:lnTo>
                    <a:pt x="28" y="486"/>
                  </a:lnTo>
                  <a:lnTo>
                    <a:pt x="28" y="486"/>
                  </a:lnTo>
                  <a:lnTo>
                    <a:pt x="28" y="486"/>
                  </a:lnTo>
                  <a:lnTo>
                    <a:pt x="28" y="486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21" name="Freeform 80"/>
            <p:cNvSpPr>
              <a:spLocks/>
            </p:cNvSpPr>
            <p:nvPr/>
          </p:nvSpPr>
          <p:spPr bwMode="auto">
            <a:xfrm>
              <a:off x="2187" y="1741"/>
              <a:ext cx="550" cy="731"/>
            </a:xfrm>
            <a:custGeom>
              <a:avLst/>
              <a:gdLst>
                <a:gd name="T0" fmla="*/ 183 w 550"/>
                <a:gd name="T1" fmla="*/ 207 h 731"/>
                <a:gd name="T2" fmla="*/ 175 w 550"/>
                <a:gd name="T3" fmla="*/ 229 h 731"/>
                <a:gd name="T4" fmla="*/ 173 w 550"/>
                <a:gd name="T5" fmla="*/ 257 h 731"/>
                <a:gd name="T6" fmla="*/ 130 w 550"/>
                <a:gd name="T7" fmla="*/ 295 h 731"/>
                <a:gd name="T8" fmla="*/ 46 w 550"/>
                <a:gd name="T9" fmla="*/ 319 h 731"/>
                <a:gd name="T10" fmla="*/ 24 w 550"/>
                <a:gd name="T11" fmla="*/ 341 h 731"/>
                <a:gd name="T12" fmla="*/ 14 w 550"/>
                <a:gd name="T13" fmla="*/ 404 h 731"/>
                <a:gd name="T14" fmla="*/ 92 w 550"/>
                <a:gd name="T15" fmla="*/ 436 h 731"/>
                <a:gd name="T16" fmla="*/ 155 w 550"/>
                <a:gd name="T17" fmla="*/ 480 h 731"/>
                <a:gd name="T18" fmla="*/ 185 w 550"/>
                <a:gd name="T19" fmla="*/ 564 h 731"/>
                <a:gd name="T20" fmla="*/ 237 w 550"/>
                <a:gd name="T21" fmla="*/ 595 h 731"/>
                <a:gd name="T22" fmla="*/ 319 w 550"/>
                <a:gd name="T23" fmla="*/ 663 h 731"/>
                <a:gd name="T24" fmla="*/ 402 w 550"/>
                <a:gd name="T25" fmla="*/ 659 h 731"/>
                <a:gd name="T26" fmla="*/ 452 w 550"/>
                <a:gd name="T27" fmla="*/ 705 h 731"/>
                <a:gd name="T28" fmla="*/ 498 w 550"/>
                <a:gd name="T29" fmla="*/ 709 h 731"/>
                <a:gd name="T30" fmla="*/ 520 w 550"/>
                <a:gd name="T31" fmla="*/ 649 h 731"/>
                <a:gd name="T32" fmla="*/ 550 w 550"/>
                <a:gd name="T33" fmla="*/ 601 h 731"/>
                <a:gd name="T34" fmla="*/ 526 w 550"/>
                <a:gd name="T35" fmla="*/ 544 h 731"/>
                <a:gd name="T36" fmla="*/ 514 w 550"/>
                <a:gd name="T37" fmla="*/ 498 h 731"/>
                <a:gd name="T38" fmla="*/ 506 w 550"/>
                <a:gd name="T39" fmla="*/ 418 h 731"/>
                <a:gd name="T40" fmla="*/ 536 w 550"/>
                <a:gd name="T41" fmla="*/ 349 h 731"/>
                <a:gd name="T42" fmla="*/ 512 w 550"/>
                <a:gd name="T43" fmla="*/ 311 h 731"/>
                <a:gd name="T44" fmla="*/ 516 w 550"/>
                <a:gd name="T45" fmla="*/ 239 h 731"/>
                <a:gd name="T46" fmla="*/ 522 w 550"/>
                <a:gd name="T47" fmla="*/ 201 h 731"/>
                <a:gd name="T48" fmla="*/ 534 w 550"/>
                <a:gd name="T49" fmla="*/ 161 h 731"/>
                <a:gd name="T50" fmla="*/ 516 w 550"/>
                <a:gd name="T51" fmla="*/ 122 h 731"/>
                <a:gd name="T52" fmla="*/ 504 w 550"/>
                <a:gd name="T53" fmla="*/ 100 h 731"/>
                <a:gd name="T54" fmla="*/ 500 w 550"/>
                <a:gd name="T55" fmla="*/ 143 h 731"/>
                <a:gd name="T56" fmla="*/ 466 w 550"/>
                <a:gd name="T57" fmla="*/ 128 h 731"/>
                <a:gd name="T58" fmla="*/ 490 w 550"/>
                <a:gd name="T59" fmla="*/ 181 h 731"/>
                <a:gd name="T60" fmla="*/ 446 w 550"/>
                <a:gd name="T61" fmla="*/ 149 h 731"/>
                <a:gd name="T62" fmla="*/ 466 w 550"/>
                <a:gd name="T63" fmla="*/ 66 h 731"/>
                <a:gd name="T64" fmla="*/ 454 w 550"/>
                <a:gd name="T65" fmla="*/ 104 h 731"/>
                <a:gd name="T66" fmla="*/ 404 w 550"/>
                <a:gd name="T67" fmla="*/ 135 h 731"/>
                <a:gd name="T68" fmla="*/ 406 w 550"/>
                <a:gd name="T69" fmla="*/ 185 h 731"/>
                <a:gd name="T70" fmla="*/ 362 w 550"/>
                <a:gd name="T71" fmla="*/ 251 h 731"/>
                <a:gd name="T72" fmla="*/ 396 w 550"/>
                <a:gd name="T73" fmla="*/ 277 h 731"/>
                <a:gd name="T74" fmla="*/ 428 w 550"/>
                <a:gd name="T75" fmla="*/ 345 h 731"/>
                <a:gd name="T76" fmla="*/ 408 w 550"/>
                <a:gd name="T77" fmla="*/ 370 h 731"/>
                <a:gd name="T78" fmla="*/ 400 w 550"/>
                <a:gd name="T79" fmla="*/ 370 h 731"/>
                <a:gd name="T80" fmla="*/ 410 w 550"/>
                <a:gd name="T81" fmla="*/ 307 h 731"/>
                <a:gd name="T82" fmla="*/ 361 w 550"/>
                <a:gd name="T83" fmla="*/ 303 h 731"/>
                <a:gd name="T84" fmla="*/ 351 w 550"/>
                <a:gd name="T85" fmla="*/ 345 h 731"/>
                <a:gd name="T86" fmla="*/ 301 w 550"/>
                <a:gd name="T87" fmla="*/ 386 h 731"/>
                <a:gd name="T88" fmla="*/ 251 w 550"/>
                <a:gd name="T89" fmla="*/ 402 h 731"/>
                <a:gd name="T90" fmla="*/ 205 w 550"/>
                <a:gd name="T91" fmla="*/ 353 h 731"/>
                <a:gd name="T92" fmla="*/ 253 w 550"/>
                <a:gd name="T93" fmla="*/ 372 h 731"/>
                <a:gd name="T94" fmla="*/ 317 w 550"/>
                <a:gd name="T95" fmla="*/ 319 h 731"/>
                <a:gd name="T96" fmla="*/ 337 w 550"/>
                <a:gd name="T97" fmla="*/ 273 h 731"/>
                <a:gd name="T98" fmla="*/ 384 w 550"/>
                <a:gd name="T99" fmla="*/ 157 h 731"/>
                <a:gd name="T100" fmla="*/ 408 w 550"/>
                <a:gd name="T101" fmla="*/ 100 h 731"/>
                <a:gd name="T102" fmla="*/ 392 w 550"/>
                <a:gd name="T103" fmla="*/ 34 h 731"/>
                <a:gd name="T104" fmla="*/ 416 w 550"/>
                <a:gd name="T105" fmla="*/ 6 h 731"/>
                <a:gd name="T106" fmla="*/ 380 w 550"/>
                <a:gd name="T107" fmla="*/ 24 h 731"/>
                <a:gd name="T108" fmla="*/ 295 w 550"/>
                <a:gd name="T109" fmla="*/ 92 h 731"/>
                <a:gd name="T110" fmla="*/ 271 w 550"/>
                <a:gd name="T111" fmla="*/ 133 h 731"/>
                <a:gd name="T112" fmla="*/ 251 w 550"/>
                <a:gd name="T113" fmla="*/ 195 h 731"/>
                <a:gd name="T114" fmla="*/ 229 w 550"/>
                <a:gd name="T115" fmla="*/ 267 h 731"/>
                <a:gd name="T116" fmla="*/ 177 w 550"/>
                <a:gd name="T117" fmla="*/ 183 h 7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50" h="731">
                  <a:moveTo>
                    <a:pt x="177" y="183"/>
                  </a:moveTo>
                  <a:lnTo>
                    <a:pt x="177" y="183"/>
                  </a:lnTo>
                  <a:lnTo>
                    <a:pt x="175" y="185"/>
                  </a:lnTo>
                  <a:lnTo>
                    <a:pt x="175" y="189"/>
                  </a:lnTo>
                  <a:lnTo>
                    <a:pt x="175" y="189"/>
                  </a:lnTo>
                  <a:lnTo>
                    <a:pt x="175" y="189"/>
                  </a:lnTo>
                  <a:lnTo>
                    <a:pt x="177" y="193"/>
                  </a:lnTo>
                  <a:lnTo>
                    <a:pt x="181" y="197"/>
                  </a:lnTo>
                  <a:lnTo>
                    <a:pt x="181" y="197"/>
                  </a:lnTo>
                  <a:lnTo>
                    <a:pt x="183" y="199"/>
                  </a:lnTo>
                  <a:lnTo>
                    <a:pt x="183" y="201"/>
                  </a:lnTo>
                  <a:lnTo>
                    <a:pt x="183" y="207"/>
                  </a:lnTo>
                  <a:lnTo>
                    <a:pt x="183" y="207"/>
                  </a:lnTo>
                  <a:lnTo>
                    <a:pt x="185" y="217"/>
                  </a:lnTo>
                  <a:lnTo>
                    <a:pt x="183" y="219"/>
                  </a:lnTo>
                  <a:lnTo>
                    <a:pt x="183" y="223"/>
                  </a:lnTo>
                  <a:lnTo>
                    <a:pt x="183" y="223"/>
                  </a:lnTo>
                  <a:lnTo>
                    <a:pt x="181" y="223"/>
                  </a:lnTo>
                  <a:lnTo>
                    <a:pt x="179" y="223"/>
                  </a:lnTo>
                  <a:lnTo>
                    <a:pt x="179" y="223"/>
                  </a:lnTo>
                  <a:lnTo>
                    <a:pt x="179" y="225"/>
                  </a:lnTo>
                  <a:lnTo>
                    <a:pt x="177" y="229"/>
                  </a:lnTo>
                  <a:lnTo>
                    <a:pt x="175" y="229"/>
                  </a:lnTo>
                  <a:lnTo>
                    <a:pt x="175" y="229"/>
                  </a:lnTo>
                  <a:lnTo>
                    <a:pt x="171" y="231"/>
                  </a:lnTo>
                  <a:lnTo>
                    <a:pt x="169" y="237"/>
                  </a:lnTo>
                  <a:lnTo>
                    <a:pt x="163" y="239"/>
                  </a:lnTo>
                  <a:lnTo>
                    <a:pt x="161" y="243"/>
                  </a:lnTo>
                  <a:lnTo>
                    <a:pt x="161" y="243"/>
                  </a:lnTo>
                  <a:lnTo>
                    <a:pt x="161" y="249"/>
                  </a:lnTo>
                  <a:lnTo>
                    <a:pt x="161" y="251"/>
                  </a:lnTo>
                  <a:lnTo>
                    <a:pt x="163" y="253"/>
                  </a:lnTo>
                  <a:lnTo>
                    <a:pt x="165" y="253"/>
                  </a:lnTo>
                  <a:lnTo>
                    <a:pt x="165" y="253"/>
                  </a:lnTo>
                  <a:lnTo>
                    <a:pt x="169" y="253"/>
                  </a:lnTo>
                  <a:lnTo>
                    <a:pt x="173" y="257"/>
                  </a:lnTo>
                  <a:lnTo>
                    <a:pt x="175" y="257"/>
                  </a:lnTo>
                  <a:lnTo>
                    <a:pt x="173" y="261"/>
                  </a:lnTo>
                  <a:lnTo>
                    <a:pt x="173" y="261"/>
                  </a:lnTo>
                  <a:lnTo>
                    <a:pt x="163" y="271"/>
                  </a:lnTo>
                  <a:lnTo>
                    <a:pt x="159" y="277"/>
                  </a:lnTo>
                  <a:lnTo>
                    <a:pt x="155" y="283"/>
                  </a:lnTo>
                  <a:lnTo>
                    <a:pt x="153" y="283"/>
                  </a:lnTo>
                  <a:lnTo>
                    <a:pt x="153" y="283"/>
                  </a:lnTo>
                  <a:lnTo>
                    <a:pt x="147" y="285"/>
                  </a:lnTo>
                  <a:lnTo>
                    <a:pt x="142" y="289"/>
                  </a:lnTo>
                  <a:lnTo>
                    <a:pt x="130" y="295"/>
                  </a:lnTo>
                  <a:lnTo>
                    <a:pt x="130" y="295"/>
                  </a:lnTo>
                  <a:lnTo>
                    <a:pt x="120" y="297"/>
                  </a:lnTo>
                  <a:lnTo>
                    <a:pt x="108" y="299"/>
                  </a:lnTo>
                  <a:lnTo>
                    <a:pt x="108" y="299"/>
                  </a:lnTo>
                  <a:lnTo>
                    <a:pt x="92" y="297"/>
                  </a:lnTo>
                  <a:lnTo>
                    <a:pt x="92" y="297"/>
                  </a:lnTo>
                  <a:lnTo>
                    <a:pt x="86" y="299"/>
                  </a:lnTo>
                  <a:lnTo>
                    <a:pt x="78" y="303"/>
                  </a:lnTo>
                  <a:lnTo>
                    <a:pt x="60" y="311"/>
                  </a:lnTo>
                  <a:lnTo>
                    <a:pt x="60" y="311"/>
                  </a:lnTo>
                  <a:lnTo>
                    <a:pt x="54" y="315"/>
                  </a:lnTo>
                  <a:lnTo>
                    <a:pt x="48" y="317"/>
                  </a:lnTo>
                  <a:lnTo>
                    <a:pt x="46" y="319"/>
                  </a:lnTo>
                  <a:lnTo>
                    <a:pt x="44" y="321"/>
                  </a:lnTo>
                  <a:lnTo>
                    <a:pt x="44" y="321"/>
                  </a:lnTo>
                  <a:lnTo>
                    <a:pt x="36" y="319"/>
                  </a:lnTo>
                  <a:lnTo>
                    <a:pt x="32" y="319"/>
                  </a:lnTo>
                  <a:lnTo>
                    <a:pt x="26" y="319"/>
                  </a:lnTo>
                  <a:lnTo>
                    <a:pt x="26" y="319"/>
                  </a:lnTo>
                  <a:lnTo>
                    <a:pt x="28" y="331"/>
                  </a:lnTo>
                  <a:lnTo>
                    <a:pt x="28" y="331"/>
                  </a:lnTo>
                  <a:lnTo>
                    <a:pt x="26" y="333"/>
                  </a:lnTo>
                  <a:lnTo>
                    <a:pt x="26" y="337"/>
                  </a:lnTo>
                  <a:lnTo>
                    <a:pt x="24" y="341"/>
                  </a:lnTo>
                  <a:lnTo>
                    <a:pt x="24" y="341"/>
                  </a:lnTo>
                  <a:lnTo>
                    <a:pt x="26" y="345"/>
                  </a:lnTo>
                  <a:lnTo>
                    <a:pt x="32" y="351"/>
                  </a:lnTo>
                  <a:lnTo>
                    <a:pt x="26" y="357"/>
                  </a:lnTo>
                  <a:lnTo>
                    <a:pt x="14" y="366"/>
                  </a:lnTo>
                  <a:lnTo>
                    <a:pt x="14" y="372"/>
                  </a:lnTo>
                  <a:lnTo>
                    <a:pt x="10" y="378"/>
                  </a:lnTo>
                  <a:lnTo>
                    <a:pt x="4" y="378"/>
                  </a:lnTo>
                  <a:lnTo>
                    <a:pt x="0" y="382"/>
                  </a:lnTo>
                  <a:lnTo>
                    <a:pt x="4" y="390"/>
                  </a:lnTo>
                  <a:lnTo>
                    <a:pt x="16" y="394"/>
                  </a:lnTo>
                  <a:lnTo>
                    <a:pt x="18" y="402"/>
                  </a:lnTo>
                  <a:lnTo>
                    <a:pt x="14" y="404"/>
                  </a:lnTo>
                  <a:lnTo>
                    <a:pt x="20" y="412"/>
                  </a:lnTo>
                  <a:lnTo>
                    <a:pt x="26" y="412"/>
                  </a:lnTo>
                  <a:lnTo>
                    <a:pt x="36" y="418"/>
                  </a:lnTo>
                  <a:lnTo>
                    <a:pt x="42" y="418"/>
                  </a:lnTo>
                  <a:lnTo>
                    <a:pt x="44" y="420"/>
                  </a:lnTo>
                  <a:lnTo>
                    <a:pt x="48" y="420"/>
                  </a:lnTo>
                  <a:lnTo>
                    <a:pt x="58" y="422"/>
                  </a:lnTo>
                  <a:lnTo>
                    <a:pt x="64" y="422"/>
                  </a:lnTo>
                  <a:lnTo>
                    <a:pt x="72" y="426"/>
                  </a:lnTo>
                  <a:lnTo>
                    <a:pt x="80" y="428"/>
                  </a:lnTo>
                  <a:lnTo>
                    <a:pt x="82" y="434"/>
                  </a:lnTo>
                  <a:lnTo>
                    <a:pt x="92" y="436"/>
                  </a:lnTo>
                  <a:lnTo>
                    <a:pt x="96" y="444"/>
                  </a:lnTo>
                  <a:lnTo>
                    <a:pt x="90" y="448"/>
                  </a:lnTo>
                  <a:lnTo>
                    <a:pt x="86" y="456"/>
                  </a:lnTo>
                  <a:lnTo>
                    <a:pt x="94" y="468"/>
                  </a:lnTo>
                  <a:lnTo>
                    <a:pt x="104" y="474"/>
                  </a:lnTo>
                  <a:lnTo>
                    <a:pt x="126" y="470"/>
                  </a:lnTo>
                  <a:lnTo>
                    <a:pt x="134" y="478"/>
                  </a:lnTo>
                  <a:lnTo>
                    <a:pt x="138" y="474"/>
                  </a:lnTo>
                  <a:lnTo>
                    <a:pt x="138" y="470"/>
                  </a:lnTo>
                  <a:lnTo>
                    <a:pt x="147" y="472"/>
                  </a:lnTo>
                  <a:lnTo>
                    <a:pt x="149" y="474"/>
                  </a:lnTo>
                  <a:lnTo>
                    <a:pt x="155" y="480"/>
                  </a:lnTo>
                  <a:lnTo>
                    <a:pt x="159" y="486"/>
                  </a:lnTo>
                  <a:lnTo>
                    <a:pt x="165" y="488"/>
                  </a:lnTo>
                  <a:lnTo>
                    <a:pt x="171" y="496"/>
                  </a:lnTo>
                  <a:lnTo>
                    <a:pt x="175" y="502"/>
                  </a:lnTo>
                  <a:lnTo>
                    <a:pt x="165" y="508"/>
                  </a:lnTo>
                  <a:lnTo>
                    <a:pt x="165" y="516"/>
                  </a:lnTo>
                  <a:lnTo>
                    <a:pt x="165" y="528"/>
                  </a:lnTo>
                  <a:lnTo>
                    <a:pt x="177" y="534"/>
                  </a:lnTo>
                  <a:lnTo>
                    <a:pt x="177" y="540"/>
                  </a:lnTo>
                  <a:lnTo>
                    <a:pt x="171" y="566"/>
                  </a:lnTo>
                  <a:lnTo>
                    <a:pt x="175" y="564"/>
                  </a:lnTo>
                  <a:lnTo>
                    <a:pt x="185" y="564"/>
                  </a:lnTo>
                  <a:lnTo>
                    <a:pt x="199" y="570"/>
                  </a:lnTo>
                  <a:lnTo>
                    <a:pt x="205" y="566"/>
                  </a:lnTo>
                  <a:lnTo>
                    <a:pt x="209" y="566"/>
                  </a:lnTo>
                  <a:lnTo>
                    <a:pt x="209" y="566"/>
                  </a:lnTo>
                  <a:lnTo>
                    <a:pt x="211" y="582"/>
                  </a:lnTo>
                  <a:lnTo>
                    <a:pt x="211" y="582"/>
                  </a:lnTo>
                  <a:lnTo>
                    <a:pt x="215" y="584"/>
                  </a:lnTo>
                  <a:lnTo>
                    <a:pt x="219" y="586"/>
                  </a:lnTo>
                  <a:lnTo>
                    <a:pt x="227" y="588"/>
                  </a:lnTo>
                  <a:lnTo>
                    <a:pt x="227" y="588"/>
                  </a:lnTo>
                  <a:lnTo>
                    <a:pt x="231" y="592"/>
                  </a:lnTo>
                  <a:lnTo>
                    <a:pt x="237" y="595"/>
                  </a:lnTo>
                  <a:lnTo>
                    <a:pt x="239" y="603"/>
                  </a:lnTo>
                  <a:lnTo>
                    <a:pt x="239" y="603"/>
                  </a:lnTo>
                  <a:lnTo>
                    <a:pt x="251" y="607"/>
                  </a:lnTo>
                  <a:lnTo>
                    <a:pt x="251" y="607"/>
                  </a:lnTo>
                  <a:lnTo>
                    <a:pt x="267" y="609"/>
                  </a:lnTo>
                  <a:lnTo>
                    <a:pt x="279" y="617"/>
                  </a:lnTo>
                  <a:lnTo>
                    <a:pt x="279" y="625"/>
                  </a:lnTo>
                  <a:lnTo>
                    <a:pt x="291" y="623"/>
                  </a:lnTo>
                  <a:lnTo>
                    <a:pt x="299" y="629"/>
                  </a:lnTo>
                  <a:lnTo>
                    <a:pt x="299" y="639"/>
                  </a:lnTo>
                  <a:lnTo>
                    <a:pt x="315" y="663"/>
                  </a:lnTo>
                  <a:lnTo>
                    <a:pt x="319" y="663"/>
                  </a:lnTo>
                  <a:lnTo>
                    <a:pt x="339" y="663"/>
                  </a:lnTo>
                  <a:lnTo>
                    <a:pt x="345" y="671"/>
                  </a:lnTo>
                  <a:lnTo>
                    <a:pt x="362" y="675"/>
                  </a:lnTo>
                  <a:lnTo>
                    <a:pt x="366" y="665"/>
                  </a:lnTo>
                  <a:lnTo>
                    <a:pt x="374" y="661"/>
                  </a:lnTo>
                  <a:lnTo>
                    <a:pt x="388" y="657"/>
                  </a:lnTo>
                  <a:lnTo>
                    <a:pt x="390" y="653"/>
                  </a:lnTo>
                  <a:lnTo>
                    <a:pt x="390" y="653"/>
                  </a:lnTo>
                  <a:lnTo>
                    <a:pt x="400" y="651"/>
                  </a:lnTo>
                  <a:lnTo>
                    <a:pt x="400" y="651"/>
                  </a:lnTo>
                  <a:lnTo>
                    <a:pt x="402" y="655"/>
                  </a:lnTo>
                  <a:lnTo>
                    <a:pt x="402" y="659"/>
                  </a:lnTo>
                  <a:lnTo>
                    <a:pt x="406" y="669"/>
                  </a:lnTo>
                  <a:lnTo>
                    <a:pt x="404" y="673"/>
                  </a:lnTo>
                  <a:lnTo>
                    <a:pt x="412" y="679"/>
                  </a:lnTo>
                  <a:lnTo>
                    <a:pt x="414" y="681"/>
                  </a:lnTo>
                  <a:lnTo>
                    <a:pt x="426" y="681"/>
                  </a:lnTo>
                  <a:lnTo>
                    <a:pt x="430" y="681"/>
                  </a:lnTo>
                  <a:lnTo>
                    <a:pt x="434" y="681"/>
                  </a:lnTo>
                  <a:lnTo>
                    <a:pt x="442" y="685"/>
                  </a:lnTo>
                  <a:lnTo>
                    <a:pt x="442" y="693"/>
                  </a:lnTo>
                  <a:lnTo>
                    <a:pt x="448" y="699"/>
                  </a:lnTo>
                  <a:lnTo>
                    <a:pt x="446" y="703"/>
                  </a:lnTo>
                  <a:lnTo>
                    <a:pt x="452" y="705"/>
                  </a:lnTo>
                  <a:lnTo>
                    <a:pt x="456" y="705"/>
                  </a:lnTo>
                  <a:lnTo>
                    <a:pt x="468" y="703"/>
                  </a:lnTo>
                  <a:lnTo>
                    <a:pt x="472" y="717"/>
                  </a:lnTo>
                  <a:lnTo>
                    <a:pt x="476" y="721"/>
                  </a:lnTo>
                  <a:lnTo>
                    <a:pt x="476" y="725"/>
                  </a:lnTo>
                  <a:lnTo>
                    <a:pt x="480" y="731"/>
                  </a:lnTo>
                  <a:lnTo>
                    <a:pt x="480" y="731"/>
                  </a:lnTo>
                  <a:lnTo>
                    <a:pt x="482" y="727"/>
                  </a:lnTo>
                  <a:lnTo>
                    <a:pt x="482" y="727"/>
                  </a:lnTo>
                  <a:lnTo>
                    <a:pt x="488" y="721"/>
                  </a:lnTo>
                  <a:lnTo>
                    <a:pt x="490" y="717"/>
                  </a:lnTo>
                  <a:lnTo>
                    <a:pt x="498" y="709"/>
                  </a:lnTo>
                  <a:lnTo>
                    <a:pt x="498" y="709"/>
                  </a:lnTo>
                  <a:lnTo>
                    <a:pt x="512" y="699"/>
                  </a:lnTo>
                  <a:lnTo>
                    <a:pt x="520" y="685"/>
                  </a:lnTo>
                  <a:lnTo>
                    <a:pt x="520" y="685"/>
                  </a:lnTo>
                  <a:lnTo>
                    <a:pt x="522" y="681"/>
                  </a:lnTo>
                  <a:lnTo>
                    <a:pt x="522" y="677"/>
                  </a:lnTo>
                  <a:lnTo>
                    <a:pt x="522" y="671"/>
                  </a:lnTo>
                  <a:lnTo>
                    <a:pt x="520" y="665"/>
                  </a:lnTo>
                  <a:lnTo>
                    <a:pt x="520" y="665"/>
                  </a:lnTo>
                  <a:lnTo>
                    <a:pt x="516" y="657"/>
                  </a:lnTo>
                  <a:lnTo>
                    <a:pt x="516" y="657"/>
                  </a:lnTo>
                  <a:lnTo>
                    <a:pt x="520" y="649"/>
                  </a:lnTo>
                  <a:lnTo>
                    <a:pt x="526" y="641"/>
                  </a:lnTo>
                  <a:lnTo>
                    <a:pt x="534" y="635"/>
                  </a:lnTo>
                  <a:lnTo>
                    <a:pt x="534" y="635"/>
                  </a:lnTo>
                  <a:lnTo>
                    <a:pt x="536" y="631"/>
                  </a:lnTo>
                  <a:lnTo>
                    <a:pt x="540" y="631"/>
                  </a:lnTo>
                  <a:lnTo>
                    <a:pt x="540" y="629"/>
                  </a:lnTo>
                  <a:lnTo>
                    <a:pt x="542" y="625"/>
                  </a:lnTo>
                  <a:lnTo>
                    <a:pt x="542" y="625"/>
                  </a:lnTo>
                  <a:lnTo>
                    <a:pt x="546" y="611"/>
                  </a:lnTo>
                  <a:lnTo>
                    <a:pt x="548" y="605"/>
                  </a:lnTo>
                  <a:lnTo>
                    <a:pt x="550" y="601"/>
                  </a:lnTo>
                  <a:lnTo>
                    <a:pt x="550" y="601"/>
                  </a:lnTo>
                  <a:lnTo>
                    <a:pt x="548" y="590"/>
                  </a:lnTo>
                  <a:lnTo>
                    <a:pt x="546" y="588"/>
                  </a:lnTo>
                  <a:lnTo>
                    <a:pt x="544" y="586"/>
                  </a:lnTo>
                  <a:lnTo>
                    <a:pt x="544" y="586"/>
                  </a:lnTo>
                  <a:lnTo>
                    <a:pt x="538" y="584"/>
                  </a:lnTo>
                  <a:lnTo>
                    <a:pt x="528" y="580"/>
                  </a:lnTo>
                  <a:lnTo>
                    <a:pt x="516" y="574"/>
                  </a:lnTo>
                  <a:lnTo>
                    <a:pt x="516" y="574"/>
                  </a:lnTo>
                  <a:lnTo>
                    <a:pt x="524" y="558"/>
                  </a:lnTo>
                  <a:lnTo>
                    <a:pt x="524" y="558"/>
                  </a:lnTo>
                  <a:lnTo>
                    <a:pt x="524" y="550"/>
                  </a:lnTo>
                  <a:lnTo>
                    <a:pt x="526" y="544"/>
                  </a:lnTo>
                  <a:lnTo>
                    <a:pt x="524" y="536"/>
                  </a:lnTo>
                  <a:lnTo>
                    <a:pt x="524" y="528"/>
                  </a:lnTo>
                  <a:lnTo>
                    <a:pt x="524" y="528"/>
                  </a:lnTo>
                  <a:lnTo>
                    <a:pt x="520" y="524"/>
                  </a:lnTo>
                  <a:lnTo>
                    <a:pt x="516" y="522"/>
                  </a:lnTo>
                  <a:lnTo>
                    <a:pt x="506" y="520"/>
                  </a:lnTo>
                  <a:lnTo>
                    <a:pt x="506" y="520"/>
                  </a:lnTo>
                  <a:lnTo>
                    <a:pt x="506" y="512"/>
                  </a:lnTo>
                  <a:lnTo>
                    <a:pt x="508" y="504"/>
                  </a:lnTo>
                  <a:lnTo>
                    <a:pt x="512" y="500"/>
                  </a:lnTo>
                  <a:lnTo>
                    <a:pt x="512" y="500"/>
                  </a:lnTo>
                  <a:lnTo>
                    <a:pt x="514" y="498"/>
                  </a:lnTo>
                  <a:lnTo>
                    <a:pt x="514" y="496"/>
                  </a:lnTo>
                  <a:lnTo>
                    <a:pt x="516" y="494"/>
                  </a:lnTo>
                  <a:lnTo>
                    <a:pt x="506" y="478"/>
                  </a:lnTo>
                  <a:lnTo>
                    <a:pt x="516" y="468"/>
                  </a:lnTo>
                  <a:lnTo>
                    <a:pt x="516" y="468"/>
                  </a:lnTo>
                  <a:lnTo>
                    <a:pt x="514" y="462"/>
                  </a:lnTo>
                  <a:lnTo>
                    <a:pt x="508" y="446"/>
                  </a:lnTo>
                  <a:lnTo>
                    <a:pt x="508" y="446"/>
                  </a:lnTo>
                  <a:lnTo>
                    <a:pt x="504" y="440"/>
                  </a:lnTo>
                  <a:lnTo>
                    <a:pt x="502" y="432"/>
                  </a:lnTo>
                  <a:lnTo>
                    <a:pt x="498" y="428"/>
                  </a:lnTo>
                  <a:lnTo>
                    <a:pt x="506" y="418"/>
                  </a:lnTo>
                  <a:lnTo>
                    <a:pt x="502" y="386"/>
                  </a:lnTo>
                  <a:lnTo>
                    <a:pt x="516" y="388"/>
                  </a:lnTo>
                  <a:lnTo>
                    <a:pt x="516" y="388"/>
                  </a:lnTo>
                  <a:lnTo>
                    <a:pt x="522" y="378"/>
                  </a:lnTo>
                  <a:lnTo>
                    <a:pt x="526" y="372"/>
                  </a:lnTo>
                  <a:lnTo>
                    <a:pt x="528" y="370"/>
                  </a:lnTo>
                  <a:lnTo>
                    <a:pt x="528" y="364"/>
                  </a:lnTo>
                  <a:lnTo>
                    <a:pt x="528" y="364"/>
                  </a:lnTo>
                  <a:lnTo>
                    <a:pt x="530" y="359"/>
                  </a:lnTo>
                  <a:lnTo>
                    <a:pt x="534" y="355"/>
                  </a:lnTo>
                  <a:lnTo>
                    <a:pt x="536" y="353"/>
                  </a:lnTo>
                  <a:lnTo>
                    <a:pt x="536" y="349"/>
                  </a:lnTo>
                  <a:lnTo>
                    <a:pt x="536" y="349"/>
                  </a:lnTo>
                  <a:lnTo>
                    <a:pt x="536" y="335"/>
                  </a:lnTo>
                  <a:lnTo>
                    <a:pt x="536" y="327"/>
                  </a:lnTo>
                  <a:lnTo>
                    <a:pt x="534" y="321"/>
                  </a:lnTo>
                  <a:lnTo>
                    <a:pt x="534" y="319"/>
                  </a:lnTo>
                  <a:lnTo>
                    <a:pt x="534" y="319"/>
                  </a:lnTo>
                  <a:lnTo>
                    <a:pt x="528" y="317"/>
                  </a:lnTo>
                  <a:lnTo>
                    <a:pt x="528" y="315"/>
                  </a:lnTo>
                  <a:lnTo>
                    <a:pt x="524" y="311"/>
                  </a:lnTo>
                  <a:lnTo>
                    <a:pt x="520" y="311"/>
                  </a:lnTo>
                  <a:lnTo>
                    <a:pt x="520" y="311"/>
                  </a:lnTo>
                  <a:lnTo>
                    <a:pt x="512" y="311"/>
                  </a:lnTo>
                  <a:lnTo>
                    <a:pt x="506" y="307"/>
                  </a:lnTo>
                  <a:lnTo>
                    <a:pt x="494" y="299"/>
                  </a:lnTo>
                  <a:lnTo>
                    <a:pt x="494" y="299"/>
                  </a:lnTo>
                  <a:lnTo>
                    <a:pt x="490" y="297"/>
                  </a:lnTo>
                  <a:lnTo>
                    <a:pt x="484" y="293"/>
                  </a:lnTo>
                  <a:lnTo>
                    <a:pt x="484" y="291"/>
                  </a:lnTo>
                  <a:lnTo>
                    <a:pt x="476" y="265"/>
                  </a:lnTo>
                  <a:lnTo>
                    <a:pt x="476" y="265"/>
                  </a:lnTo>
                  <a:lnTo>
                    <a:pt x="506" y="243"/>
                  </a:lnTo>
                  <a:lnTo>
                    <a:pt x="506" y="243"/>
                  </a:lnTo>
                  <a:lnTo>
                    <a:pt x="514" y="241"/>
                  </a:lnTo>
                  <a:lnTo>
                    <a:pt x="516" y="239"/>
                  </a:lnTo>
                  <a:lnTo>
                    <a:pt x="520" y="239"/>
                  </a:lnTo>
                  <a:lnTo>
                    <a:pt x="520" y="241"/>
                  </a:lnTo>
                  <a:lnTo>
                    <a:pt x="520" y="241"/>
                  </a:lnTo>
                  <a:lnTo>
                    <a:pt x="522" y="241"/>
                  </a:lnTo>
                  <a:lnTo>
                    <a:pt x="524" y="241"/>
                  </a:lnTo>
                  <a:lnTo>
                    <a:pt x="524" y="237"/>
                  </a:lnTo>
                  <a:lnTo>
                    <a:pt x="528" y="225"/>
                  </a:lnTo>
                  <a:lnTo>
                    <a:pt x="528" y="225"/>
                  </a:lnTo>
                  <a:lnTo>
                    <a:pt x="526" y="215"/>
                  </a:lnTo>
                  <a:lnTo>
                    <a:pt x="524" y="207"/>
                  </a:lnTo>
                  <a:lnTo>
                    <a:pt x="522" y="201"/>
                  </a:lnTo>
                  <a:lnTo>
                    <a:pt x="522" y="201"/>
                  </a:lnTo>
                  <a:lnTo>
                    <a:pt x="508" y="179"/>
                  </a:lnTo>
                  <a:lnTo>
                    <a:pt x="508" y="179"/>
                  </a:lnTo>
                  <a:lnTo>
                    <a:pt x="512" y="175"/>
                  </a:lnTo>
                  <a:lnTo>
                    <a:pt x="516" y="173"/>
                  </a:lnTo>
                  <a:lnTo>
                    <a:pt x="518" y="171"/>
                  </a:lnTo>
                  <a:lnTo>
                    <a:pt x="518" y="171"/>
                  </a:lnTo>
                  <a:lnTo>
                    <a:pt x="528" y="171"/>
                  </a:lnTo>
                  <a:lnTo>
                    <a:pt x="534" y="169"/>
                  </a:lnTo>
                  <a:lnTo>
                    <a:pt x="534" y="167"/>
                  </a:lnTo>
                  <a:lnTo>
                    <a:pt x="534" y="167"/>
                  </a:lnTo>
                  <a:lnTo>
                    <a:pt x="534" y="167"/>
                  </a:lnTo>
                  <a:lnTo>
                    <a:pt x="534" y="161"/>
                  </a:lnTo>
                  <a:lnTo>
                    <a:pt x="536" y="161"/>
                  </a:lnTo>
                  <a:lnTo>
                    <a:pt x="538" y="161"/>
                  </a:lnTo>
                  <a:lnTo>
                    <a:pt x="538" y="159"/>
                  </a:lnTo>
                  <a:lnTo>
                    <a:pt x="538" y="159"/>
                  </a:lnTo>
                  <a:lnTo>
                    <a:pt x="538" y="157"/>
                  </a:lnTo>
                  <a:lnTo>
                    <a:pt x="536" y="153"/>
                  </a:lnTo>
                  <a:lnTo>
                    <a:pt x="530" y="147"/>
                  </a:lnTo>
                  <a:lnTo>
                    <a:pt x="518" y="135"/>
                  </a:lnTo>
                  <a:lnTo>
                    <a:pt x="518" y="135"/>
                  </a:lnTo>
                  <a:lnTo>
                    <a:pt x="516" y="131"/>
                  </a:lnTo>
                  <a:lnTo>
                    <a:pt x="516" y="128"/>
                  </a:lnTo>
                  <a:lnTo>
                    <a:pt x="516" y="122"/>
                  </a:lnTo>
                  <a:lnTo>
                    <a:pt x="516" y="122"/>
                  </a:lnTo>
                  <a:lnTo>
                    <a:pt x="518" y="114"/>
                  </a:lnTo>
                  <a:lnTo>
                    <a:pt x="518" y="114"/>
                  </a:lnTo>
                  <a:lnTo>
                    <a:pt x="518" y="114"/>
                  </a:lnTo>
                  <a:lnTo>
                    <a:pt x="518" y="114"/>
                  </a:lnTo>
                  <a:lnTo>
                    <a:pt x="516" y="112"/>
                  </a:lnTo>
                  <a:lnTo>
                    <a:pt x="516" y="112"/>
                  </a:lnTo>
                  <a:lnTo>
                    <a:pt x="514" y="108"/>
                  </a:lnTo>
                  <a:lnTo>
                    <a:pt x="512" y="104"/>
                  </a:lnTo>
                  <a:lnTo>
                    <a:pt x="512" y="102"/>
                  </a:lnTo>
                  <a:lnTo>
                    <a:pt x="512" y="102"/>
                  </a:lnTo>
                  <a:lnTo>
                    <a:pt x="504" y="100"/>
                  </a:lnTo>
                  <a:lnTo>
                    <a:pt x="498" y="102"/>
                  </a:lnTo>
                  <a:lnTo>
                    <a:pt x="494" y="104"/>
                  </a:lnTo>
                  <a:lnTo>
                    <a:pt x="490" y="108"/>
                  </a:lnTo>
                  <a:lnTo>
                    <a:pt x="490" y="108"/>
                  </a:lnTo>
                  <a:lnTo>
                    <a:pt x="490" y="110"/>
                  </a:lnTo>
                  <a:lnTo>
                    <a:pt x="492" y="114"/>
                  </a:lnTo>
                  <a:lnTo>
                    <a:pt x="498" y="128"/>
                  </a:lnTo>
                  <a:lnTo>
                    <a:pt x="502" y="135"/>
                  </a:lnTo>
                  <a:lnTo>
                    <a:pt x="502" y="139"/>
                  </a:lnTo>
                  <a:lnTo>
                    <a:pt x="502" y="143"/>
                  </a:lnTo>
                  <a:lnTo>
                    <a:pt x="500" y="143"/>
                  </a:lnTo>
                  <a:lnTo>
                    <a:pt x="500" y="143"/>
                  </a:lnTo>
                  <a:lnTo>
                    <a:pt x="498" y="139"/>
                  </a:lnTo>
                  <a:lnTo>
                    <a:pt x="494" y="139"/>
                  </a:lnTo>
                  <a:lnTo>
                    <a:pt x="492" y="135"/>
                  </a:lnTo>
                  <a:lnTo>
                    <a:pt x="490" y="130"/>
                  </a:lnTo>
                  <a:lnTo>
                    <a:pt x="484" y="128"/>
                  </a:lnTo>
                  <a:lnTo>
                    <a:pt x="482" y="128"/>
                  </a:lnTo>
                  <a:lnTo>
                    <a:pt x="482" y="128"/>
                  </a:lnTo>
                  <a:lnTo>
                    <a:pt x="476" y="124"/>
                  </a:lnTo>
                  <a:lnTo>
                    <a:pt x="470" y="124"/>
                  </a:lnTo>
                  <a:lnTo>
                    <a:pt x="468" y="124"/>
                  </a:lnTo>
                  <a:lnTo>
                    <a:pt x="466" y="128"/>
                  </a:lnTo>
                  <a:lnTo>
                    <a:pt x="466" y="128"/>
                  </a:lnTo>
                  <a:lnTo>
                    <a:pt x="462" y="133"/>
                  </a:lnTo>
                  <a:lnTo>
                    <a:pt x="462" y="139"/>
                  </a:lnTo>
                  <a:lnTo>
                    <a:pt x="462" y="149"/>
                  </a:lnTo>
                  <a:lnTo>
                    <a:pt x="462" y="153"/>
                  </a:lnTo>
                  <a:lnTo>
                    <a:pt x="466" y="155"/>
                  </a:lnTo>
                  <a:lnTo>
                    <a:pt x="466" y="155"/>
                  </a:lnTo>
                  <a:lnTo>
                    <a:pt x="480" y="167"/>
                  </a:lnTo>
                  <a:lnTo>
                    <a:pt x="488" y="175"/>
                  </a:lnTo>
                  <a:lnTo>
                    <a:pt x="490" y="177"/>
                  </a:lnTo>
                  <a:lnTo>
                    <a:pt x="490" y="179"/>
                  </a:lnTo>
                  <a:lnTo>
                    <a:pt x="490" y="179"/>
                  </a:lnTo>
                  <a:lnTo>
                    <a:pt x="490" y="181"/>
                  </a:lnTo>
                  <a:lnTo>
                    <a:pt x="488" y="181"/>
                  </a:lnTo>
                  <a:lnTo>
                    <a:pt x="482" y="181"/>
                  </a:lnTo>
                  <a:lnTo>
                    <a:pt x="476" y="179"/>
                  </a:lnTo>
                  <a:lnTo>
                    <a:pt x="470" y="175"/>
                  </a:lnTo>
                  <a:lnTo>
                    <a:pt x="470" y="175"/>
                  </a:lnTo>
                  <a:lnTo>
                    <a:pt x="462" y="171"/>
                  </a:lnTo>
                  <a:lnTo>
                    <a:pt x="454" y="167"/>
                  </a:lnTo>
                  <a:lnTo>
                    <a:pt x="450" y="161"/>
                  </a:lnTo>
                  <a:lnTo>
                    <a:pt x="448" y="159"/>
                  </a:lnTo>
                  <a:lnTo>
                    <a:pt x="446" y="153"/>
                  </a:lnTo>
                  <a:lnTo>
                    <a:pt x="446" y="149"/>
                  </a:lnTo>
                  <a:lnTo>
                    <a:pt x="446" y="149"/>
                  </a:lnTo>
                  <a:lnTo>
                    <a:pt x="448" y="135"/>
                  </a:lnTo>
                  <a:lnTo>
                    <a:pt x="452" y="128"/>
                  </a:lnTo>
                  <a:lnTo>
                    <a:pt x="460" y="110"/>
                  </a:lnTo>
                  <a:lnTo>
                    <a:pt x="460" y="110"/>
                  </a:lnTo>
                  <a:lnTo>
                    <a:pt x="466" y="104"/>
                  </a:lnTo>
                  <a:lnTo>
                    <a:pt x="470" y="94"/>
                  </a:lnTo>
                  <a:lnTo>
                    <a:pt x="472" y="88"/>
                  </a:lnTo>
                  <a:lnTo>
                    <a:pt x="472" y="84"/>
                  </a:lnTo>
                  <a:lnTo>
                    <a:pt x="472" y="80"/>
                  </a:lnTo>
                  <a:lnTo>
                    <a:pt x="470" y="74"/>
                  </a:lnTo>
                  <a:lnTo>
                    <a:pt x="470" y="74"/>
                  </a:lnTo>
                  <a:lnTo>
                    <a:pt x="466" y="66"/>
                  </a:lnTo>
                  <a:lnTo>
                    <a:pt x="462" y="62"/>
                  </a:lnTo>
                  <a:lnTo>
                    <a:pt x="460" y="60"/>
                  </a:lnTo>
                  <a:lnTo>
                    <a:pt x="458" y="60"/>
                  </a:lnTo>
                  <a:lnTo>
                    <a:pt x="458" y="60"/>
                  </a:lnTo>
                  <a:lnTo>
                    <a:pt x="460" y="64"/>
                  </a:lnTo>
                  <a:lnTo>
                    <a:pt x="462" y="74"/>
                  </a:lnTo>
                  <a:lnTo>
                    <a:pt x="462" y="78"/>
                  </a:lnTo>
                  <a:lnTo>
                    <a:pt x="462" y="84"/>
                  </a:lnTo>
                  <a:lnTo>
                    <a:pt x="462" y="88"/>
                  </a:lnTo>
                  <a:lnTo>
                    <a:pt x="460" y="94"/>
                  </a:lnTo>
                  <a:lnTo>
                    <a:pt x="460" y="94"/>
                  </a:lnTo>
                  <a:lnTo>
                    <a:pt x="454" y="104"/>
                  </a:lnTo>
                  <a:lnTo>
                    <a:pt x="446" y="110"/>
                  </a:lnTo>
                  <a:lnTo>
                    <a:pt x="436" y="114"/>
                  </a:lnTo>
                  <a:lnTo>
                    <a:pt x="430" y="116"/>
                  </a:lnTo>
                  <a:lnTo>
                    <a:pt x="430" y="116"/>
                  </a:lnTo>
                  <a:lnTo>
                    <a:pt x="426" y="116"/>
                  </a:lnTo>
                  <a:lnTo>
                    <a:pt x="422" y="116"/>
                  </a:lnTo>
                  <a:lnTo>
                    <a:pt x="416" y="122"/>
                  </a:lnTo>
                  <a:lnTo>
                    <a:pt x="412" y="128"/>
                  </a:lnTo>
                  <a:lnTo>
                    <a:pt x="410" y="130"/>
                  </a:lnTo>
                  <a:lnTo>
                    <a:pt x="410" y="130"/>
                  </a:lnTo>
                  <a:lnTo>
                    <a:pt x="406" y="131"/>
                  </a:lnTo>
                  <a:lnTo>
                    <a:pt x="404" y="135"/>
                  </a:lnTo>
                  <a:lnTo>
                    <a:pt x="404" y="135"/>
                  </a:lnTo>
                  <a:lnTo>
                    <a:pt x="404" y="139"/>
                  </a:lnTo>
                  <a:lnTo>
                    <a:pt x="404" y="139"/>
                  </a:lnTo>
                  <a:lnTo>
                    <a:pt x="406" y="149"/>
                  </a:lnTo>
                  <a:lnTo>
                    <a:pt x="406" y="155"/>
                  </a:lnTo>
                  <a:lnTo>
                    <a:pt x="406" y="161"/>
                  </a:lnTo>
                  <a:lnTo>
                    <a:pt x="404" y="167"/>
                  </a:lnTo>
                  <a:lnTo>
                    <a:pt x="404" y="167"/>
                  </a:lnTo>
                  <a:lnTo>
                    <a:pt x="404" y="171"/>
                  </a:lnTo>
                  <a:lnTo>
                    <a:pt x="404" y="175"/>
                  </a:lnTo>
                  <a:lnTo>
                    <a:pt x="406" y="181"/>
                  </a:lnTo>
                  <a:lnTo>
                    <a:pt x="406" y="185"/>
                  </a:lnTo>
                  <a:lnTo>
                    <a:pt x="406" y="189"/>
                  </a:lnTo>
                  <a:lnTo>
                    <a:pt x="404" y="193"/>
                  </a:lnTo>
                  <a:lnTo>
                    <a:pt x="400" y="197"/>
                  </a:lnTo>
                  <a:lnTo>
                    <a:pt x="400" y="197"/>
                  </a:lnTo>
                  <a:lnTo>
                    <a:pt x="390" y="203"/>
                  </a:lnTo>
                  <a:lnTo>
                    <a:pt x="380" y="215"/>
                  </a:lnTo>
                  <a:lnTo>
                    <a:pt x="370" y="225"/>
                  </a:lnTo>
                  <a:lnTo>
                    <a:pt x="368" y="229"/>
                  </a:lnTo>
                  <a:lnTo>
                    <a:pt x="366" y="235"/>
                  </a:lnTo>
                  <a:lnTo>
                    <a:pt x="366" y="235"/>
                  </a:lnTo>
                  <a:lnTo>
                    <a:pt x="366" y="243"/>
                  </a:lnTo>
                  <a:lnTo>
                    <a:pt x="362" y="251"/>
                  </a:lnTo>
                  <a:lnTo>
                    <a:pt x="361" y="261"/>
                  </a:lnTo>
                  <a:lnTo>
                    <a:pt x="359" y="263"/>
                  </a:lnTo>
                  <a:lnTo>
                    <a:pt x="359" y="265"/>
                  </a:lnTo>
                  <a:lnTo>
                    <a:pt x="359" y="265"/>
                  </a:lnTo>
                  <a:lnTo>
                    <a:pt x="362" y="269"/>
                  </a:lnTo>
                  <a:lnTo>
                    <a:pt x="370" y="273"/>
                  </a:lnTo>
                  <a:lnTo>
                    <a:pt x="380" y="277"/>
                  </a:lnTo>
                  <a:lnTo>
                    <a:pt x="384" y="277"/>
                  </a:lnTo>
                  <a:lnTo>
                    <a:pt x="384" y="277"/>
                  </a:lnTo>
                  <a:lnTo>
                    <a:pt x="384" y="277"/>
                  </a:lnTo>
                  <a:lnTo>
                    <a:pt x="390" y="277"/>
                  </a:lnTo>
                  <a:lnTo>
                    <a:pt x="396" y="277"/>
                  </a:lnTo>
                  <a:lnTo>
                    <a:pt x="404" y="281"/>
                  </a:lnTo>
                  <a:lnTo>
                    <a:pt x="410" y="285"/>
                  </a:lnTo>
                  <a:lnTo>
                    <a:pt x="410" y="285"/>
                  </a:lnTo>
                  <a:lnTo>
                    <a:pt x="416" y="291"/>
                  </a:lnTo>
                  <a:lnTo>
                    <a:pt x="424" y="297"/>
                  </a:lnTo>
                  <a:lnTo>
                    <a:pt x="426" y="303"/>
                  </a:lnTo>
                  <a:lnTo>
                    <a:pt x="428" y="307"/>
                  </a:lnTo>
                  <a:lnTo>
                    <a:pt x="430" y="313"/>
                  </a:lnTo>
                  <a:lnTo>
                    <a:pt x="430" y="317"/>
                  </a:lnTo>
                  <a:lnTo>
                    <a:pt x="430" y="317"/>
                  </a:lnTo>
                  <a:lnTo>
                    <a:pt x="430" y="341"/>
                  </a:lnTo>
                  <a:lnTo>
                    <a:pt x="428" y="345"/>
                  </a:lnTo>
                  <a:lnTo>
                    <a:pt x="426" y="351"/>
                  </a:lnTo>
                  <a:lnTo>
                    <a:pt x="426" y="351"/>
                  </a:lnTo>
                  <a:lnTo>
                    <a:pt x="426" y="351"/>
                  </a:lnTo>
                  <a:lnTo>
                    <a:pt x="422" y="351"/>
                  </a:lnTo>
                  <a:lnTo>
                    <a:pt x="420" y="349"/>
                  </a:lnTo>
                  <a:lnTo>
                    <a:pt x="416" y="345"/>
                  </a:lnTo>
                  <a:lnTo>
                    <a:pt x="414" y="351"/>
                  </a:lnTo>
                  <a:lnTo>
                    <a:pt x="414" y="351"/>
                  </a:lnTo>
                  <a:lnTo>
                    <a:pt x="412" y="353"/>
                  </a:lnTo>
                  <a:lnTo>
                    <a:pt x="410" y="359"/>
                  </a:lnTo>
                  <a:lnTo>
                    <a:pt x="408" y="364"/>
                  </a:lnTo>
                  <a:lnTo>
                    <a:pt x="408" y="370"/>
                  </a:lnTo>
                  <a:lnTo>
                    <a:pt x="408" y="370"/>
                  </a:lnTo>
                  <a:lnTo>
                    <a:pt x="412" y="376"/>
                  </a:lnTo>
                  <a:lnTo>
                    <a:pt x="420" y="382"/>
                  </a:lnTo>
                  <a:lnTo>
                    <a:pt x="430" y="390"/>
                  </a:lnTo>
                  <a:lnTo>
                    <a:pt x="430" y="390"/>
                  </a:lnTo>
                  <a:lnTo>
                    <a:pt x="422" y="388"/>
                  </a:lnTo>
                  <a:lnTo>
                    <a:pt x="414" y="386"/>
                  </a:lnTo>
                  <a:lnTo>
                    <a:pt x="408" y="382"/>
                  </a:lnTo>
                  <a:lnTo>
                    <a:pt x="408" y="382"/>
                  </a:lnTo>
                  <a:lnTo>
                    <a:pt x="404" y="376"/>
                  </a:lnTo>
                  <a:lnTo>
                    <a:pt x="400" y="372"/>
                  </a:lnTo>
                  <a:lnTo>
                    <a:pt x="400" y="370"/>
                  </a:lnTo>
                  <a:lnTo>
                    <a:pt x="402" y="361"/>
                  </a:lnTo>
                  <a:lnTo>
                    <a:pt x="402" y="361"/>
                  </a:lnTo>
                  <a:lnTo>
                    <a:pt x="406" y="355"/>
                  </a:lnTo>
                  <a:lnTo>
                    <a:pt x="410" y="345"/>
                  </a:lnTo>
                  <a:lnTo>
                    <a:pt x="412" y="341"/>
                  </a:lnTo>
                  <a:lnTo>
                    <a:pt x="414" y="333"/>
                  </a:lnTo>
                  <a:lnTo>
                    <a:pt x="414" y="333"/>
                  </a:lnTo>
                  <a:lnTo>
                    <a:pt x="412" y="325"/>
                  </a:lnTo>
                  <a:lnTo>
                    <a:pt x="410" y="317"/>
                  </a:lnTo>
                  <a:lnTo>
                    <a:pt x="410" y="313"/>
                  </a:lnTo>
                  <a:lnTo>
                    <a:pt x="410" y="307"/>
                  </a:lnTo>
                  <a:lnTo>
                    <a:pt x="410" y="307"/>
                  </a:lnTo>
                  <a:lnTo>
                    <a:pt x="412" y="299"/>
                  </a:lnTo>
                  <a:lnTo>
                    <a:pt x="410" y="297"/>
                  </a:lnTo>
                  <a:lnTo>
                    <a:pt x="408" y="295"/>
                  </a:lnTo>
                  <a:lnTo>
                    <a:pt x="408" y="295"/>
                  </a:lnTo>
                  <a:lnTo>
                    <a:pt x="402" y="293"/>
                  </a:lnTo>
                  <a:lnTo>
                    <a:pt x="392" y="293"/>
                  </a:lnTo>
                  <a:lnTo>
                    <a:pt x="376" y="293"/>
                  </a:lnTo>
                  <a:lnTo>
                    <a:pt x="376" y="293"/>
                  </a:lnTo>
                  <a:lnTo>
                    <a:pt x="370" y="293"/>
                  </a:lnTo>
                  <a:lnTo>
                    <a:pt x="366" y="293"/>
                  </a:lnTo>
                  <a:lnTo>
                    <a:pt x="362" y="295"/>
                  </a:lnTo>
                  <a:lnTo>
                    <a:pt x="361" y="303"/>
                  </a:lnTo>
                  <a:lnTo>
                    <a:pt x="361" y="303"/>
                  </a:lnTo>
                  <a:lnTo>
                    <a:pt x="359" y="307"/>
                  </a:lnTo>
                  <a:lnTo>
                    <a:pt x="355" y="311"/>
                  </a:lnTo>
                  <a:lnTo>
                    <a:pt x="355" y="315"/>
                  </a:lnTo>
                  <a:lnTo>
                    <a:pt x="355" y="317"/>
                  </a:lnTo>
                  <a:lnTo>
                    <a:pt x="355" y="317"/>
                  </a:lnTo>
                  <a:lnTo>
                    <a:pt x="355" y="321"/>
                  </a:lnTo>
                  <a:lnTo>
                    <a:pt x="357" y="329"/>
                  </a:lnTo>
                  <a:lnTo>
                    <a:pt x="355" y="337"/>
                  </a:lnTo>
                  <a:lnTo>
                    <a:pt x="355" y="343"/>
                  </a:lnTo>
                  <a:lnTo>
                    <a:pt x="355" y="343"/>
                  </a:lnTo>
                  <a:lnTo>
                    <a:pt x="351" y="345"/>
                  </a:lnTo>
                  <a:lnTo>
                    <a:pt x="347" y="349"/>
                  </a:lnTo>
                  <a:lnTo>
                    <a:pt x="339" y="355"/>
                  </a:lnTo>
                  <a:lnTo>
                    <a:pt x="333" y="359"/>
                  </a:lnTo>
                  <a:lnTo>
                    <a:pt x="323" y="363"/>
                  </a:lnTo>
                  <a:lnTo>
                    <a:pt x="323" y="363"/>
                  </a:lnTo>
                  <a:lnTo>
                    <a:pt x="319" y="364"/>
                  </a:lnTo>
                  <a:lnTo>
                    <a:pt x="319" y="366"/>
                  </a:lnTo>
                  <a:lnTo>
                    <a:pt x="315" y="376"/>
                  </a:lnTo>
                  <a:lnTo>
                    <a:pt x="309" y="382"/>
                  </a:lnTo>
                  <a:lnTo>
                    <a:pt x="307" y="386"/>
                  </a:lnTo>
                  <a:lnTo>
                    <a:pt x="301" y="386"/>
                  </a:lnTo>
                  <a:lnTo>
                    <a:pt x="301" y="386"/>
                  </a:lnTo>
                  <a:lnTo>
                    <a:pt x="299" y="386"/>
                  </a:lnTo>
                  <a:lnTo>
                    <a:pt x="299" y="386"/>
                  </a:lnTo>
                  <a:lnTo>
                    <a:pt x="279" y="390"/>
                  </a:lnTo>
                  <a:lnTo>
                    <a:pt x="273" y="390"/>
                  </a:lnTo>
                  <a:lnTo>
                    <a:pt x="269" y="396"/>
                  </a:lnTo>
                  <a:lnTo>
                    <a:pt x="269" y="396"/>
                  </a:lnTo>
                  <a:lnTo>
                    <a:pt x="265" y="398"/>
                  </a:lnTo>
                  <a:lnTo>
                    <a:pt x="261" y="402"/>
                  </a:lnTo>
                  <a:lnTo>
                    <a:pt x="259" y="404"/>
                  </a:lnTo>
                  <a:lnTo>
                    <a:pt x="253" y="404"/>
                  </a:lnTo>
                  <a:lnTo>
                    <a:pt x="251" y="402"/>
                  </a:lnTo>
                  <a:lnTo>
                    <a:pt x="251" y="402"/>
                  </a:lnTo>
                  <a:lnTo>
                    <a:pt x="243" y="396"/>
                  </a:lnTo>
                  <a:lnTo>
                    <a:pt x="233" y="388"/>
                  </a:lnTo>
                  <a:lnTo>
                    <a:pt x="233" y="388"/>
                  </a:lnTo>
                  <a:lnTo>
                    <a:pt x="227" y="382"/>
                  </a:lnTo>
                  <a:lnTo>
                    <a:pt x="217" y="378"/>
                  </a:lnTo>
                  <a:lnTo>
                    <a:pt x="207" y="372"/>
                  </a:lnTo>
                  <a:lnTo>
                    <a:pt x="205" y="370"/>
                  </a:lnTo>
                  <a:lnTo>
                    <a:pt x="203" y="366"/>
                  </a:lnTo>
                  <a:lnTo>
                    <a:pt x="203" y="366"/>
                  </a:lnTo>
                  <a:lnTo>
                    <a:pt x="203" y="355"/>
                  </a:lnTo>
                  <a:lnTo>
                    <a:pt x="203" y="353"/>
                  </a:lnTo>
                  <a:lnTo>
                    <a:pt x="205" y="353"/>
                  </a:lnTo>
                  <a:lnTo>
                    <a:pt x="209" y="355"/>
                  </a:lnTo>
                  <a:lnTo>
                    <a:pt x="209" y="355"/>
                  </a:lnTo>
                  <a:lnTo>
                    <a:pt x="215" y="359"/>
                  </a:lnTo>
                  <a:lnTo>
                    <a:pt x="217" y="363"/>
                  </a:lnTo>
                  <a:lnTo>
                    <a:pt x="221" y="370"/>
                  </a:lnTo>
                  <a:lnTo>
                    <a:pt x="223" y="372"/>
                  </a:lnTo>
                  <a:lnTo>
                    <a:pt x="225" y="376"/>
                  </a:lnTo>
                  <a:lnTo>
                    <a:pt x="227" y="376"/>
                  </a:lnTo>
                  <a:lnTo>
                    <a:pt x="231" y="376"/>
                  </a:lnTo>
                  <a:lnTo>
                    <a:pt x="231" y="376"/>
                  </a:lnTo>
                  <a:lnTo>
                    <a:pt x="243" y="376"/>
                  </a:lnTo>
                  <a:lnTo>
                    <a:pt x="253" y="372"/>
                  </a:lnTo>
                  <a:lnTo>
                    <a:pt x="263" y="370"/>
                  </a:lnTo>
                  <a:lnTo>
                    <a:pt x="267" y="366"/>
                  </a:lnTo>
                  <a:lnTo>
                    <a:pt x="269" y="366"/>
                  </a:lnTo>
                  <a:lnTo>
                    <a:pt x="269" y="366"/>
                  </a:lnTo>
                  <a:lnTo>
                    <a:pt x="277" y="359"/>
                  </a:lnTo>
                  <a:lnTo>
                    <a:pt x="291" y="351"/>
                  </a:lnTo>
                  <a:lnTo>
                    <a:pt x="305" y="343"/>
                  </a:lnTo>
                  <a:lnTo>
                    <a:pt x="313" y="335"/>
                  </a:lnTo>
                  <a:lnTo>
                    <a:pt x="313" y="335"/>
                  </a:lnTo>
                  <a:lnTo>
                    <a:pt x="315" y="333"/>
                  </a:lnTo>
                  <a:lnTo>
                    <a:pt x="315" y="329"/>
                  </a:lnTo>
                  <a:lnTo>
                    <a:pt x="317" y="319"/>
                  </a:lnTo>
                  <a:lnTo>
                    <a:pt x="319" y="315"/>
                  </a:lnTo>
                  <a:lnTo>
                    <a:pt x="323" y="311"/>
                  </a:lnTo>
                  <a:lnTo>
                    <a:pt x="325" y="307"/>
                  </a:lnTo>
                  <a:lnTo>
                    <a:pt x="325" y="307"/>
                  </a:lnTo>
                  <a:lnTo>
                    <a:pt x="333" y="305"/>
                  </a:lnTo>
                  <a:lnTo>
                    <a:pt x="339" y="303"/>
                  </a:lnTo>
                  <a:lnTo>
                    <a:pt x="341" y="299"/>
                  </a:lnTo>
                  <a:lnTo>
                    <a:pt x="341" y="297"/>
                  </a:lnTo>
                  <a:lnTo>
                    <a:pt x="341" y="295"/>
                  </a:lnTo>
                  <a:lnTo>
                    <a:pt x="341" y="295"/>
                  </a:lnTo>
                  <a:lnTo>
                    <a:pt x="341" y="287"/>
                  </a:lnTo>
                  <a:lnTo>
                    <a:pt x="337" y="273"/>
                  </a:lnTo>
                  <a:lnTo>
                    <a:pt x="335" y="269"/>
                  </a:lnTo>
                  <a:lnTo>
                    <a:pt x="335" y="261"/>
                  </a:lnTo>
                  <a:lnTo>
                    <a:pt x="337" y="253"/>
                  </a:lnTo>
                  <a:lnTo>
                    <a:pt x="339" y="247"/>
                  </a:lnTo>
                  <a:lnTo>
                    <a:pt x="339" y="247"/>
                  </a:lnTo>
                  <a:lnTo>
                    <a:pt x="359" y="215"/>
                  </a:lnTo>
                  <a:lnTo>
                    <a:pt x="364" y="199"/>
                  </a:lnTo>
                  <a:lnTo>
                    <a:pt x="370" y="189"/>
                  </a:lnTo>
                  <a:lnTo>
                    <a:pt x="370" y="189"/>
                  </a:lnTo>
                  <a:lnTo>
                    <a:pt x="376" y="177"/>
                  </a:lnTo>
                  <a:lnTo>
                    <a:pt x="382" y="167"/>
                  </a:lnTo>
                  <a:lnTo>
                    <a:pt x="384" y="157"/>
                  </a:lnTo>
                  <a:lnTo>
                    <a:pt x="384" y="153"/>
                  </a:lnTo>
                  <a:lnTo>
                    <a:pt x="384" y="149"/>
                  </a:lnTo>
                  <a:lnTo>
                    <a:pt x="384" y="149"/>
                  </a:lnTo>
                  <a:lnTo>
                    <a:pt x="384" y="143"/>
                  </a:lnTo>
                  <a:lnTo>
                    <a:pt x="380" y="135"/>
                  </a:lnTo>
                  <a:lnTo>
                    <a:pt x="378" y="131"/>
                  </a:lnTo>
                  <a:lnTo>
                    <a:pt x="378" y="128"/>
                  </a:lnTo>
                  <a:lnTo>
                    <a:pt x="380" y="124"/>
                  </a:lnTo>
                  <a:lnTo>
                    <a:pt x="384" y="122"/>
                  </a:lnTo>
                  <a:lnTo>
                    <a:pt x="384" y="122"/>
                  </a:lnTo>
                  <a:lnTo>
                    <a:pt x="400" y="106"/>
                  </a:lnTo>
                  <a:lnTo>
                    <a:pt x="408" y="100"/>
                  </a:lnTo>
                  <a:lnTo>
                    <a:pt x="412" y="90"/>
                  </a:lnTo>
                  <a:lnTo>
                    <a:pt x="412" y="90"/>
                  </a:lnTo>
                  <a:lnTo>
                    <a:pt x="416" y="84"/>
                  </a:lnTo>
                  <a:lnTo>
                    <a:pt x="422" y="78"/>
                  </a:lnTo>
                  <a:lnTo>
                    <a:pt x="426" y="66"/>
                  </a:lnTo>
                  <a:lnTo>
                    <a:pt x="426" y="60"/>
                  </a:lnTo>
                  <a:lnTo>
                    <a:pt x="426" y="60"/>
                  </a:lnTo>
                  <a:lnTo>
                    <a:pt x="424" y="58"/>
                  </a:lnTo>
                  <a:lnTo>
                    <a:pt x="422" y="54"/>
                  </a:lnTo>
                  <a:lnTo>
                    <a:pt x="412" y="46"/>
                  </a:lnTo>
                  <a:lnTo>
                    <a:pt x="404" y="38"/>
                  </a:lnTo>
                  <a:lnTo>
                    <a:pt x="392" y="34"/>
                  </a:lnTo>
                  <a:lnTo>
                    <a:pt x="392" y="34"/>
                  </a:lnTo>
                  <a:lnTo>
                    <a:pt x="390" y="32"/>
                  </a:lnTo>
                  <a:lnTo>
                    <a:pt x="388" y="32"/>
                  </a:lnTo>
                  <a:lnTo>
                    <a:pt x="396" y="32"/>
                  </a:lnTo>
                  <a:lnTo>
                    <a:pt x="412" y="30"/>
                  </a:lnTo>
                  <a:lnTo>
                    <a:pt x="412" y="30"/>
                  </a:lnTo>
                  <a:lnTo>
                    <a:pt x="416" y="28"/>
                  </a:lnTo>
                  <a:lnTo>
                    <a:pt x="422" y="22"/>
                  </a:lnTo>
                  <a:lnTo>
                    <a:pt x="422" y="18"/>
                  </a:lnTo>
                  <a:lnTo>
                    <a:pt x="422" y="10"/>
                  </a:lnTo>
                  <a:lnTo>
                    <a:pt x="422" y="10"/>
                  </a:lnTo>
                  <a:lnTo>
                    <a:pt x="416" y="6"/>
                  </a:lnTo>
                  <a:lnTo>
                    <a:pt x="412" y="0"/>
                  </a:lnTo>
                  <a:lnTo>
                    <a:pt x="408" y="0"/>
                  </a:lnTo>
                  <a:lnTo>
                    <a:pt x="404" y="6"/>
                  </a:lnTo>
                  <a:lnTo>
                    <a:pt x="404" y="6"/>
                  </a:lnTo>
                  <a:lnTo>
                    <a:pt x="398" y="10"/>
                  </a:lnTo>
                  <a:lnTo>
                    <a:pt x="392" y="16"/>
                  </a:lnTo>
                  <a:lnTo>
                    <a:pt x="388" y="22"/>
                  </a:lnTo>
                  <a:lnTo>
                    <a:pt x="388" y="22"/>
                  </a:lnTo>
                  <a:lnTo>
                    <a:pt x="384" y="22"/>
                  </a:lnTo>
                  <a:lnTo>
                    <a:pt x="382" y="22"/>
                  </a:lnTo>
                  <a:lnTo>
                    <a:pt x="380" y="24"/>
                  </a:lnTo>
                  <a:lnTo>
                    <a:pt x="380" y="24"/>
                  </a:lnTo>
                  <a:lnTo>
                    <a:pt x="362" y="40"/>
                  </a:lnTo>
                  <a:lnTo>
                    <a:pt x="345" y="64"/>
                  </a:lnTo>
                  <a:lnTo>
                    <a:pt x="345" y="64"/>
                  </a:lnTo>
                  <a:lnTo>
                    <a:pt x="337" y="74"/>
                  </a:lnTo>
                  <a:lnTo>
                    <a:pt x="329" y="82"/>
                  </a:lnTo>
                  <a:lnTo>
                    <a:pt x="323" y="84"/>
                  </a:lnTo>
                  <a:lnTo>
                    <a:pt x="319" y="86"/>
                  </a:lnTo>
                  <a:lnTo>
                    <a:pt x="313" y="88"/>
                  </a:lnTo>
                  <a:lnTo>
                    <a:pt x="309" y="90"/>
                  </a:lnTo>
                  <a:lnTo>
                    <a:pt x="309" y="90"/>
                  </a:lnTo>
                  <a:lnTo>
                    <a:pt x="301" y="90"/>
                  </a:lnTo>
                  <a:lnTo>
                    <a:pt x="295" y="92"/>
                  </a:lnTo>
                  <a:lnTo>
                    <a:pt x="287" y="100"/>
                  </a:lnTo>
                  <a:lnTo>
                    <a:pt x="279" y="104"/>
                  </a:lnTo>
                  <a:lnTo>
                    <a:pt x="275" y="110"/>
                  </a:lnTo>
                  <a:lnTo>
                    <a:pt x="275" y="110"/>
                  </a:lnTo>
                  <a:lnTo>
                    <a:pt x="273" y="110"/>
                  </a:lnTo>
                  <a:lnTo>
                    <a:pt x="273" y="112"/>
                  </a:lnTo>
                  <a:lnTo>
                    <a:pt x="275" y="116"/>
                  </a:lnTo>
                  <a:lnTo>
                    <a:pt x="277" y="120"/>
                  </a:lnTo>
                  <a:lnTo>
                    <a:pt x="275" y="124"/>
                  </a:lnTo>
                  <a:lnTo>
                    <a:pt x="273" y="128"/>
                  </a:lnTo>
                  <a:lnTo>
                    <a:pt x="271" y="133"/>
                  </a:lnTo>
                  <a:lnTo>
                    <a:pt x="271" y="133"/>
                  </a:lnTo>
                  <a:lnTo>
                    <a:pt x="267" y="139"/>
                  </a:lnTo>
                  <a:lnTo>
                    <a:pt x="263" y="147"/>
                  </a:lnTo>
                  <a:lnTo>
                    <a:pt x="253" y="157"/>
                  </a:lnTo>
                  <a:lnTo>
                    <a:pt x="247" y="161"/>
                  </a:lnTo>
                  <a:lnTo>
                    <a:pt x="243" y="167"/>
                  </a:lnTo>
                  <a:lnTo>
                    <a:pt x="243" y="171"/>
                  </a:lnTo>
                  <a:lnTo>
                    <a:pt x="243" y="171"/>
                  </a:lnTo>
                  <a:lnTo>
                    <a:pt x="245" y="175"/>
                  </a:lnTo>
                  <a:lnTo>
                    <a:pt x="247" y="181"/>
                  </a:lnTo>
                  <a:lnTo>
                    <a:pt x="251" y="189"/>
                  </a:lnTo>
                  <a:lnTo>
                    <a:pt x="251" y="193"/>
                  </a:lnTo>
                  <a:lnTo>
                    <a:pt x="251" y="195"/>
                  </a:lnTo>
                  <a:lnTo>
                    <a:pt x="251" y="195"/>
                  </a:lnTo>
                  <a:lnTo>
                    <a:pt x="251" y="205"/>
                  </a:lnTo>
                  <a:lnTo>
                    <a:pt x="251" y="215"/>
                  </a:lnTo>
                  <a:lnTo>
                    <a:pt x="251" y="215"/>
                  </a:lnTo>
                  <a:lnTo>
                    <a:pt x="253" y="221"/>
                  </a:lnTo>
                  <a:lnTo>
                    <a:pt x="255" y="229"/>
                  </a:lnTo>
                  <a:lnTo>
                    <a:pt x="259" y="239"/>
                  </a:lnTo>
                  <a:lnTo>
                    <a:pt x="259" y="241"/>
                  </a:lnTo>
                  <a:lnTo>
                    <a:pt x="253" y="243"/>
                  </a:lnTo>
                  <a:lnTo>
                    <a:pt x="253" y="243"/>
                  </a:lnTo>
                  <a:lnTo>
                    <a:pt x="239" y="263"/>
                  </a:lnTo>
                  <a:lnTo>
                    <a:pt x="229" y="267"/>
                  </a:lnTo>
                  <a:lnTo>
                    <a:pt x="227" y="267"/>
                  </a:lnTo>
                  <a:lnTo>
                    <a:pt x="227" y="265"/>
                  </a:lnTo>
                  <a:lnTo>
                    <a:pt x="227" y="265"/>
                  </a:lnTo>
                  <a:lnTo>
                    <a:pt x="227" y="257"/>
                  </a:lnTo>
                  <a:lnTo>
                    <a:pt x="225" y="243"/>
                  </a:lnTo>
                  <a:lnTo>
                    <a:pt x="223" y="229"/>
                  </a:lnTo>
                  <a:lnTo>
                    <a:pt x="219" y="215"/>
                  </a:lnTo>
                  <a:lnTo>
                    <a:pt x="219" y="215"/>
                  </a:lnTo>
                  <a:lnTo>
                    <a:pt x="201" y="175"/>
                  </a:lnTo>
                  <a:lnTo>
                    <a:pt x="193" y="179"/>
                  </a:lnTo>
                  <a:lnTo>
                    <a:pt x="193" y="179"/>
                  </a:lnTo>
                  <a:lnTo>
                    <a:pt x="177" y="183"/>
                  </a:lnTo>
                  <a:lnTo>
                    <a:pt x="177" y="183"/>
                  </a:lnTo>
                  <a:lnTo>
                    <a:pt x="177" y="183"/>
                  </a:lnTo>
                  <a:lnTo>
                    <a:pt x="177" y="183"/>
                  </a:lnTo>
                  <a:lnTo>
                    <a:pt x="177" y="183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22" name="Freeform 81"/>
            <p:cNvSpPr>
              <a:spLocks/>
            </p:cNvSpPr>
            <p:nvPr/>
          </p:nvSpPr>
          <p:spPr bwMode="auto">
            <a:xfrm>
              <a:off x="811" y="2426"/>
              <a:ext cx="66" cy="102"/>
            </a:xfrm>
            <a:custGeom>
              <a:avLst/>
              <a:gdLst>
                <a:gd name="T0" fmla="*/ 50 w 66"/>
                <a:gd name="T1" fmla="*/ 70 h 102"/>
                <a:gd name="T2" fmla="*/ 52 w 66"/>
                <a:gd name="T3" fmla="*/ 70 h 102"/>
                <a:gd name="T4" fmla="*/ 56 w 66"/>
                <a:gd name="T5" fmla="*/ 76 h 102"/>
                <a:gd name="T6" fmla="*/ 60 w 66"/>
                <a:gd name="T7" fmla="*/ 76 h 102"/>
                <a:gd name="T8" fmla="*/ 64 w 66"/>
                <a:gd name="T9" fmla="*/ 66 h 102"/>
                <a:gd name="T10" fmla="*/ 66 w 66"/>
                <a:gd name="T11" fmla="*/ 54 h 102"/>
                <a:gd name="T12" fmla="*/ 62 w 66"/>
                <a:gd name="T13" fmla="*/ 40 h 102"/>
                <a:gd name="T14" fmla="*/ 52 w 66"/>
                <a:gd name="T15" fmla="*/ 28 h 102"/>
                <a:gd name="T16" fmla="*/ 50 w 66"/>
                <a:gd name="T17" fmla="*/ 22 h 102"/>
                <a:gd name="T18" fmla="*/ 38 w 66"/>
                <a:gd name="T19" fmla="*/ 28 h 102"/>
                <a:gd name="T20" fmla="*/ 38 w 66"/>
                <a:gd name="T21" fmla="*/ 28 h 102"/>
                <a:gd name="T22" fmla="*/ 32 w 66"/>
                <a:gd name="T23" fmla="*/ 20 h 102"/>
                <a:gd name="T24" fmla="*/ 28 w 66"/>
                <a:gd name="T25" fmla="*/ 12 h 102"/>
                <a:gd name="T26" fmla="*/ 28 w 66"/>
                <a:gd name="T27" fmla="*/ 8 h 102"/>
                <a:gd name="T28" fmla="*/ 22 w 66"/>
                <a:gd name="T29" fmla="*/ 0 h 102"/>
                <a:gd name="T30" fmla="*/ 20 w 66"/>
                <a:gd name="T31" fmla="*/ 0 h 102"/>
                <a:gd name="T32" fmla="*/ 18 w 66"/>
                <a:gd name="T33" fmla="*/ 6 h 102"/>
                <a:gd name="T34" fmla="*/ 20 w 66"/>
                <a:gd name="T35" fmla="*/ 14 h 102"/>
                <a:gd name="T36" fmla="*/ 26 w 66"/>
                <a:gd name="T37" fmla="*/ 28 h 102"/>
                <a:gd name="T38" fmla="*/ 34 w 66"/>
                <a:gd name="T39" fmla="*/ 38 h 102"/>
                <a:gd name="T40" fmla="*/ 38 w 66"/>
                <a:gd name="T41" fmla="*/ 38 h 102"/>
                <a:gd name="T42" fmla="*/ 44 w 66"/>
                <a:gd name="T43" fmla="*/ 28 h 102"/>
                <a:gd name="T44" fmla="*/ 46 w 66"/>
                <a:gd name="T45" fmla="*/ 32 h 102"/>
                <a:gd name="T46" fmla="*/ 50 w 66"/>
                <a:gd name="T47" fmla="*/ 40 h 102"/>
                <a:gd name="T48" fmla="*/ 52 w 66"/>
                <a:gd name="T49" fmla="*/ 42 h 102"/>
                <a:gd name="T50" fmla="*/ 50 w 66"/>
                <a:gd name="T51" fmla="*/ 46 h 102"/>
                <a:gd name="T52" fmla="*/ 44 w 66"/>
                <a:gd name="T53" fmla="*/ 56 h 102"/>
                <a:gd name="T54" fmla="*/ 44 w 66"/>
                <a:gd name="T55" fmla="*/ 58 h 102"/>
                <a:gd name="T56" fmla="*/ 34 w 66"/>
                <a:gd name="T57" fmla="*/ 60 h 102"/>
                <a:gd name="T58" fmla="*/ 28 w 66"/>
                <a:gd name="T59" fmla="*/ 64 h 102"/>
                <a:gd name="T60" fmla="*/ 24 w 66"/>
                <a:gd name="T61" fmla="*/ 68 h 102"/>
                <a:gd name="T62" fmla="*/ 20 w 66"/>
                <a:gd name="T63" fmla="*/ 78 h 102"/>
                <a:gd name="T64" fmla="*/ 18 w 66"/>
                <a:gd name="T65" fmla="*/ 78 h 102"/>
                <a:gd name="T66" fmla="*/ 16 w 66"/>
                <a:gd name="T67" fmla="*/ 76 h 102"/>
                <a:gd name="T68" fmla="*/ 16 w 66"/>
                <a:gd name="T69" fmla="*/ 74 h 102"/>
                <a:gd name="T70" fmla="*/ 16 w 66"/>
                <a:gd name="T71" fmla="*/ 74 h 102"/>
                <a:gd name="T72" fmla="*/ 6 w 66"/>
                <a:gd name="T73" fmla="*/ 74 h 102"/>
                <a:gd name="T74" fmla="*/ 2 w 66"/>
                <a:gd name="T75" fmla="*/ 74 h 102"/>
                <a:gd name="T76" fmla="*/ 0 w 66"/>
                <a:gd name="T77" fmla="*/ 78 h 102"/>
                <a:gd name="T78" fmla="*/ 4 w 66"/>
                <a:gd name="T79" fmla="*/ 86 h 102"/>
                <a:gd name="T80" fmla="*/ 6 w 66"/>
                <a:gd name="T81" fmla="*/ 94 h 102"/>
                <a:gd name="T82" fmla="*/ 6 w 66"/>
                <a:gd name="T83" fmla="*/ 102 h 102"/>
                <a:gd name="T84" fmla="*/ 14 w 66"/>
                <a:gd name="T85" fmla="*/ 100 h 102"/>
                <a:gd name="T86" fmla="*/ 22 w 66"/>
                <a:gd name="T87" fmla="*/ 92 h 102"/>
                <a:gd name="T88" fmla="*/ 34 w 66"/>
                <a:gd name="T89" fmla="*/ 86 h 102"/>
                <a:gd name="T90" fmla="*/ 40 w 66"/>
                <a:gd name="T91" fmla="*/ 82 h 102"/>
                <a:gd name="T92" fmla="*/ 50 w 66"/>
                <a:gd name="T93" fmla="*/ 70 h 102"/>
                <a:gd name="T94" fmla="*/ 50 w 66"/>
                <a:gd name="T95" fmla="*/ 70 h 102"/>
                <a:gd name="T96" fmla="*/ 50 w 66"/>
                <a:gd name="T97" fmla="*/ 7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6" h="102">
                  <a:moveTo>
                    <a:pt x="50" y="70"/>
                  </a:moveTo>
                  <a:lnTo>
                    <a:pt x="50" y="70"/>
                  </a:lnTo>
                  <a:lnTo>
                    <a:pt x="50" y="70"/>
                  </a:lnTo>
                  <a:lnTo>
                    <a:pt x="52" y="70"/>
                  </a:lnTo>
                  <a:lnTo>
                    <a:pt x="54" y="74"/>
                  </a:lnTo>
                  <a:lnTo>
                    <a:pt x="56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4" y="66"/>
                  </a:lnTo>
                  <a:lnTo>
                    <a:pt x="66" y="54"/>
                  </a:lnTo>
                  <a:lnTo>
                    <a:pt x="66" y="54"/>
                  </a:lnTo>
                  <a:lnTo>
                    <a:pt x="64" y="46"/>
                  </a:lnTo>
                  <a:lnTo>
                    <a:pt x="62" y="40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44" y="22"/>
                  </a:lnTo>
                  <a:lnTo>
                    <a:pt x="38" y="28"/>
                  </a:lnTo>
                  <a:lnTo>
                    <a:pt x="38" y="28"/>
                  </a:lnTo>
                  <a:lnTo>
                    <a:pt x="38" y="28"/>
                  </a:lnTo>
                  <a:lnTo>
                    <a:pt x="34" y="24"/>
                  </a:lnTo>
                  <a:lnTo>
                    <a:pt x="32" y="20"/>
                  </a:lnTo>
                  <a:lnTo>
                    <a:pt x="28" y="1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24" y="2"/>
                  </a:lnTo>
                  <a:lnTo>
                    <a:pt x="22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8" y="2"/>
                  </a:lnTo>
                  <a:lnTo>
                    <a:pt x="18" y="6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2" y="20"/>
                  </a:lnTo>
                  <a:lnTo>
                    <a:pt x="26" y="28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38" y="40"/>
                  </a:lnTo>
                  <a:lnTo>
                    <a:pt x="38" y="38"/>
                  </a:lnTo>
                  <a:lnTo>
                    <a:pt x="42" y="3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6" y="32"/>
                  </a:lnTo>
                  <a:lnTo>
                    <a:pt x="50" y="40"/>
                  </a:lnTo>
                  <a:lnTo>
                    <a:pt x="50" y="40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50" y="46"/>
                  </a:lnTo>
                  <a:lnTo>
                    <a:pt x="50" y="46"/>
                  </a:lnTo>
                  <a:lnTo>
                    <a:pt x="46" y="52"/>
                  </a:lnTo>
                  <a:lnTo>
                    <a:pt x="44" y="56"/>
                  </a:lnTo>
                  <a:lnTo>
                    <a:pt x="44" y="58"/>
                  </a:lnTo>
                  <a:lnTo>
                    <a:pt x="44" y="58"/>
                  </a:lnTo>
                  <a:lnTo>
                    <a:pt x="40" y="60"/>
                  </a:lnTo>
                  <a:lnTo>
                    <a:pt x="34" y="60"/>
                  </a:lnTo>
                  <a:lnTo>
                    <a:pt x="30" y="60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4" y="68"/>
                  </a:lnTo>
                  <a:lnTo>
                    <a:pt x="22" y="70"/>
                  </a:lnTo>
                  <a:lnTo>
                    <a:pt x="20" y="78"/>
                  </a:lnTo>
                  <a:lnTo>
                    <a:pt x="20" y="78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16" y="76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0" y="70"/>
                  </a:lnTo>
                  <a:lnTo>
                    <a:pt x="6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0" y="76"/>
                  </a:lnTo>
                  <a:lnTo>
                    <a:pt x="0" y="78"/>
                  </a:lnTo>
                  <a:lnTo>
                    <a:pt x="4" y="86"/>
                  </a:lnTo>
                  <a:lnTo>
                    <a:pt x="4" y="86"/>
                  </a:lnTo>
                  <a:lnTo>
                    <a:pt x="6" y="90"/>
                  </a:lnTo>
                  <a:lnTo>
                    <a:pt x="6" y="94"/>
                  </a:lnTo>
                  <a:lnTo>
                    <a:pt x="6" y="100"/>
                  </a:lnTo>
                  <a:lnTo>
                    <a:pt x="6" y="102"/>
                  </a:lnTo>
                  <a:lnTo>
                    <a:pt x="6" y="102"/>
                  </a:lnTo>
                  <a:lnTo>
                    <a:pt x="14" y="100"/>
                  </a:lnTo>
                  <a:lnTo>
                    <a:pt x="22" y="92"/>
                  </a:lnTo>
                  <a:lnTo>
                    <a:pt x="22" y="92"/>
                  </a:lnTo>
                  <a:lnTo>
                    <a:pt x="28" y="88"/>
                  </a:lnTo>
                  <a:lnTo>
                    <a:pt x="34" y="86"/>
                  </a:lnTo>
                  <a:lnTo>
                    <a:pt x="34" y="86"/>
                  </a:lnTo>
                  <a:lnTo>
                    <a:pt x="40" y="82"/>
                  </a:lnTo>
                  <a:lnTo>
                    <a:pt x="44" y="78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50" y="7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23" name="Freeform 82"/>
            <p:cNvSpPr>
              <a:spLocks/>
            </p:cNvSpPr>
            <p:nvPr/>
          </p:nvSpPr>
          <p:spPr bwMode="auto">
            <a:xfrm>
              <a:off x="1520" y="1785"/>
              <a:ext cx="28" cy="12"/>
            </a:xfrm>
            <a:custGeom>
              <a:avLst/>
              <a:gdLst>
                <a:gd name="T0" fmla="*/ 16 w 28"/>
                <a:gd name="T1" fmla="*/ 12 h 12"/>
                <a:gd name="T2" fmla="*/ 16 w 28"/>
                <a:gd name="T3" fmla="*/ 12 h 12"/>
                <a:gd name="T4" fmla="*/ 22 w 28"/>
                <a:gd name="T5" fmla="*/ 12 h 12"/>
                <a:gd name="T6" fmla="*/ 28 w 28"/>
                <a:gd name="T7" fmla="*/ 8 h 12"/>
                <a:gd name="T8" fmla="*/ 28 w 28"/>
                <a:gd name="T9" fmla="*/ 8 h 12"/>
                <a:gd name="T10" fmla="*/ 20 w 28"/>
                <a:gd name="T11" fmla="*/ 8 h 12"/>
                <a:gd name="T12" fmla="*/ 16 w 28"/>
                <a:gd name="T13" fmla="*/ 8 h 12"/>
                <a:gd name="T14" fmla="*/ 16 w 28"/>
                <a:gd name="T15" fmla="*/ 8 h 12"/>
                <a:gd name="T16" fmla="*/ 2 w 28"/>
                <a:gd name="T17" fmla="*/ 0 h 12"/>
                <a:gd name="T18" fmla="*/ 2 w 28"/>
                <a:gd name="T19" fmla="*/ 0 h 12"/>
                <a:gd name="T20" fmla="*/ 2 w 28"/>
                <a:gd name="T21" fmla="*/ 0 h 12"/>
                <a:gd name="T22" fmla="*/ 2 w 28"/>
                <a:gd name="T23" fmla="*/ 0 h 12"/>
                <a:gd name="T24" fmla="*/ 0 w 28"/>
                <a:gd name="T25" fmla="*/ 0 h 12"/>
                <a:gd name="T26" fmla="*/ 0 w 28"/>
                <a:gd name="T27" fmla="*/ 0 h 12"/>
                <a:gd name="T28" fmla="*/ 6 w 28"/>
                <a:gd name="T29" fmla="*/ 8 h 12"/>
                <a:gd name="T30" fmla="*/ 10 w 28"/>
                <a:gd name="T31" fmla="*/ 10 h 12"/>
                <a:gd name="T32" fmla="*/ 16 w 28"/>
                <a:gd name="T33" fmla="*/ 12 h 12"/>
                <a:gd name="T34" fmla="*/ 16 w 28"/>
                <a:gd name="T35" fmla="*/ 12 h 12"/>
                <a:gd name="T36" fmla="*/ 16 w 28"/>
                <a:gd name="T37" fmla="*/ 12 h 12"/>
                <a:gd name="T38" fmla="*/ 16 w 28"/>
                <a:gd name="T39" fmla="*/ 12 h 12"/>
                <a:gd name="T40" fmla="*/ 16 w 28"/>
                <a:gd name="T4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8" h="12">
                  <a:moveTo>
                    <a:pt x="16" y="12"/>
                  </a:moveTo>
                  <a:lnTo>
                    <a:pt x="16" y="12"/>
                  </a:lnTo>
                  <a:lnTo>
                    <a:pt x="22" y="12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0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8"/>
                  </a:lnTo>
                  <a:lnTo>
                    <a:pt x="10" y="10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24" name="Freeform 83"/>
            <p:cNvSpPr>
              <a:spLocks/>
            </p:cNvSpPr>
            <p:nvPr/>
          </p:nvSpPr>
          <p:spPr bwMode="auto">
            <a:xfrm>
              <a:off x="2295" y="1789"/>
              <a:ext cx="26" cy="54"/>
            </a:xfrm>
            <a:custGeom>
              <a:avLst/>
              <a:gdLst>
                <a:gd name="T0" fmla="*/ 22 w 26"/>
                <a:gd name="T1" fmla="*/ 54 h 54"/>
                <a:gd name="T2" fmla="*/ 22 w 26"/>
                <a:gd name="T3" fmla="*/ 54 h 54"/>
                <a:gd name="T4" fmla="*/ 24 w 26"/>
                <a:gd name="T5" fmla="*/ 54 h 54"/>
                <a:gd name="T6" fmla="*/ 26 w 26"/>
                <a:gd name="T7" fmla="*/ 52 h 54"/>
                <a:gd name="T8" fmla="*/ 26 w 26"/>
                <a:gd name="T9" fmla="*/ 52 h 54"/>
                <a:gd name="T10" fmla="*/ 26 w 26"/>
                <a:gd name="T11" fmla="*/ 44 h 54"/>
                <a:gd name="T12" fmla="*/ 26 w 26"/>
                <a:gd name="T13" fmla="*/ 36 h 54"/>
                <a:gd name="T14" fmla="*/ 26 w 26"/>
                <a:gd name="T15" fmla="*/ 36 h 54"/>
                <a:gd name="T16" fmla="*/ 24 w 26"/>
                <a:gd name="T17" fmla="*/ 26 h 54"/>
                <a:gd name="T18" fmla="*/ 22 w 26"/>
                <a:gd name="T19" fmla="*/ 8 h 54"/>
                <a:gd name="T20" fmla="*/ 22 w 26"/>
                <a:gd name="T21" fmla="*/ 8 h 54"/>
                <a:gd name="T22" fmla="*/ 22 w 26"/>
                <a:gd name="T23" fmla="*/ 4 h 54"/>
                <a:gd name="T24" fmla="*/ 18 w 26"/>
                <a:gd name="T25" fmla="*/ 0 h 54"/>
                <a:gd name="T26" fmla="*/ 18 w 26"/>
                <a:gd name="T27" fmla="*/ 0 h 54"/>
                <a:gd name="T28" fmla="*/ 16 w 26"/>
                <a:gd name="T29" fmla="*/ 0 h 54"/>
                <a:gd name="T30" fmla="*/ 8 w 26"/>
                <a:gd name="T31" fmla="*/ 8 h 54"/>
                <a:gd name="T32" fmla="*/ 2 w 26"/>
                <a:gd name="T33" fmla="*/ 12 h 54"/>
                <a:gd name="T34" fmla="*/ 2 w 26"/>
                <a:gd name="T35" fmla="*/ 12 h 54"/>
                <a:gd name="T36" fmla="*/ 0 w 26"/>
                <a:gd name="T37" fmla="*/ 12 h 54"/>
                <a:gd name="T38" fmla="*/ 0 w 26"/>
                <a:gd name="T39" fmla="*/ 16 h 54"/>
                <a:gd name="T40" fmla="*/ 2 w 26"/>
                <a:gd name="T41" fmla="*/ 22 h 54"/>
                <a:gd name="T42" fmla="*/ 8 w 26"/>
                <a:gd name="T43" fmla="*/ 38 h 54"/>
                <a:gd name="T44" fmla="*/ 8 w 26"/>
                <a:gd name="T45" fmla="*/ 38 h 54"/>
                <a:gd name="T46" fmla="*/ 12 w 26"/>
                <a:gd name="T47" fmla="*/ 44 h 54"/>
                <a:gd name="T48" fmla="*/ 12 w 26"/>
                <a:gd name="T49" fmla="*/ 50 h 54"/>
                <a:gd name="T50" fmla="*/ 18 w 26"/>
                <a:gd name="T51" fmla="*/ 52 h 54"/>
                <a:gd name="T52" fmla="*/ 22 w 26"/>
                <a:gd name="T53" fmla="*/ 54 h 54"/>
                <a:gd name="T54" fmla="*/ 22 w 26"/>
                <a:gd name="T55" fmla="*/ 54 h 54"/>
                <a:gd name="T56" fmla="*/ 22 w 26"/>
                <a:gd name="T57" fmla="*/ 54 h 54"/>
                <a:gd name="T58" fmla="*/ 22 w 26"/>
                <a:gd name="T59" fmla="*/ 54 h 54"/>
                <a:gd name="T60" fmla="*/ 22 w 26"/>
                <a:gd name="T61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6" h="54">
                  <a:moveTo>
                    <a:pt x="22" y="54"/>
                  </a:moveTo>
                  <a:lnTo>
                    <a:pt x="22" y="54"/>
                  </a:lnTo>
                  <a:lnTo>
                    <a:pt x="24" y="54"/>
                  </a:lnTo>
                  <a:lnTo>
                    <a:pt x="26" y="52"/>
                  </a:lnTo>
                  <a:lnTo>
                    <a:pt x="26" y="52"/>
                  </a:lnTo>
                  <a:lnTo>
                    <a:pt x="26" y="44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4" y="26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4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6" y="0"/>
                  </a:lnTo>
                  <a:lnTo>
                    <a:pt x="8" y="8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2" y="22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12" y="44"/>
                  </a:lnTo>
                  <a:lnTo>
                    <a:pt x="12" y="50"/>
                  </a:lnTo>
                  <a:lnTo>
                    <a:pt x="18" y="52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22" y="54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25" name="Freeform 84"/>
            <p:cNvSpPr>
              <a:spLocks/>
            </p:cNvSpPr>
            <p:nvPr/>
          </p:nvSpPr>
          <p:spPr bwMode="auto">
            <a:xfrm>
              <a:off x="2715" y="1823"/>
              <a:ext cx="16" cy="22"/>
            </a:xfrm>
            <a:custGeom>
              <a:avLst/>
              <a:gdLst>
                <a:gd name="T0" fmla="*/ 14 w 16"/>
                <a:gd name="T1" fmla="*/ 22 h 22"/>
                <a:gd name="T2" fmla="*/ 16 w 16"/>
                <a:gd name="T3" fmla="*/ 18 h 22"/>
                <a:gd name="T4" fmla="*/ 16 w 16"/>
                <a:gd name="T5" fmla="*/ 18 h 22"/>
                <a:gd name="T6" fmla="*/ 16 w 16"/>
                <a:gd name="T7" fmla="*/ 0 h 22"/>
                <a:gd name="T8" fmla="*/ 16 w 16"/>
                <a:gd name="T9" fmla="*/ 0 h 22"/>
                <a:gd name="T10" fmla="*/ 16 w 16"/>
                <a:gd name="T11" fmla="*/ 0 h 22"/>
                <a:gd name="T12" fmla="*/ 14 w 16"/>
                <a:gd name="T13" fmla="*/ 0 h 22"/>
                <a:gd name="T14" fmla="*/ 12 w 16"/>
                <a:gd name="T15" fmla="*/ 2 h 22"/>
                <a:gd name="T16" fmla="*/ 2 w 16"/>
                <a:gd name="T17" fmla="*/ 8 h 22"/>
                <a:gd name="T18" fmla="*/ 2 w 16"/>
                <a:gd name="T19" fmla="*/ 8 h 22"/>
                <a:gd name="T20" fmla="*/ 0 w 16"/>
                <a:gd name="T21" fmla="*/ 12 h 22"/>
                <a:gd name="T22" fmla="*/ 2 w 16"/>
                <a:gd name="T23" fmla="*/ 16 h 22"/>
                <a:gd name="T24" fmla="*/ 8 w 16"/>
                <a:gd name="T25" fmla="*/ 18 h 22"/>
                <a:gd name="T26" fmla="*/ 14 w 16"/>
                <a:gd name="T27" fmla="*/ 22 h 22"/>
                <a:gd name="T28" fmla="*/ 14 w 16"/>
                <a:gd name="T29" fmla="*/ 22 h 22"/>
                <a:gd name="T30" fmla="*/ 14 w 16"/>
                <a:gd name="T31" fmla="*/ 22 h 22"/>
                <a:gd name="T32" fmla="*/ 14 w 16"/>
                <a:gd name="T33" fmla="*/ 22 h 22"/>
                <a:gd name="T34" fmla="*/ 14 w 16"/>
                <a:gd name="T3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" h="22">
                  <a:moveTo>
                    <a:pt x="14" y="22"/>
                  </a:moveTo>
                  <a:lnTo>
                    <a:pt x="16" y="18"/>
                  </a:lnTo>
                  <a:lnTo>
                    <a:pt x="16" y="18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2" y="2"/>
                  </a:lnTo>
                  <a:lnTo>
                    <a:pt x="2" y="8"/>
                  </a:lnTo>
                  <a:lnTo>
                    <a:pt x="2" y="8"/>
                  </a:lnTo>
                  <a:lnTo>
                    <a:pt x="0" y="12"/>
                  </a:lnTo>
                  <a:lnTo>
                    <a:pt x="2" y="16"/>
                  </a:lnTo>
                  <a:lnTo>
                    <a:pt x="8" y="18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2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26" name="Freeform 85"/>
            <p:cNvSpPr>
              <a:spLocks/>
            </p:cNvSpPr>
            <p:nvPr/>
          </p:nvSpPr>
          <p:spPr bwMode="auto">
            <a:xfrm>
              <a:off x="3300" y="1777"/>
              <a:ext cx="30" cy="24"/>
            </a:xfrm>
            <a:custGeom>
              <a:avLst/>
              <a:gdLst>
                <a:gd name="T0" fmla="*/ 4 w 30"/>
                <a:gd name="T1" fmla="*/ 6 h 24"/>
                <a:gd name="T2" fmla="*/ 4 w 30"/>
                <a:gd name="T3" fmla="*/ 6 h 24"/>
                <a:gd name="T4" fmla="*/ 6 w 30"/>
                <a:gd name="T5" fmla="*/ 6 h 24"/>
                <a:gd name="T6" fmla="*/ 4 w 30"/>
                <a:gd name="T7" fmla="*/ 8 h 24"/>
                <a:gd name="T8" fmla="*/ 0 w 30"/>
                <a:gd name="T9" fmla="*/ 16 h 24"/>
                <a:gd name="T10" fmla="*/ 0 w 30"/>
                <a:gd name="T11" fmla="*/ 16 h 24"/>
                <a:gd name="T12" fmla="*/ 0 w 30"/>
                <a:gd name="T13" fmla="*/ 20 h 24"/>
                <a:gd name="T14" fmla="*/ 0 w 30"/>
                <a:gd name="T15" fmla="*/ 20 h 24"/>
                <a:gd name="T16" fmla="*/ 4 w 30"/>
                <a:gd name="T17" fmla="*/ 22 h 24"/>
                <a:gd name="T18" fmla="*/ 22 w 30"/>
                <a:gd name="T19" fmla="*/ 24 h 24"/>
                <a:gd name="T20" fmla="*/ 22 w 30"/>
                <a:gd name="T21" fmla="*/ 24 h 24"/>
                <a:gd name="T22" fmla="*/ 26 w 30"/>
                <a:gd name="T23" fmla="*/ 20 h 24"/>
                <a:gd name="T24" fmla="*/ 26 w 30"/>
                <a:gd name="T25" fmla="*/ 12 h 24"/>
                <a:gd name="T26" fmla="*/ 30 w 30"/>
                <a:gd name="T27" fmla="*/ 6 h 24"/>
                <a:gd name="T28" fmla="*/ 30 w 30"/>
                <a:gd name="T29" fmla="*/ 6 h 24"/>
                <a:gd name="T30" fmla="*/ 30 w 30"/>
                <a:gd name="T31" fmla="*/ 4 h 24"/>
                <a:gd name="T32" fmla="*/ 28 w 30"/>
                <a:gd name="T33" fmla="*/ 2 h 24"/>
                <a:gd name="T34" fmla="*/ 24 w 30"/>
                <a:gd name="T35" fmla="*/ 0 h 24"/>
                <a:gd name="T36" fmla="*/ 18 w 30"/>
                <a:gd name="T37" fmla="*/ 0 h 24"/>
                <a:gd name="T38" fmla="*/ 8 w 30"/>
                <a:gd name="T39" fmla="*/ 0 h 24"/>
                <a:gd name="T40" fmla="*/ 8 w 30"/>
                <a:gd name="T41" fmla="*/ 0 h 24"/>
                <a:gd name="T42" fmla="*/ 4 w 30"/>
                <a:gd name="T43" fmla="*/ 0 h 24"/>
                <a:gd name="T44" fmla="*/ 4 w 30"/>
                <a:gd name="T45" fmla="*/ 2 h 24"/>
                <a:gd name="T46" fmla="*/ 4 w 30"/>
                <a:gd name="T47" fmla="*/ 4 h 24"/>
                <a:gd name="T48" fmla="*/ 4 w 30"/>
                <a:gd name="T49" fmla="*/ 6 h 24"/>
                <a:gd name="T50" fmla="*/ 4 w 30"/>
                <a:gd name="T51" fmla="*/ 6 h 24"/>
                <a:gd name="T52" fmla="*/ 4 w 30"/>
                <a:gd name="T53" fmla="*/ 6 h 24"/>
                <a:gd name="T54" fmla="*/ 4 w 30"/>
                <a:gd name="T55" fmla="*/ 6 h 24"/>
                <a:gd name="T56" fmla="*/ 4 w 30"/>
                <a:gd name="T57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0" h="24">
                  <a:moveTo>
                    <a:pt x="4" y="6"/>
                  </a:moveTo>
                  <a:lnTo>
                    <a:pt x="4" y="6"/>
                  </a:lnTo>
                  <a:lnTo>
                    <a:pt x="6" y="6"/>
                  </a:lnTo>
                  <a:lnTo>
                    <a:pt x="4" y="8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2"/>
                  </a:lnTo>
                  <a:lnTo>
                    <a:pt x="22" y="24"/>
                  </a:lnTo>
                  <a:lnTo>
                    <a:pt x="22" y="24"/>
                  </a:lnTo>
                  <a:lnTo>
                    <a:pt x="26" y="20"/>
                  </a:lnTo>
                  <a:lnTo>
                    <a:pt x="26" y="12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0" y="4"/>
                  </a:lnTo>
                  <a:lnTo>
                    <a:pt x="28" y="2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4" y="0"/>
                  </a:lnTo>
                  <a:lnTo>
                    <a:pt x="4" y="2"/>
                  </a:lnTo>
                  <a:lnTo>
                    <a:pt x="4" y="4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27" name="Freeform 86"/>
            <p:cNvSpPr>
              <a:spLocks/>
            </p:cNvSpPr>
            <p:nvPr/>
          </p:nvSpPr>
          <p:spPr bwMode="auto">
            <a:xfrm>
              <a:off x="4497" y="2534"/>
              <a:ext cx="318" cy="408"/>
            </a:xfrm>
            <a:custGeom>
              <a:avLst/>
              <a:gdLst>
                <a:gd name="T0" fmla="*/ 298 w 318"/>
                <a:gd name="T1" fmla="*/ 332 h 408"/>
                <a:gd name="T2" fmla="*/ 280 w 318"/>
                <a:gd name="T3" fmla="*/ 332 h 408"/>
                <a:gd name="T4" fmla="*/ 270 w 318"/>
                <a:gd name="T5" fmla="*/ 332 h 408"/>
                <a:gd name="T6" fmla="*/ 239 w 318"/>
                <a:gd name="T7" fmla="*/ 314 h 408"/>
                <a:gd name="T8" fmla="*/ 229 w 318"/>
                <a:gd name="T9" fmla="*/ 308 h 408"/>
                <a:gd name="T10" fmla="*/ 213 w 318"/>
                <a:gd name="T11" fmla="*/ 274 h 408"/>
                <a:gd name="T12" fmla="*/ 203 w 318"/>
                <a:gd name="T13" fmla="*/ 249 h 408"/>
                <a:gd name="T14" fmla="*/ 203 w 318"/>
                <a:gd name="T15" fmla="*/ 229 h 408"/>
                <a:gd name="T16" fmla="*/ 207 w 318"/>
                <a:gd name="T17" fmla="*/ 215 h 408"/>
                <a:gd name="T18" fmla="*/ 223 w 318"/>
                <a:gd name="T19" fmla="*/ 205 h 408"/>
                <a:gd name="T20" fmla="*/ 241 w 318"/>
                <a:gd name="T21" fmla="*/ 203 h 408"/>
                <a:gd name="T22" fmla="*/ 177 w 318"/>
                <a:gd name="T23" fmla="*/ 157 h 408"/>
                <a:gd name="T24" fmla="*/ 157 w 318"/>
                <a:gd name="T25" fmla="*/ 139 h 408"/>
                <a:gd name="T26" fmla="*/ 129 w 318"/>
                <a:gd name="T27" fmla="*/ 113 h 408"/>
                <a:gd name="T28" fmla="*/ 99 w 318"/>
                <a:gd name="T29" fmla="*/ 93 h 408"/>
                <a:gd name="T30" fmla="*/ 83 w 318"/>
                <a:gd name="T31" fmla="*/ 71 h 408"/>
                <a:gd name="T32" fmla="*/ 69 w 318"/>
                <a:gd name="T33" fmla="*/ 53 h 408"/>
                <a:gd name="T34" fmla="*/ 59 w 318"/>
                <a:gd name="T35" fmla="*/ 49 h 408"/>
                <a:gd name="T36" fmla="*/ 34 w 318"/>
                <a:gd name="T37" fmla="*/ 20 h 408"/>
                <a:gd name="T38" fmla="*/ 16 w 318"/>
                <a:gd name="T39" fmla="*/ 2 h 408"/>
                <a:gd name="T40" fmla="*/ 6 w 318"/>
                <a:gd name="T41" fmla="*/ 2 h 408"/>
                <a:gd name="T42" fmla="*/ 0 w 318"/>
                <a:gd name="T43" fmla="*/ 8 h 408"/>
                <a:gd name="T44" fmla="*/ 22 w 318"/>
                <a:gd name="T45" fmla="*/ 20 h 408"/>
                <a:gd name="T46" fmla="*/ 30 w 318"/>
                <a:gd name="T47" fmla="*/ 26 h 408"/>
                <a:gd name="T48" fmla="*/ 34 w 318"/>
                <a:gd name="T49" fmla="*/ 39 h 408"/>
                <a:gd name="T50" fmla="*/ 34 w 318"/>
                <a:gd name="T51" fmla="*/ 45 h 408"/>
                <a:gd name="T52" fmla="*/ 24 w 318"/>
                <a:gd name="T53" fmla="*/ 47 h 408"/>
                <a:gd name="T54" fmla="*/ 18 w 318"/>
                <a:gd name="T55" fmla="*/ 51 h 408"/>
                <a:gd name="T56" fmla="*/ 18 w 318"/>
                <a:gd name="T57" fmla="*/ 63 h 408"/>
                <a:gd name="T58" fmla="*/ 37 w 318"/>
                <a:gd name="T59" fmla="*/ 87 h 408"/>
                <a:gd name="T60" fmla="*/ 45 w 318"/>
                <a:gd name="T61" fmla="*/ 111 h 408"/>
                <a:gd name="T62" fmla="*/ 55 w 318"/>
                <a:gd name="T63" fmla="*/ 123 h 408"/>
                <a:gd name="T64" fmla="*/ 87 w 318"/>
                <a:gd name="T65" fmla="*/ 149 h 408"/>
                <a:gd name="T66" fmla="*/ 103 w 318"/>
                <a:gd name="T67" fmla="*/ 157 h 408"/>
                <a:gd name="T68" fmla="*/ 119 w 318"/>
                <a:gd name="T69" fmla="*/ 183 h 408"/>
                <a:gd name="T70" fmla="*/ 137 w 318"/>
                <a:gd name="T71" fmla="*/ 211 h 408"/>
                <a:gd name="T72" fmla="*/ 173 w 318"/>
                <a:gd name="T73" fmla="*/ 270 h 408"/>
                <a:gd name="T74" fmla="*/ 177 w 318"/>
                <a:gd name="T75" fmla="*/ 282 h 408"/>
                <a:gd name="T76" fmla="*/ 191 w 318"/>
                <a:gd name="T77" fmla="*/ 292 h 408"/>
                <a:gd name="T78" fmla="*/ 207 w 318"/>
                <a:gd name="T79" fmla="*/ 310 h 408"/>
                <a:gd name="T80" fmla="*/ 221 w 318"/>
                <a:gd name="T81" fmla="*/ 332 h 408"/>
                <a:gd name="T82" fmla="*/ 235 w 318"/>
                <a:gd name="T83" fmla="*/ 344 h 408"/>
                <a:gd name="T84" fmla="*/ 245 w 318"/>
                <a:gd name="T85" fmla="*/ 374 h 408"/>
                <a:gd name="T86" fmla="*/ 251 w 318"/>
                <a:gd name="T87" fmla="*/ 388 h 408"/>
                <a:gd name="T88" fmla="*/ 270 w 318"/>
                <a:gd name="T89" fmla="*/ 404 h 408"/>
                <a:gd name="T90" fmla="*/ 274 w 318"/>
                <a:gd name="T91" fmla="*/ 390 h 408"/>
                <a:gd name="T92" fmla="*/ 266 w 318"/>
                <a:gd name="T93" fmla="*/ 362 h 408"/>
                <a:gd name="T94" fmla="*/ 270 w 318"/>
                <a:gd name="T95" fmla="*/ 358 h 408"/>
                <a:gd name="T96" fmla="*/ 280 w 318"/>
                <a:gd name="T97" fmla="*/ 358 h 408"/>
                <a:gd name="T98" fmla="*/ 288 w 318"/>
                <a:gd name="T99" fmla="*/ 354 h 408"/>
                <a:gd name="T100" fmla="*/ 298 w 318"/>
                <a:gd name="T101" fmla="*/ 346 h 408"/>
                <a:gd name="T102" fmla="*/ 308 w 318"/>
                <a:gd name="T103" fmla="*/ 348 h 408"/>
                <a:gd name="T104" fmla="*/ 318 w 318"/>
                <a:gd name="T105" fmla="*/ 362 h 408"/>
                <a:gd name="T106" fmla="*/ 316 w 318"/>
                <a:gd name="T107" fmla="*/ 358 h 408"/>
                <a:gd name="T108" fmla="*/ 304 w 318"/>
                <a:gd name="T109" fmla="*/ 334 h 408"/>
                <a:gd name="T110" fmla="*/ 304 w 318"/>
                <a:gd name="T111" fmla="*/ 334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18" h="408">
                  <a:moveTo>
                    <a:pt x="304" y="334"/>
                  </a:moveTo>
                  <a:lnTo>
                    <a:pt x="304" y="334"/>
                  </a:lnTo>
                  <a:lnTo>
                    <a:pt x="298" y="332"/>
                  </a:lnTo>
                  <a:lnTo>
                    <a:pt x="296" y="332"/>
                  </a:lnTo>
                  <a:lnTo>
                    <a:pt x="288" y="332"/>
                  </a:lnTo>
                  <a:lnTo>
                    <a:pt x="280" y="332"/>
                  </a:lnTo>
                  <a:lnTo>
                    <a:pt x="274" y="332"/>
                  </a:lnTo>
                  <a:lnTo>
                    <a:pt x="270" y="332"/>
                  </a:lnTo>
                  <a:lnTo>
                    <a:pt x="270" y="332"/>
                  </a:lnTo>
                  <a:lnTo>
                    <a:pt x="258" y="320"/>
                  </a:lnTo>
                  <a:lnTo>
                    <a:pt x="249" y="316"/>
                  </a:lnTo>
                  <a:lnTo>
                    <a:pt x="239" y="314"/>
                  </a:lnTo>
                  <a:lnTo>
                    <a:pt x="239" y="314"/>
                  </a:lnTo>
                  <a:lnTo>
                    <a:pt x="235" y="312"/>
                  </a:lnTo>
                  <a:lnTo>
                    <a:pt x="229" y="308"/>
                  </a:lnTo>
                  <a:lnTo>
                    <a:pt x="225" y="300"/>
                  </a:lnTo>
                  <a:lnTo>
                    <a:pt x="221" y="292"/>
                  </a:lnTo>
                  <a:lnTo>
                    <a:pt x="213" y="274"/>
                  </a:lnTo>
                  <a:lnTo>
                    <a:pt x="207" y="259"/>
                  </a:lnTo>
                  <a:lnTo>
                    <a:pt x="207" y="259"/>
                  </a:lnTo>
                  <a:lnTo>
                    <a:pt x="203" y="249"/>
                  </a:lnTo>
                  <a:lnTo>
                    <a:pt x="201" y="237"/>
                  </a:lnTo>
                  <a:lnTo>
                    <a:pt x="201" y="233"/>
                  </a:lnTo>
                  <a:lnTo>
                    <a:pt x="203" y="229"/>
                  </a:lnTo>
                  <a:lnTo>
                    <a:pt x="203" y="223"/>
                  </a:lnTo>
                  <a:lnTo>
                    <a:pt x="207" y="215"/>
                  </a:lnTo>
                  <a:lnTo>
                    <a:pt x="207" y="215"/>
                  </a:lnTo>
                  <a:lnTo>
                    <a:pt x="213" y="211"/>
                  </a:lnTo>
                  <a:lnTo>
                    <a:pt x="217" y="207"/>
                  </a:lnTo>
                  <a:lnTo>
                    <a:pt x="223" y="205"/>
                  </a:lnTo>
                  <a:lnTo>
                    <a:pt x="227" y="203"/>
                  </a:lnTo>
                  <a:lnTo>
                    <a:pt x="237" y="203"/>
                  </a:lnTo>
                  <a:lnTo>
                    <a:pt x="241" y="203"/>
                  </a:lnTo>
                  <a:lnTo>
                    <a:pt x="241" y="203"/>
                  </a:lnTo>
                  <a:lnTo>
                    <a:pt x="203" y="179"/>
                  </a:lnTo>
                  <a:lnTo>
                    <a:pt x="177" y="157"/>
                  </a:lnTo>
                  <a:lnTo>
                    <a:pt x="165" y="149"/>
                  </a:lnTo>
                  <a:lnTo>
                    <a:pt x="157" y="139"/>
                  </a:lnTo>
                  <a:lnTo>
                    <a:pt x="157" y="139"/>
                  </a:lnTo>
                  <a:lnTo>
                    <a:pt x="153" y="133"/>
                  </a:lnTo>
                  <a:lnTo>
                    <a:pt x="147" y="127"/>
                  </a:lnTo>
                  <a:lnTo>
                    <a:pt x="129" y="113"/>
                  </a:lnTo>
                  <a:lnTo>
                    <a:pt x="113" y="103"/>
                  </a:lnTo>
                  <a:lnTo>
                    <a:pt x="99" y="93"/>
                  </a:lnTo>
                  <a:lnTo>
                    <a:pt x="99" y="93"/>
                  </a:lnTo>
                  <a:lnTo>
                    <a:pt x="91" y="89"/>
                  </a:lnTo>
                  <a:lnTo>
                    <a:pt x="87" y="85"/>
                  </a:lnTo>
                  <a:lnTo>
                    <a:pt x="83" y="71"/>
                  </a:lnTo>
                  <a:lnTo>
                    <a:pt x="77" y="61"/>
                  </a:lnTo>
                  <a:lnTo>
                    <a:pt x="75" y="57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5" y="51"/>
                  </a:lnTo>
                  <a:lnTo>
                    <a:pt x="59" y="49"/>
                  </a:lnTo>
                  <a:lnTo>
                    <a:pt x="51" y="39"/>
                  </a:lnTo>
                  <a:lnTo>
                    <a:pt x="41" y="28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2" y="0"/>
                  </a:lnTo>
                  <a:lnTo>
                    <a:pt x="8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2" y="4"/>
                  </a:lnTo>
                  <a:lnTo>
                    <a:pt x="0" y="8"/>
                  </a:lnTo>
                  <a:lnTo>
                    <a:pt x="2" y="8"/>
                  </a:lnTo>
                  <a:lnTo>
                    <a:pt x="6" y="12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8" y="22"/>
                  </a:lnTo>
                  <a:lnTo>
                    <a:pt x="30" y="26"/>
                  </a:lnTo>
                  <a:lnTo>
                    <a:pt x="30" y="28"/>
                  </a:lnTo>
                  <a:lnTo>
                    <a:pt x="32" y="32"/>
                  </a:lnTo>
                  <a:lnTo>
                    <a:pt x="34" y="39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4" y="47"/>
                  </a:lnTo>
                  <a:lnTo>
                    <a:pt x="30" y="47"/>
                  </a:lnTo>
                  <a:lnTo>
                    <a:pt x="24" y="47"/>
                  </a:lnTo>
                  <a:lnTo>
                    <a:pt x="22" y="49"/>
                  </a:lnTo>
                  <a:lnTo>
                    <a:pt x="18" y="51"/>
                  </a:lnTo>
                  <a:lnTo>
                    <a:pt x="18" y="51"/>
                  </a:lnTo>
                  <a:lnTo>
                    <a:pt x="16" y="53"/>
                  </a:lnTo>
                  <a:lnTo>
                    <a:pt x="16" y="59"/>
                  </a:lnTo>
                  <a:lnTo>
                    <a:pt x="18" y="63"/>
                  </a:lnTo>
                  <a:lnTo>
                    <a:pt x="20" y="69"/>
                  </a:lnTo>
                  <a:lnTo>
                    <a:pt x="37" y="87"/>
                  </a:lnTo>
                  <a:lnTo>
                    <a:pt x="37" y="87"/>
                  </a:lnTo>
                  <a:lnTo>
                    <a:pt x="41" y="95"/>
                  </a:lnTo>
                  <a:lnTo>
                    <a:pt x="43" y="103"/>
                  </a:lnTo>
                  <a:lnTo>
                    <a:pt x="45" y="111"/>
                  </a:lnTo>
                  <a:lnTo>
                    <a:pt x="53" y="119"/>
                  </a:lnTo>
                  <a:lnTo>
                    <a:pt x="53" y="119"/>
                  </a:lnTo>
                  <a:lnTo>
                    <a:pt x="55" y="123"/>
                  </a:lnTo>
                  <a:lnTo>
                    <a:pt x="59" y="131"/>
                  </a:lnTo>
                  <a:lnTo>
                    <a:pt x="75" y="139"/>
                  </a:lnTo>
                  <a:lnTo>
                    <a:pt x="87" y="149"/>
                  </a:lnTo>
                  <a:lnTo>
                    <a:pt x="101" y="155"/>
                  </a:lnTo>
                  <a:lnTo>
                    <a:pt x="101" y="155"/>
                  </a:lnTo>
                  <a:lnTo>
                    <a:pt x="103" y="157"/>
                  </a:lnTo>
                  <a:lnTo>
                    <a:pt x="107" y="161"/>
                  </a:lnTo>
                  <a:lnTo>
                    <a:pt x="113" y="173"/>
                  </a:lnTo>
                  <a:lnTo>
                    <a:pt x="119" y="183"/>
                  </a:lnTo>
                  <a:lnTo>
                    <a:pt x="127" y="195"/>
                  </a:lnTo>
                  <a:lnTo>
                    <a:pt x="127" y="195"/>
                  </a:lnTo>
                  <a:lnTo>
                    <a:pt x="137" y="211"/>
                  </a:lnTo>
                  <a:lnTo>
                    <a:pt x="155" y="235"/>
                  </a:lnTo>
                  <a:lnTo>
                    <a:pt x="169" y="259"/>
                  </a:lnTo>
                  <a:lnTo>
                    <a:pt x="173" y="270"/>
                  </a:lnTo>
                  <a:lnTo>
                    <a:pt x="175" y="278"/>
                  </a:lnTo>
                  <a:lnTo>
                    <a:pt x="175" y="278"/>
                  </a:lnTo>
                  <a:lnTo>
                    <a:pt x="177" y="282"/>
                  </a:lnTo>
                  <a:lnTo>
                    <a:pt x="181" y="288"/>
                  </a:lnTo>
                  <a:lnTo>
                    <a:pt x="183" y="290"/>
                  </a:lnTo>
                  <a:lnTo>
                    <a:pt x="191" y="292"/>
                  </a:lnTo>
                  <a:lnTo>
                    <a:pt x="199" y="300"/>
                  </a:lnTo>
                  <a:lnTo>
                    <a:pt x="205" y="304"/>
                  </a:lnTo>
                  <a:lnTo>
                    <a:pt x="207" y="310"/>
                  </a:lnTo>
                  <a:lnTo>
                    <a:pt x="207" y="310"/>
                  </a:lnTo>
                  <a:lnTo>
                    <a:pt x="217" y="326"/>
                  </a:lnTo>
                  <a:lnTo>
                    <a:pt x="221" y="332"/>
                  </a:lnTo>
                  <a:lnTo>
                    <a:pt x="227" y="340"/>
                  </a:lnTo>
                  <a:lnTo>
                    <a:pt x="227" y="340"/>
                  </a:lnTo>
                  <a:lnTo>
                    <a:pt x="235" y="344"/>
                  </a:lnTo>
                  <a:lnTo>
                    <a:pt x="239" y="354"/>
                  </a:lnTo>
                  <a:lnTo>
                    <a:pt x="241" y="362"/>
                  </a:lnTo>
                  <a:lnTo>
                    <a:pt x="245" y="374"/>
                  </a:lnTo>
                  <a:lnTo>
                    <a:pt x="245" y="374"/>
                  </a:lnTo>
                  <a:lnTo>
                    <a:pt x="247" y="382"/>
                  </a:lnTo>
                  <a:lnTo>
                    <a:pt x="251" y="388"/>
                  </a:lnTo>
                  <a:lnTo>
                    <a:pt x="256" y="390"/>
                  </a:lnTo>
                  <a:lnTo>
                    <a:pt x="260" y="394"/>
                  </a:lnTo>
                  <a:lnTo>
                    <a:pt x="270" y="404"/>
                  </a:lnTo>
                  <a:lnTo>
                    <a:pt x="280" y="408"/>
                  </a:lnTo>
                  <a:lnTo>
                    <a:pt x="280" y="408"/>
                  </a:lnTo>
                  <a:lnTo>
                    <a:pt x="274" y="390"/>
                  </a:lnTo>
                  <a:lnTo>
                    <a:pt x="268" y="366"/>
                  </a:lnTo>
                  <a:lnTo>
                    <a:pt x="268" y="366"/>
                  </a:lnTo>
                  <a:lnTo>
                    <a:pt x="266" y="362"/>
                  </a:lnTo>
                  <a:lnTo>
                    <a:pt x="266" y="360"/>
                  </a:lnTo>
                  <a:lnTo>
                    <a:pt x="268" y="358"/>
                  </a:lnTo>
                  <a:lnTo>
                    <a:pt x="270" y="358"/>
                  </a:lnTo>
                  <a:lnTo>
                    <a:pt x="274" y="358"/>
                  </a:lnTo>
                  <a:lnTo>
                    <a:pt x="280" y="358"/>
                  </a:lnTo>
                  <a:lnTo>
                    <a:pt x="280" y="358"/>
                  </a:lnTo>
                  <a:lnTo>
                    <a:pt x="282" y="358"/>
                  </a:lnTo>
                  <a:lnTo>
                    <a:pt x="284" y="358"/>
                  </a:lnTo>
                  <a:lnTo>
                    <a:pt x="288" y="354"/>
                  </a:lnTo>
                  <a:lnTo>
                    <a:pt x="292" y="348"/>
                  </a:lnTo>
                  <a:lnTo>
                    <a:pt x="294" y="346"/>
                  </a:lnTo>
                  <a:lnTo>
                    <a:pt x="298" y="346"/>
                  </a:lnTo>
                  <a:lnTo>
                    <a:pt x="298" y="346"/>
                  </a:lnTo>
                  <a:lnTo>
                    <a:pt x="304" y="346"/>
                  </a:lnTo>
                  <a:lnTo>
                    <a:pt x="308" y="348"/>
                  </a:lnTo>
                  <a:lnTo>
                    <a:pt x="314" y="358"/>
                  </a:lnTo>
                  <a:lnTo>
                    <a:pt x="318" y="362"/>
                  </a:lnTo>
                  <a:lnTo>
                    <a:pt x="318" y="362"/>
                  </a:lnTo>
                  <a:lnTo>
                    <a:pt x="318" y="362"/>
                  </a:lnTo>
                  <a:lnTo>
                    <a:pt x="318" y="362"/>
                  </a:lnTo>
                  <a:lnTo>
                    <a:pt x="316" y="358"/>
                  </a:lnTo>
                  <a:lnTo>
                    <a:pt x="312" y="348"/>
                  </a:lnTo>
                  <a:lnTo>
                    <a:pt x="304" y="334"/>
                  </a:lnTo>
                  <a:lnTo>
                    <a:pt x="304" y="334"/>
                  </a:lnTo>
                  <a:lnTo>
                    <a:pt x="304" y="334"/>
                  </a:lnTo>
                  <a:lnTo>
                    <a:pt x="304" y="334"/>
                  </a:lnTo>
                  <a:lnTo>
                    <a:pt x="304" y="334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28" name="Freeform 87"/>
            <p:cNvSpPr>
              <a:spLocks/>
            </p:cNvSpPr>
            <p:nvPr/>
          </p:nvSpPr>
          <p:spPr bwMode="auto">
            <a:xfrm>
              <a:off x="4313" y="1406"/>
              <a:ext cx="32" cy="24"/>
            </a:xfrm>
            <a:custGeom>
              <a:avLst/>
              <a:gdLst>
                <a:gd name="T0" fmla="*/ 0 w 32"/>
                <a:gd name="T1" fmla="*/ 14 h 24"/>
                <a:gd name="T2" fmla="*/ 0 w 32"/>
                <a:gd name="T3" fmla="*/ 14 h 24"/>
                <a:gd name="T4" fmla="*/ 0 w 32"/>
                <a:gd name="T5" fmla="*/ 20 h 24"/>
                <a:gd name="T6" fmla="*/ 6 w 32"/>
                <a:gd name="T7" fmla="*/ 24 h 24"/>
                <a:gd name="T8" fmla="*/ 10 w 32"/>
                <a:gd name="T9" fmla="*/ 24 h 24"/>
                <a:gd name="T10" fmla="*/ 16 w 32"/>
                <a:gd name="T11" fmla="*/ 22 h 24"/>
                <a:gd name="T12" fmla="*/ 16 w 32"/>
                <a:gd name="T13" fmla="*/ 22 h 24"/>
                <a:gd name="T14" fmla="*/ 28 w 32"/>
                <a:gd name="T15" fmla="*/ 16 h 24"/>
                <a:gd name="T16" fmla="*/ 32 w 32"/>
                <a:gd name="T17" fmla="*/ 14 h 24"/>
                <a:gd name="T18" fmla="*/ 32 w 32"/>
                <a:gd name="T19" fmla="*/ 12 h 24"/>
                <a:gd name="T20" fmla="*/ 32 w 32"/>
                <a:gd name="T21" fmla="*/ 12 h 24"/>
                <a:gd name="T22" fmla="*/ 32 w 32"/>
                <a:gd name="T23" fmla="*/ 8 h 24"/>
                <a:gd name="T24" fmla="*/ 32 w 32"/>
                <a:gd name="T25" fmla="*/ 4 h 24"/>
                <a:gd name="T26" fmla="*/ 28 w 32"/>
                <a:gd name="T27" fmla="*/ 0 h 24"/>
                <a:gd name="T28" fmla="*/ 24 w 32"/>
                <a:gd name="T29" fmla="*/ 0 h 24"/>
                <a:gd name="T30" fmla="*/ 22 w 32"/>
                <a:gd name="T31" fmla="*/ 0 h 24"/>
                <a:gd name="T32" fmla="*/ 22 w 32"/>
                <a:gd name="T33" fmla="*/ 0 h 24"/>
                <a:gd name="T34" fmla="*/ 18 w 32"/>
                <a:gd name="T35" fmla="*/ 0 h 24"/>
                <a:gd name="T36" fmla="*/ 14 w 32"/>
                <a:gd name="T37" fmla="*/ 2 h 24"/>
                <a:gd name="T38" fmla="*/ 8 w 32"/>
                <a:gd name="T39" fmla="*/ 8 h 24"/>
                <a:gd name="T40" fmla="*/ 8 w 32"/>
                <a:gd name="T41" fmla="*/ 8 h 24"/>
                <a:gd name="T42" fmla="*/ 0 w 32"/>
                <a:gd name="T43" fmla="*/ 12 h 24"/>
                <a:gd name="T44" fmla="*/ 0 w 32"/>
                <a:gd name="T45" fmla="*/ 14 h 24"/>
                <a:gd name="T46" fmla="*/ 0 w 32"/>
                <a:gd name="T47" fmla="*/ 14 h 24"/>
                <a:gd name="T48" fmla="*/ 0 w 32"/>
                <a:gd name="T49" fmla="*/ 14 h 24"/>
                <a:gd name="T50" fmla="*/ 0 w 32"/>
                <a:gd name="T51" fmla="*/ 14 h 24"/>
                <a:gd name="T52" fmla="*/ 0 w 32"/>
                <a:gd name="T53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" h="24">
                  <a:moveTo>
                    <a:pt x="0" y="14"/>
                  </a:moveTo>
                  <a:lnTo>
                    <a:pt x="0" y="14"/>
                  </a:lnTo>
                  <a:lnTo>
                    <a:pt x="0" y="20"/>
                  </a:lnTo>
                  <a:lnTo>
                    <a:pt x="6" y="24"/>
                  </a:lnTo>
                  <a:lnTo>
                    <a:pt x="10" y="24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28" y="16"/>
                  </a:lnTo>
                  <a:lnTo>
                    <a:pt x="32" y="14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28" y="0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8" y="0"/>
                  </a:lnTo>
                  <a:lnTo>
                    <a:pt x="14" y="2"/>
                  </a:lnTo>
                  <a:lnTo>
                    <a:pt x="8" y="8"/>
                  </a:lnTo>
                  <a:lnTo>
                    <a:pt x="8" y="8"/>
                  </a:lnTo>
                  <a:lnTo>
                    <a:pt x="0" y="12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29" name="Freeform 88"/>
            <p:cNvSpPr>
              <a:spLocks/>
            </p:cNvSpPr>
            <p:nvPr/>
          </p:nvSpPr>
          <p:spPr bwMode="auto">
            <a:xfrm>
              <a:off x="2082" y="1703"/>
              <a:ext cx="47" cy="40"/>
            </a:xfrm>
            <a:custGeom>
              <a:avLst/>
              <a:gdLst>
                <a:gd name="T0" fmla="*/ 0 w 47"/>
                <a:gd name="T1" fmla="*/ 26 h 40"/>
                <a:gd name="T2" fmla="*/ 0 w 47"/>
                <a:gd name="T3" fmla="*/ 26 h 40"/>
                <a:gd name="T4" fmla="*/ 4 w 47"/>
                <a:gd name="T5" fmla="*/ 30 h 40"/>
                <a:gd name="T6" fmla="*/ 10 w 47"/>
                <a:gd name="T7" fmla="*/ 36 h 40"/>
                <a:gd name="T8" fmla="*/ 14 w 47"/>
                <a:gd name="T9" fmla="*/ 38 h 40"/>
                <a:gd name="T10" fmla="*/ 18 w 47"/>
                <a:gd name="T11" fmla="*/ 40 h 40"/>
                <a:gd name="T12" fmla="*/ 22 w 47"/>
                <a:gd name="T13" fmla="*/ 40 h 40"/>
                <a:gd name="T14" fmla="*/ 27 w 47"/>
                <a:gd name="T15" fmla="*/ 40 h 40"/>
                <a:gd name="T16" fmla="*/ 27 w 47"/>
                <a:gd name="T17" fmla="*/ 40 h 40"/>
                <a:gd name="T18" fmla="*/ 33 w 47"/>
                <a:gd name="T19" fmla="*/ 36 h 40"/>
                <a:gd name="T20" fmla="*/ 41 w 47"/>
                <a:gd name="T21" fmla="*/ 34 h 40"/>
                <a:gd name="T22" fmla="*/ 47 w 47"/>
                <a:gd name="T23" fmla="*/ 28 h 40"/>
                <a:gd name="T24" fmla="*/ 47 w 47"/>
                <a:gd name="T25" fmla="*/ 26 h 40"/>
                <a:gd name="T26" fmla="*/ 47 w 47"/>
                <a:gd name="T27" fmla="*/ 22 h 40"/>
                <a:gd name="T28" fmla="*/ 47 w 47"/>
                <a:gd name="T29" fmla="*/ 22 h 40"/>
                <a:gd name="T30" fmla="*/ 45 w 47"/>
                <a:gd name="T31" fmla="*/ 14 h 40"/>
                <a:gd name="T32" fmla="*/ 41 w 47"/>
                <a:gd name="T33" fmla="*/ 8 h 40"/>
                <a:gd name="T34" fmla="*/ 41 w 47"/>
                <a:gd name="T35" fmla="*/ 4 h 40"/>
                <a:gd name="T36" fmla="*/ 39 w 47"/>
                <a:gd name="T37" fmla="*/ 2 h 40"/>
                <a:gd name="T38" fmla="*/ 37 w 47"/>
                <a:gd name="T39" fmla="*/ 0 h 40"/>
                <a:gd name="T40" fmla="*/ 33 w 47"/>
                <a:gd name="T41" fmla="*/ 0 h 40"/>
                <a:gd name="T42" fmla="*/ 33 w 47"/>
                <a:gd name="T43" fmla="*/ 0 h 40"/>
                <a:gd name="T44" fmla="*/ 27 w 47"/>
                <a:gd name="T45" fmla="*/ 0 h 40"/>
                <a:gd name="T46" fmla="*/ 22 w 47"/>
                <a:gd name="T47" fmla="*/ 0 h 40"/>
                <a:gd name="T48" fmla="*/ 14 w 47"/>
                <a:gd name="T49" fmla="*/ 4 h 40"/>
                <a:gd name="T50" fmla="*/ 10 w 47"/>
                <a:gd name="T51" fmla="*/ 8 h 40"/>
                <a:gd name="T52" fmla="*/ 10 w 47"/>
                <a:gd name="T53" fmla="*/ 8 h 40"/>
                <a:gd name="T54" fmla="*/ 6 w 47"/>
                <a:gd name="T55" fmla="*/ 14 h 40"/>
                <a:gd name="T56" fmla="*/ 2 w 47"/>
                <a:gd name="T57" fmla="*/ 20 h 40"/>
                <a:gd name="T58" fmla="*/ 0 w 47"/>
                <a:gd name="T59" fmla="*/ 26 h 40"/>
                <a:gd name="T60" fmla="*/ 0 w 47"/>
                <a:gd name="T61" fmla="*/ 26 h 40"/>
                <a:gd name="T62" fmla="*/ 0 w 47"/>
                <a:gd name="T63" fmla="*/ 26 h 40"/>
                <a:gd name="T64" fmla="*/ 0 w 47"/>
                <a:gd name="T65" fmla="*/ 26 h 40"/>
                <a:gd name="T66" fmla="*/ 0 w 47"/>
                <a:gd name="T67" fmla="*/ 2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7" h="40">
                  <a:moveTo>
                    <a:pt x="0" y="26"/>
                  </a:moveTo>
                  <a:lnTo>
                    <a:pt x="0" y="26"/>
                  </a:lnTo>
                  <a:lnTo>
                    <a:pt x="4" y="30"/>
                  </a:lnTo>
                  <a:lnTo>
                    <a:pt x="10" y="36"/>
                  </a:lnTo>
                  <a:lnTo>
                    <a:pt x="14" y="38"/>
                  </a:lnTo>
                  <a:lnTo>
                    <a:pt x="18" y="40"/>
                  </a:lnTo>
                  <a:lnTo>
                    <a:pt x="22" y="40"/>
                  </a:lnTo>
                  <a:lnTo>
                    <a:pt x="27" y="40"/>
                  </a:lnTo>
                  <a:lnTo>
                    <a:pt x="27" y="40"/>
                  </a:lnTo>
                  <a:lnTo>
                    <a:pt x="33" y="36"/>
                  </a:lnTo>
                  <a:lnTo>
                    <a:pt x="41" y="34"/>
                  </a:lnTo>
                  <a:lnTo>
                    <a:pt x="47" y="28"/>
                  </a:lnTo>
                  <a:lnTo>
                    <a:pt x="47" y="26"/>
                  </a:lnTo>
                  <a:lnTo>
                    <a:pt x="47" y="22"/>
                  </a:lnTo>
                  <a:lnTo>
                    <a:pt x="47" y="22"/>
                  </a:lnTo>
                  <a:lnTo>
                    <a:pt x="45" y="14"/>
                  </a:lnTo>
                  <a:lnTo>
                    <a:pt x="41" y="8"/>
                  </a:lnTo>
                  <a:lnTo>
                    <a:pt x="41" y="4"/>
                  </a:lnTo>
                  <a:lnTo>
                    <a:pt x="39" y="2"/>
                  </a:lnTo>
                  <a:lnTo>
                    <a:pt x="37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4" y="4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6" y="14"/>
                  </a:lnTo>
                  <a:lnTo>
                    <a:pt x="2" y="20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30" name="Freeform 89"/>
            <p:cNvSpPr>
              <a:spLocks/>
            </p:cNvSpPr>
            <p:nvPr/>
          </p:nvSpPr>
          <p:spPr bwMode="auto">
            <a:xfrm>
              <a:off x="2241" y="1528"/>
              <a:ext cx="422" cy="241"/>
            </a:xfrm>
            <a:custGeom>
              <a:avLst/>
              <a:gdLst>
                <a:gd name="T0" fmla="*/ 54 w 422"/>
                <a:gd name="T1" fmla="*/ 241 h 241"/>
                <a:gd name="T2" fmla="*/ 46 w 422"/>
                <a:gd name="T3" fmla="*/ 231 h 241"/>
                <a:gd name="T4" fmla="*/ 18 w 422"/>
                <a:gd name="T5" fmla="*/ 209 h 241"/>
                <a:gd name="T6" fmla="*/ 8 w 422"/>
                <a:gd name="T7" fmla="*/ 191 h 241"/>
                <a:gd name="T8" fmla="*/ 6 w 422"/>
                <a:gd name="T9" fmla="*/ 187 h 241"/>
                <a:gd name="T10" fmla="*/ 4 w 422"/>
                <a:gd name="T11" fmla="*/ 177 h 241"/>
                <a:gd name="T12" fmla="*/ 8 w 422"/>
                <a:gd name="T13" fmla="*/ 173 h 241"/>
                <a:gd name="T14" fmla="*/ 12 w 422"/>
                <a:gd name="T15" fmla="*/ 167 h 241"/>
                <a:gd name="T16" fmla="*/ 18 w 422"/>
                <a:gd name="T17" fmla="*/ 157 h 241"/>
                <a:gd name="T18" fmla="*/ 18 w 422"/>
                <a:gd name="T19" fmla="*/ 147 h 241"/>
                <a:gd name="T20" fmla="*/ 16 w 422"/>
                <a:gd name="T21" fmla="*/ 143 h 241"/>
                <a:gd name="T22" fmla="*/ 8 w 422"/>
                <a:gd name="T23" fmla="*/ 135 h 241"/>
                <a:gd name="T24" fmla="*/ 0 w 422"/>
                <a:gd name="T25" fmla="*/ 129 h 241"/>
                <a:gd name="T26" fmla="*/ 0 w 422"/>
                <a:gd name="T27" fmla="*/ 119 h 241"/>
                <a:gd name="T28" fmla="*/ 4 w 422"/>
                <a:gd name="T29" fmla="*/ 113 h 241"/>
                <a:gd name="T30" fmla="*/ 16 w 422"/>
                <a:gd name="T31" fmla="*/ 106 h 241"/>
                <a:gd name="T32" fmla="*/ 30 w 422"/>
                <a:gd name="T33" fmla="*/ 102 h 241"/>
                <a:gd name="T34" fmla="*/ 48 w 422"/>
                <a:gd name="T35" fmla="*/ 98 h 241"/>
                <a:gd name="T36" fmla="*/ 54 w 422"/>
                <a:gd name="T37" fmla="*/ 94 h 241"/>
                <a:gd name="T38" fmla="*/ 82 w 422"/>
                <a:gd name="T39" fmla="*/ 78 h 241"/>
                <a:gd name="T40" fmla="*/ 109 w 422"/>
                <a:gd name="T41" fmla="*/ 62 h 241"/>
                <a:gd name="T42" fmla="*/ 117 w 422"/>
                <a:gd name="T43" fmla="*/ 60 h 241"/>
                <a:gd name="T44" fmla="*/ 131 w 422"/>
                <a:gd name="T45" fmla="*/ 52 h 241"/>
                <a:gd name="T46" fmla="*/ 149 w 422"/>
                <a:gd name="T47" fmla="*/ 46 h 241"/>
                <a:gd name="T48" fmla="*/ 155 w 422"/>
                <a:gd name="T49" fmla="*/ 42 h 241"/>
                <a:gd name="T50" fmla="*/ 207 w 422"/>
                <a:gd name="T51" fmla="*/ 14 h 241"/>
                <a:gd name="T52" fmla="*/ 223 w 422"/>
                <a:gd name="T53" fmla="*/ 8 h 241"/>
                <a:gd name="T54" fmla="*/ 259 w 422"/>
                <a:gd name="T55" fmla="*/ 0 h 241"/>
                <a:gd name="T56" fmla="*/ 279 w 422"/>
                <a:gd name="T57" fmla="*/ 0 h 241"/>
                <a:gd name="T58" fmla="*/ 287 w 422"/>
                <a:gd name="T59" fmla="*/ 2 h 241"/>
                <a:gd name="T60" fmla="*/ 308 w 422"/>
                <a:gd name="T61" fmla="*/ 10 h 241"/>
                <a:gd name="T62" fmla="*/ 330 w 422"/>
                <a:gd name="T63" fmla="*/ 18 h 241"/>
                <a:gd name="T64" fmla="*/ 334 w 422"/>
                <a:gd name="T65" fmla="*/ 18 h 241"/>
                <a:gd name="T66" fmla="*/ 350 w 422"/>
                <a:gd name="T67" fmla="*/ 20 h 241"/>
                <a:gd name="T68" fmla="*/ 362 w 422"/>
                <a:gd name="T69" fmla="*/ 18 h 241"/>
                <a:gd name="T70" fmla="*/ 380 w 422"/>
                <a:gd name="T71" fmla="*/ 14 h 241"/>
                <a:gd name="T72" fmla="*/ 406 w 422"/>
                <a:gd name="T73" fmla="*/ 10 h 241"/>
                <a:gd name="T74" fmla="*/ 418 w 422"/>
                <a:gd name="T75" fmla="*/ 16 h 241"/>
                <a:gd name="T76" fmla="*/ 420 w 422"/>
                <a:gd name="T77" fmla="*/ 20 h 241"/>
                <a:gd name="T78" fmla="*/ 422 w 422"/>
                <a:gd name="T79" fmla="*/ 26 h 241"/>
                <a:gd name="T80" fmla="*/ 420 w 422"/>
                <a:gd name="T81" fmla="*/ 38 h 241"/>
                <a:gd name="T82" fmla="*/ 412 w 422"/>
                <a:gd name="T83" fmla="*/ 48 h 241"/>
                <a:gd name="T84" fmla="*/ 394 w 422"/>
                <a:gd name="T85" fmla="*/ 54 h 241"/>
                <a:gd name="T86" fmla="*/ 380 w 422"/>
                <a:gd name="T87" fmla="*/ 54 h 241"/>
                <a:gd name="T88" fmla="*/ 316 w 422"/>
                <a:gd name="T89" fmla="*/ 54 h 241"/>
                <a:gd name="T90" fmla="*/ 275 w 422"/>
                <a:gd name="T91" fmla="*/ 54 h 241"/>
                <a:gd name="T92" fmla="*/ 265 w 422"/>
                <a:gd name="T93" fmla="*/ 56 h 241"/>
                <a:gd name="T94" fmla="*/ 183 w 422"/>
                <a:gd name="T95" fmla="*/ 86 h 241"/>
                <a:gd name="T96" fmla="*/ 157 w 422"/>
                <a:gd name="T97" fmla="*/ 94 h 241"/>
                <a:gd name="T98" fmla="*/ 117 w 422"/>
                <a:gd name="T99" fmla="*/ 113 h 241"/>
                <a:gd name="T100" fmla="*/ 97 w 422"/>
                <a:gd name="T101" fmla="*/ 127 h 241"/>
                <a:gd name="T102" fmla="*/ 84 w 422"/>
                <a:gd name="T103" fmla="*/ 139 h 241"/>
                <a:gd name="T104" fmla="*/ 76 w 422"/>
                <a:gd name="T105" fmla="*/ 151 h 241"/>
                <a:gd name="T106" fmla="*/ 66 w 422"/>
                <a:gd name="T107" fmla="*/ 169 h 241"/>
                <a:gd name="T108" fmla="*/ 62 w 422"/>
                <a:gd name="T109" fmla="*/ 181 h 241"/>
                <a:gd name="T110" fmla="*/ 60 w 422"/>
                <a:gd name="T111" fmla="*/ 195 h 241"/>
                <a:gd name="T112" fmla="*/ 62 w 422"/>
                <a:gd name="T113" fmla="*/ 223 h 241"/>
                <a:gd name="T114" fmla="*/ 62 w 422"/>
                <a:gd name="T115" fmla="*/ 229 h 241"/>
                <a:gd name="T116" fmla="*/ 58 w 422"/>
                <a:gd name="T117" fmla="*/ 235 h 241"/>
                <a:gd name="T118" fmla="*/ 54 w 422"/>
                <a:gd name="T119" fmla="*/ 241 h 241"/>
                <a:gd name="T120" fmla="*/ 54 w 422"/>
                <a:gd name="T121" fmla="*/ 24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22" h="241">
                  <a:moveTo>
                    <a:pt x="54" y="241"/>
                  </a:moveTo>
                  <a:lnTo>
                    <a:pt x="54" y="241"/>
                  </a:lnTo>
                  <a:lnTo>
                    <a:pt x="52" y="237"/>
                  </a:lnTo>
                  <a:lnTo>
                    <a:pt x="46" y="231"/>
                  </a:lnTo>
                  <a:lnTo>
                    <a:pt x="28" y="215"/>
                  </a:lnTo>
                  <a:lnTo>
                    <a:pt x="18" y="209"/>
                  </a:lnTo>
                  <a:lnTo>
                    <a:pt x="12" y="199"/>
                  </a:lnTo>
                  <a:lnTo>
                    <a:pt x="8" y="191"/>
                  </a:lnTo>
                  <a:lnTo>
                    <a:pt x="6" y="187"/>
                  </a:lnTo>
                  <a:lnTo>
                    <a:pt x="6" y="187"/>
                  </a:lnTo>
                  <a:lnTo>
                    <a:pt x="4" y="179"/>
                  </a:lnTo>
                  <a:lnTo>
                    <a:pt x="4" y="177"/>
                  </a:lnTo>
                  <a:lnTo>
                    <a:pt x="4" y="175"/>
                  </a:lnTo>
                  <a:lnTo>
                    <a:pt x="8" y="173"/>
                  </a:lnTo>
                  <a:lnTo>
                    <a:pt x="8" y="173"/>
                  </a:lnTo>
                  <a:lnTo>
                    <a:pt x="12" y="167"/>
                  </a:lnTo>
                  <a:lnTo>
                    <a:pt x="16" y="161"/>
                  </a:lnTo>
                  <a:lnTo>
                    <a:pt x="18" y="157"/>
                  </a:lnTo>
                  <a:lnTo>
                    <a:pt x="18" y="153"/>
                  </a:lnTo>
                  <a:lnTo>
                    <a:pt x="18" y="147"/>
                  </a:lnTo>
                  <a:lnTo>
                    <a:pt x="16" y="143"/>
                  </a:lnTo>
                  <a:lnTo>
                    <a:pt x="16" y="143"/>
                  </a:lnTo>
                  <a:lnTo>
                    <a:pt x="12" y="139"/>
                  </a:lnTo>
                  <a:lnTo>
                    <a:pt x="8" y="135"/>
                  </a:lnTo>
                  <a:lnTo>
                    <a:pt x="2" y="131"/>
                  </a:lnTo>
                  <a:lnTo>
                    <a:pt x="0" y="129"/>
                  </a:lnTo>
                  <a:lnTo>
                    <a:pt x="0" y="123"/>
                  </a:lnTo>
                  <a:lnTo>
                    <a:pt x="0" y="119"/>
                  </a:lnTo>
                  <a:lnTo>
                    <a:pt x="4" y="113"/>
                  </a:lnTo>
                  <a:lnTo>
                    <a:pt x="4" y="113"/>
                  </a:lnTo>
                  <a:lnTo>
                    <a:pt x="12" y="110"/>
                  </a:lnTo>
                  <a:lnTo>
                    <a:pt x="16" y="106"/>
                  </a:lnTo>
                  <a:lnTo>
                    <a:pt x="24" y="102"/>
                  </a:lnTo>
                  <a:lnTo>
                    <a:pt x="30" y="102"/>
                  </a:lnTo>
                  <a:lnTo>
                    <a:pt x="42" y="98"/>
                  </a:lnTo>
                  <a:lnTo>
                    <a:pt x="48" y="98"/>
                  </a:lnTo>
                  <a:lnTo>
                    <a:pt x="54" y="94"/>
                  </a:lnTo>
                  <a:lnTo>
                    <a:pt x="54" y="94"/>
                  </a:lnTo>
                  <a:lnTo>
                    <a:pt x="66" y="86"/>
                  </a:lnTo>
                  <a:lnTo>
                    <a:pt x="82" y="78"/>
                  </a:lnTo>
                  <a:lnTo>
                    <a:pt x="97" y="70"/>
                  </a:lnTo>
                  <a:lnTo>
                    <a:pt x="109" y="62"/>
                  </a:lnTo>
                  <a:lnTo>
                    <a:pt x="109" y="62"/>
                  </a:lnTo>
                  <a:lnTo>
                    <a:pt x="117" y="60"/>
                  </a:lnTo>
                  <a:lnTo>
                    <a:pt x="121" y="54"/>
                  </a:lnTo>
                  <a:lnTo>
                    <a:pt x="131" y="52"/>
                  </a:lnTo>
                  <a:lnTo>
                    <a:pt x="143" y="48"/>
                  </a:lnTo>
                  <a:lnTo>
                    <a:pt x="149" y="46"/>
                  </a:lnTo>
                  <a:lnTo>
                    <a:pt x="155" y="42"/>
                  </a:lnTo>
                  <a:lnTo>
                    <a:pt x="155" y="42"/>
                  </a:lnTo>
                  <a:lnTo>
                    <a:pt x="183" y="26"/>
                  </a:lnTo>
                  <a:lnTo>
                    <a:pt x="207" y="14"/>
                  </a:lnTo>
                  <a:lnTo>
                    <a:pt x="207" y="14"/>
                  </a:lnTo>
                  <a:lnTo>
                    <a:pt x="223" y="8"/>
                  </a:lnTo>
                  <a:lnTo>
                    <a:pt x="241" y="4"/>
                  </a:lnTo>
                  <a:lnTo>
                    <a:pt x="259" y="0"/>
                  </a:lnTo>
                  <a:lnTo>
                    <a:pt x="269" y="0"/>
                  </a:lnTo>
                  <a:lnTo>
                    <a:pt x="279" y="0"/>
                  </a:lnTo>
                  <a:lnTo>
                    <a:pt x="279" y="0"/>
                  </a:lnTo>
                  <a:lnTo>
                    <a:pt x="287" y="2"/>
                  </a:lnTo>
                  <a:lnTo>
                    <a:pt x="293" y="4"/>
                  </a:lnTo>
                  <a:lnTo>
                    <a:pt x="308" y="10"/>
                  </a:lnTo>
                  <a:lnTo>
                    <a:pt x="322" y="14"/>
                  </a:lnTo>
                  <a:lnTo>
                    <a:pt x="330" y="18"/>
                  </a:lnTo>
                  <a:lnTo>
                    <a:pt x="334" y="18"/>
                  </a:lnTo>
                  <a:lnTo>
                    <a:pt x="334" y="18"/>
                  </a:lnTo>
                  <a:lnTo>
                    <a:pt x="346" y="18"/>
                  </a:lnTo>
                  <a:lnTo>
                    <a:pt x="350" y="20"/>
                  </a:lnTo>
                  <a:lnTo>
                    <a:pt x="354" y="20"/>
                  </a:lnTo>
                  <a:lnTo>
                    <a:pt x="362" y="18"/>
                  </a:lnTo>
                  <a:lnTo>
                    <a:pt x="362" y="18"/>
                  </a:lnTo>
                  <a:lnTo>
                    <a:pt x="380" y="14"/>
                  </a:lnTo>
                  <a:lnTo>
                    <a:pt x="396" y="10"/>
                  </a:lnTo>
                  <a:lnTo>
                    <a:pt x="406" y="10"/>
                  </a:lnTo>
                  <a:lnTo>
                    <a:pt x="412" y="14"/>
                  </a:lnTo>
                  <a:lnTo>
                    <a:pt x="418" y="16"/>
                  </a:lnTo>
                  <a:lnTo>
                    <a:pt x="418" y="18"/>
                  </a:lnTo>
                  <a:lnTo>
                    <a:pt x="420" y="20"/>
                  </a:lnTo>
                  <a:lnTo>
                    <a:pt x="420" y="20"/>
                  </a:lnTo>
                  <a:lnTo>
                    <a:pt x="422" y="26"/>
                  </a:lnTo>
                  <a:lnTo>
                    <a:pt x="422" y="32"/>
                  </a:lnTo>
                  <a:lnTo>
                    <a:pt x="420" y="38"/>
                  </a:lnTo>
                  <a:lnTo>
                    <a:pt x="416" y="44"/>
                  </a:lnTo>
                  <a:lnTo>
                    <a:pt x="412" y="48"/>
                  </a:lnTo>
                  <a:lnTo>
                    <a:pt x="404" y="52"/>
                  </a:lnTo>
                  <a:lnTo>
                    <a:pt x="394" y="54"/>
                  </a:lnTo>
                  <a:lnTo>
                    <a:pt x="380" y="54"/>
                  </a:lnTo>
                  <a:lnTo>
                    <a:pt x="380" y="54"/>
                  </a:lnTo>
                  <a:lnTo>
                    <a:pt x="350" y="54"/>
                  </a:lnTo>
                  <a:lnTo>
                    <a:pt x="316" y="54"/>
                  </a:lnTo>
                  <a:lnTo>
                    <a:pt x="287" y="52"/>
                  </a:lnTo>
                  <a:lnTo>
                    <a:pt x="275" y="54"/>
                  </a:lnTo>
                  <a:lnTo>
                    <a:pt x="265" y="56"/>
                  </a:lnTo>
                  <a:lnTo>
                    <a:pt x="265" y="56"/>
                  </a:lnTo>
                  <a:lnTo>
                    <a:pt x="213" y="74"/>
                  </a:lnTo>
                  <a:lnTo>
                    <a:pt x="183" y="86"/>
                  </a:lnTo>
                  <a:lnTo>
                    <a:pt x="157" y="94"/>
                  </a:lnTo>
                  <a:lnTo>
                    <a:pt x="157" y="94"/>
                  </a:lnTo>
                  <a:lnTo>
                    <a:pt x="139" y="106"/>
                  </a:lnTo>
                  <a:lnTo>
                    <a:pt x="117" y="113"/>
                  </a:lnTo>
                  <a:lnTo>
                    <a:pt x="107" y="119"/>
                  </a:lnTo>
                  <a:lnTo>
                    <a:pt x="97" y="127"/>
                  </a:lnTo>
                  <a:lnTo>
                    <a:pt x="93" y="133"/>
                  </a:lnTo>
                  <a:lnTo>
                    <a:pt x="84" y="139"/>
                  </a:lnTo>
                  <a:lnTo>
                    <a:pt x="84" y="139"/>
                  </a:lnTo>
                  <a:lnTo>
                    <a:pt x="76" y="151"/>
                  </a:lnTo>
                  <a:lnTo>
                    <a:pt x="72" y="161"/>
                  </a:lnTo>
                  <a:lnTo>
                    <a:pt x="66" y="169"/>
                  </a:lnTo>
                  <a:lnTo>
                    <a:pt x="62" y="181"/>
                  </a:lnTo>
                  <a:lnTo>
                    <a:pt x="62" y="181"/>
                  </a:lnTo>
                  <a:lnTo>
                    <a:pt x="60" y="187"/>
                  </a:lnTo>
                  <a:lnTo>
                    <a:pt x="60" y="195"/>
                  </a:lnTo>
                  <a:lnTo>
                    <a:pt x="60" y="209"/>
                  </a:lnTo>
                  <a:lnTo>
                    <a:pt x="62" y="223"/>
                  </a:lnTo>
                  <a:lnTo>
                    <a:pt x="62" y="229"/>
                  </a:lnTo>
                  <a:lnTo>
                    <a:pt x="62" y="229"/>
                  </a:lnTo>
                  <a:lnTo>
                    <a:pt x="60" y="231"/>
                  </a:lnTo>
                  <a:lnTo>
                    <a:pt x="58" y="235"/>
                  </a:lnTo>
                  <a:lnTo>
                    <a:pt x="54" y="241"/>
                  </a:lnTo>
                  <a:lnTo>
                    <a:pt x="54" y="241"/>
                  </a:lnTo>
                  <a:lnTo>
                    <a:pt x="54" y="241"/>
                  </a:lnTo>
                  <a:lnTo>
                    <a:pt x="54" y="241"/>
                  </a:lnTo>
                  <a:lnTo>
                    <a:pt x="54" y="241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31" name="Freeform 90"/>
            <p:cNvSpPr>
              <a:spLocks/>
            </p:cNvSpPr>
            <p:nvPr/>
          </p:nvSpPr>
          <p:spPr bwMode="auto">
            <a:xfrm>
              <a:off x="3099" y="1508"/>
              <a:ext cx="80" cy="86"/>
            </a:xfrm>
            <a:custGeom>
              <a:avLst/>
              <a:gdLst>
                <a:gd name="T0" fmla="*/ 2 w 80"/>
                <a:gd name="T1" fmla="*/ 86 h 86"/>
                <a:gd name="T2" fmla="*/ 2 w 80"/>
                <a:gd name="T3" fmla="*/ 86 h 86"/>
                <a:gd name="T4" fmla="*/ 0 w 80"/>
                <a:gd name="T5" fmla="*/ 84 h 86"/>
                <a:gd name="T6" fmla="*/ 0 w 80"/>
                <a:gd name="T7" fmla="*/ 84 h 86"/>
                <a:gd name="T8" fmla="*/ 2 w 80"/>
                <a:gd name="T9" fmla="*/ 76 h 86"/>
                <a:gd name="T10" fmla="*/ 2 w 80"/>
                <a:gd name="T11" fmla="*/ 70 h 86"/>
                <a:gd name="T12" fmla="*/ 6 w 80"/>
                <a:gd name="T13" fmla="*/ 62 h 86"/>
                <a:gd name="T14" fmla="*/ 6 w 80"/>
                <a:gd name="T15" fmla="*/ 62 h 86"/>
                <a:gd name="T16" fmla="*/ 10 w 80"/>
                <a:gd name="T17" fmla="*/ 50 h 86"/>
                <a:gd name="T18" fmla="*/ 16 w 80"/>
                <a:gd name="T19" fmla="*/ 34 h 86"/>
                <a:gd name="T20" fmla="*/ 22 w 80"/>
                <a:gd name="T21" fmla="*/ 16 h 86"/>
                <a:gd name="T22" fmla="*/ 26 w 80"/>
                <a:gd name="T23" fmla="*/ 12 h 86"/>
                <a:gd name="T24" fmla="*/ 28 w 80"/>
                <a:gd name="T25" fmla="*/ 6 h 86"/>
                <a:gd name="T26" fmla="*/ 28 w 80"/>
                <a:gd name="T27" fmla="*/ 6 h 86"/>
                <a:gd name="T28" fmla="*/ 38 w 80"/>
                <a:gd name="T29" fmla="*/ 0 h 86"/>
                <a:gd name="T30" fmla="*/ 40 w 80"/>
                <a:gd name="T31" fmla="*/ 0 h 86"/>
                <a:gd name="T32" fmla="*/ 44 w 80"/>
                <a:gd name="T33" fmla="*/ 2 h 86"/>
                <a:gd name="T34" fmla="*/ 44 w 80"/>
                <a:gd name="T35" fmla="*/ 2 h 86"/>
                <a:gd name="T36" fmla="*/ 48 w 80"/>
                <a:gd name="T37" fmla="*/ 10 h 86"/>
                <a:gd name="T38" fmla="*/ 56 w 80"/>
                <a:gd name="T39" fmla="*/ 16 h 86"/>
                <a:gd name="T40" fmla="*/ 70 w 80"/>
                <a:gd name="T41" fmla="*/ 28 h 86"/>
                <a:gd name="T42" fmla="*/ 70 w 80"/>
                <a:gd name="T43" fmla="*/ 28 h 86"/>
                <a:gd name="T44" fmla="*/ 74 w 80"/>
                <a:gd name="T45" fmla="*/ 30 h 86"/>
                <a:gd name="T46" fmla="*/ 78 w 80"/>
                <a:gd name="T47" fmla="*/ 38 h 86"/>
                <a:gd name="T48" fmla="*/ 80 w 80"/>
                <a:gd name="T49" fmla="*/ 42 h 86"/>
                <a:gd name="T50" fmla="*/ 80 w 80"/>
                <a:gd name="T51" fmla="*/ 46 h 86"/>
                <a:gd name="T52" fmla="*/ 80 w 80"/>
                <a:gd name="T53" fmla="*/ 50 h 86"/>
                <a:gd name="T54" fmla="*/ 74 w 80"/>
                <a:gd name="T55" fmla="*/ 52 h 86"/>
                <a:gd name="T56" fmla="*/ 74 w 80"/>
                <a:gd name="T57" fmla="*/ 52 h 86"/>
                <a:gd name="T58" fmla="*/ 70 w 80"/>
                <a:gd name="T59" fmla="*/ 60 h 86"/>
                <a:gd name="T60" fmla="*/ 66 w 80"/>
                <a:gd name="T61" fmla="*/ 64 h 86"/>
                <a:gd name="T62" fmla="*/ 60 w 80"/>
                <a:gd name="T63" fmla="*/ 68 h 86"/>
                <a:gd name="T64" fmla="*/ 52 w 80"/>
                <a:gd name="T65" fmla="*/ 70 h 86"/>
                <a:gd name="T66" fmla="*/ 52 w 80"/>
                <a:gd name="T67" fmla="*/ 70 h 86"/>
                <a:gd name="T68" fmla="*/ 44 w 80"/>
                <a:gd name="T69" fmla="*/ 72 h 86"/>
                <a:gd name="T70" fmla="*/ 38 w 80"/>
                <a:gd name="T71" fmla="*/ 72 h 86"/>
                <a:gd name="T72" fmla="*/ 32 w 80"/>
                <a:gd name="T73" fmla="*/ 72 h 86"/>
                <a:gd name="T74" fmla="*/ 26 w 80"/>
                <a:gd name="T75" fmla="*/ 72 h 86"/>
                <a:gd name="T76" fmla="*/ 26 w 80"/>
                <a:gd name="T77" fmla="*/ 72 h 86"/>
                <a:gd name="T78" fmla="*/ 16 w 80"/>
                <a:gd name="T79" fmla="*/ 80 h 86"/>
                <a:gd name="T80" fmla="*/ 10 w 80"/>
                <a:gd name="T81" fmla="*/ 84 h 86"/>
                <a:gd name="T82" fmla="*/ 10 w 80"/>
                <a:gd name="T83" fmla="*/ 84 h 86"/>
                <a:gd name="T84" fmla="*/ 6 w 80"/>
                <a:gd name="T85" fmla="*/ 86 h 86"/>
                <a:gd name="T86" fmla="*/ 2 w 80"/>
                <a:gd name="T87" fmla="*/ 86 h 86"/>
                <a:gd name="T88" fmla="*/ 2 w 80"/>
                <a:gd name="T89" fmla="*/ 86 h 86"/>
                <a:gd name="T90" fmla="*/ 2 w 80"/>
                <a:gd name="T91" fmla="*/ 86 h 86"/>
                <a:gd name="T92" fmla="*/ 2 w 80"/>
                <a:gd name="T93" fmla="*/ 86 h 86"/>
                <a:gd name="T94" fmla="*/ 2 w 80"/>
                <a:gd name="T95" fmla="*/ 86 h 86"/>
                <a:gd name="T96" fmla="*/ 2 w 80"/>
                <a:gd name="T97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0" h="86">
                  <a:moveTo>
                    <a:pt x="2" y="86"/>
                  </a:moveTo>
                  <a:lnTo>
                    <a:pt x="2" y="86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2" y="76"/>
                  </a:lnTo>
                  <a:lnTo>
                    <a:pt x="2" y="70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10" y="50"/>
                  </a:lnTo>
                  <a:lnTo>
                    <a:pt x="16" y="34"/>
                  </a:lnTo>
                  <a:lnTo>
                    <a:pt x="22" y="16"/>
                  </a:lnTo>
                  <a:lnTo>
                    <a:pt x="26" y="12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38" y="0"/>
                  </a:lnTo>
                  <a:lnTo>
                    <a:pt x="40" y="0"/>
                  </a:lnTo>
                  <a:lnTo>
                    <a:pt x="44" y="2"/>
                  </a:lnTo>
                  <a:lnTo>
                    <a:pt x="44" y="2"/>
                  </a:lnTo>
                  <a:lnTo>
                    <a:pt x="48" y="10"/>
                  </a:lnTo>
                  <a:lnTo>
                    <a:pt x="56" y="16"/>
                  </a:lnTo>
                  <a:lnTo>
                    <a:pt x="70" y="28"/>
                  </a:lnTo>
                  <a:lnTo>
                    <a:pt x="70" y="28"/>
                  </a:lnTo>
                  <a:lnTo>
                    <a:pt x="74" y="30"/>
                  </a:lnTo>
                  <a:lnTo>
                    <a:pt x="78" y="38"/>
                  </a:lnTo>
                  <a:lnTo>
                    <a:pt x="80" y="42"/>
                  </a:lnTo>
                  <a:lnTo>
                    <a:pt x="80" y="46"/>
                  </a:lnTo>
                  <a:lnTo>
                    <a:pt x="80" y="50"/>
                  </a:lnTo>
                  <a:lnTo>
                    <a:pt x="74" y="52"/>
                  </a:lnTo>
                  <a:lnTo>
                    <a:pt x="74" y="52"/>
                  </a:lnTo>
                  <a:lnTo>
                    <a:pt x="70" y="60"/>
                  </a:lnTo>
                  <a:lnTo>
                    <a:pt x="66" y="64"/>
                  </a:lnTo>
                  <a:lnTo>
                    <a:pt x="60" y="68"/>
                  </a:lnTo>
                  <a:lnTo>
                    <a:pt x="52" y="70"/>
                  </a:lnTo>
                  <a:lnTo>
                    <a:pt x="52" y="70"/>
                  </a:lnTo>
                  <a:lnTo>
                    <a:pt x="44" y="72"/>
                  </a:lnTo>
                  <a:lnTo>
                    <a:pt x="38" y="72"/>
                  </a:lnTo>
                  <a:lnTo>
                    <a:pt x="32" y="72"/>
                  </a:lnTo>
                  <a:lnTo>
                    <a:pt x="26" y="72"/>
                  </a:lnTo>
                  <a:lnTo>
                    <a:pt x="26" y="72"/>
                  </a:lnTo>
                  <a:lnTo>
                    <a:pt x="16" y="80"/>
                  </a:lnTo>
                  <a:lnTo>
                    <a:pt x="10" y="84"/>
                  </a:lnTo>
                  <a:lnTo>
                    <a:pt x="10" y="84"/>
                  </a:lnTo>
                  <a:lnTo>
                    <a:pt x="6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32" name="Freeform 91"/>
            <p:cNvSpPr>
              <a:spLocks/>
            </p:cNvSpPr>
            <p:nvPr/>
          </p:nvSpPr>
          <p:spPr bwMode="auto">
            <a:xfrm>
              <a:off x="3029" y="1460"/>
              <a:ext cx="76" cy="84"/>
            </a:xfrm>
            <a:custGeom>
              <a:avLst/>
              <a:gdLst>
                <a:gd name="T0" fmla="*/ 68 w 76"/>
                <a:gd name="T1" fmla="*/ 82 h 84"/>
                <a:gd name="T2" fmla="*/ 68 w 76"/>
                <a:gd name="T3" fmla="*/ 82 h 84"/>
                <a:gd name="T4" fmla="*/ 70 w 76"/>
                <a:gd name="T5" fmla="*/ 82 h 84"/>
                <a:gd name="T6" fmla="*/ 70 w 76"/>
                <a:gd name="T7" fmla="*/ 82 h 84"/>
                <a:gd name="T8" fmla="*/ 74 w 76"/>
                <a:gd name="T9" fmla="*/ 78 h 84"/>
                <a:gd name="T10" fmla="*/ 76 w 76"/>
                <a:gd name="T11" fmla="*/ 76 h 84"/>
                <a:gd name="T12" fmla="*/ 76 w 76"/>
                <a:gd name="T13" fmla="*/ 72 h 84"/>
                <a:gd name="T14" fmla="*/ 76 w 76"/>
                <a:gd name="T15" fmla="*/ 66 h 84"/>
                <a:gd name="T16" fmla="*/ 76 w 76"/>
                <a:gd name="T17" fmla="*/ 66 h 84"/>
                <a:gd name="T18" fmla="*/ 72 w 76"/>
                <a:gd name="T19" fmla="*/ 52 h 84"/>
                <a:gd name="T20" fmla="*/ 72 w 76"/>
                <a:gd name="T21" fmla="*/ 46 h 84"/>
                <a:gd name="T22" fmla="*/ 76 w 76"/>
                <a:gd name="T23" fmla="*/ 38 h 84"/>
                <a:gd name="T24" fmla="*/ 76 w 76"/>
                <a:gd name="T25" fmla="*/ 38 h 84"/>
                <a:gd name="T26" fmla="*/ 76 w 76"/>
                <a:gd name="T27" fmla="*/ 28 h 84"/>
                <a:gd name="T28" fmla="*/ 76 w 76"/>
                <a:gd name="T29" fmla="*/ 22 h 84"/>
                <a:gd name="T30" fmla="*/ 74 w 76"/>
                <a:gd name="T31" fmla="*/ 18 h 84"/>
                <a:gd name="T32" fmla="*/ 68 w 76"/>
                <a:gd name="T33" fmla="*/ 14 h 84"/>
                <a:gd name="T34" fmla="*/ 68 w 76"/>
                <a:gd name="T35" fmla="*/ 14 h 84"/>
                <a:gd name="T36" fmla="*/ 60 w 76"/>
                <a:gd name="T37" fmla="*/ 4 h 84"/>
                <a:gd name="T38" fmla="*/ 54 w 76"/>
                <a:gd name="T39" fmla="*/ 0 h 84"/>
                <a:gd name="T40" fmla="*/ 50 w 76"/>
                <a:gd name="T41" fmla="*/ 0 h 84"/>
                <a:gd name="T42" fmla="*/ 46 w 76"/>
                <a:gd name="T43" fmla="*/ 0 h 84"/>
                <a:gd name="T44" fmla="*/ 46 w 76"/>
                <a:gd name="T45" fmla="*/ 0 h 84"/>
                <a:gd name="T46" fmla="*/ 30 w 76"/>
                <a:gd name="T47" fmla="*/ 2 h 84"/>
                <a:gd name="T48" fmla="*/ 24 w 76"/>
                <a:gd name="T49" fmla="*/ 4 h 84"/>
                <a:gd name="T50" fmla="*/ 18 w 76"/>
                <a:gd name="T51" fmla="*/ 4 h 84"/>
                <a:gd name="T52" fmla="*/ 18 w 76"/>
                <a:gd name="T53" fmla="*/ 4 h 84"/>
                <a:gd name="T54" fmla="*/ 14 w 76"/>
                <a:gd name="T55" fmla="*/ 8 h 84"/>
                <a:gd name="T56" fmla="*/ 12 w 76"/>
                <a:gd name="T57" fmla="*/ 14 h 84"/>
                <a:gd name="T58" fmla="*/ 2 w 76"/>
                <a:gd name="T59" fmla="*/ 26 h 84"/>
                <a:gd name="T60" fmla="*/ 2 w 76"/>
                <a:gd name="T61" fmla="*/ 26 h 84"/>
                <a:gd name="T62" fmla="*/ 0 w 76"/>
                <a:gd name="T63" fmla="*/ 30 h 84"/>
                <a:gd name="T64" fmla="*/ 0 w 76"/>
                <a:gd name="T65" fmla="*/ 38 h 84"/>
                <a:gd name="T66" fmla="*/ 2 w 76"/>
                <a:gd name="T67" fmla="*/ 46 h 84"/>
                <a:gd name="T68" fmla="*/ 2 w 76"/>
                <a:gd name="T69" fmla="*/ 50 h 84"/>
                <a:gd name="T70" fmla="*/ 6 w 76"/>
                <a:gd name="T71" fmla="*/ 52 h 84"/>
                <a:gd name="T72" fmla="*/ 6 w 76"/>
                <a:gd name="T73" fmla="*/ 52 h 84"/>
                <a:gd name="T74" fmla="*/ 18 w 76"/>
                <a:gd name="T75" fmla="*/ 62 h 84"/>
                <a:gd name="T76" fmla="*/ 30 w 76"/>
                <a:gd name="T77" fmla="*/ 72 h 84"/>
                <a:gd name="T78" fmla="*/ 30 w 76"/>
                <a:gd name="T79" fmla="*/ 72 h 84"/>
                <a:gd name="T80" fmla="*/ 42 w 76"/>
                <a:gd name="T81" fmla="*/ 78 h 84"/>
                <a:gd name="T82" fmla="*/ 46 w 76"/>
                <a:gd name="T83" fmla="*/ 82 h 84"/>
                <a:gd name="T84" fmla="*/ 50 w 76"/>
                <a:gd name="T85" fmla="*/ 84 h 84"/>
                <a:gd name="T86" fmla="*/ 50 w 76"/>
                <a:gd name="T87" fmla="*/ 84 h 84"/>
                <a:gd name="T88" fmla="*/ 64 w 76"/>
                <a:gd name="T89" fmla="*/ 82 h 84"/>
                <a:gd name="T90" fmla="*/ 68 w 76"/>
                <a:gd name="T91" fmla="*/ 82 h 84"/>
                <a:gd name="T92" fmla="*/ 68 w 76"/>
                <a:gd name="T93" fmla="*/ 82 h 84"/>
                <a:gd name="T94" fmla="*/ 68 w 76"/>
                <a:gd name="T95" fmla="*/ 82 h 84"/>
                <a:gd name="T96" fmla="*/ 68 w 76"/>
                <a:gd name="T97" fmla="*/ 82 h 84"/>
                <a:gd name="T98" fmla="*/ 68 w 76"/>
                <a:gd name="T99" fmla="*/ 8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6" h="84">
                  <a:moveTo>
                    <a:pt x="68" y="82"/>
                  </a:moveTo>
                  <a:lnTo>
                    <a:pt x="68" y="82"/>
                  </a:lnTo>
                  <a:lnTo>
                    <a:pt x="70" y="82"/>
                  </a:lnTo>
                  <a:lnTo>
                    <a:pt x="70" y="82"/>
                  </a:lnTo>
                  <a:lnTo>
                    <a:pt x="74" y="78"/>
                  </a:lnTo>
                  <a:lnTo>
                    <a:pt x="76" y="76"/>
                  </a:lnTo>
                  <a:lnTo>
                    <a:pt x="76" y="72"/>
                  </a:lnTo>
                  <a:lnTo>
                    <a:pt x="76" y="66"/>
                  </a:lnTo>
                  <a:lnTo>
                    <a:pt x="76" y="66"/>
                  </a:lnTo>
                  <a:lnTo>
                    <a:pt x="72" y="52"/>
                  </a:lnTo>
                  <a:lnTo>
                    <a:pt x="72" y="46"/>
                  </a:lnTo>
                  <a:lnTo>
                    <a:pt x="76" y="38"/>
                  </a:lnTo>
                  <a:lnTo>
                    <a:pt x="76" y="38"/>
                  </a:lnTo>
                  <a:lnTo>
                    <a:pt x="76" y="28"/>
                  </a:lnTo>
                  <a:lnTo>
                    <a:pt x="76" y="22"/>
                  </a:lnTo>
                  <a:lnTo>
                    <a:pt x="74" y="18"/>
                  </a:lnTo>
                  <a:lnTo>
                    <a:pt x="68" y="14"/>
                  </a:lnTo>
                  <a:lnTo>
                    <a:pt x="68" y="14"/>
                  </a:lnTo>
                  <a:lnTo>
                    <a:pt x="60" y="4"/>
                  </a:lnTo>
                  <a:lnTo>
                    <a:pt x="54" y="0"/>
                  </a:lnTo>
                  <a:lnTo>
                    <a:pt x="50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30" y="2"/>
                  </a:lnTo>
                  <a:lnTo>
                    <a:pt x="24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4" y="8"/>
                  </a:lnTo>
                  <a:lnTo>
                    <a:pt x="12" y="14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0" y="30"/>
                  </a:lnTo>
                  <a:lnTo>
                    <a:pt x="0" y="38"/>
                  </a:lnTo>
                  <a:lnTo>
                    <a:pt x="2" y="46"/>
                  </a:lnTo>
                  <a:lnTo>
                    <a:pt x="2" y="50"/>
                  </a:lnTo>
                  <a:lnTo>
                    <a:pt x="6" y="52"/>
                  </a:lnTo>
                  <a:lnTo>
                    <a:pt x="6" y="52"/>
                  </a:lnTo>
                  <a:lnTo>
                    <a:pt x="18" y="62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42" y="78"/>
                  </a:lnTo>
                  <a:lnTo>
                    <a:pt x="46" y="82"/>
                  </a:lnTo>
                  <a:lnTo>
                    <a:pt x="50" y="84"/>
                  </a:lnTo>
                  <a:lnTo>
                    <a:pt x="50" y="84"/>
                  </a:lnTo>
                  <a:lnTo>
                    <a:pt x="64" y="82"/>
                  </a:lnTo>
                  <a:lnTo>
                    <a:pt x="68" y="82"/>
                  </a:lnTo>
                  <a:lnTo>
                    <a:pt x="68" y="82"/>
                  </a:lnTo>
                  <a:lnTo>
                    <a:pt x="68" y="82"/>
                  </a:lnTo>
                  <a:lnTo>
                    <a:pt x="68" y="82"/>
                  </a:lnTo>
                  <a:lnTo>
                    <a:pt x="68" y="82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33" name="Freeform 92"/>
            <p:cNvSpPr>
              <a:spLocks/>
            </p:cNvSpPr>
            <p:nvPr/>
          </p:nvSpPr>
          <p:spPr bwMode="auto">
            <a:xfrm>
              <a:off x="3007" y="1399"/>
              <a:ext cx="76" cy="67"/>
            </a:xfrm>
            <a:custGeom>
              <a:avLst/>
              <a:gdLst>
                <a:gd name="T0" fmla="*/ 34 w 76"/>
                <a:gd name="T1" fmla="*/ 63 h 67"/>
                <a:gd name="T2" fmla="*/ 34 w 76"/>
                <a:gd name="T3" fmla="*/ 63 h 67"/>
                <a:gd name="T4" fmla="*/ 44 w 76"/>
                <a:gd name="T5" fmla="*/ 61 h 67"/>
                <a:gd name="T6" fmla="*/ 56 w 76"/>
                <a:gd name="T7" fmla="*/ 59 h 67"/>
                <a:gd name="T8" fmla="*/ 56 w 76"/>
                <a:gd name="T9" fmla="*/ 59 h 67"/>
                <a:gd name="T10" fmla="*/ 64 w 76"/>
                <a:gd name="T11" fmla="*/ 59 h 67"/>
                <a:gd name="T12" fmla="*/ 66 w 76"/>
                <a:gd name="T13" fmla="*/ 57 h 67"/>
                <a:gd name="T14" fmla="*/ 68 w 76"/>
                <a:gd name="T15" fmla="*/ 55 h 67"/>
                <a:gd name="T16" fmla="*/ 68 w 76"/>
                <a:gd name="T17" fmla="*/ 55 h 67"/>
                <a:gd name="T18" fmla="*/ 66 w 76"/>
                <a:gd name="T19" fmla="*/ 43 h 67"/>
                <a:gd name="T20" fmla="*/ 66 w 76"/>
                <a:gd name="T21" fmla="*/ 37 h 67"/>
                <a:gd name="T22" fmla="*/ 68 w 76"/>
                <a:gd name="T23" fmla="*/ 35 h 67"/>
                <a:gd name="T24" fmla="*/ 68 w 76"/>
                <a:gd name="T25" fmla="*/ 35 h 67"/>
                <a:gd name="T26" fmla="*/ 68 w 76"/>
                <a:gd name="T27" fmla="*/ 35 h 67"/>
                <a:gd name="T28" fmla="*/ 72 w 76"/>
                <a:gd name="T29" fmla="*/ 35 h 67"/>
                <a:gd name="T30" fmla="*/ 76 w 76"/>
                <a:gd name="T31" fmla="*/ 33 h 67"/>
                <a:gd name="T32" fmla="*/ 76 w 76"/>
                <a:gd name="T33" fmla="*/ 31 h 67"/>
                <a:gd name="T34" fmla="*/ 74 w 76"/>
                <a:gd name="T35" fmla="*/ 27 h 67"/>
                <a:gd name="T36" fmla="*/ 74 w 76"/>
                <a:gd name="T37" fmla="*/ 27 h 67"/>
                <a:gd name="T38" fmla="*/ 68 w 76"/>
                <a:gd name="T39" fmla="*/ 15 h 67"/>
                <a:gd name="T40" fmla="*/ 62 w 76"/>
                <a:gd name="T41" fmla="*/ 7 h 67"/>
                <a:gd name="T42" fmla="*/ 58 w 76"/>
                <a:gd name="T43" fmla="*/ 0 h 67"/>
                <a:gd name="T44" fmla="*/ 58 w 76"/>
                <a:gd name="T45" fmla="*/ 0 h 67"/>
                <a:gd name="T46" fmla="*/ 56 w 76"/>
                <a:gd name="T47" fmla="*/ 0 h 67"/>
                <a:gd name="T48" fmla="*/ 52 w 76"/>
                <a:gd name="T49" fmla="*/ 0 h 67"/>
                <a:gd name="T50" fmla="*/ 50 w 76"/>
                <a:gd name="T51" fmla="*/ 2 h 67"/>
                <a:gd name="T52" fmla="*/ 46 w 76"/>
                <a:gd name="T53" fmla="*/ 9 h 67"/>
                <a:gd name="T54" fmla="*/ 44 w 76"/>
                <a:gd name="T55" fmla="*/ 9 h 67"/>
                <a:gd name="T56" fmla="*/ 42 w 76"/>
                <a:gd name="T57" fmla="*/ 9 h 67"/>
                <a:gd name="T58" fmla="*/ 42 w 76"/>
                <a:gd name="T59" fmla="*/ 9 h 67"/>
                <a:gd name="T60" fmla="*/ 30 w 76"/>
                <a:gd name="T61" fmla="*/ 11 h 67"/>
                <a:gd name="T62" fmla="*/ 26 w 76"/>
                <a:gd name="T63" fmla="*/ 11 h 67"/>
                <a:gd name="T64" fmla="*/ 24 w 76"/>
                <a:gd name="T65" fmla="*/ 15 h 67"/>
                <a:gd name="T66" fmla="*/ 24 w 76"/>
                <a:gd name="T67" fmla="*/ 15 h 67"/>
                <a:gd name="T68" fmla="*/ 20 w 76"/>
                <a:gd name="T69" fmla="*/ 17 h 67"/>
                <a:gd name="T70" fmla="*/ 20 w 76"/>
                <a:gd name="T71" fmla="*/ 19 h 67"/>
                <a:gd name="T72" fmla="*/ 20 w 76"/>
                <a:gd name="T73" fmla="*/ 27 h 67"/>
                <a:gd name="T74" fmla="*/ 18 w 76"/>
                <a:gd name="T75" fmla="*/ 33 h 67"/>
                <a:gd name="T76" fmla="*/ 18 w 76"/>
                <a:gd name="T77" fmla="*/ 35 h 67"/>
                <a:gd name="T78" fmla="*/ 18 w 76"/>
                <a:gd name="T79" fmla="*/ 37 h 67"/>
                <a:gd name="T80" fmla="*/ 18 w 76"/>
                <a:gd name="T81" fmla="*/ 37 h 67"/>
                <a:gd name="T82" fmla="*/ 12 w 76"/>
                <a:gd name="T83" fmla="*/ 39 h 67"/>
                <a:gd name="T84" fmla="*/ 4 w 76"/>
                <a:gd name="T85" fmla="*/ 45 h 67"/>
                <a:gd name="T86" fmla="*/ 4 w 76"/>
                <a:gd name="T87" fmla="*/ 45 h 67"/>
                <a:gd name="T88" fmla="*/ 0 w 76"/>
                <a:gd name="T89" fmla="*/ 47 h 67"/>
                <a:gd name="T90" fmla="*/ 0 w 76"/>
                <a:gd name="T91" fmla="*/ 51 h 67"/>
                <a:gd name="T92" fmla="*/ 0 w 76"/>
                <a:gd name="T93" fmla="*/ 53 h 67"/>
                <a:gd name="T94" fmla="*/ 2 w 76"/>
                <a:gd name="T95" fmla="*/ 53 h 67"/>
                <a:gd name="T96" fmla="*/ 6 w 76"/>
                <a:gd name="T97" fmla="*/ 57 h 67"/>
                <a:gd name="T98" fmla="*/ 10 w 76"/>
                <a:gd name="T99" fmla="*/ 61 h 67"/>
                <a:gd name="T100" fmla="*/ 10 w 76"/>
                <a:gd name="T101" fmla="*/ 61 h 67"/>
                <a:gd name="T102" fmla="*/ 18 w 76"/>
                <a:gd name="T103" fmla="*/ 65 h 67"/>
                <a:gd name="T104" fmla="*/ 22 w 76"/>
                <a:gd name="T105" fmla="*/ 67 h 67"/>
                <a:gd name="T106" fmla="*/ 24 w 76"/>
                <a:gd name="T107" fmla="*/ 67 h 67"/>
                <a:gd name="T108" fmla="*/ 24 w 76"/>
                <a:gd name="T109" fmla="*/ 67 h 67"/>
                <a:gd name="T110" fmla="*/ 34 w 76"/>
                <a:gd name="T111" fmla="*/ 63 h 67"/>
                <a:gd name="T112" fmla="*/ 34 w 76"/>
                <a:gd name="T113" fmla="*/ 63 h 67"/>
                <a:gd name="T114" fmla="*/ 34 w 76"/>
                <a:gd name="T115" fmla="*/ 63 h 67"/>
                <a:gd name="T116" fmla="*/ 34 w 76"/>
                <a:gd name="T117" fmla="*/ 63 h 67"/>
                <a:gd name="T118" fmla="*/ 34 w 76"/>
                <a:gd name="T119" fmla="*/ 63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6" h="67">
                  <a:moveTo>
                    <a:pt x="34" y="63"/>
                  </a:moveTo>
                  <a:lnTo>
                    <a:pt x="34" y="63"/>
                  </a:lnTo>
                  <a:lnTo>
                    <a:pt x="44" y="61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64" y="59"/>
                  </a:lnTo>
                  <a:lnTo>
                    <a:pt x="66" y="57"/>
                  </a:lnTo>
                  <a:lnTo>
                    <a:pt x="68" y="55"/>
                  </a:lnTo>
                  <a:lnTo>
                    <a:pt x="68" y="55"/>
                  </a:lnTo>
                  <a:lnTo>
                    <a:pt x="66" y="43"/>
                  </a:lnTo>
                  <a:lnTo>
                    <a:pt x="66" y="37"/>
                  </a:lnTo>
                  <a:lnTo>
                    <a:pt x="68" y="35"/>
                  </a:lnTo>
                  <a:lnTo>
                    <a:pt x="68" y="35"/>
                  </a:lnTo>
                  <a:lnTo>
                    <a:pt x="68" y="35"/>
                  </a:lnTo>
                  <a:lnTo>
                    <a:pt x="72" y="35"/>
                  </a:lnTo>
                  <a:lnTo>
                    <a:pt x="76" y="33"/>
                  </a:lnTo>
                  <a:lnTo>
                    <a:pt x="76" y="31"/>
                  </a:lnTo>
                  <a:lnTo>
                    <a:pt x="74" y="27"/>
                  </a:lnTo>
                  <a:lnTo>
                    <a:pt x="74" y="27"/>
                  </a:lnTo>
                  <a:lnTo>
                    <a:pt x="68" y="15"/>
                  </a:lnTo>
                  <a:lnTo>
                    <a:pt x="62" y="7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56" y="0"/>
                  </a:lnTo>
                  <a:lnTo>
                    <a:pt x="52" y="0"/>
                  </a:lnTo>
                  <a:lnTo>
                    <a:pt x="50" y="2"/>
                  </a:lnTo>
                  <a:lnTo>
                    <a:pt x="46" y="9"/>
                  </a:lnTo>
                  <a:lnTo>
                    <a:pt x="44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30" y="11"/>
                  </a:lnTo>
                  <a:lnTo>
                    <a:pt x="26" y="11"/>
                  </a:lnTo>
                  <a:lnTo>
                    <a:pt x="24" y="15"/>
                  </a:lnTo>
                  <a:lnTo>
                    <a:pt x="24" y="15"/>
                  </a:lnTo>
                  <a:lnTo>
                    <a:pt x="20" y="17"/>
                  </a:lnTo>
                  <a:lnTo>
                    <a:pt x="20" y="19"/>
                  </a:lnTo>
                  <a:lnTo>
                    <a:pt x="20" y="27"/>
                  </a:lnTo>
                  <a:lnTo>
                    <a:pt x="18" y="33"/>
                  </a:lnTo>
                  <a:lnTo>
                    <a:pt x="18" y="35"/>
                  </a:lnTo>
                  <a:lnTo>
                    <a:pt x="18" y="37"/>
                  </a:lnTo>
                  <a:lnTo>
                    <a:pt x="18" y="37"/>
                  </a:lnTo>
                  <a:lnTo>
                    <a:pt x="12" y="39"/>
                  </a:lnTo>
                  <a:lnTo>
                    <a:pt x="4" y="45"/>
                  </a:lnTo>
                  <a:lnTo>
                    <a:pt x="4" y="45"/>
                  </a:lnTo>
                  <a:lnTo>
                    <a:pt x="0" y="47"/>
                  </a:lnTo>
                  <a:lnTo>
                    <a:pt x="0" y="51"/>
                  </a:lnTo>
                  <a:lnTo>
                    <a:pt x="0" y="53"/>
                  </a:lnTo>
                  <a:lnTo>
                    <a:pt x="2" y="53"/>
                  </a:lnTo>
                  <a:lnTo>
                    <a:pt x="6" y="57"/>
                  </a:lnTo>
                  <a:lnTo>
                    <a:pt x="10" y="61"/>
                  </a:lnTo>
                  <a:lnTo>
                    <a:pt x="10" y="61"/>
                  </a:lnTo>
                  <a:lnTo>
                    <a:pt x="18" y="65"/>
                  </a:lnTo>
                  <a:lnTo>
                    <a:pt x="22" y="67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34" y="63"/>
                  </a:lnTo>
                  <a:lnTo>
                    <a:pt x="34" y="63"/>
                  </a:lnTo>
                  <a:lnTo>
                    <a:pt x="34" y="63"/>
                  </a:lnTo>
                  <a:lnTo>
                    <a:pt x="34" y="63"/>
                  </a:lnTo>
                  <a:lnTo>
                    <a:pt x="34" y="63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34" name="Freeform 93"/>
            <p:cNvSpPr>
              <a:spLocks/>
            </p:cNvSpPr>
            <p:nvPr/>
          </p:nvSpPr>
          <p:spPr bwMode="auto">
            <a:xfrm>
              <a:off x="2997" y="1460"/>
              <a:ext cx="32" cy="26"/>
            </a:xfrm>
            <a:custGeom>
              <a:avLst/>
              <a:gdLst>
                <a:gd name="T0" fmla="*/ 2 w 32"/>
                <a:gd name="T1" fmla="*/ 0 h 26"/>
                <a:gd name="T2" fmla="*/ 2 w 32"/>
                <a:gd name="T3" fmla="*/ 0 h 26"/>
                <a:gd name="T4" fmla="*/ 10 w 32"/>
                <a:gd name="T5" fmla="*/ 0 h 26"/>
                <a:gd name="T6" fmla="*/ 20 w 32"/>
                <a:gd name="T7" fmla="*/ 4 h 26"/>
                <a:gd name="T8" fmla="*/ 28 w 32"/>
                <a:gd name="T9" fmla="*/ 12 h 26"/>
                <a:gd name="T10" fmla="*/ 32 w 32"/>
                <a:gd name="T11" fmla="*/ 16 h 26"/>
                <a:gd name="T12" fmla="*/ 32 w 32"/>
                <a:gd name="T13" fmla="*/ 16 h 26"/>
                <a:gd name="T14" fmla="*/ 32 w 32"/>
                <a:gd name="T15" fmla="*/ 18 h 26"/>
                <a:gd name="T16" fmla="*/ 30 w 32"/>
                <a:gd name="T17" fmla="*/ 22 h 26"/>
                <a:gd name="T18" fmla="*/ 24 w 32"/>
                <a:gd name="T19" fmla="*/ 26 h 26"/>
                <a:gd name="T20" fmla="*/ 20 w 32"/>
                <a:gd name="T21" fmla="*/ 26 h 26"/>
                <a:gd name="T22" fmla="*/ 20 w 32"/>
                <a:gd name="T23" fmla="*/ 26 h 26"/>
                <a:gd name="T24" fmla="*/ 12 w 32"/>
                <a:gd name="T25" fmla="*/ 26 h 26"/>
                <a:gd name="T26" fmla="*/ 6 w 32"/>
                <a:gd name="T27" fmla="*/ 26 h 26"/>
                <a:gd name="T28" fmla="*/ 2 w 32"/>
                <a:gd name="T29" fmla="*/ 22 h 26"/>
                <a:gd name="T30" fmla="*/ 0 w 32"/>
                <a:gd name="T31" fmla="*/ 18 h 26"/>
                <a:gd name="T32" fmla="*/ 0 w 32"/>
                <a:gd name="T33" fmla="*/ 18 h 26"/>
                <a:gd name="T34" fmla="*/ 2 w 32"/>
                <a:gd name="T35" fmla="*/ 6 h 26"/>
                <a:gd name="T36" fmla="*/ 2 w 32"/>
                <a:gd name="T37" fmla="*/ 0 h 26"/>
                <a:gd name="T38" fmla="*/ 2 w 32"/>
                <a:gd name="T39" fmla="*/ 0 h 26"/>
                <a:gd name="T40" fmla="*/ 2 w 32"/>
                <a:gd name="T41" fmla="*/ 0 h 26"/>
                <a:gd name="T42" fmla="*/ 2 w 32"/>
                <a:gd name="T43" fmla="*/ 0 h 26"/>
                <a:gd name="T44" fmla="*/ 2 w 32"/>
                <a:gd name="T45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2" h="26">
                  <a:moveTo>
                    <a:pt x="2" y="0"/>
                  </a:moveTo>
                  <a:lnTo>
                    <a:pt x="2" y="0"/>
                  </a:lnTo>
                  <a:lnTo>
                    <a:pt x="10" y="0"/>
                  </a:lnTo>
                  <a:lnTo>
                    <a:pt x="20" y="4"/>
                  </a:lnTo>
                  <a:lnTo>
                    <a:pt x="28" y="12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8"/>
                  </a:lnTo>
                  <a:lnTo>
                    <a:pt x="30" y="22"/>
                  </a:lnTo>
                  <a:lnTo>
                    <a:pt x="24" y="26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12" y="26"/>
                  </a:lnTo>
                  <a:lnTo>
                    <a:pt x="6" y="26"/>
                  </a:lnTo>
                  <a:lnTo>
                    <a:pt x="2" y="22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2" y="6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35" name="Freeform 94"/>
            <p:cNvSpPr>
              <a:spLocks/>
            </p:cNvSpPr>
            <p:nvPr/>
          </p:nvSpPr>
          <p:spPr bwMode="auto">
            <a:xfrm>
              <a:off x="3670" y="1512"/>
              <a:ext cx="118" cy="102"/>
            </a:xfrm>
            <a:custGeom>
              <a:avLst/>
              <a:gdLst>
                <a:gd name="T0" fmla="*/ 40 w 118"/>
                <a:gd name="T1" fmla="*/ 102 h 102"/>
                <a:gd name="T2" fmla="*/ 18 w 118"/>
                <a:gd name="T3" fmla="*/ 90 h 102"/>
                <a:gd name="T4" fmla="*/ 6 w 118"/>
                <a:gd name="T5" fmla="*/ 82 h 102"/>
                <a:gd name="T6" fmla="*/ 2 w 118"/>
                <a:gd name="T7" fmla="*/ 70 h 102"/>
                <a:gd name="T8" fmla="*/ 0 w 118"/>
                <a:gd name="T9" fmla="*/ 44 h 102"/>
                <a:gd name="T10" fmla="*/ 0 w 118"/>
                <a:gd name="T11" fmla="*/ 34 h 102"/>
                <a:gd name="T12" fmla="*/ 6 w 118"/>
                <a:gd name="T13" fmla="*/ 26 h 102"/>
                <a:gd name="T14" fmla="*/ 10 w 118"/>
                <a:gd name="T15" fmla="*/ 26 h 102"/>
                <a:gd name="T16" fmla="*/ 20 w 118"/>
                <a:gd name="T17" fmla="*/ 30 h 102"/>
                <a:gd name="T18" fmla="*/ 36 w 118"/>
                <a:gd name="T19" fmla="*/ 34 h 102"/>
                <a:gd name="T20" fmla="*/ 46 w 118"/>
                <a:gd name="T21" fmla="*/ 38 h 102"/>
                <a:gd name="T22" fmla="*/ 48 w 118"/>
                <a:gd name="T23" fmla="*/ 36 h 102"/>
                <a:gd name="T24" fmla="*/ 46 w 118"/>
                <a:gd name="T25" fmla="*/ 30 h 102"/>
                <a:gd name="T26" fmla="*/ 42 w 118"/>
                <a:gd name="T27" fmla="*/ 16 h 102"/>
                <a:gd name="T28" fmla="*/ 44 w 118"/>
                <a:gd name="T29" fmla="*/ 10 h 102"/>
                <a:gd name="T30" fmla="*/ 46 w 118"/>
                <a:gd name="T31" fmla="*/ 6 h 102"/>
                <a:gd name="T32" fmla="*/ 50 w 118"/>
                <a:gd name="T33" fmla="*/ 6 h 102"/>
                <a:gd name="T34" fmla="*/ 60 w 118"/>
                <a:gd name="T35" fmla="*/ 10 h 102"/>
                <a:gd name="T36" fmla="*/ 70 w 118"/>
                <a:gd name="T37" fmla="*/ 12 h 102"/>
                <a:gd name="T38" fmla="*/ 72 w 118"/>
                <a:gd name="T39" fmla="*/ 12 h 102"/>
                <a:gd name="T40" fmla="*/ 82 w 118"/>
                <a:gd name="T41" fmla="*/ 6 h 102"/>
                <a:gd name="T42" fmla="*/ 92 w 118"/>
                <a:gd name="T43" fmla="*/ 0 h 102"/>
                <a:gd name="T44" fmla="*/ 98 w 118"/>
                <a:gd name="T45" fmla="*/ 0 h 102"/>
                <a:gd name="T46" fmla="*/ 110 w 118"/>
                <a:gd name="T47" fmla="*/ 0 h 102"/>
                <a:gd name="T48" fmla="*/ 114 w 118"/>
                <a:gd name="T49" fmla="*/ 2 h 102"/>
                <a:gd name="T50" fmla="*/ 114 w 118"/>
                <a:gd name="T51" fmla="*/ 6 h 102"/>
                <a:gd name="T52" fmla="*/ 116 w 118"/>
                <a:gd name="T53" fmla="*/ 20 h 102"/>
                <a:gd name="T54" fmla="*/ 118 w 118"/>
                <a:gd name="T55" fmla="*/ 34 h 102"/>
                <a:gd name="T56" fmla="*/ 116 w 118"/>
                <a:gd name="T57" fmla="*/ 38 h 102"/>
                <a:gd name="T58" fmla="*/ 110 w 118"/>
                <a:gd name="T59" fmla="*/ 56 h 102"/>
                <a:gd name="T60" fmla="*/ 106 w 118"/>
                <a:gd name="T61" fmla="*/ 62 h 102"/>
                <a:gd name="T62" fmla="*/ 98 w 118"/>
                <a:gd name="T63" fmla="*/ 64 h 102"/>
                <a:gd name="T64" fmla="*/ 92 w 118"/>
                <a:gd name="T65" fmla="*/ 64 h 102"/>
                <a:gd name="T66" fmla="*/ 78 w 118"/>
                <a:gd name="T67" fmla="*/ 76 h 102"/>
                <a:gd name="T68" fmla="*/ 72 w 118"/>
                <a:gd name="T69" fmla="*/ 78 h 102"/>
                <a:gd name="T70" fmla="*/ 62 w 118"/>
                <a:gd name="T71" fmla="*/ 82 h 102"/>
                <a:gd name="T72" fmla="*/ 62 w 118"/>
                <a:gd name="T73" fmla="*/ 86 h 102"/>
                <a:gd name="T74" fmla="*/ 64 w 118"/>
                <a:gd name="T75" fmla="*/ 90 h 102"/>
                <a:gd name="T76" fmla="*/ 68 w 118"/>
                <a:gd name="T77" fmla="*/ 98 h 102"/>
                <a:gd name="T78" fmla="*/ 66 w 118"/>
                <a:gd name="T79" fmla="*/ 102 h 102"/>
                <a:gd name="T80" fmla="*/ 62 w 118"/>
                <a:gd name="T81" fmla="*/ 102 h 102"/>
                <a:gd name="T82" fmla="*/ 40 w 118"/>
                <a:gd name="T83" fmla="*/ 102 h 102"/>
                <a:gd name="T84" fmla="*/ 40 w 118"/>
                <a:gd name="T85" fmla="*/ 102 h 102"/>
                <a:gd name="T86" fmla="*/ 40 w 118"/>
                <a:gd name="T87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18" h="102">
                  <a:moveTo>
                    <a:pt x="40" y="102"/>
                  </a:moveTo>
                  <a:lnTo>
                    <a:pt x="40" y="102"/>
                  </a:lnTo>
                  <a:lnTo>
                    <a:pt x="28" y="98"/>
                  </a:lnTo>
                  <a:lnTo>
                    <a:pt x="18" y="90"/>
                  </a:lnTo>
                  <a:lnTo>
                    <a:pt x="12" y="86"/>
                  </a:lnTo>
                  <a:lnTo>
                    <a:pt x="6" y="82"/>
                  </a:lnTo>
                  <a:lnTo>
                    <a:pt x="4" y="78"/>
                  </a:lnTo>
                  <a:lnTo>
                    <a:pt x="2" y="70"/>
                  </a:lnTo>
                  <a:lnTo>
                    <a:pt x="2" y="70"/>
                  </a:lnTo>
                  <a:lnTo>
                    <a:pt x="0" y="44"/>
                  </a:lnTo>
                  <a:lnTo>
                    <a:pt x="0" y="38"/>
                  </a:lnTo>
                  <a:lnTo>
                    <a:pt x="0" y="34"/>
                  </a:lnTo>
                  <a:lnTo>
                    <a:pt x="2" y="30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10" y="26"/>
                  </a:lnTo>
                  <a:lnTo>
                    <a:pt x="14" y="26"/>
                  </a:lnTo>
                  <a:lnTo>
                    <a:pt x="20" y="30"/>
                  </a:lnTo>
                  <a:lnTo>
                    <a:pt x="28" y="32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46" y="38"/>
                  </a:lnTo>
                  <a:lnTo>
                    <a:pt x="48" y="38"/>
                  </a:lnTo>
                  <a:lnTo>
                    <a:pt x="48" y="36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44" y="24"/>
                  </a:lnTo>
                  <a:lnTo>
                    <a:pt x="42" y="16"/>
                  </a:lnTo>
                  <a:lnTo>
                    <a:pt x="42" y="12"/>
                  </a:lnTo>
                  <a:lnTo>
                    <a:pt x="44" y="10"/>
                  </a:lnTo>
                  <a:lnTo>
                    <a:pt x="44" y="8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50" y="6"/>
                  </a:lnTo>
                  <a:lnTo>
                    <a:pt x="52" y="8"/>
                  </a:lnTo>
                  <a:lnTo>
                    <a:pt x="60" y="10"/>
                  </a:lnTo>
                  <a:lnTo>
                    <a:pt x="66" y="12"/>
                  </a:lnTo>
                  <a:lnTo>
                    <a:pt x="70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80" y="8"/>
                  </a:lnTo>
                  <a:lnTo>
                    <a:pt x="82" y="6"/>
                  </a:lnTo>
                  <a:lnTo>
                    <a:pt x="86" y="0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98" y="0"/>
                  </a:lnTo>
                  <a:lnTo>
                    <a:pt x="106" y="0"/>
                  </a:lnTo>
                  <a:lnTo>
                    <a:pt x="110" y="0"/>
                  </a:lnTo>
                  <a:lnTo>
                    <a:pt x="112" y="0"/>
                  </a:lnTo>
                  <a:lnTo>
                    <a:pt x="114" y="2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16" y="12"/>
                  </a:lnTo>
                  <a:lnTo>
                    <a:pt x="116" y="20"/>
                  </a:lnTo>
                  <a:lnTo>
                    <a:pt x="118" y="30"/>
                  </a:lnTo>
                  <a:lnTo>
                    <a:pt x="118" y="34"/>
                  </a:lnTo>
                  <a:lnTo>
                    <a:pt x="116" y="38"/>
                  </a:lnTo>
                  <a:lnTo>
                    <a:pt x="116" y="38"/>
                  </a:lnTo>
                  <a:lnTo>
                    <a:pt x="114" y="46"/>
                  </a:lnTo>
                  <a:lnTo>
                    <a:pt x="110" y="56"/>
                  </a:lnTo>
                  <a:lnTo>
                    <a:pt x="108" y="60"/>
                  </a:lnTo>
                  <a:lnTo>
                    <a:pt x="106" y="62"/>
                  </a:lnTo>
                  <a:lnTo>
                    <a:pt x="104" y="64"/>
                  </a:lnTo>
                  <a:lnTo>
                    <a:pt x="98" y="64"/>
                  </a:lnTo>
                  <a:lnTo>
                    <a:pt x="98" y="64"/>
                  </a:lnTo>
                  <a:lnTo>
                    <a:pt x="92" y="64"/>
                  </a:lnTo>
                  <a:lnTo>
                    <a:pt x="88" y="66"/>
                  </a:lnTo>
                  <a:lnTo>
                    <a:pt x="78" y="76"/>
                  </a:lnTo>
                  <a:lnTo>
                    <a:pt x="78" y="76"/>
                  </a:lnTo>
                  <a:lnTo>
                    <a:pt x="72" y="78"/>
                  </a:lnTo>
                  <a:lnTo>
                    <a:pt x="66" y="80"/>
                  </a:lnTo>
                  <a:lnTo>
                    <a:pt x="62" y="82"/>
                  </a:lnTo>
                  <a:lnTo>
                    <a:pt x="62" y="84"/>
                  </a:lnTo>
                  <a:lnTo>
                    <a:pt x="62" y="86"/>
                  </a:lnTo>
                  <a:lnTo>
                    <a:pt x="62" y="86"/>
                  </a:lnTo>
                  <a:lnTo>
                    <a:pt x="64" y="90"/>
                  </a:lnTo>
                  <a:lnTo>
                    <a:pt x="66" y="94"/>
                  </a:lnTo>
                  <a:lnTo>
                    <a:pt x="68" y="98"/>
                  </a:lnTo>
                  <a:lnTo>
                    <a:pt x="66" y="100"/>
                  </a:lnTo>
                  <a:lnTo>
                    <a:pt x="66" y="102"/>
                  </a:lnTo>
                  <a:lnTo>
                    <a:pt x="62" y="102"/>
                  </a:lnTo>
                  <a:lnTo>
                    <a:pt x="62" y="102"/>
                  </a:lnTo>
                  <a:lnTo>
                    <a:pt x="46" y="102"/>
                  </a:lnTo>
                  <a:lnTo>
                    <a:pt x="40" y="102"/>
                  </a:lnTo>
                  <a:lnTo>
                    <a:pt x="40" y="102"/>
                  </a:lnTo>
                  <a:lnTo>
                    <a:pt x="40" y="102"/>
                  </a:lnTo>
                  <a:lnTo>
                    <a:pt x="40" y="102"/>
                  </a:lnTo>
                  <a:lnTo>
                    <a:pt x="40" y="102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36" name="Freeform 95"/>
            <p:cNvSpPr>
              <a:spLocks/>
            </p:cNvSpPr>
            <p:nvPr/>
          </p:nvSpPr>
          <p:spPr bwMode="auto">
            <a:xfrm>
              <a:off x="3784" y="1618"/>
              <a:ext cx="62" cy="49"/>
            </a:xfrm>
            <a:custGeom>
              <a:avLst/>
              <a:gdLst>
                <a:gd name="T0" fmla="*/ 0 w 62"/>
                <a:gd name="T1" fmla="*/ 45 h 49"/>
                <a:gd name="T2" fmla="*/ 0 w 62"/>
                <a:gd name="T3" fmla="*/ 45 h 49"/>
                <a:gd name="T4" fmla="*/ 2 w 62"/>
                <a:gd name="T5" fmla="*/ 43 h 49"/>
                <a:gd name="T6" fmla="*/ 4 w 62"/>
                <a:gd name="T7" fmla="*/ 39 h 49"/>
                <a:gd name="T8" fmla="*/ 6 w 62"/>
                <a:gd name="T9" fmla="*/ 31 h 49"/>
                <a:gd name="T10" fmla="*/ 4 w 62"/>
                <a:gd name="T11" fmla="*/ 23 h 49"/>
                <a:gd name="T12" fmla="*/ 4 w 62"/>
                <a:gd name="T13" fmla="*/ 23 h 49"/>
                <a:gd name="T14" fmla="*/ 4 w 62"/>
                <a:gd name="T15" fmla="*/ 18 h 49"/>
                <a:gd name="T16" fmla="*/ 6 w 62"/>
                <a:gd name="T17" fmla="*/ 12 h 49"/>
                <a:gd name="T18" fmla="*/ 10 w 62"/>
                <a:gd name="T19" fmla="*/ 8 h 49"/>
                <a:gd name="T20" fmla="*/ 14 w 62"/>
                <a:gd name="T21" fmla="*/ 4 h 49"/>
                <a:gd name="T22" fmla="*/ 14 w 62"/>
                <a:gd name="T23" fmla="*/ 4 h 49"/>
                <a:gd name="T24" fmla="*/ 18 w 62"/>
                <a:gd name="T25" fmla="*/ 2 h 49"/>
                <a:gd name="T26" fmla="*/ 22 w 62"/>
                <a:gd name="T27" fmla="*/ 0 h 49"/>
                <a:gd name="T28" fmla="*/ 30 w 62"/>
                <a:gd name="T29" fmla="*/ 2 h 49"/>
                <a:gd name="T30" fmla="*/ 42 w 62"/>
                <a:gd name="T31" fmla="*/ 6 h 49"/>
                <a:gd name="T32" fmla="*/ 50 w 62"/>
                <a:gd name="T33" fmla="*/ 8 h 49"/>
                <a:gd name="T34" fmla="*/ 50 w 62"/>
                <a:gd name="T35" fmla="*/ 8 h 49"/>
                <a:gd name="T36" fmla="*/ 56 w 62"/>
                <a:gd name="T37" fmla="*/ 12 h 49"/>
                <a:gd name="T38" fmla="*/ 60 w 62"/>
                <a:gd name="T39" fmla="*/ 16 h 49"/>
                <a:gd name="T40" fmla="*/ 62 w 62"/>
                <a:gd name="T41" fmla="*/ 18 h 49"/>
                <a:gd name="T42" fmla="*/ 62 w 62"/>
                <a:gd name="T43" fmla="*/ 20 h 49"/>
                <a:gd name="T44" fmla="*/ 60 w 62"/>
                <a:gd name="T45" fmla="*/ 21 h 49"/>
                <a:gd name="T46" fmla="*/ 58 w 62"/>
                <a:gd name="T47" fmla="*/ 23 h 49"/>
                <a:gd name="T48" fmla="*/ 58 w 62"/>
                <a:gd name="T49" fmla="*/ 23 h 49"/>
                <a:gd name="T50" fmla="*/ 48 w 62"/>
                <a:gd name="T51" fmla="*/ 27 h 49"/>
                <a:gd name="T52" fmla="*/ 40 w 62"/>
                <a:gd name="T53" fmla="*/ 31 h 49"/>
                <a:gd name="T54" fmla="*/ 34 w 62"/>
                <a:gd name="T55" fmla="*/ 33 h 49"/>
                <a:gd name="T56" fmla="*/ 26 w 62"/>
                <a:gd name="T57" fmla="*/ 33 h 49"/>
                <a:gd name="T58" fmla="*/ 26 w 62"/>
                <a:gd name="T59" fmla="*/ 33 h 49"/>
                <a:gd name="T60" fmla="*/ 22 w 62"/>
                <a:gd name="T61" fmla="*/ 37 h 49"/>
                <a:gd name="T62" fmla="*/ 18 w 62"/>
                <a:gd name="T63" fmla="*/ 39 h 49"/>
                <a:gd name="T64" fmla="*/ 14 w 62"/>
                <a:gd name="T65" fmla="*/ 43 h 49"/>
                <a:gd name="T66" fmla="*/ 6 w 62"/>
                <a:gd name="T67" fmla="*/ 45 h 49"/>
                <a:gd name="T68" fmla="*/ 4 w 62"/>
                <a:gd name="T69" fmla="*/ 49 h 49"/>
                <a:gd name="T70" fmla="*/ 4 w 62"/>
                <a:gd name="T71" fmla="*/ 49 h 49"/>
                <a:gd name="T72" fmla="*/ 2 w 62"/>
                <a:gd name="T73" fmla="*/ 49 h 49"/>
                <a:gd name="T74" fmla="*/ 0 w 62"/>
                <a:gd name="T75" fmla="*/ 47 h 49"/>
                <a:gd name="T76" fmla="*/ 0 w 62"/>
                <a:gd name="T77" fmla="*/ 45 h 49"/>
                <a:gd name="T78" fmla="*/ 0 w 62"/>
                <a:gd name="T79" fmla="*/ 45 h 49"/>
                <a:gd name="T80" fmla="*/ 0 w 62"/>
                <a:gd name="T81" fmla="*/ 45 h 49"/>
                <a:gd name="T82" fmla="*/ 0 w 62"/>
                <a:gd name="T83" fmla="*/ 45 h 49"/>
                <a:gd name="T84" fmla="*/ 0 w 62"/>
                <a:gd name="T85" fmla="*/ 45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2" h="49">
                  <a:moveTo>
                    <a:pt x="0" y="45"/>
                  </a:moveTo>
                  <a:lnTo>
                    <a:pt x="0" y="45"/>
                  </a:lnTo>
                  <a:lnTo>
                    <a:pt x="2" y="43"/>
                  </a:lnTo>
                  <a:lnTo>
                    <a:pt x="4" y="39"/>
                  </a:lnTo>
                  <a:lnTo>
                    <a:pt x="6" y="31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4" y="18"/>
                  </a:lnTo>
                  <a:lnTo>
                    <a:pt x="6" y="12"/>
                  </a:lnTo>
                  <a:lnTo>
                    <a:pt x="10" y="8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8" y="2"/>
                  </a:lnTo>
                  <a:lnTo>
                    <a:pt x="22" y="0"/>
                  </a:lnTo>
                  <a:lnTo>
                    <a:pt x="30" y="2"/>
                  </a:lnTo>
                  <a:lnTo>
                    <a:pt x="42" y="6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6" y="12"/>
                  </a:lnTo>
                  <a:lnTo>
                    <a:pt x="60" y="16"/>
                  </a:lnTo>
                  <a:lnTo>
                    <a:pt x="62" y="18"/>
                  </a:lnTo>
                  <a:lnTo>
                    <a:pt x="62" y="20"/>
                  </a:lnTo>
                  <a:lnTo>
                    <a:pt x="60" y="21"/>
                  </a:lnTo>
                  <a:lnTo>
                    <a:pt x="58" y="23"/>
                  </a:lnTo>
                  <a:lnTo>
                    <a:pt x="58" y="23"/>
                  </a:lnTo>
                  <a:lnTo>
                    <a:pt x="48" y="27"/>
                  </a:lnTo>
                  <a:lnTo>
                    <a:pt x="40" y="31"/>
                  </a:lnTo>
                  <a:lnTo>
                    <a:pt x="34" y="33"/>
                  </a:lnTo>
                  <a:lnTo>
                    <a:pt x="26" y="33"/>
                  </a:lnTo>
                  <a:lnTo>
                    <a:pt x="26" y="33"/>
                  </a:lnTo>
                  <a:lnTo>
                    <a:pt x="22" y="37"/>
                  </a:lnTo>
                  <a:lnTo>
                    <a:pt x="18" y="39"/>
                  </a:lnTo>
                  <a:lnTo>
                    <a:pt x="14" y="43"/>
                  </a:lnTo>
                  <a:lnTo>
                    <a:pt x="6" y="45"/>
                  </a:lnTo>
                  <a:lnTo>
                    <a:pt x="4" y="49"/>
                  </a:lnTo>
                  <a:lnTo>
                    <a:pt x="4" y="49"/>
                  </a:lnTo>
                  <a:lnTo>
                    <a:pt x="2" y="49"/>
                  </a:lnTo>
                  <a:lnTo>
                    <a:pt x="0" y="47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5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37" name="Freeform 96"/>
            <p:cNvSpPr>
              <a:spLocks/>
            </p:cNvSpPr>
            <p:nvPr/>
          </p:nvSpPr>
          <p:spPr bwMode="auto">
            <a:xfrm>
              <a:off x="3798" y="1478"/>
              <a:ext cx="75" cy="40"/>
            </a:xfrm>
            <a:custGeom>
              <a:avLst/>
              <a:gdLst>
                <a:gd name="T0" fmla="*/ 0 w 75"/>
                <a:gd name="T1" fmla="*/ 24 h 40"/>
                <a:gd name="T2" fmla="*/ 0 w 75"/>
                <a:gd name="T3" fmla="*/ 24 h 40"/>
                <a:gd name="T4" fmla="*/ 2 w 75"/>
                <a:gd name="T5" fmla="*/ 28 h 40"/>
                <a:gd name="T6" fmla="*/ 6 w 75"/>
                <a:gd name="T7" fmla="*/ 34 h 40"/>
                <a:gd name="T8" fmla="*/ 10 w 75"/>
                <a:gd name="T9" fmla="*/ 40 h 40"/>
                <a:gd name="T10" fmla="*/ 12 w 75"/>
                <a:gd name="T11" fmla="*/ 40 h 40"/>
                <a:gd name="T12" fmla="*/ 14 w 75"/>
                <a:gd name="T13" fmla="*/ 40 h 40"/>
                <a:gd name="T14" fmla="*/ 14 w 75"/>
                <a:gd name="T15" fmla="*/ 40 h 40"/>
                <a:gd name="T16" fmla="*/ 46 w 75"/>
                <a:gd name="T17" fmla="*/ 40 h 40"/>
                <a:gd name="T18" fmla="*/ 46 w 75"/>
                <a:gd name="T19" fmla="*/ 40 h 40"/>
                <a:gd name="T20" fmla="*/ 50 w 75"/>
                <a:gd name="T21" fmla="*/ 36 h 40"/>
                <a:gd name="T22" fmla="*/ 60 w 75"/>
                <a:gd name="T23" fmla="*/ 34 h 40"/>
                <a:gd name="T24" fmla="*/ 68 w 75"/>
                <a:gd name="T25" fmla="*/ 30 h 40"/>
                <a:gd name="T26" fmla="*/ 70 w 75"/>
                <a:gd name="T27" fmla="*/ 28 h 40"/>
                <a:gd name="T28" fmla="*/ 72 w 75"/>
                <a:gd name="T29" fmla="*/ 24 h 40"/>
                <a:gd name="T30" fmla="*/ 72 w 75"/>
                <a:gd name="T31" fmla="*/ 24 h 40"/>
                <a:gd name="T32" fmla="*/ 74 w 75"/>
                <a:gd name="T33" fmla="*/ 20 h 40"/>
                <a:gd name="T34" fmla="*/ 75 w 75"/>
                <a:gd name="T35" fmla="*/ 12 h 40"/>
                <a:gd name="T36" fmla="*/ 75 w 75"/>
                <a:gd name="T37" fmla="*/ 8 h 40"/>
                <a:gd name="T38" fmla="*/ 75 w 75"/>
                <a:gd name="T39" fmla="*/ 4 h 40"/>
                <a:gd name="T40" fmla="*/ 75 w 75"/>
                <a:gd name="T41" fmla="*/ 4 h 40"/>
                <a:gd name="T42" fmla="*/ 75 w 75"/>
                <a:gd name="T43" fmla="*/ 2 h 40"/>
                <a:gd name="T44" fmla="*/ 74 w 75"/>
                <a:gd name="T45" fmla="*/ 0 h 40"/>
                <a:gd name="T46" fmla="*/ 72 w 75"/>
                <a:gd name="T47" fmla="*/ 0 h 40"/>
                <a:gd name="T48" fmla="*/ 66 w 75"/>
                <a:gd name="T49" fmla="*/ 0 h 40"/>
                <a:gd name="T50" fmla="*/ 66 w 75"/>
                <a:gd name="T51" fmla="*/ 0 h 40"/>
                <a:gd name="T52" fmla="*/ 60 w 75"/>
                <a:gd name="T53" fmla="*/ 0 h 40"/>
                <a:gd name="T54" fmla="*/ 56 w 75"/>
                <a:gd name="T55" fmla="*/ 4 h 40"/>
                <a:gd name="T56" fmla="*/ 50 w 75"/>
                <a:gd name="T57" fmla="*/ 8 h 40"/>
                <a:gd name="T58" fmla="*/ 46 w 75"/>
                <a:gd name="T59" fmla="*/ 12 h 40"/>
                <a:gd name="T60" fmla="*/ 46 w 75"/>
                <a:gd name="T61" fmla="*/ 14 h 40"/>
                <a:gd name="T62" fmla="*/ 42 w 75"/>
                <a:gd name="T63" fmla="*/ 14 h 40"/>
                <a:gd name="T64" fmla="*/ 42 w 75"/>
                <a:gd name="T65" fmla="*/ 14 h 40"/>
                <a:gd name="T66" fmla="*/ 36 w 75"/>
                <a:gd name="T67" fmla="*/ 12 h 40"/>
                <a:gd name="T68" fmla="*/ 32 w 75"/>
                <a:gd name="T69" fmla="*/ 12 h 40"/>
                <a:gd name="T70" fmla="*/ 28 w 75"/>
                <a:gd name="T71" fmla="*/ 12 h 40"/>
                <a:gd name="T72" fmla="*/ 26 w 75"/>
                <a:gd name="T73" fmla="*/ 12 h 40"/>
                <a:gd name="T74" fmla="*/ 26 w 75"/>
                <a:gd name="T75" fmla="*/ 12 h 40"/>
                <a:gd name="T76" fmla="*/ 24 w 75"/>
                <a:gd name="T77" fmla="*/ 12 h 40"/>
                <a:gd name="T78" fmla="*/ 24 w 75"/>
                <a:gd name="T79" fmla="*/ 14 h 40"/>
                <a:gd name="T80" fmla="*/ 22 w 75"/>
                <a:gd name="T81" fmla="*/ 20 h 40"/>
                <a:gd name="T82" fmla="*/ 20 w 75"/>
                <a:gd name="T83" fmla="*/ 26 h 40"/>
                <a:gd name="T84" fmla="*/ 16 w 75"/>
                <a:gd name="T85" fmla="*/ 28 h 40"/>
                <a:gd name="T86" fmla="*/ 14 w 75"/>
                <a:gd name="T87" fmla="*/ 28 h 40"/>
                <a:gd name="T88" fmla="*/ 14 w 75"/>
                <a:gd name="T89" fmla="*/ 28 h 40"/>
                <a:gd name="T90" fmla="*/ 12 w 75"/>
                <a:gd name="T91" fmla="*/ 28 h 40"/>
                <a:gd name="T92" fmla="*/ 10 w 75"/>
                <a:gd name="T93" fmla="*/ 26 h 40"/>
                <a:gd name="T94" fmla="*/ 6 w 75"/>
                <a:gd name="T95" fmla="*/ 24 h 40"/>
                <a:gd name="T96" fmla="*/ 6 w 75"/>
                <a:gd name="T97" fmla="*/ 24 h 40"/>
                <a:gd name="T98" fmla="*/ 4 w 75"/>
                <a:gd name="T99" fmla="*/ 22 h 40"/>
                <a:gd name="T100" fmla="*/ 0 w 75"/>
                <a:gd name="T101" fmla="*/ 24 h 40"/>
                <a:gd name="T102" fmla="*/ 0 w 75"/>
                <a:gd name="T103" fmla="*/ 24 h 40"/>
                <a:gd name="T104" fmla="*/ 0 w 75"/>
                <a:gd name="T105" fmla="*/ 24 h 40"/>
                <a:gd name="T106" fmla="*/ 0 w 75"/>
                <a:gd name="T107" fmla="*/ 24 h 40"/>
                <a:gd name="T108" fmla="*/ 0 w 75"/>
                <a:gd name="T109" fmla="*/ 2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5" h="40">
                  <a:moveTo>
                    <a:pt x="0" y="24"/>
                  </a:moveTo>
                  <a:lnTo>
                    <a:pt x="0" y="24"/>
                  </a:lnTo>
                  <a:lnTo>
                    <a:pt x="2" y="28"/>
                  </a:lnTo>
                  <a:lnTo>
                    <a:pt x="6" y="34"/>
                  </a:lnTo>
                  <a:lnTo>
                    <a:pt x="10" y="40"/>
                  </a:lnTo>
                  <a:lnTo>
                    <a:pt x="12" y="40"/>
                  </a:lnTo>
                  <a:lnTo>
                    <a:pt x="14" y="40"/>
                  </a:lnTo>
                  <a:lnTo>
                    <a:pt x="14" y="40"/>
                  </a:lnTo>
                  <a:lnTo>
                    <a:pt x="46" y="40"/>
                  </a:lnTo>
                  <a:lnTo>
                    <a:pt x="46" y="40"/>
                  </a:lnTo>
                  <a:lnTo>
                    <a:pt x="50" y="36"/>
                  </a:lnTo>
                  <a:lnTo>
                    <a:pt x="60" y="34"/>
                  </a:lnTo>
                  <a:lnTo>
                    <a:pt x="68" y="30"/>
                  </a:lnTo>
                  <a:lnTo>
                    <a:pt x="70" y="28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4" y="20"/>
                  </a:lnTo>
                  <a:lnTo>
                    <a:pt x="75" y="12"/>
                  </a:lnTo>
                  <a:lnTo>
                    <a:pt x="75" y="8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2"/>
                  </a:lnTo>
                  <a:lnTo>
                    <a:pt x="74" y="0"/>
                  </a:lnTo>
                  <a:lnTo>
                    <a:pt x="72" y="0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60" y="0"/>
                  </a:lnTo>
                  <a:lnTo>
                    <a:pt x="56" y="4"/>
                  </a:lnTo>
                  <a:lnTo>
                    <a:pt x="50" y="8"/>
                  </a:lnTo>
                  <a:lnTo>
                    <a:pt x="46" y="12"/>
                  </a:lnTo>
                  <a:lnTo>
                    <a:pt x="46" y="14"/>
                  </a:lnTo>
                  <a:lnTo>
                    <a:pt x="42" y="14"/>
                  </a:lnTo>
                  <a:lnTo>
                    <a:pt x="42" y="14"/>
                  </a:lnTo>
                  <a:lnTo>
                    <a:pt x="36" y="12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4" y="12"/>
                  </a:lnTo>
                  <a:lnTo>
                    <a:pt x="24" y="14"/>
                  </a:lnTo>
                  <a:lnTo>
                    <a:pt x="22" y="20"/>
                  </a:lnTo>
                  <a:lnTo>
                    <a:pt x="20" y="26"/>
                  </a:lnTo>
                  <a:lnTo>
                    <a:pt x="16" y="28"/>
                  </a:lnTo>
                  <a:lnTo>
                    <a:pt x="14" y="28"/>
                  </a:lnTo>
                  <a:lnTo>
                    <a:pt x="14" y="28"/>
                  </a:lnTo>
                  <a:lnTo>
                    <a:pt x="12" y="28"/>
                  </a:lnTo>
                  <a:lnTo>
                    <a:pt x="10" y="26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4" y="22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38" name="Freeform 97"/>
            <p:cNvSpPr>
              <a:spLocks/>
            </p:cNvSpPr>
            <p:nvPr/>
          </p:nvSpPr>
          <p:spPr bwMode="auto">
            <a:xfrm>
              <a:off x="4341" y="1136"/>
              <a:ext cx="38" cy="75"/>
            </a:xfrm>
            <a:custGeom>
              <a:avLst/>
              <a:gdLst>
                <a:gd name="T0" fmla="*/ 28 w 38"/>
                <a:gd name="T1" fmla="*/ 75 h 75"/>
                <a:gd name="T2" fmla="*/ 28 w 38"/>
                <a:gd name="T3" fmla="*/ 75 h 75"/>
                <a:gd name="T4" fmla="*/ 24 w 38"/>
                <a:gd name="T5" fmla="*/ 75 h 75"/>
                <a:gd name="T6" fmla="*/ 16 w 38"/>
                <a:gd name="T7" fmla="*/ 75 h 75"/>
                <a:gd name="T8" fmla="*/ 14 w 38"/>
                <a:gd name="T9" fmla="*/ 73 h 75"/>
                <a:gd name="T10" fmla="*/ 12 w 38"/>
                <a:gd name="T11" fmla="*/ 71 h 75"/>
                <a:gd name="T12" fmla="*/ 12 w 38"/>
                <a:gd name="T13" fmla="*/ 71 h 75"/>
                <a:gd name="T14" fmla="*/ 4 w 38"/>
                <a:gd name="T15" fmla="*/ 59 h 75"/>
                <a:gd name="T16" fmla="*/ 0 w 38"/>
                <a:gd name="T17" fmla="*/ 51 h 75"/>
                <a:gd name="T18" fmla="*/ 0 w 38"/>
                <a:gd name="T19" fmla="*/ 47 h 75"/>
                <a:gd name="T20" fmla="*/ 0 w 38"/>
                <a:gd name="T21" fmla="*/ 41 h 75"/>
                <a:gd name="T22" fmla="*/ 0 w 38"/>
                <a:gd name="T23" fmla="*/ 41 h 75"/>
                <a:gd name="T24" fmla="*/ 2 w 38"/>
                <a:gd name="T25" fmla="*/ 30 h 75"/>
                <a:gd name="T26" fmla="*/ 4 w 38"/>
                <a:gd name="T27" fmla="*/ 22 h 75"/>
                <a:gd name="T28" fmla="*/ 8 w 38"/>
                <a:gd name="T29" fmla="*/ 12 h 75"/>
                <a:gd name="T30" fmla="*/ 14 w 38"/>
                <a:gd name="T31" fmla="*/ 6 h 75"/>
                <a:gd name="T32" fmla="*/ 14 w 38"/>
                <a:gd name="T33" fmla="*/ 6 h 75"/>
                <a:gd name="T34" fmla="*/ 20 w 38"/>
                <a:gd name="T35" fmla="*/ 2 h 75"/>
                <a:gd name="T36" fmla="*/ 26 w 38"/>
                <a:gd name="T37" fmla="*/ 0 h 75"/>
                <a:gd name="T38" fmla="*/ 32 w 38"/>
                <a:gd name="T39" fmla="*/ 0 h 75"/>
                <a:gd name="T40" fmla="*/ 32 w 38"/>
                <a:gd name="T41" fmla="*/ 2 h 75"/>
                <a:gd name="T42" fmla="*/ 34 w 38"/>
                <a:gd name="T43" fmla="*/ 2 h 75"/>
                <a:gd name="T44" fmla="*/ 34 w 38"/>
                <a:gd name="T45" fmla="*/ 2 h 75"/>
                <a:gd name="T46" fmla="*/ 36 w 38"/>
                <a:gd name="T47" fmla="*/ 10 h 75"/>
                <a:gd name="T48" fmla="*/ 38 w 38"/>
                <a:gd name="T49" fmla="*/ 18 h 75"/>
                <a:gd name="T50" fmla="*/ 38 w 38"/>
                <a:gd name="T51" fmla="*/ 34 h 75"/>
                <a:gd name="T52" fmla="*/ 38 w 38"/>
                <a:gd name="T53" fmla="*/ 34 h 75"/>
                <a:gd name="T54" fmla="*/ 36 w 38"/>
                <a:gd name="T55" fmla="*/ 39 h 75"/>
                <a:gd name="T56" fmla="*/ 34 w 38"/>
                <a:gd name="T57" fmla="*/ 43 h 75"/>
                <a:gd name="T58" fmla="*/ 32 w 38"/>
                <a:gd name="T59" fmla="*/ 47 h 75"/>
                <a:gd name="T60" fmla="*/ 30 w 38"/>
                <a:gd name="T61" fmla="*/ 51 h 75"/>
                <a:gd name="T62" fmla="*/ 30 w 38"/>
                <a:gd name="T63" fmla="*/ 51 h 75"/>
                <a:gd name="T64" fmla="*/ 30 w 38"/>
                <a:gd name="T65" fmla="*/ 59 h 75"/>
                <a:gd name="T66" fmla="*/ 30 w 38"/>
                <a:gd name="T67" fmla="*/ 65 h 75"/>
                <a:gd name="T68" fmla="*/ 30 w 38"/>
                <a:gd name="T69" fmla="*/ 65 h 75"/>
                <a:gd name="T70" fmla="*/ 28 w 38"/>
                <a:gd name="T71" fmla="*/ 75 h 75"/>
                <a:gd name="T72" fmla="*/ 28 w 38"/>
                <a:gd name="T73" fmla="*/ 75 h 75"/>
                <a:gd name="T74" fmla="*/ 28 w 38"/>
                <a:gd name="T75" fmla="*/ 75 h 75"/>
                <a:gd name="T76" fmla="*/ 28 w 38"/>
                <a:gd name="T77" fmla="*/ 75 h 75"/>
                <a:gd name="T78" fmla="*/ 28 w 38"/>
                <a:gd name="T79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8" h="75">
                  <a:moveTo>
                    <a:pt x="28" y="75"/>
                  </a:moveTo>
                  <a:lnTo>
                    <a:pt x="28" y="75"/>
                  </a:lnTo>
                  <a:lnTo>
                    <a:pt x="24" y="75"/>
                  </a:lnTo>
                  <a:lnTo>
                    <a:pt x="16" y="75"/>
                  </a:lnTo>
                  <a:lnTo>
                    <a:pt x="14" y="73"/>
                  </a:lnTo>
                  <a:lnTo>
                    <a:pt x="12" y="71"/>
                  </a:lnTo>
                  <a:lnTo>
                    <a:pt x="12" y="71"/>
                  </a:lnTo>
                  <a:lnTo>
                    <a:pt x="4" y="59"/>
                  </a:lnTo>
                  <a:lnTo>
                    <a:pt x="0" y="51"/>
                  </a:lnTo>
                  <a:lnTo>
                    <a:pt x="0" y="47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2" y="30"/>
                  </a:lnTo>
                  <a:lnTo>
                    <a:pt x="4" y="22"/>
                  </a:lnTo>
                  <a:lnTo>
                    <a:pt x="8" y="12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20" y="2"/>
                  </a:lnTo>
                  <a:lnTo>
                    <a:pt x="26" y="0"/>
                  </a:lnTo>
                  <a:lnTo>
                    <a:pt x="32" y="0"/>
                  </a:lnTo>
                  <a:lnTo>
                    <a:pt x="32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6" y="10"/>
                  </a:lnTo>
                  <a:lnTo>
                    <a:pt x="38" y="18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6" y="39"/>
                  </a:lnTo>
                  <a:lnTo>
                    <a:pt x="34" y="43"/>
                  </a:lnTo>
                  <a:lnTo>
                    <a:pt x="32" y="47"/>
                  </a:lnTo>
                  <a:lnTo>
                    <a:pt x="30" y="51"/>
                  </a:lnTo>
                  <a:lnTo>
                    <a:pt x="30" y="51"/>
                  </a:lnTo>
                  <a:lnTo>
                    <a:pt x="30" y="59"/>
                  </a:lnTo>
                  <a:lnTo>
                    <a:pt x="30" y="65"/>
                  </a:lnTo>
                  <a:lnTo>
                    <a:pt x="30" y="65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5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39" name="Freeform 98"/>
            <p:cNvSpPr>
              <a:spLocks/>
            </p:cNvSpPr>
            <p:nvPr/>
          </p:nvSpPr>
          <p:spPr bwMode="auto">
            <a:xfrm>
              <a:off x="5000" y="2348"/>
              <a:ext cx="20" cy="66"/>
            </a:xfrm>
            <a:custGeom>
              <a:avLst/>
              <a:gdLst>
                <a:gd name="T0" fmla="*/ 12 w 20"/>
                <a:gd name="T1" fmla="*/ 66 h 66"/>
                <a:gd name="T2" fmla="*/ 12 w 20"/>
                <a:gd name="T3" fmla="*/ 66 h 66"/>
                <a:gd name="T4" fmla="*/ 10 w 20"/>
                <a:gd name="T5" fmla="*/ 66 h 66"/>
                <a:gd name="T6" fmla="*/ 10 w 20"/>
                <a:gd name="T7" fmla="*/ 66 h 66"/>
                <a:gd name="T8" fmla="*/ 10 w 20"/>
                <a:gd name="T9" fmla="*/ 64 h 66"/>
                <a:gd name="T10" fmla="*/ 8 w 20"/>
                <a:gd name="T11" fmla="*/ 62 h 66"/>
                <a:gd name="T12" fmla="*/ 8 w 20"/>
                <a:gd name="T13" fmla="*/ 62 h 66"/>
                <a:gd name="T14" fmla="*/ 4 w 20"/>
                <a:gd name="T15" fmla="*/ 58 h 66"/>
                <a:gd name="T16" fmla="*/ 0 w 20"/>
                <a:gd name="T17" fmla="*/ 56 h 66"/>
                <a:gd name="T18" fmla="*/ 0 w 20"/>
                <a:gd name="T19" fmla="*/ 56 h 66"/>
                <a:gd name="T20" fmla="*/ 4 w 20"/>
                <a:gd name="T21" fmla="*/ 50 h 66"/>
                <a:gd name="T22" fmla="*/ 6 w 20"/>
                <a:gd name="T23" fmla="*/ 46 h 66"/>
                <a:gd name="T24" fmla="*/ 6 w 20"/>
                <a:gd name="T25" fmla="*/ 46 h 66"/>
                <a:gd name="T26" fmla="*/ 10 w 20"/>
                <a:gd name="T27" fmla="*/ 44 h 66"/>
                <a:gd name="T28" fmla="*/ 10 w 20"/>
                <a:gd name="T29" fmla="*/ 40 h 66"/>
                <a:gd name="T30" fmla="*/ 8 w 20"/>
                <a:gd name="T31" fmla="*/ 38 h 66"/>
                <a:gd name="T32" fmla="*/ 8 w 20"/>
                <a:gd name="T33" fmla="*/ 38 h 66"/>
                <a:gd name="T34" fmla="*/ 4 w 20"/>
                <a:gd name="T35" fmla="*/ 28 h 66"/>
                <a:gd name="T36" fmla="*/ 0 w 20"/>
                <a:gd name="T37" fmla="*/ 24 h 66"/>
                <a:gd name="T38" fmla="*/ 0 w 20"/>
                <a:gd name="T39" fmla="*/ 22 h 66"/>
                <a:gd name="T40" fmla="*/ 0 w 20"/>
                <a:gd name="T41" fmla="*/ 22 h 66"/>
                <a:gd name="T42" fmla="*/ 6 w 20"/>
                <a:gd name="T43" fmla="*/ 16 h 66"/>
                <a:gd name="T44" fmla="*/ 6 w 20"/>
                <a:gd name="T45" fmla="*/ 10 h 66"/>
                <a:gd name="T46" fmla="*/ 8 w 20"/>
                <a:gd name="T47" fmla="*/ 8 h 66"/>
                <a:gd name="T48" fmla="*/ 8 w 20"/>
                <a:gd name="T49" fmla="*/ 8 h 66"/>
                <a:gd name="T50" fmla="*/ 8 w 20"/>
                <a:gd name="T51" fmla="*/ 2 h 66"/>
                <a:gd name="T52" fmla="*/ 8 w 20"/>
                <a:gd name="T53" fmla="*/ 0 h 66"/>
                <a:gd name="T54" fmla="*/ 10 w 20"/>
                <a:gd name="T55" fmla="*/ 0 h 66"/>
                <a:gd name="T56" fmla="*/ 10 w 20"/>
                <a:gd name="T57" fmla="*/ 0 h 66"/>
                <a:gd name="T58" fmla="*/ 12 w 20"/>
                <a:gd name="T59" fmla="*/ 2 h 66"/>
                <a:gd name="T60" fmla="*/ 14 w 20"/>
                <a:gd name="T61" fmla="*/ 6 h 66"/>
                <a:gd name="T62" fmla="*/ 16 w 20"/>
                <a:gd name="T63" fmla="*/ 10 h 66"/>
                <a:gd name="T64" fmla="*/ 16 w 20"/>
                <a:gd name="T65" fmla="*/ 16 h 66"/>
                <a:gd name="T66" fmla="*/ 16 w 20"/>
                <a:gd name="T67" fmla="*/ 16 h 66"/>
                <a:gd name="T68" fmla="*/ 14 w 20"/>
                <a:gd name="T69" fmla="*/ 18 h 66"/>
                <a:gd name="T70" fmla="*/ 14 w 20"/>
                <a:gd name="T71" fmla="*/ 20 h 66"/>
                <a:gd name="T72" fmla="*/ 16 w 20"/>
                <a:gd name="T73" fmla="*/ 28 h 66"/>
                <a:gd name="T74" fmla="*/ 16 w 20"/>
                <a:gd name="T75" fmla="*/ 28 h 66"/>
                <a:gd name="T76" fmla="*/ 18 w 20"/>
                <a:gd name="T77" fmla="*/ 38 h 66"/>
                <a:gd name="T78" fmla="*/ 20 w 20"/>
                <a:gd name="T79" fmla="*/ 44 h 66"/>
                <a:gd name="T80" fmla="*/ 18 w 20"/>
                <a:gd name="T81" fmla="*/ 48 h 66"/>
                <a:gd name="T82" fmla="*/ 18 w 20"/>
                <a:gd name="T83" fmla="*/ 48 h 66"/>
                <a:gd name="T84" fmla="*/ 18 w 20"/>
                <a:gd name="T85" fmla="*/ 50 h 66"/>
                <a:gd name="T86" fmla="*/ 18 w 20"/>
                <a:gd name="T87" fmla="*/ 56 h 66"/>
                <a:gd name="T88" fmla="*/ 18 w 20"/>
                <a:gd name="T89" fmla="*/ 62 h 66"/>
                <a:gd name="T90" fmla="*/ 18 w 20"/>
                <a:gd name="T91" fmla="*/ 62 h 66"/>
                <a:gd name="T92" fmla="*/ 18 w 20"/>
                <a:gd name="T93" fmla="*/ 66 h 66"/>
                <a:gd name="T94" fmla="*/ 16 w 20"/>
                <a:gd name="T95" fmla="*/ 66 h 66"/>
                <a:gd name="T96" fmla="*/ 12 w 20"/>
                <a:gd name="T97" fmla="*/ 66 h 66"/>
                <a:gd name="T98" fmla="*/ 12 w 20"/>
                <a:gd name="T99" fmla="*/ 66 h 66"/>
                <a:gd name="T100" fmla="*/ 12 w 20"/>
                <a:gd name="T101" fmla="*/ 66 h 66"/>
                <a:gd name="T102" fmla="*/ 12 w 20"/>
                <a:gd name="T103" fmla="*/ 66 h 66"/>
                <a:gd name="T104" fmla="*/ 12 w 20"/>
                <a:gd name="T105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0" h="66">
                  <a:moveTo>
                    <a:pt x="12" y="66"/>
                  </a:moveTo>
                  <a:lnTo>
                    <a:pt x="12" y="66"/>
                  </a:lnTo>
                  <a:lnTo>
                    <a:pt x="10" y="66"/>
                  </a:lnTo>
                  <a:lnTo>
                    <a:pt x="10" y="66"/>
                  </a:lnTo>
                  <a:lnTo>
                    <a:pt x="10" y="64"/>
                  </a:lnTo>
                  <a:lnTo>
                    <a:pt x="8" y="62"/>
                  </a:lnTo>
                  <a:lnTo>
                    <a:pt x="8" y="62"/>
                  </a:lnTo>
                  <a:lnTo>
                    <a:pt x="4" y="58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4" y="50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10" y="44"/>
                  </a:lnTo>
                  <a:lnTo>
                    <a:pt x="10" y="40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4" y="28"/>
                  </a:lnTo>
                  <a:lnTo>
                    <a:pt x="0" y="24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6" y="16"/>
                  </a:lnTo>
                  <a:lnTo>
                    <a:pt x="6" y="10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2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2" y="2"/>
                  </a:lnTo>
                  <a:lnTo>
                    <a:pt x="14" y="6"/>
                  </a:lnTo>
                  <a:lnTo>
                    <a:pt x="16" y="1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4" y="18"/>
                  </a:lnTo>
                  <a:lnTo>
                    <a:pt x="14" y="20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8" y="38"/>
                  </a:lnTo>
                  <a:lnTo>
                    <a:pt x="20" y="44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50"/>
                  </a:lnTo>
                  <a:lnTo>
                    <a:pt x="18" y="56"/>
                  </a:lnTo>
                  <a:lnTo>
                    <a:pt x="18" y="62"/>
                  </a:lnTo>
                  <a:lnTo>
                    <a:pt x="18" y="62"/>
                  </a:lnTo>
                  <a:lnTo>
                    <a:pt x="18" y="66"/>
                  </a:lnTo>
                  <a:lnTo>
                    <a:pt x="16" y="66"/>
                  </a:lnTo>
                  <a:lnTo>
                    <a:pt x="12" y="66"/>
                  </a:lnTo>
                  <a:lnTo>
                    <a:pt x="12" y="66"/>
                  </a:lnTo>
                  <a:lnTo>
                    <a:pt x="12" y="66"/>
                  </a:lnTo>
                  <a:lnTo>
                    <a:pt x="12" y="66"/>
                  </a:lnTo>
                  <a:lnTo>
                    <a:pt x="12" y="66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40" name="Freeform 99"/>
            <p:cNvSpPr>
              <a:spLocks/>
            </p:cNvSpPr>
            <p:nvPr/>
          </p:nvSpPr>
          <p:spPr bwMode="auto">
            <a:xfrm>
              <a:off x="947" y="1528"/>
              <a:ext cx="79" cy="113"/>
            </a:xfrm>
            <a:custGeom>
              <a:avLst/>
              <a:gdLst>
                <a:gd name="T0" fmla="*/ 0 w 79"/>
                <a:gd name="T1" fmla="*/ 6 h 113"/>
                <a:gd name="T2" fmla="*/ 0 w 79"/>
                <a:gd name="T3" fmla="*/ 6 h 113"/>
                <a:gd name="T4" fmla="*/ 0 w 79"/>
                <a:gd name="T5" fmla="*/ 14 h 113"/>
                <a:gd name="T6" fmla="*/ 4 w 79"/>
                <a:gd name="T7" fmla="*/ 36 h 113"/>
                <a:gd name="T8" fmla="*/ 6 w 79"/>
                <a:gd name="T9" fmla="*/ 46 h 113"/>
                <a:gd name="T10" fmla="*/ 8 w 79"/>
                <a:gd name="T11" fmla="*/ 56 h 113"/>
                <a:gd name="T12" fmla="*/ 12 w 79"/>
                <a:gd name="T13" fmla="*/ 70 h 113"/>
                <a:gd name="T14" fmla="*/ 18 w 79"/>
                <a:gd name="T15" fmla="*/ 78 h 113"/>
                <a:gd name="T16" fmla="*/ 18 w 79"/>
                <a:gd name="T17" fmla="*/ 78 h 113"/>
                <a:gd name="T18" fmla="*/ 28 w 79"/>
                <a:gd name="T19" fmla="*/ 94 h 113"/>
                <a:gd name="T20" fmla="*/ 34 w 79"/>
                <a:gd name="T21" fmla="*/ 108 h 113"/>
                <a:gd name="T22" fmla="*/ 40 w 79"/>
                <a:gd name="T23" fmla="*/ 113 h 113"/>
                <a:gd name="T24" fmla="*/ 42 w 79"/>
                <a:gd name="T25" fmla="*/ 113 h 113"/>
                <a:gd name="T26" fmla="*/ 42 w 79"/>
                <a:gd name="T27" fmla="*/ 113 h 113"/>
                <a:gd name="T28" fmla="*/ 42 w 79"/>
                <a:gd name="T29" fmla="*/ 113 h 113"/>
                <a:gd name="T30" fmla="*/ 50 w 79"/>
                <a:gd name="T31" fmla="*/ 111 h 113"/>
                <a:gd name="T32" fmla="*/ 56 w 79"/>
                <a:gd name="T33" fmla="*/ 110 h 113"/>
                <a:gd name="T34" fmla="*/ 67 w 79"/>
                <a:gd name="T35" fmla="*/ 108 h 113"/>
                <a:gd name="T36" fmla="*/ 67 w 79"/>
                <a:gd name="T37" fmla="*/ 108 h 113"/>
                <a:gd name="T38" fmla="*/ 73 w 79"/>
                <a:gd name="T39" fmla="*/ 106 h 113"/>
                <a:gd name="T40" fmla="*/ 77 w 79"/>
                <a:gd name="T41" fmla="*/ 102 h 113"/>
                <a:gd name="T42" fmla="*/ 79 w 79"/>
                <a:gd name="T43" fmla="*/ 96 h 113"/>
                <a:gd name="T44" fmla="*/ 79 w 79"/>
                <a:gd name="T45" fmla="*/ 90 h 113"/>
                <a:gd name="T46" fmla="*/ 79 w 79"/>
                <a:gd name="T47" fmla="*/ 90 h 113"/>
                <a:gd name="T48" fmla="*/ 75 w 79"/>
                <a:gd name="T49" fmla="*/ 70 h 113"/>
                <a:gd name="T50" fmla="*/ 71 w 79"/>
                <a:gd name="T51" fmla="*/ 60 h 113"/>
                <a:gd name="T52" fmla="*/ 71 w 79"/>
                <a:gd name="T53" fmla="*/ 54 h 113"/>
                <a:gd name="T54" fmla="*/ 73 w 79"/>
                <a:gd name="T55" fmla="*/ 50 h 113"/>
                <a:gd name="T56" fmla="*/ 73 w 79"/>
                <a:gd name="T57" fmla="*/ 50 h 113"/>
                <a:gd name="T58" fmla="*/ 75 w 79"/>
                <a:gd name="T59" fmla="*/ 44 h 113"/>
                <a:gd name="T60" fmla="*/ 75 w 79"/>
                <a:gd name="T61" fmla="*/ 40 h 113"/>
                <a:gd name="T62" fmla="*/ 75 w 79"/>
                <a:gd name="T63" fmla="*/ 38 h 113"/>
                <a:gd name="T64" fmla="*/ 75 w 79"/>
                <a:gd name="T65" fmla="*/ 38 h 113"/>
                <a:gd name="T66" fmla="*/ 54 w 79"/>
                <a:gd name="T67" fmla="*/ 40 h 113"/>
                <a:gd name="T68" fmla="*/ 54 w 79"/>
                <a:gd name="T69" fmla="*/ 40 h 113"/>
                <a:gd name="T70" fmla="*/ 46 w 79"/>
                <a:gd name="T71" fmla="*/ 40 h 113"/>
                <a:gd name="T72" fmla="*/ 42 w 79"/>
                <a:gd name="T73" fmla="*/ 40 h 113"/>
                <a:gd name="T74" fmla="*/ 42 w 79"/>
                <a:gd name="T75" fmla="*/ 40 h 113"/>
                <a:gd name="T76" fmla="*/ 42 w 79"/>
                <a:gd name="T77" fmla="*/ 38 h 113"/>
                <a:gd name="T78" fmla="*/ 42 w 79"/>
                <a:gd name="T79" fmla="*/ 38 h 113"/>
                <a:gd name="T80" fmla="*/ 42 w 79"/>
                <a:gd name="T81" fmla="*/ 30 h 113"/>
                <a:gd name="T82" fmla="*/ 42 w 79"/>
                <a:gd name="T83" fmla="*/ 16 h 113"/>
                <a:gd name="T84" fmla="*/ 42 w 79"/>
                <a:gd name="T85" fmla="*/ 10 h 113"/>
                <a:gd name="T86" fmla="*/ 40 w 79"/>
                <a:gd name="T87" fmla="*/ 4 h 113"/>
                <a:gd name="T88" fmla="*/ 36 w 79"/>
                <a:gd name="T89" fmla="*/ 0 h 113"/>
                <a:gd name="T90" fmla="*/ 34 w 79"/>
                <a:gd name="T91" fmla="*/ 0 h 113"/>
                <a:gd name="T92" fmla="*/ 34 w 79"/>
                <a:gd name="T93" fmla="*/ 0 h 113"/>
                <a:gd name="T94" fmla="*/ 30 w 79"/>
                <a:gd name="T95" fmla="*/ 0 h 113"/>
                <a:gd name="T96" fmla="*/ 26 w 79"/>
                <a:gd name="T97" fmla="*/ 4 h 113"/>
                <a:gd name="T98" fmla="*/ 24 w 79"/>
                <a:gd name="T99" fmla="*/ 8 h 113"/>
                <a:gd name="T100" fmla="*/ 22 w 79"/>
                <a:gd name="T101" fmla="*/ 10 h 113"/>
                <a:gd name="T102" fmla="*/ 18 w 79"/>
                <a:gd name="T103" fmla="*/ 20 h 113"/>
                <a:gd name="T104" fmla="*/ 18 w 79"/>
                <a:gd name="T105" fmla="*/ 24 h 113"/>
                <a:gd name="T106" fmla="*/ 0 w 79"/>
                <a:gd name="T107" fmla="*/ 6 h 113"/>
                <a:gd name="T108" fmla="*/ 0 w 79"/>
                <a:gd name="T109" fmla="*/ 6 h 113"/>
                <a:gd name="T110" fmla="*/ 0 w 79"/>
                <a:gd name="T111" fmla="*/ 6 h 113"/>
                <a:gd name="T112" fmla="*/ 0 w 79"/>
                <a:gd name="T113" fmla="*/ 6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9" h="113">
                  <a:moveTo>
                    <a:pt x="0" y="6"/>
                  </a:moveTo>
                  <a:lnTo>
                    <a:pt x="0" y="6"/>
                  </a:lnTo>
                  <a:lnTo>
                    <a:pt x="0" y="14"/>
                  </a:lnTo>
                  <a:lnTo>
                    <a:pt x="4" y="36"/>
                  </a:lnTo>
                  <a:lnTo>
                    <a:pt x="6" y="46"/>
                  </a:lnTo>
                  <a:lnTo>
                    <a:pt x="8" y="56"/>
                  </a:lnTo>
                  <a:lnTo>
                    <a:pt x="12" y="70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28" y="94"/>
                  </a:lnTo>
                  <a:lnTo>
                    <a:pt x="34" y="108"/>
                  </a:lnTo>
                  <a:lnTo>
                    <a:pt x="40" y="113"/>
                  </a:lnTo>
                  <a:lnTo>
                    <a:pt x="42" y="113"/>
                  </a:lnTo>
                  <a:lnTo>
                    <a:pt x="42" y="113"/>
                  </a:lnTo>
                  <a:lnTo>
                    <a:pt x="42" y="113"/>
                  </a:lnTo>
                  <a:lnTo>
                    <a:pt x="50" y="111"/>
                  </a:lnTo>
                  <a:lnTo>
                    <a:pt x="56" y="110"/>
                  </a:lnTo>
                  <a:lnTo>
                    <a:pt x="67" y="108"/>
                  </a:lnTo>
                  <a:lnTo>
                    <a:pt x="67" y="108"/>
                  </a:lnTo>
                  <a:lnTo>
                    <a:pt x="73" y="106"/>
                  </a:lnTo>
                  <a:lnTo>
                    <a:pt x="77" y="102"/>
                  </a:lnTo>
                  <a:lnTo>
                    <a:pt x="79" y="96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5" y="70"/>
                  </a:lnTo>
                  <a:lnTo>
                    <a:pt x="71" y="60"/>
                  </a:lnTo>
                  <a:lnTo>
                    <a:pt x="71" y="54"/>
                  </a:lnTo>
                  <a:lnTo>
                    <a:pt x="73" y="50"/>
                  </a:lnTo>
                  <a:lnTo>
                    <a:pt x="73" y="50"/>
                  </a:lnTo>
                  <a:lnTo>
                    <a:pt x="75" y="44"/>
                  </a:lnTo>
                  <a:lnTo>
                    <a:pt x="75" y="40"/>
                  </a:lnTo>
                  <a:lnTo>
                    <a:pt x="75" y="38"/>
                  </a:lnTo>
                  <a:lnTo>
                    <a:pt x="75" y="38"/>
                  </a:lnTo>
                  <a:lnTo>
                    <a:pt x="54" y="40"/>
                  </a:lnTo>
                  <a:lnTo>
                    <a:pt x="54" y="40"/>
                  </a:lnTo>
                  <a:lnTo>
                    <a:pt x="46" y="40"/>
                  </a:lnTo>
                  <a:lnTo>
                    <a:pt x="42" y="40"/>
                  </a:lnTo>
                  <a:lnTo>
                    <a:pt x="42" y="40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2" y="30"/>
                  </a:lnTo>
                  <a:lnTo>
                    <a:pt x="42" y="16"/>
                  </a:lnTo>
                  <a:lnTo>
                    <a:pt x="42" y="10"/>
                  </a:lnTo>
                  <a:lnTo>
                    <a:pt x="40" y="4"/>
                  </a:lnTo>
                  <a:lnTo>
                    <a:pt x="36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0" y="0"/>
                  </a:lnTo>
                  <a:lnTo>
                    <a:pt x="26" y="4"/>
                  </a:lnTo>
                  <a:lnTo>
                    <a:pt x="24" y="8"/>
                  </a:lnTo>
                  <a:lnTo>
                    <a:pt x="22" y="10"/>
                  </a:lnTo>
                  <a:lnTo>
                    <a:pt x="18" y="20"/>
                  </a:lnTo>
                  <a:lnTo>
                    <a:pt x="18" y="24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41" name="Freeform 100"/>
            <p:cNvSpPr>
              <a:spLocks/>
            </p:cNvSpPr>
            <p:nvPr/>
          </p:nvSpPr>
          <p:spPr bwMode="auto">
            <a:xfrm>
              <a:off x="2000" y="2432"/>
              <a:ext cx="364" cy="283"/>
            </a:xfrm>
            <a:custGeom>
              <a:avLst/>
              <a:gdLst>
                <a:gd name="T0" fmla="*/ 338 w 364"/>
                <a:gd name="T1" fmla="*/ 134 h 283"/>
                <a:gd name="T2" fmla="*/ 334 w 364"/>
                <a:gd name="T3" fmla="*/ 124 h 283"/>
                <a:gd name="T4" fmla="*/ 325 w 364"/>
                <a:gd name="T5" fmla="*/ 114 h 283"/>
                <a:gd name="T6" fmla="*/ 325 w 364"/>
                <a:gd name="T7" fmla="*/ 96 h 283"/>
                <a:gd name="T8" fmla="*/ 287 w 364"/>
                <a:gd name="T9" fmla="*/ 74 h 283"/>
                <a:gd name="T10" fmla="*/ 273 w 364"/>
                <a:gd name="T11" fmla="*/ 56 h 283"/>
                <a:gd name="T12" fmla="*/ 271 w 364"/>
                <a:gd name="T13" fmla="*/ 22 h 283"/>
                <a:gd name="T14" fmla="*/ 215 w 364"/>
                <a:gd name="T15" fmla="*/ 4 h 283"/>
                <a:gd name="T16" fmla="*/ 199 w 364"/>
                <a:gd name="T17" fmla="*/ 16 h 283"/>
                <a:gd name="T18" fmla="*/ 167 w 364"/>
                <a:gd name="T19" fmla="*/ 24 h 283"/>
                <a:gd name="T20" fmla="*/ 121 w 364"/>
                <a:gd name="T21" fmla="*/ 34 h 283"/>
                <a:gd name="T22" fmla="*/ 96 w 364"/>
                <a:gd name="T23" fmla="*/ 40 h 283"/>
                <a:gd name="T24" fmla="*/ 86 w 364"/>
                <a:gd name="T25" fmla="*/ 54 h 283"/>
                <a:gd name="T26" fmla="*/ 78 w 364"/>
                <a:gd name="T27" fmla="*/ 74 h 283"/>
                <a:gd name="T28" fmla="*/ 52 w 364"/>
                <a:gd name="T29" fmla="*/ 78 h 283"/>
                <a:gd name="T30" fmla="*/ 26 w 364"/>
                <a:gd name="T31" fmla="*/ 86 h 283"/>
                <a:gd name="T32" fmla="*/ 20 w 364"/>
                <a:gd name="T33" fmla="*/ 120 h 283"/>
                <a:gd name="T34" fmla="*/ 6 w 364"/>
                <a:gd name="T35" fmla="*/ 122 h 283"/>
                <a:gd name="T36" fmla="*/ 16 w 364"/>
                <a:gd name="T37" fmla="*/ 177 h 283"/>
                <a:gd name="T38" fmla="*/ 38 w 364"/>
                <a:gd name="T39" fmla="*/ 187 h 283"/>
                <a:gd name="T40" fmla="*/ 52 w 364"/>
                <a:gd name="T41" fmla="*/ 213 h 283"/>
                <a:gd name="T42" fmla="*/ 66 w 364"/>
                <a:gd name="T43" fmla="*/ 225 h 283"/>
                <a:gd name="T44" fmla="*/ 72 w 364"/>
                <a:gd name="T45" fmla="*/ 233 h 283"/>
                <a:gd name="T46" fmla="*/ 78 w 364"/>
                <a:gd name="T47" fmla="*/ 255 h 283"/>
                <a:gd name="T48" fmla="*/ 86 w 364"/>
                <a:gd name="T49" fmla="*/ 257 h 283"/>
                <a:gd name="T50" fmla="*/ 96 w 364"/>
                <a:gd name="T51" fmla="*/ 259 h 283"/>
                <a:gd name="T52" fmla="*/ 104 w 364"/>
                <a:gd name="T53" fmla="*/ 267 h 283"/>
                <a:gd name="T54" fmla="*/ 115 w 364"/>
                <a:gd name="T55" fmla="*/ 281 h 283"/>
                <a:gd name="T56" fmla="*/ 127 w 364"/>
                <a:gd name="T57" fmla="*/ 283 h 283"/>
                <a:gd name="T58" fmla="*/ 139 w 364"/>
                <a:gd name="T59" fmla="*/ 271 h 283"/>
                <a:gd name="T60" fmla="*/ 145 w 364"/>
                <a:gd name="T61" fmla="*/ 253 h 283"/>
                <a:gd name="T62" fmla="*/ 163 w 364"/>
                <a:gd name="T63" fmla="*/ 233 h 283"/>
                <a:gd name="T64" fmla="*/ 169 w 364"/>
                <a:gd name="T65" fmla="*/ 225 h 283"/>
                <a:gd name="T66" fmla="*/ 177 w 364"/>
                <a:gd name="T67" fmla="*/ 219 h 283"/>
                <a:gd name="T68" fmla="*/ 183 w 364"/>
                <a:gd name="T69" fmla="*/ 219 h 283"/>
                <a:gd name="T70" fmla="*/ 199 w 364"/>
                <a:gd name="T71" fmla="*/ 209 h 283"/>
                <a:gd name="T72" fmla="*/ 195 w 364"/>
                <a:gd name="T73" fmla="*/ 177 h 283"/>
                <a:gd name="T74" fmla="*/ 185 w 364"/>
                <a:gd name="T75" fmla="*/ 183 h 283"/>
                <a:gd name="T76" fmla="*/ 177 w 364"/>
                <a:gd name="T77" fmla="*/ 169 h 283"/>
                <a:gd name="T78" fmla="*/ 221 w 364"/>
                <a:gd name="T79" fmla="*/ 116 h 283"/>
                <a:gd name="T80" fmla="*/ 241 w 364"/>
                <a:gd name="T81" fmla="*/ 151 h 283"/>
                <a:gd name="T82" fmla="*/ 271 w 364"/>
                <a:gd name="T83" fmla="*/ 163 h 283"/>
                <a:gd name="T84" fmla="*/ 340 w 364"/>
                <a:gd name="T85" fmla="*/ 163 h 283"/>
                <a:gd name="T86" fmla="*/ 362 w 364"/>
                <a:gd name="T87" fmla="*/ 147 h 283"/>
                <a:gd name="T88" fmla="*/ 352 w 364"/>
                <a:gd name="T89" fmla="*/ 143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64" h="283">
                  <a:moveTo>
                    <a:pt x="352" y="143"/>
                  </a:moveTo>
                  <a:lnTo>
                    <a:pt x="342" y="137"/>
                  </a:lnTo>
                  <a:lnTo>
                    <a:pt x="338" y="134"/>
                  </a:lnTo>
                  <a:lnTo>
                    <a:pt x="338" y="130"/>
                  </a:lnTo>
                  <a:lnTo>
                    <a:pt x="338" y="128"/>
                  </a:lnTo>
                  <a:lnTo>
                    <a:pt x="334" y="124"/>
                  </a:lnTo>
                  <a:lnTo>
                    <a:pt x="329" y="122"/>
                  </a:lnTo>
                  <a:lnTo>
                    <a:pt x="327" y="118"/>
                  </a:lnTo>
                  <a:lnTo>
                    <a:pt x="325" y="114"/>
                  </a:lnTo>
                  <a:lnTo>
                    <a:pt x="325" y="106"/>
                  </a:lnTo>
                  <a:lnTo>
                    <a:pt x="325" y="98"/>
                  </a:lnTo>
                  <a:lnTo>
                    <a:pt x="325" y="96"/>
                  </a:lnTo>
                  <a:lnTo>
                    <a:pt x="307" y="96"/>
                  </a:lnTo>
                  <a:lnTo>
                    <a:pt x="299" y="84"/>
                  </a:lnTo>
                  <a:lnTo>
                    <a:pt x="287" y="74"/>
                  </a:lnTo>
                  <a:lnTo>
                    <a:pt x="281" y="70"/>
                  </a:lnTo>
                  <a:lnTo>
                    <a:pt x="277" y="64"/>
                  </a:lnTo>
                  <a:lnTo>
                    <a:pt x="273" y="56"/>
                  </a:lnTo>
                  <a:lnTo>
                    <a:pt x="271" y="54"/>
                  </a:lnTo>
                  <a:lnTo>
                    <a:pt x="271" y="50"/>
                  </a:lnTo>
                  <a:lnTo>
                    <a:pt x="271" y="22"/>
                  </a:lnTo>
                  <a:lnTo>
                    <a:pt x="245" y="22"/>
                  </a:lnTo>
                  <a:lnTo>
                    <a:pt x="227" y="0"/>
                  </a:lnTo>
                  <a:lnTo>
                    <a:pt x="215" y="4"/>
                  </a:lnTo>
                  <a:lnTo>
                    <a:pt x="209" y="8"/>
                  </a:lnTo>
                  <a:lnTo>
                    <a:pt x="205" y="12"/>
                  </a:lnTo>
                  <a:lnTo>
                    <a:pt x="199" y="16"/>
                  </a:lnTo>
                  <a:lnTo>
                    <a:pt x="187" y="18"/>
                  </a:lnTo>
                  <a:lnTo>
                    <a:pt x="177" y="22"/>
                  </a:lnTo>
                  <a:lnTo>
                    <a:pt x="167" y="24"/>
                  </a:lnTo>
                  <a:lnTo>
                    <a:pt x="133" y="24"/>
                  </a:lnTo>
                  <a:lnTo>
                    <a:pt x="133" y="30"/>
                  </a:lnTo>
                  <a:lnTo>
                    <a:pt x="121" y="34"/>
                  </a:lnTo>
                  <a:lnTo>
                    <a:pt x="109" y="40"/>
                  </a:lnTo>
                  <a:lnTo>
                    <a:pt x="104" y="40"/>
                  </a:lnTo>
                  <a:lnTo>
                    <a:pt x="96" y="40"/>
                  </a:lnTo>
                  <a:lnTo>
                    <a:pt x="84" y="38"/>
                  </a:lnTo>
                  <a:lnTo>
                    <a:pt x="92" y="42"/>
                  </a:lnTo>
                  <a:lnTo>
                    <a:pt x="86" y="54"/>
                  </a:lnTo>
                  <a:lnTo>
                    <a:pt x="82" y="60"/>
                  </a:lnTo>
                  <a:lnTo>
                    <a:pt x="78" y="68"/>
                  </a:lnTo>
                  <a:lnTo>
                    <a:pt x="78" y="74"/>
                  </a:lnTo>
                  <a:lnTo>
                    <a:pt x="78" y="76"/>
                  </a:lnTo>
                  <a:lnTo>
                    <a:pt x="66" y="76"/>
                  </a:lnTo>
                  <a:lnTo>
                    <a:pt x="52" y="78"/>
                  </a:lnTo>
                  <a:lnTo>
                    <a:pt x="50" y="74"/>
                  </a:lnTo>
                  <a:lnTo>
                    <a:pt x="32" y="76"/>
                  </a:lnTo>
                  <a:lnTo>
                    <a:pt x="26" y="86"/>
                  </a:lnTo>
                  <a:lnTo>
                    <a:pt x="24" y="96"/>
                  </a:lnTo>
                  <a:lnTo>
                    <a:pt x="18" y="110"/>
                  </a:lnTo>
                  <a:lnTo>
                    <a:pt x="20" y="120"/>
                  </a:lnTo>
                  <a:lnTo>
                    <a:pt x="16" y="124"/>
                  </a:lnTo>
                  <a:lnTo>
                    <a:pt x="14" y="124"/>
                  </a:lnTo>
                  <a:lnTo>
                    <a:pt x="6" y="122"/>
                  </a:lnTo>
                  <a:lnTo>
                    <a:pt x="0" y="147"/>
                  </a:lnTo>
                  <a:lnTo>
                    <a:pt x="10" y="159"/>
                  </a:lnTo>
                  <a:lnTo>
                    <a:pt x="16" y="177"/>
                  </a:lnTo>
                  <a:lnTo>
                    <a:pt x="26" y="177"/>
                  </a:lnTo>
                  <a:lnTo>
                    <a:pt x="28" y="185"/>
                  </a:lnTo>
                  <a:lnTo>
                    <a:pt x="38" y="187"/>
                  </a:lnTo>
                  <a:lnTo>
                    <a:pt x="40" y="193"/>
                  </a:lnTo>
                  <a:lnTo>
                    <a:pt x="52" y="201"/>
                  </a:lnTo>
                  <a:lnTo>
                    <a:pt x="52" y="213"/>
                  </a:lnTo>
                  <a:lnTo>
                    <a:pt x="60" y="219"/>
                  </a:lnTo>
                  <a:lnTo>
                    <a:pt x="62" y="223"/>
                  </a:lnTo>
                  <a:lnTo>
                    <a:pt x="66" y="225"/>
                  </a:lnTo>
                  <a:lnTo>
                    <a:pt x="70" y="225"/>
                  </a:lnTo>
                  <a:lnTo>
                    <a:pt x="70" y="229"/>
                  </a:lnTo>
                  <a:lnTo>
                    <a:pt x="72" y="233"/>
                  </a:lnTo>
                  <a:lnTo>
                    <a:pt x="70" y="237"/>
                  </a:lnTo>
                  <a:lnTo>
                    <a:pt x="76" y="255"/>
                  </a:lnTo>
                  <a:lnTo>
                    <a:pt x="78" y="255"/>
                  </a:lnTo>
                  <a:lnTo>
                    <a:pt x="82" y="255"/>
                  </a:lnTo>
                  <a:lnTo>
                    <a:pt x="84" y="257"/>
                  </a:lnTo>
                  <a:lnTo>
                    <a:pt x="86" y="257"/>
                  </a:lnTo>
                  <a:lnTo>
                    <a:pt x="90" y="257"/>
                  </a:lnTo>
                  <a:lnTo>
                    <a:pt x="92" y="259"/>
                  </a:lnTo>
                  <a:lnTo>
                    <a:pt x="96" y="259"/>
                  </a:lnTo>
                  <a:lnTo>
                    <a:pt x="96" y="263"/>
                  </a:lnTo>
                  <a:lnTo>
                    <a:pt x="100" y="265"/>
                  </a:lnTo>
                  <a:lnTo>
                    <a:pt x="104" y="267"/>
                  </a:lnTo>
                  <a:lnTo>
                    <a:pt x="106" y="269"/>
                  </a:lnTo>
                  <a:lnTo>
                    <a:pt x="109" y="275"/>
                  </a:lnTo>
                  <a:lnTo>
                    <a:pt x="115" y="281"/>
                  </a:lnTo>
                  <a:lnTo>
                    <a:pt x="115" y="283"/>
                  </a:lnTo>
                  <a:lnTo>
                    <a:pt x="119" y="283"/>
                  </a:lnTo>
                  <a:lnTo>
                    <a:pt x="127" y="283"/>
                  </a:lnTo>
                  <a:lnTo>
                    <a:pt x="131" y="281"/>
                  </a:lnTo>
                  <a:lnTo>
                    <a:pt x="135" y="271"/>
                  </a:lnTo>
                  <a:lnTo>
                    <a:pt x="139" y="271"/>
                  </a:lnTo>
                  <a:lnTo>
                    <a:pt x="141" y="269"/>
                  </a:lnTo>
                  <a:lnTo>
                    <a:pt x="139" y="263"/>
                  </a:lnTo>
                  <a:lnTo>
                    <a:pt x="145" y="253"/>
                  </a:lnTo>
                  <a:lnTo>
                    <a:pt x="157" y="251"/>
                  </a:lnTo>
                  <a:lnTo>
                    <a:pt x="159" y="239"/>
                  </a:lnTo>
                  <a:lnTo>
                    <a:pt x="163" y="233"/>
                  </a:lnTo>
                  <a:lnTo>
                    <a:pt x="165" y="229"/>
                  </a:lnTo>
                  <a:lnTo>
                    <a:pt x="167" y="229"/>
                  </a:lnTo>
                  <a:lnTo>
                    <a:pt x="169" y="225"/>
                  </a:lnTo>
                  <a:lnTo>
                    <a:pt x="175" y="225"/>
                  </a:lnTo>
                  <a:lnTo>
                    <a:pt x="175" y="223"/>
                  </a:lnTo>
                  <a:lnTo>
                    <a:pt x="177" y="219"/>
                  </a:lnTo>
                  <a:lnTo>
                    <a:pt x="177" y="217"/>
                  </a:lnTo>
                  <a:lnTo>
                    <a:pt x="179" y="217"/>
                  </a:lnTo>
                  <a:lnTo>
                    <a:pt x="183" y="219"/>
                  </a:lnTo>
                  <a:lnTo>
                    <a:pt x="197" y="221"/>
                  </a:lnTo>
                  <a:lnTo>
                    <a:pt x="199" y="219"/>
                  </a:lnTo>
                  <a:lnTo>
                    <a:pt x="199" y="209"/>
                  </a:lnTo>
                  <a:lnTo>
                    <a:pt x="199" y="195"/>
                  </a:lnTo>
                  <a:lnTo>
                    <a:pt x="197" y="183"/>
                  </a:lnTo>
                  <a:lnTo>
                    <a:pt x="195" y="177"/>
                  </a:lnTo>
                  <a:lnTo>
                    <a:pt x="191" y="177"/>
                  </a:lnTo>
                  <a:lnTo>
                    <a:pt x="189" y="177"/>
                  </a:lnTo>
                  <a:lnTo>
                    <a:pt x="185" y="183"/>
                  </a:lnTo>
                  <a:lnTo>
                    <a:pt x="183" y="183"/>
                  </a:lnTo>
                  <a:lnTo>
                    <a:pt x="179" y="173"/>
                  </a:lnTo>
                  <a:lnTo>
                    <a:pt x="177" y="169"/>
                  </a:lnTo>
                  <a:lnTo>
                    <a:pt x="189" y="163"/>
                  </a:lnTo>
                  <a:lnTo>
                    <a:pt x="187" y="147"/>
                  </a:lnTo>
                  <a:lnTo>
                    <a:pt x="221" y="116"/>
                  </a:lnTo>
                  <a:lnTo>
                    <a:pt x="227" y="124"/>
                  </a:lnTo>
                  <a:lnTo>
                    <a:pt x="223" y="145"/>
                  </a:lnTo>
                  <a:lnTo>
                    <a:pt x="241" y="151"/>
                  </a:lnTo>
                  <a:lnTo>
                    <a:pt x="253" y="163"/>
                  </a:lnTo>
                  <a:lnTo>
                    <a:pt x="267" y="169"/>
                  </a:lnTo>
                  <a:lnTo>
                    <a:pt x="271" y="163"/>
                  </a:lnTo>
                  <a:lnTo>
                    <a:pt x="287" y="167"/>
                  </a:lnTo>
                  <a:lnTo>
                    <a:pt x="303" y="175"/>
                  </a:lnTo>
                  <a:lnTo>
                    <a:pt x="340" y="163"/>
                  </a:lnTo>
                  <a:lnTo>
                    <a:pt x="342" y="163"/>
                  </a:lnTo>
                  <a:lnTo>
                    <a:pt x="352" y="151"/>
                  </a:lnTo>
                  <a:lnTo>
                    <a:pt x="362" y="147"/>
                  </a:lnTo>
                  <a:lnTo>
                    <a:pt x="364" y="143"/>
                  </a:lnTo>
                  <a:lnTo>
                    <a:pt x="360" y="147"/>
                  </a:lnTo>
                  <a:lnTo>
                    <a:pt x="352" y="143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42" name="Freeform 101"/>
            <p:cNvSpPr>
              <a:spLocks/>
            </p:cNvSpPr>
            <p:nvPr/>
          </p:nvSpPr>
          <p:spPr bwMode="auto">
            <a:xfrm>
              <a:off x="2038" y="2060"/>
              <a:ext cx="661" cy="519"/>
            </a:xfrm>
            <a:custGeom>
              <a:avLst/>
              <a:gdLst>
                <a:gd name="T0" fmla="*/ 627 w 661"/>
                <a:gd name="T1" fmla="*/ 434 h 519"/>
                <a:gd name="T2" fmla="*/ 625 w 661"/>
                <a:gd name="T3" fmla="*/ 402 h 519"/>
                <a:gd name="T4" fmla="*/ 595 w 661"/>
                <a:gd name="T5" fmla="*/ 384 h 519"/>
                <a:gd name="T6" fmla="*/ 579 w 661"/>
                <a:gd name="T7" fmla="*/ 362 h 519"/>
                <a:gd name="T8" fmla="*/ 555 w 661"/>
                <a:gd name="T9" fmla="*/ 350 h 519"/>
                <a:gd name="T10" fmla="*/ 537 w 661"/>
                <a:gd name="T11" fmla="*/ 338 h 519"/>
                <a:gd name="T12" fmla="*/ 488 w 661"/>
                <a:gd name="T13" fmla="*/ 344 h 519"/>
                <a:gd name="T14" fmla="*/ 440 w 661"/>
                <a:gd name="T15" fmla="*/ 304 h 519"/>
                <a:gd name="T16" fmla="*/ 388 w 661"/>
                <a:gd name="T17" fmla="*/ 284 h 519"/>
                <a:gd name="T18" fmla="*/ 364 w 661"/>
                <a:gd name="T19" fmla="*/ 265 h 519"/>
                <a:gd name="T20" fmla="*/ 334 w 661"/>
                <a:gd name="T21" fmla="*/ 245 h 519"/>
                <a:gd name="T22" fmla="*/ 314 w 661"/>
                <a:gd name="T23" fmla="*/ 209 h 519"/>
                <a:gd name="T24" fmla="*/ 314 w 661"/>
                <a:gd name="T25" fmla="*/ 169 h 519"/>
                <a:gd name="T26" fmla="*/ 287 w 661"/>
                <a:gd name="T27" fmla="*/ 151 h 519"/>
                <a:gd name="T28" fmla="*/ 243 w 661"/>
                <a:gd name="T29" fmla="*/ 149 h 519"/>
                <a:gd name="T30" fmla="*/ 231 w 661"/>
                <a:gd name="T31" fmla="*/ 115 h 519"/>
                <a:gd name="T32" fmla="*/ 197 w 661"/>
                <a:gd name="T33" fmla="*/ 101 h 519"/>
                <a:gd name="T34" fmla="*/ 169 w 661"/>
                <a:gd name="T35" fmla="*/ 93 h 519"/>
                <a:gd name="T36" fmla="*/ 149 w 661"/>
                <a:gd name="T37" fmla="*/ 63 h 519"/>
                <a:gd name="T38" fmla="*/ 175 w 661"/>
                <a:gd name="T39" fmla="*/ 38 h 519"/>
                <a:gd name="T40" fmla="*/ 175 w 661"/>
                <a:gd name="T41" fmla="*/ 14 h 519"/>
                <a:gd name="T42" fmla="*/ 123 w 661"/>
                <a:gd name="T43" fmla="*/ 22 h 519"/>
                <a:gd name="T44" fmla="*/ 107 w 661"/>
                <a:gd name="T45" fmla="*/ 12 h 519"/>
                <a:gd name="T46" fmla="*/ 77 w 661"/>
                <a:gd name="T47" fmla="*/ 38 h 519"/>
                <a:gd name="T48" fmla="*/ 70 w 661"/>
                <a:gd name="T49" fmla="*/ 57 h 519"/>
                <a:gd name="T50" fmla="*/ 30 w 661"/>
                <a:gd name="T51" fmla="*/ 89 h 519"/>
                <a:gd name="T52" fmla="*/ 18 w 661"/>
                <a:gd name="T53" fmla="*/ 121 h 519"/>
                <a:gd name="T54" fmla="*/ 12 w 661"/>
                <a:gd name="T55" fmla="*/ 131 h 519"/>
                <a:gd name="T56" fmla="*/ 0 w 661"/>
                <a:gd name="T57" fmla="*/ 151 h 519"/>
                <a:gd name="T58" fmla="*/ 10 w 661"/>
                <a:gd name="T59" fmla="*/ 173 h 519"/>
                <a:gd name="T60" fmla="*/ 38 w 661"/>
                <a:gd name="T61" fmla="*/ 219 h 519"/>
                <a:gd name="T62" fmla="*/ 40 w 661"/>
                <a:gd name="T63" fmla="*/ 251 h 519"/>
                <a:gd name="T64" fmla="*/ 32 w 661"/>
                <a:gd name="T65" fmla="*/ 290 h 519"/>
                <a:gd name="T66" fmla="*/ 50 w 661"/>
                <a:gd name="T67" fmla="*/ 362 h 519"/>
                <a:gd name="T68" fmla="*/ 58 w 661"/>
                <a:gd name="T69" fmla="*/ 412 h 519"/>
                <a:gd name="T70" fmla="*/ 95 w 661"/>
                <a:gd name="T71" fmla="*/ 396 h 519"/>
                <a:gd name="T72" fmla="*/ 167 w 661"/>
                <a:gd name="T73" fmla="*/ 384 h 519"/>
                <a:gd name="T74" fmla="*/ 233 w 661"/>
                <a:gd name="T75" fmla="*/ 394 h 519"/>
                <a:gd name="T76" fmla="*/ 243 w 661"/>
                <a:gd name="T77" fmla="*/ 442 h 519"/>
                <a:gd name="T78" fmla="*/ 287 w 661"/>
                <a:gd name="T79" fmla="*/ 470 h 519"/>
                <a:gd name="T80" fmla="*/ 296 w 661"/>
                <a:gd name="T81" fmla="*/ 496 h 519"/>
                <a:gd name="T82" fmla="*/ 314 w 661"/>
                <a:gd name="T83" fmla="*/ 515 h 519"/>
                <a:gd name="T84" fmla="*/ 340 w 661"/>
                <a:gd name="T85" fmla="*/ 502 h 519"/>
                <a:gd name="T86" fmla="*/ 370 w 661"/>
                <a:gd name="T87" fmla="*/ 490 h 519"/>
                <a:gd name="T88" fmla="*/ 400 w 661"/>
                <a:gd name="T89" fmla="*/ 442 h 519"/>
                <a:gd name="T90" fmla="*/ 410 w 661"/>
                <a:gd name="T91" fmla="*/ 434 h 519"/>
                <a:gd name="T92" fmla="*/ 458 w 661"/>
                <a:gd name="T93" fmla="*/ 450 h 519"/>
                <a:gd name="T94" fmla="*/ 468 w 661"/>
                <a:gd name="T95" fmla="*/ 464 h 519"/>
                <a:gd name="T96" fmla="*/ 508 w 661"/>
                <a:gd name="T97" fmla="*/ 470 h 519"/>
                <a:gd name="T98" fmla="*/ 525 w 661"/>
                <a:gd name="T99" fmla="*/ 482 h 519"/>
                <a:gd name="T100" fmla="*/ 545 w 661"/>
                <a:gd name="T101" fmla="*/ 486 h 519"/>
                <a:gd name="T102" fmla="*/ 579 w 661"/>
                <a:gd name="T103" fmla="*/ 474 h 519"/>
                <a:gd name="T104" fmla="*/ 649 w 661"/>
                <a:gd name="T105" fmla="*/ 468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61" h="519">
                  <a:moveTo>
                    <a:pt x="657" y="458"/>
                  </a:moveTo>
                  <a:lnTo>
                    <a:pt x="651" y="454"/>
                  </a:lnTo>
                  <a:lnTo>
                    <a:pt x="639" y="444"/>
                  </a:lnTo>
                  <a:lnTo>
                    <a:pt x="629" y="440"/>
                  </a:lnTo>
                  <a:lnTo>
                    <a:pt x="627" y="434"/>
                  </a:lnTo>
                  <a:lnTo>
                    <a:pt x="625" y="426"/>
                  </a:lnTo>
                  <a:lnTo>
                    <a:pt x="627" y="420"/>
                  </a:lnTo>
                  <a:lnTo>
                    <a:pt x="629" y="412"/>
                  </a:lnTo>
                  <a:lnTo>
                    <a:pt x="625" y="406"/>
                  </a:lnTo>
                  <a:lnTo>
                    <a:pt x="625" y="402"/>
                  </a:lnTo>
                  <a:lnTo>
                    <a:pt x="621" y="398"/>
                  </a:lnTo>
                  <a:lnTo>
                    <a:pt x="617" y="384"/>
                  </a:lnTo>
                  <a:lnTo>
                    <a:pt x="605" y="386"/>
                  </a:lnTo>
                  <a:lnTo>
                    <a:pt x="601" y="386"/>
                  </a:lnTo>
                  <a:lnTo>
                    <a:pt x="595" y="384"/>
                  </a:lnTo>
                  <a:lnTo>
                    <a:pt x="597" y="380"/>
                  </a:lnTo>
                  <a:lnTo>
                    <a:pt x="591" y="374"/>
                  </a:lnTo>
                  <a:lnTo>
                    <a:pt x="591" y="366"/>
                  </a:lnTo>
                  <a:lnTo>
                    <a:pt x="583" y="362"/>
                  </a:lnTo>
                  <a:lnTo>
                    <a:pt x="579" y="362"/>
                  </a:lnTo>
                  <a:lnTo>
                    <a:pt x="575" y="362"/>
                  </a:lnTo>
                  <a:lnTo>
                    <a:pt x="563" y="362"/>
                  </a:lnTo>
                  <a:lnTo>
                    <a:pt x="561" y="360"/>
                  </a:lnTo>
                  <a:lnTo>
                    <a:pt x="553" y="354"/>
                  </a:lnTo>
                  <a:lnTo>
                    <a:pt x="555" y="350"/>
                  </a:lnTo>
                  <a:lnTo>
                    <a:pt x="551" y="340"/>
                  </a:lnTo>
                  <a:lnTo>
                    <a:pt x="551" y="336"/>
                  </a:lnTo>
                  <a:lnTo>
                    <a:pt x="549" y="332"/>
                  </a:lnTo>
                  <a:lnTo>
                    <a:pt x="539" y="334"/>
                  </a:lnTo>
                  <a:lnTo>
                    <a:pt x="537" y="338"/>
                  </a:lnTo>
                  <a:lnTo>
                    <a:pt x="523" y="342"/>
                  </a:lnTo>
                  <a:lnTo>
                    <a:pt x="515" y="346"/>
                  </a:lnTo>
                  <a:lnTo>
                    <a:pt x="511" y="356"/>
                  </a:lnTo>
                  <a:lnTo>
                    <a:pt x="494" y="352"/>
                  </a:lnTo>
                  <a:lnTo>
                    <a:pt x="488" y="344"/>
                  </a:lnTo>
                  <a:lnTo>
                    <a:pt x="468" y="344"/>
                  </a:lnTo>
                  <a:lnTo>
                    <a:pt x="464" y="344"/>
                  </a:lnTo>
                  <a:lnTo>
                    <a:pt x="448" y="320"/>
                  </a:lnTo>
                  <a:lnTo>
                    <a:pt x="448" y="310"/>
                  </a:lnTo>
                  <a:lnTo>
                    <a:pt x="440" y="304"/>
                  </a:lnTo>
                  <a:lnTo>
                    <a:pt x="428" y="306"/>
                  </a:lnTo>
                  <a:lnTo>
                    <a:pt x="428" y="298"/>
                  </a:lnTo>
                  <a:lnTo>
                    <a:pt x="416" y="290"/>
                  </a:lnTo>
                  <a:lnTo>
                    <a:pt x="400" y="288"/>
                  </a:lnTo>
                  <a:lnTo>
                    <a:pt x="388" y="284"/>
                  </a:lnTo>
                  <a:lnTo>
                    <a:pt x="386" y="276"/>
                  </a:lnTo>
                  <a:lnTo>
                    <a:pt x="380" y="273"/>
                  </a:lnTo>
                  <a:lnTo>
                    <a:pt x="376" y="269"/>
                  </a:lnTo>
                  <a:lnTo>
                    <a:pt x="368" y="267"/>
                  </a:lnTo>
                  <a:lnTo>
                    <a:pt x="364" y="265"/>
                  </a:lnTo>
                  <a:lnTo>
                    <a:pt x="360" y="263"/>
                  </a:lnTo>
                  <a:lnTo>
                    <a:pt x="358" y="247"/>
                  </a:lnTo>
                  <a:lnTo>
                    <a:pt x="354" y="247"/>
                  </a:lnTo>
                  <a:lnTo>
                    <a:pt x="348" y="251"/>
                  </a:lnTo>
                  <a:lnTo>
                    <a:pt x="334" y="245"/>
                  </a:lnTo>
                  <a:lnTo>
                    <a:pt x="324" y="245"/>
                  </a:lnTo>
                  <a:lnTo>
                    <a:pt x="320" y="247"/>
                  </a:lnTo>
                  <a:lnTo>
                    <a:pt x="326" y="221"/>
                  </a:lnTo>
                  <a:lnTo>
                    <a:pt x="326" y="215"/>
                  </a:lnTo>
                  <a:lnTo>
                    <a:pt x="314" y="209"/>
                  </a:lnTo>
                  <a:lnTo>
                    <a:pt x="314" y="197"/>
                  </a:lnTo>
                  <a:lnTo>
                    <a:pt x="314" y="189"/>
                  </a:lnTo>
                  <a:lnTo>
                    <a:pt x="324" y="183"/>
                  </a:lnTo>
                  <a:lnTo>
                    <a:pt x="320" y="177"/>
                  </a:lnTo>
                  <a:lnTo>
                    <a:pt x="314" y="169"/>
                  </a:lnTo>
                  <a:lnTo>
                    <a:pt x="308" y="167"/>
                  </a:lnTo>
                  <a:lnTo>
                    <a:pt x="304" y="161"/>
                  </a:lnTo>
                  <a:lnTo>
                    <a:pt x="298" y="155"/>
                  </a:lnTo>
                  <a:lnTo>
                    <a:pt x="296" y="153"/>
                  </a:lnTo>
                  <a:lnTo>
                    <a:pt x="287" y="151"/>
                  </a:lnTo>
                  <a:lnTo>
                    <a:pt x="287" y="155"/>
                  </a:lnTo>
                  <a:lnTo>
                    <a:pt x="283" y="159"/>
                  </a:lnTo>
                  <a:lnTo>
                    <a:pt x="275" y="151"/>
                  </a:lnTo>
                  <a:lnTo>
                    <a:pt x="253" y="155"/>
                  </a:lnTo>
                  <a:lnTo>
                    <a:pt x="243" y="149"/>
                  </a:lnTo>
                  <a:lnTo>
                    <a:pt x="235" y="137"/>
                  </a:lnTo>
                  <a:lnTo>
                    <a:pt x="239" y="129"/>
                  </a:lnTo>
                  <a:lnTo>
                    <a:pt x="245" y="125"/>
                  </a:lnTo>
                  <a:lnTo>
                    <a:pt x="241" y="117"/>
                  </a:lnTo>
                  <a:lnTo>
                    <a:pt x="231" y="115"/>
                  </a:lnTo>
                  <a:lnTo>
                    <a:pt x="229" y="109"/>
                  </a:lnTo>
                  <a:lnTo>
                    <a:pt x="221" y="107"/>
                  </a:lnTo>
                  <a:lnTo>
                    <a:pt x="213" y="103"/>
                  </a:lnTo>
                  <a:lnTo>
                    <a:pt x="207" y="103"/>
                  </a:lnTo>
                  <a:lnTo>
                    <a:pt x="197" y="101"/>
                  </a:lnTo>
                  <a:lnTo>
                    <a:pt x="193" y="101"/>
                  </a:lnTo>
                  <a:lnTo>
                    <a:pt x="191" y="99"/>
                  </a:lnTo>
                  <a:lnTo>
                    <a:pt x="185" y="99"/>
                  </a:lnTo>
                  <a:lnTo>
                    <a:pt x="175" y="93"/>
                  </a:lnTo>
                  <a:lnTo>
                    <a:pt x="169" y="93"/>
                  </a:lnTo>
                  <a:lnTo>
                    <a:pt x="163" y="85"/>
                  </a:lnTo>
                  <a:lnTo>
                    <a:pt x="167" y="83"/>
                  </a:lnTo>
                  <a:lnTo>
                    <a:pt x="165" y="75"/>
                  </a:lnTo>
                  <a:lnTo>
                    <a:pt x="153" y="71"/>
                  </a:lnTo>
                  <a:lnTo>
                    <a:pt x="149" y="63"/>
                  </a:lnTo>
                  <a:lnTo>
                    <a:pt x="153" y="59"/>
                  </a:lnTo>
                  <a:lnTo>
                    <a:pt x="159" y="59"/>
                  </a:lnTo>
                  <a:lnTo>
                    <a:pt x="163" y="53"/>
                  </a:lnTo>
                  <a:lnTo>
                    <a:pt x="163" y="47"/>
                  </a:lnTo>
                  <a:lnTo>
                    <a:pt x="175" y="38"/>
                  </a:lnTo>
                  <a:lnTo>
                    <a:pt x="181" y="32"/>
                  </a:lnTo>
                  <a:lnTo>
                    <a:pt x="175" y="26"/>
                  </a:lnTo>
                  <a:lnTo>
                    <a:pt x="173" y="22"/>
                  </a:lnTo>
                  <a:lnTo>
                    <a:pt x="175" y="18"/>
                  </a:lnTo>
                  <a:lnTo>
                    <a:pt x="175" y="14"/>
                  </a:lnTo>
                  <a:lnTo>
                    <a:pt x="177" y="12"/>
                  </a:lnTo>
                  <a:lnTo>
                    <a:pt x="175" y="0"/>
                  </a:lnTo>
                  <a:lnTo>
                    <a:pt x="167" y="2"/>
                  </a:lnTo>
                  <a:lnTo>
                    <a:pt x="135" y="18"/>
                  </a:lnTo>
                  <a:lnTo>
                    <a:pt x="123" y="22"/>
                  </a:lnTo>
                  <a:lnTo>
                    <a:pt x="121" y="20"/>
                  </a:lnTo>
                  <a:lnTo>
                    <a:pt x="121" y="16"/>
                  </a:lnTo>
                  <a:lnTo>
                    <a:pt x="119" y="12"/>
                  </a:lnTo>
                  <a:lnTo>
                    <a:pt x="117" y="10"/>
                  </a:lnTo>
                  <a:lnTo>
                    <a:pt x="107" y="12"/>
                  </a:lnTo>
                  <a:lnTo>
                    <a:pt x="101" y="14"/>
                  </a:lnTo>
                  <a:lnTo>
                    <a:pt x="97" y="14"/>
                  </a:lnTo>
                  <a:lnTo>
                    <a:pt x="91" y="22"/>
                  </a:lnTo>
                  <a:lnTo>
                    <a:pt x="81" y="30"/>
                  </a:lnTo>
                  <a:lnTo>
                    <a:pt x="77" y="38"/>
                  </a:lnTo>
                  <a:lnTo>
                    <a:pt x="77" y="47"/>
                  </a:lnTo>
                  <a:lnTo>
                    <a:pt x="77" y="51"/>
                  </a:lnTo>
                  <a:lnTo>
                    <a:pt x="75" y="53"/>
                  </a:lnTo>
                  <a:lnTo>
                    <a:pt x="71" y="55"/>
                  </a:lnTo>
                  <a:lnTo>
                    <a:pt x="70" y="57"/>
                  </a:lnTo>
                  <a:lnTo>
                    <a:pt x="66" y="59"/>
                  </a:lnTo>
                  <a:lnTo>
                    <a:pt x="60" y="63"/>
                  </a:lnTo>
                  <a:lnTo>
                    <a:pt x="48" y="71"/>
                  </a:lnTo>
                  <a:lnTo>
                    <a:pt x="36" y="85"/>
                  </a:lnTo>
                  <a:lnTo>
                    <a:pt x="30" y="89"/>
                  </a:lnTo>
                  <a:lnTo>
                    <a:pt x="28" y="93"/>
                  </a:lnTo>
                  <a:lnTo>
                    <a:pt x="28" y="101"/>
                  </a:lnTo>
                  <a:lnTo>
                    <a:pt x="28" y="103"/>
                  </a:lnTo>
                  <a:lnTo>
                    <a:pt x="28" y="107"/>
                  </a:lnTo>
                  <a:lnTo>
                    <a:pt x="18" y="121"/>
                  </a:lnTo>
                  <a:lnTo>
                    <a:pt x="18" y="123"/>
                  </a:lnTo>
                  <a:lnTo>
                    <a:pt x="18" y="127"/>
                  </a:lnTo>
                  <a:lnTo>
                    <a:pt x="18" y="129"/>
                  </a:lnTo>
                  <a:lnTo>
                    <a:pt x="16" y="129"/>
                  </a:lnTo>
                  <a:lnTo>
                    <a:pt x="12" y="131"/>
                  </a:lnTo>
                  <a:lnTo>
                    <a:pt x="8" y="137"/>
                  </a:lnTo>
                  <a:lnTo>
                    <a:pt x="4" y="145"/>
                  </a:lnTo>
                  <a:lnTo>
                    <a:pt x="2" y="149"/>
                  </a:lnTo>
                  <a:lnTo>
                    <a:pt x="0" y="149"/>
                  </a:lnTo>
                  <a:lnTo>
                    <a:pt x="0" y="151"/>
                  </a:lnTo>
                  <a:lnTo>
                    <a:pt x="0" y="153"/>
                  </a:lnTo>
                  <a:lnTo>
                    <a:pt x="6" y="157"/>
                  </a:lnTo>
                  <a:lnTo>
                    <a:pt x="4" y="167"/>
                  </a:lnTo>
                  <a:lnTo>
                    <a:pt x="4" y="169"/>
                  </a:lnTo>
                  <a:lnTo>
                    <a:pt x="10" y="173"/>
                  </a:lnTo>
                  <a:lnTo>
                    <a:pt x="18" y="179"/>
                  </a:lnTo>
                  <a:lnTo>
                    <a:pt x="22" y="181"/>
                  </a:lnTo>
                  <a:lnTo>
                    <a:pt x="24" y="189"/>
                  </a:lnTo>
                  <a:lnTo>
                    <a:pt x="30" y="197"/>
                  </a:lnTo>
                  <a:lnTo>
                    <a:pt x="38" y="219"/>
                  </a:lnTo>
                  <a:lnTo>
                    <a:pt x="44" y="229"/>
                  </a:lnTo>
                  <a:lnTo>
                    <a:pt x="46" y="235"/>
                  </a:lnTo>
                  <a:lnTo>
                    <a:pt x="46" y="237"/>
                  </a:lnTo>
                  <a:lnTo>
                    <a:pt x="40" y="247"/>
                  </a:lnTo>
                  <a:lnTo>
                    <a:pt x="40" y="251"/>
                  </a:lnTo>
                  <a:lnTo>
                    <a:pt x="38" y="255"/>
                  </a:lnTo>
                  <a:lnTo>
                    <a:pt x="36" y="261"/>
                  </a:lnTo>
                  <a:lnTo>
                    <a:pt x="34" y="269"/>
                  </a:lnTo>
                  <a:lnTo>
                    <a:pt x="32" y="286"/>
                  </a:lnTo>
                  <a:lnTo>
                    <a:pt x="32" y="290"/>
                  </a:lnTo>
                  <a:lnTo>
                    <a:pt x="30" y="290"/>
                  </a:lnTo>
                  <a:lnTo>
                    <a:pt x="36" y="304"/>
                  </a:lnTo>
                  <a:lnTo>
                    <a:pt x="24" y="336"/>
                  </a:lnTo>
                  <a:lnTo>
                    <a:pt x="24" y="342"/>
                  </a:lnTo>
                  <a:lnTo>
                    <a:pt x="50" y="362"/>
                  </a:lnTo>
                  <a:lnTo>
                    <a:pt x="50" y="372"/>
                  </a:lnTo>
                  <a:lnTo>
                    <a:pt x="50" y="378"/>
                  </a:lnTo>
                  <a:lnTo>
                    <a:pt x="44" y="394"/>
                  </a:lnTo>
                  <a:lnTo>
                    <a:pt x="46" y="410"/>
                  </a:lnTo>
                  <a:lnTo>
                    <a:pt x="58" y="412"/>
                  </a:lnTo>
                  <a:lnTo>
                    <a:pt x="66" y="412"/>
                  </a:lnTo>
                  <a:lnTo>
                    <a:pt x="71" y="412"/>
                  </a:lnTo>
                  <a:lnTo>
                    <a:pt x="83" y="406"/>
                  </a:lnTo>
                  <a:lnTo>
                    <a:pt x="95" y="402"/>
                  </a:lnTo>
                  <a:lnTo>
                    <a:pt x="95" y="396"/>
                  </a:lnTo>
                  <a:lnTo>
                    <a:pt x="129" y="396"/>
                  </a:lnTo>
                  <a:lnTo>
                    <a:pt x="139" y="394"/>
                  </a:lnTo>
                  <a:lnTo>
                    <a:pt x="149" y="390"/>
                  </a:lnTo>
                  <a:lnTo>
                    <a:pt x="161" y="388"/>
                  </a:lnTo>
                  <a:lnTo>
                    <a:pt x="167" y="384"/>
                  </a:lnTo>
                  <a:lnTo>
                    <a:pt x="171" y="380"/>
                  </a:lnTo>
                  <a:lnTo>
                    <a:pt x="177" y="376"/>
                  </a:lnTo>
                  <a:lnTo>
                    <a:pt x="189" y="372"/>
                  </a:lnTo>
                  <a:lnTo>
                    <a:pt x="207" y="394"/>
                  </a:lnTo>
                  <a:lnTo>
                    <a:pt x="233" y="394"/>
                  </a:lnTo>
                  <a:lnTo>
                    <a:pt x="233" y="422"/>
                  </a:lnTo>
                  <a:lnTo>
                    <a:pt x="233" y="426"/>
                  </a:lnTo>
                  <a:lnTo>
                    <a:pt x="235" y="428"/>
                  </a:lnTo>
                  <a:lnTo>
                    <a:pt x="239" y="436"/>
                  </a:lnTo>
                  <a:lnTo>
                    <a:pt x="243" y="442"/>
                  </a:lnTo>
                  <a:lnTo>
                    <a:pt x="249" y="446"/>
                  </a:lnTo>
                  <a:lnTo>
                    <a:pt x="261" y="456"/>
                  </a:lnTo>
                  <a:lnTo>
                    <a:pt x="269" y="468"/>
                  </a:lnTo>
                  <a:lnTo>
                    <a:pt x="287" y="468"/>
                  </a:lnTo>
                  <a:lnTo>
                    <a:pt x="287" y="470"/>
                  </a:lnTo>
                  <a:lnTo>
                    <a:pt x="287" y="478"/>
                  </a:lnTo>
                  <a:lnTo>
                    <a:pt x="287" y="486"/>
                  </a:lnTo>
                  <a:lnTo>
                    <a:pt x="289" y="490"/>
                  </a:lnTo>
                  <a:lnTo>
                    <a:pt x="291" y="494"/>
                  </a:lnTo>
                  <a:lnTo>
                    <a:pt x="296" y="496"/>
                  </a:lnTo>
                  <a:lnTo>
                    <a:pt x="300" y="500"/>
                  </a:lnTo>
                  <a:lnTo>
                    <a:pt x="300" y="502"/>
                  </a:lnTo>
                  <a:lnTo>
                    <a:pt x="300" y="506"/>
                  </a:lnTo>
                  <a:lnTo>
                    <a:pt x="304" y="509"/>
                  </a:lnTo>
                  <a:lnTo>
                    <a:pt x="314" y="515"/>
                  </a:lnTo>
                  <a:lnTo>
                    <a:pt x="322" y="519"/>
                  </a:lnTo>
                  <a:lnTo>
                    <a:pt x="326" y="515"/>
                  </a:lnTo>
                  <a:lnTo>
                    <a:pt x="328" y="511"/>
                  </a:lnTo>
                  <a:lnTo>
                    <a:pt x="330" y="506"/>
                  </a:lnTo>
                  <a:lnTo>
                    <a:pt x="340" y="502"/>
                  </a:lnTo>
                  <a:lnTo>
                    <a:pt x="344" y="500"/>
                  </a:lnTo>
                  <a:lnTo>
                    <a:pt x="350" y="496"/>
                  </a:lnTo>
                  <a:lnTo>
                    <a:pt x="364" y="494"/>
                  </a:lnTo>
                  <a:lnTo>
                    <a:pt x="368" y="492"/>
                  </a:lnTo>
                  <a:lnTo>
                    <a:pt x="370" y="490"/>
                  </a:lnTo>
                  <a:lnTo>
                    <a:pt x="374" y="480"/>
                  </a:lnTo>
                  <a:lnTo>
                    <a:pt x="378" y="470"/>
                  </a:lnTo>
                  <a:lnTo>
                    <a:pt x="388" y="460"/>
                  </a:lnTo>
                  <a:lnTo>
                    <a:pt x="398" y="446"/>
                  </a:lnTo>
                  <a:lnTo>
                    <a:pt x="400" y="442"/>
                  </a:lnTo>
                  <a:lnTo>
                    <a:pt x="402" y="436"/>
                  </a:lnTo>
                  <a:lnTo>
                    <a:pt x="402" y="434"/>
                  </a:lnTo>
                  <a:lnTo>
                    <a:pt x="404" y="432"/>
                  </a:lnTo>
                  <a:lnTo>
                    <a:pt x="408" y="432"/>
                  </a:lnTo>
                  <a:lnTo>
                    <a:pt x="410" y="434"/>
                  </a:lnTo>
                  <a:lnTo>
                    <a:pt x="418" y="440"/>
                  </a:lnTo>
                  <a:lnTo>
                    <a:pt x="426" y="442"/>
                  </a:lnTo>
                  <a:lnTo>
                    <a:pt x="432" y="444"/>
                  </a:lnTo>
                  <a:lnTo>
                    <a:pt x="450" y="448"/>
                  </a:lnTo>
                  <a:lnTo>
                    <a:pt x="458" y="450"/>
                  </a:lnTo>
                  <a:lnTo>
                    <a:pt x="460" y="452"/>
                  </a:lnTo>
                  <a:lnTo>
                    <a:pt x="462" y="452"/>
                  </a:lnTo>
                  <a:lnTo>
                    <a:pt x="462" y="456"/>
                  </a:lnTo>
                  <a:lnTo>
                    <a:pt x="464" y="460"/>
                  </a:lnTo>
                  <a:lnTo>
                    <a:pt x="468" y="464"/>
                  </a:lnTo>
                  <a:lnTo>
                    <a:pt x="474" y="466"/>
                  </a:lnTo>
                  <a:lnTo>
                    <a:pt x="490" y="466"/>
                  </a:lnTo>
                  <a:lnTo>
                    <a:pt x="504" y="468"/>
                  </a:lnTo>
                  <a:lnTo>
                    <a:pt x="508" y="468"/>
                  </a:lnTo>
                  <a:lnTo>
                    <a:pt x="508" y="470"/>
                  </a:lnTo>
                  <a:lnTo>
                    <a:pt x="508" y="474"/>
                  </a:lnTo>
                  <a:lnTo>
                    <a:pt x="510" y="474"/>
                  </a:lnTo>
                  <a:lnTo>
                    <a:pt x="511" y="476"/>
                  </a:lnTo>
                  <a:lnTo>
                    <a:pt x="519" y="480"/>
                  </a:lnTo>
                  <a:lnTo>
                    <a:pt x="525" y="482"/>
                  </a:lnTo>
                  <a:lnTo>
                    <a:pt x="529" y="486"/>
                  </a:lnTo>
                  <a:lnTo>
                    <a:pt x="533" y="490"/>
                  </a:lnTo>
                  <a:lnTo>
                    <a:pt x="535" y="490"/>
                  </a:lnTo>
                  <a:lnTo>
                    <a:pt x="539" y="490"/>
                  </a:lnTo>
                  <a:lnTo>
                    <a:pt x="545" y="486"/>
                  </a:lnTo>
                  <a:lnTo>
                    <a:pt x="551" y="482"/>
                  </a:lnTo>
                  <a:lnTo>
                    <a:pt x="559" y="476"/>
                  </a:lnTo>
                  <a:lnTo>
                    <a:pt x="571" y="472"/>
                  </a:lnTo>
                  <a:lnTo>
                    <a:pt x="577" y="472"/>
                  </a:lnTo>
                  <a:lnTo>
                    <a:pt x="579" y="474"/>
                  </a:lnTo>
                  <a:lnTo>
                    <a:pt x="585" y="478"/>
                  </a:lnTo>
                  <a:lnTo>
                    <a:pt x="591" y="482"/>
                  </a:lnTo>
                  <a:lnTo>
                    <a:pt x="597" y="488"/>
                  </a:lnTo>
                  <a:lnTo>
                    <a:pt x="649" y="474"/>
                  </a:lnTo>
                  <a:lnTo>
                    <a:pt x="649" y="468"/>
                  </a:lnTo>
                  <a:lnTo>
                    <a:pt x="655" y="466"/>
                  </a:lnTo>
                  <a:lnTo>
                    <a:pt x="661" y="464"/>
                  </a:lnTo>
                  <a:lnTo>
                    <a:pt x="661" y="460"/>
                  </a:lnTo>
                  <a:lnTo>
                    <a:pt x="657" y="458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43" name="Freeform 102"/>
            <p:cNvSpPr>
              <a:spLocks/>
            </p:cNvSpPr>
            <p:nvPr/>
          </p:nvSpPr>
          <p:spPr bwMode="auto">
            <a:xfrm>
              <a:off x="1568" y="1667"/>
              <a:ext cx="410" cy="401"/>
            </a:xfrm>
            <a:custGeom>
              <a:avLst/>
              <a:gdLst>
                <a:gd name="T0" fmla="*/ 334 w 410"/>
                <a:gd name="T1" fmla="*/ 126 h 401"/>
                <a:gd name="T2" fmla="*/ 332 w 410"/>
                <a:gd name="T3" fmla="*/ 104 h 401"/>
                <a:gd name="T4" fmla="*/ 332 w 410"/>
                <a:gd name="T5" fmla="*/ 86 h 401"/>
                <a:gd name="T6" fmla="*/ 326 w 410"/>
                <a:gd name="T7" fmla="*/ 64 h 401"/>
                <a:gd name="T8" fmla="*/ 322 w 410"/>
                <a:gd name="T9" fmla="*/ 52 h 401"/>
                <a:gd name="T10" fmla="*/ 293 w 410"/>
                <a:gd name="T11" fmla="*/ 52 h 401"/>
                <a:gd name="T12" fmla="*/ 263 w 410"/>
                <a:gd name="T13" fmla="*/ 46 h 401"/>
                <a:gd name="T14" fmla="*/ 235 w 410"/>
                <a:gd name="T15" fmla="*/ 46 h 401"/>
                <a:gd name="T16" fmla="*/ 223 w 410"/>
                <a:gd name="T17" fmla="*/ 70 h 401"/>
                <a:gd name="T18" fmla="*/ 197 w 410"/>
                <a:gd name="T19" fmla="*/ 72 h 401"/>
                <a:gd name="T20" fmla="*/ 187 w 410"/>
                <a:gd name="T21" fmla="*/ 48 h 401"/>
                <a:gd name="T22" fmla="*/ 187 w 410"/>
                <a:gd name="T23" fmla="*/ 14 h 401"/>
                <a:gd name="T24" fmla="*/ 179 w 410"/>
                <a:gd name="T25" fmla="*/ 2 h 401"/>
                <a:gd name="T26" fmla="*/ 171 w 410"/>
                <a:gd name="T27" fmla="*/ 4 h 401"/>
                <a:gd name="T28" fmla="*/ 159 w 410"/>
                <a:gd name="T29" fmla="*/ 2 h 401"/>
                <a:gd name="T30" fmla="*/ 153 w 410"/>
                <a:gd name="T31" fmla="*/ 38 h 401"/>
                <a:gd name="T32" fmla="*/ 159 w 410"/>
                <a:gd name="T33" fmla="*/ 46 h 401"/>
                <a:gd name="T34" fmla="*/ 147 w 410"/>
                <a:gd name="T35" fmla="*/ 64 h 401"/>
                <a:gd name="T36" fmla="*/ 129 w 410"/>
                <a:gd name="T37" fmla="*/ 66 h 401"/>
                <a:gd name="T38" fmla="*/ 119 w 410"/>
                <a:gd name="T39" fmla="*/ 52 h 401"/>
                <a:gd name="T40" fmla="*/ 107 w 410"/>
                <a:gd name="T41" fmla="*/ 42 h 401"/>
                <a:gd name="T42" fmla="*/ 66 w 410"/>
                <a:gd name="T43" fmla="*/ 66 h 401"/>
                <a:gd name="T44" fmla="*/ 62 w 410"/>
                <a:gd name="T45" fmla="*/ 88 h 401"/>
                <a:gd name="T46" fmla="*/ 70 w 410"/>
                <a:gd name="T47" fmla="*/ 106 h 401"/>
                <a:gd name="T48" fmla="*/ 52 w 410"/>
                <a:gd name="T49" fmla="*/ 114 h 401"/>
                <a:gd name="T50" fmla="*/ 40 w 410"/>
                <a:gd name="T51" fmla="*/ 138 h 401"/>
                <a:gd name="T52" fmla="*/ 20 w 410"/>
                <a:gd name="T53" fmla="*/ 148 h 401"/>
                <a:gd name="T54" fmla="*/ 6 w 410"/>
                <a:gd name="T55" fmla="*/ 172 h 401"/>
                <a:gd name="T56" fmla="*/ 2 w 410"/>
                <a:gd name="T57" fmla="*/ 200 h 401"/>
                <a:gd name="T58" fmla="*/ 14 w 410"/>
                <a:gd name="T59" fmla="*/ 211 h 401"/>
                <a:gd name="T60" fmla="*/ 30 w 410"/>
                <a:gd name="T61" fmla="*/ 235 h 401"/>
                <a:gd name="T62" fmla="*/ 40 w 410"/>
                <a:gd name="T63" fmla="*/ 257 h 401"/>
                <a:gd name="T64" fmla="*/ 58 w 410"/>
                <a:gd name="T65" fmla="*/ 257 h 401"/>
                <a:gd name="T66" fmla="*/ 82 w 410"/>
                <a:gd name="T67" fmla="*/ 287 h 401"/>
                <a:gd name="T68" fmla="*/ 90 w 410"/>
                <a:gd name="T69" fmla="*/ 299 h 401"/>
                <a:gd name="T70" fmla="*/ 107 w 410"/>
                <a:gd name="T71" fmla="*/ 299 h 401"/>
                <a:gd name="T72" fmla="*/ 119 w 410"/>
                <a:gd name="T73" fmla="*/ 323 h 401"/>
                <a:gd name="T74" fmla="*/ 141 w 410"/>
                <a:gd name="T75" fmla="*/ 339 h 401"/>
                <a:gd name="T76" fmla="*/ 159 w 410"/>
                <a:gd name="T77" fmla="*/ 369 h 401"/>
                <a:gd name="T78" fmla="*/ 179 w 410"/>
                <a:gd name="T79" fmla="*/ 389 h 401"/>
                <a:gd name="T80" fmla="*/ 221 w 410"/>
                <a:gd name="T81" fmla="*/ 401 h 401"/>
                <a:gd name="T82" fmla="*/ 265 w 410"/>
                <a:gd name="T83" fmla="*/ 359 h 401"/>
                <a:gd name="T84" fmla="*/ 265 w 410"/>
                <a:gd name="T85" fmla="*/ 317 h 401"/>
                <a:gd name="T86" fmla="*/ 241 w 410"/>
                <a:gd name="T87" fmla="*/ 327 h 401"/>
                <a:gd name="T88" fmla="*/ 223 w 410"/>
                <a:gd name="T89" fmla="*/ 319 h 401"/>
                <a:gd name="T90" fmla="*/ 227 w 410"/>
                <a:gd name="T91" fmla="*/ 311 h 401"/>
                <a:gd name="T92" fmla="*/ 255 w 410"/>
                <a:gd name="T93" fmla="*/ 287 h 401"/>
                <a:gd name="T94" fmla="*/ 273 w 410"/>
                <a:gd name="T95" fmla="*/ 259 h 401"/>
                <a:gd name="T96" fmla="*/ 275 w 410"/>
                <a:gd name="T97" fmla="*/ 233 h 401"/>
                <a:gd name="T98" fmla="*/ 269 w 410"/>
                <a:gd name="T99" fmla="*/ 207 h 401"/>
                <a:gd name="T100" fmla="*/ 305 w 410"/>
                <a:gd name="T101" fmla="*/ 225 h 401"/>
                <a:gd name="T102" fmla="*/ 322 w 410"/>
                <a:gd name="T103" fmla="*/ 247 h 401"/>
                <a:gd name="T104" fmla="*/ 344 w 410"/>
                <a:gd name="T105" fmla="*/ 253 h 401"/>
                <a:gd name="T106" fmla="*/ 388 w 410"/>
                <a:gd name="T107" fmla="*/ 263 h 401"/>
                <a:gd name="T108" fmla="*/ 410 w 410"/>
                <a:gd name="T109" fmla="*/ 186 h 401"/>
                <a:gd name="T110" fmla="*/ 378 w 410"/>
                <a:gd name="T111" fmla="*/ 182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10" h="401">
                  <a:moveTo>
                    <a:pt x="378" y="182"/>
                  </a:moveTo>
                  <a:lnTo>
                    <a:pt x="356" y="172"/>
                  </a:lnTo>
                  <a:lnTo>
                    <a:pt x="342" y="150"/>
                  </a:lnTo>
                  <a:lnTo>
                    <a:pt x="334" y="126"/>
                  </a:lnTo>
                  <a:lnTo>
                    <a:pt x="332" y="110"/>
                  </a:lnTo>
                  <a:lnTo>
                    <a:pt x="332" y="102"/>
                  </a:lnTo>
                  <a:lnTo>
                    <a:pt x="332" y="102"/>
                  </a:lnTo>
                  <a:lnTo>
                    <a:pt x="332" y="104"/>
                  </a:lnTo>
                  <a:lnTo>
                    <a:pt x="330" y="102"/>
                  </a:lnTo>
                  <a:lnTo>
                    <a:pt x="330" y="102"/>
                  </a:lnTo>
                  <a:lnTo>
                    <a:pt x="330" y="94"/>
                  </a:lnTo>
                  <a:lnTo>
                    <a:pt x="332" y="86"/>
                  </a:lnTo>
                  <a:lnTo>
                    <a:pt x="332" y="76"/>
                  </a:lnTo>
                  <a:lnTo>
                    <a:pt x="332" y="72"/>
                  </a:lnTo>
                  <a:lnTo>
                    <a:pt x="330" y="68"/>
                  </a:lnTo>
                  <a:lnTo>
                    <a:pt x="326" y="64"/>
                  </a:lnTo>
                  <a:lnTo>
                    <a:pt x="322" y="60"/>
                  </a:lnTo>
                  <a:lnTo>
                    <a:pt x="322" y="56"/>
                  </a:lnTo>
                  <a:lnTo>
                    <a:pt x="322" y="52"/>
                  </a:lnTo>
                  <a:lnTo>
                    <a:pt x="322" y="52"/>
                  </a:lnTo>
                  <a:lnTo>
                    <a:pt x="311" y="52"/>
                  </a:lnTo>
                  <a:lnTo>
                    <a:pt x="301" y="56"/>
                  </a:lnTo>
                  <a:lnTo>
                    <a:pt x="297" y="56"/>
                  </a:lnTo>
                  <a:lnTo>
                    <a:pt x="293" y="52"/>
                  </a:lnTo>
                  <a:lnTo>
                    <a:pt x="285" y="48"/>
                  </a:lnTo>
                  <a:lnTo>
                    <a:pt x="277" y="48"/>
                  </a:lnTo>
                  <a:lnTo>
                    <a:pt x="271" y="48"/>
                  </a:lnTo>
                  <a:lnTo>
                    <a:pt x="263" y="46"/>
                  </a:lnTo>
                  <a:lnTo>
                    <a:pt x="255" y="44"/>
                  </a:lnTo>
                  <a:lnTo>
                    <a:pt x="249" y="44"/>
                  </a:lnTo>
                  <a:lnTo>
                    <a:pt x="245" y="44"/>
                  </a:lnTo>
                  <a:lnTo>
                    <a:pt x="235" y="46"/>
                  </a:lnTo>
                  <a:lnTo>
                    <a:pt x="231" y="52"/>
                  </a:lnTo>
                  <a:lnTo>
                    <a:pt x="227" y="58"/>
                  </a:lnTo>
                  <a:lnTo>
                    <a:pt x="225" y="64"/>
                  </a:lnTo>
                  <a:lnTo>
                    <a:pt x="223" y="70"/>
                  </a:lnTo>
                  <a:lnTo>
                    <a:pt x="221" y="76"/>
                  </a:lnTo>
                  <a:lnTo>
                    <a:pt x="217" y="82"/>
                  </a:lnTo>
                  <a:lnTo>
                    <a:pt x="201" y="80"/>
                  </a:lnTo>
                  <a:lnTo>
                    <a:pt x="197" y="72"/>
                  </a:lnTo>
                  <a:lnTo>
                    <a:pt x="193" y="66"/>
                  </a:lnTo>
                  <a:lnTo>
                    <a:pt x="189" y="62"/>
                  </a:lnTo>
                  <a:lnTo>
                    <a:pt x="189" y="58"/>
                  </a:lnTo>
                  <a:lnTo>
                    <a:pt x="187" y="48"/>
                  </a:lnTo>
                  <a:lnTo>
                    <a:pt x="185" y="40"/>
                  </a:lnTo>
                  <a:lnTo>
                    <a:pt x="183" y="34"/>
                  </a:lnTo>
                  <a:lnTo>
                    <a:pt x="183" y="26"/>
                  </a:lnTo>
                  <a:lnTo>
                    <a:pt x="187" y="14"/>
                  </a:lnTo>
                  <a:lnTo>
                    <a:pt x="187" y="6"/>
                  </a:lnTo>
                  <a:lnTo>
                    <a:pt x="183" y="4"/>
                  </a:lnTo>
                  <a:lnTo>
                    <a:pt x="181" y="2"/>
                  </a:lnTo>
                  <a:lnTo>
                    <a:pt x="179" y="2"/>
                  </a:lnTo>
                  <a:lnTo>
                    <a:pt x="177" y="2"/>
                  </a:lnTo>
                  <a:lnTo>
                    <a:pt x="175" y="6"/>
                  </a:lnTo>
                  <a:lnTo>
                    <a:pt x="173" y="6"/>
                  </a:lnTo>
                  <a:lnTo>
                    <a:pt x="171" y="4"/>
                  </a:lnTo>
                  <a:lnTo>
                    <a:pt x="165" y="2"/>
                  </a:lnTo>
                  <a:lnTo>
                    <a:pt x="163" y="0"/>
                  </a:lnTo>
                  <a:lnTo>
                    <a:pt x="161" y="0"/>
                  </a:lnTo>
                  <a:lnTo>
                    <a:pt x="159" y="2"/>
                  </a:lnTo>
                  <a:lnTo>
                    <a:pt x="155" y="16"/>
                  </a:lnTo>
                  <a:lnTo>
                    <a:pt x="153" y="22"/>
                  </a:lnTo>
                  <a:lnTo>
                    <a:pt x="153" y="28"/>
                  </a:lnTo>
                  <a:lnTo>
                    <a:pt x="153" y="38"/>
                  </a:lnTo>
                  <a:lnTo>
                    <a:pt x="155" y="42"/>
                  </a:lnTo>
                  <a:lnTo>
                    <a:pt x="155" y="44"/>
                  </a:lnTo>
                  <a:lnTo>
                    <a:pt x="159" y="44"/>
                  </a:lnTo>
                  <a:lnTo>
                    <a:pt x="159" y="46"/>
                  </a:lnTo>
                  <a:lnTo>
                    <a:pt x="159" y="48"/>
                  </a:lnTo>
                  <a:lnTo>
                    <a:pt x="157" y="52"/>
                  </a:lnTo>
                  <a:lnTo>
                    <a:pt x="153" y="60"/>
                  </a:lnTo>
                  <a:lnTo>
                    <a:pt x="147" y="64"/>
                  </a:lnTo>
                  <a:lnTo>
                    <a:pt x="143" y="66"/>
                  </a:lnTo>
                  <a:lnTo>
                    <a:pt x="141" y="66"/>
                  </a:lnTo>
                  <a:lnTo>
                    <a:pt x="133" y="64"/>
                  </a:lnTo>
                  <a:lnTo>
                    <a:pt x="129" y="66"/>
                  </a:lnTo>
                  <a:lnTo>
                    <a:pt x="125" y="64"/>
                  </a:lnTo>
                  <a:lnTo>
                    <a:pt x="121" y="64"/>
                  </a:lnTo>
                  <a:lnTo>
                    <a:pt x="121" y="62"/>
                  </a:lnTo>
                  <a:lnTo>
                    <a:pt x="119" y="52"/>
                  </a:lnTo>
                  <a:lnTo>
                    <a:pt x="117" y="42"/>
                  </a:lnTo>
                  <a:lnTo>
                    <a:pt x="117" y="34"/>
                  </a:lnTo>
                  <a:lnTo>
                    <a:pt x="111" y="40"/>
                  </a:lnTo>
                  <a:lnTo>
                    <a:pt x="107" y="42"/>
                  </a:lnTo>
                  <a:lnTo>
                    <a:pt x="98" y="42"/>
                  </a:lnTo>
                  <a:lnTo>
                    <a:pt x="92" y="36"/>
                  </a:lnTo>
                  <a:lnTo>
                    <a:pt x="82" y="52"/>
                  </a:lnTo>
                  <a:lnTo>
                    <a:pt x="66" y="66"/>
                  </a:lnTo>
                  <a:lnTo>
                    <a:pt x="64" y="76"/>
                  </a:lnTo>
                  <a:lnTo>
                    <a:pt x="62" y="84"/>
                  </a:lnTo>
                  <a:lnTo>
                    <a:pt x="62" y="86"/>
                  </a:lnTo>
                  <a:lnTo>
                    <a:pt x="62" y="88"/>
                  </a:lnTo>
                  <a:lnTo>
                    <a:pt x="68" y="96"/>
                  </a:lnTo>
                  <a:lnTo>
                    <a:pt x="70" y="102"/>
                  </a:lnTo>
                  <a:lnTo>
                    <a:pt x="70" y="104"/>
                  </a:lnTo>
                  <a:lnTo>
                    <a:pt x="70" y="106"/>
                  </a:lnTo>
                  <a:lnTo>
                    <a:pt x="68" y="106"/>
                  </a:lnTo>
                  <a:lnTo>
                    <a:pt x="62" y="110"/>
                  </a:lnTo>
                  <a:lnTo>
                    <a:pt x="58" y="112"/>
                  </a:lnTo>
                  <a:lnTo>
                    <a:pt x="52" y="114"/>
                  </a:lnTo>
                  <a:lnTo>
                    <a:pt x="50" y="116"/>
                  </a:lnTo>
                  <a:lnTo>
                    <a:pt x="48" y="126"/>
                  </a:lnTo>
                  <a:lnTo>
                    <a:pt x="44" y="132"/>
                  </a:lnTo>
                  <a:lnTo>
                    <a:pt x="40" y="138"/>
                  </a:lnTo>
                  <a:lnTo>
                    <a:pt x="36" y="142"/>
                  </a:lnTo>
                  <a:lnTo>
                    <a:pt x="34" y="142"/>
                  </a:lnTo>
                  <a:lnTo>
                    <a:pt x="24" y="148"/>
                  </a:lnTo>
                  <a:lnTo>
                    <a:pt x="20" y="148"/>
                  </a:lnTo>
                  <a:lnTo>
                    <a:pt x="16" y="154"/>
                  </a:lnTo>
                  <a:lnTo>
                    <a:pt x="12" y="158"/>
                  </a:lnTo>
                  <a:lnTo>
                    <a:pt x="8" y="164"/>
                  </a:lnTo>
                  <a:lnTo>
                    <a:pt x="6" y="172"/>
                  </a:lnTo>
                  <a:lnTo>
                    <a:pt x="2" y="178"/>
                  </a:lnTo>
                  <a:lnTo>
                    <a:pt x="0" y="184"/>
                  </a:lnTo>
                  <a:lnTo>
                    <a:pt x="0" y="190"/>
                  </a:lnTo>
                  <a:lnTo>
                    <a:pt x="2" y="200"/>
                  </a:lnTo>
                  <a:lnTo>
                    <a:pt x="2" y="204"/>
                  </a:lnTo>
                  <a:lnTo>
                    <a:pt x="6" y="205"/>
                  </a:lnTo>
                  <a:lnTo>
                    <a:pt x="12" y="209"/>
                  </a:lnTo>
                  <a:lnTo>
                    <a:pt x="14" y="211"/>
                  </a:lnTo>
                  <a:lnTo>
                    <a:pt x="18" y="223"/>
                  </a:lnTo>
                  <a:lnTo>
                    <a:pt x="20" y="227"/>
                  </a:lnTo>
                  <a:lnTo>
                    <a:pt x="24" y="231"/>
                  </a:lnTo>
                  <a:lnTo>
                    <a:pt x="30" y="235"/>
                  </a:lnTo>
                  <a:lnTo>
                    <a:pt x="36" y="243"/>
                  </a:lnTo>
                  <a:lnTo>
                    <a:pt x="36" y="249"/>
                  </a:lnTo>
                  <a:lnTo>
                    <a:pt x="38" y="253"/>
                  </a:lnTo>
                  <a:lnTo>
                    <a:pt x="40" y="257"/>
                  </a:lnTo>
                  <a:lnTo>
                    <a:pt x="42" y="257"/>
                  </a:lnTo>
                  <a:lnTo>
                    <a:pt x="52" y="255"/>
                  </a:lnTo>
                  <a:lnTo>
                    <a:pt x="54" y="255"/>
                  </a:lnTo>
                  <a:lnTo>
                    <a:pt x="58" y="257"/>
                  </a:lnTo>
                  <a:lnTo>
                    <a:pt x="68" y="271"/>
                  </a:lnTo>
                  <a:lnTo>
                    <a:pt x="72" y="277"/>
                  </a:lnTo>
                  <a:lnTo>
                    <a:pt x="76" y="281"/>
                  </a:lnTo>
                  <a:lnTo>
                    <a:pt x="82" y="287"/>
                  </a:lnTo>
                  <a:lnTo>
                    <a:pt x="84" y="291"/>
                  </a:lnTo>
                  <a:lnTo>
                    <a:pt x="88" y="295"/>
                  </a:lnTo>
                  <a:lnTo>
                    <a:pt x="88" y="299"/>
                  </a:lnTo>
                  <a:lnTo>
                    <a:pt x="90" y="299"/>
                  </a:lnTo>
                  <a:lnTo>
                    <a:pt x="96" y="297"/>
                  </a:lnTo>
                  <a:lnTo>
                    <a:pt x="100" y="297"/>
                  </a:lnTo>
                  <a:lnTo>
                    <a:pt x="103" y="297"/>
                  </a:lnTo>
                  <a:lnTo>
                    <a:pt x="107" y="299"/>
                  </a:lnTo>
                  <a:lnTo>
                    <a:pt x="111" y="305"/>
                  </a:lnTo>
                  <a:lnTo>
                    <a:pt x="113" y="313"/>
                  </a:lnTo>
                  <a:lnTo>
                    <a:pt x="117" y="319"/>
                  </a:lnTo>
                  <a:lnTo>
                    <a:pt x="119" y="323"/>
                  </a:lnTo>
                  <a:lnTo>
                    <a:pt x="129" y="331"/>
                  </a:lnTo>
                  <a:lnTo>
                    <a:pt x="141" y="323"/>
                  </a:lnTo>
                  <a:lnTo>
                    <a:pt x="149" y="335"/>
                  </a:lnTo>
                  <a:lnTo>
                    <a:pt x="141" y="339"/>
                  </a:lnTo>
                  <a:lnTo>
                    <a:pt x="151" y="351"/>
                  </a:lnTo>
                  <a:lnTo>
                    <a:pt x="159" y="357"/>
                  </a:lnTo>
                  <a:lnTo>
                    <a:pt x="159" y="367"/>
                  </a:lnTo>
                  <a:lnTo>
                    <a:pt x="159" y="369"/>
                  </a:lnTo>
                  <a:lnTo>
                    <a:pt x="159" y="369"/>
                  </a:lnTo>
                  <a:lnTo>
                    <a:pt x="171" y="367"/>
                  </a:lnTo>
                  <a:lnTo>
                    <a:pt x="183" y="381"/>
                  </a:lnTo>
                  <a:lnTo>
                    <a:pt x="179" y="389"/>
                  </a:lnTo>
                  <a:lnTo>
                    <a:pt x="183" y="395"/>
                  </a:lnTo>
                  <a:lnTo>
                    <a:pt x="187" y="393"/>
                  </a:lnTo>
                  <a:lnTo>
                    <a:pt x="197" y="391"/>
                  </a:lnTo>
                  <a:lnTo>
                    <a:pt x="221" y="401"/>
                  </a:lnTo>
                  <a:lnTo>
                    <a:pt x="241" y="387"/>
                  </a:lnTo>
                  <a:lnTo>
                    <a:pt x="235" y="373"/>
                  </a:lnTo>
                  <a:lnTo>
                    <a:pt x="257" y="359"/>
                  </a:lnTo>
                  <a:lnTo>
                    <a:pt x="265" y="359"/>
                  </a:lnTo>
                  <a:lnTo>
                    <a:pt x="291" y="339"/>
                  </a:lnTo>
                  <a:lnTo>
                    <a:pt x="275" y="319"/>
                  </a:lnTo>
                  <a:lnTo>
                    <a:pt x="269" y="323"/>
                  </a:lnTo>
                  <a:lnTo>
                    <a:pt x="265" y="317"/>
                  </a:lnTo>
                  <a:lnTo>
                    <a:pt x="249" y="325"/>
                  </a:lnTo>
                  <a:lnTo>
                    <a:pt x="251" y="331"/>
                  </a:lnTo>
                  <a:lnTo>
                    <a:pt x="245" y="335"/>
                  </a:lnTo>
                  <a:lnTo>
                    <a:pt x="241" y="327"/>
                  </a:lnTo>
                  <a:lnTo>
                    <a:pt x="233" y="323"/>
                  </a:lnTo>
                  <a:lnTo>
                    <a:pt x="227" y="325"/>
                  </a:lnTo>
                  <a:lnTo>
                    <a:pt x="225" y="321"/>
                  </a:lnTo>
                  <a:lnTo>
                    <a:pt x="223" y="319"/>
                  </a:lnTo>
                  <a:lnTo>
                    <a:pt x="229" y="317"/>
                  </a:lnTo>
                  <a:lnTo>
                    <a:pt x="227" y="315"/>
                  </a:lnTo>
                  <a:lnTo>
                    <a:pt x="227" y="313"/>
                  </a:lnTo>
                  <a:lnTo>
                    <a:pt x="227" y="311"/>
                  </a:lnTo>
                  <a:lnTo>
                    <a:pt x="231" y="305"/>
                  </a:lnTo>
                  <a:lnTo>
                    <a:pt x="239" y="299"/>
                  </a:lnTo>
                  <a:lnTo>
                    <a:pt x="245" y="289"/>
                  </a:lnTo>
                  <a:lnTo>
                    <a:pt x="255" y="287"/>
                  </a:lnTo>
                  <a:lnTo>
                    <a:pt x="265" y="287"/>
                  </a:lnTo>
                  <a:lnTo>
                    <a:pt x="267" y="287"/>
                  </a:lnTo>
                  <a:lnTo>
                    <a:pt x="263" y="271"/>
                  </a:lnTo>
                  <a:lnTo>
                    <a:pt x="273" y="259"/>
                  </a:lnTo>
                  <a:lnTo>
                    <a:pt x="275" y="251"/>
                  </a:lnTo>
                  <a:lnTo>
                    <a:pt x="277" y="245"/>
                  </a:lnTo>
                  <a:lnTo>
                    <a:pt x="277" y="241"/>
                  </a:lnTo>
                  <a:lnTo>
                    <a:pt x="275" y="233"/>
                  </a:lnTo>
                  <a:lnTo>
                    <a:pt x="273" y="227"/>
                  </a:lnTo>
                  <a:lnTo>
                    <a:pt x="269" y="219"/>
                  </a:lnTo>
                  <a:lnTo>
                    <a:pt x="269" y="209"/>
                  </a:lnTo>
                  <a:lnTo>
                    <a:pt x="269" y="207"/>
                  </a:lnTo>
                  <a:lnTo>
                    <a:pt x="271" y="205"/>
                  </a:lnTo>
                  <a:lnTo>
                    <a:pt x="273" y="202"/>
                  </a:lnTo>
                  <a:lnTo>
                    <a:pt x="295" y="213"/>
                  </a:lnTo>
                  <a:lnTo>
                    <a:pt x="305" y="225"/>
                  </a:lnTo>
                  <a:lnTo>
                    <a:pt x="322" y="235"/>
                  </a:lnTo>
                  <a:lnTo>
                    <a:pt x="322" y="241"/>
                  </a:lnTo>
                  <a:lnTo>
                    <a:pt x="322" y="245"/>
                  </a:lnTo>
                  <a:lnTo>
                    <a:pt x="322" y="247"/>
                  </a:lnTo>
                  <a:lnTo>
                    <a:pt x="324" y="255"/>
                  </a:lnTo>
                  <a:lnTo>
                    <a:pt x="332" y="251"/>
                  </a:lnTo>
                  <a:lnTo>
                    <a:pt x="338" y="257"/>
                  </a:lnTo>
                  <a:lnTo>
                    <a:pt x="344" y="253"/>
                  </a:lnTo>
                  <a:lnTo>
                    <a:pt x="354" y="265"/>
                  </a:lnTo>
                  <a:lnTo>
                    <a:pt x="362" y="263"/>
                  </a:lnTo>
                  <a:lnTo>
                    <a:pt x="376" y="275"/>
                  </a:lnTo>
                  <a:lnTo>
                    <a:pt x="388" y="263"/>
                  </a:lnTo>
                  <a:lnTo>
                    <a:pt x="384" y="253"/>
                  </a:lnTo>
                  <a:lnTo>
                    <a:pt x="390" y="231"/>
                  </a:lnTo>
                  <a:lnTo>
                    <a:pt x="380" y="221"/>
                  </a:lnTo>
                  <a:lnTo>
                    <a:pt x="410" y="186"/>
                  </a:lnTo>
                  <a:lnTo>
                    <a:pt x="394" y="182"/>
                  </a:lnTo>
                  <a:lnTo>
                    <a:pt x="378" y="182"/>
                  </a:lnTo>
                  <a:lnTo>
                    <a:pt x="378" y="182"/>
                  </a:lnTo>
                  <a:lnTo>
                    <a:pt x="378" y="182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44" name="Freeform 103"/>
            <p:cNvSpPr>
              <a:spLocks/>
            </p:cNvSpPr>
            <p:nvPr/>
          </p:nvSpPr>
          <p:spPr bwMode="auto">
            <a:xfrm>
              <a:off x="1900" y="1651"/>
              <a:ext cx="488" cy="339"/>
            </a:xfrm>
            <a:custGeom>
              <a:avLst/>
              <a:gdLst>
                <a:gd name="T0" fmla="*/ 480 w 488"/>
                <a:gd name="T1" fmla="*/ 269 h 339"/>
                <a:gd name="T2" fmla="*/ 470 w 488"/>
                <a:gd name="T3" fmla="*/ 235 h 339"/>
                <a:gd name="T4" fmla="*/ 440 w 488"/>
                <a:gd name="T5" fmla="*/ 204 h 339"/>
                <a:gd name="T6" fmla="*/ 427 w 488"/>
                <a:gd name="T7" fmla="*/ 190 h 339"/>
                <a:gd name="T8" fmla="*/ 413 w 488"/>
                <a:gd name="T9" fmla="*/ 196 h 339"/>
                <a:gd name="T10" fmla="*/ 405 w 488"/>
                <a:gd name="T11" fmla="*/ 206 h 339"/>
                <a:gd name="T12" fmla="*/ 399 w 488"/>
                <a:gd name="T13" fmla="*/ 233 h 339"/>
                <a:gd name="T14" fmla="*/ 373 w 488"/>
                <a:gd name="T15" fmla="*/ 239 h 339"/>
                <a:gd name="T16" fmla="*/ 359 w 488"/>
                <a:gd name="T17" fmla="*/ 249 h 339"/>
                <a:gd name="T18" fmla="*/ 349 w 488"/>
                <a:gd name="T19" fmla="*/ 237 h 339"/>
                <a:gd name="T20" fmla="*/ 359 w 488"/>
                <a:gd name="T21" fmla="*/ 225 h 339"/>
                <a:gd name="T22" fmla="*/ 367 w 488"/>
                <a:gd name="T23" fmla="*/ 216 h 339"/>
                <a:gd name="T24" fmla="*/ 341 w 488"/>
                <a:gd name="T25" fmla="*/ 206 h 339"/>
                <a:gd name="T26" fmla="*/ 313 w 488"/>
                <a:gd name="T27" fmla="*/ 202 h 339"/>
                <a:gd name="T28" fmla="*/ 289 w 488"/>
                <a:gd name="T29" fmla="*/ 190 h 339"/>
                <a:gd name="T30" fmla="*/ 265 w 488"/>
                <a:gd name="T31" fmla="*/ 190 h 339"/>
                <a:gd name="T32" fmla="*/ 241 w 488"/>
                <a:gd name="T33" fmla="*/ 174 h 339"/>
                <a:gd name="T34" fmla="*/ 245 w 488"/>
                <a:gd name="T35" fmla="*/ 170 h 339"/>
                <a:gd name="T36" fmla="*/ 259 w 488"/>
                <a:gd name="T37" fmla="*/ 172 h 339"/>
                <a:gd name="T38" fmla="*/ 273 w 488"/>
                <a:gd name="T39" fmla="*/ 152 h 339"/>
                <a:gd name="T40" fmla="*/ 259 w 488"/>
                <a:gd name="T41" fmla="*/ 142 h 339"/>
                <a:gd name="T42" fmla="*/ 152 w 488"/>
                <a:gd name="T43" fmla="*/ 126 h 339"/>
                <a:gd name="T44" fmla="*/ 126 w 488"/>
                <a:gd name="T45" fmla="*/ 120 h 339"/>
                <a:gd name="T46" fmla="*/ 108 w 488"/>
                <a:gd name="T47" fmla="*/ 136 h 339"/>
                <a:gd name="T48" fmla="*/ 92 w 488"/>
                <a:gd name="T49" fmla="*/ 142 h 339"/>
                <a:gd name="T50" fmla="*/ 72 w 488"/>
                <a:gd name="T51" fmla="*/ 128 h 339"/>
                <a:gd name="T52" fmla="*/ 68 w 488"/>
                <a:gd name="T53" fmla="*/ 104 h 339"/>
                <a:gd name="T54" fmla="*/ 72 w 488"/>
                <a:gd name="T55" fmla="*/ 78 h 339"/>
                <a:gd name="T56" fmla="*/ 94 w 488"/>
                <a:gd name="T57" fmla="*/ 74 h 339"/>
                <a:gd name="T58" fmla="*/ 116 w 488"/>
                <a:gd name="T59" fmla="*/ 90 h 339"/>
                <a:gd name="T60" fmla="*/ 130 w 488"/>
                <a:gd name="T61" fmla="*/ 68 h 339"/>
                <a:gd name="T62" fmla="*/ 126 w 488"/>
                <a:gd name="T63" fmla="*/ 42 h 339"/>
                <a:gd name="T64" fmla="*/ 110 w 488"/>
                <a:gd name="T65" fmla="*/ 18 h 339"/>
                <a:gd name="T66" fmla="*/ 102 w 488"/>
                <a:gd name="T67" fmla="*/ 10 h 339"/>
                <a:gd name="T68" fmla="*/ 98 w 488"/>
                <a:gd name="T69" fmla="*/ 38 h 339"/>
                <a:gd name="T70" fmla="*/ 48 w 488"/>
                <a:gd name="T71" fmla="*/ 66 h 339"/>
                <a:gd name="T72" fmla="*/ 38 w 488"/>
                <a:gd name="T73" fmla="*/ 92 h 339"/>
                <a:gd name="T74" fmla="*/ 8 w 488"/>
                <a:gd name="T75" fmla="*/ 108 h 339"/>
                <a:gd name="T76" fmla="*/ 0 w 488"/>
                <a:gd name="T77" fmla="*/ 126 h 339"/>
                <a:gd name="T78" fmla="*/ 46 w 488"/>
                <a:gd name="T79" fmla="*/ 198 h 339"/>
                <a:gd name="T80" fmla="*/ 152 w 488"/>
                <a:gd name="T81" fmla="*/ 212 h 339"/>
                <a:gd name="T82" fmla="*/ 166 w 488"/>
                <a:gd name="T83" fmla="*/ 206 h 339"/>
                <a:gd name="T84" fmla="*/ 204 w 488"/>
                <a:gd name="T85" fmla="*/ 235 h 339"/>
                <a:gd name="T86" fmla="*/ 349 w 488"/>
                <a:gd name="T87" fmla="*/ 339 h 339"/>
                <a:gd name="T88" fmla="*/ 381 w 488"/>
                <a:gd name="T89" fmla="*/ 339 h 339"/>
                <a:gd name="T90" fmla="*/ 395 w 488"/>
                <a:gd name="T91" fmla="*/ 329 h 339"/>
                <a:gd name="T92" fmla="*/ 421 w 488"/>
                <a:gd name="T93" fmla="*/ 325 h 339"/>
                <a:gd name="T94" fmla="*/ 429 w 488"/>
                <a:gd name="T95" fmla="*/ 317 h 339"/>
                <a:gd name="T96" fmla="*/ 450 w 488"/>
                <a:gd name="T97" fmla="*/ 309 h 339"/>
                <a:gd name="T98" fmla="*/ 470 w 488"/>
                <a:gd name="T99" fmla="*/ 313 h 339"/>
                <a:gd name="T100" fmla="*/ 470 w 488"/>
                <a:gd name="T101" fmla="*/ 291 h 339"/>
                <a:gd name="T102" fmla="*/ 462 w 488"/>
                <a:gd name="T103" fmla="*/ 279 h 339"/>
                <a:gd name="T104" fmla="*/ 462 w 488"/>
                <a:gd name="T105" fmla="*/ 279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88" h="339">
                  <a:moveTo>
                    <a:pt x="462" y="279"/>
                  </a:moveTo>
                  <a:lnTo>
                    <a:pt x="462" y="275"/>
                  </a:lnTo>
                  <a:lnTo>
                    <a:pt x="464" y="273"/>
                  </a:lnTo>
                  <a:lnTo>
                    <a:pt x="480" y="269"/>
                  </a:lnTo>
                  <a:lnTo>
                    <a:pt x="488" y="265"/>
                  </a:lnTo>
                  <a:lnTo>
                    <a:pt x="480" y="249"/>
                  </a:lnTo>
                  <a:lnTo>
                    <a:pt x="474" y="243"/>
                  </a:lnTo>
                  <a:lnTo>
                    <a:pt x="470" y="235"/>
                  </a:lnTo>
                  <a:lnTo>
                    <a:pt x="458" y="223"/>
                  </a:lnTo>
                  <a:lnTo>
                    <a:pt x="446" y="214"/>
                  </a:lnTo>
                  <a:lnTo>
                    <a:pt x="442" y="210"/>
                  </a:lnTo>
                  <a:lnTo>
                    <a:pt x="440" y="204"/>
                  </a:lnTo>
                  <a:lnTo>
                    <a:pt x="436" y="198"/>
                  </a:lnTo>
                  <a:lnTo>
                    <a:pt x="434" y="192"/>
                  </a:lnTo>
                  <a:lnTo>
                    <a:pt x="429" y="190"/>
                  </a:lnTo>
                  <a:lnTo>
                    <a:pt x="427" y="190"/>
                  </a:lnTo>
                  <a:lnTo>
                    <a:pt x="425" y="192"/>
                  </a:lnTo>
                  <a:lnTo>
                    <a:pt x="423" y="194"/>
                  </a:lnTo>
                  <a:lnTo>
                    <a:pt x="421" y="196"/>
                  </a:lnTo>
                  <a:lnTo>
                    <a:pt x="413" y="196"/>
                  </a:lnTo>
                  <a:lnTo>
                    <a:pt x="413" y="196"/>
                  </a:lnTo>
                  <a:lnTo>
                    <a:pt x="407" y="198"/>
                  </a:lnTo>
                  <a:lnTo>
                    <a:pt x="407" y="200"/>
                  </a:lnTo>
                  <a:lnTo>
                    <a:pt x="405" y="206"/>
                  </a:lnTo>
                  <a:lnTo>
                    <a:pt x="403" y="218"/>
                  </a:lnTo>
                  <a:lnTo>
                    <a:pt x="403" y="225"/>
                  </a:lnTo>
                  <a:lnTo>
                    <a:pt x="401" y="229"/>
                  </a:lnTo>
                  <a:lnTo>
                    <a:pt x="399" y="233"/>
                  </a:lnTo>
                  <a:lnTo>
                    <a:pt x="393" y="235"/>
                  </a:lnTo>
                  <a:lnTo>
                    <a:pt x="387" y="239"/>
                  </a:lnTo>
                  <a:lnTo>
                    <a:pt x="377" y="239"/>
                  </a:lnTo>
                  <a:lnTo>
                    <a:pt x="373" y="239"/>
                  </a:lnTo>
                  <a:lnTo>
                    <a:pt x="371" y="239"/>
                  </a:lnTo>
                  <a:lnTo>
                    <a:pt x="369" y="241"/>
                  </a:lnTo>
                  <a:lnTo>
                    <a:pt x="367" y="245"/>
                  </a:lnTo>
                  <a:lnTo>
                    <a:pt x="359" y="249"/>
                  </a:lnTo>
                  <a:lnTo>
                    <a:pt x="357" y="249"/>
                  </a:lnTo>
                  <a:lnTo>
                    <a:pt x="355" y="247"/>
                  </a:lnTo>
                  <a:lnTo>
                    <a:pt x="351" y="243"/>
                  </a:lnTo>
                  <a:lnTo>
                    <a:pt x="349" y="237"/>
                  </a:lnTo>
                  <a:lnTo>
                    <a:pt x="349" y="233"/>
                  </a:lnTo>
                  <a:lnTo>
                    <a:pt x="351" y="229"/>
                  </a:lnTo>
                  <a:lnTo>
                    <a:pt x="353" y="227"/>
                  </a:lnTo>
                  <a:lnTo>
                    <a:pt x="359" y="225"/>
                  </a:lnTo>
                  <a:lnTo>
                    <a:pt x="365" y="223"/>
                  </a:lnTo>
                  <a:lnTo>
                    <a:pt x="367" y="220"/>
                  </a:lnTo>
                  <a:lnTo>
                    <a:pt x="367" y="218"/>
                  </a:lnTo>
                  <a:lnTo>
                    <a:pt x="367" y="216"/>
                  </a:lnTo>
                  <a:lnTo>
                    <a:pt x="361" y="214"/>
                  </a:lnTo>
                  <a:lnTo>
                    <a:pt x="357" y="212"/>
                  </a:lnTo>
                  <a:lnTo>
                    <a:pt x="349" y="210"/>
                  </a:lnTo>
                  <a:lnTo>
                    <a:pt x="341" y="206"/>
                  </a:lnTo>
                  <a:lnTo>
                    <a:pt x="325" y="206"/>
                  </a:lnTo>
                  <a:lnTo>
                    <a:pt x="319" y="206"/>
                  </a:lnTo>
                  <a:lnTo>
                    <a:pt x="315" y="206"/>
                  </a:lnTo>
                  <a:lnTo>
                    <a:pt x="313" y="202"/>
                  </a:lnTo>
                  <a:lnTo>
                    <a:pt x="311" y="198"/>
                  </a:lnTo>
                  <a:lnTo>
                    <a:pt x="305" y="194"/>
                  </a:lnTo>
                  <a:lnTo>
                    <a:pt x="297" y="192"/>
                  </a:lnTo>
                  <a:lnTo>
                    <a:pt x="289" y="190"/>
                  </a:lnTo>
                  <a:lnTo>
                    <a:pt x="281" y="190"/>
                  </a:lnTo>
                  <a:lnTo>
                    <a:pt x="275" y="190"/>
                  </a:lnTo>
                  <a:lnTo>
                    <a:pt x="267" y="192"/>
                  </a:lnTo>
                  <a:lnTo>
                    <a:pt x="265" y="190"/>
                  </a:lnTo>
                  <a:lnTo>
                    <a:pt x="263" y="190"/>
                  </a:lnTo>
                  <a:lnTo>
                    <a:pt x="257" y="182"/>
                  </a:lnTo>
                  <a:lnTo>
                    <a:pt x="251" y="176"/>
                  </a:lnTo>
                  <a:lnTo>
                    <a:pt x="241" y="174"/>
                  </a:lnTo>
                  <a:lnTo>
                    <a:pt x="241" y="172"/>
                  </a:lnTo>
                  <a:lnTo>
                    <a:pt x="241" y="170"/>
                  </a:lnTo>
                  <a:lnTo>
                    <a:pt x="245" y="170"/>
                  </a:lnTo>
                  <a:lnTo>
                    <a:pt x="245" y="170"/>
                  </a:lnTo>
                  <a:lnTo>
                    <a:pt x="253" y="172"/>
                  </a:lnTo>
                  <a:lnTo>
                    <a:pt x="255" y="174"/>
                  </a:lnTo>
                  <a:lnTo>
                    <a:pt x="257" y="172"/>
                  </a:lnTo>
                  <a:lnTo>
                    <a:pt x="259" y="172"/>
                  </a:lnTo>
                  <a:lnTo>
                    <a:pt x="261" y="168"/>
                  </a:lnTo>
                  <a:lnTo>
                    <a:pt x="263" y="164"/>
                  </a:lnTo>
                  <a:lnTo>
                    <a:pt x="273" y="154"/>
                  </a:lnTo>
                  <a:lnTo>
                    <a:pt x="273" y="152"/>
                  </a:lnTo>
                  <a:lnTo>
                    <a:pt x="275" y="150"/>
                  </a:lnTo>
                  <a:lnTo>
                    <a:pt x="273" y="148"/>
                  </a:lnTo>
                  <a:lnTo>
                    <a:pt x="267" y="144"/>
                  </a:lnTo>
                  <a:lnTo>
                    <a:pt x="259" y="142"/>
                  </a:lnTo>
                  <a:lnTo>
                    <a:pt x="245" y="142"/>
                  </a:lnTo>
                  <a:lnTo>
                    <a:pt x="231" y="136"/>
                  </a:lnTo>
                  <a:lnTo>
                    <a:pt x="209" y="132"/>
                  </a:lnTo>
                  <a:lnTo>
                    <a:pt x="152" y="126"/>
                  </a:lnTo>
                  <a:lnTo>
                    <a:pt x="146" y="126"/>
                  </a:lnTo>
                  <a:lnTo>
                    <a:pt x="138" y="122"/>
                  </a:lnTo>
                  <a:lnTo>
                    <a:pt x="128" y="120"/>
                  </a:lnTo>
                  <a:lnTo>
                    <a:pt x="126" y="120"/>
                  </a:lnTo>
                  <a:lnTo>
                    <a:pt x="124" y="122"/>
                  </a:lnTo>
                  <a:lnTo>
                    <a:pt x="120" y="124"/>
                  </a:lnTo>
                  <a:lnTo>
                    <a:pt x="118" y="128"/>
                  </a:lnTo>
                  <a:lnTo>
                    <a:pt x="108" y="136"/>
                  </a:lnTo>
                  <a:lnTo>
                    <a:pt x="104" y="142"/>
                  </a:lnTo>
                  <a:lnTo>
                    <a:pt x="100" y="144"/>
                  </a:lnTo>
                  <a:lnTo>
                    <a:pt x="98" y="144"/>
                  </a:lnTo>
                  <a:lnTo>
                    <a:pt x="92" y="142"/>
                  </a:lnTo>
                  <a:lnTo>
                    <a:pt x="82" y="134"/>
                  </a:lnTo>
                  <a:lnTo>
                    <a:pt x="78" y="132"/>
                  </a:lnTo>
                  <a:lnTo>
                    <a:pt x="74" y="132"/>
                  </a:lnTo>
                  <a:lnTo>
                    <a:pt x="72" y="128"/>
                  </a:lnTo>
                  <a:lnTo>
                    <a:pt x="68" y="122"/>
                  </a:lnTo>
                  <a:lnTo>
                    <a:pt x="68" y="118"/>
                  </a:lnTo>
                  <a:lnTo>
                    <a:pt x="68" y="112"/>
                  </a:lnTo>
                  <a:lnTo>
                    <a:pt x="68" y="104"/>
                  </a:lnTo>
                  <a:lnTo>
                    <a:pt x="70" y="96"/>
                  </a:lnTo>
                  <a:lnTo>
                    <a:pt x="70" y="86"/>
                  </a:lnTo>
                  <a:lnTo>
                    <a:pt x="72" y="80"/>
                  </a:lnTo>
                  <a:lnTo>
                    <a:pt x="72" y="78"/>
                  </a:lnTo>
                  <a:lnTo>
                    <a:pt x="74" y="76"/>
                  </a:lnTo>
                  <a:lnTo>
                    <a:pt x="80" y="74"/>
                  </a:lnTo>
                  <a:lnTo>
                    <a:pt x="86" y="74"/>
                  </a:lnTo>
                  <a:lnTo>
                    <a:pt x="94" y="74"/>
                  </a:lnTo>
                  <a:lnTo>
                    <a:pt x="102" y="80"/>
                  </a:lnTo>
                  <a:lnTo>
                    <a:pt x="108" y="86"/>
                  </a:lnTo>
                  <a:lnTo>
                    <a:pt x="116" y="90"/>
                  </a:lnTo>
                  <a:lnTo>
                    <a:pt x="116" y="90"/>
                  </a:lnTo>
                  <a:lnTo>
                    <a:pt x="120" y="88"/>
                  </a:lnTo>
                  <a:lnTo>
                    <a:pt x="124" y="84"/>
                  </a:lnTo>
                  <a:lnTo>
                    <a:pt x="126" y="78"/>
                  </a:lnTo>
                  <a:lnTo>
                    <a:pt x="130" y="68"/>
                  </a:lnTo>
                  <a:lnTo>
                    <a:pt x="132" y="60"/>
                  </a:lnTo>
                  <a:lnTo>
                    <a:pt x="130" y="52"/>
                  </a:lnTo>
                  <a:lnTo>
                    <a:pt x="128" y="44"/>
                  </a:lnTo>
                  <a:lnTo>
                    <a:pt x="126" y="42"/>
                  </a:lnTo>
                  <a:lnTo>
                    <a:pt x="120" y="32"/>
                  </a:lnTo>
                  <a:lnTo>
                    <a:pt x="114" y="24"/>
                  </a:lnTo>
                  <a:lnTo>
                    <a:pt x="110" y="20"/>
                  </a:lnTo>
                  <a:lnTo>
                    <a:pt x="110" y="18"/>
                  </a:lnTo>
                  <a:lnTo>
                    <a:pt x="106" y="6"/>
                  </a:lnTo>
                  <a:lnTo>
                    <a:pt x="106" y="0"/>
                  </a:lnTo>
                  <a:lnTo>
                    <a:pt x="104" y="0"/>
                  </a:lnTo>
                  <a:lnTo>
                    <a:pt x="102" y="10"/>
                  </a:lnTo>
                  <a:lnTo>
                    <a:pt x="102" y="18"/>
                  </a:lnTo>
                  <a:lnTo>
                    <a:pt x="100" y="30"/>
                  </a:lnTo>
                  <a:lnTo>
                    <a:pt x="100" y="34"/>
                  </a:lnTo>
                  <a:lnTo>
                    <a:pt x="98" y="38"/>
                  </a:lnTo>
                  <a:lnTo>
                    <a:pt x="84" y="44"/>
                  </a:lnTo>
                  <a:lnTo>
                    <a:pt x="68" y="54"/>
                  </a:lnTo>
                  <a:lnTo>
                    <a:pt x="52" y="62"/>
                  </a:lnTo>
                  <a:lnTo>
                    <a:pt x="48" y="66"/>
                  </a:lnTo>
                  <a:lnTo>
                    <a:pt x="46" y="68"/>
                  </a:lnTo>
                  <a:lnTo>
                    <a:pt x="44" y="82"/>
                  </a:lnTo>
                  <a:lnTo>
                    <a:pt x="44" y="88"/>
                  </a:lnTo>
                  <a:lnTo>
                    <a:pt x="38" y="92"/>
                  </a:lnTo>
                  <a:lnTo>
                    <a:pt x="34" y="96"/>
                  </a:lnTo>
                  <a:lnTo>
                    <a:pt x="30" y="100"/>
                  </a:lnTo>
                  <a:lnTo>
                    <a:pt x="22" y="104"/>
                  </a:lnTo>
                  <a:lnTo>
                    <a:pt x="8" y="108"/>
                  </a:lnTo>
                  <a:lnTo>
                    <a:pt x="4" y="112"/>
                  </a:lnTo>
                  <a:lnTo>
                    <a:pt x="2" y="118"/>
                  </a:lnTo>
                  <a:lnTo>
                    <a:pt x="0" y="118"/>
                  </a:lnTo>
                  <a:lnTo>
                    <a:pt x="0" y="126"/>
                  </a:lnTo>
                  <a:lnTo>
                    <a:pt x="2" y="142"/>
                  </a:lnTo>
                  <a:lnTo>
                    <a:pt x="10" y="166"/>
                  </a:lnTo>
                  <a:lnTo>
                    <a:pt x="24" y="188"/>
                  </a:lnTo>
                  <a:lnTo>
                    <a:pt x="46" y="198"/>
                  </a:lnTo>
                  <a:lnTo>
                    <a:pt x="62" y="198"/>
                  </a:lnTo>
                  <a:lnTo>
                    <a:pt x="78" y="202"/>
                  </a:lnTo>
                  <a:lnTo>
                    <a:pt x="80" y="200"/>
                  </a:lnTo>
                  <a:lnTo>
                    <a:pt x="152" y="212"/>
                  </a:lnTo>
                  <a:lnTo>
                    <a:pt x="156" y="206"/>
                  </a:lnTo>
                  <a:lnTo>
                    <a:pt x="162" y="206"/>
                  </a:lnTo>
                  <a:lnTo>
                    <a:pt x="162" y="206"/>
                  </a:lnTo>
                  <a:lnTo>
                    <a:pt x="166" y="206"/>
                  </a:lnTo>
                  <a:lnTo>
                    <a:pt x="170" y="210"/>
                  </a:lnTo>
                  <a:lnTo>
                    <a:pt x="176" y="210"/>
                  </a:lnTo>
                  <a:lnTo>
                    <a:pt x="190" y="221"/>
                  </a:lnTo>
                  <a:lnTo>
                    <a:pt x="204" y="235"/>
                  </a:lnTo>
                  <a:lnTo>
                    <a:pt x="215" y="247"/>
                  </a:lnTo>
                  <a:lnTo>
                    <a:pt x="281" y="295"/>
                  </a:lnTo>
                  <a:lnTo>
                    <a:pt x="323" y="325"/>
                  </a:lnTo>
                  <a:lnTo>
                    <a:pt x="349" y="339"/>
                  </a:lnTo>
                  <a:lnTo>
                    <a:pt x="357" y="337"/>
                  </a:lnTo>
                  <a:lnTo>
                    <a:pt x="365" y="337"/>
                  </a:lnTo>
                  <a:lnTo>
                    <a:pt x="373" y="339"/>
                  </a:lnTo>
                  <a:lnTo>
                    <a:pt x="381" y="339"/>
                  </a:lnTo>
                  <a:lnTo>
                    <a:pt x="387" y="337"/>
                  </a:lnTo>
                  <a:lnTo>
                    <a:pt x="387" y="337"/>
                  </a:lnTo>
                  <a:lnTo>
                    <a:pt x="393" y="331"/>
                  </a:lnTo>
                  <a:lnTo>
                    <a:pt x="395" y="329"/>
                  </a:lnTo>
                  <a:lnTo>
                    <a:pt x="399" y="327"/>
                  </a:lnTo>
                  <a:lnTo>
                    <a:pt x="413" y="325"/>
                  </a:lnTo>
                  <a:lnTo>
                    <a:pt x="419" y="325"/>
                  </a:lnTo>
                  <a:lnTo>
                    <a:pt x="421" y="325"/>
                  </a:lnTo>
                  <a:lnTo>
                    <a:pt x="421" y="319"/>
                  </a:lnTo>
                  <a:lnTo>
                    <a:pt x="425" y="319"/>
                  </a:lnTo>
                  <a:lnTo>
                    <a:pt x="427" y="317"/>
                  </a:lnTo>
                  <a:lnTo>
                    <a:pt x="429" y="317"/>
                  </a:lnTo>
                  <a:lnTo>
                    <a:pt x="436" y="315"/>
                  </a:lnTo>
                  <a:lnTo>
                    <a:pt x="442" y="311"/>
                  </a:lnTo>
                  <a:lnTo>
                    <a:pt x="448" y="309"/>
                  </a:lnTo>
                  <a:lnTo>
                    <a:pt x="450" y="309"/>
                  </a:lnTo>
                  <a:lnTo>
                    <a:pt x="458" y="311"/>
                  </a:lnTo>
                  <a:lnTo>
                    <a:pt x="466" y="313"/>
                  </a:lnTo>
                  <a:lnTo>
                    <a:pt x="468" y="313"/>
                  </a:lnTo>
                  <a:lnTo>
                    <a:pt x="470" y="313"/>
                  </a:lnTo>
                  <a:lnTo>
                    <a:pt x="470" y="309"/>
                  </a:lnTo>
                  <a:lnTo>
                    <a:pt x="472" y="307"/>
                  </a:lnTo>
                  <a:lnTo>
                    <a:pt x="470" y="297"/>
                  </a:lnTo>
                  <a:lnTo>
                    <a:pt x="470" y="291"/>
                  </a:lnTo>
                  <a:lnTo>
                    <a:pt x="470" y="289"/>
                  </a:lnTo>
                  <a:lnTo>
                    <a:pt x="468" y="287"/>
                  </a:lnTo>
                  <a:lnTo>
                    <a:pt x="464" y="283"/>
                  </a:lnTo>
                  <a:lnTo>
                    <a:pt x="462" y="279"/>
                  </a:lnTo>
                  <a:lnTo>
                    <a:pt x="462" y="279"/>
                  </a:lnTo>
                  <a:lnTo>
                    <a:pt x="462" y="279"/>
                  </a:lnTo>
                  <a:lnTo>
                    <a:pt x="462" y="279"/>
                  </a:lnTo>
                  <a:lnTo>
                    <a:pt x="462" y="279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45" name="Freeform 104"/>
            <p:cNvSpPr>
              <a:spLocks/>
            </p:cNvSpPr>
            <p:nvPr/>
          </p:nvSpPr>
          <p:spPr bwMode="auto">
            <a:xfrm>
              <a:off x="899" y="2673"/>
              <a:ext cx="84" cy="60"/>
            </a:xfrm>
            <a:custGeom>
              <a:avLst/>
              <a:gdLst>
                <a:gd name="T0" fmla="*/ 58 w 84"/>
                <a:gd name="T1" fmla="*/ 40 h 60"/>
                <a:gd name="T2" fmla="*/ 74 w 84"/>
                <a:gd name="T3" fmla="*/ 34 h 60"/>
                <a:gd name="T4" fmla="*/ 84 w 84"/>
                <a:gd name="T5" fmla="*/ 26 h 60"/>
                <a:gd name="T6" fmla="*/ 82 w 84"/>
                <a:gd name="T7" fmla="*/ 22 h 60"/>
                <a:gd name="T8" fmla="*/ 80 w 84"/>
                <a:gd name="T9" fmla="*/ 14 h 60"/>
                <a:gd name="T10" fmla="*/ 76 w 84"/>
                <a:gd name="T11" fmla="*/ 14 h 60"/>
                <a:gd name="T12" fmla="*/ 72 w 84"/>
                <a:gd name="T13" fmla="*/ 16 h 60"/>
                <a:gd name="T14" fmla="*/ 66 w 84"/>
                <a:gd name="T15" fmla="*/ 12 h 60"/>
                <a:gd name="T16" fmla="*/ 66 w 84"/>
                <a:gd name="T17" fmla="*/ 10 h 60"/>
                <a:gd name="T18" fmla="*/ 68 w 84"/>
                <a:gd name="T19" fmla="*/ 6 h 60"/>
                <a:gd name="T20" fmla="*/ 66 w 84"/>
                <a:gd name="T21" fmla="*/ 4 h 60"/>
                <a:gd name="T22" fmla="*/ 64 w 84"/>
                <a:gd name="T23" fmla="*/ 2 h 60"/>
                <a:gd name="T24" fmla="*/ 60 w 84"/>
                <a:gd name="T25" fmla="*/ 4 h 60"/>
                <a:gd name="T26" fmla="*/ 58 w 84"/>
                <a:gd name="T27" fmla="*/ 4 h 60"/>
                <a:gd name="T28" fmla="*/ 56 w 84"/>
                <a:gd name="T29" fmla="*/ 10 h 60"/>
                <a:gd name="T30" fmla="*/ 56 w 84"/>
                <a:gd name="T31" fmla="*/ 12 h 60"/>
                <a:gd name="T32" fmla="*/ 54 w 84"/>
                <a:gd name="T33" fmla="*/ 12 h 60"/>
                <a:gd name="T34" fmla="*/ 52 w 84"/>
                <a:gd name="T35" fmla="*/ 10 h 60"/>
                <a:gd name="T36" fmla="*/ 50 w 84"/>
                <a:gd name="T37" fmla="*/ 4 h 60"/>
                <a:gd name="T38" fmla="*/ 48 w 84"/>
                <a:gd name="T39" fmla="*/ 0 h 60"/>
                <a:gd name="T40" fmla="*/ 48 w 84"/>
                <a:gd name="T41" fmla="*/ 0 h 60"/>
                <a:gd name="T42" fmla="*/ 44 w 84"/>
                <a:gd name="T43" fmla="*/ 4 h 60"/>
                <a:gd name="T44" fmla="*/ 38 w 84"/>
                <a:gd name="T45" fmla="*/ 10 h 60"/>
                <a:gd name="T46" fmla="*/ 36 w 84"/>
                <a:gd name="T47" fmla="*/ 10 h 60"/>
                <a:gd name="T48" fmla="*/ 34 w 84"/>
                <a:gd name="T49" fmla="*/ 10 h 60"/>
                <a:gd name="T50" fmla="*/ 32 w 84"/>
                <a:gd name="T51" fmla="*/ 10 h 60"/>
                <a:gd name="T52" fmla="*/ 28 w 84"/>
                <a:gd name="T53" fmla="*/ 10 h 60"/>
                <a:gd name="T54" fmla="*/ 24 w 84"/>
                <a:gd name="T55" fmla="*/ 10 h 60"/>
                <a:gd name="T56" fmla="*/ 20 w 84"/>
                <a:gd name="T57" fmla="*/ 12 h 60"/>
                <a:gd name="T58" fmla="*/ 18 w 84"/>
                <a:gd name="T59" fmla="*/ 14 h 60"/>
                <a:gd name="T60" fmla="*/ 18 w 84"/>
                <a:gd name="T61" fmla="*/ 16 h 60"/>
                <a:gd name="T62" fmla="*/ 20 w 84"/>
                <a:gd name="T63" fmla="*/ 26 h 60"/>
                <a:gd name="T64" fmla="*/ 20 w 84"/>
                <a:gd name="T65" fmla="*/ 30 h 60"/>
                <a:gd name="T66" fmla="*/ 20 w 84"/>
                <a:gd name="T67" fmla="*/ 36 h 60"/>
                <a:gd name="T68" fmla="*/ 18 w 84"/>
                <a:gd name="T69" fmla="*/ 38 h 60"/>
                <a:gd name="T70" fmla="*/ 12 w 84"/>
                <a:gd name="T71" fmla="*/ 40 h 60"/>
                <a:gd name="T72" fmla="*/ 8 w 84"/>
                <a:gd name="T73" fmla="*/ 38 h 60"/>
                <a:gd name="T74" fmla="*/ 4 w 84"/>
                <a:gd name="T75" fmla="*/ 38 h 60"/>
                <a:gd name="T76" fmla="*/ 0 w 84"/>
                <a:gd name="T77" fmla="*/ 38 h 60"/>
                <a:gd name="T78" fmla="*/ 0 w 84"/>
                <a:gd name="T79" fmla="*/ 40 h 60"/>
                <a:gd name="T80" fmla="*/ 0 w 84"/>
                <a:gd name="T81" fmla="*/ 44 h 60"/>
                <a:gd name="T82" fmla="*/ 0 w 84"/>
                <a:gd name="T83" fmla="*/ 44 h 60"/>
                <a:gd name="T84" fmla="*/ 4 w 84"/>
                <a:gd name="T85" fmla="*/ 46 h 60"/>
                <a:gd name="T86" fmla="*/ 8 w 84"/>
                <a:gd name="T87" fmla="*/ 48 h 60"/>
                <a:gd name="T88" fmla="*/ 8 w 84"/>
                <a:gd name="T89" fmla="*/ 50 h 60"/>
                <a:gd name="T90" fmla="*/ 8 w 84"/>
                <a:gd name="T91" fmla="*/ 52 h 60"/>
                <a:gd name="T92" fmla="*/ 8 w 84"/>
                <a:gd name="T93" fmla="*/ 56 h 60"/>
                <a:gd name="T94" fmla="*/ 10 w 84"/>
                <a:gd name="T95" fmla="*/ 58 h 60"/>
                <a:gd name="T96" fmla="*/ 10 w 84"/>
                <a:gd name="T97" fmla="*/ 60 h 60"/>
                <a:gd name="T98" fmla="*/ 30 w 84"/>
                <a:gd name="T99" fmla="*/ 52 h 60"/>
                <a:gd name="T100" fmla="*/ 58 w 84"/>
                <a:gd name="T101" fmla="*/ 40 h 60"/>
                <a:gd name="T102" fmla="*/ 58 w 84"/>
                <a:gd name="T103" fmla="*/ 40 h 60"/>
                <a:gd name="T104" fmla="*/ 58 w 84"/>
                <a:gd name="T105" fmla="*/ 4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4" h="60">
                  <a:moveTo>
                    <a:pt x="58" y="40"/>
                  </a:moveTo>
                  <a:lnTo>
                    <a:pt x="74" y="34"/>
                  </a:lnTo>
                  <a:lnTo>
                    <a:pt x="84" y="26"/>
                  </a:lnTo>
                  <a:lnTo>
                    <a:pt x="82" y="22"/>
                  </a:lnTo>
                  <a:lnTo>
                    <a:pt x="80" y="14"/>
                  </a:lnTo>
                  <a:lnTo>
                    <a:pt x="76" y="14"/>
                  </a:lnTo>
                  <a:lnTo>
                    <a:pt x="72" y="16"/>
                  </a:lnTo>
                  <a:lnTo>
                    <a:pt x="66" y="12"/>
                  </a:lnTo>
                  <a:lnTo>
                    <a:pt x="66" y="10"/>
                  </a:lnTo>
                  <a:lnTo>
                    <a:pt x="68" y="6"/>
                  </a:lnTo>
                  <a:lnTo>
                    <a:pt x="66" y="4"/>
                  </a:lnTo>
                  <a:lnTo>
                    <a:pt x="64" y="2"/>
                  </a:lnTo>
                  <a:lnTo>
                    <a:pt x="60" y="4"/>
                  </a:lnTo>
                  <a:lnTo>
                    <a:pt x="58" y="4"/>
                  </a:lnTo>
                  <a:lnTo>
                    <a:pt x="56" y="10"/>
                  </a:lnTo>
                  <a:lnTo>
                    <a:pt x="56" y="12"/>
                  </a:lnTo>
                  <a:lnTo>
                    <a:pt x="54" y="12"/>
                  </a:lnTo>
                  <a:lnTo>
                    <a:pt x="52" y="10"/>
                  </a:lnTo>
                  <a:lnTo>
                    <a:pt x="50" y="4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4" y="4"/>
                  </a:lnTo>
                  <a:lnTo>
                    <a:pt x="38" y="10"/>
                  </a:lnTo>
                  <a:lnTo>
                    <a:pt x="36" y="10"/>
                  </a:lnTo>
                  <a:lnTo>
                    <a:pt x="34" y="10"/>
                  </a:lnTo>
                  <a:lnTo>
                    <a:pt x="32" y="10"/>
                  </a:lnTo>
                  <a:lnTo>
                    <a:pt x="28" y="10"/>
                  </a:lnTo>
                  <a:lnTo>
                    <a:pt x="24" y="10"/>
                  </a:lnTo>
                  <a:lnTo>
                    <a:pt x="20" y="12"/>
                  </a:lnTo>
                  <a:lnTo>
                    <a:pt x="18" y="14"/>
                  </a:lnTo>
                  <a:lnTo>
                    <a:pt x="18" y="16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20" y="36"/>
                  </a:lnTo>
                  <a:lnTo>
                    <a:pt x="18" y="38"/>
                  </a:lnTo>
                  <a:lnTo>
                    <a:pt x="12" y="40"/>
                  </a:lnTo>
                  <a:lnTo>
                    <a:pt x="8" y="38"/>
                  </a:lnTo>
                  <a:lnTo>
                    <a:pt x="4" y="38"/>
                  </a:lnTo>
                  <a:lnTo>
                    <a:pt x="0" y="38"/>
                  </a:lnTo>
                  <a:lnTo>
                    <a:pt x="0" y="40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4" y="46"/>
                  </a:lnTo>
                  <a:lnTo>
                    <a:pt x="8" y="48"/>
                  </a:lnTo>
                  <a:lnTo>
                    <a:pt x="8" y="50"/>
                  </a:lnTo>
                  <a:lnTo>
                    <a:pt x="8" y="52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30" y="52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58" y="4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46" name="Freeform 105"/>
            <p:cNvSpPr>
              <a:spLocks/>
            </p:cNvSpPr>
            <p:nvPr/>
          </p:nvSpPr>
          <p:spPr bwMode="auto">
            <a:xfrm>
              <a:off x="909" y="2699"/>
              <a:ext cx="96" cy="62"/>
            </a:xfrm>
            <a:custGeom>
              <a:avLst/>
              <a:gdLst>
                <a:gd name="T0" fmla="*/ 92 w 96"/>
                <a:gd name="T1" fmla="*/ 14 h 62"/>
                <a:gd name="T2" fmla="*/ 88 w 96"/>
                <a:gd name="T3" fmla="*/ 16 h 62"/>
                <a:gd name="T4" fmla="*/ 80 w 96"/>
                <a:gd name="T5" fmla="*/ 14 h 62"/>
                <a:gd name="T6" fmla="*/ 78 w 96"/>
                <a:gd name="T7" fmla="*/ 12 h 62"/>
                <a:gd name="T8" fmla="*/ 78 w 96"/>
                <a:gd name="T9" fmla="*/ 10 h 62"/>
                <a:gd name="T10" fmla="*/ 80 w 96"/>
                <a:gd name="T11" fmla="*/ 4 h 62"/>
                <a:gd name="T12" fmla="*/ 74 w 96"/>
                <a:gd name="T13" fmla="*/ 0 h 62"/>
                <a:gd name="T14" fmla="*/ 64 w 96"/>
                <a:gd name="T15" fmla="*/ 8 h 62"/>
                <a:gd name="T16" fmla="*/ 48 w 96"/>
                <a:gd name="T17" fmla="*/ 14 h 62"/>
                <a:gd name="T18" fmla="*/ 20 w 96"/>
                <a:gd name="T19" fmla="*/ 26 h 62"/>
                <a:gd name="T20" fmla="*/ 0 w 96"/>
                <a:gd name="T21" fmla="*/ 34 h 62"/>
                <a:gd name="T22" fmla="*/ 2 w 96"/>
                <a:gd name="T23" fmla="*/ 38 h 62"/>
                <a:gd name="T24" fmla="*/ 2 w 96"/>
                <a:gd name="T25" fmla="*/ 40 h 62"/>
                <a:gd name="T26" fmla="*/ 4 w 96"/>
                <a:gd name="T27" fmla="*/ 44 h 62"/>
                <a:gd name="T28" fmla="*/ 8 w 96"/>
                <a:gd name="T29" fmla="*/ 50 h 62"/>
                <a:gd name="T30" fmla="*/ 8 w 96"/>
                <a:gd name="T31" fmla="*/ 56 h 62"/>
                <a:gd name="T32" fmla="*/ 8 w 96"/>
                <a:gd name="T33" fmla="*/ 62 h 62"/>
                <a:gd name="T34" fmla="*/ 16 w 96"/>
                <a:gd name="T35" fmla="*/ 62 h 62"/>
                <a:gd name="T36" fmla="*/ 24 w 96"/>
                <a:gd name="T37" fmla="*/ 60 h 62"/>
                <a:gd name="T38" fmla="*/ 32 w 96"/>
                <a:gd name="T39" fmla="*/ 60 h 62"/>
                <a:gd name="T40" fmla="*/ 36 w 96"/>
                <a:gd name="T41" fmla="*/ 58 h 62"/>
                <a:gd name="T42" fmla="*/ 40 w 96"/>
                <a:gd name="T43" fmla="*/ 56 h 62"/>
                <a:gd name="T44" fmla="*/ 42 w 96"/>
                <a:gd name="T45" fmla="*/ 56 h 62"/>
                <a:gd name="T46" fmla="*/ 46 w 96"/>
                <a:gd name="T47" fmla="*/ 56 h 62"/>
                <a:gd name="T48" fmla="*/ 48 w 96"/>
                <a:gd name="T49" fmla="*/ 56 h 62"/>
                <a:gd name="T50" fmla="*/ 50 w 96"/>
                <a:gd name="T51" fmla="*/ 60 h 62"/>
                <a:gd name="T52" fmla="*/ 56 w 96"/>
                <a:gd name="T53" fmla="*/ 60 h 62"/>
                <a:gd name="T54" fmla="*/ 58 w 96"/>
                <a:gd name="T55" fmla="*/ 58 h 62"/>
                <a:gd name="T56" fmla="*/ 60 w 96"/>
                <a:gd name="T57" fmla="*/ 54 h 62"/>
                <a:gd name="T58" fmla="*/ 62 w 96"/>
                <a:gd name="T59" fmla="*/ 48 h 62"/>
                <a:gd name="T60" fmla="*/ 66 w 96"/>
                <a:gd name="T61" fmla="*/ 42 h 62"/>
                <a:gd name="T62" fmla="*/ 78 w 96"/>
                <a:gd name="T63" fmla="*/ 34 h 62"/>
                <a:gd name="T64" fmla="*/ 80 w 96"/>
                <a:gd name="T65" fmla="*/ 32 h 62"/>
                <a:gd name="T66" fmla="*/ 84 w 96"/>
                <a:gd name="T67" fmla="*/ 32 h 62"/>
                <a:gd name="T68" fmla="*/ 92 w 96"/>
                <a:gd name="T69" fmla="*/ 32 h 62"/>
                <a:gd name="T70" fmla="*/ 92 w 96"/>
                <a:gd name="T71" fmla="*/ 26 h 62"/>
                <a:gd name="T72" fmla="*/ 96 w 96"/>
                <a:gd name="T73" fmla="*/ 18 h 62"/>
                <a:gd name="T74" fmla="*/ 92 w 96"/>
                <a:gd name="T75" fmla="*/ 14 h 62"/>
                <a:gd name="T76" fmla="*/ 92 w 96"/>
                <a:gd name="T77" fmla="*/ 14 h 62"/>
                <a:gd name="T78" fmla="*/ 92 w 96"/>
                <a:gd name="T79" fmla="*/ 14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96" h="62">
                  <a:moveTo>
                    <a:pt x="92" y="14"/>
                  </a:moveTo>
                  <a:lnTo>
                    <a:pt x="88" y="16"/>
                  </a:lnTo>
                  <a:lnTo>
                    <a:pt x="80" y="14"/>
                  </a:lnTo>
                  <a:lnTo>
                    <a:pt x="78" y="12"/>
                  </a:lnTo>
                  <a:lnTo>
                    <a:pt x="78" y="10"/>
                  </a:lnTo>
                  <a:lnTo>
                    <a:pt x="80" y="4"/>
                  </a:lnTo>
                  <a:lnTo>
                    <a:pt x="74" y="0"/>
                  </a:lnTo>
                  <a:lnTo>
                    <a:pt x="64" y="8"/>
                  </a:lnTo>
                  <a:lnTo>
                    <a:pt x="48" y="14"/>
                  </a:lnTo>
                  <a:lnTo>
                    <a:pt x="20" y="26"/>
                  </a:lnTo>
                  <a:lnTo>
                    <a:pt x="0" y="34"/>
                  </a:lnTo>
                  <a:lnTo>
                    <a:pt x="2" y="38"/>
                  </a:lnTo>
                  <a:lnTo>
                    <a:pt x="2" y="40"/>
                  </a:lnTo>
                  <a:lnTo>
                    <a:pt x="4" y="44"/>
                  </a:lnTo>
                  <a:lnTo>
                    <a:pt x="8" y="50"/>
                  </a:lnTo>
                  <a:lnTo>
                    <a:pt x="8" y="56"/>
                  </a:lnTo>
                  <a:lnTo>
                    <a:pt x="8" y="62"/>
                  </a:lnTo>
                  <a:lnTo>
                    <a:pt x="16" y="62"/>
                  </a:lnTo>
                  <a:lnTo>
                    <a:pt x="24" y="60"/>
                  </a:lnTo>
                  <a:lnTo>
                    <a:pt x="32" y="60"/>
                  </a:lnTo>
                  <a:lnTo>
                    <a:pt x="36" y="58"/>
                  </a:lnTo>
                  <a:lnTo>
                    <a:pt x="40" y="56"/>
                  </a:lnTo>
                  <a:lnTo>
                    <a:pt x="42" y="56"/>
                  </a:lnTo>
                  <a:lnTo>
                    <a:pt x="46" y="56"/>
                  </a:lnTo>
                  <a:lnTo>
                    <a:pt x="48" y="56"/>
                  </a:lnTo>
                  <a:lnTo>
                    <a:pt x="50" y="60"/>
                  </a:lnTo>
                  <a:lnTo>
                    <a:pt x="56" y="60"/>
                  </a:lnTo>
                  <a:lnTo>
                    <a:pt x="58" y="58"/>
                  </a:lnTo>
                  <a:lnTo>
                    <a:pt x="60" y="54"/>
                  </a:lnTo>
                  <a:lnTo>
                    <a:pt x="62" y="48"/>
                  </a:lnTo>
                  <a:lnTo>
                    <a:pt x="66" y="42"/>
                  </a:lnTo>
                  <a:lnTo>
                    <a:pt x="78" y="34"/>
                  </a:lnTo>
                  <a:lnTo>
                    <a:pt x="80" y="32"/>
                  </a:lnTo>
                  <a:lnTo>
                    <a:pt x="84" y="32"/>
                  </a:lnTo>
                  <a:lnTo>
                    <a:pt x="92" y="32"/>
                  </a:lnTo>
                  <a:lnTo>
                    <a:pt x="92" y="26"/>
                  </a:lnTo>
                  <a:lnTo>
                    <a:pt x="96" y="18"/>
                  </a:lnTo>
                  <a:lnTo>
                    <a:pt x="92" y="14"/>
                  </a:lnTo>
                  <a:lnTo>
                    <a:pt x="92" y="14"/>
                  </a:lnTo>
                  <a:lnTo>
                    <a:pt x="92" y="14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47" name="Freeform 106"/>
            <p:cNvSpPr>
              <a:spLocks/>
            </p:cNvSpPr>
            <p:nvPr/>
          </p:nvSpPr>
          <p:spPr bwMode="auto">
            <a:xfrm>
              <a:off x="1305" y="1604"/>
              <a:ext cx="231" cy="229"/>
            </a:xfrm>
            <a:custGeom>
              <a:avLst/>
              <a:gdLst>
                <a:gd name="T0" fmla="*/ 225 w 231"/>
                <a:gd name="T1" fmla="*/ 153 h 229"/>
                <a:gd name="T2" fmla="*/ 213 w 231"/>
                <a:gd name="T3" fmla="*/ 137 h 229"/>
                <a:gd name="T4" fmla="*/ 201 w 231"/>
                <a:gd name="T5" fmla="*/ 125 h 229"/>
                <a:gd name="T6" fmla="*/ 195 w 231"/>
                <a:gd name="T7" fmla="*/ 125 h 229"/>
                <a:gd name="T8" fmla="*/ 197 w 231"/>
                <a:gd name="T9" fmla="*/ 133 h 229"/>
                <a:gd name="T10" fmla="*/ 193 w 231"/>
                <a:gd name="T11" fmla="*/ 137 h 229"/>
                <a:gd name="T12" fmla="*/ 183 w 231"/>
                <a:gd name="T13" fmla="*/ 129 h 229"/>
                <a:gd name="T14" fmla="*/ 171 w 231"/>
                <a:gd name="T15" fmla="*/ 125 h 229"/>
                <a:gd name="T16" fmla="*/ 151 w 231"/>
                <a:gd name="T17" fmla="*/ 111 h 229"/>
                <a:gd name="T18" fmla="*/ 145 w 231"/>
                <a:gd name="T19" fmla="*/ 43 h 229"/>
                <a:gd name="T20" fmla="*/ 142 w 231"/>
                <a:gd name="T21" fmla="*/ 26 h 229"/>
                <a:gd name="T22" fmla="*/ 143 w 231"/>
                <a:gd name="T23" fmla="*/ 16 h 229"/>
                <a:gd name="T24" fmla="*/ 82 w 231"/>
                <a:gd name="T25" fmla="*/ 2 h 229"/>
                <a:gd name="T26" fmla="*/ 96 w 231"/>
                <a:gd name="T27" fmla="*/ 20 h 229"/>
                <a:gd name="T28" fmla="*/ 94 w 231"/>
                <a:gd name="T29" fmla="*/ 34 h 229"/>
                <a:gd name="T30" fmla="*/ 86 w 231"/>
                <a:gd name="T31" fmla="*/ 47 h 229"/>
                <a:gd name="T32" fmla="*/ 92 w 231"/>
                <a:gd name="T33" fmla="*/ 65 h 229"/>
                <a:gd name="T34" fmla="*/ 84 w 231"/>
                <a:gd name="T35" fmla="*/ 81 h 229"/>
                <a:gd name="T36" fmla="*/ 76 w 231"/>
                <a:gd name="T37" fmla="*/ 65 h 229"/>
                <a:gd name="T38" fmla="*/ 72 w 231"/>
                <a:gd name="T39" fmla="*/ 47 h 229"/>
                <a:gd name="T40" fmla="*/ 56 w 231"/>
                <a:gd name="T41" fmla="*/ 41 h 229"/>
                <a:gd name="T42" fmla="*/ 50 w 231"/>
                <a:gd name="T43" fmla="*/ 35 h 229"/>
                <a:gd name="T44" fmla="*/ 38 w 231"/>
                <a:gd name="T45" fmla="*/ 35 h 229"/>
                <a:gd name="T46" fmla="*/ 28 w 231"/>
                <a:gd name="T47" fmla="*/ 43 h 229"/>
                <a:gd name="T48" fmla="*/ 2 w 231"/>
                <a:gd name="T49" fmla="*/ 43 h 229"/>
                <a:gd name="T50" fmla="*/ 6 w 231"/>
                <a:gd name="T51" fmla="*/ 55 h 229"/>
                <a:gd name="T52" fmla="*/ 4 w 231"/>
                <a:gd name="T53" fmla="*/ 63 h 229"/>
                <a:gd name="T54" fmla="*/ 10 w 231"/>
                <a:gd name="T55" fmla="*/ 79 h 229"/>
                <a:gd name="T56" fmla="*/ 4 w 231"/>
                <a:gd name="T57" fmla="*/ 93 h 229"/>
                <a:gd name="T58" fmla="*/ 2 w 231"/>
                <a:gd name="T59" fmla="*/ 107 h 229"/>
                <a:gd name="T60" fmla="*/ 2 w 231"/>
                <a:gd name="T61" fmla="*/ 119 h 229"/>
                <a:gd name="T62" fmla="*/ 8 w 231"/>
                <a:gd name="T63" fmla="*/ 121 h 229"/>
                <a:gd name="T64" fmla="*/ 12 w 231"/>
                <a:gd name="T65" fmla="*/ 121 h 229"/>
                <a:gd name="T66" fmla="*/ 24 w 231"/>
                <a:gd name="T67" fmla="*/ 115 h 229"/>
                <a:gd name="T68" fmla="*/ 28 w 231"/>
                <a:gd name="T69" fmla="*/ 121 h 229"/>
                <a:gd name="T70" fmla="*/ 38 w 231"/>
                <a:gd name="T71" fmla="*/ 129 h 229"/>
                <a:gd name="T72" fmla="*/ 54 w 231"/>
                <a:gd name="T73" fmla="*/ 131 h 229"/>
                <a:gd name="T74" fmla="*/ 64 w 231"/>
                <a:gd name="T75" fmla="*/ 139 h 229"/>
                <a:gd name="T76" fmla="*/ 76 w 231"/>
                <a:gd name="T77" fmla="*/ 133 h 229"/>
                <a:gd name="T78" fmla="*/ 82 w 231"/>
                <a:gd name="T79" fmla="*/ 151 h 229"/>
                <a:gd name="T80" fmla="*/ 82 w 231"/>
                <a:gd name="T81" fmla="*/ 169 h 229"/>
                <a:gd name="T82" fmla="*/ 92 w 231"/>
                <a:gd name="T83" fmla="*/ 169 h 229"/>
                <a:gd name="T84" fmla="*/ 102 w 231"/>
                <a:gd name="T85" fmla="*/ 173 h 229"/>
                <a:gd name="T86" fmla="*/ 108 w 231"/>
                <a:gd name="T87" fmla="*/ 181 h 229"/>
                <a:gd name="T88" fmla="*/ 110 w 231"/>
                <a:gd name="T89" fmla="*/ 191 h 229"/>
                <a:gd name="T90" fmla="*/ 108 w 231"/>
                <a:gd name="T91" fmla="*/ 201 h 229"/>
                <a:gd name="T92" fmla="*/ 118 w 231"/>
                <a:gd name="T93" fmla="*/ 223 h 229"/>
                <a:gd name="T94" fmla="*/ 128 w 231"/>
                <a:gd name="T95" fmla="*/ 223 h 229"/>
                <a:gd name="T96" fmla="*/ 145 w 231"/>
                <a:gd name="T97" fmla="*/ 227 h 229"/>
                <a:gd name="T98" fmla="*/ 159 w 231"/>
                <a:gd name="T99" fmla="*/ 223 h 229"/>
                <a:gd name="T100" fmla="*/ 163 w 231"/>
                <a:gd name="T101" fmla="*/ 215 h 229"/>
                <a:gd name="T102" fmla="*/ 171 w 231"/>
                <a:gd name="T103" fmla="*/ 199 h 229"/>
                <a:gd name="T104" fmla="*/ 197 w 231"/>
                <a:gd name="T105" fmla="*/ 183 h 229"/>
                <a:gd name="T106" fmla="*/ 211 w 231"/>
                <a:gd name="T107" fmla="*/ 179 h 229"/>
                <a:gd name="T108" fmla="*/ 219 w 231"/>
                <a:gd name="T109" fmla="*/ 177 h 229"/>
                <a:gd name="T110" fmla="*/ 231 w 231"/>
                <a:gd name="T111" fmla="*/ 169 h 229"/>
                <a:gd name="T112" fmla="*/ 231 w 231"/>
                <a:gd name="T113" fmla="*/ 161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31" h="229">
                  <a:moveTo>
                    <a:pt x="231" y="161"/>
                  </a:moveTo>
                  <a:lnTo>
                    <a:pt x="225" y="157"/>
                  </a:lnTo>
                  <a:lnTo>
                    <a:pt x="225" y="153"/>
                  </a:lnTo>
                  <a:lnTo>
                    <a:pt x="217" y="145"/>
                  </a:lnTo>
                  <a:lnTo>
                    <a:pt x="215" y="139"/>
                  </a:lnTo>
                  <a:lnTo>
                    <a:pt x="213" y="137"/>
                  </a:lnTo>
                  <a:lnTo>
                    <a:pt x="213" y="133"/>
                  </a:lnTo>
                  <a:lnTo>
                    <a:pt x="207" y="129"/>
                  </a:lnTo>
                  <a:lnTo>
                    <a:pt x="201" y="125"/>
                  </a:lnTo>
                  <a:lnTo>
                    <a:pt x="197" y="123"/>
                  </a:lnTo>
                  <a:lnTo>
                    <a:pt x="195" y="123"/>
                  </a:lnTo>
                  <a:lnTo>
                    <a:pt x="195" y="125"/>
                  </a:lnTo>
                  <a:lnTo>
                    <a:pt x="195" y="127"/>
                  </a:lnTo>
                  <a:lnTo>
                    <a:pt x="197" y="129"/>
                  </a:lnTo>
                  <a:lnTo>
                    <a:pt x="197" y="133"/>
                  </a:lnTo>
                  <a:lnTo>
                    <a:pt x="195" y="137"/>
                  </a:lnTo>
                  <a:lnTo>
                    <a:pt x="195" y="137"/>
                  </a:lnTo>
                  <a:lnTo>
                    <a:pt x="193" y="137"/>
                  </a:lnTo>
                  <a:lnTo>
                    <a:pt x="189" y="133"/>
                  </a:lnTo>
                  <a:lnTo>
                    <a:pt x="185" y="129"/>
                  </a:lnTo>
                  <a:lnTo>
                    <a:pt x="183" y="129"/>
                  </a:lnTo>
                  <a:lnTo>
                    <a:pt x="179" y="127"/>
                  </a:lnTo>
                  <a:lnTo>
                    <a:pt x="173" y="127"/>
                  </a:lnTo>
                  <a:lnTo>
                    <a:pt x="171" y="125"/>
                  </a:lnTo>
                  <a:lnTo>
                    <a:pt x="165" y="127"/>
                  </a:lnTo>
                  <a:lnTo>
                    <a:pt x="159" y="123"/>
                  </a:lnTo>
                  <a:lnTo>
                    <a:pt x="151" y="111"/>
                  </a:lnTo>
                  <a:lnTo>
                    <a:pt x="147" y="91"/>
                  </a:lnTo>
                  <a:lnTo>
                    <a:pt x="145" y="55"/>
                  </a:lnTo>
                  <a:lnTo>
                    <a:pt x="145" y="43"/>
                  </a:lnTo>
                  <a:lnTo>
                    <a:pt x="145" y="35"/>
                  </a:lnTo>
                  <a:lnTo>
                    <a:pt x="143" y="32"/>
                  </a:lnTo>
                  <a:lnTo>
                    <a:pt x="142" y="26"/>
                  </a:lnTo>
                  <a:lnTo>
                    <a:pt x="142" y="24"/>
                  </a:lnTo>
                  <a:lnTo>
                    <a:pt x="142" y="20"/>
                  </a:lnTo>
                  <a:lnTo>
                    <a:pt x="143" y="16"/>
                  </a:lnTo>
                  <a:lnTo>
                    <a:pt x="92" y="2"/>
                  </a:lnTo>
                  <a:lnTo>
                    <a:pt x="86" y="0"/>
                  </a:lnTo>
                  <a:lnTo>
                    <a:pt x="82" y="2"/>
                  </a:lnTo>
                  <a:lnTo>
                    <a:pt x="92" y="14"/>
                  </a:lnTo>
                  <a:lnTo>
                    <a:pt x="92" y="16"/>
                  </a:lnTo>
                  <a:lnTo>
                    <a:pt x="96" y="20"/>
                  </a:lnTo>
                  <a:lnTo>
                    <a:pt x="96" y="26"/>
                  </a:lnTo>
                  <a:lnTo>
                    <a:pt x="96" y="32"/>
                  </a:lnTo>
                  <a:lnTo>
                    <a:pt x="94" y="34"/>
                  </a:lnTo>
                  <a:lnTo>
                    <a:pt x="88" y="37"/>
                  </a:lnTo>
                  <a:lnTo>
                    <a:pt x="86" y="41"/>
                  </a:lnTo>
                  <a:lnTo>
                    <a:pt x="86" y="47"/>
                  </a:lnTo>
                  <a:lnTo>
                    <a:pt x="88" y="53"/>
                  </a:lnTo>
                  <a:lnTo>
                    <a:pt x="92" y="61"/>
                  </a:lnTo>
                  <a:lnTo>
                    <a:pt x="92" y="65"/>
                  </a:lnTo>
                  <a:lnTo>
                    <a:pt x="92" y="69"/>
                  </a:lnTo>
                  <a:lnTo>
                    <a:pt x="88" y="77"/>
                  </a:lnTo>
                  <a:lnTo>
                    <a:pt x="84" y="81"/>
                  </a:lnTo>
                  <a:lnTo>
                    <a:pt x="80" y="85"/>
                  </a:lnTo>
                  <a:lnTo>
                    <a:pt x="78" y="77"/>
                  </a:lnTo>
                  <a:lnTo>
                    <a:pt x="76" y="65"/>
                  </a:lnTo>
                  <a:lnTo>
                    <a:pt x="74" y="57"/>
                  </a:lnTo>
                  <a:lnTo>
                    <a:pt x="74" y="53"/>
                  </a:lnTo>
                  <a:lnTo>
                    <a:pt x="72" y="47"/>
                  </a:lnTo>
                  <a:lnTo>
                    <a:pt x="70" y="45"/>
                  </a:lnTo>
                  <a:lnTo>
                    <a:pt x="64" y="43"/>
                  </a:lnTo>
                  <a:lnTo>
                    <a:pt x="56" y="41"/>
                  </a:lnTo>
                  <a:lnTo>
                    <a:pt x="54" y="39"/>
                  </a:lnTo>
                  <a:lnTo>
                    <a:pt x="52" y="37"/>
                  </a:lnTo>
                  <a:lnTo>
                    <a:pt x="50" y="35"/>
                  </a:lnTo>
                  <a:lnTo>
                    <a:pt x="46" y="34"/>
                  </a:lnTo>
                  <a:lnTo>
                    <a:pt x="38" y="32"/>
                  </a:lnTo>
                  <a:lnTo>
                    <a:pt x="38" y="35"/>
                  </a:lnTo>
                  <a:lnTo>
                    <a:pt x="36" y="37"/>
                  </a:lnTo>
                  <a:lnTo>
                    <a:pt x="32" y="41"/>
                  </a:lnTo>
                  <a:lnTo>
                    <a:pt x="28" y="43"/>
                  </a:lnTo>
                  <a:lnTo>
                    <a:pt x="24" y="43"/>
                  </a:lnTo>
                  <a:lnTo>
                    <a:pt x="4" y="43"/>
                  </a:lnTo>
                  <a:lnTo>
                    <a:pt x="2" y="43"/>
                  </a:lnTo>
                  <a:lnTo>
                    <a:pt x="4" y="47"/>
                  </a:lnTo>
                  <a:lnTo>
                    <a:pt x="6" y="51"/>
                  </a:lnTo>
                  <a:lnTo>
                    <a:pt x="6" y="55"/>
                  </a:lnTo>
                  <a:lnTo>
                    <a:pt x="4" y="59"/>
                  </a:lnTo>
                  <a:lnTo>
                    <a:pt x="2" y="61"/>
                  </a:lnTo>
                  <a:lnTo>
                    <a:pt x="4" y="63"/>
                  </a:lnTo>
                  <a:lnTo>
                    <a:pt x="6" y="67"/>
                  </a:lnTo>
                  <a:lnTo>
                    <a:pt x="10" y="71"/>
                  </a:lnTo>
                  <a:lnTo>
                    <a:pt x="10" y="79"/>
                  </a:lnTo>
                  <a:lnTo>
                    <a:pt x="10" y="83"/>
                  </a:lnTo>
                  <a:lnTo>
                    <a:pt x="6" y="91"/>
                  </a:lnTo>
                  <a:lnTo>
                    <a:pt x="4" y="93"/>
                  </a:lnTo>
                  <a:lnTo>
                    <a:pt x="2" y="99"/>
                  </a:lnTo>
                  <a:lnTo>
                    <a:pt x="2" y="103"/>
                  </a:lnTo>
                  <a:lnTo>
                    <a:pt x="2" y="107"/>
                  </a:lnTo>
                  <a:lnTo>
                    <a:pt x="0" y="111"/>
                  </a:lnTo>
                  <a:lnTo>
                    <a:pt x="2" y="115"/>
                  </a:lnTo>
                  <a:lnTo>
                    <a:pt x="2" y="119"/>
                  </a:lnTo>
                  <a:lnTo>
                    <a:pt x="4" y="119"/>
                  </a:lnTo>
                  <a:lnTo>
                    <a:pt x="6" y="121"/>
                  </a:lnTo>
                  <a:lnTo>
                    <a:pt x="8" y="121"/>
                  </a:lnTo>
                  <a:lnTo>
                    <a:pt x="10" y="123"/>
                  </a:lnTo>
                  <a:lnTo>
                    <a:pt x="12" y="123"/>
                  </a:lnTo>
                  <a:lnTo>
                    <a:pt x="12" y="121"/>
                  </a:lnTo>
                  <a:lnTo>
                    <a:pt x="16" y="119"/>
                  </a:lnTo>
                  <a:lnTo>
                    <a:pt x="18" y="115"/>
                  </a:lnTo>
                  <a:lnTo>
                    <a:pt x="24" y="115"/>
                  </a:lnTo>
                  <a:lnTo>
                    <a:pt x="26" y="115"/>
                  </a:lnTo>
                  <a:lnTo>
                    <a:pt x="28" y="115"/>
                  </a:lnTo>
                  <a:lnTo>
                    <a:pt x="28" y="121"/>
                  </a:lnTo>
                  <a:lnTo>
                    <a:pt x="30" y="125"/>
                  </a:lnTo>
                  <a:lnTo>
                    <a:pt x="34" y="129"/>
                  </a:lnTo>
                  <a:lnTo>
                    <a:pt x="38" y="129"/>
                  </a:lnTo>
                  <a:lnTo>
                    <a:pt x="42" y="129"/>
                  </a:lnTo>
                  <a:lnTo>
                    <a:pt x="50" y="129"/>
                  </a:lnTo>
                  <a:lnTo>
                    <a:pt x="54" y="131"/>
                  </a:lnTo>
                  <a:lnTo>
                    <a:pt x="56" y="133"/>
                  </a:lnTo>
                  <a:lnTo>
                    <a:pt x="60" y="137"/>
                  </a:lnTo>
                  <a:lnTo>
                    <a:pt x="64" y="139"/>
                  </a:lnTo>
                  <a:lnTo>
                    <a:pt x="68" y="137"/>
                  </a:lnTo>
                  <a:lnTo>
                    <a:pt x="74" y="133"/>
                  </a:lnTo>
                  <a:lnTo>
                    <a:pt x="76" y="133"/>
                  </a:lnTo>
                  <a:lnTo>
                    <a:pt x="78" y="135"/>
                  </a:lnTo>
                  <a:lnTo>
                    <a:pt x="82" y="145"/>
                  </a:lnTo>
                  <a:lnTo>
                    <a:pt x="82" y="151"/>
                  </a:lnTo>
                  <a:lnTo>
                    <a:pt x="82" y="155"/>
                  </a:lnTo>
                  <a:lnTo>
                    <a:pt x="82" y="167"/>
                  </a:lnTo>
                  <a:lnTo>
                    <a:pt x="82" y="169"/>
                  </a:lnTo>
                  <a:lnTo>
                    <a:pt x="82" y="171"/>
                  </a:lnTo>
                  <a:lnTo>
                    <a:pt x="84" y="171"/>
                  </a:lnTo>
                  <a:lnTo>
                    <a:pt x="92" y="169"/>
                  </a:lnTo>
                  <a:lnTo>
                    <a:pt x="98" y="167"/>
                  </a:lnTo>
                  <a:lnTo>
                    <a:pt x="100" y="169"/>
                  </a:lnTo>
                  <a:lnTo>
                    <a:pt x="102" y="173"/>
                  </a:lnTo>
                  <a:lnTo>
                    <a:pt x="104" y="177"/>
                  </a:lnTo>
                  <a:lnTo>
                    <a:pt x="104" y="179"/>
                  </a:lnTo>
                  <a:lnTo>
                    <a:pt x="108" y="181"/>
                  </a:lnTo>
                  <a:lnTo>
                    <a:pt x="110" y="183"/>
                  </a:lnTo>
                  <a:lnTo>
                    <a:pt x="110" y="185"/>
                  </a:lnTo>
                  <a:lnTo>
                    <a:pt x="110" y="191"/>
                  </a:lnTo>
                  <a:lnTo>
                    <a:pt x="108" y="197"/>
                  </a:lnTo>
                  <a:lnTo>
                    <a:pt x="106" y="199"/>
                  </a:lnTo>
                  <a:lnTo>
                    <a:pt x="108" y="201"/>
                  </a:lnTo>
                  <a:lnTo>
                    <a:pt x="114" y="205"/>
                  </a:lnTo>
                  <a:lnTo>
                    <a:pt x="116" y="215"/>
                  </a:lnTo>
                  <a:lnTo>
                    <a:pt x="118" y="223"/>
                  </a:lnTo>
                  <a:lnTo>
                    <a:pt x="120" y="223"/>
                  </a:lnTo>
                  <a:lnTo>
                    <a:pt x="124" y="223"/>
                  </a:lnTo>
                  <a:lnTo>
                    <a:pt x="128" y="223"/>
                  </a:lnTo>
                  <a:lnTo>
                    <a:pt x="138" y="227"/>
                  </a:lnTo>
                  <a:lnTo>
                    <a:pt x="142" y="229"/>
                  </a:lnTo>
                  <a:lnTo>
                    <a:pt x="145" y="227"/>
                  </a:lnTo>
                  <a:lnTo>
                    <a:pt x="149" y="225"/>
                  </a:lnTo>
                  <a:lnTo>
                    <a:pt x="153" y="223"/>
                  </a:lnTo>
                  <a:lnTo>
                    <a:pt x="159" y="223"/>
                  </a:lnTo>
                  <a:lnTo>
                    <a:pt x="161" y="221"/>
                  </a:lnTo>
                  <a:lnTo>
                    <a:pt x="161" y="219"/>
                  </a:lnTo>
                  <a:lnTo>
                    <a:pt x="163" y="215"/>
                  </a:lnTo>
                  <a:lnTo>
                    <a:pt x="167" y="207"/>
                  </a:lnTo>
                  <a:lnTo>
                    <a:pt x="169" y="201"/>
                  </a:lnTo>
                  <a:lnTo>
                    <a:pt x="171" y="199"/>
                  </a:lnTo>
                  <a:lnTo>
                    <a:pt x="173" y="197"/>
                  </a:lnTo>
                  <a:lnTo>
                    <a:pt x="179" y="193"/>
                  </a:lnTo>
                  <a:lnTo>
                    <a:pt x="197" y="183"/>
                  </a:lnTo>
                  <a:lnTo>
                    <a:pt x="205" y="179"/>
                  </a:lnTo>
                  <a:lnTo>
                    <a:pt x="209" y="179"/>
                  </a:lnTo>
                  <a:lnTo>
                    <a:pt x="211" y="179"/>
                  </a:lnTo>
                  <a:lnTo>
                    <a:pt x="217" y="181"/>
                  </a:lnTo>
                  <a:lnTo>
                    <a:pt x="217" y="179"/>
                  </a:lnTo>
                  <a:lnTo>
                    <a:pt x="219" y="177"/>
                  </a:lnTo>
                  <a:lnTo>
                    <a:pt x="223" y="175"/>
                  </a:lnTo>
                  <a:lnTo>
                    <a:pt x="229" y="173"/>
                  </a:lnTo>
                  <a:lnTo>
                    <a:pt x="231" y="169"/>
                  </a:lnTo>
                  <a:lnTo>
                    <a:pt x="231" y="161"/>
                  </a:lnTo>
                  <a:lnTo>
                    <a:pt x="231" y="161"/>
                  </a:lnTo>
                  <a:lnTo>
                    <a:pt x="231" y="161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48" name="Freeform 107"/>
            <p:cNvSpPr>
              <a:spLocks/>
            </p:cNvSpPr>
            <p:nvPr/>
          </p:nvSpPr>
          <p:spPr bwMode="auto">
            <a:xfrm>
              <a:off x="1447" y="1472"/>
              <a:ext cx="318" cy="343"/>
            </a:xfrm>
            <a:custGeom>
              <a:avLst/>
              <a:gdLst>
                <a:gd name="T0" fmla="*/ 314 w 318"/>
                <a:gd name="T1" fmla="*/ 64 h 343"/>
                <a:gd name="T2" fmla="*/ 300 w 318"/>
                <a:gd name="T3" fmla="*/ 52 h 343"/>
                <a:gd name="T4" fmla="*/ 298 w 318"/>
                <a:gd name="T5" fmla="*/ 38 h 343"/>
                <a:gd name="T6" fmla="*/ 286 w 318"/>
                <a:gd name="T7" fmla="*/ 24 h 343"/>
                <a:gd name="T8" fmla="*/ 276 w 318"/>
                <a:gd name="T9" fmla="*/ 0 h 343"/>
                <a:gd name="T10" fmla="*/ 224 w 318"/>
                <a:gd name="T11" fmla="*/ 38 h 343"/>
                <a:gd name="T12" fmla="*/ 211 w 318"/>
                <a:gd name="T13" fmla="*/ 40 h 343"/>
                <a:gd name="T14" fmla="*/ 209 w 318"/>
                <a:gd name="T15" fmla="*/ 50 h 343"/>
                <a:gd name="T16" fmla="*/ 201 w 318"/>
                <a:gd name="T17" fmla="*/ 52 h 343"/>
                <a:gd name="T18" fmla="*/ 189 w 318"/>
                <a:gd name="T19" fmla="*/ 54 h 343"/>
                <a:gd name="T20" fmla="*/ 189 w 318"/>
                <a:gd name="T21" fmla="*/ 62 h 343"/>
                <a:gd name="T22" fmla="*/ 187 w 318"/>
                <a:gd name="T23" fmla="*/ 70 h 343"/>
                <a:gd name="T24" fmla="*/ 175 w 318"/>
                <a:gd name="T25" fmla="*/ 74 h 343"/>
                <a:gd name="T26" fmla="*/ 169 w 318"/>
                <a:gd name="T27" fmla="*/ 86 h 343"/>
                <a:gd name="T28" fmla="*/ 165 w 318"/>
                <a:gd name="T29" fmla="*/ 96 h 343"/>
                <a:gd name="T30" fmla="*/ 145 w 318"/>
                <a:gd name="T31" fmla="*/ 98 h 343"/>
                <a:gd name="T32" fmla="*/ 127 w 318"/>
                <a:gd name="T33" fmla="*/ 122 h 343"/>
                <a:gd name="T34" fmla="*/ 119 w 318"/>
                <a:gd name="T35" fmla="*/ 148 h 343"/>
                <a:gd name="T36" fmla="*/ 115 w 318"/>
                <a:gd name="T37" fmla="*/ 156 h 343"/>
                <a:gd name="T38" fmla="*/ 97 w 318"/>
                <a:gd name="T39" fmla="*/ 158 h 343"/>
                <a:gd name="T40" fmla="*/ 37 w 318"/>
                <a:gd name="T41" fmla="*/ 154 h 343"/>
                <a:gd name="T42" fmla="*/ 1 w 318"/>
                <a:gd name="T43" fmla="*/ 148 h 343"/>
                <a:gd name="T44" fmla="*/ 0 w 318"/>
                <a:gd name="T45" fmla="*/ 158 h 343"/>
                <a:gd name="T46" fmla="*/ 3 w 318"/>
                <a:gd name="T47" fmla="*/ 175 h 343"/>
                <a:gd name="T48" fmla="*/ 9 w 318"/>
                <a:gd name="T49" fmla="*/ 243 h 343"/>
                <a:gd name="T50" fmla="*/ 29 w 318"/>
                <a:gd name="T51" fmla="*/ 257 h 343"/>
                <a:gd name="T52" fmla="*/ 41 w 318"/>
                <a:gd name="T53" fmla="*/ 261 h 343"/>
                <a:gd name="T54" fmla="*/ 51 w 318"/>
                <a:gd name="T55" fmla="*/ 269 h 343"/>
                <a:gd name="T56" fmla="*/ 55 w 318"/>
                <a:gd name="T57" fmla="*/ 265 h 343"/>
                <a:gd name="T58" fmla="*/ 53 w 318"/>
                <a:gd name="T59" fmla="*/ 257 h 343"/>
                <a:gd name="T60" fmla="*/ 59 w 318"/>
                <a:gd name="T61" fmla="*/ 257 h 343"/>
                <a:gd name="T62" fmla="*/ 71 w 318"/>
                <a:gd name="T63" fmla="*/ 269 h 343"/>
                <a:gd name="T64" fmla="*/ 83 w 318"/>
                <a:gd name="T65" fmla="*/ 285 h 343"/>
                <a:gd name="T66" fmla="*/ 89 w 318"/>
                <a:gd name="T67" fmla="*/ 301 h 343"/>
                <a:gd name="T68" fmla="*/ 83 w 318"/>
                <a:gd name="T69" fmla="*/ 307 h 343"/>
                <a:gd name="T70" fmla="*/ 75 w 318"/>
                <a:gd name="T71" fmla="*/ 313 h 343"/>
                <a:gd name="T72" fmla="*/ 101 w 318"/>
                <a:gd name="T73" fmla="*/ 321 h 343"/>
                <a:gd name="T74" fmla="*/ 125 w 318"/>
                <a:gd name="T75" fmla="*/ 315 h 343"/>
                <a:gd name="T76" fmla="*/ 137 w 318"/>
                <a:gd name="T77" fmla="*/ 325 h 343"/>
                <a:gd name="T78" fmla="*/ 145 w 318"/>
                <a:gd name="T79" fmla="*/ 343 h 343"/>
                <a:gd name="T80" fmla="*/ 161 w 318"/>
                <a:gd name="T81" fmla="*/ 333 h 343"/>
                <a:gd name="T82" fmla="*/ 171 w 318"/>
                <a:gd name="T83" fmla="*/ 311 h 343"/>
                <a:gd name="T84" fmla="*/ 183 w 318"/>
                <a:gd name="T85" fmla="*/ 305 h 343"/>
                <a:gd name="T86" fmla="*/ 191 w 318"/>
                <a:gd name="T87" fmla="*/ 299 h 343"/>
                <a:gd name="T88" fmla="*/ 183 w 318"/>
                <a:gd name="T89" fmla="*/ 283 h 343"/>
                <a:gd name="T90" fmla="*/ 185 w 318"/>
                <a:gd name="T91" fmla="*/ 271 h 343"/>
                <a:gd name="T92" fmla="*/ 213 w 318"/>
                <a:gd name="T93" fmla="*/ 231 h 343"/>
                <a:gd name="T94" fmla="*/ 232 w 318"/>
                <a:gd name="T95" fmla="*/ 235 h 343"/>
                <a:gd name="T96" fmla="*/ 240 w 318"/>
                <a:gd name="T97" fmla="*/ 215 h 343"/>
                <a:gd name="T98" fmla="*/ 242 w 318"/>
                <a:gd name="T99" fmla="*/ 199 h 343"/>
                <a:gd name="T100" fmla="*/ 236 w 318"/>
                <a:gd name="T101" fmla="*/ 185 h 343"/>
                <a:gd name="T102" fmla="*/ 252 w 318"/>
                <a:gd name="T103" fmla="*/ 167 h 343"/>
                <a:gd name="T104" fmla="*/ 270 w 318"/>
                <a:gd name="T105" fmla="*/ 154 h 343"/>
                <a:gd name="T106" fmla="*/ 272 w 318"/>
                <a:gd name="T107" fmla="*/ 142 h 343"/>
                <a:gd name="T108" fmla="*/ 286 w 318"/>
                <a:gd name="T109" fmla="*/ 140 h 343"/>
                <a:gd name="T110" fmla="*/ 304 w 318"/>
                <a:gd name="T111" fmla="*/ 132 h 343"/>
                <a:gd name="T112" fmla="*/ 310 w 318"/>
                <a:gd name="T113" fmla="*/ 118 h 343"/>
                <a:gd name="T114" fmla="*/ 318 w 318"/>
                <a:gd name="T115" fmla="*/ 84 h 343"/>
                <a:gd name="T116" fmla="*/ 318 w 318"/>
                <a:gd name="T117" fmla="*/ 72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18" h="343">
                  <a:moveTo>
                    <a:pt x="318" y="72"/>
                  </a:moveTo>
                  <a:lnTo>
                    <a:pt x="314" y="66"/>
                  </a:lnTo>
                  <a:lnTo>
                    <a:pt x="314" y="64"/>
                  </a:lnTo>
                  <a:lnTo>
                    <a:pt x="308" y="60"/>
                  </a:lnTo>
                  <a:lnTo>
                    <a:pt x="304" y="56"/>
                  </a:lnTo>
                  <a:lnTo>
                    <a:pt x="300" y="52"/>
                  </a:lnTo>
                  <a:lnTo>
                    <a:pt x="300" y="50"/>
                  </a:lnTo>
                  <a:lnTo>
                    <a:pt x="300" y="46"/>
                  </a:lnTo>
                  <a:lnTo>
                    <a:pt x="298" y="38"/>
                  </a:lnTo>
                  <a:lnTo>
                    <a:pt x="296" y="30"/>
                  </a:lnTo>
                  <a:lnTo>
                    <a:pt x="292" y="26"/>
                  </a:lnTo>
                  <a:lnTo>
                    <a:pt x="286" y="24"/>
                  </a:lnTo>
                  <a:lnTo>
                    <a:pt x="284" y="18"/>
                  </a:lnTo>
                  <a:lnTo>
                    <a:pt x="282" y="12"/>
                  </a:lnTo>
                  <a:lnTo>
                    <a:pt x="276" y="0"/>
                  </a:lnTo>
                  <a:lnTo>
                    <a:pt x="240" y="40"/>
                  </a:lnTo>
                  <a:lnTo>
                    <a:pt x="230" y="32"/>
                  </a:lnTo>
                  <a:lnTo>
                    <a:pt x="224" y="38"/>
                  </a:lnTo>
                  <a:lnTo>
                    <a:pt x="217" y="40"/>
                  </a:lnTo>
                  <a:lnTo>
                    <a:pt x="215" y="42"/>
                  </a:lnTo>
                  <a:lnTo>
                    <a:pt x="211" y="40"/>
                  </a:lnTo>
                  <a:lnTo>
                    <a:pt x="209" y="42"/>
                  </a:lnTo>
                  <a:lnTo>
                    <a:pt x="209" y="46"/>
                  </a:lnTo>
                  <a:lnTo>
                    <a:pt x="209" y="50"/>
                  </a:lnTo>
                  <a:lnTo>
                    <a:pt x="205" y="52"/>
                  </a:lnTo>
                  <a:lnTo>
                    <a:pt x="205" y="52"/>
                  </a:lnTo>
                  <a:lnTo>
                    <a:pt x="201" y="52"/>
                  </a:lnTo>
                  <a:lnTo>
                    <a:pt x="195" y="50"/>
                  </a:lnTo>
                  <a:lnTo>
                    <a:pt x="191" y="52"/>
                  </a:lnTo>
                  <a:lnTo>
                    <a:pt x="189" y="54"/>
                  </a:lnTo>
                  <a:lnTo>
                    <a:pt x="189" y="56"/>
                  </a:lnTo>
                  <a:lnTo>
                    <a:pt x="189" y="58"/>
                  </a:lnTo>
                  <a:lnTo>
                    <a:pt x="189" y="62"/>
                  </a:lnTo>
                  <a:lnTo>
                    <a:pt x="189" y="64"/>
                  </a:lnTo>
                  <a:lnTo>
                    <a:pt x="189" y="66"/>
                  </a:lnTo>
                  <a:lnTo>
                    <a:pt x="187" y="70"/>
                  </a:lnTo>
                  <a:lnTo>
                    <a:pt x="185" y="70"/>
                  </a:lnTo>
                  <a:lnTo>
                    <a:pt x="181" y="72"/>
                  </a:lnTo>
                  <a:lnTo>
                    <a:pt x="175" y="74"/>
                  </a:lnTo>
                  <a:lnTo>
                    <a:pt x="173" y="76"/>
                  </a:lnTo>
                  <a:lnTo>
                    <a:pt x="171" y="80"/>
                  </a:lnTo>
                  <a:lnTo>
                    <a:pt x="169" y="86"/>
                  </a:lnTo>
                  <a:lnTo>
                    <a:pt x="169" y="92"/>
                  </a:lnTo>
                  <a:lnTo>
                    <a:pt x="167" y="94"/>
                  </a:lnTo>
                  <a:lnTo>
                    <a:pt x="165" y="96"/>
                  </a:lnTo>
                  <a:lnTo>
                    <a:pt x="161" y="98"/>
                  </a:lnTo>
                  <a:lnTo>
                    <a:pt x="155" y="100"/>
                  </a:lnTo>
                  <a:lnTo>
                    <a:pt x="145" y="98"/>
                  </a:lnTo>
                  <a:lnTo>
                    <a:pt x="139" y="98"/>
                  </a:lnTo>
                  <a:lnTo>
                    <a:pt x="135" y="96"/>
                  </a:lnTo>
                  <a:lnTo>
                    <a:pt x="127" y="122"/>
                  </a:lnTo>
                  <a:lnTo>
                    <a:pt x="125" y="138"/>
                  </a:lnTo>
                  <a:lnTo>
                    <a:pt x="121" y="146"/>
                  </a:lnTo>
                  <a:lnTo>
                    <a:pt x="119" y="148"/>
                  </a:lnTo>
                  <a:lnTo>
                    <a:pt x="117" y="152"/>
                  </a:lnTo>
                  <a:lnTo>
                    <a:pt x="115" y="154"/>
                  </a:lnTo>
                  <a:lnTo>
                    <a:pt x="115" y="156"/>
                  </a:lnTo>
                  <a:lnTo>
                    <a:pt x="111" y="158"/>
                  </a:lnTo>
                  <a:lnTo>
                    <a:pt x="111" y="158"/>
                  </a:lnTo>
                  <a:lnTo>
                    <a:pt x="97" y="158"/>
                  </a:lnTo>
                  <a:lnTo>
                    <a:pt x="87" y="162"/>
                  </a:lnTo>
                  <a:lnTo>
                    <a:pt x="67" y="158"/>
                  </a:lnTo>
                  <a:lnTo>
                    <a:pt x="37" y="154"/>
                  </a:lnTo>
                  <a:lnTo>
                    <a:pt x="11" y="150"/>
                  </a:lnTo>
                  <a:lnTo>
                    <a:pt x="7" y="150"/>
                  </a:lnTo>
                  <a:lnTo>
                    <a:pt x="1" y="148"/>
                  </a:lnTo>
                  <a:lnTo>
                    <a:pt x="0" y="152"/>
                  </a:lnTo>
                  <a:lnTo>
                    <a:pt x="0" y="156"/>
                  </a:lnTo>
                  <a:lnTo>
                    <a:pt x="0" y="158"/>
                  </a:lnTo>
                  <a:lnTo>
                    <a:pt x="1" y="164"/>
                  </a:lnTo>
                  <a:lnTo>
                    <a:pt x="3" y="167"/>
                  </a:lnTo>
                  <a:lnTo>
                    <a:pt x="3" y="175"/>
                  </a:lnTo>
                  <a:lnTo>
                    <a:pt x="3" y="187"/>
                  </a:lnTo>
                  <a:lnTo>
                    <a:pt x="5" y="223"/>
                  </a:lnTo>
                  <a:lnTo>
                    <a:pt x="9" y="243"/>
                  </a:lnTo>
                  <a:lnTo>
                    <a:pt x="17" y="255"/>
                  </a:lnTo>
                  <a:lnTo>
                    <a:pt x="23" y="259"/>
                  </a:lnTo>
                  <a:lnTo>
                    <a:pt x="29" y="257"/>
                  </a:lnTo>
                  <a:lnTo>
                    <a:pt x="31" y="259"/>
                  </a:lnTo>
                  <a:lnTo>
                    <a:pt x="37" y="259"/>
                  </a:lnTo>
                  <a:lnTo>
                    <a:pt x="41" y="261"/>
                  </a:lnTo>
                  <a:lnTo>
                    <a:pt x="43" y="261"/>
                  </a:lnTo>
                  <a:lnTo>
                    <a:pt x="47" y="265"/>
                  </a:lnTo>
                  <a:lnTo>
                    <a:pt x="51" y="269"/>
                  </a:lnTo>
                  <a:lnTo>
                    <a:pt x="53" y="269"/>
                  </a:lnTo>
                  <a:lnTo>
                    <a:pt x="53" y="269"/>
                  </a:lnTo>
                  <a:lnTo>
                    <a:pt x="55" y="265"/>
                  </a:lnTo>
                  <a:lnTo>
                    <a:pt x="55" y="261"/>
                  </a:lnTo>
                  <a:lnTo>
                    <a:pt x="53" y="259"/>
                  </a:lnTo>
                  <a:lnTo>
                    <a:pt x="53" y="257"/>
                  </a:lnTo>
                  <a:lnTo>
                    <a:pt x="53" y="255"/>
                  </a:lnTo>
                  <a:lnTo>
                    <a:pt x="55" y="255"/>
                  </a:lnTo>
                  <a:lnTo>
                    <a:pt x="59" y="257"/>
                  </a:lnTo>
                  <a:lnTo>
                    <a:pt x="65" y="261"/>
                  </a:lnTo>
                  <a:lnTo>
                    <a:pt x="71" y="265"/>
                  </a:lnTo>
                  <a:lnTo>
                    <a:pt x="71" y="269"/>
                  </a:lnTo>
                  <a:lnTo>
                    <a:pt x="73" y="271"/>
                  </a:lnTo>
                  <a:lnTo>
                    <a:pt x="75" y="277"/>
                  </a:lnTo>
                  <a:lnTo>
                    <a:pt x="83" y="285"/>
                  </a:lnTo>
                  <a:lnTo>
                    <a:pt x="83" y="289"/>
                  </a:lnTo>
                  <a:lnTo>
                    <a:pt x="89" y="293"/>
                  </a:lnTo>
                  <a:lnTo>
                    <a:pt x="89" y="301"/>
                  </a:lnTo>
                  <a:lnTo>
                    <a:pt x="89" y="305"/>
                  </a:lnTo>
                  <a:lnTo>
                    <a:pt x="87" y="305"/>
                  </a:lnTo>
                  <a:lnTo>
                    <a:pt x="83" y="307"/>
                  </a:lnTo>
                  <a:lnTo>
                    <a:pt x="83" y="307"/>
                  </a:lnTo>
                  <a:lnTo>
                    <a:pt x="75" y="311"/>
                  </a:lnTo>
                  <a:lnTo>
                    <a:pt x="75" y="313"/>
                  </a:lnTo>
                  <a:lnTo>
                    <a:pt x="89" y="321"/>
                  </a:lnTo>
                  <a:lnTo>
                    <a:pt x="93" y="321"/>
                  </a:lnTo>
                  <a:lnTo>
                    <a:pt x="101" y="321"/>
                  </a:lnTo>
                  <a:lnTo>
                    <a:pt x="115" y="315"/>
                  </a:lnTo>
                  <a:lnTo>
                    <a:pt x="119" y="315"/>
                  </a:lnTo>
                  <a:lnTo>
                    <a:pt x="125" y="315"/>
                  </a:lnTo>
                  <a:lnTo>
                    <a:pt x="129" y="321"/>
                  </a:lnTo>
                  <a:lnTo>
                    <a:pt x="135" y="321"/>
                  </a:lnTo>
                  <a:lnTo>
                    <a:pt x="137" y="325"/>
                  </a:lnTo>
                  <a:lnTo>
                    <a:pt x="139" y="331"/>
                  </a:lnTo>
                  <a:lnTo>
                    <a:pt x="141" y="343"/>
                  </a:lnTo>
                  <a:lnTo>
                    <a:pt x="145" y="343"/>
                  </a:lnTo>
                  <a:lnTo>
                    <a:pt x="155" y="337"/>
                  </a:lnTo>
                  <a:lnTo>
                    <a:pt x="157" y="337"/>
                  </a:lnTo>
                  <a:lnTo>
                    <a:pt x="161" y="333"/>
                  </a:lnTo>
                  <a:lnTo>
                    <a:pt x="165" y="327"/>
                  </a:lnTo>
                  <a:lnTo>
                    <a:pt x="169" y="321"/>
                  </a:lnTo>
                  <a:lnTo>
                    <a:pt x="171" y="311"/>
                  </a:lnTo>
                  <a:lnTo>
                    <a:pt x="173" y="309"/>
                  </a:lnTo>
                  <a:lnTo>
                    <a:pt x="179" y="307"/>
                  </a:lnTo>
                  <a:lnTo>
                    <a:pt x="183" y="305"/>
                  </a:lnTo>
                  <a:lnTo>
                    <a:pt x="189" y="301"/>
                  </a:lnTo>
                  <a:lnTo>
                    <a:pt x="191" y="301"/>
                  </a:lnTo>
                  <a:lnTo>
                    <a:pt x="191" y="299"/>
                  </a:lnTo>
                  <a:lnTo>
                    <a:pt x="191" y="297"/>
                  </a:lnTo>
                  <a:lnTo>
                    <a:pt x="189" y="291"/>
                  </a:lnTo>
                  <a:lnTo>
                    <a:pt x="183" y="283"/>
                  </a:lnTo>
                  <a:lnTo>
                    <a:pt x="183" y="281"/>
                  </a:lnTo>
                  <a:lnTo>
                    <a:pt x="183" y="279"/>
                  </a:lnTo>
                  <a:lnTo>
                    <a:pt x="185" y="271"/>
                  </a:lnTo>
                  <a:lnTo>
                    <a:pt x="187" y="261"/>
                  </a:lnTo>
                  <a:lnTo>
                    <a:pt x="203" y="247"/>
                  </a:lnTo>
                  <a:lnTo>
                    <a:pt x="213" y="231"/>
                  </a:lnTo>
                  <a:lnTo>
                    <a:pt x="219" y="237"/>
                  </a:lnTo>
                  <a:lnTo>
                    <a:pt x="228" y="237"/>
                  </a:lnTo>
                  <a:lnTo>
                    <a:pt x="232" y="235"/>
                  </a:lnTo>
                  <a:lnTo>
                    <a:pt x="238" y="229"/>
                  </a:lnTo>
                  <a:lnTo>
                    <a:pt x="238" y="221"/>
                  </a:lnTo>
                  <a:lnTo>
                    <a:pt x="240" y="215"/>
                  </a:lnTo>
                  <a:lnTo>
                    <a:pt x="246" y="211"/>
                  </a:lnTo>
                  <a:lnTo>
                    <a:pt x="246" y="203"/>
                  </a:lnTo>
                  <a:lnTo>
                    <a:pt x="242" y="199"/>
                  </a:lnTo>
                  <a:lnTo>
                    <a:pt x="240" y="195"/>
                  </a:lnTo>
                  <a:lnTo>
                    <a:pt x="238" y="191"/>
                  </a:lnTo>
                  <a:lnTo>
                    <a:pt x="236" y="185"/>
                  </a:lnTo>
                  <a:lnTo>
                    <a:pt x="238" y="179"/>
                  </a:lnTo>
                  <a:lnTo>
                    <a:pt x="242" y="173"/>
                  </a:lnTo>
                  <a:lnTo>
                    <a:pt x="252" y="167"/>
                  </a:lnTo>
                  <a:lnTo>
                    <a:pt x="258" y="164"/>
                  </a:lnTo>
                  <a:lnTo>
                    <a:pt x="264" y="158"/>
                  </a:lnTo>
                  <a:lnTo>
                    <a:pt x="270" y="154"/>
                  </a:lnTo>
                  <a:lnTo>
                    <a:pt x="272" y="150"/>
                  </a:lnTo>
                  <a:lnTo>
                    <a:pt x="272" y="146"/>
                  </a:lnTo>
                  <a:lnTo>
                    <a:pt x="272" y="142"/>
                  </a:lnTo>
                  <a:lnTo>
                    <a:pt x="274" y="140"/>
                  </a:lnTo>
                  <a:lnTo>
                    <a:pt x="276" y="140"/>
                  </a:lnTo>
                  <a:lnTo>
                    <a:pt x="286" y="140"/>
                  </a:lnTo>
                  <a:lnTo>
                    <a:pt x="294" y="140"/>
                  </a:lnTo>
                  <a:lnTo>
                    <a:pt x="300" y="138"/>
                  </a:lnTo>
                  <a:lnTo>
                    <a:pt x="304" y="132"/>
                  </a:lnTo>
                  <a:lnTo>
                    <a:pt x="308" y="130"/>
                  </a:lnTo>
                  <a:lnTo>
                    <a:pt x="310" y="126"/>
                  </a:lnTo>
                  <a:lnTo>
                    <a:pt x="310" y="118"/>
                  </a:lnTo>
                  <a:lnTo>
                    <a:pt x="314" y="108"/>
                  </a:lnTo>
                  <a:lnTo>
                    <a:pt x="314" y="100"/>
                  </a:lnTo>
                  <a:lnTo>
                    <a:pt x="318" y="84"/>
                  </a:lnTo>
                  <a:lnTo>
                    <a:pt x="318" y="82"/>
                  </a:lnTo>
                  <a:lnTo>
                    <a:pt x="318" y="72"/>
                  </a:lnTo>
                  <a:lnTo>
                    <a:pt x="318" y="72"/>
                  </a:lnTo>
                  <a:lnTo>
                    <a:pt x="318" y="72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49" name="Freeform 108"/>
            <p:cNvSpPr>
              <a:spLocks/>
            </p:cNvSpPr>
            <p:nvPr/>
          </p:nvSpPr>
          <p:spPr bwMode="auto">
            <a:xfrm>
              <a:off x="5018" y="2446"/>
              <a:ext cx="18" cy="28"/>
            </a:xfrm>
            <a:custGeom>
              <a:avLst/>
              <a:gdLst>
                <a:gd name="T0" fmla="*/ 12 w 18"/>
                <a:gd name="T1" fmla="*/ 0 h 28"/>
                <a:gd name="T2" fmla="*/ 12 w 18"/>
                <a:gd name="T3" fmla="*/ 4 h 28"/>
                <a:gd name="T4" fmla="*/ 12 w 18"/>
                <a:gd name="T5" fmla="*/ 4 h 28"/>
                <a:gd name="T6" fmla="*/ 10 w 18"/>
                <a:gd name="T7" fmla="*/ 0 h 28"/>
                <a:gd name="T8" fmla="*/ 10 w 18"/>
                <a:gd name="T9" fmla="*/ 0 h 28"/>
                <a:gd name="T10" fmla="*/ 2 w 18"/>
                <a:gd name="T11" fmla="*/ 0 h 28"/>
                <a:gd name="T12" fmla="*/ 0 w 18"/>
                <a:gd name="T13" fmla="*/ 0 h 28"/>
                <a:gd name="T14" fmla="*/ 0 w 18"/>
                <a:gd name="T15" fmla="*/ 2 h 28"/>
                <a:gd name="T16" fmla="*/ 0 w 18"/>
                <a:gd name="T17" fmla="*/ 8 h 28"/>
                <a:gd name="T18" fmla="*/ 2 w 18"/>
                <a:gd name="T19" fmla="*/ 12 h 28"/>
                <a:gd name="T20" fmla="*/ 10 w 18"/>
                <a:gd name="T21" fmla="*/ 22 h 28"/>
                <a:gd name="T22" fmla="*/ 16 w 18"/>
                <a:gd name="T23" fmla="*/ 28 h 28"/>
                <a:gd name="T24" fmla="*/ 16 w 18"/>
                <a:gd name="T25" fmla="*/ 28 h 28"/>
                <a:gd name="T26" fmla="*/ 18 w 18"/>
                <a:gd name="T27" fmla="*/ 22 h 28"/>
                <a:gd name="T28" fmla="*/ 18 w 18"/>
                <a:gd name="T29" fmla="*/ 14 h 28"/>
                <a:gd name="T30" fmla="*/ 16 w 18"/>
                <a:gd name="T31" fmla="*/ 8 h 28"/>
                <a:gd name="T32" fmla="*/ 14 w 18"/>
                <a:gd name="T33" fmla="*/ 2 h 28"/>
                <a:gd name="T34" fmla="*/ 12 w 18"/>
                <a:gd name="T35" fmla="*/ 0 h 28"/>
                <a:gd name="T36" fmla="*/ 12 w 18"/>
                <a:gd name="T37" fmla="*/ 0 h 28"/>
                <a:gd name="T38" fmla="*/ 12 w 18"/>
                <a:gd name="T3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8" h="28">
                  <a:moveTo>
                    <a:pt x="12" y="0"/>
                  </a:moveTo>
                  <a:lnTo>
                    <a:pt x="12" y="4"/>
                  </a:lnTo>
                  <a:lnTo>
                    <a:pt x="12" y="4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8"/>
                  </a:lnTo>
                  <a:lnTo>
                    <a:pt x="2" y="12"/>
                  </a:lnTo>
                  <a:lnTo>
                    <a:pt x="10" y="2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8" y="22"/>
                  </a:lnTo>
                  <a:lnTo>
                    <a:pt x="18" y="14"/>
                  </a:lnTo>
                  <a:lnTo>
                    <a:pt x="16" y="8"/>
                  </a:lnTo>
                  <a:lnTo>
                    <a:pt x="14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50" name="Freeform 109"/>
            <p:cNvSpPr>
              <a:spLocks/>
            </p:cNvSpPr>
            <p:nvPr/>
          </p:nvSpPr>
          <p:spPr bwMode="auto">
            <a:xfrm>
              <a:off x="5038" y="2494"/>
              <a:ext cx="8" cy="8"/>
            </a:xfrm>
            <a:custGeom>
              <a:avLst/>
              <a:gdLst>
                <a:gd name="T0" fmla="*/ 8 w 8"/>
                <a:gd name="T1" fmla="*/ 0 h 8"/>
                <a:gd name="T2" fmla="*/ 8 w 8"/>
                <a:gd name="T3" fmla="*/ 0 h 8"/>
                <a:gd name="T4" fmla="*/ 4 w 8"/>
                <a:gd name="T5" fmla="*/ 0 h 8"/>
                <a:gd name="T6" fmla="*/ 0 w 8"/>
                <a:gd name="T7" fmla="*/ 0 h 8"/>
                <a:gd name="T8" fmla="*/ 0 w 8"/>
                <a:gd name="T9" fmla="*/ 0 h 8"/>
                <a:gd name="T10" fmla="*/ 0 w 8"/>
                <a:gd name="T11" fmla="*/ 0 h 8"/>
                <a:gd name="T12" fmla="*/ 0 w 8"/>
                <a:gd name="T13" fmla="*/ 6 h 8"/>
                <a:gd name="T14" fmla="*/ 0 w 8"/>
                <a:gd name="T15" fmla="*/ 8 h 8"/>
                <a:gd name="T16" fmla="*/ 0 w 8"/>
                <a:gd name="T17" fmla="*/ 8 h 8"/>
                <a:gd name="T18" fmla="*/ 4 w 8"/>
                <a:gd name="T19" fmla="*/ 8 h 8"/>
                <a:gd name="T20" fmla="*/ 8 w 8"/>
                <a:gd name="T21" fmla="*/ 8 h 8"/>
                <a:gd name="T22" fmla="*/ 8 w 8"/>
                <a:gd name="T23" fmla="*/ 8 h 8"/>
                <a:gd name="T24" fmla="*/ 8 w 8"/>
                <a:gd name="T25" fmla="*/ 6 h 8"/>
                <a:gd name="T26" fmla="*/ 8 w 8"/>
                <a:gd name="T27" fmla="*/ 0 h 8"/>
                <a:gd name="T28" fmla="*/ 8 w 8"/>
                <a:gd name="T29" fmla="*/ 0 h 8"/>
                <a:gd name="T30" fmla="*/ 8 w 8"/>
                <a:gd name="T3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" h="8">
                  <a:moveTo>
                    <a:pt x="8" y="0"/>
                  </a:moveTo>
                  <a:lnTo>
                    <a:pt x="8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6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51" name="Freeform 110"/>
            <p:cNvSpPr>
              <a:spLocks/>
            </p:cNvSpPr>
            <p:nvPr/>
          </p:nvSpPr>
          <p:spPr bwMode="auto">
            <a:xfrm>
              <a:off x="5046" y="2560"/>
              <a:ext cx="8" cy="13"/>
            </a:xfrm>
            <a:custGeom>
              <a:avLst/>
              <a:gdLst>
                <a:gd name="T0" fmla="*/ 0 w 8"/>
                <a:gd name="T1" fmla="*/ 0 h 13"/>
                <a:gd name="T2" fmla="*/ 0 w 8"/>
                <a:gd name="T3" fmla="*/ 4 h 13"/>
                <a:gd name="T4" fmla="*/ 0 w 8"/>
                <a:gd name="T5" fmla="*/ 4 h 13"/>
                <a:gd name="T6" fmla="*/ 0 w 8"/>
                <a:gd name="T7" fmla="*/ 9 h 13"/>
                <a:gd name="T8" fmla="*/ 0 w 8"/>
                <a:gd name="T9" fmla="*/ 13 h 13"/>
                <a:gd name="T10" fmla="*/ 0 w 8"/>
                <a:gd name="T11" fmla="*/ 13 h 13"/>
                <a:gd name="T12" fmla="*/ 4 w 8"/>
                <a:gd name="T13" fmla="*/ 11 h 13"/>
                <a:gd name="T14" fmla="*/ 6 w 8"/>
                <a:gd name="T15" fmla="*/ 11 h 13"/>
                <a:gd name="T16" fmla="*/ 8 w 8"/>
                <a:gd name="T17" fmla="*/ 6 h 13"/>
                <a:gd name="T18" fmla="*/ 8 w 8"/>
                <a:gd name="T19" fmla="*/ 4 h 13"/>
                <a:gd name="T20" fmla="*/ 6 w 8"/>
                <a:gd name="T21" fmla="*/ 2 h 13"/>
                <a:gd name="T22" fmla="*/ 4 w 8"/>
                <a:gd name="T23" fmla="*/ 0 h 13"/>
                <a:gd name="T24" fmla="*/ 0 w 8"/>
                <a:gd name="T25" fmla="*/ 0 h 13"/>
                <a:gd name="T26" fmla="*/ 0 w 8"/>
                <a:gd name="T27" fmla="*/ 0 h 13"/>
                <a:gd name="T28" fmla="*/ 0 w 8"/>
                <a:gd name="T2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" h="13">
                  <a:moveTo>
                    <a:pt x="0" y="0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4" y="11"/>
                  </a:lnTo>
                  <a:lnTo>
                    <a:pt x="6" y="11"/>
                  </a:lnTo>
                  <a:lnTo>
                    <a:pt x="8" y="6"/>
                  </a:lnTo>
                  <a:lnTo>
                    <a:pt x="8" y="4"/>
                  </a:lnTo>
                  <a:lnTo>
                    <a:pt x="6" y="2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52" name="Freeform 111"/>
            <p:cNvSpPr>
              <a:spLocks/>
            </p:cNvSpPr>
            <p:nvPr/>
          </p:nvSpPr>
          <p:spPr bwMode="auto">
            <a:xfrm>
              <a:off x="4976" y="2368"/>
              <a:ext cx="14" cy="14"/>
            </a:xfrm>
            <a:custGeom>
              <a:avLst/>
              <a:gdLst>
                <a:gd name="T0" fmla="*/ 14 w 14"/>
                <a:gd name="T1" fmla="*/ 4 h 14"/>
                <a:gd name="T2" fmla="*/ 10 w 14"/>
                <a:gd name="T3" fmla="*/ 0 h 14"/>
                <a:gd name="T4" fmla="*/ 10 w 14"/>
                <a:gd name="T5" fmla="*/ 0 h 14"/>
                <a:gd name="T6" fmla="*/ 4 w 14"/>
                <a:gd name="T7" fmla="*/ 4 h 14"/>
                <a:gd name="T8" fmla="*/ 0 w 14"/>
                <a:gd name="T9" fmla="*/ 8 h 14"/>
                <a:gd name="T10" fmla="*/ 4 w 14"/>
                <a:gd name="T11" fmla="*/ 12 h 14"/>
                <a:gd name="T12" fmla="*/ 6 w 14"/>
                <a:gd name="T13" fmla="*/ 14 h 14"/>
                <a:gd name="T14" fmla="*/ 8 w 14"/>
                <a:gd name="T15" fmla="*/ 14 h 14"/>
                <a:gd name="T16" fmla="*/ 12 w 14"/>
                <a:gd name="T17" fmla="*/ 14 h 14"/>
                <a:gd name="T18" fmla="*/ 14 w 14"/>
                <a:gd name="T19" fmla="*/ 10 h 14"/>
                <a:gd name="T20" fmla="*/ 14 w 14"/>
                <a:gd name="T21" fmla="*/ 4 h 14"/>
                <a:gd name="T22" fmla="*/ 14 w 14"/>
                <a:gd name="T23" fmla="*/ 4 h 14"/>
                <a:gd name="T24" fmla="*/ 14 w 14"/>
                <a:gd name="T25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" h="14">
                  <a:moveTo>
                    <a:pt x="14" y="4"/>
                  </a:moveTo>
                  <a:lnTo>
                    <a:pt x="10" y="0"/>
                  </a:lnTo>
                  <a:lnTo>
                    <a:pt x="10" y="0"/>
                  </a:lnTo>
                  <a:lnTo>
                    <a:pt x="4" y="4"/>
                  </a:lnTo>
                  <a:lnTo>
                    <a:pt x="0" y="8"/>
                  </a:lnTo>
                  <a:lnTo>
                    <a:pt x="4" y="12"/>
                  </a:lnTo>
                  <a:lnTo>
                    <a:pt x="6" y="14"/>
                  </a:lnTo>
                  <a:lnTo>
                    <a:pt x="8" y="14"/>
                  </a:lnTo>
                  <a:lnTo>
                    <a:pt x="12" y="14"/>
                  </a:lnTo>
                  <a:lnTo>
                    <a:pt x="14" y="10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4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53" name="Freeform 112"/>
            <p:cNvSpPr>
              <a:spLocks/>
            </p:cNvSpPr>
            <p:nvPr/>
          </p:nvSpPr>
          <p:spPr bwMode="auto">
            <a:xfrm>
              <a:off x="5042" y="2631"/>
              <a:ext cx="14" cy="30"/>
            </a:xfrm>
            <a:custGeom>
              <a:avLst/>
              <a:gdLst>
                <a:gd name="T0" fmla="*/ 10 w 14"/>
                <a:gd name="T1" fmla="*/ 6 h 30"/>
                <a:gd name="T2" fmla="*/ 4 w 14"/>
                <a:gd name="T3" fmla="*/ 0 h 30"/>
                <a:gd name="T4" fmla="*/ 4 w 14"/>
                <a:gd name="T5" fmla="*/ 0 h 30"/>
                <a:gd name="T6" fmla="*/ 4 w 14"/>
                <a:gd name="T7" fmla="*/ 10 h 30"/>
                <a:gd name="T8" fmla="*/ 2 w 14"/>
                <a:gd name="T9" fmla="*/ 16 h 30"/>
                <a:gd name="T10" fmla="*/ 0 w 14"/>
                <a:gd name="T11" fmla="*/ 20 h 30"/>
                <a:gd name="T12" fmla="*/ 0 w 14"/>
                <a:gd name="T13" fmla="*/ 30 h 30"/>
                <a:gd name="T14" fmla="*/ 0 w 14"/>
                <a:gd name="T15" fmla="*/ 30 h 30"/>
                <a:gd name="T16" fmla="*/ 4 w 14"/>
                <a:gd name="T17" fmla="*/ 30 h 30"/>
                <a:gd name="T18" fmla="*/ 10 w 14"/>
                <a:gd name="T19" fmla="*/ 26 h 30"/>
                <a:gd name="T20" fmla="*/ 12 w 14"/>
                <a:gd name="T21" fmla="*/ 24 h 30"/>
                <a:gd name="T22" fmla="*/ 14 w 14"/>
                <a:gd name="T23" fmla="*/ 20 h 30"/>
                <a:gd name="T24" fmla="*/ 14 w 14"/>
                <a:gd name="T25" fmla="*/ 16 h 30"/>
                <a:gd name="T26" fmla="*/ 14 w 14"/>
                <a:gd name="T27" fmla="*/ 10 h 30"/>
                <a:gd name="T28" fmla="*/ 14 w 14"/>
                <a:gd name="T29" fmla="*/ 8 h 30"/>
                <a:gd name="T30" fmla="*/ 10 w 14"/>
                <a:gd name="T31" fmla="*/ 6 h 30"/>
                <a:gd name="T32" fmla="*/ 10 w 14"/>
                <a:gd name="T33" fmla="*/ 6 h 30"/>
                <a:gd name="T34" fmla="*/ 10 w 14"/>
                <a:gd name="T35" fmla="*/ 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" h="30">
                  <a:moveTo>
                    <a:pt x="10" y="6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10"/>
                  </a:lnTo>
                  <a:lnTo>
                    <a:pt x="2" y="16"/>
                  </a:lnTo>
                  <a:lnTo>
                    <a:pt x="0" y="2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4" y="30"/>
                  </a:lnTo>
                  <a:lnTo>
                    <a:pt x="10" y="26"/>
                  </a:lnTo>
                  <a:lnTo>
                    <a:pt x="12" y="24"/>
                  </a:lnTo>
                  <a:lnTo>
                    <a:pt x="14" y="20"/>
                  </a:lnTo>
                  <a:lnTo>
                    <a:pt x="14" y="16"/>
                  </a:lnTo>
                  <a:lnTo>
                    <a:pt x="14" y="10"/>
                  </a:lnTo>
                  <a:lnTo>
                    <a:pt x="14" y="8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54" name="Freeform 113"/>
            <p:cNvSpPr>
              <a:spLocks/>
            </p:cNvSpPr>
            <p:nvPr/>
          </p:nvSpPr>
          <p:spPr bwMode="auto">
            <a:xfrm>
              <a:off x="5028" y="2713"/>
              <a:ext cx="16" cy="62"/>
            </a:xfrm>
            <a:custGeom>
              <a:avLst/>
              <a:gdLst>
                <a:gd name="T0" fmla="*/ 14 w 16"/>
                <a:gd name="T1" fmla="*/ 26 h 62"/>
                <a:gd name="T2" fmla="*/ 14 w 16"/>
                <a:gd name="T3" fmla="*/ 26 h 62"/>
                <a:gd name="T4" fmla="*/ 14 w 16"/>
                <a:gd name="T5" fmla="*/ 20 h 62"/>
                <a:gd name="T6" fmla="*/ 14 w 16"/>
                <a:gd name="T7" fmla="*/ 18 h 62"/>
                <a:gd name="T8" fmla="*/ 14 w 16"/>
                <a:gd name="T9" fmla="*/ 12 h 62"/>
                <a:gd name="T10" fmla="*/ 16 w 16"/>
                <a:gd name="T11" fmla="*/ 8 h 62"/>
                <a:gd name="T12" fmla="*/ 16 w 16"/>
                <a:gd name="T13" fmla="*/ 8 h 62"/>
                <a:gd name="T14" fmla="*/ 14 w 16"/>
                <a:gd name="T15" fmla="*/ 6 h 62"/>
                <a:gd name="T16" fmla="*/ 14 w 16"/>
                <a:gd name="T17" fmla="*/ 4 h 62"/>
                <a:gd name="T18" fmla="*/ 10 w 16"/>
                <a:gd name="T19" fmla="*/ 2 h 62"/>
                <a:gd name="T20" fmla="*/ 6 w 16"/>
                <a:gd name="T21" fmla="*/ 0 h 62"/>
                <a:gd name="T22" fmla="*/ 6 w 16"/>
                <a:gd name="T23" fmla="*/ 0 h 62"/>
                <a:gd name="T24" fmla="*/ 6 w 16"/>
                <a:gd name="T25" fmla="*/ 6 h 62"/>
                <a:gd name="T26" fmla="*/ 2 w 16"/>
                <a:gd name="T27" fmla="*/ 16 h 62"/>
                <a:gd name="T28" fmla="*/ 0 w 16"/>
                <a:gd name="T29" fmla="*/ 34 h 62"/>
                <a:gd name="T30" fmla="*/ 0 w 16"/>
                <a:gd name="T31" fmla="*/ 46 h 62"/>
                <a:gd name="T32" fmla="*/ 2 w 16"/>
                <a:gd name="T33" fmla="*/ 52 h 62"/>
                <a:gd name="T34" fmla="*/ 2 w 16"/>
                <a:gd name="T35" fmla="*/ 58 h 62"/>
                <a:gd name="T36" fmla="*/ 4 w 16"/>
                <a:gd name="T37" fmla="*/ 62 h 62"/>
                <a:gd name="T38" fmla="*/ 6 w 16"/>
                <a:gd name="T39" fmla="*/ 62 h 62"/>
                <a:gd name="T40" fmla="*/ 6 w 16"/>
                <a:gd name="T41" fmla="*/ 62 h 62"/>
                <a:gd name="T42" fmla="*/ 10 w 16"/>
                <a:gd name="T43" fmla="*/ 58 h 62"/>
                <a:gd name="T44" fmla="*/ 12 w 16"/>
                <a:gd name="T45" fmla="*/ 58 h 62"/>
                <a:gd name="T46" fmla="*/ 12 w 16"/>
                <a:gd name="T47" fmla="*/ 54 h 62"/>
                <a:gd name="T48" fmla="*/ 14 w 16"/>
                <a:gd name="T49" fmla="*/ 50 h 62"/>
                <a:gd name="T50" fmla="*/ 14 w 16"/>
                <a:gd name="T51" fmla="*/ 50 h 62"/>
                <a:gd name="T52" fmla="*/ 16 w 16"/>
                <a:gd name="T53" fmla="*/ 36 h 62"/>
                <a:gd name="T54" fmla="*/ 16 w 16"/>
                <a:gd name="T55" fmla="*/ 36 h 62"/>
                <a:gd name="T56" fmla="*/ 16 w 16"/>
                <a:gd name="T57" fmla="*/ 32 h 62"/>
                <a:gd name="T58" fmla="*/ 16 w 16"/>
                <a:gd name="T59" fmla="*/ 30 h 62"/>
                <a:gd name="T60" fmla="*/ 14 w 16"/>
                <a:gd name="T61" fmla="*/ 26 h 62"/>
                <a:gd name="T62" fmla="*/ 14 w 16"/>
                <a:gd name="T63" fmla="*/ 26 h 62"/>
                <a:gd name="T64" fmla="*/ 14 w 16"/>
                <a:gd name="T65" fmla="*/ 26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" h="62">
                  <a:moveTo>
                    <a:pt x="14" y="26"/>
                  </a:moveTo>
                  <a:lnTo>
                    <a:pt x="14" y="26"/>
                  </a:lnTo>
                  <a:lnTo>
                    <a:pt x="14" y="20"/>
                  </a:lnTo>
                  <a:lnTo>
                    <a:pt x="14" y="18"/>
                  </a:lnTo>
                  <a:lnTo>
                    <a:pt x="14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4" y="6"/>
                  </a:lnTo>
                  <a:lnTo>
                    <a:pt x="14" y="4"/>
                  </a:lnTo>
                  <a:lnTo>
                    <a:pt x="10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6"/>
                  </a:lnTo>
                  <a:lnTo>
                    <a:pt x="2" y="16"/>
                  </a:lnTo>
                  <a:lnTo>
                    <a:pt x="0" y="34"/>
                  </a:lnTo>
                  <a:lnTo>
                    <a:pt x="0" y="46"/>
                  </a:lnTo>
                  <a:lnTo>
                    <a:pt x="2" y="52"/>
                  </a:lnTo>
                  <a:lnTo>
                    <a:pt x="2" y="58"/>
                  </a:lnTo>
                  <a:lnTo>
                    <a:pt x="4" y="62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10" y="58"/>
                  </a:lnTo>
                  <a:lnTo>
                    <a:pt x="12" y="58"/>
                  </a:lnTo>
                  <a:lnTo>
                    <a:pt x="12" y="54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6" y="30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55" name="Freeform 114"/>
            <p:cNvSpPr>
              <a:spLocks/>
            </p:cNvSpPr>
            <p:nvPr/>
          </p:nvSpPr>
          <p:spPr bwMode="auto">
            <a:xfrm>
              <a:off x="4990" y="2791"/>
              <a:ext cx="38" cy="105"/>
            </a:xfrm>
            <a:custGeom>
              <a:avLst/>
              <a:gdLst>
                <a:gd name="T0" fmla="*/ 20 w 38"/>
                <a:gd name="T1" fmla="*/ 13 h 105"/>
                <a:gd name="T2" fmla="*/ 20 w 38"/>
                <a:gd name="T3" fmla="*/ 13 h 105"/>
                <a:gd name="T4" fmla="*/ 20 w 38"/>
                <a:gd name="T5" fmla="*/ 21 h 105"/>
                <a:gd name="T6" fmla="*/ 20 w 38"/>
                <a:gd name="T7" fmla="*/ 25 h 105"/>
                <a:gd name="T8" fmla="*/ 20 w 38"/>
                <a:gd name="T9" fmla="*/ 31 h 105"/>
                <a:gd name="T10" fmla="*/ 20 w 38"/>
                <a:gd name="T11" fmla="*/ 31 h 105"/>
                <a:gd name="T12" fmla="*/ 18 w 38"/>
                <a:gd name="T13" fmla="*/ 33 h 105"/>
                <a:gd name="T14" fmla="*/ 16 w 38"/>
                <a:gd name="T15" fmla="*/ 35 h 105"/>
                <a:gd name="T16" fmla="*/ 10 w 38"/>
                <a:gd name="T17" fmla="*/ 35 h 105"/>
                <a:gd name="T18" fmla="*/ 6 w 38"/>
                <a:gd name="T19" fmla="*/ 35 h 105"/>
                <a:gd name="T20" fmla="*/ 2 w 38"/>
                <a:gd name="T21" fmla="*/ 35 h 105"/>
                <a:gd name="T22" fmla="*/ 2 w 38"/>
                <a:gd name="T23" fmla="*/ 35 h 105"/>
                <a:gd name="T24" fmla="*/ 2 w 38"/>
                <a:gd name="T25" fmla="*/ 39 h 105"/>
                <a:gd name="T26" fmla="*/ 0 w 38"/>
                <a:gd name="T27" fmla="*/ 41 h 105"/>
                <a:gd name="T28" fmla="*/ 0 w 38"/>
                <a:gd name="T29" fmla="*/ 51 h 105"/>
                <a:gd name="T30" fmla="*/ 2 w 38"/>
                <a:gd name="T31" fmla="*/ 67 h 105"/>
                <a:gd name="T32" fmla="*/ 2 w 38"/>
                <a:gd name="T33" fmla="*/ 67 h 105"/>
                <a:gd name="T34" fmla="*/ 4 w 38"/>
                <a:gd name="T35" fmla="*/ 83 h 105"/>
                <a:gd name="T36" fmla="*/ 6 w 38"/>
                <a:gd name="T37" fmla="*/ 101 h 105"/>
                <a:gd name="T38" fmla="*/ 10 w 38"/>
                <a:gd name="T39" fmla="*/ 105 h 105"/>
                <a:gd name="T40" fmla="*/ 10 w 38"/>
                <a:gd name="T41" fmla="*/ 105 h 105"/>
                <a:gd name="T42" fmla="*/ 14 w 38"/>
                <a:gd name="T43" fmla="*/ 101 h 105"/>
                <a:gd name="T44" fmla="*/ 16 w 38"/>
                <a:gd name="T45" fmla="*/ 93 h 105"/>
                <a:gd name="T46" fmla="*/ 18 w 38"/>
                <a:gd name="T47" fmla="*/ 87 h 105"/>
                <a:gd name="T48" fmla="*/ 20 w 38"/>
                <a:gd name="T49" fmla="*/ 79 h 105"/>
                <a:gd name="T50" fmla="*/ 20 w 38"/>
                <a:gd name="T51" fmla="*/ 79 h 105"/>
                <a:gd name="T52" fmla="*/ 20 w 38"/>
                <a:gd name="T53" fmla="*/ 71 h 105"/>
                <a:gd name="T54" fmla="*/ 20 w 38"/>
                <a:gd name="T55" fmla="*/ 65 h 105"/>
                <a:gd name="T56" fmla="*/ 20 w 38"/>
                <a:gd name="T57" fmla="*/ 65 h 105"/>
                <a:gd name="T58" fmla="*/ 20 w 38"/>
                <a:gd name="T59" fmla="*/ 61 h 105"/>
                <a:gd name="T60" fmla="*/ 24 w 38"/>
                <a:gd name="T61" fmla="*/ 57 h 105"/>
                <a:gd name="T62" fmla="*/ 26 w 38"/>
                <a:gd name="T63" fmla="*/ 53 h 105"/>
                <a:gd name="T64" fmla="*/ 26 w 38"/>
                <a:gd name="T65" fmla="*/ 53 h 105"/>
                <a:gd name="T66" fmla="*/ 26 w 38"/>
                <a:gd name="T67" fmla="*/ 47 h 105"/>
                <a:gd name="T68" fmla="*/ 28 w 38"/>
                <a:gd name="T69" fmla="*/ 39 h 105"/>
                <a:gd name="T70" fmla="*/ 28 w 38"/>
                <a:gd name="T71" fmla="*/ 29 h 105"/>
                <a:gd name="T72" fmla="*/ 28 w 38"/>
                <a:gd name="T73" fmla="*/ 29 h 105"/>
                <a:gd name="T74" fmla="*/ 32 w 38"/>
                <a:gd name="T75" fmla="*/ 17 h 105"/>
                <a:gd name="T76" fmla="*/ 38 w 38"/>
                <a:gd name="T77" fmla="*/ 6 h 105"/>
                <a:gd name="T78" fmla="*/ 38 w 38"/>
                <a:gd name="T79" fmla="*/ 6 h 105"/>
                <a:gd name="T80" fmla="*/ 32 w 38"/>
                <a:gd name="T81" fmla="*/ 6 h 105"/>
                <a:gd name="T82" fmla="*/ 28 w 38"/>
                <a:gd name="T83" fmla="*/ 2 h 105"/>
                <a:gd name="T84" fmla="*/ 24 w 38"/>
                <a:gd name="T85" fmla="*/ 0 h 105"/>
                <a:gd name="T86" fmla="*/ 24 w 38"/>
                <a:gd name="T87" fmla="*/ 0 h 105"/>
                <a:gd name="T88" fmla="*/ 22 w 38"/>
                <a:gd name="T89" fmla="*/ 2 h 105"/>
                <a:gd name="T90" fmla="*/ 20 w 38"/>
                <a:gd name="T91" fmla="*/ 13 h 105"/>
                <a:gd name="T92" fmla="*/ 20 w 38"/>
                <a:gd name="T93" fmla="*/ 13 h 105"/>
                <a:gd name="T94" fmla="*/ 20 w 38"/>
                <a:gd name="T95" fmla="*/ 13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8" h="105">
                  <a:moveTo>
                    <a:pt x="20" y="13"/>
                  </a:moveTo>
                  <a:lnTo>
                    <a:pt x="20" y="13"/>
                  </a:lnTo>
                  <a:lnTo>
                    <a:pt x="20" y="21"/>
                  </a:lnTo>
                  <a:lnTo>
                    <a:pt x="20" y="25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18" y="33"/>
                  </a:lnTo>
                  <a:lnTo>
                    <a:pt x="16" y="35"/>
                  </a:lnTo>
                  <a:lnTo>
                    <a:pt x="10" y="35"/>
                  </a:lnTo>
                  <a:lnTo>
                    <a:pt x="6" y="35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2" y="39"/>
                  </a:lnTo>
                  <a:lnTo>
                    <a:pt x="0" y="41"/>
                  </a:lnTo>
                  <a:lnTo>
                    <a:pt x="0" y="51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4" y="83"/>
                  </a:lnTo>
                  <a:lnTo>
                    <a:pt x="6" y="101"/>
                  </a:lnTo>
                  <a:lnTo>
                    <a:pt x="10" y="105"/>
                  </a:lnTo>
                  <a:lnTo>
                    <a:pt x="10" y="105"/>
                  </a:lnTo>
                  <a:lnTo>
                    <a:pt x="14" y="101"/>
                  </a:lnTo>
                  <a:lnTo>
                    <a:pt x="16" y="93"/>
                  </a:lnTo>
                  <a:lnTo>
                    <a:pt x="18" y="87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1"/>
                  </a:lnTo>
                  <a:lnTo>
                    <a:pt x="20" y="65"/>
                  </a:lnTo>
                  <a:lnTo>
                    <a:pt x="20" y="65"/>
                  </a:lnTo>
                  <a:lnTo>
                    <a:pt x="20" y="61"/>
                  </a:lnTo>
                  <a:lnTo>
                    <a:pt x="24" y="57"/>
                  </a:lnTo>
                  <a:lnTo>
                    <a:pt x="26" y="53"/>
                  </a:lnTo>
                  <a:lnTo>
                    <a:pt x="26" y="53"/>
                  </a:lnTo>
                  <a:lnTo>
                    <a:pt x="26" y="47"/>
                  </a:lnTo>
                  <a:lnTo>
                    <a:pt x="28" y="39"/>
                  </a:lnTo>
                  <a:lnTo>
                    <a:pt x="28" y="29"/>
                  </a:lnTo>
                  <a:lnTo>
                    <a:pt x="28" y="29"/>
                  </a:lnTo>
                  <a:lnTo>
                    <a:pt x="32" y="17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2" y="6"/>
                  </a:lnTo>
                  <a:lnTo>
                    <a:pt x="28" y="2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2" y="2"/>
                  </a:lnTo>
                  <a:lnTo>
                    <a:pt x="20" y="13"/>
                  </a:lnTo>
                  <a:lnTo>
                    <a:pt x="20" y="13"/>
                  </a:lnTo>
                  <a:lnTo>
                    <a:pt x="20" y="13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56" name="Freeform 115"/>
            <p:cNvSpPr>
              <a:spLocks/>
            </p:cNvSpPr>
            <p:nvPr/>
          </p:nvSpPr>
          <p:spPr bwMode="auto">
            <a:xfrm>
              <a:off x="4963" y="2904"/>
              <a:ext cx="45" cy="78"/>
            </a:xfrm>
            <a:custGeom>
              <a:avLst/>
              <a:gdLst>
                <a:gd name="T0" fmla="*/ 45 w 45"/>
                <a:gd name="T1" fmla="*/ 70 h 78"/>
                <a:gd name="T2" fmla="*/ 37 w 45"/>
                <a:gd name="T3" fmla="*/ 66 h 78"/>
                <a:gd name="T4" fmla="*/ 37 w 45"/>
                <a:gd name="T5" fmla="*/ 66 h 78"/>
                <a:gd name="T6" fmla="*/ 27 w 45"/>
                <a:gd name="T7" fmla="*/ 64 h 78"/>
                <a:gd name="T8" fmla="*/ 25 w 45"/>
                <a:gd name="T9" fmla="*/ 60 h 78"/>
                <a:gd name="T10" fmla="*/ 23 w 45"/>
                <a:gd name="T11" fmla="*/ 58 h 78"/>
                <a:gd name="T12" fmla="*/ 23 w 45"/>
                <a:gd name="T13" fmla="*/ 56 h 78"/>
                <a:gd name="T14" fmla="*/ 23 w 45"/>
                <a:gd name="T15" fmla="*/ 50 h 78"/>
                <a:gd name="T16" fmla="*/ 25 w 45"/>
                <a:gd name="T17" fmla="*/ 40 h 78"/>
                <a:gd name="T18" fmla="*/ 25 w 45"/>
                <a:gd name="T19" fmla="*/ 40 h 78"/>
                <a:gd name="T20" fmla="*/ 25 w 45"/>
                <a:gd name="T21" fmla="*/ 20 h 78"/>
                <a:gd name="T22" fmla="*/ 27 w 45"/>
                <a:gd name="T23" fmla="*/ 12 h 78"/>
                <a:gd name="T24" fmla="*/ 29 w 45"/>
                <a:gd name="T25" fmla="*/ 0 h 78"/>
                <a:gd name="T26" fmla="*/ 29 w 45"/>
                <a:gd name="T27" fmla="*/ 0 h 78"/>
                <a:gd name="T28" fmla="*/ 25 w 45"/>
                <a:gd name="T29" fmla="*/ 2 h 78"/>
                <a:gd name="T30" fmla="*/ 17 w 45"/>
                <a:gd name="T31" fmla="*/ 4 h 78"/>
                <a:gd name="T32" fmla="*/ 8 w 45"/>
                <a:gd name="T33" fmla="*/ 10 h 78"/>
                <a:gd name="T34" fmla="*/ 6 w 45"/>
                <a:gd name="T35" fmla="*/ 14 h 78"/>
                <a:gd name="T36" fmla="*/ 6 w 45"/>
                <a:gd name="T37" fmla="*/ 14 h 78"/>
                <a:gd name="T38" fmla="*/ 10 w 45"/>
                <a:gd name="T39" fmla="*/ 14 h 78"/>
                <a:gd name="T40" fmla="*/ 10 w 45"/>
                <a:gd name="T41" fmla="*/ 14 h 78"/>
                <a:gd name="T42" fmla="*/ 10 w 45"/>
                <a:gd name="T43" fmla="*/ 20 h 78"/>
                <a:gd name="T44" fmla="*/ 11 w 45"/>
                <a:gd name="T45" fmla="*/ 32 h 78"/>
                <a:gd name="T46" fmla="*/ 10 w 45"/>
                <a:gd name="T47" fmla="*/ 40 h 78"/>
                <a:gd name="T48" fmla="*/ 8 w 45"/>
                <a:gd name="T49" fmla="*/ 44 h 78"/>
                <a:gd name="T50" fmla="*/ 6 w 45"/>
                <a:gd name="T51" fmla="*/ 46 h 78"/>
                <a:gd name="T52" fmla="*/ 6 w 45"/>
                <a:gd name="T53" fmla="*/ 46 h 78"/>
                <a:gd name="T54" fmla="*/ 2 w 45"/>
                <a:gd name="T55" fmla="*/ 42 h 78"/>
                <a:gd name="T56" fmla="*/ 2 w 45"/>
                <a:gd name="T57" fmla="*/ 42 h 78"/>
                <a:gd name="T58" fmla="*/ 0 w 45"/>
                <a:gd name="T59" fmla="*/ 46 h 78"/>
                <a:gd name="T60" fmla="*/ 0 w 45"/>
                <a:gd name="T61" fmla="*/ 48 h 78"/>
                <a:gd name="T62" fmla="*/ 0 w 45"/>
                <a:gd name="T63" fmla="*/ 48 h 78"/>
                <a:gd name="T64" fmla="*/ 6 w 45"/>
                <a:gd name="T65" fmla="*/ 50 h 78"/>
                <a:gd name="T66" fmla="*/ 6 w 45"/>
                <a:gd name="T67" fmla="*/ 50 h 78"/>
                <a:gd name="T68" fmla="*/ 6 w 45"/>
                <a:gd name="T69" fmla="*/ 66 h 78"/>
                <a:gd name="T70" fmla="*/ 6 w 45"/>
                <a:gd name="T71" fmla="*/ 66 h 78"/>
                <a:gd name="T72" fmla="*/ 11 w 45"/>
                <a:gd name="T73" fmla="*/ 66 h 78"/>
                <a:gd name="T74" fmla="*/ 11 w 45"/>
                <a:gd name="T75" fmla="*/ 66 h 78"/>
                <a:gd name="T76" fmla="*/ 11 w 45"/>
                <a:gd name="T77" fmla="*/ 70 h 78"/>
                <a:gd name="T78" fmla="*/ 17 w 45"/>
                <a:gd name="T79" fmla="*/ 72 h 78"/>
                <a:gd name="T80" fmla="*/ 21 w 45"/>
                <a:gd name="T81" fmla="*/ 76 h 78"/>
                <a:gd name="T82" fmla="*/ 25 w 45"/>
                <a:gd name="T83" fmla="*/ 78 h 78"/>
                <a:gd name="T84" fmla="*/ 33 w 45"/>
                <a:gd name="T85" fmla="*/ 78 h 78"/>
                <a:gd name="T86" fmla="*/ 45 w 45"/>
                <a:gd name="T87" fmla="*/ 78 h 78"/>
                <a:gd name="T88" fmla="*/ 45 w 45"/>
                <a:gd name="T89" fmla="*/ 78 h 78"/>
                <a:gd name="T90" fmla="*/ 45 w 45"/>
                <a:gd name="T91" fmla="*/ 70 h 78"/>
                <a:gd name="T92" fmla="*/ 45 w 45"/>
                <a:gd name="T93" fmla="*/ 70 h 78"/>
                <a:gd name="T94" fmla="*/ 45 w 45"/>
                <a:gd name="T95" fmla="*/ 7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5" h="78">
                  <a:moveTo>
                    <a:pt x="45" y="70"/>
                  </a:moveTo>
                  <a:lnTo>
                    <a:pt x="37" y="66"/>
                  </a:lnTo>
                  <a:lnTo>
                    <a:pt x="37" y="66"/>
                  </a:lnTo>
                  <a:lnTo>
                    <a:pt x="27" y="64"/>
                  </a:lnTo>
                  <a:lnTo>
                    <a:pt x="25" y="60"/>
                  </a:lnTo>
                  <a:lnTo>
                    <a:pt x="23" y="58"/>
                  </a:lnTo>
                  <a:lnTo>
                    <a:pt x="23" y="56"/>
                  </a:lnTo>
                  <a:lnTo>
                    <a:pt x="23" y="50"/>
                  </a:lnTo>
                  <a:lnTo>
                    <a:pt x="25" y="40"/>
                  </a:lnTo>
                  <a:lnTo>
                    <a:pt x="25" y="40"/>
                  </a:lnTo>
                  <a:lnTo>
                    <a:pt x="25" y="20"/>
                  </a:lnTo>
                  <a:lnTo>
                    <a:pt x="27" y="12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5" y="2"/>
                  </a:lnTo>
                  <a:lnTo>
                    <a:pt x="17" y="4"/>
                  </a:lnTo>
                  <a:lnTo>
                    <a:pt x="8" y="10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20"/>
                  </a:lnTo>
                  <a:lnTo>
                    <a:pt x="11" y="32"/>
                  </a:lnTo>
                  <a:lnTo>
                    <a:pt x="10" y="40"/>
                  </a:lnTo>
                  <a:lnTo>
                    <a:pt x="8" y="44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0" y="46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6" y="50"/>
                  </a:lnTo>
                  <a:lnTo>
                    <a:pt x="6" y="50"/>
                  </a:lnTo>
                  <a:lnTo>
                    <a:pt x="6" y="66"/>
                  </a:lnTo>
                  <a:lnTo>
                    <a:pt x="6" y="66"/>
                  </a:lnTo>
                  <a:lnTo>
                    <a:pt x="11" y="66"/>
                  </a:lnTo>
                  <a:lnTo>
                    <a:pt x="11" y="66"/>
                  </a:lnTo>
                  <a:lnTo>
                    <a:pt x="11" y="70"/>
                  </a:lnTo>
                  <a:lnTo>
                    <a:pt x="17" y="72"/>
                  </a:lnTo>
                  <a:lnTo>
                    <a:pt x="21" y="76"/>
                  </a:lnTo>
                  <a:lnTo>
                    <a:pt x="25" y="78"/>
                  </a:lnTo>
                  <a:lnTo>
                    <a:pt x="33" y="78"/>
                  </a:lnTo>
                  <a:lnTo>
                    <a:pt x="45" y="78"/>
                  </a:lnTo>
                  <a:lnTo>
                    <a:pt x="45" y="78"/>
                  </a:lnTo>
                  <a:lnTo>
                    <a:pt x="45" y="70"/>
                  </a:lnTo>
                  <a:lnTo>
                    <a:pt x="45" y="70"/>
                  </a:lnTo>
                  <a:lnTo>
                    <a:pt x="45" y="7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57" name="Freeform 116"/>
            <p:cNvSpPr>
              <a:spLocks/>
            </p:cNvSpPr>
            <p:nvPr/>
          </p:nvSpPr>
          <p:spPr bwMode="auto">
            <a:xfrm>
              <a:off x="5010" y="2922"/>
              <a:ext cx="12" cy="18"/>
            </a:xfrm>
            <a:custGeom>
              <a:avLst/>
              <a:gdLst>
                <a:gd name="T0" fmla="*/ 8 w 12"/>
                <a:gd name="T1" fmla="*/ 2 h 18"/>
                <a:gd name="T2" fmla="*/ 8 w 12"/>
                <a:gd name="T3" fmla="*/ 0 h 18"/>
                <a:gd name="T4" fmla="*/ 8 w 12"/>
                <a:gd name="T5" fmla="*/ 0 h 18"/>
                <a:gd name="T6" fmla="*/ 4 w 12"/>
                <a:gd name="T7" fmla="*/ 2 h 18"/>
                <a:gd name="T8" fmla="*/ 2 w 12"/>
                <a:gd name="T9" fmla="*/ 6 h 18"/>
                <a:gd name="T10" fmla="*/ 0 w 12"/>
                <a:gd name="T11" fmla="*/ 12 h 18"/>
                <a:gd name="T12" fmla="*/ 2 w 12"/>
                <a:gd name="T13" fmla="*/ 14 h 18"/>
                <a:gd name="T14" fmla="*/ 4 w 12"/>
                <a:gd name="T15" fmla="*/ 16 h 18"/>
                <a:gd name="T16" fmla="*/ 4 w 12"/>
                <a:gd name="T17" fmla="*/ 16 h 18"/>
                <a:gd name="T18" fmla="*/ 6 w 12"/>
                <a:gd name="T19" fmla="*/ 18 h 18"/>
                <a:gd name="T20" fmla="*/ 8 w 12"/>
                <a:gd name="T21" fmla="*/ 16 h 18"/>
                <a:gd name="T22" fmla="*/ 8 w 12"/>
                <a:gd name="T23" fmla="*/ 16 h 18"/>
                <a:gd name="T24" fmla="*/ 10 w 12"/>
                <a:gd name="T25" fmla="*/ 14 h 18"/>
                <a:gd name="T26" fmla="*/ 12 w 12"/>
                <a:gd name="T27" fmla="*/ 6 h 18"/>
                <a:gd name="T28" fmla="*/ 10 w 12"/>
                <a:gd name="T29" fmla="*/ 4 h 18"/>
                <a:gd name="T30" fmla="*/ 8 w 12"/>
                <a:gd name="T31" fmla="*/ 2 h 18"/>
                <a:gd name="T32" fmla="*/ 8 w 12"/>
                <a:gd name="T33" fmla="*/ 2 h 18"/>
                <a:gd name="T34" fmla="*/ 8 w 12"/>
                <a:gd name="T35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" h="18">
                  <a:moveTo>
                    <a:pt x="8" y="2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4" y="2"/>
                  </a:lnTo>
                  <a:lnTo>
                    <a:pt x="2" y="6"/>
                  </a:lnTo>
                  <a:lnTo>
                    <a:pt x="0" y="12"/>
                  </a:lnTo>
                  <a:lnTo>
                    <a:pt x="2" y="14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6" y="18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0" y="14"/>
                  </a:lnTo>
                  <a:lnTo>
                    <a:pt x="12" y="6"/>
                  </a:lnTo>
                  <a:lnTo>
                    <a:pt x="10" y="4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58" name="Freeform 117"/>
            <p:cNvSpPr>
              <a:spLocks/>
            </p:cNvSpPr>
            <p:nvPr/>
          </p:nvSpPr>
          <p:spPr bwMode="auto">
            <a:xfrm>
              <a:off x="5006" y="1914"/>
              <a:ext cx="46" cy="16"/>
            </a:xfrm>
            <a:custGeom>
              <a:avLst/>
              <a:gdLst>
                <a:gd name="T0" fmla="*/ 0 w 46"/>
                <a:gd name="T1" fmla="*/ 8 h 16"/>
                <a:gd name="T2" fmla="*/ 0 w 46"/>
                <a:gd name="T3" fmla="*/ 8 h 16"/>
                <a:gd name="T4" fmla="*/ 2 w 46"/>
                <a:gd name="T5" fmla="*/ 10 h 16"/>
                <a:gd name="T6" fmla="*/ 8 w 46"/>
                <a:gd name="T7" fmla="*/ 12 h 16"/>
                <a:gd name="T8" fmla="*/ 20 w 46"/>
                <a:gd name="T9" fmla="*/ 16 h 16"/>
                <a:gd name="T10" fmla="*/ 32 w 46"/>
                <a:gd name="T11" fmla="*/ 16 h 16"/>
                <a:gd name="T12" fmla="*/ 40 w 46"/>
                <a:gd name="T13" fmla="*/ 16 h 16"/>
                <a:gd name="T14" fmla="*/ 46 w 46"/>
                <a:gd name="T15" fmla="*/ 12 h 16"/>
                <a:gd name="T16" fmla="*/ 46 w 46"/>
                <a:gd name="T17" fmla="*/ 12 h 16"/>
                <a:gd name="T18" fmla="*/ 46 w 46"/>
                <a:gd name="T19" fmla="*/ 10 h 16"/>
                <a:gd name="T20" fmla="*/ 44 w 46"/>
                <a:gd name="T21" fmla="*/ 6 h 16"/>
                <a:gd name="T22" fmla="*/ 38 w 46"/>
                <a:gd name="T23" fmla="*/ 4 h 16"/>
                <a:gd name="T24" fmla="*/ 32 w 46"/>
                <a:gd name="T25" fmla="*/ 2 h 16"/>
                <a:gd name="T26" fmla="*/ 24 w 46"/>
                <a:gd name="T27" fmla="*/ 0 h 16"/>
                <a:gd name="T28" fmla="*/ 16 w 46"/>
                <a:gd name="T29" fmla="*/ 0 h 16"/>
                <a:gd name="T30" fmla="*/ 8 w 46"/>
                <a:gd name="T31" fmla="*/ 2 h 16"/>
                <a:gd name="T32" fmla="*/ 4 w 46"/>
                <a:gd name="T33" fmla="*/ 4 h 16"/>
                <a:gd name="T34" fmla="*/ 0 w 46"/>
                <a:gd name="T35" fmla="*/ 8 h 16"/>
                <a:gd name="T36" fmla="*/ 0 w 46"/>
                <a:gd name="T37" fmla="*/ 8 h 16"/>
                <a:gd name="T38" fmla="*/ 0 w 46"/>
                <a:gd name="T3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6" h="16">
                  <a:moveTo>
                    <a:pt x="0" y="8"/>
                  </a:moveTo>
                  <a:lnTo>
                    <a:pt x="0" y="8"/>
                  </a:lnTo>
                  <a:lnTo>
                    <a:pt x="2" y="10"/>
                  </a:lnTo>
                  <a:lnTo>
                    <a:pt x="8" y="12"/>
                  </a:lnTo>
                  <a:lnTo>
                    <a:pt x="20" y="16"/>
                  </a:lnTo>
                  <a:lnTo>
                    <a:pt x="32" y="16"/>
                  </a:lnTo>
                  <a:lnTo>
                    <a:pt x="40" y="16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6" y="10"/>
                  </a:lnTo>
                  <a:lnTo>
                    <a:pt x="44" y="6"/>
                  </a:lnTo>
                  <a:lnTo>
                    <a:pt x="38" y="4"/>
                  </a:lnTo>
                  <a:lnTo>
                    <a:pt x="32" y="2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8" y="2"/>
                  </a:lnTo>
                  <a:lnTo>
                    <a:pt x="4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59" name="Freeform 118"/>
            <p:cNvSpPr>
              <a:spLocks/>
            </p:cNvSpPr>
            <p:nvPr/>
          </p:nvSpPr>
          <p:spPr bwMode="auto">
            <a:xfrm>
              <a:off x="5058" y="1892"/>
              <a:ext cx="24" cy="16"/>
            </a:xfrm>
            <a:custGeom>
              <a:avLst/>
              <a:gdLst>
                <a:gd name="T0" fmla="*/ 22 w 24"/>
                <a:gd name="T1" fmla="*/ 0 h 16"/>
                <a:gd name="T2" fmla="*/ 20 w 24"/>
                <a:gd name="T3" fmla="*/ 0 h 16"/>
                <a:gd name="T4" fmla="*/ 20 w 24"/>
                <a:gd name="T5" fmla="*/ 0 h 16"/>
                <a:gd name="T6" fmla="*/ 16 w 24"/>
                <a:gd name="T7" fmla="*/ 2 h 16"/>
                <a:gd name="T8" fmla="*/ 6 w 24"/>
                <a:gd name="T9" fmla="*/ 6 h 16"/>
                <a:gd name="T10" fmla="*/ 2 w 24"/>
                <a:gd name="T11" fmla="*/ 8 h 16"/>
                <a:gd name="T12" fmla="*/ 0 w 24"/>
                <a:gd name="T13" fmla="*/ 10 h 16"/>
                <a:gd name="T14" fmla="*/ 0 w 24"/>
                <a:gd name="T15" fmla="*/ 10 h 16"/>
                <a:gd name="T16" fmla="*/ 2 w 24"/>
                <a:gd name="T17" fmla="*/ 16 h 16"/>
                <a:gd name="T18" fmla="*/ 2 w 24"/>
                <a:gd name="T19" fmla="*/ 16 h 16"/>
                <a:gd name="T20" fmla="*/ 6 w 24"/>
                <a:gd name="T21" fmla="*/ 16 h 16"/>
                <a:gd name="T22" fmla="*/ 8 w 24"/>
                <a:gd name="T23" fmla="*/ 16 h 16"/>
                <a:gd name="T24" fmla="*/ 18 w 24"/>
                <a:gd name="T25" fmla="*/ 10 h 16"/>
                <a:gd name="T26" fmla="*/ 22 w 24"/>
                <a:gd name="T27" fmla="*/ 6 h 16"/>
                <a:gd name="T28" fmla="*/ 24 w 24"/>
                <a:gd name="T29" fmla="*/ 4 h 16"/>
                <a:gd name="T30" fmla="*/ 24 w 24"/>
                <a:gd name="T31" fmla="*/ 2 h 16"/>
                <a:gd name="T32" fmla="*/ 22 w 24"/>
                <a:gd name="T33" fmla="*/ 0 h 16"/>
                <a:gd name="T34" fmla="*/ 22 w 24"/>
                <a:gd name="T35" fmla="*/ 0 h 16"/>
                <a:gd name="T36" fmla="*/ 22 w 24"/>
                <a:gd name="T3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" h="16">
                  <a:moveTo>
                    <a:pt x="22" y="0"/>
                  </a:moveTo>
                  <a:lnTo>
                    <a:pt x="20" y="0"/>
                  </a:lnTo>
                  <a:lnTo>
                    <a:pt x="20" y="0"/>
                  </a:lnTo>
                  <a:lnTo>
                    <a:pt x="16" y="2"/>
                  </a:lnTo>
                  <a:lnTo>
                    <a:pt x="6" y="6"/>
                  </a:lnTo>
                  <a:lnTo>
                    <a:pt x="2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6" y="16"/>
                  </a:lnTo>
                  <a:lnTo>
                    <a:pt x="8" y="16"/>
                  </a:lnTo>
                  <a:lnTo>
                    <a:pt x="18" y="10"/>
                  </a:lnTo>
                  <a:lnTo>
                    <a:pt x="22" y="6"/>
                  </a:lnTo>
                  <a:lnTo>
                    <a:pt x="24" y="4"/>
                  </a:lnTo>
                  <a:lnTo>
                    <a:pt x="24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60" name="Freeform 119"/>
            <p:cNvSpPr>
              <a:spLocks/>
            </p:cNvSpPr>
            <p:nvPr/>
          </p:nvSpPr>
          <p:spPr bwMode="auto">
            <a:xfrm>
              <a:off x="3007" y="1393"/>
              <a:ext cx="22" cy="19"/>
            </a:xfrm>
            <a:custGeom>
              <a:avLst/>
              <a:gdLst>
                <a:gd name="T0" fmla="*/ 20 w 22"/>
                <a:gd name="T1" fmla="*/ 4 h 19"/>
                <a:gd name="T2" fmla="*/ 18 w 22"/>
                <a:gd name="T3" fmla="*/ 2 h 19"/>
                <a:gd name="T4" fmla="*/ 18 w 22"/>
                <a:gd name="T5" fmla="*/ 2 h 19"/>
                <a:gd name="T6" fmla="*/ 16 w 22"/>
                <a:gd name="T7" fmla="*/ 0 h 19"/>
                <a:gd name="T8" fmla="*/ 14 w 22"/>
                <a:gd name="T9" fmla="*/ 0 h 19"/>
                <a:gd name="T10" fmla="*/ 10 w 22"/>
                <a:gd name="T11" fmla="*/ 0 h 19"/>
                <a:gd name="T12" fmla="*/ 6 w 22"/>
                <a:gd name="T13" fmla="*/ 0 h 19"/>
                <a:gd name="T14" fmla="*/ 4 w 22"/>
                <a:gd name="T15" fmla="*/ 4 h 19"/>
                <a:gd name="T16" fmla="*/ 0 w 22"/>
                <a:gd name="T17" fmla="*/ 6 h 19"/>
                <a:gd name="T18" fmla="*/ 0 w 22"/>
                <a:gd name="T19" fmla="*/ 12 h 19"/>
                <a:gd name="T20" fmla="*/ 4 w 22"/>
                <a:gd name="T21" fmla="*/ 15 h 19"/>
                <a:gd name="T22" fmla="*/ 4 w 22"/>
                <a:gd name="T23" fmla="*/ 15 h 19"/>
                <a:gd name="T24" fmla="*/ 6 w 22"/>
                <a:gd name="T25" fmla="*/ 17 h 19"/>
                <a:gd name="T26" fmla="*/ 10 w 22"/>
                <a:gd name="T27" fmla="*/ 19 h 19"/>
                <a:gd name="T28" fmla="*/ 14 w 22"/>
                <a:gd name="T29" fmla="*/ 17 h 19"/>
                <a:gd name="T30" fmla="*/ 18 w 22"/>
                <a:gd name="T31" fmla="*/ 17 h 19"/>
                <a:gd name="T32" fmla="*/ 20 w 22"/>
                <a:gd name="T33" fmla="*/ 15 h 19"/>
                <a:gd name="T34" fmla="*/ 22 w 22"/>
                <a:gd name="T35" fmla="*/ 13 h 19"/>
                <a:gd name="T36" fmla="*/ 22 w 22"/>
                <a:gd name="T37" fmla="*/ 8 h 19"/>
                <a:gd name="T38" fmla="*/ 20 w 22"/>
                <a:gd name="T39" fmla="*/ 4 h 19"/>
                <a:gd name="T40" fmla="*/ 20 w 22"/>
                <a:gd name="T41" fmla="*/ 4 h 19"/>
                <a:gd name="T42" fmla="*/ 20 w 22"/>
                <a:gd name="T43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" h="19">
                  <a:moveTo>
                    <a:pt x="20" y="4"/>
                  </a:moveTo>
                  <a:lnTo>
                    <a:pt x="18" y="2"/>
                  </a:lnTo>
                  <a:lnTo>
                    <a:pt x="18" y="2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0" y="0"/>
                  </a:lnTo>
                  <a:lnTo>
                    <a:pt x="6" y="0"/>
                  </a:lnTo>
                  <a:lnTo>
                    <a:pt x="4" y="4"/>
                  </a:lnTo>
                  <a:lnTo>
                    <a:pt x="0" y="6"/>
                  </a:lnTo>
                  <a:lnTo>
                    <a:pt x="0" y="12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6" y="17"/>
                  </a:lnTo>
                  <a:lnTo>
                    <a:pt x="10" y="19"/>
                  </a:lnTo>
                  <a:lnTo>
                    <a:pt x="14" y="17"/>
                  </a:lnTo>
                  <a:lnTo>
                    <a:pt x="18" y="17"/>
                  </a:lnTo>
                  <a:lnTo>
                    <a:pt x="20" y="15"/>
                  </a:lnTo>
                  <a:lnTo>
                    <a:pt x="22" y="13"/>
                  </a:lnTo>
                  <a:lnTo>
                    <a:pt x="22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61" name="Freeform 120"/>
            <p:cNvSpPr>
              <a:spLocks/>
            </p:cNvSpPr>
            <p:nvPr/>
          </p:nvSpPr>
          <p:spPr bwMode="auto">
            <a:xfrm>
              <a:off x="2894" y="1385"/>
              <a:ext cx="16" cy="14"/>
            </a:xfrm>
            <a:custGeom>
              <a:avLst/>
              <a:gdLst>
                <a:gd name="T0" fmla="*/ 16 w 16"/>
                <a:gd name="T1" fmla="*/ 0 h 14"/>
                <a:gd name="T2" fmla="*/ 16 w 16"/>
                <a:gd name="T3" fmla="*/ 0 h 14"/>
                <a:gd name="T4" fmla="*/ 16 w 16"/>
                <a:gd name="T5" fmla="*/ 0 h 14"/>
                <a:gd name="T6" fmla="*/ 6 w 16"/>
                <a:gd name="T7" fmla="*/ 0 h 14"/>
                <a:gd name="T8" fmla="*/ 2 w 16"/>
                <a:gd name="T9" fmla="*/ 0 h 14"/>
                <a:gd name="T10" fmla="*/ 2 w 16"/>
                <a:gd name="T11" fmla="*/ 0 h 14"/>
                <a:gd name="T12" fmla="*/ 2 w 16"/>
                <a:gd name="T13" fmla="*/ 0 h 14"/>
                <a:gd name="T14" fmla="*/ 0 w 16"/>
                <a:gd name="T15" fmla="*/ 4 h 14"/>
                <a:gd name="T16" fmla="*/ 2 w 16"/>
                <a:gd name="T17" fmla="*/ 8 h 14"/>
                <a:gd name="T18" fmla="*/ 4 w 16"/>
                <a:gd name="T19" fmla="*/ 12 h 14"/>
                <a:gd name="T20" fmla="*/ 4 w 16"/>
                <a:gd name="T21" fmla="*/ 12 h 14"/>
                <a:gd name="T22" fmla="*/ 10 w 16"/>
                <a:gd name="T23" fmla="*/ 14 h 14"/>
                <a:gd name="T24" fmla="*/ 12 w 16"/>
                <a:gd name="T25" fmla="*/ 14 h 14"/>
                <a:gd name="T26" fmla="*/ 14 w 16"/>
                <a:gd name="T27" fmla="*/ 14 h 14"/>
                <a:gd name="T28" fmla="*/ 16 w 16"/>
                <a:gd name="T29" fmla="*/ 12 h 14"/>
                <a:gd name="T30" fmla="*/ 16 w 16"/>
                <a:gd name="T31" fmla="*/ 8 h 14"/>
                <a:gd name="T32" fmla="*/ 16 w 16"/>
                <a:gd name="T33" fmla="*/ 2 h 14"/>
                <a:gd name="T34" fmla="*/ 16 w 16"/>
                <a:gd name="T35" fmla="*/ 2 h 14"/>
                <a:gd name="T36" fmla="*/ 16 w 16"/>
                <a:gd name="T37" fmla="*/ 2 h 14"/>
                <a:gd name="T38" fmla="*/ 16 w 16"/>
                <a:gd name="T39" fmla="*/ 0 h 14"/>
                <a:gd name="T40" fmla="*/ 16 w 16"/>
                <a:gd name="T41" fmla="*/ 0 h 14"/>
                <a:gd name="T42" fmla="*/ 16 w 16"/>
                <a:gd name="T4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" h="14">
                  <a:moveTo>
                    <a:pt x="16" y="0"/>
                  </a:moveTo>
                  <a:lnTo>
                    <a:pt x="16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4"/>
                  </a:lnTo>
                  <a:lnTo>
                    <a:pt x="2" y="8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10" y="14"/>
                  </a:lnTo>
                  <a:lnTo>
                    <a:pt x="12" y="14"/>
                  </a:lnTo>
                  <a:lnTo>
                    <a:pt x="14" y="14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62" name="Freeform 121"/>
            <p:cNvSpPr>
              <a:spLocks/>
            </p:cNvSpPr>
            <p:nvPr/>
          </p:nvSpPr>
          <p:spPr bwMode="auto">
            <a:xfrm>
              <a:off x="2844" y="1450"/>
              <a:ext cx="16" cy="14"/>
            </a:xfrm>
            <a:custGeom>
              <a:avLst/>
              <a:gdLst>
                <a:gd name="T0" fmla="*/ 16 w 16"/>
                <a:gd name="T1" fmla="*/ 4 h 14"/>
                <a:gd name="T2" fmla="*/ 16 w 16"/>
                <a:gd name="T3" fmla="*/ 4 h 14"/>
                <a:gd name="T4" fmla="*/ 10 w 16"/>
                <a:gd name="T5" fmla="*/ 2 h 14"/>
                <a:gd name="T6" fmla="*/ 6 w 16"/>
                <a:gd name="T7" fmla="*/ 0 h 14"/>
                <a:gd name="T8" fmla="*/ 2 w 16"/>
                <a:gd name="T9" fmla="*/ 0 h 14"/>
                <a:gd name="T10" fmla="*/ 2 w 16"/>
                <a:gd name="T11" fmla="*/ 2 h 14"/>
                <a:gd name="T12" fmla="*/ 0 w 16"/>
                <a:gd name="T13" fmla="*/ 4 h 14"/>
                <a:gd name="T14" fmla="*/ 0 w 16"/>
                <a:gd name="T15" fmla="*/ 4 h 14"/>
                <a:gd name="T16" fmla="*/ 0 w 16"/>
                <a:gd name="T17" fmla="*/ 8 h 14"/>
                <a:gd name="T18" fmla="*/ 0 w 16"/>
                <a:gd name="T19" fmla="*/ 10 h 14"/>
                <a:gd name="T20" fmla="*/ 2 w 16"/>
                <a:gd name="T21" fmla="*/ 10 h 14"/>
                <a:gd name="T22" fmla="*/ 2 w 16"/>
                <a:gd name="T23" fmla="*/ 12 h 14"/>
                <a:gd name="T24" fmla="*/ 10 w 16"/>
                <a:gd name="T25" fmla="*/ 14 h 14"/>
                <a:gd name="T26" fmla="*/ 16 w 16"/>
                <a:gd name="T27" fmla="*/ 12 h 14"/>
                <a:gd name="T28" fmla="*/ 16 w 16"/>
                <a:gd name="T29" fmla="*/ 12 h 14"/>
                <a:gd name="T30" fmla="*/ 16 w 16"/>
                <a:gd name="T31" fmla="*/ 10 h 14"/>
                <a:gd name="T32" fmla="*/ 16 w 16"/>
                <a:gd name="T33" fmla="*/ 4 h 14"/>
                <a:gd name="T34" fmla="*/ 16 w 16"/>
                <a:gd name="T35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" h="14">
                  <a:moveTo>
                    <a:pt x="16" y="4"/>
                  </a:moveTo>
                  <a:lnTo>
                    <a:pt x="16" y="4"/>
                  </a:lnTo>
                  <a:lnTo>
                    <a:pt x="10" y="2"/>
                  </a:lnTo>
                  <a:lnTo>
                    <a:pt x="6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2" y="12"/>
                  </a:lnTo>
                  <a:lnTo>
                    <a:pt x="10" y="14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0"/>
                  </a:lnTo>
                  <a:lnTo>
                    <a:pt x="16" y="4"/>
                  </a:lnTo>
                  <a:lnTo>
                    <a:pt x="16" y="4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63" name="Freeform 122"/>
            <p:cNvSpPr>
              <a:spLocks/>
            </p:cNvSpPr>
            <p:nvPr/>
          </p:nvSpPr>
          <p:spPr bwMode="auto">
            <a:xfrm>
              <a:off x="2966" y="1624"/>
              <a:ext cx="14" cy="15"/>
            </a:xfrm>
            <a:custGeom>
              <a:avLst/>
              <a:gdLst>
                <a:gd name="T0" fmla="*/ 14 w 14"/>
                <a:gd name="T1" fmla="*/ 6 h 15"/>
                <a:gd name="T2" fmla="*/ 8 w 14"/>
                <a:gd name="T3" fmla="*/ 0 h 15"/>
                <a:gd name="T4" fmla="*/ 8 w 14"/>
                <a:gd name="T5" fmla="*/ 0 h 15"/>
                <a:gd name="T6" fmla="*/ 6 w 14"/>
                <a:gd name="T7" fmla="*/ 2 h 15"/>
                <a:gd name="T8" fmla="*/ 0 w 14"/>
                <a:gd name="T9" fmla="*/ 2 h 15"/>
                <a:gd name="T10" fmla="*/ 0 w 14"/>
                <a:gd name="T11" fmla="*/ 2 h 15"/>
                <a:gd name="T12" fmla="*/ 0 w 14"/>
                <a:gd name="T13" fmla="*/ 6 h 15"/>
                <a:gd name="T14" fmla="*/ 2 w 14"/>
                <a:gd name="T15" fmla="*/ 12 h 15"/>
                <a:gd name="T16" fmla="*/ 6 w 14"/>
                <a:gd name="T17" fmla="*/ 14 h 15"/>
                <a:gd name="T18" fmla="*/ 8 w 14"/>
                <a:gd name="T19" fmla="*/ 15 h 15"/>
                <a:gd name="T20" fmla="*/ 10 w 14"/>
                <a:gd name="T21" fmla="*/ 15 h 15"/>
                <a:gd name="T22" fmla="*/ 12 w 14"/>
                <a:gd name="T23" fmla="*/ 14 h 15"/>
                <a:gd name="T24" fmla="*/ 12 w 14"/>
                <a:gd name="T25" fmla="*/ 12 h 15"/>
                <a:gd name="T26" fmla="*/ 14 w 14"/>
                <a:gd name="T27" fmla="*/ 6 h 15"/>
                <a:gd name="T28" fmla="*/ 14 w 14"/>
                <a:gd name="T29" fmla="*/ 6 h 15"/>
                <a:gd name="T30" fmla="*/ 14 w 14"/>
                <a:gd name="T31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" h="15">
                  <a:moveTo>
                    <a:pt x="14" y="6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6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6"/>
                  </a:lnTo>
                  <a:lnTo>
                    <a:pt x="2" y="12"/>
                  </a:lnTo>
                  <a:lnTo>
                    <a:pt x="6" y="14"/>
                  </a:lnTo>
                  <a:lnTo>
                    <a:pt x="8" y="15"/>
                  </a:lnTo>
                  <a:lnTo>
                    <a:pt x="10" y="15"/>
                  </a:lnTo>
                  <a:lnTo>
                    <a:pt x="12" y="14"/>
                  </a:lnTo>
                  <a:lnTo>
                    <a:pt x="12" y="12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4" y="6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64" name="Freeform 123"/>
            <p:cNvSpPr>
              <a:spLocks/>
            </p:cNvSpPr>
            <p:nvPr/>
          </p:nvSpPr>
          <p:spPr bwMode="auto">
            <a:xfrm>
              <a:off x="3047" y="1643"/>
              <a:ext cx="20" cy="16"/>
            </a:xfrm>
            <a:custGeom>
              <a:avLst/>
              <a:gdLst>
                <a:gd name="T0" fmla="*/ 20 w 20"/>
                <a:gd name="T1" fmla="*/ 0 h 16"/>
                <a:gd name="T2" fmla="*/ 20 w 20"/>
                <a:gd name="T3" fmla="*/ 0 h 16"/>
                <a:gd name="T4" fmla="*/ 20 w 20"/>
                <a:gd name="T5" fmla="*/ 0 h 16"/>
                <a:gd name="T6" fmla="*/ 16 w 20"/>
                <a:gd name="T7" fmla="*/ 0 h 16"/>
                <a:gd name="T8" fmla="*/ 10 w 20"/>
                <a:gd name="T9" fmla="*/ 0 h 16"/>
                <a:gd name="T10" fmla="*/ 10 w 20"/>
                <a:gd name="T11" fmla="*/ 0 h 16"/>
                <a:gd name="T12" fmla="*/ 10 w 20"/>
                <a:gd name="T13" fmla="*/ 2 h 16"/>
                <a:gd name="T14" fmla="*/ 8 w 20"/>
                <a:gd name="T15" fmla="*/ 4 h 16"/>
                <a:gd name="T16" fmla="*/ 4 w 20"/>
                <a:gd name="T17" fmla="*/ 6 h 16"/>
                <a:gd name="T18" fmla="*/ 0 w 20"/>
                <a:gd name="T19" fmla="*/ 8 h 16"/>
                <a:gd name="T20" fmla="*/ 0 w 20"/>
                <a:gd name="T21" fmla="*/ 8 h 16"/>
                <a:gd name="T22" fmla="*/ 2 w 20"/>
                <a:gd name="T23" fmla="*/ 14 h 16"/>
                <a:gd name="T24" fmla="*/ 2 w 20"/>
                <a:gd name="T25" fmla="*/ 14 h 16"/>
                <a:gd name="T26" fmla="*/ 4 w 20"/>
                <a:gd name="T27" fmla="*/ 16 h 16"/>
                <a:gd name="T28" fmla="*/ 6 w 20"/>
                <a:gd name="T29" fmla="*/ 16 h 16"/>
                <a:gd name="T30" fmla="*/ 10 w 20"/>
                <a:gd name="T31" fmla="*/ 16 h 16"/>
                <a:gd name="T32" fmla="*/ 16 w 20"/>
                <a:gd name="T33" fmla="*/ 14 h 16"/>
                <a:gd name="T34" fmla="*/ 18 w 20"/>
                <a:gd name="T35" fmla="*/ 12 h 16"/>
                <a:gd name="T36" fmla="*/ 20 w 20"/>
                <a:gd name="T37" fmla="*/ 8 h 16"/>
                <a:gd name="T38" fmla="*/ 20 w 20"/>
                <a:gd name="T39" fmla="*/ 4 h 16"/>
                <a:gd name="T40" fmla="*/ 20 w 20"/>
                <a:gd name="T41" fmla="*/ 0 h 16"/>
                <a:gd name="T42" fmla="*/ 20 w 20"/>
                <a:gd name="T43" fmla="*/ 0 h 16"/>
                <a:gd name="T44" fmla="*/ 20 w 20"/>
                <a:gd name="T4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" h="16">
                  <a:moveTo>
                    <a:pt x="20" y="0"/>
                  </a:moveTo>
                  <a:lnTo>
                    <a:pt x="20" y="0"/>
                  </a:lnTo>
                  <a:lnTo>
                    <a:pt x="20" y="0"/>
                  </a:lnTo>
                  <a:lnTo>
                    <a:pt x="16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2"/>
                  </a:lnTo>
                  <a:lnTo>
                    <a:pt x="8" y="4"/>
                  </a:lnTo>
                  <a:lnTo>
                    <a:pt x="4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4" y="16"/>
                  </a:lnTo>
                  <a:lnTo>
                    <a:pt x="6" y="16"/>
                  </a:lnTo>
                  <a:lnTo>
                    <a:pt x="10" y="16"/>
                  </a:lnTo>
                  <a:lnTo>
                    <a:pt x="16" y="14"/>
                  </a:lnTo>
                  <a:lnTo>
                    <a:pt x="18" y="12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65" name="Freeform 124"/>
            <p:cNvSpPr>
              <a:spLocks/>
            </p:cNvSpPr>
            <p:nvPr/>
          </p:nvSpPr>
          <p:spPr bwMode="auto">
            <a:xfrm>
              <a:off x="3195" y="1576"/>
              <a:ext cx="16" cy="6"/>
            </a:xfrm>
            <a:custGeom>
              <a:avLst/>
              <a:gdLst>
                <a:gd name="T0" fmla="*/ 8 w 16"/>
                <a:gd name="T1" fmla="*/ 0 h 6"/>
                <a:gd name="T2" fmla="*/ 8 w 16"/>
                <a:gd name="T3" fmla="*/ 0 h 6"/>
                <a:gd name="T4" fmla="*/ 8 w 16"/>
                <a:gd name="T5" fmla="*/ 0 h 6"/>
                <a:gd name="T6" fmla="*/ 6 w 16"/>
                <a:gd name="T7" fmla="*/ 0 h 6"/>
                <a:gd name="T8" fmla="*/ 2 w 16"/>
                <a:gd name="T9" fmla="*/ 0 h 6"/>
                <a:gd name="T10" fmla="*/ 0 w 16"/>
                <a:gd name="T11" fmla="*/ 2 h 6"/>
                <a:gd name="T12" fmla="*/ 0 w 16"/>
                <a:gd name="T13" fmla="*/ 4 h 6"/>
                <a:gd name="T14" fmla="*/ 2 w 16"/>
                <a:gd name="T15" fmla="*/ 6 h 6"/>
                <a:gd name="T16" fmla="*/ 8 w 16"/>
                <a:gd name="T17" fmla="*/ 6 h 6"/>
                <a:gd name="T18" fmla="*/ 8 w 16"/>
                <a:gd name="T19" fmla="*/ 6 h 6"/>
                <a:gd name="T20" fmla="*/ 14 w 16"/>
                <a:gd name="T21" fmla="*/ 6 h 6"/>
                <a:gd name="T22" fmla="*/ 16 w 16"/>
                <a:gd name="T23" fmla="*/ 6 h 6"/>
                <a:gd name="T24" fmla="*/ 16 w 16"/>
                <a:gd name="T25" fmla="*/ 4 h 6"/>
                <a:gd name="T26" fmla="*/ 14 w 16"/>
                <a:gd name="T27" fmla="*/ 2 h 6"/>
                <a:gd name="T28" fmla="*/ 8 w 16"/>
                <a:gd name="T29" fmla="*/ 0 h 6"/>
                <a:gd name="T30" fmla="*/ 8 w 16"/>
                <a:gd name="T31" fmla="*/ 0 h 6"/>
                <a:gd name="T32" fmla="*/ 8 w 16"/>
                <a:gd name="T3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" h="6">
                  <a:moveTo>
                    <a:pt x="8" y="0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14" y="6"/>
                  </a:lnTo>
                  <a:lnTo>
                    <a:pt x="16" y="6"/>
                  </a:lnTo>
                  <a:lnTo>
                    <a:pt x="16" y="4"/>
                  </a:lnTo>
                  <a:lnTo>
                    <a:pt x="14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66" name="Freeform 125"/>
            <p:cNvSpPr>
              <a:spLocks/>
            </p:cNvSpPr>
            <p:nvPr/>
          </p:nvSpPr>
          <p:spPr bwMode="auto">
            <a:xfrm>
              <a:off x="2840" y="1703"/>
              <a:ext cx="20" cy="30"/>
            </a:xfrm>
            <a:custGeom>
              <a:avLst/>
              <a:gdLst>
                <a:gd name="T0" fmla="*/ 20 w 20"/>
                <a:gd name="T1" fmla="*/ 4 h 30"/>
                <a:gd name="T2" fmla="*/ 14 w 20"/>
                <a:gd name="T3" fmla="*/ 0 h 30"/>
                <a:gd name="T4" fmla="*/ 14 w 20"/>
                <a:gd name="T5" fmla="*/ 0 h 30"/>
                <a:gd name="T6" fmla="*/ 8 w 20"/>
                <a:gd name="T7" fmla="*/ 0 h 30"/>
                <a:gd name="T8" fmla="*/ 6 w 20"/>
                <a:gd name="T9" fmla="*/ 2 h 30"/>
                <a:gd name="T10" fmla="*/ 2 w 20"/>
                <a:gd name="T11" fmla="*/ 6 h 30"/>
                <a:gd name="T12" fmla="*/ 0 w 20"/>
                <a:gd name="T13" fmla="*/ 10 h 30"/>
                <a:gd name="T14" fmla="*/ 0 w 20"/>
                <a:gd name="T15" fmla="*/ 10 h 30"/>
                <a:gd name="T16" fmla="*/ 0 w 20"/>
                <a:gd name="T17" fmla="*/ 20 h 30"/>
                <a:gd name="T18" fmla="*/ 0 w 20"/>
                <a:gd name="T19" fmla="*/ 26 h 30"/>
                <a:gd name="T20" fmla="*/ 0 w 20"/>
                <a:gd name="T21" fmla="*/ 28 h 30"/>
                <a:gd name="T22" fmla="*/ 0 w 20"/>
                <a:gd name="T23" fmla="*/ 28 h 30"/>
                <a:gd name="T24" fmla="*/ 2 w 20"/>
                <a:gd name="T25" fmla="*/ 30 h 30"/>
                <a:gd name="T26" fmla="*/ 4 w 20"/>
                <a:gd name="T27" fmla="*/ 30 h 30"/>
                <a:gd name="T28" fmla="*/ 8 w 20"/>
                <a:gd name="T29" fmla="*/ 30 h 30"/>
                <a:gd name="T30" fmla="*/ 12 w 20"/>
                <a:gd name="T31" fmla="*/ 26 h 30"/>
                <a:gd name="T32" fmla="*/ 14 w 20"/>
                <a:gd name="T33" fmla="*/ 24 h 30"/>
                <a:gd name="T34" fmla="*/ 14 w 20"/>
                <a:gd name="T35" fmla="*/ 24 h 30"/>
                <a:gd name="T36" fmla="*/ 18 w 20"/>
                <a:gd name="T37" fmla="*/ 20 h 30"/>
                <a:gd name="T38" fmla="*/ 18 w 20"/>
                <a:gd name="T39" fmla="*/ 14 h 30"/>
                <a:gd name="T40" fmla="*/ 20 w 20"/>
                <a:gd name="T41" fmla="*/ 4 h 30"/>
                <a:gd name="T42" fmla="*/ 20 w 20"/>
                <a:gd name="T43" fmla="*/ 4 h 30"/>
                <a:gd name="T44" fmla="*/ 20 w 20"/>
                <a:gd name="T45" fmla="*/ 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" h="30">
                  <a:moveTo>
                    <a:pt x="20" y="4"/>
                  </a:moveTo>
                  <a:lnTo>
                    <a:pt x="14" y="0"/>
                  </a:lnTo>
                  <a:lnTo>
                    <a:pt x="14" y="0"/>
                  </a:lnTo>
                  <a:lnTo>
                    <a:pt x="8" y="0"/>
                  </a:lnTo>
                  <a:lnTo>
                    <a:pt x="6" y="2"/>
                  </a:lnTo>
                  <a:lnTo>
                    <a:pt x="2" y="6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20"/>
                  </a:lnTo>
                  <a:lnTo>
                    <a:pt x="0" y="26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2" y="30"/>
                  </a:lnTo>
                  <a:lnTo>
                    <a:pt x="4" y="30"/>
                  </a:lnTo>
                  <a:lnTo>
                    <a:pt x="8" y="30"/>
                  </a:lnTo>
                  <a:lnTo>
                    <a:pt x="12" y="26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8" y="20"/>
                  </a:lnTo>
                  <a:lnTo>
                    <a:pt x="18" y="1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67" name="Freeform 126"/>
            <p:cNvSpPr>
              <a:spLocks/>
            </p:cNvSpPr>
            <p:nvPr/>
          </p:nvSpPr>
          <p:spPr bwMode="auto">
            <a:xfrm>
              <a:off x="2739" y="1303"/>
              <a:ext cx="39" cy="26"/>
            </a:xfrm>
            <a:custGeom>
              <a:avLst/>
              <a:gdLst>
                <a:gd name="T0" fmla="*/ 37 w 39"/>
                <a:gd name="T1" fmla="*/ 0 h 26"/>
                <a:gd name="T2" fmla="*/ 37 w 39"/>
                <a:gd name="T3" fmla="*/ 0 h 26"/>
                <a:gd name="T4" fmla="*/ 31 w 39"/>
                <a:gd name="T5" fmla="*/ 4 h 26"/>
                <a:gd name="T6" fmla="*/ 28 w 39"/>
                <a:gd name="T7" fmla="*/ 6 h 26"/>
                <a:gd name="T8" fmla="*/ 24 w 39"/>
                <a:gd name="T9" fmla="*/ 10 h 26"/>
                <a:gd name="T10" fmla="*/ 24 w 39"/>
                <a:gd name="T11" fmla="*/ 10 h 26"/>
                <a:gd name="T12" fmla="*/ 18 w 39"/>
                <a:gd name="T13" fmla="*/ 10 h 26"/>
                <a:gd name="T14" fmla="*/ 14 w 39"/>
                <a:gd name="T15" fmla="*/ 10 h 26"/>
                <a:gd name="T16" fmla="*/ 14 w 39"/>
                <a:gd name="T17" fmla="*/ 10 h 26"/>
                <a:gd name="T18" fmla="*/ 6 w 39"/>
                <a:gd name="T19" fmla="*/ 10 h 26"/>
                <a:gd name="T20" fmla="*/ 2 w 39"/>
                <a:gd name="T21" fmla="*/ 14 h 26"/>
                <a:gd name="T22" fmla="*/ 0 w 39"/>
                <a:gd name="T23" fmla="*/ 14 h 26"/>
                <a:gd name="T24" fmla="*/ 0 w 39"/>
                <a:gd name="T25" fmla="*/ 18 h 26"/>
                <a:gd name="T26" fmla="*/ 6 w 39"/>
                <a:gd name="T27" fmla="*/ 22 h 26"/>
                <a:gd name="T28" fmla="*/ 6 w 39"/>
                <a:gd name="T29" fmla="*/ 22 h 26"/>
                <a:gd name="T30" fmla="*/ 8 w 39"/>
                <a:gd name="T31" fmla="*/ 24 h 26"/>
                <a:gd name="T32" fmla="*/ 10 w 39"/>
                <a:gd name="T33" fmla="*/ 26 h 26"/>
                <a:gd name="T34" fmla="*/ 16 w 39"/>
                <a:gd name="T35" fmla="*/ 26 h 26"/>
                <a:gd name="T36" fmla="*/ 22 w 39"/>
                <a:gd name="T37" fmla="*/ 26 h 26"/>
                <a:gd name="T38" fmla="*/ 30 w 39"/>
                <a:gd name="T39" fmla="*/ 24 h 26"/>
                <a:gd name="T40" fmla="*/ 30 w 39"/>
                <a:gd name="T41" fmla="*/ 24 h 26"/>
                <a:gd name="T42" fmla="*/ 35 w 39"/>
                <a:gd name="T43" fmla="*/ 22 h 26"/>
                <a:gd name="T44" fmla="*/ 37 w 39"/>
                <a:gd name="T45" fmla="*/ 16 h 26"/>
                <a:gd name="T46" fmla="*/ 39 w 39"/>
                <a:gd name="T47" fmla="*/ 10 h 26"/>
                <a:gd name="T48" fmla="*/ 39 w 39"/>
                <a:gd name="T49" fmla="*/ 4 h 26"/>
                <a:gd name="T50" fmla="*/ 39 w 39"/>
                <a:gd name="T51" fmla="*/ 4 h 26"/>
                <a:gd name="T52" fmla="*/ 37 w 39"/>
                <a:gd name="T53" fmla="*/ 2 h 26"/>
                <a:gd name="T54" fmla="*/ 37 w 39"/>
                <a:gd name="T55" fmla="*/ 0 h 26"/>
                <a:gd name="T56" fmla="*/ 37 w 39"/>
                <a:gd name="T57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9" h="26">
                  <a:moveTo>
                    <a:pt x="37" y="0"/>
                  </a:moveTo>
                  <a:lnTo>
                    <a:pt x="37" y="0"/>
                  </a:lnTo>
                  <a:lnTo>
                    <a:pt x="31" y="4"/>
                  </a:lnTo>
                  <a:lnTo>
                    <a:pt x="28" y="6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18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6" y="10"/>
                  </a:lnTo>
                  <a:lnTo>
                    <a:pt x="2" y="14"/>
                  </a:lnTo>
                  <a:lnTo>
                    <a:pt x="0" y="14"/>
                  </a:lnTo>
                  <a:lnTo>
                    <a:pt x="0" y="18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8" y="24"/>
                  </a:lnTo>
                  <a:lnTo>
                    <a:pt x="10" y="26"/>
                  </a:lnTo>
                  <a:lnTo>
                    <a:pt x="16" y="26"/>
                  </a:lnTo>
                  <a:lnTo>
                    <a:pt x="22" y="26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35" y="22"/>
                  </a:lnTo>
                  <a:lnTo>
                    <a:pt x="37" y="16"/>
                  </a:lnTo>
                  <a:lnTo>
                    <a:pt x="39" y="10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7" y="2"/>
                  </a:lnTo>
                  <a:lnTo>
                    <a:pt x="37" y="0"/>
                  </a:lnTo>
                  <a:lnTo>
                    <a:pt x="37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68" name="Freeform 127"/>
            <p:cNvSpPr>
              <a:spLocks/>
            </p:cNvSpPr>
            <p:nvPr/>
          </p:nvSpPr>
          <p:spPr bwMode="auto">
            <a:xfrm>
              <a:off x="2767" y="1267"/>
              <a:ext cx="15" cy="18"/>
            </a:xfrm>
            <a:custGeom>
              <a:avLst/>
              <a:gdLst>
                <a:gd name="T0" fmla="*/ 9 w 15"/>
                <a:gd name="T1" fmla="*/ 2 h 18"/>
                <a:gd name="T2" fmla="*/ 9 w 15"/>
                <a:gd name="T3" fmla="*/ 2 h 18"/>
                <a:gd name="T4" fmla="*/ 5 w 15"/>
                <a:gd name="T5" fmla="*/ 0 h 18"/>
                <a:gd name="T6" fmla="*/ 3 w 15"/>
                <a:gd name="T7" fmla="*/ 0 h 18"/>
                <a:gd name="T8" fmla="*/ 0 w 15"/>
                <a:gd name="T9" fmla="*/ 2 h 18"/>
                <a:gd name="T10" fmla="*/ 0 w 15"/>
                <a:gd name="T11" fmla="*/ 6 h 18"/>
                <a:gd name="T12" fmla="*/ 0 w 15"/>
                <a:gd name="T13" fmla="*/ 8 h 18"/>
                <a:gd name="T14" fmla="*/ 0 w 15"/>
                <a:gd name="T15" fmla="*/ 10 h 18"/>
                <a:gd name="T16" fmla="*/ 0 w 15"/>
                <a:gd name="T17" fmla="*/ 14 h 18"/>
                <a:gd name="T18" fmla="*/ 3 w 15"/>
                <a:gd name="T19" fmla="*/ 16 h 18"/>
                <a:gd name="T20" fmla="*/ 3 w 15"/>
                <a:gd name="T21" fmla="*/ 16 h 18"/>
                <a:gd name="T22" fmla="*/ 7 w 15"/>
                <a:gd name="T23" fmla="*/ 18 h 18"/>
                <a:gd name="T24" fmla="*/ 11 w 15"/>
                <a:gd name="T25" fmla="*/ 18 h 18"/>
                <a:gd name="T26" fmla="*/ 11 w 15"/>
                <a:gd name="T27" fmla="*/ 14 h 18"/>
                <a:gd name="T28" fmla="*/ 13 w 15"/>
                <a:gd name="T29" fmla="*/ 14 h 18"/>
                <a:gd name="T30" fmla="*/ 15 w 15"/>
                <a:gd name="T31" fmla="*/ 10 h 18"/>
                <a:gd name="T32" fmla="*/ 13 w 15"/>
                <a:gd name="T33" fmla="*/ 8 h 18"/>
                <a:gd name="T34" fmla="*/ 11 w 15"/>
                <a:gd name="T35" fmla="*/ 6 h 18"/>
                <a:gd name="T36" fmla="*/ 11 w 15"/>
                <a:gd name="T37" fmla="*/ 2 h 18"/>
                <a:gd name="T38" fmla="*/ 9 w 15"/>
                <a:gd name="T39" fmla="*/ 2 h 18"/>
                <a:gd name="T40" fmla="*/ 9 w 15"/>
                <a:gd name="T41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" h="18">
                  <a:moveTo>
                    <a:pt x="9" y="2"/>
                  </a:moveTo>
                  <a:lnTo>
                    <a:pt x="9" y="2"/>
                  </a:lnTo>
                  <a:lnTo>
                    <a:pt x="5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7" y="18"/>
                  </a:lnTo>
                  <a:lnTo>
                    <a:pt x="11" y="18"/>
                  </a:lnTo>
                  <a:lnTo>
                    <a:pt x="11" y="14"/>
                  </a:lnTo>
                  <a:lnTo>
                    <a:pt x="13" y="14"/>
                  </a:lnTo>
                  <a:lnTo>
                    <a:pt x="15" y="10"/>
                  </a:lnTo>
                  <a:lnTo>
                    <a:pt x="13" y="8"/>
                  </a:lnTo>
                  <a:lnTo>
                    <a:pt x="11" y="6"/>
                  </a:lnTo>
                  <a:lnTo>
                    <a:pt x="11" y="2"/>
                  </a:lnTo>
                  <a:lnTo>
                    <a:pt x="9" y="2"/>
                  </a:lnTo>
                  <a:lnTo>
                    <a:pt x="9" y="2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69" name="Freeform 128"/>
            <p:cNvSpPr>
              <a:spLocks/>
            </p:cNvSpPr>
            <p:nvPr/>
          </p:nvSpPr>
          <p:spPr bwMode="auto">
            <a:xfrm>
              <a:off x="2707" y="1299"/>
              <a:ext cx="30" cy="24"/>
            </a:xfrm>
            <a:custGeom>
              <a:avLst/>
              <a:gdLst>
                <a:gd name="T0" fmla="*/ 30 w 30"/>
                <a:gd name="T1" fmla="*/ 4 h 24"/>
                <a:gd name="T2" fmla="*/ 30 w 30"/>
                <a:gd name="T3" fmla="*/ 4 h 24"/>
                <a:gd name="T4" fmla="*/ 26 w 30"/>
                <a:gd name="T5" fmla="*/ 4 h 24"/>
                <a:gd name="T6" fmla="*/ 26 w 30"/>
                <a:gd name="T7" fmla="*/ 4 h 24"/>
                <a:gd name="T8" fmla="*/ 22 w 30"/>
                <a:gd name="T9" fmla="*/ 2 h 24"/>
                <a:gd name="T10" fmla="*/ 18 w 30"/>
                <a:gd name="T11" fmla="*/ 0 h 24"/>
                <a:gd name="T12" fmla="*/ 16 w 30"/>
                <a:gd name="T13" fmla="*/ 0 h 24"/>
                <a:gd name="T14" fmla="*/ 14 w 30"/>
                <a:gd name="T15" fmla="*/ 0 h 24"/>
                <a:gd name="T16" fmla="*/ 14 w 30"/>
                <a:gd name="T17" fmla="*/ 0 h 24"/>
                <a:gd name="T18" fmla="*/ 6 w 30"/>
                <a:gd name="T19" fmla="*/ 2 h 24"/>
                <a:gd name="T20" fmla="*/ 2 w 30"/>
                <a:gd name="T21" fmla="*/ 4 h 24"/>
                <a:gd name="T22" fmla="*/ 0 w 30"/>
                <a:gd name="T23" fmla="*/ 8 h 24"/>
                <a:gd name="T24" fmla="*/ 0 w 30"/>
                <a:gd name="T25" fmla="*/ 14 h 24"/>
                <a:gd name="T26" fmla="*/ 0 w 30"/>
                <a:gd name="T27" fmla="*/ 16 h 24"/>
                <a:gd name="T28" fmla="*/ 0 w 30"/>
                <a:gd name="T29" fmla="*/ 16 h 24"/>
                <a:gd name="T30" fmla="*/ 4 w 30"/>
                <a:gd name="T31" fmla="*/ 22 h 24"/>
                <a:gd name="T32" fmla="*/ 8 w 30"/>
                <a:gd name="T33" fmla="*/ 24 h 24"/>
                <a:gd name="T34" fmla="*/ 14 w 30"/>
                <a:gd name="T35" fmla="*/ 24 h 24"/>
                <a:gd name="T36" fmla="*/ 20 w 30"/>
                <a:gd name="T37" fmla="*/ 24 h 24"/>
                <a:gd name="T38" fmla="*/ 20 w 30"/>
                <a:gd name="T39" fmla="*/ 24 h 24"/>
                <a:gd name="T40" fmla="*/ 24 w 30"/>
                <a:gd name="T41" fmla="*/ 22 h 24"/>
                <a:gd name="T42" fmla="*/ 28 w 30"/>
                <a:gd name="T43" fmla="*/ 20 h 24"/>
                <a:gd name="T44" fmla="*/ 30 w 30"/>
                <a:gd name="T45" fmla="*/ 16 h 24"/>
                <a:gd name="T46" fmla="*/ 30 w 30"/>
                <a:gd name="T47" fmla="*/ 8 h 24"/>
                <a:gd name="T48" fmla="*/ 30 w 30"/>
                <a:gd name="T49" fmla="*/ 4 h 24"/>
                <a:gd name="T50" fmla="*/ 30 w 30"/>
                <a:gd name="T51" fmla="*/ 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" h="24">
                  <a:moveTo>
                    <a:pt x="30" y="4"/>
                  </a:moveTo>
                  <a:lnTo>
                    <a:pt x="30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2" y="2"/>
                  </a:lnTo>
                  <a:lnTo>
                    <a:pt x="18" y="0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6" y="2"/>
                  </a:lnTo>
                  <a:lnTo>
                    <a:pt x="2" y="4"/>
                  </a:lnTo>
                  <a:lnTo>
                    <a:pt x="0" y="8"/>
                  </a:lnTo>
                  <a:lnTo>
                    <a:pt x="0" y="14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22"/>
                  </a:lnTo>
                  <a:lnTo>
                    <a:pt x="8" y="24"/>
                  </a:lnTo>
                  <a:lnTo>
                    <a:pt x="14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4" y="22"/>
                  </a:lnTo>
                  <a:lnTo>
                    <a:pt x="28" y="20"/>
                  </a:lnTo>
                  <a:lnTo>
                    <a:pt x="30" y="16"/>
                  </a:lnTo>
                  <a:lnTo>
                    <a:pt x="30" y="8"/>
                  </a:lnTo>
                  <a:lnTo>
                    <a:pt x="30" y="4"/>
                  </a:lnTo>
                  <a:lnTo>
                    <a:pt x="30" y="4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70" name="Freeform 129"/>
            <p:cNvSpPr>
              <a:spLocks/>
            </p:cNvSpPr>
            <p:nvPr/>
          </p:nvSpPr>
          <p:spPr bwMode="auto">
            <a:xfrm>
              <a:off x="2731" y="1285"/>
              <a:ext cx="18" cy="14"/>
            </a:xfrm>
            <a:custGeom>
              <a:avLst/>
              <a:gdLst>
                <a:gd name="T0" fmla="*/ 2 w 18"/>
                <a:gd name="T1" fmla="*/ 2 h 14"/>
                <a:gd name="T2" fmla="*/ 2 w 18"/>
                <a:gd name="T3" fmla="*/ 2 h 14"/>
                <a:gd name="T4" fmla="*/ 0 w 18"/>
                <a:gd name="T5" fmla="*/ 6 h 14"/>
                <a:gd name="T6" fmla="*/ 0 w 18"/>
                <a:gd name="T7" fmla="*/ 10 h 14"/>
                <a:gd name="T8" fmla="*/ 2 w 18"/>
                <a:gd name="T9" fmla="*/ 10 h 14"/>
                <a:gd name="T10" fmla="*/ 4 w 18"/>
                <a:gd name="T11" fmla="*/ 12 h 14"/>
                <a:gd name="T12" fmla="*/ 8 w 18"/>
                <a:gd name="T13" fmla="*/ 12 h 14"/>
                <a:gd name="T14" fmla="*/ 14 w 18"/>
                <a:gd name="T15" fmla="*/ 14 h 14"/>
                <a:gd name="T16" fmla="*/ 14 w 18"/>
                <a:gd name="T17" fmla="*/ 14 h 14"/>
                <a:gd name="T18" fmla="*/ 16 w 18"/>
                <a:gd name="T19" fmla="*/ 10 h 14"/>
                <a:gd name="T20" fmla="*/ 18 w 18"/>
                <a:gd name="T21" fmla="*/ 6 h 14"/>
                <a:gd name="T22" fmla="*/ 18 w 18"/>
                <a:gd name="T23" fmla="*/ 6 h 14"/>
                <a:gd name="T24" fmla="*/ 14 w 18"/>
                <a:gd name="T25" fmla="*/ 0 h 14"/>
                <a:gd name="T26" fmla="*/ 8 w 18"/>
                <a:gd name="T27" fmla="*/ 0 h 14"/>
                <a:gd name="T28" fmla="*/ 4 w 18"/>
                <a:gd name="T29" fmla="*/ 0 h 14"/>
                <a:gd name="T30" fmla="*/ 2 w 18"/>
                <a:gd name="T31" fmla="*/ 2 h 14"/>
                <a:gd name="T32" fmla="*/ 2 w 18"/>
                <a:gd name="T33" fmla="*/ 2 h 14"/>
                <a:gd name="T34" fmla="*/ 2 w 18"/>
                <a:gd name="T35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" h="14">
                  <a:moveTo>
                    <a:pt x="2" y="2"/>
                  </a:moveTo>
                  <a:lnTo>
                    <a:pt x="2" y="2"/>
                  </a:lnTo>
                  <a:lnTo>
                    <a:pt x="0" y="6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6" y="10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4" y="0"/>
                  </a:lnTo>
                  <a:lnTo>
                    <a:pt x="8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71" name="Freeform 130"/>
            <p:cNvSpPr>
              <a:spLocks/>
            </p:cNvSpPr>
            <p:nvPr/>
          </p:nvSpPr>
          <p:spPr bwMode="auto">
            <a:xfrm>
              <a:off x="2733" y="1235"/>
              <a:ext cx="20" cy="16"/>
            </a:xfrm>
            <a:custGeom>
              <a:avLst/>
              <a:gdLst>
                <a:gd name="T0" fmla="*/ 14 w 20"/>
                <a:gd name="T1" fmla="*/ 0 h 16"/>
                <a:gd name="T2" fmla="*/ 14 w 20"/>
                <a:gd name="T3" fmla="*/ 0 h 16"/>
                <a:gd name="T4" fmla="*/ 8 w 20"/>
                <a:gd name="T5" fmla="*/ 0 h 16"/>
                <a:gd name="T6" fmla="*/ 4 w 20"/>
                <a:gd name="T7" fmla="*/ 2 h 16"/>
                <a:gd name="T8" fmla="*/ 4 w 20"/>
                <a:gd name="T9" fmla="*/ 2 h 16"/>
                <a:gd name="T10" fmla="*/ 4 w 20"/>
                <a:gd name="T11" fmla="*/ 4 h 16"/>
                <a:gd name="T12" fmla="*/ 0 w 20"/>
                <a:gd name="T13" fmla="*/ 4 h 16"/>
                <a:gd name="T14" fmla="*/ 0 w 20"/>
                <a:gd name="T15" fmla="*/ 4 h 16"/>
                <a:gd name="T16" fmla="*/ 0 w 20"/>
                <a:gd name="T17" fmla="*/ 10 h 16"/>
                <a:gd name="T18" fmla="*/ 0 w 20"/>
                <a:gd name="T19" fmla="*/ 12 h 16"/>
                <a:gd name="T20" fmla="*/ 4 w 20"/>
                <a:gd name="T21" fmla="*/ 14 h 16"/>
                <a:gd name="T22" fmla="*/ 4 w 20"/>
                <a:gd name="T23" fmla="*/ 14 h 16"/>
                <a:gd name="T24" fmla="*/ 12 w 20"/>
                <a:gd name="T25" fmla="*/ 16 h 16"/>
                <a:gd name="T26" fmla="*/ 18 w 20"/>
                <a:gd name="T27" fmla="*/ 16 h 16"/>
                <a:gd name="T28" fmla="*/ 20 w 20"/>
                <a:gd name="T29" fmla="*/ 12 h 16"/>
                <a:gd name="T30" fmla="*/ 20 w 20"/>
                <a:gd name="T31" fmla="*/ 12 h 16"/>
                <a:gd name="T32" fmla="*/ 18 w 20"/>
                <a:gd name="T33" fmla="*/ 6 h 16"/>
                <a:gd name="T34" fmla="*/ 18 w 20"/>
                <a:gd name="T35" fmla="*/ 4 h 16"/>
                <a:gd name="T36" fmla="*/ 16 w 20"/>
                <a:gd name="T37" fmla="*/ 2 h 16"/>
                <a:gd name="T38" fmla="*/ 14 w 20"/>
                <a:gd name="T39" fmla="*/ 0 h 16"/>
                <a:gd name="T40" fmla="*/ 14 w 20"/>
                <a:gd name="T41" fmla="*/ 0 h 16"/>
                <a:gd name="T42" fmla="*/ 14 w 20"/>
                <a:gd name="T4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0" h="16">
                  <a:moveTo>
                    <a:pt x="14" y="0"/>
                  </a:moveTo>
                  <a:lnTo>
                    <a:pt x="14" y="0"/>
                  </a:lnTo>
                  <a:lnTo>
                    <a:pt x="8" y="0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12" y="16"/>
                  </a:lnTo>
                  <a:lnTo>
                    <a:pt x="18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8" y="6"/>
                  </a:lnTo>
                  <a:lnTo>
                    <a:pt x="18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72" name="Freeform 131"/>
            <p:cNvSpPr>
              <a:spLocks/>
            </p:cNvSpPr>
            <p:nvPr/>
          </p:nvSpPr>
          <p:spPr bwMode="auto">
            <a:xfrm>
              <a:off x="2635" y="1269"/>
              <a:ext cx="22" cy="22"/>
            </a:xfrm>
            <a:custGeom>
              <a:avLst/>
              <a:gdLst>
                <a:gd name="T0" fmla="*/ 10 w 22"/>
                <a:gd name="T1" fmla="*/ 4 h 22"/>
                <a:gd name="T2" fmla="*/ 10 w 22"/>
                <a:gd name="T3" fmla="*/ 4 h 22"/>
                <a:gd name="T4" fmla="*/ 8 w 22"/>
                <a:gd name="T5" fmla="*/ 2 h 22"/>
                <a:gd name="T6" fmla="*/ 6 w 22"/>
                <a:gd name="T7" fmla="*/ 0 h 22"/>
                <a:gd name="T8" fmla="*/ 2 w 22"/>
                <a:gd name="T9" fmla="*/ 2 h 22"/>
                <a:gd name="T10" fmla="*/ 0 w 22"/>
                <a:gd name="T11" fmla="*/ 6 h 22"/>
                <a:gd name="T12" fmla="*/ 0 w 22"/>
                <a:gd name="T13" fmla="*/ 8 h 22"/>
                <a:gd name="T14" fmla="*/ 0 w 22"/>
                <a:gd name="T15" fmla="*/ 8 h 22"/>
                <a:gd name="T16" fmla="*/ 0 w 22"/>
                <a:gd name="T17" fmla="*/ 8 h 22"/>
                <a:gd name="T18" fmla="*/ 8 w 22"/>
                <a:gd name="T19" fmla="*/ 16 h 22"/>
                <a:gd name="T20" fmla="*/ 8 w 22"/>
                <a:gd name="T21" fmla="*/ 16 h 22"/>
                <a:gd name="T22" fmla="*/ 12 w 22"/>
                <a:gd name="T23" fmla="*/ 22 h 22"/>
                <a:gd name="T24" fmla="*/ 12 w 22"/>
                <a:gd name="T25" fmla="*/ 22 h 22"/>
                <a:gd name="T26" fmla="*/ 14 w 22"/>
                <a:gd name="T27" fmla="*/ 22 h 22"/>
                <a:gd name="T28" fmla="*/ 14 w 22"/>
                <a:gd name="T29" fmla="*/ 22 h 22"/>
                <a:gd name="T30" fmla="*/ 18 w 22"/>
                <a:gd name="T31" fmla="*/ 16 h 22"/>
                <a:gd name="T32" fmla="*/ 18 w 22"/>
                <a:gd name="T33" fmla="*/ 8 h 22"/>
                <a:gd name="T34" fmla="*/ 22 w 22"/>
                <a:gd name="T35" fmla="*/ 4 h 22"/>
                <a:gd name="T36" fmla="*/ 22 w 22"/>
                <a:gd name="T37" fmla="*/ 4 h 22"/>
                <a:gd name="T38" fmla="*/ 18 w 22"/>
                <a:gd name="T39" fmla="*/ 2 h 22"/>
                <a:gd name="T40" fmla="*/ 14 w 22"/>
                <a:gd name="T41" fmla="*/ 0 h 22"/>
                <a:gd name="T42" fmla="*/ 10 w 22"/>
                <a:gd name="T43" fmla="*/ 4 h 22"/>
                <a:gd name="T44" fmla="*/ 10 w 22"/>
                <a:gd name="T45" fmla="*/ 4 h 22"/>
                <a:gd name="T46" fmla="*/ 10 w 22"/>
                <a:gd name="T47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2" h="22">
                  <a:moveTo>
                    <a:pt x="10" y="4"/>
                  </a:moveTo>
                  <a:lnTo>
                    <a:pt x="10" y="4"/>
                  </a:lnTo>
                  <a:lnTo>
                    <a:pt x="8" y="2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8" y="16"/>
                  </a:lnTo>
                  <a:lnTo>
                    <a:pt x="18" y="8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18" y="2"/>
                  </a:lnTo>
                  <a:lnTo>
                    <a:pt x="14" y="0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73" name="Freeform 132"/>
            <p:cNvSpPr>
              <a:spLocks/>
            </p:cNvSpPr>
            <p:nvPr/>
          </p:nvSpPr>
          <p:spPr bwMode="auto">
            <a:xfrm>
              <a:off x="2685" y="1337"/>
              <a:ext cx="14" cy="12"/>
            </a:xfrm>
            <a:custGeom>
              <a:avLst/>
              <a:gdLst>
                <a:gd name="T0" fmla="*/ 8 w 14"/>
                <a:gd name="T1" fmla="*/ 0 h 12"/>
                <a:gd name="T2" fmla="*/ 8 w 14"/>
                <a:gd name="T3" fmla="*/ 0 h 12"/>
                <a:gd name="T4" fmla="*/ 4 w 14"/>
                <a:gd name="T5" fmla="*/ 0 h 12"/>
                <a:gd name="T6" fmla="*/ 4 w 14"/>
                <a:gd name="T7" fmla="*/ 0 h 12"/>
                <a:gd name="T8" fmla="*/ 2 w 14"/>
                <a:gd name="T9" fmla="*/ 0 h 12"/>
                <a:gd name="T10" fmla="*/ 0 w 14"/>
                <a:gd name="T11" fmla="*/ 2 h 12"/>
                <a:gd name="T12" fmla="*/ 0 w 14"/>
                <a:gd name="T13" fmla="*/ 4 h 12"/>
                <a:gd name="T14" fmla="*/ 0 w 14"/>
                <a:gd name="T15" fmla="*/ 8 h 12"/>
                <a:gd name="T16" fmla="*/ 0 w 14"/>
                <a:gd name="T17" fmla="*/ 8 h 12"/>
                <a:gd name="T18" fmla="*/ 4 w 14"/>
                <a:gd name="T19" fmla="*/ 12 h 12"/>
                <a:gd name="T20" fmla="*/ 4 w 14"/>
                <a:gd name="T21" fmla="*/ 12 h 12"/>
                <a:gd name="T22" fmla="*/ 8 w 14"/>
                <a:gd name="T23" fmla="*/ 12 h 12"/>
                <a:gd name="T24" fmla="*/ 10 w 14"/>
                <a:gd name="T25" fmla="*/ 12 h 12"/>
                <a:gd name="T26" fmla="*/ 14 w 14"/>
                <a:gd name="T27" fmla="*/ 10 h 12"/>
                <a:gd name="T28" fmla="*/ 14 w 14"/>
                <a:gd name="T29" fmla="*/ 8 h 12"/>
                <a:gd name="T30" fmla="*/ 14 w 14"/>
                <a:gd name="T31" fmla="*/ 4 h 12"/>
                <a:gd name="T32" fmla="*/ 14 w 14"/>
                <a:gd name="T33" fmla="*/ 0 h 12"/>
                <a:gd name="T34" fmla="*/ 8 w 14"/>
                <a:gd name="T35" fmla="*/ 0 h 12"/>
                <a:gd name="T36" fmla="*/ 8 w 14"/>
                <a:gd name="T37" fmla="*/ 0 h 12"/>
                <a:gd name="T38" fmla="*/ 8 w 14"/>
                <a:gd name="T3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" h="12">
                  <a:moveTo>
                    <a:pt x="8" y="0"/>
                  </a:moveTo>
                  <a:lnTo>
                    <a:pt x="8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10" y="12"/>
                  </a:lnTo>
                  <a:lnTo>
                    <a:pt x="14" y="10"/>
                  </a:lnTo>
                  <a:lnTo>
                    <a:pt x="14" y="8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74" name="Freeform 133"/>
            <p:cNvSpPr>
              <a:spLocks/>
            </p:cNvSpPr>
            <p:nvPr/>
          </p:nvSpPr>
          <p:spPr bwMode="auto">
            <a:xfrm>
              <a:off x="2667" y="1297"/>
              <a:ext cx="32" cy="24"/>
            </a:xfrm>
            <a:custGeom>
              <a:avLst/>
              <a:gdLst>
                <a:gd name="T0" fmla="*/ 20 w 32"/>
                <a:gd name="T1" fmla="*/ 2 h 24"/>
                <a:gd name="T2" fmla="*/ 18 w 32"/>
                <a:gd name="T3" fmla="*/ 6 h 24"/>
                <a:gd name="T4" fmla="*/ 18 w 32"/>
                <a:gd name="T5" fmla="*/ 6 h 24"/>
                <a:gd name="T6" fmla="*/ 14 w 32"/>
                <a:gd name="T7" fmla="*/ 6 h 24"/>
                <a:gd name="T8" fmla="*/ 12 w 32"/>
                <a:gd name="T9" fmla="*/ 6 h 24"/>
                <a:gd name="T10" fmla="*/ 10 w 32"/>
                <a:gd name="T11" fmla="*/ 2 h 24"/>
                <a:gd name="T12" fmla="*/ 8 w 32"/>
                <a:gd name="T13" fmla="*/ 2 h 24"/>
                <a:gd name="T14" fmla="*/ 4 w 32"/>
                <a:gd name="T15" fmla="*/ 2 h 24"/>
                <a:gd name="T16" fmla="*/ 2 w 32"/>
                <a:gd name="T17" fmla="*/ 2 h 24"/>
                <a:gd name="T18" fmla="*/ 0 w 32"/>
                <a:gd name="T19" fmla="*/ 6 h 24"/>
                <a:gd name="T20" fmla="*/ 0 w 32"/>
                <a:gd name="T21" fmla="*/ 6 h 24"/>
                <a:gd name="T22" fmla="*/ 0 w 32"/>
                <a:gd name="T23" fmla="*/ 10 h 24"/>
                <a:gd name="T24" fmla="*/ 0 w 32"/>
                <a:gd name="T25" fmla="*/ 16 h 24"/>
                <a:gd name="T26" fmla="*/ 2 w 32"/>
                <a:gd name="T27" fmla="*/ 18 h 24"/>
                <a:gd name="T28" fmla="*/ 2 w 32"/>
                <a:gd name="T29" fmla="*/ 18 h 24"/>
                <a:gd name="T30" fmla="*/ 4 w 32"/>
                <a:gd name="T31" fmla="*/ 18 h 24"/>
                <a:gd name="T32" fmla="*/ 10 w 32"/>
                <a:gd name="T33" fmla="*/ 18 h 24"/>
                <a:gd name="T34" fmla="*/ 10 w 32"/>
                <a:gd name="T35" fmla="*/ 18 h 24"/>
                <a:gd name="T36" fmla="*/ 12 w 32"/>
                <a:gd name="T37" fmla="*/ 20 h 24"/>
                <a:gd name="T38" fmla="*/ 14 w 32"/>
                <a:gd name="T39" fmla="*/ 20 h 24"/>
                <a:gd name="T40" fmla="*/ 14 w 32"/>
                <a:gd name="T41" fmla="*/ 20 h 24"/>
                <a:gd name="T42" fmla="*/ 18 w 32"/>
                <a:gd name="T43" fmla="*/ 24 h 24"/>
                <a:gd name="T44" fmla="*/ 20 w 32"/>
                <a:gd name="T45" fmla="*/ 24 h 24"/>
                <a:gd name="T46" fmla="*/ 24 w 32"/>
                <a:gd name="T47" fmla="*/ 22 h 24"/>
                <a:gd name="T48" fmla="*/ 24 w 32"/>
                <a:gd name="T49" fmla="*/ 22 h 24"/>
                <a:gd name="T50" fmla="*/ 28 w 32"/>
                <a:gd name="T51" fmla="*/ 20 h 24"/>
                <a:gd name="T52" fmla="*/ 32 w 32"/>
                <a:gd name="T53" fmla="*/ 20 h 24"/>
                <a:gd name="T54" fmla="*/ 32 w 32"/>
                <a:gd name="T55" fmla="*/ 16 h 24"/>
                <a:gd name="T56" fmla="*/ 32 w 32"/>
                <a:gd name="T57" fmla="*/ 16 h 24"/>
                <a:gd name="T58" fmla="*/ 32 w 32"/>
                <a:gd name="T59" fmla="*/ 10 h 24"/>
                <a:gd name="T60" fmla="*/ 28 w 32"/>
                <a:gd name="T61" fmla="*/ 4 h 24"/>
                <a:gd name="T62" fmla="*/ 26 w 32"/>
                <a:gd name="T63" fmla="*/ 2 h 24"/>
                <a:gd name="T64" fmla="*/ 24 w 32"/>
                <a:gd name="T65" fmla="*/ 0 h 24"/>
                <a:gd name="T66" fmla="*/ 22 w 32"/>
                <a:gd name="T67" fmla="*/ 0 h 24"/>
                <a:gd name="T68" fmla="*/ 20 w 32"/>
                <a:gd name="T69" fmla="*/ 2 h 24"/>
                <a:gd name="T70" fmla="*/ 20 w 32"/>
                <a:gd name="T71" fmla="*/ 2 h 24"/>
                <a:gd name="T72" fmla="*/ 20 w 32"/>
                <a:gd name="T73" fmla="*/ 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2" h="24">
                  <a:moveTo>
                    <a:pt x="20" y="2"/>
                  </a:moveTo>
                  <a:lnTo>
                    <a:pt x="18" y="6"/>
                  </a:lnTo>
                  <a:lnTo>
                    <a:pt x="18" y="6"/>
                  </a:lnTo>
                  <a:lnTo>
                    <a:pt x="14" y="6"/>
                  </a:lnTo>
                  <a:lnTo>
                    <a:pt x="12" y="6"/>
                  </a:lnTo>
                  <a:lnTo>
                    <a:pt x="10" y="2"/>
                  </a:lnTo>
                  <a:lnTo>
                    <a:pt x="8" y="2"/>
                  </a:lnTo>
                  <a:lnTo>
                    <a:pt x="4" y="2"/>
                  </a:lnTo>
                  <a:lnTo>
                    <a:pt x="2" y="2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6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4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2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8" y="24"/>
                  </a:lnTo>
                  <a:lnTo>
                    <a:pt x="20" y="24"/>
                  </a:lnTo>
                  <a:lnTo>
                    <a:pt x="24" y="22"/>
                  </a:lnTo>
                  <a:lnTo>
                    <a:pt x="24" y="22"/>
                  </a:lnTo>
                  <a:lnTo>
                    <a:pt x="28" y="20"/>
                  </a:lnTo>
                  <a:lnTo>
                    <a:pt x="32" y="20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0"/>
                  </a:lnTo>
                  <a:lnTo>
                    <a:pt x="28" y="4"/>
                  </a:lnTo>
                  <a:lnTo>
                    <a:pt x="26" y="2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2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75" name="Freeform 134"/>
            <p:cNvSpPr>
              <a:spLocks/>
            </p:cNvSpPr>
            <p:nvPr/>
          </p:nvSpPr>
          <p:spPr bwMode="auto">
            <a:xfrm>
              <a:off x="2677" y="1241"/>
              <a:ext cx="60" cy="56"/>
            </a:xfrm>
            <a:custGeom>
              <a:avLst/>
              <a:gdLst>
                <a:gd name="T0" fmla="*/ 60 w 60"/>
                <a:gd name="T1" fmla="*/ 30 h 56"/>
                <a:gd name="T2" fmla="*/ 60 w 60"/>
                <a:gd name="T3" fmla="*/ 28 h 56"/>
                <a:gd name="T4" fmla="*/ 52 w 60"/>
                <a:gd name="T5" fmla="*/ 18 h 56"/>
                <a:gd name="T6" fmla="*/ 48 w 60"/>
                <a:gd name="T7" fmla="*/ 10 h 56"/>
                <a:gd name="T8" fmla="*/ 44 w 60"/>
                <a:gd name="T9" fmla="*/ 4 h 56"/>
                <a:gd name="T10" fmla="*/ 36 w 60"/>
                <a:gd name="T11" fmla="*/ 0 h 56"/>
                <a:gd name="T12" fmla="*/ 34 w 60"/>
                <a:gd name="T13" fmla="*/ 4 h 56"/>
                <a:gd name="T14" fmla="*/ 30 w 60"/>
                <a:gd name="T15" fmla="*/ 10 h 56"/>
                <a:gd name="T16" fmla="*/ 26 w 60"/>
                <a:gd name="T17" fmla="*/ 12 h 56"/>
                <a:gd name="T18" fmla="*/ 26 w 60"/>
                <a:gd name="T19" fmla="*/ 8 h 56"/>
                <a:gd name="T20" fmla="*/ 24 w 60"/>
                <a:gd name="T21" fmla="*/ 8 h 56"/>
                <a:gd name="T22" fmla="*/ 24 w 60"/>
                <a:gd name="T23" fmla="*/ 12 h 56"/>
                <a:gd name="T24" fmla="*/ 26 w 60"/>
                <a:gd name="T25" fmla="*/ 18 h 56"/>
                <a:gd name="T26" fmla="*/ 26 w 60"/>
                <a:gd name="T27" fmla="*/ 22 h 56"/>
                <a:gd name="T28" fmla="*/ 22 w 60"/>
                <a:gd name="T29" fmla="*/ 22 h 56"/>
                <a:gd name="T30" fmla="*/ 16 w 60"/>
                <a:gd name="T31" fmla="*/ 18 h 56"/>
                <a:gd name="T32" fmla="*/ 12 w 60"/>
                <a:gd name="T33" fmla="*/ 10 h 56"/>
                <a:gd name="T34" fmla="*/ 8 w 60"/>
                <a:gd name="T35" fmla="*/ 8 h 56"/>
                <a:gd name="T36" fmla="*/ 6 w 60"/>
                <a:gd name="T37" fmla="*/ 8 h 56"/>
                <a:gd name="T38" fmla="*/ 4 w 60"/>
                <a:gd name="T39" fmla="*/ 12 h 56"/>
                <a:gd name="T40" fmla="*/ 8 w 60"/>
                <a:gd name="T41" fmla="*/ 16 h 56"/>
                <a:gd name="T42" fmla="*/ 12 w 60"/>
                <a:gd name="T43" fmla="*/ 22 h 56"/>
                <a:gd name="T44" fmla="*/ 12 w 60"/>
                <a:gd name="T45" fmla="*/ 28 h 56"/>
                <a:gd name="T46" fmla="*/ 4 w 60"/>
                <a:gd name="T47" fmla="*/ 18 h 56"/>
                <a:gd name="T48" fmla="*/ 0 w 60"/>
                <a:gd name="T49" fmla="*/ 20 h 56"/>
                <a:gd name="T50" fmla="*/ 0 w 60"/>
                <a:gd name="T51" fmla="*/ 26 h 56"/>
                <a:gd name="T52" fmla="*/ 4 w 60"/>
                <a:gd name="T53" fmla="*/ 34 h 56"/>
                <a:gd name="T54" fmla="*/ 8 w 60"/>
                <a:gd name="T55" fmla="*/ 40 h 56"/>
                <a:gd name="T56" fmla="*/ 16 w 60"/>
                <a:gd name="T57" fmla="*/ 46 h 56"/>
                <a:gd name="T58" fmla="*/ 22 w 60"/>
                <a:gd name="T59" fmla="*/ 46 h 56"/>
                <a:gd name="T60" fmla="*/ 26 w 60"/>
                <a:gd name="T61" fmla="*/ 46 h 56"/>
                <a:gd name="T62" fmla="*/ 30 w 60"/>
                <a:gd name="T63" fmla="*/ 54 h 56"/>
                <a:gd name="T64" fmla="*/ 34 w 60"/>
                <a:gd name="T65" fmla="*/ 56 h 56"/>
                <a:gd name="T66" fmla="*/ 38 w 60"/>
                <a:gd name="T67" fmla="*/ 54 h 56"/>
                <a:gd name="T68" fmla="*/ 38 w 60"/>
                <a:gd name="T69" fmla="*/ 42 h 56"/>
                <a:gd name="T70" fmla="*/ 44 w 60"/>
                <a:gd name="T71" fmla="*/ 40 h 56"/>
                <a:gd name="T72" fmla="*/ 38 w 60"/>
                <a:gd name="T73" fmla="*/ 40 h 56"/>
                <a:gd name="T74" fmla="*/ 34 w 60"/>
                <a:gd name="T75" fmla="*/ 36 h 56"/>
                <a:gd name="T76" fmla="*/ 34 w 60"/>
                <a:gd name="T77" fmla="*/ 36 h 56"/>
                <a:gd name="T78" fmla="*/ 40 w 60"/>
                <a:gd name="T79" fmla="*/ 36 h 56"/>
                <a:gd name="T80" fmla="*/ 38 w 60"/>
                <a:gd name="T81" fmla="*/ 22 h 56"/>
                <a:gd name="T82" fmla="*/ 44 w 60"/>
                <a:gd name="T83" fmla="*/ 22 h 56"/>
                <a:gd name="T84" fmla="*/ 52 w 60"/>
                <a:gd name="T85" fmla="*/ 26 h 56"/>
                <a:gd name="T86" fmla="*/ 58 w 60"/>
                <a:gd name="T87" fmla="*/ 30 h 56"/>
                <a:gd name="T88" fmla="*/ 60 w 60"/>
                <a:gd name="T89" fmla="*/ 3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0" h="56">
                  <a:moveTo>
                    <a:pt x="60" y="30"/>
                  </a:moveTo>
                  <a:lnTo>
                    <a:pt x="60" y="30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56" y="22"/>
                  </a:lnTo>
                  <a:lnTo>
                    <a:pt x="52" y="18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6" y="6"/>
                  </a:lnTo>
                  <a:lnTo>
                    <a:pt x="44" y="4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2" y="6"/>
                  </a:lnTo>
                  <a:lnTo>
                    <a:pt x="30" y="10"/>
                  </a:lnTo>
                  <a:lnTo>
                    <a:pt x="30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6" y="14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2" y="22"/>
                  </a:lnTo>
                  <a:lnTo>
                    <a:pt x="16" y="20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2" y="10"/>
                  </a:lnTo>
                  <a:lnTo>
                    <a:pt x="12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4" y="10"/>
                  </a:lnTo>
                  <a:lnTo>
                    <a:pt x="4" y="12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20"/>
                  </a:lnTo>
                  <a:lnTo>
                    <a:pt x="12" y="2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2" y="18"/>
                  </a:lnTo>
                  <a:lnTo>
                    <a:pt x="0" y="20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30"/>
                  </a:lnTo>
                  <a:lnTo>
                    <a:pt x="4" y="3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12" y="44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22" y="46"/>
                  </a:lnTo>
                  <a:lnTo>
                    <a:pt x="26" y="46"/>
                  </a:lnTo>
                  <a:lnTo>
                    <a:pt x="26" y="46"/>
                  </a:lnTo>
                  <a:lnTo>
                    <a:pt x="26" y="50"/>
                  </a:lnTo>
                  <a:lnTo>
                    <a:pt x="30" y="54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8" y="54"/>
                  </a:lnTo>
                  <a:lnTo>
                    <a:pt x="38" y="54"/>
                  </a:lnTo>
                  <a:lnTo>
                    <a:pt x="38" y="44"/>
                  </a:lnTo>
                  <a:lnTo>
                    <a:pt x="38" y="42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38" y="40"/>
                  </a:lnTo>
                  <a:lnTo>
                    <a:pt x="36" y="38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38" y="30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44" y="22"/>
                  </a:lnTo>
                  <a:lnTo>
                    <a:pt x="46" y="22"/>
                  </a:lnTo>
                  <a:lnTo>
                    <a:pt x="52" y="26"/>
                  </a:lnTo>
                  <a:lnTo>
                    <a:pt x="56" y="28"/>
                  </a:lnTo>
                  <a:lnTo>
                    <a:pt x="58" y="30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0" y="3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76" name="Freeform 135"/>
            <p:cNvSpPr>
              <a:spLocks/>
            </p:cNvSpPr>
            <p:nvPr/>
          </p:nvSpPr>
          <p:spPr bwMode="auto">
            <a:xfrm>
              <a:off x="2613" y="1269"/>
              <a:ext cx="12" cy="14"/>
            </a:xfrm>
            <a:custGeom>
              <a:avLst/>
              <a:gdLst>
                <a:gd name="T0" fmla="*/ 0 w 12"/>
                <a:gd name="T1" fmla="*/ 6 h 14"/>
                <a:gd name="T2" fmla="*/ 0 w 12"/>
                <a:gd name="T3" fmla="*/ 6 h 14"/>
                <a:gd name="T4" fmla="*/ 2 w 12"/>
                <a:gd name="T5" fmla="*/ 10 h 14"/>
                <a:gd name="T6" fmla="*/ 4 w 12"/>
                <a:gd name="T7" fmla="*/ 12 h 14"/>
                <a:gd name="T8" fmla="*/ 8 w 12"/>
                <a:gd name="T9" fmla="*/ 14 h 14"/>
                <a:gd name="T10" fmla="*/ 8 w 12"/>
                <a:gd name="T11" fmla="*/ 14 h 14"/>
                <a:gd name="T12" fmla="*/ 10 w 12"/>
                <a:gd name="T13" fmla="*/ 10 h 14"/>
                <a:gd name="T14" fmla="*/ 12 w 12"/>
                <a:gd name="T15" fmla="*/ 8 h 14"/>
                <a:gd name="T16" fmla="*/ 12 w 12"/>
                <a:gd name="T17" fmla="*/ 0 h 14"/>
                <a:gd name="T18" fmla="*/ 12 w 12"/>
                <a:gd name="T19" fmla="*/ 0 h 14"/>
                <a:gd name="T20" fmla="*/ 8 w 12"/>
                <a:gd name="T21" fmla="*/ 0 h 14"/>
                <a:gd name="T22" fmla="*/ 4 w 12"/>
                <a:gd name="T23" fmla="*/ 0 h 14"/>
                <a:gd name="T24" fmla="*/ 0 w 12"/>
                <a:gd name="T25" fmla="*/ 0 h 14"/>
                <a:gd name="T26" fmla="*/ 0 w 12"/>
                <a:gd name="T27" fmla="*/ 0 h 14"/>
                <a:gd name="T28" fmla="*/ 0 w 12"/>
                <a:gd name="T29" fmla="*/ 4 h 14"/>
                <a:gd name="T30" fmla="*/ 0 w 12"/>
                <a:gd name="T31" fmla="*/ 6 h 14"/>
                <a:gd name="T32" fmla="*/ 0 w 12"/>
                <a:gd name="T33" fmla="*/ 6 h 14"/>
                <a:gd name="T34" fmla="*/ 0 w 12"/>
                <a:gd name="T35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" h="14">
                  <a:moveTo>
                    <a:pt x="0" y="6"/>
                  </a:moveTo>
                  <a:lnTo>
                    <a:pt x="0" y="6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10" y="10"/>
                  </a:lnTo>
                  <a:lnTo>
                    <a:pt x="12" y="8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77" name="Freeform 136"/>
            <p:cNvSpPr>
              <a:spLocks/>
            </p:cNvSpPr>
            <p:nvPr/>
          </p:nvSpPr>
          <p:spPr bwMode="auto">
            <a:xfrm>
              <a:off x="2661" y="1269"/>
              <a:ext cx="10" cy="12"/>
            </a:xfrm>
            <a:custGeom>
              <a:avLst/>
              <a:gdLst>
                <a:gd name="T0" fmla="*/ 6 w 10"/>
                <a:gd name="T1" fmla="*/ 0 h 12"/>
                <a:gd name="T2" fmla="*/ 2 w 10"/>
                <a:gd name="T3" fmla="*/ 4 h 12"/>
                <a:gd name="T4" fmla="*/ 2 w 10"/>
                <a:gd name="T5" fmla="*/ 4 h 12"/>
                <a:gd name="T6" fmla="*/ 0 w 10"/>
                <a:gd name="T7" fmla="*/ 4 h 12"/>
                <a:gd name="T8" fmla="*/ 0 w 10"/>
                <a:gd name="T9" fmla="*/ 4 h 12"/>
                <a:gd name="T10" fmla="*/ 2 w 10"/>
                <a:gd name="T11" fmla="*/ 6 h 12"/>
                <a:gd name="T12" fmla="*/ 2 w 10"/>
                <a:gd name="T13" fmla="*/ 8 h 12"/>
                <a:gd name="T14" fmla="*/ 8 w 10"/>
                <a:gd name="T15" fmla="*/ 12 h 12"/>
                <a:gd name="T16" fmla="*/ 8 w 10"/>
                <a:gd name="T17" fmla="*/ 12 h 12"/>
                <a:gd name="T18" fmla="*/ 10 w 10"/>
                <a:gd name="T19" fmla="*/ 8 h 12"/>
                <a:gd name="T20" fmla="*/ 10 w 10"/>
                <a:gd name="T21" fmla="*/ 6 h 12"/>
                <a:gd name="T22" fmla="*/ 10 w 10"/>
                <a:gd name="T23" fmla="*/ 4 h 12"/>
                <a:gd name="T24" fmla="*/ 6 w 10"/>
                <a:gd name="T25" fmla="*/ 0 h 12"/>
                <a:gd name="T26" fmla="*/ 6 w 10"/>
                <a:gd name="T27" fmla="*/ 0 h 12"/>
                <a:gd name="T28" fmla="*/ 6 w 10"/>
                <a:gd name="T2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" h="12">
                  <a:moveTo>
                    <a:pt x="6" y="0"/>
                  </a:moveTo>
                  <a:lnTo>
                    <a:pt x="2" y="4"/>
                  </a:lnTo>
                  <a:lnTo>
                    <a:pt x="2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8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0" y="8"/>
                  </a:lnTo>
                  <a:lnTo>
                    <a:pt x="10" y="6"/>
                  </a:lnTo>
                  <a:lnTo>
                    <a:pt x="10" y="4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78" name="Freeform 137"/>
            <p:cNvSpPr>
              <a:spLocks/>
            </p:cNvSpPr>
            <p:nvPr/>
          </p:nvSpPr>
          <p:spPr bwMode="auto">
            <a:xfrm>
              <a:off x="2595" y="1203"/>
              <a:ext cx="64" cy="48"/>
            </a:xfrm>
            <a:custGeom>
              <a:avLst/>
              <a:gdLst>
                <a:gd name="T0" fmla="*/ 62 w 64"/>
                <a:gd name="T1" fmla="*/ 38 h 48"/>
                <a:gd name="T2" fmla="*/ 58 w 64"/>
                <a:gd name="T3" fmla="*/ 32 h 48"/>
                <a:gd name="T4" fmla="*/ 62 w 64"/>
                <a:gd name="T5" fmla="*/ 26 h 48"/>
                <a:gd name="T6" fmla="*/ 52 w 64"/>
                <a:gd name="T7" fmla="*/ 20 h 48"/>
                <a:gd name="T8" fmla="*/ 48 w 64"/>
                <a:gd name="T9" fmla="*/ 20 h 48"/>
                <a:gd name="T10" fmla="*/ 44 w 64"/>
                <a:gd name="T11" fmla="*/ 20 h 48"/>
                <a:gd name="T12" fmla="*/ 40 w 64"/>
                <a:gd name="T13" fmla="*/ 20 h 48"/>
                <a:gd name="T14" fmla="*/ 36 w 64"/>
                <a:gd name="T15" fmla="*/ 18 h 48"/>
                <a:gd name="T16" fmla="*/ 30 w 64"/>
                <a:gd name="T17" fmla="*/ 10 h 48"/>
                <a:gd name="T18" fmla="*/ 28 w 64"/>
                <a:gd name="T19" fmla="*/ 6 h 48"/>
                <a:gd name="T20" fmla="*/ 18 w 64"/>
                <a:gd name="T21" fmla="*/ 4 h 48"/>
                <a:gd name="T22" fmla="*/ 14 w 64"/>
                <a:gd name="T23" fmla="*/ 2 h 48"/>
                <a:gd name="T24" fmla="*/ 4 w 64"/>
                <a:gd name="T25" fmla="*/ 0 h 48"/>
                <a:gd name="T26" fmla="*/ 0 w 64"/>
                <a:gd name="T27" fmla="*/ 4 h 48"/>
                <a:gd name="T28" fmla="*/ 2 w 64"/>
                <a:gd name="T29" fmla="*/ 10 h 48"/>
                <a:gd name="T30" fmla="*/ 4 w 64"/>
                <a:gd name="T31" fmla="*/ 10 h 48"/>
                <a:gd name="T32" fmla="*/ 14 w 64"/>
                <a:gd name="T33" fmla="*/ 12 h 48"/>
                <a:gd name="T34" fmla="*/ 22 w 64"/>
                <a:gd name="T35" fmla="*/ 12 h 48"/>
                <a:gd name="T36" fmla="*/ 24 w 64"/>
                <a:gd name="T37" fmla="*/ 14 h 48"/>
                <a:gd name="T38" fmla="*/ 24 w 64"/>
                <a:gd name="T39" fmla="*/ 24 h 48"/>
                <a:gd name="T40" fmla="*/ 18 w 64"/>
                <a:gd name="T41" fmla="*/ 26 h 48"/>
                <a:gd name="T42" fmla="*/ 8 w 64"/>
                <a:gd name="T43" fmla="*/ 28 h 48"/>
                <a:gd name="T44" fmla="*/ 4 w 64"/>
                <a:gd name="T45" fmla="*/ 32 h 48"/>
                <a:gd name="T46" fmla="*/ 4 w 64"/>
                <a:gd name="T47" fmla="*/ 34 h 48"/>
                <a:gd name="T48" fmla="*/ 6 w 64"/>
                <a:gd name="T49" fmla="*/ 36 h 48"/>
                <a:gd name="T50" fmla="*/ 2 w 64"/>
                <a:gd name="T51" fmla="*/ 44 h 48"/>
                <a:gd name="T52" fmla="*/ 4 w 64"/>
                <a:gd name="T53" fmla="*/ 46 h 48"/>
                <a:gd name="T54" fmla="*/ 16 w 64"/>
                <a:gd name="T55" fmla="*/ 46 h 48"/>
                <a:gd name="T56" fmla="*/ 18 w 64"/>
                <a:gd name="T57" fmla="*/ 42 h 48"/>
                <a:gd name="T58" fmla="*/ 30 w 64"/>
                <a:gd name="T59" fmla="*/ 44 h 48"/>
                <a:gd name="T60" fmla="*/ 42 w 64"/>
                <a:gd name="T61" fmla="*/ 48 h 48"/>
                <a:gd name="T62" fmla="*/ 52 w 64"/>
                <a:gd name="T63" fmla="*/ 48 h 48"/>
                <a:gd name="T64" fmla="*/ 62 w 64"/>
                <a:gd name="T65" fmla="*/ 48 h 48"/>
                <a:gd name="T66" fmla="*/ 64 w 64"/>
                <a:gd name="T67" fmla="*/ 44 h 48"/>
                <a:gd name="T68" fmla="*/ 62 w 64"/>
                <a:gd name="T69" fmla="*/ 38 h 48"/>
                <a:gd name="T70" fmla="*/ 62 w 64"/>
                <a:gd name="T71" fmla="*/ 3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4" h="48">
                  <a:moveTo>
                    <a:pt x="62" y="38"/>
                  </a:moveTo>
                  <a:lnTo>
                    <a:pt x="62" y="38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54" y="24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6" y="20"/>
                  </a:lnTo>
                  <a:lnTo>
                    <a:pt x="44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36" y="18"/>
                  </a:lnTo>
                  <a:lnTo>
                    <a:pt x="36" y="14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28" y="6"/>
                  </a:lnTo>
                  <a:lnTo>
                    <a:pt x="26" y="6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4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6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4" y="10"/>
                  </a:lnTo>
                  <a:lnTo>
                    <a:pt x="6" y="12"/>
                  </a:lnTo>
                  <a:lnTo>
                    <a:pt x="14" y="12"/>
                  </a:lnTo>
                  <a:lnTo>
                    <a:pt x="18" y="10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4" y="14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18" y="26"/>
                  </a:lnTo>
                  <a:lnTo>
                    <a:pt x="12" y="26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32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2" y="46"/>
                  </a:lnTo>
                  <a:lnTo>
                    <a:pt x="4" y="46"/>
                  </a:lnTo>
                  <a:lnTo>
                    <a:pt x="8" y="44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8" y="42"/>
                  </a:lnTo>
                  <a:lnTo>
                    <a:pt x="22" y="42"/>
                  </a:lnTo>
                  <a:lnTo>
                    <a:pt x="30" y="44"/>
                  </a:lnTo>
                  <a:lnTo>
                    <a:pt x="30" y="44"/>
                  </a:lnTo>
                  <a:lnTo>
                    <a:pt x="42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8" y="48"/>
                  </a:lnTo>
                  <a:lnTo>
                    <a:pt x="62" y="48"/>
                  </a:lnTo>
                  <a:lnTo>
                    <a:pt x="62" y="46"/>
                  </a:lnTo>
                  <a:lnTo>
                    <a:pt x="64" y="44"/>
                  </a:lnTo>
                  <a:lnTo>
                    <a:pt x="64" y="42"/>
                  </a:lnTo>
                  <a:lnTo>
                    <a:pt x="62" y="38"/>
                  </a:lnTo>
                  <a:lnTo>
                    <a:pt x="62" y="38"/>
                  </a:lnTo>
                  <a:lnTo>
                    <a:pt x="62" y="38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79" name="Freeform 138"/>
            <p:cNvSpPr>
              <a:spLocks/>
            </p:cNvSpPr>
            <p:nvPr/>
          </p:nvSpPr>
          <p:spPr bwMode="auto">
            <a:xfrm>
              <a:off x="2657" y="1215"/>
              <a:ext cx="14" cy="12"/>
            </a:xfrm>
            <a:custGeom>
              <a:avLst/>
              <a:gdLst>
                <a:gd name="T0" fmla="*/ 14 w 14"/>
                <a:gd name="T1" fmla="*/ 8 h 12"/>
                <a:gd name="T2" fmla="*/ 8 w 14"/>
                <a:gd name="T3" fmla="*/ 0 h 12"/>
                <a:gd name="T4" fmla="*/ 8 w 14"/>
                <a:gd name="T5" fmla="*/ 0 h 12"/>
                <a:gd name="T6" fmla="*/ 4 w 14"/>
                <a:gd name="T7" fmla="*/ 0 h 12"/>
                <a:gd name="T8" fmla="*/ 2 w 14"/>
                <a:gd name="T9" fmla="*/ 2 h 12"/>
                <a:gd name="T10" fmla="*/ 0 w 14"/>
                <a:gd name="T11" fmla="*/ 2 h 12"/>
                <a:gd name="T12" fmla="*/ 2 w 14"/>
                <a:gd name="T13" fmla="*/ 8 h 12"/>
                <a:gd name="T14" fmla="*/ 2 w 14"/>
                <a:gd name="T15" fmla="*/ 8 h 12"/>
                <a:gd name="T16" fmla="*/ 4 w 14"/>
                <a:gd name="T17" fmla="*/ 12 h 12"/>
                <a:gd name="T18" fmla="*/ 10 w 14"/>
                <a:gd name="T19" fmla="*/ 12 h 12"/>
                <a:gd name="T20" fmla="*/ 14 w 14"/>
                <a:gd name="T21" fmla="*/ 12 h 12"/>
                <a:gd name="T22" fmla="*/ 14 w 14"/>
                <a:gd name="T23" fmla="*/ 10 h 12"/>
                <a:gd name="T24" fmla="*/ 14 w 14"/>
                <a:gd name="T25" fmla="*/ 8 h 12"/>
                <a:gd name="T26" fmla="*/ 14 w 14"/>
                <a:gd name="T27" fmla="*/ 8 h 12"/>
                <a:gd name="T28" fmla="*/ 14 w 14"/>
                <a:gd name="T2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" h="12">
                  <a:moveTo>
                    <a:pt x="14" y="8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2" y="8"/>
                  </a:lnTo>
                  <a:lnTo>
                    <a:pt x="2" y="8"/>
                  </a:lnTo>
                  <a:lnTo>
                    <a:pt x="4" y="12"/>
                  </a:lnTo>
                  <a:lnTo>
                    <a:pt x="10" y="12"/>
                  </a:lnTo>
                  <a:lnTo>
                    <a:pt x="14" y="12"/>
                  </a:lnTo>
                  <a:lnTo>
                    <a:pt x="14" y="10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80" name="Freeform 139"/>
            <p:cNvSpPr>
              <a:spLocks/>
            </p:cNvSpPr>
            <p:nvPr/>
          </p:nvSpPr>
          <p:spPr bwMode="auto">
            <a:xfrm>
              <a:off x="4809" y="1819"/>
              <a:ext cx="22" cy="50"/>
            </a:xfrm>
            <a:custGeom>
              <a:avLst/>
              <a:gdLst>
                <a:gd name="T0" fmla="*/ 6 w 22"/>
                <a:gd name="T1" fmla="*/ 0 h 50"/>
                <a:gd name="T2" fmla="*/ 6 w 22"/>
                <a:gd name="T3" fmla="*/ 0 h 50"/>
                <a:gd name="T4" fmla="*/ 4 w 22"/>
                <a:gd name="T5" fmla="*/ 0 h 50"/>
                <a:gd name="T6" fmla="*/ 2 w 22"/>
                <a:gd name="T7" fmla="*/ 2 h 50"/>
                <a:gd name="T8" fmla="*/ 2 w 22"/>
                <a:gd name="T9" fmla="*/ 6 h 50"/>
                <a:gd name="T10" fmla="*/ 0 w 22"/>
                <a:gd name="T11" fmla="*/ 12 h 50"/>
                <a:gd name="T12" fmla="*/ 2 w 22"/>
                <a:gd name="T13" fmla="*/ 22 h 50"/>
                <a:gd name="T14" fmla="*/ 4 w 22"/>
                <a:gd name="T15" fmla="*/ 30 h 50"/>
                <a:gd name="T16" fmla="*/ 6 w 22"/>
                <a:gd name="T17" fmla="*/ 34 h 50"/>
                <a:gd name="T18" fmla="*/ 12 w 22"/>
                <a:gd name="T19" fmla="*/ 42 h 50"/>
                <a:gd name="T20" fmla="*/ 14 w 22"/>
                <a:gd name="T21" fmla="*/ 44 h 50"/>
                <a:gd name="T22" fmla="*/ 20 w 22"/>
                <a:gd name="T23" fmla="*/ 50 h 50"/>
                <a:gd name="T24" fmla="*/ 20 w 22"/>
                <a:gd name="T25" fmla="*/ 50 h 50"/>
                <a:gd name="T26" fmla="*/ 22 w 22"/>
                <a:gd name="T27" fmla="*/ 36 h 50"/>
                <a:gd name="T28" fmla="*/ 22 w 22"/>
                <a:gd name="T29" fmla="*/ 16 h 50"/>
                <a:gd name="T30" fmla="*/ 20 w 22"/>
                <a:gd name="T31" fmla="*/ 8 h 50"/>
                <a:gd name="T32" fmla="*/ 18 w 22"/>
                <a:gd name="T33" fmla="*/ 4 h 50"/>
                <a:gd name="T34" fmla="*/ 16 w 22"/>
                <a:gd name="T35" fmla="*/ 0 h 50"/>
                <a:gd name="T36" fmla="*/ 14 w 22"/>
                <a:gd name="T37" fmla="*/ 0 h 50"/>
                <a:gd name="T38" fmla="*/ 8 w 22"/>
                <a:gd name="T39" fmla="*/ 0 h 50"/>
                <a:gd name="T40" fmla="*/ 6 w 22"/>
                <a:gd name="T41" fmla="*/ 0 h 50"/>
                <a:gd name="T42" fmla="*/ 6 w 22"/>
                <a:gd name="T43" fmla="*/ 0 h 50"/>
                <a:gd name="T44" fmla="*/ 6 w 22"/>
                <a:gd name="T4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2" h="50">
                  <a:moveTo>
                    <a:pt x="6" y="0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2" y="6"/>
                  </a:lnTo>
                  <a:lnTo>
                    <a:pt x="0" y="12"/>
                  </a:lnTo>
                  <a:lnTo>
                    <a:pt x="2" y="22"/>
                  </a:lnTo>
                  <a:lnTo>
                    <a:pt x="4" y="30"/>
                  </a:lnTo>
                  <a:lnTo>
                    <a:pt x="6" y="34"/>
                  </a:lnTo>
                  <a:lnTo>
                    <a:pt x="12" y="42"/>
                  </a:lnTo>
                  <a:lnTo>
                    <a:pt x="14" y="44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2" y="36"/>
                  </a:lnTo>
                  <a:lnTo>
                    <a:pt x="22" y="16"/>
                  </a:lnTo>
                  <a:lnTo>
                    <a:pt x="20" y="8"/>
                  </a:lnTo>
                  <a:lnTo>
                    <a:pt x="18" y="4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81" name="Freeform 140"/>
            <p:cNvSpPr>
              <a:spLocks/>
            </p:cNvSpPr>
            <p:nvPr/>
          </p:nvSpPr>
          <p:spPr bwMode="auto">
            <a:xfrm>
              <a:off x="676" y="2203"/>
              <a:ext cx="123" cy="143"/>
            </a:xfrm>
            <a:custGeom>
              <a:avLst/>
              <a:gdLst>
                <a:gd name="T0" fmla="*/ 12 w 123"/>
                <a:gd name="T1" fmla="*/ 62 h 143"/>
                <a:gd name="T2" fmla="*/ 6 w 123"/>
                <a:gd name="T3" fmla="*/ 62 h 143"/>
                <a:gd name="T4" fmla="*/ 2 w 123"/>
                <a:gd name="T5" fmla="*/ 58 h 143"/>
                <a:gd name="T6" fmla="*/ 0 w 123"/>
                <a:gd name="T7" fmla="*/ 62 h 143"/>
                <a:gd name="T8" fmla="*/ 2 w 123"/>
                <a:gd name="T9" fmla="*/ 78 h 143"/>
                <a:gd name="T10" fmla="*/ 10 w 123"/>
                <a:gd name="T11" fmla="*/ 86 h 143"/>
                <a:gd name="T12" fmla="*/ 26 w 123"/>
                <a:gd name="T13" fmla="*/ 92 h 143"/>
                <a:gd name="T14" fmla="*/ 44 w 123"/>
                <a:gd name="T15" fmla="*/ 96 h 143"/>
                <a:gd name="T16" fmla="*/ 52 w 123"/>
                <a:gd name="T17" fmla="*/ 100 h 143"/>
                <a:gd name="T18" fmla="*/ 56 w 123"/>
                <a:gd name="T19" fmla="*/ 108 h 143"/>
                <a:gd name="T20" fmla="*/ 62 w 123"/>
                <a:gd name="T21" fmla="*/ 110 h 143"/>
                <a:gd name="T22" fmla="*/ 74 w 123"/>
                <a:gd name="T23" fmla="*/ 110 h 143"/>
                <a:gd name="T24" fmla="*/ 82 w 123"/>
                <a:gd name="T25" fmla="*/ 112 h 143"/>
                <a:gd name="T26" fmla="*/ 86 w 123"/>
                <a:gd name="T27" fmla="*/ 118 h 143"/>
                <a:gd name="T28" fmla="*/ 86 w 123"/>
                <a:gd name="T29" fmla="*/ 124 h 143"/>
                <a:gd name="T30" fmla="*/ 86 w 123"/>
                <a:gd name="T31" fmla="*/ 128 h 143"/>
                <a:gd name="T32" fmla="*/ 92 w 123"/>
                <a:gd name="T33" fmla="*/ 132 h 143"/>
                <a:gd name="T34" fmla="*/ 102 w 123"/>
                <a:gd name="T35" fmla="*/ 143 h 143"/>
                <a:gd name="T36" fmla="*/ 106 w 123"/>
                <a:gd name="T37" fmla="*/ 143 h 143"/>
                <a:gd name="T38" fmla="*/ 111 w 123"/>
                <a:gd name="T39" fmla="*/ 137 h 143"/>
                <a:gd name="T40" fmla="*/ 117 w 123"/>
                <a:gd name="T41" fmla="*/ 137 h 143"/>
                <a:gd name="T42" fmla="*/ 123 w 123"/>
                <a:gd name="T43" fmla="*/ 135 h 143"/>
                <a:gd name="T44" fmla="*/ 117 w 123"/>
                <a:gd name="T45" fmla="*/ 126 h 143"/>
                <a:gd name="T46" fmla="*/ 113 w 123"/>
                <a:gd name="T47" fmla="*/ 120 h 143"/>
                <a:gd name="T48" fmla="*/ 110 w 123"/>
                <a:gd name="T49" fmla="*/ 120 h 143"/>
                <a:gd name="T50" fmla="*/ 106 w 123"/>
                <a:gd name="T51" fmla="*/ 120 h 143"/>
                <a:gd name="T52" fmla="*/ 104 w 123"/>
                <a:gd name="T53" fmla="*/ 112 h 143"/>
                <a:gd name="T54" fmla="*/ 98 w 123"/>
                <a:gd name="T55" fmla="*/ 110 h 143"/>
                <a:gd name="T56" fmla="*/ 94 w 123"/>
                <a:gd name="T57" fmla="*/ 108 h 143"/>
                <a:gd name="T58" fmla="*/ 88 w 123"/>
                <a:gd name="T59" fmla="*/ 104 h 143"/>
                <a:gd name="T60" fmla="*/ 86 w 123"/>
                <a:gd name="T61" fmla="*/ 104 h 143"/>
                <a:gd name="T62" fmla="*/ 84 w 123"/>
                <a:gd name="T63" fmla="*/ 98 h 143"/>
                <a:gd name="T64" fmla="*/ 84 w 123"/>
                <a:gd name="T65" fmla="*/ 94 h 143"/>
                <a:gd name="T66" fmla="*/ 84 w 123"/>
                <a:gd name="T67" fmla="*/ 88 h 143"/>
                <a:gd name="T68" fmla="*/ 88 w 123"/>
                <a:gd name="T69" fmla="*/ 84 h 143"/>
                <a:gd name="T70" fmla="*/ 92 w 123"/>
                <a:gd name="T71" fmla="*/ 84 h 143"/>
                <a:gd name="T72" fmla="*/ 98 w 123"/>
                <a:gd name="T73" fmla="*/ 68 h 143"/>
                <a:gd name="T74" fmla="*/ 96 w 123"/>
                <a:gd name="T75" fmla="*/ 40 h 143"/>
                <a:gd name="T76" fmla="*/ 86 w 123"/>
                <a:gd name="T77" fmla="*/ 16 h 143"/>
                <a:gd name="T78" fmla="*/ 88 w 123"/>
                <a:gd name="T79" fmla="*/ 14 h 143"/>
                <a:gd name="T80" fmla="*/ 86 w 123"/>
                <a:gd name="T81" fmla="*/ 10 h 143"/>
                <a:gd name="T82" fmla="*/ 84 w 123"/>
                <a:gd name="T83" fmla="*/ 10 h 143"/>
                <a:gd name="T84" fmla="*/ 78 w 123"/>
                <a:gd name="T85" fmla="*/ 14 h 143"/>
                <a:gd name="T86" fmla="*/ 62 w 123"/>
                <a:gd name="T87" fmla="*/ 16 h 143"/>
                <a:gd name="T88" fmla="*/ 42 w 123"/>
                <a:gd name="T89" fmla="*/ 6 h 143"/>
                <a:gd name="T90" fmla="*/ 28 w 123"/>
                <a:gd name="T91" fmla="*/ 0 h 143"/>
                <a:gd name="T92" fmla="*/ 22 w 123"/>
                <a:gd name="T93" fmla="*/ 0 h 143"/>
                <a:gd name="T94" fmla="*/ 18 w 123"/>
                <a:gd name="T95" fmla="*/ 0 h 143"/>
                <a:gd name="T96" fmla="*/ 18 w 123"/>
                <a:gd name="T97" fmla="*/ 6 h 143"/>
                <a:gd name="T98" fmla="*/ 28 w 123"/>
                <a:gd name="T99" fmla="*/ 16 h 143"/>
                <a:gd name="T100" fmla="*/ 28 w 123"/>
                <a:gd name="T101" fmla="*/ 30 h 143"/>
                <a:gd name="T102" fmla="*/ 32 w 123"/>
                <a:gd name="T103" fmla="*/ 40 h 143"/>
                <a:gd name="T104" fmla="*/ 26 w 123"/>
                <a:gd name="T105" fmla="*/ 52 h 143"/>
                <a:gd name="T106" fmla="*/ 16 w 123"/>
                <a:gd name="T107" fmla="*/ 56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3" h="143">
                  <a:moveTo>
                    <a:pt x="16" y="56"/>
                  </a:moveTo>
                  <a:lnTo>
                    <a:pt x="12" y="62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4" y="60"/>
                  </a:lnTo>
                  <a:lnTo>
                    <a:pt x="2" y="58"/>
                  </a:lnTo>
                  <a:lnTo>
                    <a:pt x="2" y="58"/>
                  </a:lnTo>
                  <a:lnTo>
                    <a:pt x="0" y="62"/>
                  </a:lnTo>
                  <a:lnTo>
                    <a:pt x="0" y="64"/>
                  </a:lnTo>
                  <a:lnTo>
                    <a:pt x="2" y="78"/>
                  </a:lnTo>
                  <a:lnTo>
                    <a:pt x="6" y="82"/>
                  </a:lnTo>
                  <a:lnTo>
                    <a:pt x="10" y="86"/>
                  </a:lnTo>
                  <a:lnTo>
                    <a:pt x="16" y="92"/>
                  </a:lnTo>
                  <a:lnTo>
                    <a:pt x="26" y="92"/>
                  </a:lnTo>
                  <a:lnTo>
                    <a:pt x="36" y="92"/>
                  </a:lnTo>
                  <a:lnTo>
                    <a:pt x="44" y="96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4" y="104"/>
                  </a:lnTo>
                  <a:lnTo>
                    <a:pt x="56" y="108"/>
                  </a:lnTo>
                  <a:lnTo>
                    <a:pt x="56" y="108"/>
                  </a:lnTo>
                  <a:lnTo>
                    <a:pt x="62" y="110"/>
                  </a:lnTo>
                  <a:lnTo>
                    <a:pt x="64" y="108"/>
                  </a:lnTo>
                  <a:lnTo>
                    <a:pt x="74" y="110"/>
                  </a:lnTo>
                  <a:lnTo>
                    <a:pt x="82" y="112"/>
                  </a:lnTo>
                  <a:lnTo>
                    <a:pt x="82" y="112"/>
                  </a:lnTo>
                  <a:lnTo>
                    <a:pt x="84" y="114"/>
                  </a:lnTo>
                  <a:lnTo>
                    <a:pt x="86" y="118"/>
                  </a:lnTo>
                  <a:lnTo>
                    <a:pt x="86" y="118"/>
                  </a:lnTo>
                  <a:lnTo>
                    <a:pt x="86" y="124"/>
                  </a:lnTo>
                  <a:lnTo>
                    <a:pt x="86" y="128"/>
                  </a:lnTo>
                  <a:lnTo>
                    <a:pt x="86" y="128"/>
                  </a:lnTo>
                  <a:lnTo>
                    <a:pt x="90" y="132"/>
                  </a:lnTo>
                  <a:lnTo>
                    <a:pt x="92" y="132"/>
                  </a:lnTo>
                  <a:lnTo>
                    <a:pt x="96" y="139"/>
                  </a:lnTo>
                  <a:lnTo>
                    <a:pt x="102" y="143"/>
                  </a:lnTo>
                  <a:lnTo>
                    <a:pt x="106" y="143"/>
                  </a:lnTo>
                  <a:lnTo>
                    <a:pt x="106" y="143"/>
                  </a:lnTo>
                  <a:lnTo>
                    <a:pt x="108" y="141"/>
                  </a:lnTo>
                  <a:lnTo>
                    <a:pt x="111" y="137"/>
                  </a:lnTo>
                  <a:lnTo>
                    <a:pt x="111" y="137"/>
                  </a:lnTo>
                  <a:lnTo>
                    <a:pt x="117" y="137"/>
                  </a:lnTo>
                  <a:lnTo>
                    <a:pt x="121" y="137"/>
                  </a:lnTo>
                  <a:lnTo>
                    <a:pt x="123" y="135"/>
                  </a:lnTo>
                  <a:lnTo>
                    <a:pt x="119" y="130"/>
                  </a:lnTo>
                  <a:lnTo>
                    <a:pt x="117" y="126"/>
                  </a:lnTo>
                  <a:lnTo>
                    <a:pt x="117" y="126"/>
                  </a:lnTo>
                  <a:lnTo>
                    <a:pt x="113" y="120"/>
                  </a:lnTo>
                  <a:lnTo>
                    <a:pt x="113" y="120"/>
                  </a:lnTo>
                  <a:lnTo>
                    <a:pt x="110" y="120"/>
                  </a:lnTo>
                  <a:lnTo>
                    <a:pt x="106" y="120"/>
                  </a:lnTo>
                  <a:lnTo>
                    <a:pt x="106" y="120"/>
                  </a:lnTo>
                  <a:lnTo>
                    <a:pt x="104" y="116"/>
                  </a:lnTo>
                  <a:lnTo>
                    <a:pt x="104" y="112"/>
                  </a:lnTo>
                  <a:lnTo>
                    <a:pt x="104" y="112"/>
                  </a:lnTo>
                  <a:lnTo>
                    <a:pt x="98" y="110"/>
                  </a:lnTo>
                  <a:lnTo>
                    <a:pt x="94" y="108"/>
                  </a:lnTo>
                  <a:lnTo>
                    <a:pt x="94" y="108"/>
                  </a:lnTo>
                  <a:lnTo>
                    <a:pt x="92" y="106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6" y="104"/>
                  </a:lnTo>
                  <a:lnTo>
                    <a:pt x="84" y="102"/>
                  </a:lnTo>
                  <a:lnTo>
                    <a:pt x="84" y="98"/>
                  </a:lnTo>
                  <a:lnTo>
                    <a:pt x="84" y="94"/>
                  </a:lnTo>
                  <a:lnTo>
                    <a:pt x="84" y="94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4" y="86"/>
                  </a:lnTo>
                  <a:lnTo>
                    <a:pt x="88" y="84"/>
                  </a:lnTo>
                  <a:lnTo>
                    <a:pt x="92" y="84"/>
                  </a:lnTo>
                  <a:lnTo>
                    <a:pt x="92" y="84"/>
                  </a:lnTo>
                  <a:lnTo>
                    <a:pt x="94" y="78"/>
                  </a:lnTo>
                  <a:lnTo>
                    <a:pt x="98" y="68"/>
                  </a:lnTo>
                  <a:lnTo>
                    <a:pt x="100" y="56"/>
                  </a:lnTo>
                  <a:lnTo>
                    <a:pt x="96" y="40"/>
                  </a:lnTo>
                  <a:lnTo>
                    <a:pt x="90" y="30"/>
                  </a:lnTo>
                  <a:lnTo>
                    <a:pt x="86" y="16"/>
                  </a:lnTo>
                  <a:lnTo>
                    <a:pt x="86" y="16"/>
                  </a:lnTo>
                  <a:lnTo>
                    <a:pt x="88" y="14"/>
                  </a:lnTo>
                  <a:lnTo>
                    <a:pt x="86" y="12"/>
                  </a:lnTo>
                  <a:lnTo>
                    <a:pt x="86" y="10"/>
                  </a:lnTo>
                  <a:lnTo>
                    <a:pt x="86" y="10"/>
                  </a:lnTo>
                  <a:lnTo>
                    <a:pt x="84" y="10"/>
                  </a:lnTo>
                  <a:lnTo>
                    <a:pt x="82" y="12"/>
                  </a:lnTo>
                  <a:lnTo>
                    <a:pt x="78" y="14"/>
                  </a:lnTo>
                  <a:lnTo>
                    <a:pt x="72" y="20"/>
                  </a:lnTo>
                  <a:lnTo>
                    <a:pt x="62" y="16"/>
                  </a:lnTo>
                  <a:lnTo>
                    <a:pt x="52" y="10"/>
                  </a:lnTo>
                  <a:lnTo>
                    <a:pt x="42" y="6"/>
                  </a:lnTo>
                  <a:lnTo>
                    <a:pt x="34" y="2"/>
                  </a:lnTo>
                  <a:lnTo>
                    <a:pt x="28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2"/>
                  </a:lnTo>
                  <a:lnTo>
                    <a:pt x="18" y="6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18"/>
                  </a:lnTo>
                  <a:lnTo>
                    <a:pt x="28" y="30"/>
                  </a:lnTo>
                  <a:lnTo>
                    <a:pt x="28" y="34"/>
                  </a:lnTo>
                  <a:lnTo>
                    <a:pt x="32" y="40"/>
                  </a:lnTo>
                  <a:lnTo>
                    <a:pt x="30" y="48"/>
                  </a:lnTo>
                  <a:lnTo>
                    <a:pt x="26" y="52"/>
                  </a:lnTo>
                  <a:lnTo>
                    <a:pt x="24" y="54"/>
                  </a:lnTo>
                  <a:lnTo>
                    <a:pt x="16" y="56"/>
                  </a:lnTo>
                  <a:close/>
                </a:path>
              </a:pathLst>
            </a:custGeom>
            <a:grpFill/>
            <a:ln w="3175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</p:grpSp>
      <p:sp>
        <p:nvSpPr>
          <p:cNvPr id="782" name="TextBox 781"/>
          <p:cNvSpPr txBox="1"/>
          <p:nvPr/>
        </p:nvSpPr>
        <p:spPr>
          <a:xfrm>
            <a:off x="5220072" y="3140968"/>
            <a:ext cx="1480336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rPr>
              <a:t>Российский продукт</a:t>
            </a:r>
          </a:p>
        </p:txBody>
      </p:sp>
      <p:sp>
        <p:nvSpPr>
          <p:cNvPr id="783" name="TextBox 782"/>
          <p:cNvSpPr txBox="1"/>
          <p:nvPr/>
        </p:nvSpPr>
        <p:spPr>
          <a:xfrm>
            <a:off x="5220073" y="3980916"/>
            <a:ext cx="2232247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</a:defRPr>
            </a:lvl1pPr>
          </a:lstStyle>
          <a:p>
            <a:pPr>
              <a:spcBef>
                <a:spcPts val="0"/>
              </a:spcBef>
              <a:defRPr/>
            </a:pPr>
            <a:r>
              <a:rPr lang="ru-RU" dirty="0">
                <a:latin typeface="Arial Narrow" panose="020B0606020202030204" pitchFamily="34" charset="0"/>
              </a:rPr>
              <a:t>Обоснование безопасности</a:t>
            </a:r>
          </a:p>
        </p:txBody>
      </p:sp>
      <p:sp>
        <p:nvSpPr>
          <p:cNvPr id="784" name="TextBox 783"/>
          <p:cNvSpPr txBox="1"/>
          <p:nvPr/>
        </p:nvSpPr>
        <p:spPr>
          <a:xfrm flipH="1">
            <a:off x="4030080" y="4418528"/>
            <a:ext cx="1117984" cy="738664"/>
          </a:xfrm>
          <a:prstGeom prst="rect">
            <a:avLst/>
          </a:prstGeom>
          <a:solidFill>
            <a:schemeClr val="bg1"/>
          </a:solidFill>
        </p:spPr>
        <p:txBody>
          <a:bodyPr wrap="square" lIns="0" r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latin typeface="Arial Narrow" panose="020B0606020202030204" pitchFamily="34" charset="0"/>
              </a:rPr>
              <a:t>Отраслевые требования </a:t>
            </a:r>
            <a:r>
              <a:rPr lang="ru-RU" sz="1400" b="1" kern="0" dirty="0" smtClean="0">
                <a:solidFill>
                  <a:srgbClr val="0070BA"/>
                </a:solidFill>
                <a:latin typeface="Arial Narrow" panose="020B0606020202030204" pitchFamily="34" charset="0"/>
              </a:rPr>
              <a:t>РИН</a:t>
            </a:r>
            <a:endParaRPr kumimoji="0" lang="ru-RU" sz="1400" b="1" i="0" u="none" strike="noStrike" kern="0" cap="none" spc="0" normalizeH="0" baseline="0" noProof="0" dirty="0" smtClean="0">
              <a:ln>
                <a:noFill/>
              </a:ln>
              <a:solidFill>
                <a:srgbClr val="0070BA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grpSp>
        <p:nvGrpSpPr>
          <p:cNvPr id="785" name="Группа 784"/>
          <p:cNvGrpSpPr/>
          <p:nvPr/>
        </p:nvGrpSpPr>
        <p:grpSpPr>
          <a:xfrm>
            <a:off x="4249824" y="3241320"/>
            <a:ext cx="792088" cy="940049"/>
            <a:chOff x="2527201" y="4456162"/>
            <a:chExt cx="1303573" cy="1709142"/>
          </a:xfrm>
        </p:grpSpPr>
        <p:sp>
          <p:nvSpPr>
            <p:cNvPr id="786" name="kontrakt"/>
            <p:cNvSpPr>
              <a:spLocks noEditPoints="1"/>
            </p:cNvSpPr>
            <p:nvPr/>
          </p:nvSpPr>
          <p:spPr bwMode="auto">
            <a:xfrm>
              <a:off x="2818093" y="4456162"/>
              <a:ext cx="1012681" cy="1470470"/>
            </a:xfrm>
            <a:custGeom>
              <a:avLst/>
              <a:gdLst>
                <a:gd name="T0" fmla="*/ 10638 w 11169"/>
                <a:gd name="T1" fmla="*/ 0 h 16218"/>
                <a:gd name="T2" fmla="*/ 11167 w 11169"/>
                <a:gd name="T3" fmla="*/ 531 h 16218"/>
                <a:gd name="T4" fmla="*/ 11163 w 11169"/>
                <a:gd name="T5" fmla="*/ 2626 h 16218"/>
                <a:gd name="T6" fmla="*/ 11163 w 11169"/>
                <a:gd name="T7" fmla="*/ 16218 h 16218"/>
                <a:gd name="T8" fmla="*/ 531 w 11169"/>
                <a:gd name="T9" fmla="*/ 16218 h 16218"/>
                <a:gd name="T10" fmla="*/ 0 w 11169"/>
                <a:gd name="T11" fmla="*/ 15687 h 16218"/>
                <a:gd name="T12" fmla="*/ 0 w 11169"/>
                <a:gd name="T13" fmla="*/ 0 h 16218"/>
                <a:gd name="T14" fmla="*/ 8777 w 11169"/>
                <a:gd name="T15" fmla="*/ 4887 h 16218"/>
                <a:gd name="T16" fmla="*/ 2387 w 11169"/>
                <a:gd name="T17" fmla="*/ 4307 h 16218"/>
                <a:gd name="T18" fmla="*/ 8777 w 11169"/>
                <a:gd name="T19" fmla="*/ 4887 h 16218"/>
                <a:gd name="T20" fmla="*/ 2387 w 11169"/>
                <a:gd name="T21" fmla="*/ 3819 h 16218"/>
                <a:gd name="T22" fmla="*/ 8777 w 11169"/>
                <a:gd name="T23" fmla="*/ 3239 h 16218"/>
                <a:gd name="T24" fmla="*/ 4573 w 11169"/>
                <a:gd name="T25" fmla="*/ 12980 h 16218"/>
                <a:gd name="T26" fmla="*/ 2387 w 11169"/>
                <a:gd name="T27" fmla="*/ 12400 h 16218"/>
                <a:gd name="T28" fmla="*/ 4573 w 11169"/>
                <a:gd name="T29" fmla="*/ 12980 h 16218"/>
                <a:gd name="T30" fmla="*/ 2387 w 11169"/>
                <a:gd name="T31" fmla="*/ 11880 h 16218"/>
                <a:gd name="T32" fmla="*/ 4573 w 11169"/>
                <a:gd name="T33" fmla="*/ 11299 h 16218"/>
                <a:gd name="T34" fmla="*/ 8777 w 11169"/>
                <a:gd name="T35" fmla="*/ 10188 h 16218"/>
                <a:gd name="T36" fmla="*/ 2387 w 11169"/>
                <a:gd name="T37" fmla="*/ 9607 h 16218"/>
                <a:gd name="T38" fmla="*/ 8777 w 11169"/>
                <a:gd name="T39" fmla="*/ 10188 h 16218"/>
                <a:gd name="T40" fmla="*/ 2387 w 11169"/>
                <a:gd name="T41" fmla="*/ 9121 h 16218"/>
                <a:gd name="T42" fmla="*/ 8777 w 11169"/>
                <a:gd name="T43" fmla="*/ 8540 h 16218"/>
                <a:gd name="T44" fmla="*/ 8777 w 11169"/>
                <a:gd name="T45" fmla="*/ 8056 h 16218"/>
                <a:gd name="T46" fmla="*/ 2387 w 11169"/>
                <a:gd name="T47" fmla="*/ 7475 h 16218"/>
                <a:gd name="T48" fmla="*/ 8777 w 11169"/>
                <a:gd name="T49" fmla="*/ 8056 h 16218"/>
                <a:gd name="T50" fmla="*/ 2387 w 11169"/>
                <a:gd name="T51" fmla="*/ 6989 h 16218"/>
                <a:gd name="T52" fmla="*/ 8777 w 11169"/>
                <a:gd name="T53" fmla="*/ 6408 h 16218"/>
                <a:gd name="T54" fmla="*/ 8777 w 11169"/>
                <a:gd name="T55" fmla="*/ 5921 h 16218"/>
                <a:gd name="T56" fmla="*/ 2387 w 11169"/>
                <a:gd name="T57" fmla="*/ 5341 h 16218"/>
                <a:gd name="T58" fmla="*/ 8777 w 11169"/>
                <a:gd name="T59" fmla="*/ 5921 h 16218"/>
                <a:gd name="T60" fmla="*/ 1062 w 11169"/>
                <a:gd name="T61" fmla="*/ 1062 h 16218"/>
                <a:gd name="T62" fmla="*/ 10101 w 11169"/>
                <a:gd name="T63" fmla="*/ 15156 h 16218"/>
                <a:gd name="T64" fmla="*/ 10103 w 11169"/>
                <a:gd name="T65" fmla="*/ 2626 h 16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169" h="16218">
                  <a:moveTo>
                    <a:pt x="531" y="0"/>
                  </a:moveTo>
                  <a:lnTo>
                    <a:pt x="10638" y="0"/>
                  </a:lnTo>
                  <a:lnTo>
                    <a:pt x="11169" y="0"/>
                  </a:lnTo>
                  <a:lnTo>
                    <a:pt x="11167" y="531"/>
                  </a:lnTo>
                  <a:lnTo>
                    <a:pt x="11161" y="2626"/>
                  </a:lnTo>
                  <a:lnTo>
                    <a:pt x="11163" y="2626"/>
                  </a:lnTo>
                  <a:lnTo>
                    <a:pt x="11163" y="15687"/>
                  </a:lnTo>
                  <a:lnTo>
                    <a:pt x="11163" y="16218"/>
                  </a:lnTo>
                  <a:lnTo>
                    <a:pt x="10632" y="16218"/>
                  </a:lnTo>
                  <a:lnTo>
                    <a:pt x="531" y="16218"/>
                  </a:lnTo>
                  <a:lnTo>
                    <a:pt x="0" y="16218"/>
                  </a:lnTo>
                  <a:lnTo>
                    <a:pt x="0" y="15687"/>
                  </a:lnTo>
                  <a:lnTo>
                    <a:pt x="0" y="531"/>
                  </a:lnTo>
                  <a:lnTo>
                    <a:pt x="0" y="0"/>
                  </a:lnTo>
                  <a:lnTo>
                    <a:pt x="531" y="0"/>
                  </a:lnTo>
                  <a:close/>
                  <a:moveTo>
                    <a:pt x="8777" y="4887"/>
                  </a:moveTo>
                  <a:lnTo>
                    <a:pt x="2387" y="4887"/>
                  </a:lnTo>
                  <a:lnTo>
                    <a:pt x="2387" y="4307"/>
                  </a:lnTo>
                  <a:lnTo>
                    <a:pt x="8777" y="4307"/>
                  </a:lnTo>
                  <a:lnTo>
                    <a:pt x="8777" y="4887"/>
                  </a:lnTo>
                  <a:close/>
                  <a:moveTo>
                    <a:pt x="8777" y="3819"/>
                  </a:moveTo>
                  <a:lnTo>
                    <a:pt x="2387" y="3819"/>
                  </a:lnTo>
                  <a:lnTo>
                    <a:pt x="2387" y="3239"/>
                  </a:lnTo>
                  <a:lnTo>
                    <a:pt x="8777" y="3239"/>
                  </a:lnTo>
                  <a:lnTo>
                    <a:pt x="8777" y="3819"/>
                  </a:lnTo>
                  <a:close/>
                  <a:moveTo>
                    <a:pt x="4573" y="12980"/>
                  </a:moveTo>
                  <a:lnTo>
                    <a:pt x="2387" y="12980"/>
                  </a:lnTo>
                  <a:lnTo>
                    <a:pt x="2387" y="12400"/>
                  </a:lnTo>
                  <a:lnTo>
                    <a:pt x="4573" y="12400"/>
                  </a:lnTo>
                  <a:lnTo>
                    <a:pt x="4573" y="12980"/>
                  </a:lnTo>
                  <a:close/>
                  <a:moveTo>
                    <a:pt x="4573" y="11880"/>
                  </a:moveTo>
                  <a:lnTo>
                    <a:pt x="2387" y="11880"/>
                  </a:lnTo>
                  <a:lnTo>
                    <a:pt x="2387" y="11299"/>
                  </a:lnTo>
                  <a:lnTo>
                    <a:pt x="4573" y="11299"/>
                  </a:lnTo>
                  <a:lnTo>
                    <a:pt x="4573" y="11880"/>
                  </a:lnTo>
                  <a:close/>
                  <a:moveTo>
                    <a:pt x="8777" y="10188"/>
                  </a:moveTo>
                  <a:lnTo>
                    <a:pt x="2387" y="10188"/>
                  </a:lnTo>
                  <a:lnTo>
                    <a:pt x="2387" y="9607"/>
                  </a:lnTo>
                  <a:lnTo>
                    <a:pt x="8777" y="9607"/>
                  </a:lnTo>
                  <a:lnTo>
                    <a:pt x="8777" y="10188"/>
                  </a:lnTo>
                  <a:close/>
                  <a:moveTo>
                    <a:pt x="8777" y="9121"/>
                  </a:moveTo>
                  <a:lnTo>
                    <a:pt x="2387" y="9121"/>
                  </a:lnTo>
                  <a:lnTo>
                    <a:pt x="2387" y="8540"/>
                  </a:lnTo>
                  <a:lnTo>
                    <a:pt x="8777" y="8540"/>
                  </a:lnTo>
                  <a:lnTo>
                    <a:pt x="8777" y="9121"/>
                  </a:lnTo>
                  <a:close/>
                  <a:moveTo>
                    <a:pt x="8777" y="8056"/>
                  </a:moveTo>
                  <a:lnTo>
                    <a:pt x="2387" y="8056"/>
                  </a:lnTo>
                  <a:lnTo>
                    <a:pt x="2387" y="7475"/>
                  </a:lnTo>
                  <a:lnTo>
                    <a:pt x="8777" y="7475"/>
                  </a:lnTo>
                  <a:lnTo>
                    <a:pt x="8777" y="8056"/>
                  </a:lnTo>
                  <a:close/>
                  <a:moveTo>
                    <a:pt x="8777" y="6989"/>
                  </a:moveTo>
                  <a:lnTo>
                    <a:pt x="2387" y="6989"/>
                  </a:lnTo>
                  <a:lnTo>
                    <a:pt x="2387" y="6408"/>
                  </a:lnTo>
                  <a:lnTo>
                    <a:pt x="8777" y="6408"/>
                  </a:lnTo>
                  <a:lnTo>
                    <a:pt x="8777" y="6989"/>
                  </a:lnTo>
                  <a:close/>
                  <a:moveTo>
                    <a:pt x="8777" y="5921"/>
                  </a:moveTo>
                  <a:lnTo>
                    <a:pt x="2387" y="5921"/>
                  </a:lnTo>
                  <a:lnTo>
                    <a:pt x="2387" y="5341"/>
                  </a:lnTo>
                  <a:lnTo>
                    <a:pt x="8777" y="5341"/>
                  </a:lnTo>
                  <a:lnTo>
                    <a:pt x="8777" y="5921"/>
                  </a:lnTo>
                  <a:close/>
                  <a:moveTo>
                    <a:pt x="10108" y="1062"/>
                  </a:moveTo>
                  <a:lnTo>
                    <a:pt x="1062" y="1062"/>
                  </a:lnTo>
                  <a:lnTo>
                    <a:pt x="1062" y="15156"/>
                  </a:lnTo>
                  <a:lnTo>
                    <a:pt x="10101" y="15156"/>
                  </a:lnTo>
                  <a:lnTo>
                    <a:pt x="10101" y="2626"/>
                  </a:lnTo>
                  <a:lnTo>
                    <a:pt x="10103" y="2626"/>
                  </a:lnTo>
                  <a:lnTo>
                    <a:pt x="10108" y="1062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87" name="kontrakt"/>
            <p:cNvSpPr>
              <a:spLocks noEditPoints="1"/>
            </p:cNvSpPr>
            <p:nvPr/>
          </p:nvSpPr>
          <p:spPr bwMode="auto">
            <a:xfrm>
              <a:off x="2669098" y="4571603"/>
              <a:ext cx="1012681" cy="1470470"/>
            </a:xfrm>
            <a:custGeom>
              <a:avLst/>
              <a:gdLst>
                <a:gd name="T0" fmla="*/ 10638 w 11169"/>
                <a:gd name="T1" fmla="*/ 0 h 16218"/>
                <a:gd name="T2" fmla="*/ 11167 w 11169"/>
                <a:gd name="T3" fmla="*/ 531 h 16218"/>
                <a:gd name="T4" fmla="*/ 11163 w 11169"/>
                <a:gd name="T5" fmla="*/ 2626 h 16218"/>
                <a:gd name="T6" fmla="*/ 11163 w 11169"/>
                <a:gd name="T7" fmla="*/ 16218 h 16218"/>
                <a:gd name="T8" fmla="*/ 531 w 11169"/>
                <a:gd name="T9" fmla="*/ 16218 h 16218"/>
                <a:gd name="T10" fmla="*/ 0 w 11169"/>
                <a:gd name="T11" fmla="*/ 15687 h 16218"/>
                <a:gd name="T12" fmla="*/ 0 w 11169"/>
                <a:gd name="T13" fmla="*/ 0 h 16218"/>
                <a:gd name="T14" fmla="*/ 8777 w 11169"/>
                <a:gd name="T15" fmla="*/ 4887 h 16218"/>
                <a:gd name="T16" fmla="*/ 2387 w 11169"/>
                <a:gd name="T17" fmla="*/ 4307 h 16218"/>
                <a:gd name="T18" fmla="*/ 8777 w 11169"/>
                <a:gd name="T19" fmla="*/ 4887 h 16218"/>
                <a:gd name="T20" fmla="*/ 2387 w 11169"/>
                <a:gd name="T21" fmla="*/ 3819 h 16218"/>
                <a:gd name="T22" fmla="*/ 8777 w 11169"/>
                <a:gd name="T23" fmla="*/ 3239 h 16218"/>
                <a:gd name="T24" fmla="*/ 4573 w 11169"/>
                <a:gd name="T25" fmla="*/ 12980 h 16218"/>
                <a:gd name="T26" fmla="*/ 2387 w 11169"/>
                <a:gd name="T27" fmla="*/ 12400 h 16218"/>
                <a:gd name="T28" fmla="*/ 4573 w 11169"/>
                <a:gd name="T29" fmla="*/ 12980 h 16218"/>
                <a:gd name="T30" fmla="*/ 2387 w 11169"/>
                <a:gd name="T31" fmla="*/ 11880 h 16218"/>
                <a:gd name="T32" fmla="*/ 4573 w 11169"/>
                <a:gd name="T33" fmla="*/ 11299 h 16218"/>
                <a:gd name="T34" fmla="*/ 8777 w 11169"/>
                <a:gd name="T35" fmla="*/ 10188 h 16218"/>
                <a:gd name="T36" fmla="*/ 2387 w 11169"/>
                <a:gd name="T37" fmla="*/ 9607 h 16218"/>
                <a:gd name="T38" fmla="*/ 8777 w 11169"/>
                <a:gd name="T39" fmla="*/ 10188 h 16218"/>
                <a:gd name="T40" fmla="*/ 2387 w 11169"/>
                <a:gd name="T41" fmla="*/ 9121 h 16218"/>
                <a:gd name="T42" fmla="*/ 8777 w 11169"/>
                <a:gd name="T43" fmla="*/ 8540 h 16218"/>
                <a:gd name="T44" fmla="*/ 8777 w 11169"/>
                <a:gd name="T45" fmla="*/ 8056 h 16218"/>
                <a:gd name="T46" fmla="*/ 2387 w 11169"/>
                <a:gd name="T47" fmla="*/ 7475 h 16218"/>
                <a:gd name="T48" fmla="*/ 8777 w 11169"/>
                <a:gd name="T49" fmla="*/ 8056 h 16218"/>
                <a:gd name="T50" fmla="*/ 2387 w 11169"/>
                <a:gd name="T51" fmla="*/ 6989 h 16218"/>
                <a:gd name="T52" fmla="*/ 8777 w 11169"/>
                <a:gd name="T53" fmla="*/ 6408 h 16218"/>
                <a:gd name="T54" fmla="*/ 8777 w 11169"/>
                <a:gd name="T55" fmla="*/ 5921 h 16218"/>
                <a:gd name="T56" fmla="*/ 2387 w 11169"/>
                <a:gd name="T57" fmla="*/ 5341 h 16218"/>
                <a:gd name="T58" fmla="*/ 8777 w 11169"/>
                <a:gd name="T59" fmla="*/ 5921 h 16218"/>
                <a:gd name="T60" fmla="*/ 1062 w 11169"/>
                <a:gd name="T61" fmla="*/ 1062 h 16218"/>
                <a:gd name="T62" fmla="*/ 10101 w 11169"/>
                <a:gd name="T63" fmla="*/ 15156 h 16218"/>
                <a:gd name="T64" fmla="*/ 10103 w 11169"/>
                <a:gd name="T65" fmla="*/ 2626 h 16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169" h="16218">
                  <a:moveTo>
                    <a:pt x="531" y="0"/>
                  </a:moveTo>
                  <a:lnTo>
                    <a:pt x="10638" y="0"/>
                  </a:lnTo>
                  <a:lnTo>
                    <a:pt x="11169" y="0"/>
                  </a:lnTo>
                  <a:lnTo>
                    <a:pt x="11167" y="531"/>
                  </a:lnTo>
                  <a:lnTo>
                    <a:pt x="11161" y="2626"/>
                  </a:lnTo>
                  <a:lnTo>
                    <a:pt x="11163" y="2626"/>
                  </a:lnTo>
                  <a:lnTo>
                    <a:pt x="11163" y="15687"/>
                  </a:lnTo>
                  <a:lnTo>
                    <a:pt x="11163" y="16218"/>
                  </a:lnTo>
                  <a:lnTo>
                    <a:pt x="10632" y="16218"/>
                  </a:lnTo>
                  <a:lnTo>
                    <a:pt x="531" y="16218"/>
                  </a:lnTo>
                  <a:lnTo>
                    <a:pt x="0" y="16218"/>
                  </a:lnTo>
                  <a:lnTo>
                    <a:pt x="0" y="15687"/>
                  </a:lnTo>
                  <a:lnTo>
                    <a:pt x="0" y="531"/>
                  </a:lnTo>
                  <a:lnTo>
                    <a:pt x="0" y="0"/>
                  </a:lnTo>
                  <a:lnTo>
                    <a:pt x="531" y="0"/>
                  </a:lnTo>
                  <a:close/>
                  <a:moveTo>
                    <a:pt x="8777" y="4887"/>
                  </a:moveTo>
                  <a:lnTo>
                    <a:pt x="2387" y="4887"/>
                  </a:lnTo>
                  <a:lnTo>
                    <a:pt x="2387" y="4307"/>
                  </a:lnTo>
                  <a:lnTo>
                    <a:pt x="8777" y="4307"/>
                  </a:lnTo>
                  <a:lnTo>
                    <a:pt x="8777" y="4887"/>
                  </a:lnTo>
                  <a:close/>
                  <a:moveTo>
                    <a:pt x="8777" y="3819"/>
                  </a:moveTo>
                  <a:lnTo>
                    <a:pt x="2387" y="3819"/>
                  </a:lnTo>
                  <a:lnTo>
                    <a:pt x="2387" y="3239"/>
                  </a:lnTo>
                  <a:lnTo>
                    <a:pt x="8777" y="3239"/>
                  </a:lnTo>
                  <a:lnTo>
                    <a:pt x="8777" y="3819"/>
                  </a:lnTo>
                  <a:close/>
                  <a:moveTo>
                    <a:pt x="4573" y="12980"/>
                  </a:moveTo>
                  <a:lnTo>
                    <a:pt x="2387" y="12980"/>
                  </a:lnTo>
                  <a:lnTo>
                    <a:pt x="2387" y="12400"/>
                  </a:lnTo>
                  <a:lnTo>
                    <a:pt x="4573" y="12400"/>
                  </a:lnTo>
                  <a:lnTo>
                    <a:pt x="4573" y="12980"/>
                  </a:lnTo>
                  <a:close/>
                  <a:moveTo>
                    <a:pt x="4573" y="11880"/>
                  </a:moveTo>
                  <a:lnTo>
                    <a:pt x="2387" y="11880"/>
                  </a:lnTo>
                  <a:lnTo>
                    <a:pt x="2387" y="11299"/>
                  </a:lnTo>
                  <a:lnTo>
                    <a:pt x="4573" y="11299"/>
                  </a:lnTo>
                  <a:lnTo>
                    <a:pt x="4573" y="11880"/>
                  </a:lnTo>
                  <a:close/>
                  <a:moveTo>
                    <a:pt x="8777" y="10188"/>
                  </a:moveTo>
                  <a:lnTo>
                    <a:pt x="2387" y="10188"/>
                  </a:lnTo>
                  <a:lnTo>
                    <a:pt x="2387" y="9607"/>
                  </a:lnTo>
                  <a:lnTo>
                    <a:pt x="8777" y="9607"/>
                  </a:lnTo>
                  <a:lnTo>
                    <a:pt x="8777" y="10188"/>
                  </a:lnTo>
                  <a:close/>
                  <a:moveTo>
                    <a:pt x="8777" y="9121"/>
                  </a:moveTo>
                  <a:lnTo>
                    <a:pt x="2387" y="9121"/>
                  </a:lnTo>
                  <a:lnTo>
                    <a:pt x="2387" y="8540"/>
                  </a:lnTo>
                  <a:lnTo>
                    <a:pt x="8777" y="8540"/>
                  </a:lnTo>
                  <a:lnTo>
                    <a:pt x="8777" y="9121"/>
                  </a:lnTo>
                  <a:close/>
                  <a:moveTo>
                    <a:pt x="8777" y="8056"/>
                  </a:moveTo>
                  <a:lnTo>
                    <a:pt x="2387" y="8056"/>
                  </a:lnTo>
                  <a:lnTo>
                    <a:pt x="2387" y="7475"/>
                  </a:lnTo>
                  <a:lnTo>
                    <a:pt x="8777" y="7475"/>
                  </a:lnTo>
                  <a:lnTo>
                    <a:pt x="8777" y="8056"/>
                  </a:lnTo>
                  <a:close/>
                  <a:moveTo>
                    <a:pt x="8777" y="6989"/>
                  </a:moveTo>
                  <a:lnTo>
                    <a:pt x="2387" y="6989"/>
                  </a:lnTo>
                  <a:lnTo>
                    <a:pt x="2387" y="6408"/>
                  </a:lnTo>
                  <a:lnTo>
                    <a:pt x="8777" y="6408"/>
                  </a:lnTo>
                  <a:lnTo>
                    <a:pt x="8777" y="6989"/>
                  </a:lnTo>
                  <a:close/>
                  <a:moveTo>
                    <a:pt x="8777" y="5921"/>
                  </a:moveTo>
                  <a:lnTo>
                    <a:pt x="2387" y="5921"/>
                  </a:lnTo>
                  <a:lnTo>
                    <a:pt x="2387" y="5341"/>
                  </a:lnTo>
                  <a:lnTo>
                    <a:pt x="8777" y="5341"/>
                  </a:lnTo>
                  <a:lnTo>
                    <a:pt x="8777" y="5921"/>
                  </a:lnTo>
                  <a:close/>
                  <a:moveTo>
                    <a:pt x="10108" y="1062"/>
                  </a:moveTo>
                  <a:lnTo>
                    <a:pt x="1062" y="1062"/>
                  </a:lnTo>
                  <a:lnTo>
                    <a:pt x="1062" y="15156"/>
                  </a:lnTo>
                  <a:lnTo>
                    <a:pt x="10101" y="15156"/>
                  </a:lnTo>
                  <a:lnTo>
                    <a:pt x="10101" y="2626"/>
                  </a:lnTo>
                  <a:lnTo>
                    <a:pt x="10103" y="2626"/>
                  </a:lnTo>
                  <a:lnTo>
                    <a:pt x="10108" y="1062"/>
                  </a:lnTo>
                  <a:close/>
                </a:path>
              </a:pathLst>
            </a:custGeom>
            <a:solidFill>
              <a:srgbClr val="0070BA">
                <a:lumMod val="60000"/>
                <a:lumOff val="40000"/>
              </a:srgb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grpSp>
          <p:nvGrpSpPr>
            <p:cNvPr id="788" name="Группа 787"/>
            <p:cNvGrpSpPr/>
            <p:nvPr/>
          </p:nvGrpSpPr>
          <p:grpSpPr>
            <a:xfrm>
              <a:off x="2527201" y="4685309"/>
              <a:ext cx="1012681" cy="1479995"/>
              <a:chOff x="2573848" y="4663151"/>
              <a:chExt cx="1012681" cy="1479995"/>
            </a:xfrm>
          </p:grpSpPr>
          <p:sp>
            <p:nvSpPr>
              <p:cNvPr id="789" name="Прямоугольник 788"/>
              <p:cNvSpPr/>
              <p:nvPr/>
            </p:nvSpPr>
            <p:spPr>
              <a:xfrm>
                <a:off x="2602423" y="4663151"/>
                <a:ext cx="956603" cy="1470470"/>
              </a:xfrm>
              <a:prstGeom prst="rect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790" name="kontrakt"/>
              <p:cNvSpPr>
                <a:spLocks noEditPoints="1"/>
              </p:cNvSpPr>
              <p:nvPr/>
            </p:nvSpPr>
            <p:spPr bwMode="auto">
              <a:xfrm>
                <a:off x="2573848" y="4672676"/>
                <a:ext cx="1012681" cy="1470470"/>
              </a:xfrm>
              <a:custGeom>
                <a:avLst/>
                <a:gdLst>
                  <a:gd name="T0" fmla="*/ 10638 w 11169"/>
                  <a:gd name="T1" fmla="*/ 0 h 16218"/>
                  <a:gd name="T2" fmla="*/ 11167 w 11169"/>
                  <a:gd name="T3" fmla="*/ 531 h 16218"/>
                  <a:gd name="T4" fmla="*/ 11163 w 11169"/>
                  <a:gd name="T5" fmla="*/ 2626 h 16218"/>
                  <a:gd name="T6" fmla="*/ 11163 w 11169"/>
                  <a:gd name="T7" fmla="*/ 16218 h 16218"/>
                  <a:gd name="T8" fmla="*/ 531 w 11169"/>
                  <a:gd name="T9" fmla="*/ 16218 h 16218"/>
                  <a:gd name="T10" fmla="*/ 0 w 11169"/>
                  <a:gd name="T11" fmla="*/ 15687 h 16218"/>
                  <a:gd name="T12" fmla="*/ 0 w 11169"/>
                  <a:gd name="T13" fmla="*/ 0 h 16218"/>
                  <a:gd name="T14" fmla="*/ 8777 w 11169"/>
                  <a:gd name="T15" fmla="*/ 4887 h 16218"/>
                  <a:gd name="T16" fmla="*/ 2387 w 11169"/>
                  <a:gd name="T17" fmla="*/ 4307 h 16218"/>
                  <a:gd name="T18" fmla="*/ 8777 w 11169"/>
                  <a:gd name="T19" fmla="*/ 4887 h 16218"/>
                  <a:gd name="T20" fmla="*/ 2387 w 11169"/>
                  <a:gd name="T21" fmla="*/ 3819 h 16218"/>
                  <a:gd name="T22" fmla="*/ 8777 w 11169"/>
                  <a:gd name="T23" fmla="*/ 3239 h 16218"/>
                  <a:gd name="T24" fmla="*/ 4573 w 11169"/>
                  <a:gd name="T25" fmla="*/ 12980 h 16218"/>
                  <a:gd name="T26" fmla="*/ 2387 w 11169"/>
                  <a:gd name="T27" fmla="*/ 12400 h 16218"/>
                  <a:gd name="T28" fmla="*/ 4573 w 11169"/>
                  <a:gd name="T29" fmla="*/ 12980 h 16218"/>
                  <a:gd name="T30" fmla="*/ 2387 w 11169"/>
                  <a:gd name="T31" fmla="*/ 11880 h 16218"/>
                  <a:gd name="T32" fmla="*/ 4573 w 11169"/>
                  <a:gd name="T33" fmla="*/ 11299 h 16218"/>
                  <a:gd name="T34" fmla="*/ 8777 w 11169"/>
                  <a:gd name="T35" fmla="*/ 10188 h 16218"/>
                  <a:gd name="T36" fmla="*/ 2387 w 11169"/>
                  <a:gd name="T37" fmla="*/ 9607 h 16218"/>
                  <a:gd name="T38" fmla="*/ 8777 w 11169"/>
                  <a:gd name="T39" fmla="*/ 10188 h 16218"/>
                  <a:gd name="T40" fmla="*/ 2387 w 11169"/>
                  <a:gd name="T41" fmla="*/ 9121 h 16218"/>
                  <a:gd name="T42" fmla="*/ 8777 w 11169"/>
                  <a:gd name="T43" fmla="*/ 8540 h 16218"/>
                  <a:gd name="T44" fmla="*/ 8777 w 11169"/>
                  <a:gd name="T45" fmla="*/ 8056 h 16218"/>
                  <a:gd name="T46" fmla="*/ 2387 w 11169"/>
                  <a:gd name="T47" fmla="*/ 7475 h 16218"/>
                  <a:gd name="T48" fmla="*/ 8777 w 11169"/>
                  <a:gd name="T49" fmla="*/ 8056 h 16218"/>
                  <a:gd name="T50" fmla="*/ 2387 w 11169"/>
                  <a:gd name="T51" fmla="*/ 6989 h 16218"/>
                  <a:gd name="T52" fmla="*/ 8777 w 11169"/>
                  <a:gd name="T53" fmla="*/ 6408 h 16218"/>
                  <a:gd name="T54" fmla="*/ 8777 w 11169"/>
                  <a:gd name="T55" fmla="*/ 5921 h 16218"/>
                  <a:gd name="T56" fmla="*/ 2387 w 11169"/>
                  <a:gd name="T57" fmla="*/ 5341 h 16218"/>
                  <a:gd name="T58" fmla="*/ 8777 w 11169"/>
                  <a:gd name="T59" fmla="*/ 5921 h 16218"/>
                  <a:gd name="T60" fmla="*/ 1062 w 11169"/>
                  <a:gd name="T61" fmla="*/ 1062 h 16218"/>
                  <a:gd name="T62" fmla="*/ 10101 w 11169"/>
                  <a:gd name="T63" fmla="*/ 15156 h 16218"/>
                  <a:gd name="T64" fmla="*/ 10103 w 11169"/>
                  <a:gd name="T65" fmla="*/ 2626 h 16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1169" h="16218">
                    <a:moveTo>
                      <a:pt x="531" y="0"/>
                    </a:moveTo>
                    <a:lnTo>
                      <a:pt x="10638" y="0"/>
                    </a:lnTo>
                    <a:lnTo>
                      <a:pt x="11169" y="0"/>
                    </a:lnTo>
                    <a:lnTo>
                      <a:pt x="11167" y="531"/>
                    </a:lnTo>
                    <a:lnTo>
                      <a:pt x="11161" y="2626"/>
                    </a:lnTo>
                    <a:lnTo>
                      <a:pt x="11163" y="2626"/>
                    </a:lnTo>
                    <a:lnTo>
                      <a:pt x="11163" y="15687"/>
                    </a:lnTo>
                    <a:lnTo>
                      <a:pt x="11163" y="16218"/>
                    </a:lnTo>
                    <a:lnTo>
                      <a:pt x="10632" y="16218"/>
                    </a:lnTo>
                    <a:lnTo>
                      <a:pt x="531" y="16218"/>
                    </a:lnTo>
                    <a:lnTo>
                      <a:pt x="0" y="16218"/>
                    </a:lnTo>
                    <a:lnTo>
                      <a:pt x="0" y="15687"/>
                    </a:lnTo>
                    <a:lnTo>
                      <a:pt x="0" y="531"/>
                    </a:lnTo>
                    <a:lnTo>
                      <a:pt x="0" y="0"/>
                    </a:lnTo>
                    <a:lnTo>
                      <a:pt x="531" y="0"/>
                    </a:lnTo>
                    <a:close/>
                    <a:moveTo>
                      <a:pt x="8777" y="4887"/>
                    </a:moveTo>
                    <a:lnTo>
                      <a:pt x="2387" y="4887"/>
                    </a:lnTo>
                    <a:lnTo>
                      <a:pt x="2387" y="4307"/>
                    </a:lnTo>
                    <a:lnTo>
                      <a:pt x="8777" y="4307"/>
                    </a:lnTo>
                    <a:lnTo>
                      <a:pt x="8777" y="4887"/>
                    </a:lnTo>
                    <a:close/>
                    <a:moveTo>
                      <a:pt x="8777" y="3819"/>
                    </a:moveTo>
                    <a:lnTo>
                      <a:pt x="2387" y="3819"/>
                    </a:lnTo>
                    <a:lnTo>
                      <a:pt x="2387" y="3239"/>
                    </a:lnTo>
                    <a:lnTo>
                      <a:pt x="8777" y="3239"/>
                    </a:lnTo>
                    <a:lnTo>
                      <a:pt x="8777" y="3819"/>
                    </a:lnTo>
                    <a:close/>
                    <a:moveTo>
                      <a:pt x="4573" y="12980"/>
                    </a:moveTo>
                    <a:lnTo>
                      <a:pt x="2387" y="12980"/>
                    </a:lnTo>
                    <a:lnTo>
                      <a:pt x="2387" y="12400"/>
                    </a:lnTo>
                    <a:lnTo>
                      <a:pt x="4573" y="12400"/>
                    </a:lnTo>
                    <a:lnTo>
                      <a:pt x="4573" y="12980"/>
                    </a:lnTo>
                    <a:close/>
                    <a:moveTo>
                      <a:pt x="4573" y="11880"/>
                    </a:moveTo>
                    <a:lnTo>
                      <a:pt x="2387" y="11880"/>
                    </a:lnTo>
                    <a:lnTo>
                      <a:pt x="2387" y="11299"/>
                    </a:lnTo>
                    <a:lnTo>
                      <a:pt x="4573" y="11299"/>
                    </a:lnTo>
                    <a:lnTo>
                      <a:pt x="4573" y="11880"/>
                    </a:lnTo>
                    <a:close/>
                    <a:moveTo>
                      <a:pt x="8777" y="10188"/>
                    </a:moveTo>
                    <a:lnTo>
                      <a:pt x="2387" y="10188"/>
                    </a:lnTo>
                    <a:lnTo>
                      <a:pt x="2387" y="9607"/>
                    </a:lnTo>
                    <a:lnTo>
                      <a:pt x="8777" y="9607"/>
                    </a:lnTo>
                    <a:lnTo>
                      <a:pt x="8777" y="10188"/>
                    </a:lnTo>
                    <a:close/>
                    <a:moveTo>
                      <a:pt x="8777" y="9121"/>
                    </a:moveTo>
                    <a:lnTo>
                      <a:pt x="2387" y="9121"/>
                    </a:lnTo>
                    <a:lnTo>
                      <a:pt x="2387" y="8540"/>
                    </a:lnTo>
                    <a:lnTo>
                      <a:pt x="8777" y="8540"/>
                    </a:lnTo>
                    <a:lnTo>
                      <a:pt x="8777" y="9121"/>
                    </a:lnTo>
                    <a:close/>
                    <a:moveTo>
                      <a:pt x="8777" y="8056"/>
                    </a:moveTo>
                    <a:lnTo>
                      <a:pt x="2387" y="8056"/>
                    </a:lnTo>
                    <a:lnTo>
                      <a:pt x="2387" y="7475"/>
                    </a:lnTo>
                    <a:lnTo>
                      <a:pt x="8777" y="7475"/>
                    </a:lnTo>
                    <a:lnTo>
                      <a:pt x="8777" y="8056"/>
                    </a:lnTo>
                    <a:close/>
                    <a:moveTo>
                      <a:pt x="8777" y="6989"/>
                    </a:moveTo>
                    <a:lnTo>
                      <a:pt x="2387" y="6989"/>
                    </a:lnTo>
                    <a:lnTo>
                      <a:pt x="2387" y="6408"/>
                    </a:lnTo>
                    <a:lnTo>
                      <a:pt x="8777" y="6408"/>
                    </a:lnTo>
                    <a:lnTo>
                      <a:pt x="8777" y="6989"/>
                    </a:lnTo>
                    <a:close/>
                    <a:moveTo>
                      <a:pt x="8777" y="5921"/>
                    </a:moveTo>
                    <a:lnTo>
                      <a:pt x="2387" y="5921"/>
                    </a:lnTo>
                    <a:lnTo>
                      <a:pt x="2387" y="5341"/>
                    </a:lnTo>
                    <a:lnTo>
                      <a:pt x="8777" y="5341"/>
                    </a:lnTo>
                    <a:lnTo>
                      <a:pt x="8777" y="5921"/>
                    </a:lnTo>
                    <a:close/>
                    <a:moveTo>
                      <a:pt x="10108" y="1062"/>
                    </a:moveTo>
                    <a:lnTo>
                      <a:pt x="1062" y="1062"/>
                    </a:lnTo>
                    <a:lnTo>
                      <a:pt x="1062" y="15156"/>
                    </a:lnTo>
                    <a:lnTo>
                      <a:pt x="10101" y="15156"/>
                    </a:lnTo>
                    <a:lnTo>
                      <a:pt x="10101" y="2626"/>
                    </a:lnTo>
                    <a:lnTo>
                      <a:pt x="10103" y="2626"/>
                    </a:lnTo>
                    <a:lnTo>
                      <a:pt x="10108" y="1062"/>
                    </a:lnTo>
                    <a:close/>
                  </a:path>
                </a:pathLst>
              </a:custGeom>
              <a:solidFill>
                <a:srgbClr val="0070BA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</p:grpSp>
      </p:grpSp>
      <p:grpSp>
        <p:nvGrpSpPr>
          <p:cNvPr id="792" name="Группа 791">
            <a:extLst>
              <a:ext uri="{FF2B5EF4-FFF2-40B4-BE49-F238E27FC236}">
                <a16:creationId xmlns:a16="http://schemas.microsoft.com/office/drawing/2014/main" xmlns="" id="{0DA981A1-85EC-6D44-95CF-F9F904792439}"/>
              </a:ext>
            </a:extLst>
          </p:cNvPr>
          <p:cNvGrpSpPr/>
          <p:nvPr/>
        </p:nvGrpSpPr>
        <p:grpSpPr>
          <a:xfrm>
            <a:off x="2915816" y="3140966"/>
            <a:ext cx="1080000" cy="1079999"/>
            <a:chOff x="5364192" y="890917"/>
            <a:chExt cx="578447" cy="592794"/>
          </a:xfrm>
        </p:grpSpPr>
        <p:sp>
          <p:nvSpPr>
            <p:cNvPr id="793" name="Овал 792">
              <a:extLst>
                <a:ext uri="{FF2B5EF4-FFF2-40B4-BE49-F238E27FC236}">
                  <a16:creationId xmlns:a16="http://schemas.microsoft.com/office/drawing/2014/main" xmlns="" id="{2F4026F1-7009-7045-90C8-4C98A4FE5523}"/>
                </a:ext>
              </a:extLst>
            </p:cNvPr>
            <p:cNvSpPr/>
            <p:nvPr/>
          </p:nvSpPr>
          <p:spPr>
            <a:xfrm>
              <a:off x="5364192" y="890917"/>
              <a:ext cx="578447" cy="592794"/>
            </a:xfrm>
            <a:prstGeom prst="ellipse">
              <a:avLst/>
            </a:prstGeom>
            <a:solidFill>
              <a:srgbClr val="0070BA">
                <a:lumMod val="20000"/>
                <a:lumOff val="80000"/>
              </a:srgbClr>
            </a:solidFill>
            <a:ln w="12700" cap="flat" cmpd="sng" algn="ctr">
              <a:solidFill>
                <a:srgbClr val="2FB4E9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94" name="Овал 793">
              <a:extLst>
                <a:ext uri="{FF2B5EF4-FFF2-40B4-BE49-F238E27FC236}">
                  <a16:creationId xmlns:a16="http://schemas.microsoft.com/office/drawing/2014/main" xmlns="" id="{51D8EE60-4302-B24D-A860-7A87249BB8E8}"/>
                </a:ext>
              </a:extLst>
            </p:cNvPr>
            <p:cNvSpPr/>
            <p:nvPr/>
          </p:nvSpPr>
          <p:spPr>
            <a:xfrm>
              <a:off x="5414917" y="940316"/>
              <a:ext cx="482039" cy="493995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solidFill>
                <a:srgbClr val="2FB4E9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796" name="Прямоугольник 795">
            <a:extLst>
              <a:ext uri="{FF2B5EF4-FFF2-40B4-BE49-F238E27FC236}">
                <a16:creationId xmlns:a16="http://schemas.microsoft.com/office/drawing/2014/main" xmlns="" id="{843C9930-54C4-1845-A39B-BBF15747EE25}"/>
              </a:ext>
            </a:extLst>
          </p:cNvPr>
          <p:cNvSpPr/>
          <p:nvPr/>
        </p:nvSpPr>
        <p:spPr>
          <a:xfrm>
            <a:off x="3144571" y="4471505"/>
            <a:ext cx="62869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>
                <a:solidFill>
                  <a:srgbClr val="3477B2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РИН</a:t>
            </a:r>
          </a:p>
        </p:txBody>
      </p:sp>
      <p:pic>
        <p:nvPicPr>
          <p:cNvPr id="797" name="Picture 4" descr="\\gazprom-neft.local\dfs\Газпром нефть\Папки пользователей\Личные папки\GILEMKHANOV.RA\Desktop\Рисование презентации\Иконки\Изометрия детализированная_превью\установка риформинга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3925" y="2957272"/>
            <a:ext cx="1616507" cy="1492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98" name="TextBox 797"/>
          <p:cNvSpPr txBox="1"/>
          <p:nvPr/>
        </p:nvSpPr>
        <p:spPr>
          <a:xfrm flipH="1">
            <a:off x="6556392" y="1844824"/>
            <a:ext cx="1886278" cy="523220"/>
          </a:xfrm>
          <a:prstGeom prst="rect">
            <a:avLst/>
          </a:prstGeom>
          <a:solidFill>
            <a:schemeClr val="bg1"/>
          </a:solidFill>
        </p:spPr>
        <p:txBody>
          <a:bodyPr wrap="square" lIns="0" r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latin typeface="Arial Narrow" panose="020B0606020202030204" pitchFamily="34" charset="0"/>
              </a:rPr>
              <a:t>Инвестиционные</a:t>
            </a:r>
            <a:r>
              <a:rPr kumimoji="0" lang="ru-RU" sz="1400" b="1" i="0" u="none" strike="noStrike" kern="0" cap="none" spc="0" normalizeH="0" noProof="0" dirty="0" smtClean="0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latin typeface="Arial Narrow" panose="020B0606020202030204" pitchFamily="34" charset="0"/>
              </a:rPr>
              <a:t> проекты</a:t>
            </a:r>
            <a:endParaRPr kumimoji="0" lang="ru-RU" sz="1400" b="1" i="0" u="none" strike="noStrike" kern="0" cap="none" spc="0" normalizeH="0" baseline="0" noProof="0" dirty="0" smtClean="0">
              <a:ln>
                <a:noFill/>
              </a:ln>
              <a:solidFill>
                <a:srgbClr val="0070BA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799" name="Овал 798"/>
          <p:cNvSpPr/>
          <p:nvPr/>
        </p:nvSpPr>
        <p:spPr>
          <a:xfrm>
            <a:off x="7107896" y="3136391"/>
            <a:ext cx="1104181" cy="1122859"/>
          </a:xfrm>
          <a:prstGeom prst="ellipse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Arial Narrow" panose="020B0606020202030204" pitchFamily="34" charset="0"/>
            </a:endParaRPr>
          </a:p>
        </p:txBody>
      </p:sp>
      <p:pic>
        <p:nvPicPr>
          <p:cNvPr id="800" name="Picture 5" descr="I:\My Pictures\21421342342.png"/>
          <p:cNvPicPr>
            <a:picLocks noChangeAspect="1" noChangeArrowheads="1"/>
          </p:cNvPicPr>
          <p:nvPr/>
        </p:nvPicPr>
        <p:blipFill rotWithShape="1">
          <a:blip r:embed="rId8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0" b="93907" l="9945" r="89503">
                        <a14:foregroundMark x1="43646" y1="6093" x2="43646" y2="6093"/>
                        <a14:foregroundMark x1="49724" y1="2509" x2="49724" y2="2509"/>
                        <a14:foregroundMark x1="56906" y1="6452" x2="56906" y2="645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-1" b="7038"/>
          <a:stretch/>
        </p:blipFill>
        <p:spPr bwMode="auto">
          <a:xfrm>
            <a:off x="3234135" y="3310944"/>
            <a:ext cx="467549" cy="6699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02" name="TextBox 801"/>
          <p:cNvSpPr txBox="1"/>
          <p:nvPr/>
        </p:nvSpPr>
        <p:spPr>
          <a:xfrm>
            <a:off x="1191794" y="5661248"/>
            <a:ext cx="7283152" cy="60894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lnSpc>
                <a:spcPts val="2100"/>
              </a:lnSpc>
              <a:spcBef>
                <a:spcPts val="600"/>
              </a:spcBef>
            </a:pPr>
            <a:r>
              <a:rPr lang="ru-RU" sz="1600" b="1" dirty="0">
                <a:solidFill>
                  <a:schemeClr val="accent2">
                    <a:lumMod val="75000"/>
                  </a:schemeClr>
                </a:solidFill>
                <a:latin typeface="Arial Narrow" panose="020B0606020202030204" pitchFamily="34" charset="0"/>
              </a:rPr>
              <a:t>Предлагается через РИН разработать единые отраслевые требования, которые бы стимулировали применение конкурентноспособных российских продуктов </a:t>
            </a:r>
          </a:p>
        </p:txBody>
      </p:sp>
      <p:sp>
        <p:nvSpPr>
          <p:cNvPr id="804" name="Shape 2558"/>
          <p:cNvSpPr/>
          <p:nvPr/>
        </p:nvSpPr>
        <p:spPr>
          <a:xfrm>
            <a:off x="426963" y="5704506"/>
            <a:ext cx="539960" cy="53996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1782" y="5891"/>
                </a:moveTo>
                <a:lnTo>
                  <a:pt x="9818" y="5891"/>
                </a:lnTo>
                <a:cubicBezTo>
                  <a:pt x="9547" y="5891"/>
                  <a:pt x="9327" y="6111"/>
                  <a:pt x="9327" y="6382"/>
                </a:cubicBezTo>
                <a:cubicBezTo>
                  <a:pt x="9327" y="6394"/>
                  <a:pt x="9334" y="6405"/>
                  <a:pt x="9334" y="6417"/>
                </a:cubicBezTo>
                <a:lnTo>
                  <a:pt x="9328" y="6417"/>
                </a:lnTo>
                <a:lnTo>
                  <a:pt x="9819" y="12308"/>
                </a:lnTo>
                <a:lnTo>
                  <a:pt x="9825" y="12307"/>
                </a:lnTo>
                <a:cubicBezTo>
                  <a:pt x="9844" y="12562"/>
                  <a:pt x="10050" y="12764"/>
                  <a:pt x="10309" y="12764"/>
                </a:cubicBezTo>
                <a:lnTo>
                  <a:pt x="11291" y="12764"/>
                </a:lnTo>
                <a:cubicBezTo>
                  <a:pt x="11550" y="12764"/>
                  <a:pt x="11756" y="12562"/>
                  <a:pt x="11775" y="12307"/>
                </a:cubicBezTo>
                <a:lnTo>
                  <a:pt x="11781" y="12308"/>
                </a:lnTo>
                <a:lnTo>
                  <a:pt x="12272" y="6417"/>
                </a:lnTo>
                <a:lnTo>
                  <a:pt x="12266" y="6417"/>
                </a:lnTo>
                <a:cubicBezTo>
                  <a:pt x="12267" y="6405"/>
                  <a:pt x="12273" y="6394"/>
                  <a:pt x="12273" y="6382"/>
                </a:cubicBezTo>
                <a:cubicBezTo>
                  <a:pt x="12273" y="6111"/>
                  <a:pt x="12053" y="5891"/>
                  <a:pt x="11782" y="5891"/>
                </a:cubicBezTo>
                <a:moveTo>
                  <a:pt x="10800" y="13745"/>
                </a:moveTo>
                <a:cubicBezTo>
                  <a:pt x="10258" y="13745"/>
                  <a:pt x="9818" y="14186"/>
                  <a:pt x="9818" y="14727"/>
                </a:cubicBezTo>
                <a:cubicBezTo>
                  <a:pt x="9818" y="15269"/>
                  <a:pt x="10258" y="15709"/>
                  <a:pt x="10800" y="15709"/>
                </a:cubicBezTo>
                <a:cubicBezTo>
                  <a:pt x="11342" y="15709"/>
                  <a:pt x="11782" y="15269"/>
                  <a:pt x="11782" y="14727"/>
                </a:cubicBezTo>
                <a:cubicBezTo>
                  <a:pt x="11782" y="14186"/>
                  <a:pt x="11342" y="13745"/>
                  <a:pt x="10800" y="13745"/>
                </a:cubicBezTo>
              </a:path>
            </a:pathLst>
          </a:custGeom>
          <a:solidFill>
            <a:schemeClr val="accent2">
              <a:lumMod val="75000"/>
            </a:schemeClr>
          </a:solidFill>
          <a:ln w="12700">
            <a:miter lim="400000"/>
          </a:ln>
        </p:spPr>
        <p:txBody>
          <a:bodyPr lIns="19045" tIns="19045" rIns="19045" bIns="19045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>
              <a:latin typeface="Source Sans Pro Light" charset="0"/>
              <a:ea typeface="Source Sans Pro Light" charset="0"/>
              <a:cs typeface="Source Sans Pro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03799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21911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dirty="0" smtClean="0">
              <a:solidFill>
                <a:schemeClr val="tx1"/>
              </a:solidFill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29814" y="1340768"/>
            <a:ext cx="3168352" cy="432048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latin typeface="Arial Narrow" panose="020B0606020202030204" pitchFamily="34" charset="0"/>
              </a:rPr>
              <a:t>Развитие имеющихся наработок российских технологий в нефтепереработке позволит значительно повысить применение отечественной продукции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812" name="Прямоугольник 811">
            <a:extLst>
              <a:ext uri="{FF2B5EF4-FFF2-40B4-BE49-F238E27FC236}">
                <a16:creationId xmlns:a16="http://schemas.microsoft.com/office/drawing/2014/main" xmlns="" id="{417F22F5-C874-6A46-9DF8-83ABB43793A5}"/>
              </a:ext>
            </a:extLst>
          </p:cNvPr>
          <p:cNvSpPr/>
          <p:nvPr/>
        </p:nvSpPr>
        <p:spPr>
          <a:xfrm>
            <a:off x="229814" y="1434261"/>
            <a:ext cx="421380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937" fontAlgn="auto">
              <a:spcBef>
                <a:spcPts val="600"/>
              </a:spcBef>
              <a:spcAft>
                <a:spcPts val="0"/>
              </a:spcAft>
            </a:pPr>
            <a:r>
              <a:rPr lang="ru-RU" sz="1600" b="1" dirty="0">
                <a:latin typeface="Arial Narrow" panose="020B0606020202030204" pitchFamily="34" charset="0"/>
              </a:rPr>
              <a:t>Гидрокрекинг</a:t>
            </a:r>
          </a:p>
        </p:txBody>
      </p:sp>
      <p:sp>
        <p:nvSpPr>
          <p:cNvPr id="813" name="Прямоугольник 812">
            <a:extLst>
              <a:ext uri="{FF2B5EF4-FFF2-40B4-BE49-F238E27FC236}">
                <a16:creationId xmlns:a16="http://schemas.microsoft.com/office/drawing/2014/main" xmlns="" id="{B63D1200-DF91-3D41-B726-9B089EB3722A}"/>
              </a:ext>
            </a:extLst>
          </p:cNvPr>
          <p:cNvSpPr/>
          <p:nvPr/>
        </p:nvSpPr>
        <p:spPr>
          <a:xfrm>
            <a:off x="229814" y="2010325"/>
            <a:ext cx="421380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937" fontAlgn="auto">
              <a:spcBef>
                <a:spcPts val="600"/>
              </a:spcBef>
              <a:spcAft>
                <a:spcPts val="0"/>
              </a:spcAft>
            </a:pPr>
            <a:r>
              <a:rPr lang="ru-RU" sz="1600" b="1" dirty="0">
                <a:latin typeface="Arial Narrow" panose="020B0606020202030204" pitchFamily="34" charset="0"/>
              </a:rPr>
              <a:t>Коксование</a:t>
            </a:r>
          </a:p>
        </p:txBody>
      </p:sp>
      <p:sp>
        <p:nvSpPr>
          <p:cNvPr id="817" name="Прямоугольник 816">
            <a:extLst>
              <a:ext uri="{FF2B5EF4-FFF2-40B4-BE49-F238E27FC236}">
                <a16:creationId xmlns:a16="http://schemas.microsoft.com/office/drawing/2014/main" xmlns="" id="{8130221C-3C7A-5847-AD81-96FD2AC80989}"/>
              </a:ext>
            </a:extLst>
          </p:cNvPr>
          <p:cNvSpPr/>
          <p:nvPr/>
        </p:nvSpPr>
        <p:spPr>
          <a:xfrm>
            <a:off x="229814" y="2564903"/>
            <a:ext cx="421380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937" fontAlgn="auto">
              <a:spcBef>
                <a:spcPts val="600"/>
              </a:spcBef>
              <a:spcAft>
                <a:spcPts val="0"/>
              </a:spcAft>
            </a:pPr>
            <a:r>
              <a:rPr lang="ru-RU" sz="1600" b="1" dirty="0">
                <a:latin typeface="Arial Narrow" panose="020B0606020202030204" pitchFamily="34" charset="0"/>
              </a:rPr>
              <a:t>Риформинг</a:t>
            </a:r>
          </a:p>
        </p:txBody>
      </p:sp>
      <p:sp>
        <p:nvSpPr>
          <p:cNvPr id="818" name="Прямоугольник 817">
            <a:extLst>
              <a:ext uri="{FF2B5EF4-FFF2-40B4-BE49-F238E27FC236}">
                <a16:creationId xmlns:a16="http://schemas.microsoft.com/office/drawing/2014/main" xmlns="" id="{219CEE47-0120-984A-B43A-6FB0DDE33FCB}"/>
              </a:ext>
            </a:extLst>
          </p:cNvPr>
          <p:cNvSpPr/>
          <p:nvPr/>
        </p:nvSpPr>
        <p:spPr>
          <a:xfrm>
            <a:off x="229814" y="3140967"/>
            <a:ext cx="421380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937" fontAlgn="auto">
              <a:spcBef>
                <a:spcPts val="600"/>
              </a:spcBef>
              <a:spcAft>
                <a:spcPts val="0"/>
              </a:spcAft>
            </a:pPr>
            <a:r>
              <a:rPr lang="ru-RU" sz="1600" b="1" dirty="0">
                <a:latin typeface="Arial Narrow" panose="020B0606020202030204" pitchFamily="34" charset="0"/>
              </a:rPr>
              <a:t>Гидроочистка</a:t>
            </a:r>
          </a:p>
        </p:txBody>
      </p:sp>
      <p:sp>
        <p:nvSpPr>
          <p:cNvPr id="819" name="Прямоугольник 818">
            <a:extLst>
              <a:ext uri="{FF2B5EF4-FFF2-40B4-BE49-F238E27FC236}">
                <a16:creationId xmlns:a16="http://schemas.microsoft.com/office/drawing/2014/main" xmlns="" id="{0938A21F-4F77-C24B-B392-14FAC9E296D0}"/>
              </a:ext>
            </a:extLst>
          </p:cNvPr>
          <p:cNvSpPr/>
          <p:nvPr/>
        </p:nvSpPr>
        <p:spPr>
          <a:xfrm>
            <a:off x="229814" y="3717031"/>
            <a:ext cx="421380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937" fontAlgn="auto">
              <a:spcBef>
                <a:spcPts val="600"/>
              </a:spcBef>
              <a:spcAft>
                <a:spcPts val="0"/>
              </a:spcAft>
            </a:pPr>
            <a:r>
              <a:rPr lang="ru-RU" sz="1600" b="1" dirty="0">
                <a:latin typeface="Arial Narrow" panose="020B0606020202030204" pitchFamily="34" charset="0"/>
              </a:rPr>
              <a:t>Алкилирование</a:t>
            </a:r>
          </a:p>
        </p:txBody>
      </p:sp>
      <p:sp>
        <p:nvSpPr>
          <p:cNvPr id="820" name="Прямоугольник 819">
            <a:extLst>
              <a:ext uri="{FF2B5EF4-FFF2-40B4-BE49-F238E27FC236}">
                <a16:creationId xmlns:a16="http://schemas.microsoft.com/office/drawing/2014/main" xmlns="" id="{8004D157-E532-064B-BACB-28D690252191}"/>
              </a:ext>
            </a:extLst>
          </p:cNvPr>
          <p:cNvSpPr/>
          <p:nvPr/>
        </p:nvSpPr>
        <p:spPr>
          <a:xfrm>
            <a:off x="229814" y="5016508"/>
            <a:ext cx="421380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937" fontAlgn="auto">
              <a:spcBef>
                <a:spcPts val="600"/>
              </a:spcBef>
              <a:spcAft>
                <a:spcPts val="0"/>
              </a:spcAft>
            </a:pPr>
            <a:r>
              <a:rPr lang="ru-RU" sz="1600" b="1" dirty="0">
                <a:latin typeface="Arial Narrow" panose="020B0606020202030204" pitchFamily="34" charset="0"/>
              </a:rPr>
              <a:t>Изомеризация</a:t>
            </a:r>
          </a:p>
        </p:txBody>
      </p:sp>
      <p:sp>
        <p:nvSpPr>
          <p:cNvPr id="822" name="Прямоугольник 821">
            <a:extLst>
              <a:ext uri="{FF2B5EF4-FFF2-40B4-BE49-F238E27FC236}">
                <a16:creationId xmlns:a16="http://schemas.microsoft.com/office/drawing/2014/main" xmlns="" id="{FA154036-160B-4C45-9D47-E6D9F7A4F420}"/>
              </a:ext>
            </a:extLst>
          </p:cNvPr>
          <p:cNvSpPr/>
          <p:nvPr/>
        </p:nvSpPr>
        <p:spPr>
          <a:xfrm>
            <a:off x="229814" y="4221087"/>
            <a:ext cx="172819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937" fontAlgn="auto">
              <a:spcBef>
                <a:spcPts val="600"/>
              </a:spcBef>
              <a:spcAft>
                <a:spcPts val="0"/>
              </a:spcAft>
            </a:pPr>
            <a:r>
              <a:rPr lang="ru-RU" sz="1600" b="1" dirty="0">
                <a:latin typeface="Arial Narrow" panose="020B0606020202030204" pitchFamily="34" charset="0"/>
              </a:rPr>
              <a:t>Производство серы/водорода</a:t>
            </a:r>
          </a:p>
        </p:txBody>
      </p:sp>
      <p:sp>
        <p:nvSpPr>
          <p:cNvPr id="823" name="TextBox 822">
            <a:extLst>
              <a:ext uri="{FF2B5EF4-FFF2-40B4-BE49-F238E27FC236}">
                <a16:creationId xmlns:a16="http://schemas.microsoft.com/office/drawing/2014/main" xmlns="" id="{253B03DF-13FE-4D4E-926B-4B8B6E604D1C}"/>
              </a:ext>
            </a:extLst>
          </p:cNvPr>
          <p:cNvSpPr txBox="1"/>
          <p:nvPr/>
        </p:nvSpPr>
        <p:spPr>
          <a:xfrm>
            <a:off x="3779912" y="1490830"/>
            <a:ext cx="4529000" cy="221599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600" dirty="0" smtClean="0">
                <a:solidFill>
                  <a:schemeClr val="tx1">
                    <a:lumMod val="50000"/>
                  </a:schemeClr>
                </a:solidFill>
                <a:latin typeface="Arial Narrow" panose="020B0606020202030204" pitchFamily="34" charset="0"/>
              </a:rPr>
              <a:t>российские </a:t>
            </a:r>
            <a:r>
              <a:rPr lang="ru-RU" sz="1600" dirty="0">
                <a:solidFill>
                  <a:schemeClr val="tx1">
                    <a:lumMod val="50000"/>
                  </a:schemeClr>
                </a:solidFill>
                <a:latin typeface="Arial Narrow" panose="020B0606020202030204" pitchFamily="34" charset="0"/>
              </a:rPr>
              <a:t>лицензиары </a:t>
            </a:r>
            <a:r>
              <a:rPr lang="ru-RU" sz="1600" dirty="0" smtClean="0">
                <a:solidFill>
                  <a:schemeClr val="tx1">
                    <a:lumMod val="50000"/>
                  </a:schemeClr>
                </a:solidFill>
                <a:latin typeface="Arial Narrow" panose="020B0606020202030204" pitchFamily="34" charset="0"/>
              </a:rPr>
              <a:t>потенциально </a:t>
            </a:r>
            <a:r>
              <a:rPr lang="ru-RU" sz="1600" b="1" dirty="0" smtClean="0">
                <a:solidFill>
                  <a:schemeClr val="tx1">
                    <a:lumMod val="50000"/>
                  </a:schemeClr>
                </a:solidFill>
                <a:latin typeface="Arial Narrow" panose="020B0606020202030204" pitchFamily="34" charset="0"/>
              </a:rPr>
              <a:t>могут выйти </a:t>
            </a:r>
            <a:r>
              <a:rPr lang="ru-RU" sz="1600" b="1" dirty="0">
                <a:solidFill>
                  <a:schemeClr val="tx1">
                    <a:lumMod val="50000"/>
                  </a:schemeClr>
                </a:solidFill>
                <a:latin typeface="Arial Narrow" panose="020B0606020202030204" pitchFamily="34" charset="0"/>
              </a:rPr>
              <a:t>на уровень лучших иностранных </a:t>
            </a:r>
            <a:r>
              <a:rPr lang="ru-RU" sz="1600" dirty="0">
                <a:solidFill>
                  <a:schemeClr val="tx1">
                    <a:lumMod val="50000"/>
                  </a:schemeClr>
                </a:solidFill>
                <a:latin typeface="Arial Narrow" panose="020B0606020202030204" pitchFamily="34" charset="0"/>
              </a:rPr>
              <a:t>аналогов </a:t>
            </a:r>
            <a:endParaRPr lang="ru-RU" sz="1600" dirty="0" smtClean="0">
              <a:solidFill>
                <a:schemeClr val="tx1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600" dirty="0" smtClean="0">
                <a:solidFill>
                  <a:schemeClr val="tx1">
                    <a:lumMod val="50000"/>
                  </a:schemeClr>
                </a:solidFill>
                <a:latin typeface="Arial Narrow" panose="020B0606020202030204" pitchFamily="34" charset="0"/>
              </a:rPr>
              <a:t>необходима </a:t>
            </a:r>
            <a:r>
              <a:rPr lang="ru-RU" sz="1600" dirty="0" smtClean="0">
                <a:solidFill>
                  <a:schemeClr val="tx1">
                    <a:lumMod val="50000"/>
                  </a:schemeClr>
                </a:solidFill>
                <a:latin typeface="Arial Narrow" panose="020B0606020202030204" pitchFamily="34" charset="0"/>
              </a:rPr>
              <a:t>колабборация для развития комплексных решений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600" dirty="0" smtClean="0">
                <a:solidFill>
                  <a:schemeClr val="tx1">
                    <a:lumMod val="50000"/>
                  </a:schemeClr>
                </a:solidFill>
                <a:latin typeface="Arial Narrow" panose="020B0606020202030204" pitchFamily="34" charset="0"/>
              </a:rPr>
              <a:t>координация </a:t>
            </a:r>
            <a:r>
              <a:rPr lang="ru-RU" sz="1600" dirty="0">
                <a:solidFill>
                  <a:schemeClr val="tx1">
                    <a:lumMod val="50000"/>
                  </a:schemeClr>
                </a:solidFill>
                <a:latin typeface="Arial Narrow" panose="020B0606020202030204" pitchFamily="34" charset="0"/>
              </a:rPr>
              <a:t>и консолидация </a:t>
            </a:r>
            <a:r>
              <a:rPr lang="ru-RU" sz="1600" b="1" dirty="0">
                <a:latin typeface="Arial Narrow" panose="020B0606020202030204" pitchFamily="34" charset="0"/>
              </a:rPr>
              <a:t>информации о компетенциях </a:t>
            </a:r>
            <a:r>
              <a:rPr lang="ru-RU" sz="1600" dirty="0" smtClean="0">
                <a:solidFill>
                  <a:schemeClr val="tx1">
                    <a:lumMod val="50000"/>
                  </a:schemeClr>
                </a:solidFill>
                <a:latin typeface="Arial Narrow" panose="020B0606020202030204" pitchFamily="34" charset="0"/>
              </a:rPr>
              <a:t>придаст ускорение для разработки </a:t>
            </a:r>
            <a:r>
              <a:rPr lang="ru-RU" sz="1600" dirty="0">
                <a:solidFill>
                  <a:schemeClr val="tx1">
                    <a:lumMod val="50000"/>
                  </a:schemeClr>
                </a:solidFill>
                <a:latin typeface="Arial Narrow" panose="020B0606020202030204" pitchFamily="34" charset="0"/>
              </a:rPr>
              <a:t>новых российских технологий и продуктов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sz="1600" dirty="0">
              <a:solidFill>
                <a:schemeClr val="tx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pic>
        <p:nvPicPr>
          <p:cNvPr id="826" name="Рисунок 825">
            <a:extLst>
              <a:ext uri="{FF2B5EF4-FFF2-40B4-BE49-F238E27FC236}">
                <a16:creationId xmlns:a16="http://schemas.microsoft.com/office/drawing/2014/main" xmlns="" id="{C25983B2-8F26-7A45-932F-E95DE5D080F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22080" y="1515174"/>
            <a:ext cx="411990" cy="231744"/>
          </a:xfrm>
          <a:prstGeom prst="rect">
            <a:avLst/>
          </a:prstGeom>
        </p:spPr>
      </p:pic>
      <p:pic>
        <p:nvPicPr>
          <p:cNvPr id="827" name="Рисунок 826">
            <a:extLst>
              <a:ext uri="{FF2B5EF4-FFF2-40B4-BE49-F238E27FC236}">
                <a16:creationId xmlns:a16="http://schemas.microsoft.com/office/drawing/2014/main" xmlns="" id="{540F3003-FED1-5447-90CE-826F9743BD6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22080" y="2084245"/>
            <a:ext cx="411990" cy="231744"/>
          </a:xfrm>
          <a:prstGeom prst="rect">
            <a:avLst/>
          </a:prstGeom>
        </p:spPr>
      </p:pic>
      <p:pic>
        <p:nvPicPr>
          <p:cNvPr id="828" name="Рисунок 827">
            <a:extLst>
              <a:ext uri="{FF2B5EF4-FFF2-40B4-BE49-F238E27FC236}">
                <a16:creationId xmlns:a16="http://schemas.microsoft.com/office/drawing/2014/main" xmlns="" id="{F692C843-7356-B94B-955C-A552C8FCFDF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22080" y="2604698"/>
            <a:ext cx="411990" cy="231744"/>
          </a:xfrm>
          <a:prstGeom prst="rect">
            <a:avLst/>
          </a:prstGeom>
        </p:spPr>
      </p:pic>
      <p:pic>
        <p:nvPicPr>
          <p:cNvPr id="829" name="Рисунок 828">
            <a:extLst>
              <a:ext uri="{FF2B5EF4-FFF2-40B4-BE49-F238E27FC236}">
                <a16:creationId xmlns:a16="http://schemas.microsoft.com/office/drawing/2014/main" xmlns="" id="{08CCE3B4-C440-5E4C-AA90-A184ED045ED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22080" y="3216591"/>
            <a:ext cx="411990" cy="231744"/>
          </a:xfrm>
          <a:prstGeom prst="rect">
            <a:avLst/>
          </a:prstGeom>
        </p:spPr>
      </p:pic>
      <p:pic>
        <p:nvPicPr>
          <p:cNvPr id="830" name="Рисунок 829">
            <a:extLst>
              <a:ext uri="{FF2B5EF4-FFF2-40B4-BE49-F238E27FC236}">
                <a16:creationId xmlns:a16="http://schemas.microsoft.com/office/drawing/2014/main" xmlns="" id="{966CA96B-4A30-454A-95BC-FD7DE2EFB3D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22080" y="3782764"/>
            <a:ext cx="411990" cy="231744"/>
          </a:xfrm>
          <a:prstGeom prst="rect">
            <a:avLst/>
          </a:prstGeom>
        </p:spPr>
      </p:pic>
      <p:pic>
        <p:nvPicPr>
          <p:cNvPr id="831" name="Рисунок 830">
            <a:extLst>
              <a:ext uri="{FF2B5EF4-FFF2-40B4-BE49-F238E27FC236}">
                <a16:creationId xmlns:a16="http://schemas.microsoft.com/office/drawing/2014/main" xmlns="" id="{8D5B5AF5-C0B3-7F46-9187-61BEA773AC7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22080" y="4368827"/>
            <a:ext cx="411990" cy="231744"/>
          </a:xfrm>
          <a:prstGeom prst="rect">
            <a:avLst/>
          </a:prstGeom>
        </p:spPr>
      </p:pic>
      <p:pic>
        <p:nvPicPr>
          <p:cNvPr id="832" name="Рисунок 831">
            <a:extLst>
              <a:ext uri="{FF2B5EF4-FFF2-40B4-BE49-F238E27FC236}">
                <a16:creationId xmlns:a16="http://schemas.microsoft.com/office/drawing/2014/main" xmlns="" id="{5F2F09EE-AB4F-AB4C-842B-B6FD8DBC1DB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22080" y="5015018"/>
            <a:ext cx="411990" cy="231744"/>
          </a:xfrm>
          <a:prstGeom prst="rect">
            <a:avLst/>
          </a:prstGeom>
        </p:spPr>
      </p:pic>
      <p:sp>
        <p:nvSpPr>
          <p:cNvPr id="38" name="TextBox 37"/>
          <p:cNvSpPr txBox="1"/>
          <p:nvPr/>
        </p:nvSpPr>
        <p:spPr>
          <a:xfrm>
            <a:off x="4443622" y="4408076"/>
            <a:ext cx="5472608" cy="677108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2000" b="1" dirty="0" smtClean="0">
                <a:solidFill>
                  <a:schemeClr val="accent2">
                    <a:lumMod val="75000"/>
                  </a:schemeClr>
                </a:solidFill>
                <a:latin typeface="Arial Narrow" panose="020B0606020202030204" pitchFamily="34" charset="0"/>
              </a:rPr>
              <a:t>Российский институт нефти </a:t>
            </a:r>
          </a:p>
          <a:p>
            <a:r>
              <a:rPr lang="ru-RU" dirty="0" smtClean="0">
                <a:latin typeface="Arial Narrow" panose="020B0606020202030204" pitchFamily="34" charset="0"/>
              </a:rPr>
              <a:t>Станет </a:t>
            </a:r>
            <a:r>
              <a:rPr lang="ru-RU" dirty="0" smtClean="0">
                <a:latin typeface="Arial Narrow" panose="020B0606020202030204" pitchFamily="34" charset="0"/>
              </a:rPr>
              <a:t>такой </a:t>
            </a:r>
            <a:r>
              <a:rPr lang="ru-RU" dirty="0">
                <a:latin typeface="Arial Narrow" panose="020B0606020202030204" pitchFamily="34" charset="0"/>
              </a:rPr>
              <a:t>отраслевой площадкой</a:t>
            </a:r>
          </a:p>
        </p:txBody>
      </p:sp>
      <p:sp>
        <p:nvSpPr>
          <p:cNvPr id="39" name="Овал 38">
            <a:extLst>
              <a:ext uri="{FF2B5EF4-FFF2-40B4-BE49-F238E27FC236}">
                <a16:creationId xmlns:a16="http://schemas.microsoft.com/office/drawing/2014/main" xmlns="" id="{2F4026F1-7009-7045-90C8-4C98A4FE5523}"/>
              </a:ext>
            </a:extLst>
          </p:cNvPr>
          <p:cNvSpPr/>
          <p:nvPr/>
        </p:nvSpPr>
        <p:spPr>
          <a:xfrm>
            <a:off x="3736714" y="4467145"/>
            <a:ext cx="540000" cy="540000"/>
          </a:xfrm>
          <a:prstGeom prst="ellipse">
            <a:avLst/>
          </a:prstGeom>
          <a:noFill/>
          <a:ln w="12700" cap="flat" cmpd="sng" algn="ctr">
            <a:solidFill>
              <a:srgbClr val="0070C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40" name="Picture 5" descr="I:\My Pictures\21421342342.png"/>
          <p:cNvPicPr>
            <a:picLocks noChangeAspect="1" noChangeArrowheads="1"/>
          </p:cNvPicPr>
          <p:nvPr/>
        </p:nvPicPr>
        <p:blipFill rotWithShape="1">
          <a:blip r:embed="rId8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0" b="93907" l="9945" r="89503">
                        <a14:foregroundMark x1="43646" y1="6093" x2="43646" y2="6093"/>
                        <a14:foregroundMark x1="49724" y1="2509" x2="49724" y2="2509"/>
                        <a14:foregroundMark x1="56906" y1="6452" x2="56906" y2="645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-1" b="7038"/>
          <a:stretch/>
        </p:blipFill>
        <p:spPr bwMode="auto">
          <a:xfrm>
            <a:off x="3882609" y="4514597"/>
            <a:ext cx="263821" cy="3780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1" name="Прямая соединительная линия 40"/>
          <p:cNvCxnSpPr/>
          <p:nvPr/>
        </p:nvCxnSpPr>
        <p:spPr>
          <a:xfrm>
            <a:off x="3707904" y="4195685"/>
            <a:ext cx="5112246" cy="0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786281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8634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dirty="0" smtClean="0">
              <a:solidFill>
                <a:schemeClr val="tx1"/>
              </a:solidFill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latin typeface="Arial Narrow" panose="020B0606020202030204" pitchFamily="34" charset="0"/>
              </a:rPr>
              <a:t>Проект решения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253B03DF-13FE-4D4E-926B-4B8B6E604D1C}"/>
              </a:ext>
            </a:extLst>
          </p:cNvPr>
          <p:cNvSpPr txBox="1"/>
          <p:nvPr/>
        </p:nvSpPr>
        <p:spPr>
          <a:xfrm>
            <a:off x="323528" y="1268760"/>
            <a:ext cx="7128792" cy="70788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2000" dirty="0" smtClean="0">
                <a:solidFill>
                  <a:schemeClr val="tx1">
                    <a:lumMod val="50000"/>
                  </a:schemeClr>
                </a:solidFill>
                <a:latin typeface="Arial Narrow" panose="020B0606020202030204" pitchFamily="34" charset="0"/>
              </a:rPr>
              <a:t>Поддержать целесообразность создания и развития отраслевой площадки  —  Российский институт нефти</a:t>
            </a:r>
            <a:endParaRPr lang="ru-RU" sz="2000" dirty="0">
              <a:solidFill>
                <a:schemeClr val="tx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33445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18973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dirty="0" smtClean="0">
              <a:solidFill>
                <a:schemeClr val="tx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онтактная информация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115616" y="1028343"/>
            <a:ext cx="7056784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 smtClean="0"/>
              <a:t> </a:t>
            </a:r>
            <a:endParaRPr lang="ru-RU" sz="1400" dirty="0"/>
          </a:p>
          <a:p>
            <a:pPr algn="ctr"/>
            <a:endParaRPr lang="ru-RU" sz="1400" b="1" dirty="0" smtClean="0"/>
          </a:p>
          <a:p>
            <a:pPr algn="ctr"/>
            <a:r>
              <a:rPr lang="ru-RU" sz="1400" b="1" dirty="0" smtClean="0"/>
              <a:t>ПАО </a:t>
            </a:r>
            <a:r>
              <a:rPr lang="ru-RU" sz="1400" b="1" dirty="0"/>
              <a:t>«ГАЗПРОМ НЕФТЬ</a:t>
            </a:r>
            <a:r>
              <a:rPr lang="ru-RU" sz="1400" b="1" dirty="0" smtClean="0"/>
              <a:t>»</a:t>
            </a:r>
            <a:r>
              <a:rPr lang="ru-RU" sz="1400" b="1" dirty="0"/>
              <a:t> </a:t>
            </a:r>
            <a:endParaRPr lang="ru-RU" sz="1400" b="1" dirty="0" smtClean="0"/>
          </a:p>
          <a:p>
            <a:pPr algn="ctr"/>
            <a:endParaRPr lang="ru-RU" sz="1400" b="1" dirty="0" smtClean="0"/>
          </a:p>
          <a:p>
            <a:pPr algn="ctr"/>
            <a:r>
              <a:rPr lang="ru-RU" sz="1400" dirty="0" smtClean="0"/>
              <a:t>Дирекция </a:t>
            </a:r>
            <a:r>
              <a:rPr lang="ru-RU" sz="1400" dirty="0"/>
              <a:t>по закупкам и капитальному строительству</a:t>
            </a:r>
          </a:p>
          <a:p>
            <a:pPr algn="ctr"/>
            <a:r>
              <a:rPr lang="ru-RU" sz="1400" dirty="0"/>
              <a:t>Начальник Департамента Капитального Строительства</a:t>
            </a:r>
          </a:p>
          <a:p>
            <a:pPr algn="ctr"/>
            <a:endParaRPr lang="ru-RU" sz="1400" b="1" dirty="0" smtClean="0"/>
          </a:p>
          <a:p>
            <a:pPr algn="ctr"/>
            <a:r>
              <a:rPr lang="ru-RU" sz="1400" b="1" dirty="0" smtClean="0"/>
              <a:t>Гуреев </a:t>
            </a:r>
            <a:r>
              <a:rPr lang="ru-RU" sz="1400" b="1" dirty="0"/>
              <a:t>Сергей Николаевич</a:t>
            </a:r>
          </a:p>
          <a:p>
            <a:pPr algn="ctr"/>
            <a:r>
              <a:rPr lang="ru-RU" sz="1400" dirty="0" smtClean="0"/>
              <a:t>                                          </a:t>
            </a:r>
            <a:endParaRPr lang="ru-RU" sz="1400" dirty="0"/>
          </a:p>
          <a:p>
            <a:pPr algn="ctr"/>
            <a:r>
              <a:rPr lang="ru-RU" sz="1400" dirty="0"/>
              <a:t>РФ, 191186, г. Санкт-Петербург, ул. Большая Морская, д. 15, лит А</a:t>
            </a:r>
          </a:p>
          <a:p>
            <a:pPr algn="ctr"/>
            <a:r>
              <a:rPr lang="ru-RU" sz="1400" dirty="0"/>
              <a:t>тел: (800) 700 3152, (812) 363 3152 (29-35), (078) 29-35</a:t>
            </a:r>
          </a:p>
          <a:p>
            <a:pPr algn="ctr"/>
            <a:r>
              <a:rPr lang="ru-RU" sz="1400" dirty="0"/>
              <a:t>факс:  (800) 700 3151, (812) 812 3151</a:t>
            </a:r>
          </a:p>
          <a:p>
            <a:pPr algn="ctr"/>
            <a:r>
              <a:rPr lang="ru-RU" sz="1400" dirty="0"/>
              <a:t>моб: </a:t>
            </a:r>
            <a:r>
              <a:rPr lang="ru-RU" sz="1400" dirty="0" smtClean="0"/>
              <a:t>+7(921)-900-66-84</a:t>
            </a:r>
          </a:p>
          <a:p>
            <a:pPr algn="ctr"/>
            <a:endParaRPr lang="ru-RU" sz="1400" dirty="0"/>
          </a:p>
          <a:p>
            <a:pPr algn="ctr"/>
            <a:r>
              <a:rPr lang="ru-RU" sz="1400" dirty="0" smtClean="0">
                <a:hlinkClick r:id="rId7"/>
              </a:rPr>
              <a:t>Gureev.sn@gazprom-neft.ru</a:t>
            </a:r>
            <a:endParaRPr lang="ru-RU" sz="1400" dirty="0" smtClean="0"/>
          </a:p>
          <a:p>
            <a:pPr algn="ctr"/>
            <a:r>
              <a:rPr lang="ru-RU" sz="1400" dirty="0" smtClean="0"/>
              <a:t> </a:t>
            </a:r>
            <a:endParaRPr lang="ru-RU" sz="1400" dirty="0"/>
          </a:p>
          <a:p>
            <a:pPr algn="ctr"/>
            <a:r>
              <a:rPr lang="ru-RU" sz="1400" dirty="0" smtClean="0">
                <a:hlinkClick r:id="rId8"/>
              </a:rPr>
              <a:t>www.gazprom-neft.ru</a:t>
            </a:r>
            <a:endParaRPr lang="ru-RU" sz="1400" dirty="0" smtClean="0"/>
          </a:p>
          <a:p>
            <a:pPr algn="ctr"/>
            <a:endParaRPr lang="ru-RU" sz="1400" dirty="0"/>
          </a:p>
          <a:p>
            <a:endParaRPr lang="ru-RU" dirty="0"/>
          </a:p>
          <a:p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34451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67555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300" dirty="0" smtClean="0">
              <a:solidFill>
                <a:schemeClr val="tx1"/>
              </a:solidFill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72" name="Прямоугольник с двумя скругленными соседними углами 71"/>
          <p:cNvSpPr/>
          <p:nvPr/>
        </p:nvSpPr>
        <p:spPr>
          <a:xfrm>
            <a:off x="6456543" y="1256227"/>
            <a:ext cx="2363608" cy="571326"/>
          </a:xfrm>
          <a:prstGeom prst="round2Same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44" name="Стрелка вправо 43"/>
          <p:cNvSpPr/>
          <p:nvPr/>
        </p:nvSpPr>
        <p:spPr>
          <a:xfrm>
            <a:off x="5868143" y="1388706"/>
            <a:ext cx="588399" cy="379540"/>
          </a:xfrm>
          <a:prstGeom prst="rightArrow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bg1"/>
              </a:gs>
            </a:gsLst>
            <a:lin ang="108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71" name="Прямоугольник с двумя скругленными соседними углами 70"/>
          <p:cNvSpPr/>
          <p:nvPr/>
        </p:nvSpPr>
        <p:spPr>
          <a:xfrm>
            <a:off x="3402146" y="1256227"/>
            <a:ext cx="2592983" cy="571326"/>
          </a:xfrm>
          <a:prstGeom prst="round2Same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6" name="Стрелка вправо 5"/>
          <p:cNvSpPr/>
          <p:nvPr/>
        </p:nvSpPr>
        <p:spPr>
          <a:xfrm>
            <a:off x="2843808" y="1422097"/>
            <a:ext cx="535995" cy="379540"/>
          </a:xfrm>
          <a:prstGeom prst="rightArrow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3">
                  <a:lumMod val="75000"/>
                  <a:alpha val="30000"/>
                </a:schemeClr>
              </a:gs>
            </a:gsLst>
            <a:lin ang="108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250825" y="1268760"/>
            <a:ext cx="2592983" cy="4346482"/>
          </a:xfrm>
          <a:prstGeom prst="roundRect">
            <a:avLst>
              <a:gd name="adj" fmla="val 7639"/>
            </a:avLst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3" name="Прямоугольник с двумя скругленными соседними углами 12"/>
          <p:cNvSpPr/>
          <p:nvPr/>
        </p:nvSpPr>
        <p:spPr>
          <a:xfrm>
            <a:off x="250825" y="1268760"/>
            <a:ext cx="2592983" cy="571326"/>
          </a:xfrm>
          <a:prstGeom prst="round2SameRect">
            <a:avLst/>
          </a:prstGeom>
          <a:solidFill>
            <a:schemeClr val="accent3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8" y="188640"/>
            <a:ext cx="9109198" cy="610499"/>
          </a:xfrm>
        </p:spPr>
        <p:txBody>
          <a:bodyPr/>
          <a:lstStyle/>
          <a:p>
            <a:r>
              <a:rPr lang="ru-RU" sz="2300" b="1" dirty="0">
                <a:latin typeface="Arial Narrow" panose="020B0606020202030204" pitchFamily="34" charset="0"/>
              </a:rPr>
              <a:t>Проблематика</a:t>
            </a:r>
            <a:br>
              <a:rPr lang="ru-RU" sz="2300" b="1" dirty="0">
                <a:latin typeface="Arial Narrow" panose="020B0606020202030204" pitchFamily="34" charset="0"/>
              </a:rPr>
            </a:br>
            <a:r>
              <a:rPr lang="ru-RU" sz="2300" dirty="0" smtClean="0">
                <a:latin typeface="Arial Narrow" panose="020B0606020202030204" pitchFamily="34" charset="0"/>
              </a:rPr>
              <a:t>Большинство </a:t>
            </a:r>
            <a:r>
              <a:rPr lang="ru-RU" sz="2300" dirty="0">
                <a:latin typeface="Arial Narrow" panose="020B0606020202030204" pitchFamily="34" charset="0"/>
              </a:rPr>
              <a:t>проектов основаны на </a:t>
            </a:r>
            <a:r>
              <a:rPr lang="ru-RU" sz="2300" dirty="0" smtClean="0">
                <a:latin typeface="Arial Narrow" panose="020B0606020202030204" pitchFamily="34" charset="0"/>
              </a:rPr>
              <a:t>иностранных продуктах</a:t>
            </a:r>
            <a:endParaRPr lang="ru-RU" sz="2300" b="1" dirty="0">
              <a:latin typeface="Arial Narrow" panose="020B060602020203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7092280" y="1440143"/>
            <a:ext cx="1378133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1400" b="1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EPC</a:t>
            </a:r>
            <a:r>
              <a:rPr lang="ru-RU" sz="1400" b="1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-подрядчик</a:t>
            </a:r>
            <a:endParaRPr lang="en-US" sz="1400" b="1" dirty="0">
              <a:solidFill>
                <a:schemeClr val="bg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853641" y="1316866"/>
            <a:ext cx="1722443" cy="52322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b="1" dirty="0" smtClean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РОЕКТ НЕФТЕПЕРЕРАБОТКИ</a:t>
            </a:r>
            <a:endParaRPr lang="en-US" sz="1400" b="1" dirty="0">
              <a:solidFill>
                <a:schemeClr val="bg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3976730" y="1293047"/>
            <a:ext cx="1383877" cy="52322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b="1" dirty="0" smtClean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ИНОСТРАННЫЙ ЛИЦЕНЗИАР</a:t>
            </a:r>
          </a:p>
        </p:txBody>
      </p:sp>
      <p:sp>
        <p:nvSpPr>
          <p:cNvPr id="47" name="Picture120"/>
          <p:cNvSpPr>
            <a:spLocks noChangeAspect="1" noEditPoints="1"/>
          </p:cNvSpPr>
          <p:nvPr/>
        </p:nvSpPr>
        <p:spPr bwMode="auto">
          <a:xfrm>
            <a:off x="349064" y="1360926"/>
            <a:ext cx="415299" cy="386994"/>
          </a:xfrm>
          <a:custGeom>
            <a:avLst/>
            <a:gdLst>
              <a:gd name="T0" fmla="*/ 1590 w 1702"/>
              <a:gd name="T1" fmla="*/ 1180 h 1586"/>
              <a:gd name="T2" fmla="*/ 1582 w 1702"/>
              <a:gd name="T3" fmla="*/ 1132 h 1586"/>
              <a:gd name="T4" fmla="*/ 1562 w 1702"/>
              <a:gd name="T5" fmla="*/ 1088 h 1586"/>
              <a:gd name="T6" fmla="*/ 1530 w 1702"/>
              <a:gd name="T7" fmla="*/ 1054 h 1586"/>
              <a:gd name="T8" fmla="*/ 1490 w 1702"/>
              <a:gd name="T9" fmla="*/ 1030 h 1586"/>
              <a:gd name="T10" fmla="*/ 1442 w 1702"/>
              <a:gd name="T11" fmla="*/ 1018 h 1586"/>
              <a:gd name="T12" fmla="*/ 1418 w 1702"/>
              <a:gd name="T13" fmla="*/ 1092 h 1586"/>
              <a:gd name="T14" fmla="*/ 1444 w 1702"/>
              <a:gd name="T15" fmla="*/ 1092 h 1586"/>
              <a:gd name="T16" fmla="*/ 1488 w 1702"/>
              <a:gd name="T17" fmla="*/ 1118 h 1586"/>
              <a:gd name="T18" fmla="*/ 1514 w 1702"/>
              <a:gd name="T19" fmla="*/ 1162 h 1586"/>
              <a:gd name="T20" fmla="*/ 1416 w 1702"/>
              <a:gd name="T21" fmla="*/ 1474 h 1586"/>
              <a:gd name="T22" fmla="*/ 1416 w 1702"/>
              <a:gd name="T23" fmla="*/ 932 h 1586"/>
              <a:gd name="T24" fmla="*/ 1406 w 1702"/>
              <a:gd name="T25" fmla="*/ 888 h 1586"/>
              <a:gd name="T26" fmla="*/ 1384 w 1702"/>
              <a:gd name="T27" fmla="*/ 850 h 1586"/>
              <a:gd name="T28" fmla="*/ 1354 w 1702"/>
              <a:gd name="T29" fmla="*/ 820 h 1586"/>
              <a:gd name="T30" fmla="*/ 1318 w 1702"/>
              <a:gd name="T31" fmla="*/ 800 h 1586"/>
              <a:gd name="T32" fmla="*/ 1276 w 1702"/>
              <a:gd name="T33" fmla="*/ 792 h 1586"/>
              <a:gd name="T34" fmla="*/ 1248 w 1702"/>
              <a:gd name="T35" fmla="*/ 796 h 1586"/>
              <a:gd name="T36" fmla="*/ 1208 w 1702"/>
              <a:gd name="T37" fmla="*/ 812 h 1586"/>
              <a:gd name="T38" fmla="*/ 1176 w 1702"/>
              <a:gd name="T39" fmla="*/ 838 h 1586"/>
              <a:gd name="T40" fmla="*/ 1152 w 1702"/>
              <a:gd name="T41" fmla="*/ 874 h 1586"/>
              <a:gd name="T42" fmla="*/ 1138 w 1702"/>
              <a:gd name="T43" fmla="*/ 916 h 1586"/>
              <a:gd name="T44" fmla="*/ 1134 w 1702"/>
              <a:gd name="T45" fmla="*/ 1134 h 1586"/>
              <a:gd name="T46" fmla="*/ 1022 w 1702"/>
              <a:gd name="T47" fmla="*/ 452 h 1586"/>
              <a:gd name="T48" fmla="*/ 964 w 1702"/>
              <a:gd name="T49" fmla="*/ 396 h 1586"/>
              <a:gd name="T50" fmla="*/ 738 w 1702"/>
              <a:gd name="T51" fmla="*/ 340 h 1586"/>
              <a:gd name="T52" fmla="*/ 794 w 1702"/>
              <a:gd name="T53" fmla="*/ 1134 h 1586"/>
              <a:gd name="T54" fmla="*/ 568 w 1702"/>
              <a:gd name="T55" fmla="*/ 622 h 1586"/>
              <a:gd name="T56" fmla="*/ 398 w 1702"/>
              <a:gd name="T57" fmla="*/ 56 h 1586"/>
              <a:gd name="T58" fmla="*/ 114 w 1702"/>
              <a:gd name="T59" fmla="*/ 0 h 1586"/>
              <a:gd name="T60" fmla="*/ 114 w 1702"/>
              <a:gd name="T61" fmla="*/ 1474 h 1586"/>
              <a:gd name="T62" fmla="*/ 1702 w 1702"/>
              <a:gd name="T63" fmla="*/ 1586 h 1586"/>
              <a:gd name="T64" fmla="*/ 1022 w 1702"/>
              <a:gd name="T65" fmla="*/ 792 h 1586"/>
              <a:gd name="T66" fmla="*/ 964 w 1702"/>
              <a:gd name="T67" fmla="*/ 792 h 1586"/>
              <a:gd name="T68" fmla="*/ 964 w 1702"/>
              <a:gd name="T69" fmla="*/ 680 h 1586"/>
              <a:gd name="T70" fmla="*/ 964 w 1702"/>
              <a:gd name="T71" fmla="*/ 736 h 1586"/>
              <a:gd name="T72" fmla="*/ 964 w 1702"/>
              <a:gd name="T73" fmla="*/ 964 h 1586"/>
              <a:gd name="T74" fmla="*/ 1022 w 1702"/>
              <a:gd name="T75" fmla="*/ 1020 h 1586"/>
              <a:gd name="T76" fmla="*/ 964 w 1702"/>
              <a:gd name="T77" fmla="*/ 1020 h 1586"/>
              <a:gd name="T78" fmla="*/ 1022 w 1702"/>
              <a:gd name="T79" fmla="*/ 622 h 1586"/>
              <a:gd name="T80" fmla="*/ 1022 w 1702"/>
              <a:gd name="T81" fmla="*/ 566 h 1586"/>
              <a:gd name="T82" fmla="*/ 1022 w 1702"/>
              <a:gd name="T83" fmla="*/ 1134 h 1586"/>
              <a:gd name="T84" fmla="*/ 794 w 1702"/>
              <a:gd name="T85" fmla="*/ 1246 h 1586"/>
              <a:gd name="T86" fmla="*/ 1078 w 1702"/>
              <a:gd name="T87" fmla="*/ 1246 h 1586"/>
              <a:gd name="T88" fmla="*/ 448 w 1702"/>
              <a:gd name="T89" fmla="*/ 1306 h 15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702" h="1586">
                <a:moveTo>
                  <a:pt x="1590" y="1474"/>
                </a:moveTo>
                <a:lnTo>
                  <a:pt x="1590" y="1180"/>
                </a:lnTo>
                <a:lnTo>
                  <a:pt x="1590" y="1180"/>
                </a:lnTo>
                <a:lnTo>
                  <a:pt x="1590" y="1164"/>
                </a:lnTo>
                <a:lnTo>
                  <a:pt x="1586" y="1148"/>
                </a:lnTo>
                <a:lnTo>
                  <a:pt x="1582" y="1132"/>
                </a:lnTo>
                <a:lnTo>
                  <a:pt x="1576" y="1116"/>
                </a:lnTo>
                <a:lnTo>
                  <a:pt x="1570" y="1102"/>
                </a:lnTo>
                <a:lnTo>
                  <a:pt x="1562" y="1088"/>
                </a:lnTo>
                <a:lnTo>
                  <a:pt x="1552" y="1076"/>
                </a:lnTo>
                <a:lnTo>
                  <a:pt x="1542" y="1064"/>
                </a:lnTo>
                <a:lnTo>
                  <a:pt x="1530" y="1054"/>
                </a:lnTo>
                <a:lnTo>
                  <a:pt x="1518" y="1044"/>
                </a:lnTo>
                <a:lnTo>
                  <a:pt x="1504" y="1036"/>
                </a:lnTo>
                <a:lnTo>
                  <a:pt x="1490" y="1030"/>
                </a:lnTo>
                <a:lnTo>
                  <a:pt x="1474" y="1024"/>
                </a:lnTo>
                <a:lnTo>
                  <a:pt x="1458" y="1020"/>
                </a:lnTo>
                <a:lnTo>
                  <a:pt x="1442" y="1018"/>
                </a:lnTo>
                <a:lnTo>
                  <a:pt x="1426" y="1016"/>
                </a:lnTo>
                <a:lnTo>
                  <a:pt x="1418" y="1016"/>
                </a:lnTo>
                <a:lnTo>
                  <a:pt x="1418" y="1092"/>
                </a:lnTo>
                <a:lnTo>
                  <a:pt x="1426" y="1092"/>
                </a:lnTo>
                <a:lnTo>
                  <a:pt x="1426" y="1092"/>
                </a:lnTo>
                <a:lnTo>
                  <a:pt x="1444" y="1092"/>
                </a:lnTo>
                <a:lnTo>
                  <a:pt x="1460" y="1098"/>
                </a:lnTo>
                <a:lnTo>
                  <a:pt x="1476" y="1106"/>
                </a:lnTo>
                <a:lnTo>
                  <a:pt x="1488" y="1118"/>
                </a:lnTo>
                <a:lnTo>
                  <a:pt x="1500" y="1130"/>
                </a:lnTo>
                <a:lnTo>
                  <a:pt x="1508" y="1146"/>
                </a:lnTo>
                <a:lnTo>
                  <a:pt x="1514" y="1162"/>
                </a:lnTo>
                <a:lnTo>
                  <a:pt x="1516" y="1180"/>
                </a:lnTo>
                <a:lnTo>
                  <a:pt x="1516" y="1474"/>
                </a:lnTo>
                <a:lnTo>
                  <a:pt x="1416" y="1474"/>
                </a:lnTo>
                <a:lnTo>
                  <a:pt x="1416" y="948"/>
                </a:lnTo>
                <a:lnTo>
                  <a:pt x="1416" y="948"/>
                </a:lnTo>
                <a:lnTo>
                  <a:pt x="1416" y="932"/>
                </a:lnTo>
                <a:lnTo>
                  <a:pt x="1414" y="916"/>
                </a:lnTo>
                <a:lnTo>
                  <a:pt x="1410" y="902"/>
                </a:lnTo>
                <a:lnTo>
                  <a:pt x="1406" y="888"/>
                </a:lnTo>
                <a:lnTo>
                  <a:pt x="1400" y="874"/>
                </a:lnTo>
                <a:lnTo>
                  <a:pt x="1392" y="860"/>
                </a:lnTo>
                <a:lnTo>
                  <a:pt x="1384" y="850"/>
                </a:lnTo>
                <a:lnTo>
                  <a:pt x="1376" y="838"/>
                </a:lnTo>
                <a:lnTo>
                  <a:pt x="1366" y="828"/>
                </a:lnTo>
                <a:lnTo>
                  <a:pt x="1354" y="820"/>
                </a:lnTo>
                <a:lnTo>
                  <a:pt x="1342" y="812"/>
                </a:lnTo>
                <a:lnTo>
                  <a:pt x="1330" y="806"/>
                </a:lnTo>
                <a:lnTo>
                  <a:pt x="1318" y="800"/>
                </a:lnTo>
                <a:lnTo>
                  <a:pt x="1304" y="796"/>
                </a:lnTo>
                <a:lnTo>
                  <a:pt x="1290" y="794"/>
                </a:lnTo>
                <a:lnTo>
                  <a:pt x="1276" y="792"/>
                </a:lnTo>
                <a:lnTo>
                  <a:pt x="1276" y="792"/>
                </a:lnTo>
                <a:lnTo>
                  <a:pt x="1262" y="794"/>
                </a:lnTo>
                <a:lnTo>
                  <a:pt x="1248" y="796"/>
                </a:lnTo>
                <a:lnTo>
                  <a:pt x="1234" y="800"/>
                </a:lnTo>
                <a:lnTo>
                  <a:pt x="1220" y="806"/>
                </a:lnTo>
                <a:lnTo>
                  <a:pt x="1208" y="812"/>
                </a:lnTo>
                <a:lnTo>
                  <a:pt x="1196" y="820"/>
                </a:lnTo>
                <a:lnTo>
                  <a:pt x="1186" y="828"/>
                </a:lnTo>
                <a:lnTo>
                  <a:pt x="1176" y="838"/>
                </a:lnTo>
                <a:lnTo>
                  <a:pt x="1166" y="850"/>
                </a:lnTo>
                <a:lnTo>
                  <a:pt x="1158" y="860"/>
                </a:lnTo>
                <a:lnTo>
                  <a:pt x="1152" y="874"/>
                </a:lnTo>
                <a:lnTo>
                  <a:pt x="1146" y="888"/>
                </a:lnTo>
                <a:lnTo>
                  <a:pt x="1140" y="902"/>
                </a:lnTo>
                <a:lnTo>
                  <a:pt x="1138" y="916"/>
                </a:lnTo>
                <a:lnTo>
                  <a:pt x="1136" y="932"/>
                </a:lnTo>
                <a:lnTo>
                  <a:pt x="1134" y="948"/>
                </a:lnTo>
                <a:lnTo>
                  <a:pt x="1134" y="1134"/>
                </a:lnTo>
                <a:lnTo>
                  <a:pt x="1078" y="1134"/>
                </a:lnTo>
                <a:lnTo>
                  <a:pt x="1078" y="452"/>
                </a:lnTo>
                <a:lnTo>
                  <a:pt x="1022" y="452"/>
                </a:lnTo>
                <a:lnTo>
                  <a:pt x="1022" y="510"/>
                </a:lnTo>
                <a:lnTo>
                  <a:pt x="964" y="510"/>
                </a:lnTo>
                <a:lnTo>
                  <a:pt x="964" y="396"/>
                </a:lnTo>
                <a:lnTo>
                  <a:pt x="1022" y="396"/>
                </a:lnTo>
                <a:lnTo>
                  <a:pt x="1022" y="340"/>
                </a:lnTo>
                <a:lnTo>
                  <a:pt x="738" y="340"/>
                </a:lnTo>
                <a:lnTo>
                  <a:pt x="738" y="396"/>
                </a:lnTo>
                <a:lnTo>
                  <a:pt x="794" y="396"/>
                </a:lnTo>
                <a:lnTo>
                  <a:pt x="794" y="1134"/>
                </a:lnTo>
                <a:lnTo>
                  <a:pt x="680" y="1134"/>
                </a:lnTo>
                <a:lnTo>
                  <a:pt x="680" y="622"/>
                </a:lnTo>
                <a:lnTo>
                  <a:pt x="568" y="622"/>
                </a:lnTo>
                <a:lnTo>
                  <a:pt x="568" y="1134"/>
                </a:lnTo>
                <a:lnTo>
                  <a:pt x="440" y="1134"/>
                </a:lnTo>
                <a:lnTo>
                  <a:pt x="398" y="56"/>
                </a:lnTo>
                <a:lnTo>
                  <a:pt x="454" y="56"/>
                </a:lnTo>
                <a:lnTo>
                  <a:pt x="454" y="0"/>
                </a:lnTo>
                <a:lnTo>
                  <a:pt x="114" y="0"/>
                </a:lnTo>
                <a:lnTo>
                  <a:pt x="114" y="56"/>
                </a:lnTo>
                <a:lnTo>
                  <a:pt x="170" y="56"/>
                </a:lnTo>
                <a:lnTo>
                  <a:pt x="114" y="1474"/>
                </a:lnTo>
                <a:lnTo>
                  <a:pt x="0" y="1474"/>
                </a:lnTo>
                <a:lnTo>
                  <a:pt x="0" y="1586"/>
                </a:lnTo>
                <a:lnTo>
                  <a:pt x="1702" y="1586"/>
                </a:lnTo>
                <a:lnTo>
                  <a:pt x="1702" y="1474"/>
                </a:lnTo>
                <a:lnTo>
                  <a:pt x="1590" y="1474"/>
                </a:lnTo>
                <a:close/>
                <a:moveTo>
                  <a:pt x="1022" y="792"/>
                </a:moveTo>
                <a:lnTo>
                  <a:pt x="1022" y="850"/>
                </a:lnTo>
                <a:lnTo>
                  <a:pt x="964" y="850"/>
                </a:lnTo>
                <a:lnTo>
                  <a:pt x="964" y="792"/>
                </a:lnTo>
                <a:lnTo>
                  <a:pt x="1022" y="792"/>
                </a:lnTo>
                <a:close/>
                <a:moveTo>
                  <a:pt x="964" y="736"/>
                </a:moveTo>
                <a:lnTo>
                  <a:pt x="964" y="680"/>
                </a:lnTo>
                <a:lnTo>
                  <a:pt x="1022" y="680"/>
                </a:lnTo>
                <a:lnTo>
                  <a:pt x="1022" y="736"/>
                </a:lnTo>
                <a:lnTo>
                  <a:pt x="964" y="736"/>
                </a:lnTo>
                <a:close/>
                <a:moveTo>
                  <a:pt x="1022" y="906"/>
                </a:moveTo>
                <a:lnTo>
                  <a:pt x="1022" y="964"/>
                </a:lnTo>
                <a:lnTo>
                  <a:pt x="964" y="964"/>
                </a:lnTo>
                <a:lnTo>
                  <a:pt x="964" y="906"/>
                </a:lnTo>
                <a:lnTo>
                  <a:pt x="1022" y="906"/>
                </a:lnTo>
                <a:close/>
                <a:moveTo>
                  <a:pt x="1022" y="1020"/>
                </a:moveTo>
                <a:lnTo>
                  <a:pt x="1022" y="1076"/>
                </a:lnTo>
                <a:lnTo>
                  <a:pt x="964" y="1076"/>
                </a:lnTo>
                <a:lnTo>
                  <a:pt x="964" y="1020"/>
                </a:lnTo>
                <a:lnTo>
                  <a:pt x="1022" y="1020"/>
                </a:lnTo>
                <a:close/>
                <a:moveTo>
                  <a:pt x="1022" y="566"/>
                </a:moveTo>
                <a:lnTo>
                  <a:pt x="1022" y="622"/>
                </a:lnTo>
                <a:lnTo>
                  <a:pt x="964" y="622"/>
                </a:lnTo>
                <a:lnTo>
                  <a:pt x="964" y="566"/>
                </a:lnTo>
                <a:lnTo>
                  <a:pt x="1022" y="566"/>
                </a:lnTo>
                <a:close/>
                <a:moveTo>
                  <a:pt x="964" y="1134"/>
                </a:moveTo>
                <a:lnTo>
                  <a:pt x="1022" y="1134"/>
                </a:lnTo>
                <a:lnTo>
                  <a:pt x="1022" y="1134"/>
                </a:lnTo>
                <a:lnTo>
                  <a:pt x="964" y="1134"/>
                </a:lnTo>
                <a:lnTo>
                  <a:pt x="964" y="1134"/>
                </a:lnTo>
                <a:close/>
                <a:moveTo>
                  <a:pt x="794" y="1246"/>
                </a:moveTo>
                <a:lnTo>
                  <a:pt x="964" y="1246"/>
                </a:lnTo>
                <a:lnTo>
                  <a:pt x="1022" y="1246"/>
                </a:lnTo>
                <a:lnTo>
                  <a:pt x="1078" y="1246"/>
                </a:lnTo>
                <a:lnTo>
                  <a:pt x="1134" y="1246"/>
                </a:lnTo>
                <a:lnTo>
                  <a:pt x="1134" y="1306"/>
                </a:lnTo>
                <a:lnTo>
                  <a:pt x="448" y="1306"/>
                </a:lnTo>
                <a:lnTo>
                  <a:pt x="446" y="1246"/>
                </a:lnTo>
                <a:lnTo>
                  <a:pt x="794" y="124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75613" tIns="37806" rIns="75613" bIns="37806" numCol="1" anchor="t" anchorCtr="0" compatLnSpc="1">
            <a:prstTxWarp prst="textNoShape">
              <a:avLst/>
            </a:prstTxWarp>
          </a:bodyPr>
          <a:lstStyle/>
          <a:p>
            <a:endParaRPr lang="ru-RU" sz="1488" dirty="0">
              <a:latin typeface="Arial Narrow" panose="020B0606020202030204" pitchFamily="34" charset="0"/>
            </a:endParaRPr>
          </a:p>
        </p:txBody>
      </p:sp>
      <p:pic>
        <p:nvPicPr>
          <p:cNvPr id="48" name="Picture 8" descr="I:\Desktop\43500-200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7283" y="1360926"/>
            <a:ext cx="410981" cy="4109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Рисунок 48">
            <a:extLst>
              <a:ext uri="{FF2B5EF4-FFF2-40B4-BE49-F238E27FC236}">
                <a16:creationId xmlns:a16="http://schemas.microsoft.com/office/drawing/2014/main" xmlns="" id="{7D3B62CD-9145-1443-BEC8-5DD1DF00BAE3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528" y="1272544"/>
            <a:ext cx="475376" cy="475376"/>
          </a:xfrm>
          <a:prstGeom prst="rect">
            <a:avLst/>
          </a:prstGeom>
        </p:spPr>
      </p:pic>
      <p:pic>
        <p:nvPicPr>
          <p:cNvPr id="50" name="Russia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68394" y="2674129"/>
            <a:ext cx="428912" cy="285949"/>
          </a:xfrm>
          <a:prstGeom prst="rect">
            <a:avLst/>
          </a:prstGeom>
          <a:solidFill>
            <a:schemeClr val="bg1"/>
          </a:solidFill>
          <a:ln w="88900" cap="sq">
            <a:noFill/>
            <a:miter lim="800000"/>
          </a:ln>
          <a:effectLst/>
        </p:spPr>
      </p:pic>
      <p:sp>
        <p:nvSpPr>
          <p:cNvPr id="51" name="Прямоугольник 50"/>
          <p:cNvSpPr/>
          <p:nvPr/>
        </p:nvSpPr>
        <p:spPr>
          <a:xfrm>
            <a:off x="1547316" y="2636912"/>
            <a:ext cx="138138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Доля </a:t>
            </a:r>
          </a:p>
          <a:p>
            <a:r>
              <a:rPr lang="ru-RU" sz="1200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российских производителей</a:t>
            </a:r>
            <a:endParaRPr lang="ru-RU" sz="1200" dirty="0">
              <a:solidFill>
                <a:schemeClr val="bg2">
                  <a:lumMod val="75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383484" y="3315330"/>
            <a:ext cx="1369821" cy="1369821"/>
            <a:chOff x="412448" y="2924941"/>
            <a:chExt cx="1712949" cy="1712949"/>
          </a:xfrm>
        </p:grpSpPr>
        <p:sp>
          <p:nvSpPr>
            <p:cNvPr id="53" name="Пирог 52"/>
            <p:cNvSpPr/>
            <p:nvPr/>
          </p:nvSpPr>
          <p:spPr>
            <a:xfrm>
              <a:off x="412448" y="2924941"/>
              <a:ext cx="1712949" cy="1712949"/>
            </a:xfrm>
            <a:prstGeom prst="pie">
              <a:avLst>
                <a:gd name="adj1" fmla="val 15871231"/>
                <a:gd name="adj2" fmla="val 1259875"/>
              </a:avLst>
            </a:prstGeom>
            <a:solidFill>
              <a:schemeClr val="accent3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 smtClean="0">
                <a:solidFill>
                  <a:schemeClr val="tx1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54" name="Пирог 53"/>
            <p:cNvSpPr/>
            <p:nvPr/>
          </p:nvSpPr>
          <p:spPr>
            <a:xfrm>
              <a:off x="423470" y="2938125"/>
              <a:ext cx="1689870" cy="1689870"/>
            </a:xfrm>
            <a:prstGeom prst="pie">
              <a:avLst>
                <a:gd name="adj1" fmla="val 645753"/>
                <a:gd name="adj2" fmla="val 16475631"/>
              </a:avLst>
            </a:prstGeom>
            <a:solidFill>
              <a:schemeClr val="bg2">
                <a:lumMod val="50000"/>
              </a:schemeClr>
            </a:solidFill>
            <a:ln w="12700">
              <a:noFill/>
            </a:ln>
            <a:effectLst>
              <a:softEdge rad="635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 smtClean="0">
                <a:solidFill>
                  <a:schemeClr val="tx1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7" name="Пирог 6"/>
            <p:cNvSpPr/>
            <p:nvPr/>
          </p:nvSpPr>
          <p:spPr>
            <a:xfrm>
              <a:off x="484456" y="2996949"/>
              <a:ext cx="1568933" cy="1568933"/>
            </a:xfrm>
            <a:prstGeom prst="pie">
              <a:avLst>
                <a:gd name="adj1" fmla="val 1002826"/>
                <a:gd name="adj2" fmla="val 16235717"/>
              </a:avLst>
            </a:prstGeom>
            <a:solidFill>
              <a:schemeClr val="bg1">
                <a:lumMod val="8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 smtClean="0">
                <a:solidFill>
                  <a:schemeClr val="tx1"/>
                </a:solidFill>
                <a:latin typeface="Arial Narrow" panose="020B0606020202030204" pitchFamily="34" charset="0"/>
              </a:endParaRPr>
            </a:p>
          </p:txBody>
        </p:sp>
      </p:grpSp>
      <p:cxnSp>
        <p:nvCxnSpPr>
          <p:cNvPr id="10" name="Прямая соединительная линия 9"/>
          <p:cNvCxnSpPr/>
          <p:nvPr/>
        </p:nvCxnSpPr>
        <p:spPr>
          <a:xfrm flipV="1">
            <a:off x="1266809" y="3035211"/>
            <a:ext cx="0" cy="360040"/>
          </a:xfrm>
          <a:prstGeom prst="line">
            <a:avLst/>
          </a:prstGeom>
          <a:ln>
            <a:solidFill>
              <a:schemeClr val="accent3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/>
          <p:cNvSpPr txBox="1"/>
          <p:nvPr/>
        </p:nvSpPr>
        <p:spPr>
          <a:xfrm>
            <a:off x="3465597" y="2313746"/>
            <a:ext cx="2258531" cy="175432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Arial Narrow" panose="020B0606020202030204" pitchFamily="34" charset="0"/>
                <a:cs typeface="Arial" panose="020B0604020202020204" pitchFamily="34" charset="0"/>
              </a:rPr>
              <a:t>характеристики </a:t>
            </a:r>
            <a:r>
              <a:rPr lang="ru-RU" sz="1200" dirty="0">
                <a:latin typeface="Arial Narrow" panose="020B0606020202030204" pitchFamily="34" charset="0"/>
                <a:cs typeface="Arial" panose="020B0604020202020204" pitchFamily="34" charset="0"/>
              </a:rPr>
              <a:t>оборудования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Arial" panose="020B0604020202020204" pitchFamily="34" charset="0"/>
              </a:rPr>
              <a:t>материалы </a:t>
            </a:r>
            <a:r>
              <a:rPr lang="ru-RU" sz="1200" dirty="0" smtClean="0">
                <a:latin typeface="Arial Narrow" panose="020B0606020202030204" pitchFamily="34" charset="0"/>
                <a:cs typeface="Arial" panose="020B0604020202020204" pitchFamily="34" charset="0"/>
              </a:rPr>
              <a:t>производства</a:t>
            </a:r>
            <a:endParaRPr lang="en-US" sz="1200" dirty="0" smtClean="0"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150000"/>
              </a:lnSpc>
            </a:pPr>
            <a:r>
              <a:rPr lang="ru-RU" sz="1200" b="1" dirty="0" smtClean="0">
                <a:solidFill>
                  <a:srgbClr val="C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Используют иностранные </a:t>
            </a:r>
            <a:r>
              <a:rPr lang="ru-RU" sz="1200" b="1" dirty="0">
                <a:solidFill>
                  <a:srgbClr val="C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тандарты (преимущественно США)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ru-RU" sz="1200" dirty="0"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59" name="kolonna"/>
          <p:cNvSpPr>
            <a:spLocks noEditPoints="1"/>
          </p:cNvSpPr>
          <p:nvPr/>
        </p:nvSpPr>
        <p:spPr bwMode="auto">
          <a:xfrm>
            <a:off x="3628610" y="3946920"/>
            <a:ext cx="102172" cy="223689"/>
          </a:xfrm>
          <a:custGeom>
            <a:avLst/>
            <a:gdLst>
              <a:gd name="T0" fmla="*/ 6131 w 7436"/>
              <a:gd name="T1" fmla="*/ 1876 h 16280"/>
              <a:gd name="T2" fmla="*/ 5410 w 7436"/>
              <a:gd name="T3" fmla="*/ 1746 h 16280"/>
              <a:gd name="T4" fmla="*/ 4496 w 7436"/>
              <a:gd name="T5" fmla="*/ 1668 h 16280"/>
              <a:gd name="T6" fmla="*/ 3537 w 7436"/>
              <a:gd name="T7" fmla="*/ 1677 h 16280"/>
              <a:gd name="T8" fmla="*/ 2637 w 7436"/>
              <a:gd name="T9" fmla="*/ 1771 h 16280"/>
              <a:gd name="T10" fmla="*/ 1958 w 7436"/>
              <a:gd name="T11" fmla="*/ 1908 h 16280"/>
              <a:gd name="T12" fmla="*/ 1638 w 7436"/>
              <a:gd name="T13" fmla="*/ 14295 h 16280"/>
              <a:gd name="T14" fmla="*/ 2292 w 7436"/>
              <a:gd name="T15" fmla="*/ 14456 h 16280"/>
              <a:gd name="T16" fmla="*/ 3079 w 7436"/>
              <a:gd name="T17" fmla="*/ 14575 h 16280"/>
              <a:gd name="T18" fmla="*/ 4014 w 7436"/>
              <a:gd name="T19" fmla="*/ 14629 h 16280"/>
              <a:gd name="T20" fmla="*/ 4962 w 7436"/>
              <a:gd name="T21" fmla="*/ 14593 h 16280"/>
              <a:gd name="T22" fmla="*/ 5793 w 7436"/>
              <a:gd name="T23" fmla="*/ 14482 h 16280"/>
              <a:gd name="T24" fmla="*/ 6457 w 7436"/>
              <a:gd name="T25" fmla="*/ 14330 h 16280"/>
              <a:gd name="T26" fmla="*/ 4727 w 7436"/>
              <a:gd name="T27" fmla="*/ 15401 h 16280"/>
              <a:gd name="T28" fmla="*/ 3846 w 7436"/>
              <a:gd name="T29" fmla="*/ 15415 h 16280"/>
              <a:gd name="T30" fmla="*/ 5373 w 7436"/>
              <a:gd name="T31" fmla="*/ 15889 h 16280"/>
              <a:gd name="T32" fmla="*/ 5515 w 7436"/>
              <a:gd name="T33" fmla="*/ 16005 h 16280"/>
              <a:gd name="T34" fmla="*/ 5497 w 7436"/>
              <a:gd name="T35" fmla="*/ 16192 h 16280"/>
              <a:gd name="T36" fmla="*/ 5333 w 7436"/>
              <a:gd name="T37" fmla="*/ 16280 h 16280"/>
              <a:gd name="T38" fmla="*/ 2737 w 7436"/>
              <a:gd name="T39" fmla="*/ 16208 h 16280"/>
              <a:gd name="T40" fmla="*/ 2700 w 7436"/>
              <a:gd name="T41" fmla="*/ 16024 h 16280"/>
              <a:gd name="T42" fmla="*/ 2830 w 7436"/>
              <a:gd name="T43" fmla="*/ 15893 h 16280"/>
              <a:gd name="T44" fmla="*/ 2731 w 7436"/>
              <a:gd name="T45" fmla="*/ 15327 h 16280"/>
              <a:gd name="T46" fmla="*/ 1861 w 7436"/>
              <a:gd name="T47" fmla="*/ 15167 h 16280"/>
              <a:gd name="T48" fmla="*/ 1065 w 7436"/>
              <a:gd name="T49" fmla="*/ 14940 h 16280"/>
              <a:gd name="T50" fmla="*/ 925 w 7436"/>
              <a:gd name="T51" fmla="*/ 14864 h 16280"/>
              <a:gd name="T52" fmla="*/ 827 w 7436"/>
              <a:gd name="T53" fmla="*/ 14737 h 16280"/>
              <a:gd name="T54" fmla="*/ 786 w 7436"/>
              <a:gd name="T55" fmla="*/ 14579 h 16280"/>
              <a:gd name="T56" fmla="*/ 371 w 7436"/>
              <a:gd name="T57" fmla="*/ 9461 h 16280"/>
              <a:gd name="T58" fmla="*/ 218 w 7436"/>
              <a:gd name="T59" fmla="*/ 9563 h 16280"/>
              <a:gd name="T60" fmla="*/ 45 w 7436"/>
              <a:gd name="T61" fmla="*/ 9492 h 16280"/>
              <a:gd name="T62" fmla="*/ 4 w 7436"/>
              <a:gd name="T63" fmla="*/ 6882 h 16280"/>
              <a:gd name="T64" fmla="*/ 121 w 7436"/>
              <a:gd name="T65" fmla="*/ 6740 h 16280"/>
              <a:gd name="T66" fmla="*/ 308 w 7436"/>
              <a:gd name="T67" fmla="*/ 6758 h 16280"/>
              <a:gd name="T68" fmla="*/ 395 w 7436"/>
              <a:gd name="T69" fmla="*/ 6922 h 16280"/>
              <a:gd name="T70" fmla="*/ 795 w 7436"/>
              <a:gd name="T71" fmla="*/ 1651 h 16280"/>
              <a:gd name="T72" fmla="*/ 850 w 7436"/>
              <a:gd name="T73" fmla="*/ 1514 h 16280"/>
              <a:gd name="T74" fmla="*/ 953 w 7436"/>
              <a:gd name="T75" fmla="*/ 1405 h 16280"/>
              <a:gd name="T76" fmla="*/ 1306 w 7436"/>
              <a:gd name="T77" fmla="*/ 1271 h 16280"/>
              <a:gd name="T78" fmla="*/ 2224 w 7436"/>
              <a:gd name="T79" fmla="*/ 1045 h 16280"/>
              <a:gd name="T80" fmla="*/ 3020 w 7436"/>
              <a:gd name="T81" fmla="*/ 928 h 16280"/>
              <a:gd name="T82" fmla="*/ 2763 w 7436"/>
              <a:gd name="T83" fmla="*/ 350 h 16280"/>
              <a:gd name="T84" fmla="*/ 2692 w 7436"/>
              <a:gd name="T85" fmla="*/ 177 h 16280"/>
              <a:gd name="T86" fmla="*/ 2795 w 7436"/>
              <a:gd name="T87" fmla="*/ 23 h 16280"/>
              <a:gd name="T88" fmla="*/ 5409 w 7436"/>
              <a:gd name="T89" fmla="*/ 15 h 16280"/>
              <a:gd name="T90" fmla="*/ 5526 w 7436"/>
              <a:gd name="T91" fmla="*/ 158 h 16280"/>
              <a:gd name="T92" fmla="*/ 5472 w 7436"/>
              <a:gd name="T93" fmla="*/ 337 h 16280"/>
              <a:gd name="T94" fmla="*/ 5130 w 7436"/>
              <a:gd name="T95" fmla="*/ 921 h 16280"/>
              <a:gd name="T96" fmla="*/ 5897 w 7436"/>
              <a:gd name="T97" fmla="*/ 1027 h 16280"/>
              <a:gd name="T98" fmla="*/ 6805 w 7436"/>
              <a:gd name="T99" fmla="*/ 1238 h 16280"/>
              <a:gd name="T100" fmla="*/ 7232 w 7436"/>
              <a:gd name="T101" fmla="*/ 1381 h 16280"/>
              <a:gd name="T102" fmla="*/ 7353 w 7436"/>
              <a:gd name="T103" fmla="*/ 1484 h 16280"/>
              <a:gd name="T104" fmla="*/ 7424 w 7436"/>
              <a:gd name="T105" fmla="*/ 1628 h 16280"/>
              <a:gd name="T106" fmla="*/ 7435 w 7436"/>
              <a:gd name="T107" fmla="*/ 14561 h 16280"/>
              <a:gd name="T108" fmla="*/ 7406 w 7436"/>
              <a:gd name="T109" fmla="*/ 14709 h 16280"/>
              <a:gd name="T110" fmla="*/ 7326 w 7436"/>
              <a:gd name="T111" fmla="*/ 14834 h 16280"/>
              <a:gd name="T112" fmla="*/ 7200 w 7436"/>
              <a:gd name="T113" fmla="*/ 14923 h 16280"/>
              <a:gd name="T114" fmla="*/ 6468 w 7436"/>
              <a:gd name="T115" fmla="*/ 15141 h 16280"/>
              <a:gd name="T116" fmla="*/ 5563 w 7436"/>
              <a:gd name="T117" fmla="*/ 15316 h 16280"/>
              <a:gd name="T118" fmla="*/ 785 w 7436"/>
              <a:gd name="T119" fmla="*/ 8847 h 16280"/>
              <a:gd name="T120" fmla="*/ 3933 w 7436"/>
              <a:gd name="T121" fmla="*/ 872 h 16280"/>
              <a:gd name="T122" fmla="*/ 4813 w 7436"/>
              <a:gd name="T123" fmla="*/ 894 h 162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436" h="16280">
                <a:moveTo>
                  <a:pt x="6645" y="6156"/>
                </a:moveTo>
                <a:lnTo>
                  <a:pt x="6645" y="2013"/>
                </a:lnTo>
                <a:lnTo>
                  <a:pt x="6583" y="1994"/>
                </a:lnTo>
                <a:lnTo>
                  <a:pt x="6520" y="1976"/>
                </a:lnTo>
                <a:lnTo>
                  <a:pt x="6457" y="1959"/>
                </a:lnTo>
                <a:lnTo>
                  <a:pt x="6393" y="1941"/>
                </a:lnTo>
                <a:lnTo>
                  <a:pt x="6328" y="1924"/>
                </a:lnTo>
                <a:lnTo>
                  <a:pt x="6263" y="1908"/>
                </a:lnTo>
                <a:lnTo>
                  <a:pt x="6198" y="1892"/>
                </a:lnTo>
                <a:lnTo>
                  <a:pt x="6131" y="1876"/>
                </a:lnTo>
                <a:lnTo>
                  <a:pt x="6065" y="1862"/>
                </a:lnTo>
                <a:lnTo>
                  <a:pt x="5997" y="1848"/>
                </a:lnTo>
                <a:lnTo>
                  <a:pt x="5929" y="1834"/>
                </a:lnTo>
                <a:lnTo>
                  <a:pt x="5861" y="1820"/>
                </a:lnTo>
                <a:lnTo>
                  <a:pt x="5793" y="1807"/>
                </a:lnTo>
                <a:lnTo>
                  <a:pt x="5724" y="1795"/>
                </a:lnTo>
                <a:lnTo>
                  <a:pt x="5655" y="1784"/>
                </a:lnTo>
                <a:lnTo>
                  <a:pt x="5584" y="1771"/>
                </a:lnTo>
                <a:lnTo>
                  <a:pt x="5498" y="1758"/>
                </a:lnTo>
                <a:lnTo>
                  <a:pt x="5410" y="1746"/>
                </a:lnTo>
                <a:lnTo>
                  <a:pt x="5322" y="1735"/>
                </a:lnTo>
                <a:lnTo>
                  <a:pt x="5233" y="1724"/>
                </a:lnTo>
                <a:lnTo>
                  <a:pt x="5144" y="1714"/>
                </a:lnTo>
                <a:lnTo>
                  <a:pt x="5053" y="1704"/>
                </a:lnTo>
                <a:lnTo>
                  <a:pt x="4962" y="1696"/>
                </a:lnTo>
                <a:lnTo>
                  <a:pt x="4870" y="1689"/>
                </a:lnTo>
                <a:lnTo>
                  <a:pt x="4778" y="1682"/>
                </a:lnTo>
                <a:lnTo>
                  <a:pt x="4684" y="1677"/>
                </a:lnTo>
                <a:lnTo>
                  <a:pt x="4590" y="1672"/>
                </a:lnTo>
                <a:lnTo>
                  <a:pt x="4496" y="1668"/>
                </a:lnTo>
                <a:lnTo>
                  <a:pt x="4400" y="1665"/>
                </a:lnTo>
                <a:lnTo>
                  <a:pt x="4305" y="1663"/>
                </a:lnTo>
                <a:lnTo>
                  <a:pt x="4208" y="1661"/>
                </a:lnTo>
                <a:lnTo>
                  <a:pt x="4111" y="1661"/>
                </a:lnTo>
                <a:lnTo>
                  <a:pt x="4014" y="1661"/>
                </a:lnTo>
                <a:lnTo>
                  <a:pt x="3917" y="1663"/>
                </a:lnTo>
                <a:lnTo>
                  <a:pt x="3821" y="1665"/>
                </a:lnTo>
                <a:lnTo>
                  <a:pt x="3726" y="1668"/>
                </a:lnTo>
                <a:lnTo>
                  <a:pt x="3631" y="1672"/>
                </a:lnTo>
                <a:lnTo>
                  <a:pt x="3537" y="1677"/>
                </a:lnTo>
                <a:lnTo>
                  <a:pt x="3444" y="1682"/>
                </a:lnTo>
                <a:lnTo>
                  <a:pt x="3351" y="1689"/>
                </a:lnTo>
                <a:lnTo>
                  <a:pt x="3260" y="1696"/>
                </a:lnTo>
                <a:lnTo>
                  <a:pt x="3168" y="1704"/>
                </a:lnTo>
                <a:lnTo>
                  <a:pt x="3079" y="1714"/>
                </a:lnTo>
                <a:lnTo>
                  <a:pt x="2988" y="1724"/>
                </a:lnTo>
                <a:lnTo>
                  <a:pt x="2900" y="1735"/>
                </a:lnTo>
                <a:lnTo>
                  <a:pt x="2811" y="1746"/>
                </a:lnTo>
                <a:lnTo>
                  <a:pt x="2725" y="1758"/>
                </a:lnTo>
                <a:lnTo>
                  <a:pt x="2637" y="1771"/>
                </a:lnTo>
                <a:lnTo>
                  <a:pt x="2568" y="1784"/>
                </a:lnTo>
                <a:lnTo>
                  <a:pt x="2498" y="1795"/>
                </a:lnTo>
                <a:lnTo>
                  <a:pt x="2428" y="1807"/>
                </a:lnTo>
                <a:lnTo>
                  <a:pt x="2360" y="1820"/>
                </a:lnTo>
                <a:lnTo>
                  <a:pt x="2292" y="1834"/>
                </a:lnTo>
                <a:lnTo>
                  <a:pt x="2224" y="1848"/>
                </a:lnTo>
                <a:lnTo>
                  <a:pt x="2157" y="1862"/>
                </a:lnTo>
                <a:lnTo>
                  <a:pt x="2091" y="1876"/>
                </a:lnTo>
                <a:lnTo>
                  <a:pt x="2025" y="1892"/>
                </a:lnTo>
                <a:lnTo>
                  <a:pt x="1958" y="1908"/>
                </a:lnTo>
                <a:lnTo>
                  <a:pt x="1893" y="1924"/>
                </a:lnTo>
                <a:lnTo>
                  <a:pt x="1829" y="1941"/>
                </a:lnTo>
                <a:lnTo>
                  <a:pt x="1765" y="1958"/>
                </a:lnTo>
                <a:lnTo>
                  <a:pt x="1701" y="1976"/>
                </a:lnTo>
                <a:lnTo>
                  <a:pt x="1638" y="1994"/>
                </a:lnTo>
                <a:lnTo>
                  <a:pt x="1576" y="2013"/>
                </a:lnTo>
                <a:lnTo>
                  <a:pt x="1576" y="6157"/>
                </a:lnTo>
                <a:lnTo>
                  <a:pt x="1576" y="10132"/>
                </a:lnTo>
                <a:lnTo>
                  <a:pt x="1576" y="14277"/>
                </a:lnTo>
                <a:lnTo>
                  <a:pt x="1638" y="14295"/>
                </a:lnTo>
                <a:lnTo>
                  <a:pt x="1701" y="14313"/>
                </a:lnTo>
                <a:lnTo>
                  <a:pt x="1765" y="14330"/>
                </a:lnTo>
                <a:lnTo>
                  <a:pt x="1829" y="14348"/>
                </a:lnTo>
                <a:lnTo>
                  <a:pt x="1893" y="14365"/>
                </a:lnTo>
                <a:lnTo>
                  <a:pt x="1958" y="14381"/>
                </a:lnTo>
                <a:lnTo>
                  <a:pt x="2025" y="14397"/>
                </a:lnTo>
                <a:lnTo>
                  <a:pt x="2091" y="14412"/>
                </a:lnTo>
                <a:lnTo>
                  <a:pt x="2157" y="14427"/>
                </a:lnTo>
                <a:lnTo>
                  <a:pt x="2224" y="14441"/>
                </a:lnTo>
                <a:lnTo>
                  <a:pt x="2292" y="14456"/>
                </a:lnTo>
                <a:lnTo>
                  <a:pt x="2360" y="14469"/>
                </a:lnTo>
                <a:lnTo>
                  <a:pt x="2428" y="14482"/>
                </a:lnTo>
                <a:lnTo>
                  <a:pt x="2498" y="14494"/>
                </a:lnTo>
                <a:lnTo>
                  <a:pt x="2568" y="14505"/>
                </a:lnTo>
                <a:lnTo>
                  <a:pt x="2637" y="14517"/>
                </a:lnTo>
                <a:lnTo>
                  <a:pt x="2725" y="14530"/>
                </a:lnTo>
                <a:lnTo>
                  <a:pt x="2811" y="14543"/>
                </a:lnTo>
                <a:lnTo>
                  <a:pt x="2900" y="14554"/>
                </a:lnTo>
                <a:lnTo>
                  <a:pt x="2988" y="14566"/>
                </a:lnTo>
                <a:lnTo>
                  <a:pt x="3079" y="14575"/>
                </a:lnTo>
                <a:lnTo>
                  <a:pt x="3168" y="14584"/>
                </a:lnTo>
                <a:lnTo>
                  <a:pt x="3260" y="14593"/>
                </a:lnTo>
                <a:lnTo>
                  <a:pt x="3351" y="14600"/>
                </a:lnTo>
                <a:lnTo>
                  <a:pt x="3444" y="14606"/>
                </a:lnTo>
                <a:lnTo>
                  <a:pt x="3537" y="14612"/>
                </a:lnTo>
                <a:lnTo>
                  <a:pt x="3631" y="14617"/>
                </a:lnTo>
                <a:lnTo>
                  <a:pt x="3726" y="14621"/>
                </a:lnTo>
                <a:lnTo>
                  <a:pt x="3821" y="14625"/>
                </a:lnTo>
                <a:lnTo>
                  <a:pt x="3917" y="14627"/>
                </a:lnTo>
                <a:lnTo>
                  <a:pt x="4014" y="14629"/>
                </a:lnTo>
                <a:lnTo>
                  <a:pt x="4111" y="14629"/>
                </a:lnTo>
                <a:lnTo>
                  <a:pt x="4208" y="14629"/>
                </a:lnTo>
                <a:lnTo>
                  <a:pt x="4305" y="14627"/>
                </a:lnTo>
                <a:lnTo>
                  <a:pt x="4400" y="14625"/>
                </a:lnTo>
                <a:lnTo>
                  <a:pt x="4496" y="14621"/>
                </a:lnTo>
                <a:lnTo>
                  <a:pt x="4590" y="14617"/>
                </a:lnTo>
                <a:lnTo>
                  <a:pt x="4684" y="14612"/>
                </a:lnTo>
                <a:lnTo>
                  <a:pt x="4778" y="14606"/>
                </a:lnTo>
                <a:lnTo>
                  <a:pt x="4870" y="14600"/>
                </a:lnTo>
                <a:lnTo>
                  <a:pt x="4962" y="14593"/>
                </a:lnTo>
                <a:lnTo>
                  <a:pt x="5053" y="14584"/>
                </a:lnTo>
                <a:lnTo>
                  <a:pt x="5144" y="14575"/>
                </a:lnTo>
                <a:lnTo>
                  <a:pt x="5233" y="14566"/>
                </a:lnTo>
                <a:lnTo>
                  <a:pt x="5322" y="14554"/>
                </a:lnTo>
                <a:lnTo>
                  <a:pt x="5410" y="14543"/>
                </a:lnTo>
                <a:lnTo>
                  <a:pt x="5498" y="14530"/>
                </a:lnTo>
                <a:lnTo>
                  <a:pt x="5584" y="14517"/>
                </a:lnTo>
                <a:lnTo>
                  <a:pt x="5655" y="14505"/>
                </a:lnTo>
                <a:lnTo>
                  <a:pt x="5724" y="14494"/>
                </a:lnTo>
                <a:lnTo>
                  <a:pt x="5793" y="14482"/>
                </a:lnTo>
                <a:lnTo>
                  <a:pt x="5861" y="14469"/>
                </a:lnTo>
                <a:lnTo>
                  <a:pt x="5929" y="14456"/>
                </a:lnTo>
                <a:lnTo>
                  <a:pt x="5997" y="14441"/>
                </a:lnTo>
                <a:lnTo>
                  <a:pt x="6065" y="14427"/>
                </a:lnTo>
                <a:lnTo>
                  <a:pt x="6131" y="14412"/>
                </a:lnTo>
                <a:lnTo>
                  <a:pt x="6198" y="14397"/>
                </a:lnTo>
                <a:lnTo>
                  <a:pt x="6263" y="14381"/>
                </a:lnTo>
                <a:lnTo>
                  <a:pt x="6328" y="14365"/>
                </a:lnTo>
                <a:lnTo>
                  <a:pt x="6393" y="14348"/>
                </a:lnTo>
                <a:lnTo>
                  <a:pt x="6457" y="14330"/>
                </a:lnTo>
                <a:lnTo>
                  <a:pt x="6520" y="14313"/>
                </a:lnTo>
                <a:lnTo>
                  <a:pt x="6583" y="14295"/>
                </a:lnTo>
                <a:lnTo>
                  <a:pt x="6645" y="14277"/>
                </a:lnTo>
                <a:lnTo>
                  <a:pt x="6645" y="10132"/>
                </a:lnTo>
                <a:lnTo>
                  <a:pt x="6645" y="6156"/>
                </a:lnTo>
                <a:close/>
                <a:moveTo>
                  <a:pt x="3408" y="15395"/>
                </a:moveTo>
                <a:lnTo>
                  <a:pt x="3408" y="15885"/>
                </a:lnTo>
                <a:lnTo>
                  <a:pt x="4813" y="15885"/>
                </a:lnTo>
                <a:lnTo>
                  <a:pt x="4813" y="15395"/>
                </a:lnTo>
                <a:lnTo>
                  <a:pt x="4727" y="15401"/>
                </a:lnTo>
                <a:lnTo>
                  <a:pt x="4639" y="15405"/>
                </a:lnTo>
                <a:lnTo>
                  <a:pt x="4552" y="15409"/>
                </a:lnTo>
                <a:lnTo>
                  <a:pt x="4464" y="15413"/>
                </a:lnTo>
                <a:lnTo>
                  <a:pt x="4376" y="15415"/>
                </a:lnTo>
                <a:lnTo>
                  <a:pt x="4288" y="15417"/>
                </a:lnTo>
                <a:lnTo>
                  <a:pt x="4200" y="15418"/>
                </a:lnTo>
                <a:lnTo>
                  <a:pt x="4111" y="15419"/>
                </a:lnTo>
                <a:lnTo>
                  <a:pt x="4022" y="15418"/>
                </a:lnTo>
                <a:lnTo>
                  <a:pt x="3933" y="15417"/>
                </a:lnTo>
                <a:lnTo>
                  <a:pt x="3846" y="15415"/>
                </a:lnTo>
                <a:lnTo>
                  <a:pt x="3757" y="15413"/>
                </a:lnTo>
                <a:lnTo>
                  <a:pt x="3670" y="15409"/>
                </a:lnTo>
                <a:lnTo>
                  <a:pt x="3582" y="15405"/>
                </a:lnTo>
                <a:lnTo>
                  <a:pt x="3496" y="15401"/>
                </a:lnTo>
                <a:lnTo>
                  <a:pt x="3408" y="15395"/>
                </a:lnTo>
                <a:close/>
                <a:moveTo>
                  <a:pt x="5130" y="15368"/>
                </a:moveTo>
                <a:lnTo>
                  <a:pt x="5130" y="15885"/>
                </a:lnTo>
                <a:lnTo>
                  <a:pt x="5333" y="15885"/>
                </a:lnTo>
                <a:lnTo>
                  <a:pt x="5353" y="15886"/>
                </a:lnTo>
                <a:lnTo>
                  <a:pt x="5373" y="15889"/>
                </a:lnTo>
                <a:lnTo>
                  <a:pt x="5392" y="15893"/>
                </a:lnTo>
                <a:lnTo>
                  <a:pt x="5409" y="15900"/>
                </a:lnTo>
                <a:lnTo>
                  <a:pt x="5427" y="15909"/>
                </a:lnTo>
                <a:lnTo>
                  <a:pt x="5443" y="15919"/>
                </a:lnTo>
                <a:lnTo>
                  <a:pt x="5458" y="15930"/>
                </a:lnTo>
                <a:lnTo>
                  <a:pt x="5472" y="15943"/>
                </a:lnTo>
                <a:lnTo>
                  <a:pt x="5486" y="15956"/>
                </a:lnTo>
                <a:lnTo>
                  <a:pt x="5497" y="15972"/>
                </a:lnTo>
                <a:lnTo>
                  <a:pt x="5507" y="15988"/>
                </a:lnTo>
                <a:lnTo>
                  <a:pt x="5515" y="16005"/>
                </a:lnTo>
                <a:lnTo>
                  <a:pt x="5521" y="16024"/>
                </a:lnTo>
                <a:lnTo>
                  <a:pt x="5526" y="16043"/>
                </a:lnTo>
                <a:lnTo>
                  <a:pt x="5529" y="16062"/>
                </a:lnTo>
                <a:lnTo>
                  <a:pt x="5530" y="16083"/>
                </a:lnTo>
                <a:lnTo>
                  <a:pt x="5529" y="16103"/>
                </a:lnTo>
                <a:lnTo>
                  <a:pt x="5526" y="16122"/>
                </a:lnTo>
                <a:lnTo>
                  <a:pt x="5521" y="16142"/>
                </a:lnTo>
                <a:lnTo>
                  <a:pt x="5515" y="16159"/>
                </a:lnTo>
                <a:lnTo>
                  <a:pt x="5507" y="16176"/>
                </a:lnTo>
                <a:lnTo>
                  <a:pt x="5497" y="16192"/>
                </a:lnTo>
                <a:lnTo>
                  <a:pt x="5486" y="16208"/>
                </a:lnTo>
                <a:lnTo>
                  <a:pt x="5472" y="16222"/>
                </a:lnTo>
                <a:lnTo>
                  <a:pt x="5458" y="16235"/>
                </a:lnTo>
                <a:lnTo>
                  <a:pt x="5443" y="16246"/>
                </a:lnTo>
                <a:lnTo>
                  <a:pt x="5427" y="16257"/>
                </a:lnTo>
                <a:lnTo>
                  <a:pt x="5409" y="16265"/>
                </a:lnTo>
                <a:lnTo>
                  <a:pt x="5392" y="16271"/>
                </a:lnTo>
                <a:lnTo>
                  <a:pt x="5373" y="16276"/>
                </a:lnTo>
                <a:lnTo>
                  <a:pt x="5353" y="16279"/>
                </a:lnTo>
                <a:lnTo>
                  <a:pt x="5333" y="16280"/>
                </a:lnTo>
                <a:lnTo>
                  <a:pt x="2888" y="16280"/>
                </a:lnTo>
                <a:lnTo>
                  <a:pt x="2869" y="16279"/>
                </a:lnTo>
                <a:lnTo>
                  <a:pt x="2849" y="16276"/>
                </a:lnTo>
                <a:lnTo>
                  <a:pt x="2830" y="16271"/>
                </a:lnTo>
                <a:lnTo>
                  <a:pt x="2812" y="16265"/>
                </a:lnTo>
                <a:lnTo>
                  <a:pt x="2795" y="16257"/>
                </a:lnTo>
                <a:lnTo>
                  <a:pt x="2778" y="16246"/>
                </a:lnTo>
                <a:lnTo>
                  <a:pt x="2763" y="16235"/>
                </a:lnTo>
                <a:lnTo>
                  <a:pt x="2749" y="16222"/>
                </a:lnTo>
                <a:lnTo>
                  <a:pt x="2737" y="16208"/>
                </a:lnTo>
                <a:lnTo>
                  <a:pt x="2725" y="16192"/>
                </a:lnTo>
                <a:lnTo>
                  <a:pt x="2715" y="16176"/>
                </a:lnTo>
                <a:lnTo>
                  <a:pt x="2707" y="16159"/>
                </a:lnTo>
                <a:lnTo>
                  <a:pt x="2700" y="16142"/>
                </a:lnTo>
                <a:lnTo>
                  <a:pt x="2695" y="16122"/>
                </a:lnTo>
                <a:lnTo>
                  <a:pt x="2692" y="16103"/>
                </a:lnTo>
                <a:lnTo>
                  <a:pt x="2691" y="16083"/>
                </a:lnTo>
                <a:lnTo>
                  <a:pt x="2692" y="16062"/>
                </a:lnTo>
                <a:lnTo>
                  <a:pt x="2695" y="16043"/>
                </a:lnTo>
                <a:lnTo>
                  <a:pt x="2700" y="16024"/>
                </a:lnTo>
                <a:lnTo>
                  <a:pt x="2707" y="16005"/>
                </a:lnTo>
                <a:lnTo>
                  <a:pt x="2715" y="15988"/>
                </a:lnTo>
                <a:lnTo>
                  <a:pt x="2725" y="15972"/>
                </a:lnTo>
                <a:lnTo>
                  <a:pt x="2737" y="15956"/>
                </a:lnTo>
                <a:lnTo>
                  <a:pt x="2749" y="15943"/>
                </a:lnTo>
                <a:lnTo>
                  <a:pt x="2763" y="15930"/>
                </a:lnTo>
                <a:lnTo>
                  <a:pt x="2778" y="15919"/>
                </a:lnTo>
                <a:lnTo>
                  <a:pt x="2795" y="15909"/>
                </a:lnTo>
                <a:lnTo>
                  <a:pt x="2812" y="15900"/>
                </a:lnTo>
                <a:lnTo>
                  <a:pt x="2830" y="15893"/>
                </a:lnTo>
                <a:lnTo>
                  <a:pt x="2849" y="15889"/>
                </a:lnTo>
                <a:lnTo>
                  <a:pt x="2869" y="15886"/>
                </a:lnTo>
                <a:lnTo>
                  <a:pt x="2888" y="15885"/>
                </a:lnTo>
                <a:lnTo>
                  <a:pt x="3093" y="15885"/>
                </a:lnTo>
                <a:lnTo>
                  <a:pt x="3093" y="15368"/>
                </a:lnTo>
                <a:lnTo>
                  <a:pt x="3020" y="15361"/>
                </a:lnTo>
                <a:lnTo>
                  <a:pt x="2947" y="15353"/>
                </a:lnTo>
                <a:lnTo>
                  <a:pt x="2874" y="15345"/>
                </a:lnTo>
                <a:lnTo>
                  <a:pt x="2803" y="15336"/>
                </a:lnTo>
                <a:lnTo>
                  <a:pt x="2731" y="15327"/>
                </a:lnTo>
                <a:lnTo>
                  <a:pt x="2659" y="15316"/>
                </a:lnTo>
                <a:lnTo>
                  <a:pt x="2588" y="15306"/>
                </a:lnTo>
                <a:lnTo>
                  <a:pt x="2517" y="15295"/>
                </a:lnTo>
                <a:lnTo>
                  <a:pt x="2421" y="15280"/>
                </a:lnTo>
                <a:lnTo>
                  <a:pt x="2326" y="15263"/>
                </a:lnTo>
                <a:lnTo>
                  <a:pt x="2231" y="15245"/>
                </a:lnTo>
                <a:lnTo>
                  <a:pt x="2136" y="15227"/>
                </a:lnTo>
                <a:lnTo>
                  <a:pt x="2044" y="15209"/>
                </a:lnTo>
                <a:lnTo>
                  <a:pt x="1951" y="15188"/>
                </a:lnTo>
                <a:lnTo>
                  <a:pt x="1861" y="15167"/>
                </a:lnTo>
                <a:lnTo>
                  <a:pt x="1770" y="15145"/>
                </a:lnTo>
                <a:lnTo>
                  <a:pt x="1681" y="15123"/>
                </a:lnTo>
                <a:lnTo>
                  <a:pt x="1592" y="15100"/>
                </a:lnTo>
                <a:lnTo>
                  <a:pt x="1505" y="15076"/>
                </a:lnTo>
                <a:lnTo>
                  <a:pt x="1417" y="15051"/>
                </a:lnTo>
                <a:lnTo>
                  <a:pt x="1332" y="15025"/>
                </a:lnTo>
                <a:lnTo>
                  <a:pt x="1247" y="14999"/>
                </a:lnTo>
                <a:lnTo>
                  <a:pt x="1164" y="14973"/>
                </a:lnTo>
                <a:lnTo>
                  <a:pt x="1081" y="14944"/>
                </a:lnTo>
                <a:lnTo>
                  <a:pt x="1065" y="14940"/>
                </a:lnTo>
                <a:lnTo>
                  <a:pt x="1050" y="14935"/>
                </a:lnTo>
                <a:lnTo>
                  <a:pt x="1035" y="14929"/>
                </a:lnTo>
                <a:lnTo>
                  <a:pt x="1019" y="14923"/>
                </a:lnTo>
                <a:lnTo>
                  <a:pt x="1005" y="14917"/>
                </a:lnTo>
                <a:lnTo>
                  <a:pt x="991" y="14908"/>
                </a:lnTo>
                <a:lnTo>
                  <a:pt x="977" y="14900"/>
                </a:lnTo>
                <a:lnTo>
                  <a:pt x="963" y="14892"/>
                </a:lnTo>
                <a:lnTo>
                  <a:pt x="950" y="14883"/>
                </a:lnTo>
                <a:lnTo>
                  <a:pt x="937" y="14873"/>
                </a:lnTo>
                <a:lnTo>
                  <a:pt x="925" y="14864"/>
                </a:lnTo>
                <a:lnTo>
                  <a:pt x="913" y="14852"/>
                </a:lnTo>
                <a:lnTo>
                  <a:pt x="901" y="14841"/>
                </a:lnTo>
                <a:lnTo>
                  <a:pt x="890" y="14830"/>
                </a:lnTo>
                <a:lnTo>
                  <a:pt x="880" y="14818"/>
                </a:lnTo>
                <a:lnTo>
                  <a:pt x="870" y="14806"/>
                </a:lnTo>
                <a:lnTo>
                  <a:pt x="860" y="14792"/>
                </a:lnTo>
                <a:lnTo>
                  <a:pt x="851" y="14779"/>
                </a:lnTo>
                <a:lnTo>
                  <a:pt x="842" y="14766"/>
                </a:lnTo>
                <a:lnTo>
                  <a:pt x="834" y="14752"/>
                </a:lnTo>
                <a:lnTo>
                  <a:pt x="827" y="14737"/>
                </a:lnTo>
                <a:lnTo>
                  <a:pt x="820" y="14723"/>
                </a:lnTo>
                <a:lnTo>
                  <a:pt x="814" y="14708"/>
                </a:lnTo>
                <a:lnTo>
                  <a:pt x="808" y="14693"/>
                </a:lnTo>
                <a:lnTo>
                  <a:pt x="803" y="14677"/>
                </a:lnTo>
                <a:lnTo>
                  <a:pt x="799" y="14662"/>
                </a:lnTo>
                <a:lnTo>
                  <a:pt x="795" y="14646"/>
                </a:lnTo>
                <a:lnTo>
                  <a:pt x="792" y="14630"/>
                </a:lnTo>
                <a:lnTo>
                  <a:pt x="788" y="14613"/>
                </a:lnTo>
                <a:lnTo>
                  <a:pt x="787" y="14596"/>
                </a:lnTo>
                <a:lnTo>
                  <a:pt x="786" y="14579"/>
                </a:lnTo>
                <a:lnTo>
                  <a:pt x="785" y="14562"/>
                </a:lnTo>
                <a:lnTo>
                  <a:pt x="785" y="10132"/>
                </a:lnTo>
                <a:lnTo>
                  <a:pt x="785" y="9164"/>
                </a:lnTo>
                <a:lnTo>
                  <a:pt x="395" y="9164"/>
                </a:lnTo>
                <a:lnTo>
                  <a:pt x="395" y="9367"/>
                </a:lnTo>
                <a:lnTo>
                  <a:pt x="394" y="9387"/>
                </a:lnTo>
                <a:lnTo>
                  <a:pt x="391" y="9407"/>
                </a:lnTo>
                <a:lnTo>
                  <a:pt x="387" y="9425"/>
                </a:lnTo>
                <a:lnTo>
                  <a:pt x="379" y="9443"/>
                </a:lnTo>
                <a:lnTo>
                  <a:pt x="371" y="9461"/>
                </a:lnTo>
                <a:lnTo>
                  <a:pt x="361" y="9477"/>
                </a:lnTo>
                <a:lnTo>
                  <a:pt x="350" y="9492"/>
                </a:lnTo>
                <a:lnTo>
                  <a:pt x="337" y="9507"/>
                </a:lnTo>
                <a:lnTo>
                  <a:pt x="324" y="9520"/>
                </a:lnTo>
                <a:lnTo>
                  <a:pt x="308" y="9531"/>
                </a:lnTo>
                <a:lnTo>
                  <a:pt x="292" y="9540"/>
                </a:lnTo>
                <a:lnTo>
                  <a:pt x="275" y="9549"/>
                </a:lnTo>
                <a:lnTo>
                  <a:pt x="256" y="9555"/>
                </a:lnTo>
                <a:lnTo>
                  <a:pt x="237" y="9560"/>
                </a:lnTo>
                <a:lnTo>
                  <a:pt x="218" y="9563"/>
                </a:lnTo>
                <a:lnTo>
                  <a:pt x="197" y="9565"/>
                </a:lnTo>
                <a:lnTo>
                  <a:pt x="177" y="9563"/>
                </a:lnTo>
                <a:lnTo>
                  <a:pt x="158" y="9560"/>
                </a:lnTo>
                <a:lnTo>
                  <a:pt x="138" y="9555"/>
                </a:lnTo>
                <a:lnTo>
                  <a:pt x="121" y="9549"/>
                </a:lnTo>
                <a:lnTo>
                  <a:pt x="104" y="9540"/>
                </a:lnTo>
                <a:lnTo>
                  <a:pt x="87" y="9531"/>
                </a:lnTo>
                <a:lnTo>
                  <a:pt x="72" y="9520"/>
                </a:lnTo>
                <a:lnTo>
                  <a:pt x="58" y="9507"/>
                </a:lnTo>
                <a:lnTo>
                  <a:pt x="45" y="9492"/>
                </a:lnTo>
                <a:lnTo>
                  <a:pt x="34" y="9477"/>
                </a:lnTo>
                <a:lnTo>
                  <a:pt x="23" y="9461"/>
                </a:lnTo>
                <a:lnTo>
                  <a:pt x="15" y="9443"/>
                </a:lnTo>
                <a:lnTo>
                  <a:pt x="9" y="9425"/>
                </a:lnTo>
                <a:lnTo>
                  <a:pt x="4" y="9407"/>
                </a:lnTo>
                <a:lnTo>
                  <a:pt x="1" y="9387"/>
                </a:lnTo>
                <a:lnTo>
                  <a:pt x="0" y="9367"/>
                </a:lnTo>
                <a:lnTo>
                  <a:pt x="0" y="6922"/>
                </a:lnTo>
                <a:lnTo>
                  <a:pt x="1" y="6902"/>
                </a:lnTo>
                <a:lnTo>
                  <a:pt x="4" y="6882"/>
                </a:lnTo>
                <a:lnTo>
                  <a:pt x="9" y="6864"/>
                </a:lnTo>
                <a:lnTo>
                  <a:pt x="15" y="6846"/>
                </a:lnTo>
                <a:lnTo>
                  <a:pt x="23" y="6828"/>
                </a:lnTo>
                <a:lnTo>
                  <a:pt x="34" y="6812"/>
                </a:lnTo>
                <a:lnTo>
                  <a:pt x="45" y="6797"/>
                </a:lnTo>
                <a:lnTo>
                  <a:pt x="58" y="6783"/>
                </a:lnTo>
                <a:lnTo>
                  <a:pt x="72" y="6769"/>
                </a:lnTo>
                <a:lnTo>
                  <a:pt x="87" y="6758"/>
                </a:lnTo>
                <a:lnTo>
                  <a:pt x="104" y="6749"/>
                </a:lnTo>
                <a:lnTo>
                  <a:pt x="121" y="6740"/>
                </a:lnTo>
                <a:lnTo>
                  <a:pt x="138" y="6734"/>
                </a:lnTo>
                <a:lnTo>
                  <a:pt x="158" y="6729"/>
                </a:lnTo>
                <a:lnTo>
                  <a:pt x="177" y="6726"/>
                </a:lnTo>
                <a:lnTo>
                  <a:pt x="197" y="6725"/>
                </a:lnTo>
                <a:lnTo>
                  <a:pt x="218" y="6726"/>
                </a:lnTo>
                <a:lnTo>
                  <a:pt x="237" y="6729"/>
                </a:lnTo>
                <a:lnTo>
                  <a:pt x="256" y="6734"/>
                </a:lnTo>
                <a:lnTo>
                  <a:pt x="275" y="6740"/>
                </a:lnTo>
                <a:lnTo>
                  <a:pt x="292" y="6749"/>
                </a:lnTo>
                <a:lnTo>
                  <a:pt x="308" y="6758"/>
                </a:lnTo>
                <a:lnTo>
                  <a:pt x="324" y="6769"/>
                </a:lnTo>
                <a:lnTo>
                  <a:pt x="337" y="6783"/>
                </a:lnTo>
                <a:lnTo>
                  <a:pt x="350" y="6797"/>
                </a:lnTo>
                <a:lnTo>
                  <a:pt x="361" y="6812"/>
                </a:lnTo>
                <a:lnTo>
                  <a:pt x="371" y="6828"/>
                </a:lnTo>
                <a:lnTo>
                  <a:pt x="379" y="6846"/>
                </a:lnTo>
                <a:lnTo>
                  <a:pt x="387" y="6864"/>
                </a:lnTo>
                <a:lnTo>
                  <a:pt x="391" y="6882"/>
                </a:lnTo>
                <a:lnTo>
                  <a:pt x="394" y="6902"/>
                </a:lnTo>
                <a:lnTo>
                  <a:pt x="395" y="6922"/>
                </a:lnTo>
                <a:lnTo>
                  <a:pt x="395" y="7126"/>
                </a:lnTo>
                <a:lnTo>
                  <a:pt x="785" y="7126"/>
                </a:lnTo>
                <a:lnTo>
                  <a:pt x="785" y="6157"/>
                </a:lnTo>
                <a:lnTo>
                  <a:pt x="785" y="1727"/>
                </a:lnTo>
                <a:lnTo>
                  <a:pt x="786" y="1727"/>
                </a:lnTo>
                <a:lnTo>
                  <a:pt x="787" y="1711"/>
                </a:lnTo>
                <a:lnTo>
                  <a:pt x="787" y="1696"/>
                </a:lnTo>
                <a:lnTo>
                  <a:pt x="789" y="1682"/>
                </a:lnTo>
                <a:lnTo>
                  <a:pt x="792" y="1667"/>
                </a:lnTo>
                <a:lnTo>
                  <a:pt x="795" y="1651"/>
                </a:lnTo>
                <a:lnTo>
                  <a:pt x="798" y="1637"/>
                </a:lnTo>
                <a:lnTo>
                  <a:pt x="801" y="1623"/>
                </a:lnTo>
                <a:lnTo>
                  <a:pt x="805" y="1608"/>
                </a:lnTo>
                <a:lnTo>
                  <a:pt x="810" y="1593"/>
                </a:lnTo>
                <a:lnTo>
                  <a:pt x="815" y="1580"/>
                </a:lnTo>
                <a:lnTo>
                  <a:pt x="821" y="1566"/>
                </a:lnTo>
                <a:lnTo>
                  <a:pt x="827" y="1553"/>
                </a:lnTo>
                <a:lnTo>
                  <a:pt x="834" y="1539"/>
                </a:lnTo>
                <a:lnTo>
                  <a:pt x="841" y="1526"/>
                </a:lnTo>
                <a:lnTo>
                  <a:pt x="850" y="1514"/>
                </a:lnTo>
                <a:lnTo>
                  <a:pt x="858" y="1501"/>
                </a:lnTo>
                <a:lnTo>
                  <a:pt x="867" y="1489"/>
                </a:lnTo>
                <a:lnTo>
                  <a:pt x="876" y="1477"/>
                </a:lnTo>
                <a:lnTo>
                  <a:pt x="886" y="1465"/>
                </a:lnTo>
                <a:lnTo>
                  <a:pt x="896" y="1455"/>
                </a:lnTo>
                <a:lnTo>
                  <a:pt x="906" y="1444"/>
                </a:lnTo>
                <a:lnTo>
                  <a:pt x="918" y="1434"/>
                </a:lnTo>
                <a:lnTo>
                  <a:pt x="929" y="1423"/>
                </a:lnTo>
                <a:lnTo>
                  <a:pt x="941" y="1414"/>
                </a:lnTo>
                <a:lnTo>
                  <a:pt x="953" y="1405"/>
                </a:lnTo>
                <a:lnTo>
                  <a:pt x="967" y="1396"/>
                </a:lnTo>
                <a:lnTo>
                  <a:pt x="980" y="1388"/>
                </a:lnTo>
                <a:lnTo>
                  <a:pt x="993" y="1381"/>
                </a:lnTo>
                <a:lnTo>
                  <a:pt x="1007" y="1374"/>
                </a:lnTo>
                <a:lnTo>
                  <a:pt x="1021" y="1367"/>
                </a:lnTo>
                <a:lnTo>
                  <a:pt x="1036" y="1360"/>
                </a:lnTo>
                <a:lnTo>
                  <a:pt x="1051" y="1355"/>
                </a:lnTo>
                <a:lnTo>
                  <a:pt x="1135" y="1326"/>
                </a:lnTo>
                <a:lnTo>
                  <a:pt x="1221" y="1298"/>
                </a:lnTo>
                <a:lnTo>
                  <a:pt x="1306" y="1271"/>
                </a:lnTo>
                <a:lnTo>
                  <a:pt x="1394" y="1244"/>
                </a:lnTo>
                <a:lnTo>
                  <a:pt x="1482" y="1219"/>
                </a:lnTo>
                <a:lnTo>
                  <a:pt x="1572" y="1195"/>
                </a:lnTo>
                <a:lnTo>
                  <a:pt x="1662" y="1170"/>
                </a:lnTo>
                <a:lnTo>
                  <a:pt x="1753" y="1148"/>
                </a:lnTo>
                <a:lnTo>
                  <a:pt x="1846" y="1125"/>
                </a:lnTo>
                <a:lnTo>
                  <a:pt x="1939" y="1104"/>
                </a:lnTo>
                <a:lnTo>
                  <a:pt x="2033" y="1084"/>
                </a:lnTo>
                <a:lnTo>
                  <a:pt x="2128" y="1063"/>
                </a:lnTo>
                <a:lnTo>
                  <a:pt x="2224" y="1045"/>
                </a:lnTo>
                <a:lnTo>
                  <a:pt x="2321" y="1027"/>
                </a:lnTo>
                <a:lnTo>
                  <a:pt x="2418" y="1010"/>
                </a:lnTo>
                <a:lnTo>
                  <a:pt x="2517" y="994"/>
                </a:lnTo>
                <a:lnTo>
                  <a:pt x="2588" y="983"/>
                </a:lnTo>
                <a:lnTo>
                  <a:pt x="2659" y="973"/>
                </a:lnTo>
                <a:lnTo>
                  <a:pt x="2731" y="963"/>
                </a:lnTo>
                <a:lnTo>
                  <a:pt x="2803" y="953"/>
                </a:lnTo>
                <a:lnTo>
                  <a:pt x="2874" y="944"/>
                </a:lnTo>
                <a:lnTo>
                  <a:pt x="2946" y="936"/>
                </a:lnTo>
                <a:lnTo>
                  <a:pt x="3020" y="928"/>
                </a:lnTo>
                <a:lnTo>
                  <a:pt x="3092" y="921"/>
                </a:lnTo>
                <a:lnTo>
                  <a:pt x="3092" y="395"/>
                </a:lnTo>
                <a:lnTo>
                  <a:pt x="2888" y="395"/>
                </a:lnTo>
                <a:lnTo>
                  <a:pt x="2869" y="394"/>
                </a:lnTo>
                <a:lnTo>
                  <a:pt x="2849" y="391"/>
                </a:lnTo>
                <a:lnTo>
                  <a:pt x="2830" y="387"/>
                </a:lnTo>
                <a:lnTo>
                  <a:pt x="2812" y="380"/>
                </a:lnTo>
                <a:lnTo>
                  <a:pt x="2795" y="371"/>
                </a:lnTo>
                <a:lnTo>
                  <a:pt x="2778" y="361"/>
                </a:lnTo>
                <a:lnTo>
                  <a:pt x="2763" y="350"/>
                </a:lnTo>
                <a:lnTo>
                  <a:pt x="2749" y="337"/>
                </a:lnTo>
                <a:lnTo>
                  <a:pt x="2737" y="324"/>
                </a:lnTo>
                <a:lnTo>
                  <a:pt x="2725" y="308"/>
                </a:lnTo>
                <a:lnTo>
                  <a:pt x="2715" y="292"/>
                </a:lnTo>
                <a:lnTo>
                  <a:pt x="2707" y="275"/>
                </a:lnTo>
                <a:lnTo>
                  <a:pt x="2700" y="256"/>
                </a:lnTo>
                <a:lnTo>
                  <a:pt x="2695" y="237"/>
                </a:lnTo>
                <a:lnTo>
                  <a:pt x="2692" y="218"/>
                </a:lnTo>
                <a:lnTo>
                  <a:pt x="2691" y="197"/>
                </a:lnTo>
                <a:lnTo>
                  <a:pt x="2692" y="177"/>
                </a:lnTo>
                <a:lnTo>
                  <a:pt x="2695" y="158"/>
                </a:lnTo>
                <a:lnTo>
                  <a:pt x="2700" y="138"/>
                </a:lnTo>
                <a:lnTo>
                  <a:pt x="2707" y="121"/>
                </a:lnTo>
                <a:lnTo>
                  <a:pt x="2715" y="104"/>
                </a:lnTo>
                <a:lnTo>
                  <a:pt x="2725" y="88"/>
                </a:lnTo>
                <a:lnTo>
                  <a:pt x="2737" y="72"/>
                </a:lnTo>
                <a:lnTo>
                  <a:pt x="2749" y="58"/>
                </a:lnTo>
                <a:lnTo>
                  <a:pt x="2763" y="45"/>
                </a:lnTo>
                <a:lnTo>
                  <a:pt x="2778" y="34"/>
                </a:lnTo>
                <a:lnTo>
                  <a:pt x="2795" y="23"/>
                </a:lnTo>
                <a:lnTo>
                  <a:pt x="2812" y="15"/>
                </a:lnTo>
                <a:lnTo>
                  <a:pt x="2830" y="9"/>
                </a:lnTo>
                <a:lnTo>
                  <a:pt x="2849" y="4"/>
                </a:lnTo>
                <a:lnTo>
                  <a:pt x="2869" y="1"/>
                </a:lnTo>
                <a:lnTo>
                  <a:pt x="2888" y="0"/>
                </a:lnTo>
                <a:lnTo>
                  <a:pt x="5333" y="0"/>
                </a:lnTo>
                <a:lnTo>
                  <a:pt x="5353" y="1"/>
                </a:lnTo>
                <a:lnTo>
                  <a:pt x="5373" y="4"/>
                </a:lnTo>
                <a:lnTo>
                  <a:pt x="5392" y="9"/>
                </a:lnTo>
                <a:lnTo>
                  <a:pt x="5409" y="15"/>
                </a:lnTo>
                <a:lnTo>
                  <a:pt x="5427" y="23"/>
                </a:lnTo>
                <a:lnTo>
                  <a:pt x="5443" y="34"/>
                </a:lnTo>
                <a:lnTo>
                  <a:pt x="5458" y="45"/>
                </a:lnTo>
                <a:lnTo>
                  <a:pt x="5472" y="58"/>
                </a:lnTo>
                <a:lnTo>
                  <a:pt x="5486" y="72"/>
                </a:lnTo>
                <a:lnTo>
                  <a:pt x="5497" y="88"/>
                </a:lnTo>
                <a:lnTo>
                  <a:pt x="5507" y="104"/>
                </a:lnTo>
                <a:lnTo>
                  <a:pt x="5515" y="121"/>
                </a:lnTo>
                <a:lnTo>
                  <a:pt x="5521" y="138"/>
                </a:lnTo>
                <a:lnTo>
                  <a:pt x="5526" y="158"/>
                </a:lnTo>
                <a:lnTo>
                  <a:pt x="5529" y="177"/>
                </a:lnTo>
                <a:lnTo>
                  <a:pt x="5530" y="197"/>
                </a:lnTo>
                <a:lnTo>
                  <a:pt x="5529" y="218"/>
                </a:lnTo>
                <a:lnTo>
                  <a:pt x="5526" y="237"/>
                </a:lnTo>
                <a:lnTo>
                  <a:pt x="5521" y="256"/>
                </a:lnTo>
                <a:lnTo>
                  <a:pt x="5515" y="275"/>
                </a:lnTo>
                <a:lnTo>
                  <a:pt x="5507" y="292"/>
                </a:lnTo>
                <a:lnTo>
                  <a:pt x="5497" y="308"/>
                </a:lnTo>
                <a:lnTo>
                  <a:pt x="5486" y="324"/>
                </a:lnTo>
                <a:lnTo>
                  <a:pt x="5472" y="337"/>
                </a:lnTo>
                <a:lnTo>
                  <a:pt x="5458" y="350"/>
                </a:lnTo>
                <a:lnTo>
                  <a:pt x="5443" y="361"/>
                </a:lnTo>
                <a:lnTo>
                  <a:pt x="5427" y="371"/>
                </a:lnTo>
                <a:lnTo>
                  <a:pt x="5409" y="380"/>
                </a:lnTo>
                <a:lnTo>
                  <a:pt x="5392" y="387"/>
                </a:lnTo>
                <a:lnTo>
                  <a:pt x="5373" y="391"/>
                </a:lnTo>
                <a:lnTo>
                  <a:pt x="5353" y="394"/>
                </a:lnTo>
                <a:lnTo>
                  <a:pt x="5333" y="395"/>
                </a:lnTo>
                <a:lnTo>
                  <a:pt x="5130" y="395"/>
                </a:lnTo>
                <a:lnTo>
                  <a:pt x="5130" y="921"/>
                </a:lnTo>
                <a:lnTo>
                  <a:pt x="5202" y="928"/>
                </a:lnTo>
                <a:lnTo>
                  <a:pt x="5275" y="936"/>
                </a:lnTo>
                <a:lnTo>
                  <a:pt x="5347" y="944"/>
                </a:lnTo>
                <a:lnTo>
                  <a:pt x="5420" y="953"/>
                </a:lnTo>
                <a:lnTo>
                  <a:pt x="5491" y="963"/>
                </a:lnTo>
                <a:lnTo>
                  <a:pt x="5563" y="973"/>
                </a:lnTo>
                <a:lnTo>
                  <a:pt x="5634" y="983"/>
                </a:lnTo>
                <a:lnTo>
                  <a:pt x="5704" y="994"/>
                </a:lnTo>
                <a:lnTo>
                  <a:pt x="5801" y="1009"/>
                </a:lnTo>
                <a:lnTo>
                  <a:pt x="5897" y="1027"/>
                </a:lnTo>
                <a:lnTo>
                  <a:pt x="5991" y="1044"/>
                </a:lnTo>
                <a:lnTo>
                  <a:pt x="6086" y="1062"/>
                </a:lnTo>
                <a:lnTo>
                  <a:pt x="6179" y="1081"/>
                </a:lnTo>
                <a:lnTo>
                  <a:pt x="6271" y="1101"/>
                </a:lnTo>
                <a:lnTo>
                  <a:pt x="6362" y="1122"/>
                </a:lnTo>
                <a:lnTo>
                  <a:pt x="6452" y="1144"/>
                </a:lnTo>
                <a:lnTo>
                  <a:pt x="6542" y="1166"/>
                </a:lnTo>
                <a:lnTo>
                  <a:pt x="6630" y="1189"/>
                </a:lnTo>
                <a:lnTo>
                  <a:pt x="6719" y="1213"/>
                </a:lnTo>
                <a:lnTo>
                  <a:pt x="6805" y="1238"/>
                </a:lnTo>
                <a:lnTo>
                  <a:pt x="6891" y="1264"/>
                </a:lnTo>
                <a:lnTo>
                  <a:pt x="6975" y="1290"/>
                </a:lnTo>
                <a:lnTo>
                  <a:pt x="7059" y="1317"/>
                </a:lnTo>
                <a:lnTo>
                  <a:pt x="7141" y="1345"/>
                </a:lnTo>
                <a:lnTo>
                  <a:pt x="7157" y="1349"/>
                </a:lnTo>
                <a:lnTo>
                  <a:pt x="7172" y="1354"/>
                </a:lnTo>
                <a:lnTo>
                  <a:pt x="7188" y="1360"/>
                </a:lnTo>
                <a:lnTo>
                  <a:pt x="7203" y="1367"/>
                </a:lnTo>
                <a:lnTo>
                  <a:pt x="7217" y="1374"/>
                </a:lnTo>
                <a:lnTo>
                  <a:pt x="7232" y="1381"/>
                </a:lnTo>
                <a:lnTo>
                  <a:pt x="7246" y="1389"/>
                </a:lnTo>
                <a:lnTo>
                  <a:pt x="7259" y="1398"/>
                </a:lnTo>
                <a:lnTo>
                  <a:pt x="7272" y="1407"/>
                </a:lnTo>
                <a:lnTo>
                  <a:pt x="7284" y="1416"/>
                </a:lnTo>
                <a:lnTo>
                  <a:pt x="7298" y="1427"/>
                </a:lnTo>
                <a:lnTo>
                  <a:pt x="7309" y="1437"/>
                </a:lnTo>
                <a:lnTo>
                  <a:pt x="7321" y="1448"/>
                </a:lnTo>
                <a:lnTo>
                  <a:pt x="7331" y="1460"/>
                </a:lnTo>
                <a:lnTo>
                  <a:pt x="7342" y="1471"/>
                </a:lnTo>
                <a:lnTo>
                  <a:pt x="7353" y="1484"/>
                </a:lnTo>
                <a:lnTo>
                  <a:pt x="7362" y="1497"/>
                </a:lnTo>
                <a:lnTo>
                  <a:pt x="7371" y="1510"/>
                </a:lnTo>
                <a:lnTo>
                  <a:pt x="7379" y="1523"/>
                </a:lnTo>
                <a:lnTo>
                  <a:pt x="7387" y="1537"/>
                </a:lnTo>
                <a:lnTo>
                  <a:pt x="7395" y="1552"/>
                </a:lnTo>
                <a:lnTo>
                  <a:pt x="7401" y="1566"/>
                </a:lnTo>
                <a:lnTo>
                  <a:pt x="7409" y="1581"/>
                </a:lnTo>
                <a:lnTo>
                  <a:pt x="7414" y="1596"/>
                </a:lnTo>
                <a:lnTo>
                  <a:pt x="7419" y="1612"/>
                </a:lnTo>
                <a:lnTo>
                  <a:pt x="7424" y="1628"/>
                </a:lnTo>
                <a:lnTo>
                  <a:pt x="7427" y="1643"/>
                </a:lnTo>
                <a:lnTo>
                  <a:pt x="7430" y="1660"/>
                </a:lnTo>
                <a:lnTo>
                  <a:pt x="7433" y="1677"/>
                </a:lnTo>
                <a:lnTo>
                  <a:pt x="7435" y="1693"/>
                </a:lnTo>
                <a:lnTo>
                  <a:pt x="7436" y="1710"/>
                </a:lnTo>
                <a:lnTo>
                  <a:pt x="7436" y="1727"/>
                </a:lnTo>
                <a:lnTo>
                  <a:pt x="7436" y="6156"/>
                </a:lnTo>
                <a:lnTo>
                  <a:pt x="7436" y="10132"/>
                </a:lnTo>
                <a:lnTo>
                  <a:pt x="7436" y="14561"/>
                </a:lnTo>
                <a:lnTo>
                  <a:pt x="7435" y="14561"/>
                </a:lnTo>
                <a:lnTo>
                  <a:pt x="7435" y="14577"/>
                </a:lnTo>
                <a:lnTo>
                  <a:pt x="7434" y="14592"/>
                </a:lnTo>
                <a:lnTo>
                  <a:pt x="7432" y="14607"/>
                </a:lnTo>
                <a:lnTo>
                  <a:pt x="7430" y="14622"/>
                </a:lnTo>
                <a:lnTo>
                  <a:pt x="7428" y="14637"/>
                </a:lnTo>
                <a:lnTo>
                  <a:pt x="7425" y="14652"/>
                </a:lnTo>
                <a:lnTo>
                  <a:pt x="7421" y="14666"/>
                </a:lnTo>
                <a:lnTo>
                  <a:pt x="7417" y="14680"/>
                </a:lnTo>
                <a:lnTo>
                  <a:pt x="7412" y="14695"/>
                </a:lnTo>
                <a:lnTo>
                  <a:pt x="7406" y="14709"/>
                </a:lnTo>
                <a:lnTo>
                  <a:pt x="7400" y="14723"/>
                </a:lnTo>
                <a:lnTo>
                  <a:pt x="7394" y="14736"/>
                </a:lnTo>
                <a:lnTo>
                  <a:pt x="7387" y="14750"/>
                </a:lnTo>
                <a:lnTo>
                  <a:pt x="7380" y="14763"/>
                </a:lnTo>
                <a:lnTo>
                  <a:pt x="7372" y="14775"/>
                </a:lnTo>
                <a:lnTo>
                  <a:pt x="7364" y="14787"/>
                </a:lnTo>
                <a:lnTo>
                  <a:pt x="7355" y="14800"/>
                </a:lnTo>
                <a:lnTo>
                  <a:pt x="7345" y="14812"/>
                </a:lnTo>
                <a:lnTo>
                  <a:pt x="7336" y="14823"/>
                </a:lnTo>
                <a:lnTo>
                  <a:pt x="7326" y="14834"/>
                </a:lnTo>
                <a:lnTo>
                  <a:pt x="7315" y="14845"/>
                </a:lnTo>
                <a:lnTo>
                  <a:pt x="7304" y="14856"/>
                </a:lnTo>
                <a:lnTo>
                  <a:pt x="7293" y="14866"/>
                </a:lnTo>
                <a:lnTo>
                  <a:pt x="7280" y="14875"/>
                </a:lnTo>
                <a:lnTo>
                  <a:pt x="7268" y="14884"/>
                </a:lnTo>
                <a:lnTo>
                  <a:pt x="7255" y="14892"/>
                </a:lnTo>
                <a:lnTo>
                  <a:pt x="7242" y="14900"/>
                </a:lnTo>
                <a:lnTo>
                  <a:pt x="7228" y="14908"/>
                </a:lnTo>
                <a:lnTo>
                  <a:pt x="7214" y="14916"/>
                </a:lnTo>
                <a:lnTo>
                  <a:pt x="7200" y="14923"/>
                </a:lnTo>
                <a:lnTo>
                  <a:pt x="7186" y="14929"/>
                </a:lnTo>
                <a:lnTo>
                  <a:pt x="7170" y="14934"/>
                </a:lnTo>
                <a:lnTo>
                  <a:pt x="7086" y="14962"/>
                </a:lnTo>
                <a:lnTo>
                  <a:pt x="7002" y="14991"/>
                </a:lnTo>
                <a:lnTo>
                  <a:pt x="6915" y="15018"/>
                </a:lnTo>
                <a:lnTo>
                  <a:pt x="6828" y="15044"/>
                </a:lnTo>
                <a:lnTo>
                  <a:pt x="6739" y="15070"/>
                </a:lnTo>
                <a:lnTo>
                  <a:pt x="6651" y="15095"/>
                </a:lnTo>
                <a:lnTo>
                  <a:pt x="6560" y="15119"/>
                </a:lnTo>
                <a:lnTo>
                  <a:pt x="6468" y="15141"/>
                </a:lnTo>
                <a:lnTo>
                  <a:pt x="6376" y="15164"/>
                </a:lnTo>
                <a:lnTo>
                  <a:pt x="6283" y="15185"/>
                </a:lnTo>
                <a:lnTo>
                  <a:pt x="6189" y="15206"/>
                </a:lnTo>
                <a:lnTo>
                  <a:pt x="6094" y="15226"/>
                </a:lnTo>
                <a:lnTo>
                  <a:pt x="5997" y="15244"/>
                </a:lnTo>
                <a:lnTo>
                  <a:pt x="5901" y="15263"/>
                </a:lnTo>
                <a:lnTo>
                  <a:pt x="5803" y="15279"/>
                </a:lnTo>
                <a:lnTo>
                  <a:pt x="5704" y="15295"/>
                </a:lnTo>
                <a:lnTo>
                  <a:pt x="5634" y="15306"/>
                </a:lnTo>
                <a:lnTo>
                  <a:pt x="5563" y="15316"/>
                </a:lnTo>
                <a:lnTo>
                  <a:pt x="5492" y="15327"/>
                </a:lnTo>
                <a:lnTo>
                  <a:pt x="5420" y="15336"/>
                </a:lnTo>
                <a:lnTo>
                  <a:pt x="5347" y="15345"/>
                </a:lnTo>
                <a:lnTo>
                  <a:pt x="5275" y="15353"/>
                </a:lnTo>
                <a:lnTo>
                  <a:pt x="5203" y="15361"/>
                </a:lnTo>
                <a:lnTo>
                  <a:pt x="5130" y="15368"/>
                </a:lnTo>
                <a:close/>
                <a:moveTo>
                  <a:pt x="785" y="7442"/>
                </a:moveTo>
                <a:lnTo>
                  <a:pt x="395" y="7442"/>
                </a:lnTo>
                <a:lnTo>
                  <a:pt x="395" y="8847"/>
                </a:lnTo>
                <a:lnTo>
                  <a:pt x="785" y="8847"/>
                </a:lnTo>
                <a:lnTo>
                  <a:pt x="785" y="7442"/>
                </a:lnTo>
                <a:close/>
                <a:moveTo>
                  <a:pt x="4813" y="395"/>
                </a:moveTo>
                <a:lnTo>
                  <a:pt x="3408" y="395"/>
                </a:lnTo>
                <a:lnTo>
                  <a:pt x="3408" y="894"/>
                </a:lnTo>
                <a:lnTo>
                  <a:pt x="3496" y="888"/>
                </a:lnTo>
                <a:lnTo>
                  <a:pt x="3582" y="883"/>
                </a:lnTo>
                <a:lnTo>
                  <a:pt x="3670" y="879"/>
                </a:lnTo>
                <a:lnTo>
                  <a:pt x="3757" y="876"/>
                </a:lnTo>
                <a:lnTo>
                  <a:pt x="3846" y="874"/>
                </a:lnTo>
                <a:lnTo>
                  <a:pt x="3933" y="872"/>
                </a:lnTo>
                <a:lnTo>
                  <a:pt x="4022" y="871"/>
                </a:lnTo>
                <a:lnTo>
                  <a:pt x="4111" y="870"/>
                </a:lnTo>
                <a:lnTo>
                  <a:pt x="4200" y="871"/>
                </a:lnTo>
                <a:lnTo>
                  <a:pt x="4288" y="872"/>
                </a:lnTo>
                <a:lnTo>
                  <a:pt x="4376" y="874"/>
                </a:lnTo>
                <a:lnTo>
                  <a:pt x="4464" y="876"/>
                </a:lnTo>
                <a:lnTo>
                  <a:pt x="4552" y="879"/>
                </a:lnTo>
                <a:lnTo>
                  <a:pt x="4639" y="883"/>
                </a:lnTo>
                <a:lnTo>
                  <a:pt x="4727" y="888"/>
                </a:lnTo>
                <a:lnTo>
                  <a:pt x="4813" y="894"/>
                </a:lnTo>
                <a:lnTo>
                  <a:pt x="4813" y="39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75613" tIns="37806" rIns="75613" bIns="37806" numCol="1" anchor="t" anchorCtr="0" compatLnSpc="1">
            <a:prstTxWarp prst="textNoShape">
              <a:avLst/>
            </a:prstTxWarp>
          </a:bodyPr>
          <a:lstStyle/>
          <a:p>
            <a:endParaRPr lang="ru-RU" sz="1600" dirty="0"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60" name="Picture 13" descr="I:\Desktop\3248-200.png"/>
          <p:cNvPicPr>
            <a:picLocks noChangeAspect="1" noChangeArrowheads="1"/>
          </p:cNvPicPr>
          <p:nvPr/>
        </p:nvPicPr>
        <p:blipFill>
          <a:blip r:embed="rId11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8735" y="4285239"/>
            <a:ext cx="241923" cy="241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14" descr="I:\Desktop\untitled3.png"/>
          <p:cNvPicPr>
            <a:picLocks noChangeAspect="1" noChangeArrowheads="1"/>
          </p:cNvPicPr>
          <p:nvPr/>
        </p:nvPicPr>
        <p:blipFill>
          <a:blip r:embed="rId1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7859" y="4635764"/>
            <a:ext cx="174960" cy="1749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16" descr="I:\Desktop\untitled4.png"/>
          <p:cNvPicPr>
            <a:picLocks noChangeAspect="1" noChangeArrowheads="1"/>
          </p:cNvPicPr>
          <p:nvPr/>
        </p:nvPicPr>
        <p:blipFill>
          <a:blip r:embed="rId1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3560757" y="4981135"/>
            <a:ext cx="222062" cy="222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62" descr="C:\Users\Bobrov.SAN\Downloads\icons8-давление-80.png"/>
          <p:cNvPicPr>
            <a:picLocks noChangeAspect="1" noChangeArrowheads="1"/>
          </p:cNvPicPr>
          <p:nvPr/>
        </p:nvPicPr>
        <p:blipFill>
          <a:blip r:embed="rId1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3301" y="5275206"/>
            <a:ext cx="172938" cy="172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Прямоугольник 63"/>
          <p:cNvSpPr/>
          <p:nvPr/>
        </p:nvSpPr>
        <p:spPr>
          <a:xfrm>
            <a:off x="3881032" y="3835046"/>
            <a:ext cx="1846257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400" dirty="0">
                <a:latin typeface="Arial Narrow" panose="020B0606020202030204" pitchFamily="34" charset="0"/>
                <a:cs typeface="Arial" panose="020B0604020202020204" pitchFamily="34" charset="0"/>
              </a:rPr>
              <a:t>реакторы и колонны</a:t>
            </a:r>
          </a:p>
          <a:p>
            <a:pPr>
              <a:lnSpc>
                <a:spcPct val="150000"/>
              </a:lnSpc>
            </a:pPr>
            <a:r>
              <a:rPr lang="ru-RU" sz="1400" dirty="0">
                <a:latin typeface="Arial Narrow" panose="020B0606020202030204" pitchFamily="34" charset="0"/>
                <a:cs typeface="Arial" panose="020B0604020202020204" pitchFamily="34" charset="0"/>
              </a:rPr>
              <a:t>печи</a:t>
            </a:r>
          </a:p>
          <a:p>
            <a:pPr>
              <a:lnSpc>
                <a:spcPct val="150000"/>
              </a:lnSpc>
            </a:pPr>
            <a:r>
              <a:rPr lang="ru-RU" sz="1400" dirty="0">
                <a:latin typeface="Arial Narrow" panose="020B0606020202030204" pitchFamily="34" charset="0"/>
                <a:cs typeface="Arial" panose="020B0604020202020204" pitchFamily="34" charset="0"/>
              </a:rPr>
              <a:t>насосы </a:t>
            </a:r>
            <a:r>
              <a:rPr lang="ru-RU" sz="1400" dirty="0" smtClean="0">
                <a:latin typeface="Arial Narrow" panose="020B0606020202030204" pitchFamily="34" charset="0"/>
                <a:cs typeface="Arial" panose="020B0604020202020204" pitchFamily="34" charset="0"/>
              </a:rPr>
              <a:t>и</a:t>
            </a:r>
            <a:r>
              <a:rPr lang="en-US" sz="1400" dirty="0" smtClean="0"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sz="1400" dirty="0" smtClean="0">
                <a:latin typeface="Arial Narrow" panose="020B0606020202030204" pitchFamily="34" charset="0"/>
                <a:cs typeface="Arial" panose="020B0604020202020204" pitchFamily="34" charset="0"/>
              </a:rPr>
              <a:t>компрессоры</a:t>
            </a:r>
            <a:endParaRPr lang="ru-RU" sz="1400" dirty="0"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ru-RU" sz="1400" dirty="0">
                <a:latin typeface="Arial Narrow" panose="020B0606020202030204" pitchFamily="34" charset="0"/>
                <a:cs typeface="Arial" panose="020B0604020202020204" pitchFamily="34" charset="0"/>
              </a:rPr>
              <a:t>теплообменники</a:t>
            </a:r>
          </a:p>
          <a:p>
            <a:pPr>
              <a:lnSpc>
                <a:spcPct val="150000"/>
              </a:lnSpc>
            </a:pPr>
            <a:r>
              <a:rPr lang="ru-RU" sz="1400" dirty="0">
                <a:latin typeface="Arial Narrow" panose="020B0606020202030204" pitchFamily="34" charset="0"/>
                <a:cs typeface="Arial" panose="020B0604020202020204" pitchFamily="34" charset="0"/>
              </a:rPr>
              <a:t>КИП и автоматика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3465597" y="1947807"/>
            <a:ext cx="1596912" cy="307777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lvl="0">
              <a:spcAft>
                <a:spcPts val="600"/>
              </a:spcAft>
            </a:pPr>
            <a:r>
              <a:rPr lang="ru-RU" sz="1400" b="1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БАЗОВЫЙ ПРОЕКТ</a:t>
            </a:r>
            <a:endParaRPr lang="ru-RU" sz="1400" b="1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66" name="Прямоугольник 65"/>
          <p:cNvSpPr/>
          <p:nvPr/>
        </p:nvSpPr>
        <p:spPr>
          <a:xfrm>
            <a:off x="3653311" y="5383270"/>
            <a:ext cx="1743538" cy="334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200" b="1" dirty="0">
                <a:latin typeface="Arial Narrow" panose="020B0606020202030204" pitchFamily="34" charset="0"/>
                <a:cs typeface="Arial" panose="020B0604020202020204" pitchFamily="34" charset="0"/>
              </a:rPr>
              <a:t>…</a:t>
            </a:r>
            <a:endParaRPr lang="ru-RU" sz="1200" b="1" dirty="0"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>
            <a:off x="5976156" y="1947807"/>
            <a:ext cx="0" cy="4517515"/>
          </a:xfrm>
          <a:prstGeom prst="line">
            <a:avLst/>
          </a:prstGeom>
          <a:ln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Прямая соединительная линия 72"/>
          <p:cNvCxnSpPr/>
          <p:nvPr/>
        </p:nvCxnSpPr>
        <p:spPr>
          <a:xfrm>
            <a:off x="3379803" y="1837760"/>
            <a:ext cx="0" cy="4517515"/>
          </a:xfrm>
          <a:prstGeom prst="line">
            <a:avLst/>
          </a:prstGeom>
          <a:ln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>
            <a:off x="6456543" y="1883728"/>
            <a:ext cx="0" cy="4517515"/>
          </a:xfrm>
          <a:prstGeom prst="line">
            <a:avLst/>
          </a:prstGeom>
          <a:ln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Прямая соединительная линия 74"/>
          <p:cNvCxnSpPr/>
          <p:nvPr/>
        </p:nvCxnSpPr>
        <p:spPr>
          <a:xfrm>
            <a:off x="8820150" y="1864871"/>
            <a:ext cx="1" cy="3537267"/>
          </a:xfrm>
          <a:prstGeom prst="line">
            <a:avLst/>
          </a:prstGeom>
          <a:ln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Прямоугольник 75"/>
          <p:cNvSpPr/>
          <p:nvPr/>
        </p:nvSpPr>
        <p:spPr>
          <a:xfrm>
            <a:off x="6742773" y="2006401"/>
            <a:ext cx="1543078" cy="66172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ЕНДОР  — ЛИСТ</a:t>
            </a:r>
          </a:p>
          <a:p>
            <a:pPr lvl="0" algn="ctr"/>
            <a:r>
              <a:rPr lang="ru-RU" sz="900" i="1" dirty="0" smtClean="0">
                <a:latin typeface="Arial Narrow" panose="020B0606020202030204" pitchFamily="34" charset="0"/>
                <a:cs typeface="Arial" panose="020B0604020202020204" pitchFamily="34" charset="0"/>
              </a:rPr>
              <a:t>Аккредитованные</a:t>
            </a:r>
          </a:p>
          <a:p>
            <a:pPr lvl="0" algn="ctr">
              <a:spcAft>
                <a:spcPts val="600"/>
              </a:spcAft>
            </a:pPr>
            <a:r>
              <a:rPr lang="ru-RU" sz="900" i="1" dirty="0" smtClean="0">
                <a:latin typeface="Arial Narrow" panose="020B0606020202030204" pitchFamily="34" charset="0"/>
                <a:cs typeface="Arial" panose="020B0604020202020204" pitchFamily="34" charset="0"/>
              </a:rPr>
              <a:t>поставщики</a:t>
            </a:r>
            <a:endParaRPr lang="ru-RU" sz="1100" b="1" i="1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77" name="Picture 8"/>
          <p:cNvPicPr>
            <a:picLocks noChangeAspect="1"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52939" y="2886381"/>
            <a:ext cx="709264" cy="428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8" name="TextBox 22"/>
          <p:cNvSpPr txBox="1"/>
          <p:nvPr/>
        </p:nvSpPr>
        <p:spPr>
          <a:xfrm>
            <a:off x="6696423" y="3680820"/>
            <a:ext cx="1773990" cy="92333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600"/>
              </a:spcBef>
            </a:pPr>
            <a:r>
              <a:rPr lang="ru-RU" dirty="0" smtClean="0">
                <a:solidFill>
                  <a:srgbClr val="C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реобладание иностранных продуктов</a:t>
            </a:r>
          </a:p>
        </p:txBody>
      </p:sp>
      <p:pic>
        <p:nvPicPr>
          <p:cNvPr id="79" name="United_States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0578" y="2886381"/>
            <a:ext cx="643404" cy="428949"/>
          </a:xfrm>
          <a:prstGeom prst="rect">
            <a:avLst/>
          </a:prstGeom>
          <a:solidFill>
            <a:schemeClr val="bg1"/>
          </a:solidFill>
          <a:ln w="88900" cap="sq">
            <a:noFill/>
            <a:miter lim="800000"/>
          </a:ln>
          <a:effectLst/>
        </p:spPr>
      </p:pic>
      <p:sp>
        <p:nvSpPr>
          <p:cNvPr id="41" name="TextBox 40"/>
          <p:cNvSpPr txBox="1"/>
          <p:nvPr/>
        </p:nvSpPr>
        <p:spPr>
          <a:xfrm>
            <a:off x="1191794" y="5893435"/>
            <a:ext cx="7283152" cy="45140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lnSpc>
                <a:spcPts val="1400"/>
              </a:lnSpc>
              <a:spcBef>
                <a:spcPts val="600"/>
              </a:spcBef>
              <a:tabLst>
                <a:tab pos="182563" algn="l"/>
              </a:tabLst>
            </a:pPr>
            <a:r>
              <a:rPr lang="ru-RU" sz="1400" b="1" dirty="0">
                <a:solidFill>
                  <a:schemeClr val="accent2">
                    <a:lumMod val="75000"/>
                  </a:schemeClr>
                </a:solidFill>
                <a:latin typeface="Arial Narrow" panose="020B0606020202030204" pitchFamily="34" charset="0"/>
              </a:rPr>
              <a:t>Иностранные лицензиары и </a:t>
            </a:r>
            <a:r>
              <a:rPr lang="en-US" sz="1400" b="1" dirty="0">
                <a:solidFill>
                  <a:schemeClr val="accent2">
                    <a:lumMod val="75000"/>
                  </a:schemeClr>
                </a:solidFill>
                <a:latin typeface="Arial Narrow" panose="020B0606020202030204" pitchFamily="34" charset="0"/>
              </a:rPr>
              <a:t>EPC-</a:t>
            </a:r>
            <a:r>
              <a:rPr lang="ru-RU" sz="1400" b="1" dirty="0" smtClean="0">
                <a:solidFill>
                  <a:schemeClr val="accent2">
                    <a:lumMod val="75000"/>
                  </a:schemeClr>
                </a:solidFill>
                <a:latin typeface="Arial Narrow" panose="020B0606020202030204" pitchFamily="34" charset="0"/>
              </a:rPr>
              <a:t>подрядчики, для сохранения гарантии, используют </a:t>
            </a:r>
            <a:r>
              <a:rPr lang="ru-RU" sz="1400" b="1" dirty="0" smtClean="0">
                <a:solidFill>
                  <a:schemeClr val="accent2">
                    <a:lumMod val="75000"/>
                  </a:schemeClr>
                </a:solidFill>
                <a:latin typeface="Arial Narrow" panose="020B0606020202030204" pitchFamily="34" charset="0"/>
              </a:rPr>
              <a:t>продукцию своих производителей</a:t>
            </a:r>
            <a:endParaRPr lang="ru-RU" sz="1400" b="1" dirty="0">
              <a:solidFill>
                <a:schemeClr val="accent2">
                  <a:lumMod val="75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42" name="Shape 2558"/>
          <p:cNvSpPr/>
          <p:nvPr/>
        </p:nvSpPr>
        <p:spPr>
          <a:xfrm>
            <a:off x="441068" y="5769360"/>
            <a:ext cx="539960" cy="53996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1782" y="5891"/>
                </a:moveTo>
                <a:lnTo>
                  <a:pt x="9818" y="5891"/>
                </a:lnTo>
                <a:cubicBezTo>
                  <a:pt x="9547" y="5891"/>
                  <a:pt x="9327" y="6111"/>
                  <a:pt x="9327" y="6382"/>
                </a:cubicBezTo>
                <a:cubicBezTo>
                  <a:pt x="9327" y="6394"/>
                  <a:pt x="9334" y="6405"/>
                  <a:pt x="9334" y="6417"/>
                </a:cubicBezTo>
                <a:lnTo>
                  <a:pt x="9328" y="6417"/>
                </a:lnTo>
                <a:lnTo>
                  <a:pt x="9819" y="12308"/>
                </a:lnTo>
                <a:lnTo>
                  <a:pt x="9825" y="12307"/>
                </a:lnTo>
                <a:cubicBezTo>
                  <a:pt x="9844" y="12562"/>
                  <a:pt x="10050" y="12764"/>
                  <a:pt x="10309" y="12764"/>
                </a:cubicBezTo>
                <a:lnTo>
                  <a:pt x="11291" y="12764"/>
                </a:lnTo>
                <a:cubicBezTo>
                  <a:pt x="11550" y="12764"/>
                  <a:pt x="11756" y="12562"/>
                  <a:pt x="11775" y="12307"/>
                </a:cubicBezTo>
                <a:lnTo>
                  <a:pt x="11781" y="12308"/>
                </a:lnTo>
                <a:lnTo>
                  <a:pt x="12272" y="6417"/>
                </a:lnTo>
                <a:lnTo>
                  <a:pt x="12266" y="6417"/>
                </a:lnTo>
                <a:cubicBezTo>
                  <a:pt x="12267" y="6405"/>
                  <a:pt x="12273" y="6394"/>
                  <a:pt x="12273" y="6382"/>
                </a:cubicBezTo>
                <a:cubicBezTo>
                  <a:pt x="12273" y="6111"/>
                  <a:pt x="12053" y="5891"/>
                  <a:pt x="11782" y="5891"/>
                </a:cubicBezTo>
                <a:moveTo>
                  <a:pt x="10800" y="13745"/>
                </a:moveTo>
                <a:cubicBezTo>
                  <a:pt x="10258" y="13745"/>
                  <a:pt x="9818" y="14186"/>
                  <a:pt x="9818" y="14727"/>
                </a:cubicBezTo>
                <a:cubicBezTo>
                  <a:pt x="9818" y="15269"/>
                  <a:pt x="10258" y="15709"/>
                  <a:pt x="10800" y="15709"/>
                </a:cubicBezTo>
                <a:cubicBezTo>
                  <a:pt x="11342" y="15709"/>
                  <a:pt x="11782" y="15269"/>
                  <a:pt x="11782" y="14727"/>
                </a:cubicBezTo>
                <a:cubicBezTo>
                  <a:pt x="11782" y="14186"/>
                  <a:pt x="11342" y="13745"/>
                  <a:pt x="10800" y="13745"/>
                </a:cubicBezTo>
              </a:path>
            </a:pathLst>
          </a:custGeom>
          <a:solidFill>
            <a:schemeClr val="accent2">
              <a:lumMod val="75000"/>
            </a:schemeClr>
          </a:solidFill>
          <a:ln w="12700">
            <a:miter lim="400000"/>
          </a:ln>
        </p:spPr>
        <p:txBody>
          <a:bodyPr lIns="19045" tIns="19045" rIns="19045" bIns="19045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 dirty="0">
              <a:latin typeface="Source Sans Pro Light" charset="0"/>
              <a:ea typeface="Source Sans Pro Light" charset="0"/>
              <a:cs typeface="Source Sans Pro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53223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15714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 dirty="0" smtClean="0">
              <a:solidFill>
                <a:schemeClr val="tx1"/>
              </a:solidFill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latin typeface="Arial Narrow" panose="020B0606020202030204" pitchFamily="34" charset="0"/>
              </a:rPr>
              <a:t>Оборудование</a:t>
            </a:r>
            <a:endParaRPr lang="ru-RU" dirty="0">
              <a:latin typeface="Arial Narrow" panose="020B0606020202030204" pitchFamily="34" charset="0"/>
            </a:endParaRPr>
          </a:p>
        </p:txBody>
      </p:sp>
      <p:pic>
        <p:nvPicPr>
          <p:cNvPr id="1277" name="Picture 3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1082" b="100000" l="0" r="99339">
                        <a14:backgroundMark x1="47820" y1="94436" x2="47820" y2="94436"/>
                      </a14:backgroundRemoval>
                    </a14:imgEffect>
                    <a14:imgEffect>
                      <a14:saturation sat="66000"/>
                    </a14:imgEffect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38115" y="2312876"/>
            <a:ext cx="3837841" cy="32780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78" name="Прямоугольник 1277"/>
          <p:cNvSpPr/>
          <p:nvPr/>
        </p:nvSpPr>
        <p:spPr>
          <a:xfrm>
            <a:off x="287524" y="1310872"/>
            <a:ext cx="8568952" cy="648130"/>
          </a:xfrm>
          <a:prstGeom prst="rect">
            <a:avLst/>
          </a:prstGeom>
          <a:solidFill>
            <a:srgbClr val="2FB4E9">
              <a:lumMod val="75000"/>
            </a:srgbClr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1279" name="TextBox 1278"/>
          <p:cNvSpPr txBox="1"/>
          <p:nvPr/>
        </p:nvSpPr>
        <p:spPr>
          <a:xfrm>
            <a:off x="430911" y="1481048"/>
            <a:ext cx="4932548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ru-RU"/>
            </a:defPPr>
            <a:lvl1pPr>
              <a:spcBef>
                <a:spcPts val="600"/>
              </a:spcBef>
              <a:defRPr sz="1000" b="1">
                <a:solidFill>
                  <a:schemeClr val="tx2">
                    <a:lumMod val="75000"/>
                    <a:lumOff val="25000"/>
                  </a:schemeClr>
                </a:solidFill>
              </a:defRPr>
            </a:lvl1pPr>
          </a:lstStyle>
          <a:p>
            <a:pPr marL="85725"/>
            <a:r>
              <a:rPr lang="ru-RU" sz="1600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Требования </a:t>
            </a:r>
            <a:r>
              <a:rPr lang="ru-RU" sz="1600" dirty="0">
                <a:solidFill>
                  <a:srgbClr val="FFFFFF"/>
                </a:solidFill>
                <a:latin typeface="Arial Narrow" panose="020B0606020202030204" pitchFamily="34" charset="0"/>
              </a:rPr>
              <a:t>к изготовлению оборудования</a:t>
            </a:r>
          </a:p>
        </p:txBody>
      </p:sp>
      <p:pic>
        <p:nvPicPr>
          <p:cNvPr id="1280" name="Picture 47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7553" y="1304549"/>
            <a:ext cx="1188132" cy="673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81" name="Овал 1280"/>
          <p:cNvSpPr/>
          <p:nvPr/>
        </p:nvSpPr>
        <p:spPr>
          <a:xfrm>
            <a:off x="1130203" y="4344985"/>
            <a:ext cx="504056" cy="504056"/>
          </a:xfrm>
          <a:prstGeom prst="ellipse">
            <a:avLst/>
          </a:prstGeom>
          <a:solidFill>
            <a:srgbClr val="2FB4E9">
              <a:lumMod val="20000"/>
              <a:lumOff val="80000"/>
              <a:alpha val="35000"/>
            </a:srgbClr>
          </a:solidFill>
          <a:ln w="28575" cap="flat" cmpd="sng" algn="ctr">
            <a:solidFill>
              <a:srgbClr val="FFFFFF"/>
            </a:solidFill>
            <a:prstDash val="solid"/>
          </a:ln>
          <a:effectLst>
            <a:glow rad="38100">
              <a:srgbClr val="DADADA">
                <a:satMod val="175000"/>
                <a:alpha val="40000"/>
              </a:srgbClr>
            </a:glo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grpSp>
        <p:nvGrpSpPr>
          <p:cNvPr id="1282" name="Группа 1281"/>
          <p:cNvGrpSpPr/>
          <p:nvPr/>
        </p:nvGrpSpPr>
        <p:grpSpPr>
          <a:xfrm>
            <a:off x="4644008" y="3933056"/>
            <a:ext cx="4212000" cy="663957"/>
            <a:chOff x="4319972" y="3817206"/>
            <a:chExt cx="4212000" cy="663957"/>
          </a:xfrm>
        </p:grpSpPr>
        <p:sp>
          <p:nvSpPr>
            <p:cNvPr id="1283" name="Прямоугольник 1282"/>
            <p:cNvSpPr/>
            <p:nvPr/>
          </p:nvSpPr>
          <p:spPr>
            <a:xfrm>
              <a:off x="4319972" y="3861048"/>
              <a:ext cx="4212000" cy="620115"/>
            </a:xfrm>
            <a:prstGeom prst="rect">
              <a:avLst/>
            </a:prstGeom>
            <a:solidFill>
              <a:srgbClr val="D5F0FB">
                <a:alpha val="63922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1284" name="TextBox 1283"/>
            <p:cNvSpPr txBox="1"/>
            <p:nvPr/>
          </p:nvSpPr>
          <p:spPr>
            <a:xfrm>
              <a:off x="7092407" y="3983142"/>
              <a:ext cx="130763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ru-RU"/>
              </a:defPPr>
              <a:lvl1pPr lvl="0">
                <a:defRPr sz="1400">
                  <a:solidFill>
                    <a:srgbClr val="000000">
                      <a:lumMod val="65000"/>
                      <a:lumOff val="35000"/>
                    </a:srgbClr>
                  </a:solidFill>
                </a:defRPr>
              </a:lvl1pPr>
            </a:lstStyle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FB4E9">
                      <a:lumMod val="75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API-610</a:t>
              </a:r>
              <a:endPara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2FB4E9">
                    <a:lumMod val="75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1285" name="Прямоугольник 1284"/>
            <p:cNvSpPr/>
            <p:nvPr/>
          </p:nvSpPr>
          <p:spPr>
            <a:xfrm>
              <a:off x="4464899" y="3817206"/>
              <a:ext cx="2286000" cy="646331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Насосное оборудование</a:t>
              </a:r>
            </a:p>
          </p:txBody>
        </p:sp>
      </p:grpSp>
      <p:sp>
        <p:nvSpPr>
          <p:cNvPr id="1286" name="Овал 1285"/>
          <p:cNvSpPr/>
          <p:nvPr/>
        </p:nvSpPr>
        <p:spPr>
          <a:xfrm>
            <a:off x="2443720" y="3973936"/>
            <a:ext cx="504056" cy="504056"/>
          </a:xfrm>
          <a:prstGeom prst="ellipse">
            <a:avLst/>
          </a:prstGeom>
          <a:solidFill>
            <a:srgbClr val="2FB4E9">
              <a:lumMod val="20000"/>
              <a:lumOff val="80000"/>
              <a:alpha val="35000"/>
            </a:srgbClr>
          </a:solidFill>
          <a:ln w="28575" cap="flat" cmpd="sng" algn="ctr">
            <a:solidFill>
              <a:srgbClr val="FFFFFF"/>
            </a:solidFill>
            <a:prstDash val="solid"/>
          </a:ln>
          <a:effectLst>
            <a:glow rad="38100">
              <a:srgbClr val="DADADA">
                <a:satMod val="175000"/>
                <a:alpha val="40000"/>
              </a:srgbClr>
            </a:glo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1287" name="Соединительная линия уступом 1286"/>
          <p:cNvCxnSpPr>
            <a:stCxn id="1286" idx="6"/>
            <a:endCxn id="1283" idx="1"/>
          </p:cNvCxnSpPr>
          <p:nvPr/>
        </p:nvCxnSpPr>
        <p:spPr>
          <a:xfrm>
            <a:off x="2947776" y="4225964"/>
            <a:ext cx="1696232" cy="60992"/>
          </a:xfrm>
          <a:prstGeom prst="bentConnector3">
            <a:avLst/>
          </a:prstGeom>
          <a:noFill/>
          <a:ln w="19050" cap="flat" cmpd="sng" algn="ctr">
            <a:solidFill>
              <a:srgbClr val="000000">
                <a:lumMod val="75000"/>
                <a:lumOff val="25000"/>
              </a:srgbClr>
            </a:solidFill>
            <a:prstDash val="solid"/>
            <a:headEnd type="oval"/>
            <a:tailEnd type="oval"/>
          </a:ln>
          <a:effectLst/>
        </p:spPr>
      </p:cxnSp>
      <p:sp>
        <p:nvSpPr>
          <p:cNvPr id="1288" name="Овал 1287"/>
          <p:cNvSpPr/>
          <p:nvPr/>
        </p:nvSpPr>
        <p:spPr>
          <a:xfrm>
            <a:off x="2961543" y="2972779"/>
            <a:ext cx="408197" cy="408197"/>
          </a:xfrm>
          <a:prstGeom prst="ellipse">
            <a:avLst/>
          </a:prstGeom>
          <a:solidFill>
            <a:srgbClr val="2FB4E9">
              <a:lumMod val="20000"/>
              <a:lumOff val="80000"/>
              <a:alpha val="35000"/>
            </a:srgbClr>
          </a:solidFill>
          <a:ln w="28575" cap="flat" cmpd="sng" algn="ctr">
            <a:solidFill>
              <a:srgbClr val="FFFFFF"/>
            </a:solidFill>
            <a:prstDash val="solid"/>
          </a:ln>
          <a:effectLst>
            <a:glow rad="38100">
              <a:srgbClr val="DADADA">
                <a:satMod val="175000"/>
                <a:alpha val="40000"/>
              </a:srgbClr>
            </a:glo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grpSp>
        <p:nvGrpSpPr>
          <p:cNvPr id="1289" name="Группа 1288"/>
          <p:cNvGrpSpPr/>
          <p:nvPr/>
        </p:nvGrpSpPr>
        <p:grpSpPr>
          <a:xfrm>
            <a:off x="4644008" y="2220010"/>
            <a:ext cx="4212468" cy="720000"/>
            <a:chOff x="4319972" y="2220010"/>
            <a:chExt cx="4212468" cy="720000"/>
          </a:xfrm>
        </p:grpSpPr>
        <p:sp>
          <p:nvSpPr>
            <p:cNvPr id="1290" name="Прямоугольник 1289"/>
            <p:cNvSpPr/>
            <p:nvPr/>
          </p:nvSpPr>
          <p:spPr>
            <a:xfrm>
              <a:off x="4319972" y="2220010"/>
              <a:ext cx="4212468" cy="720000"/>
            </a:xfrm>
            <a:prstGeom prst="rect">
              <a:avLst/>
            </a:prstGeom>
            <a:solidFill>
              <a:srgbClr val="D5F0FB">
                <a:alpha val="63922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1291" name="TextBox 1290"/>
            <p:cNvSpPr txBox="1"/>
            <p:nvPr/>
          </p:nvSpPr>
          <p:spPr>
            <a:xfrm>
              <a:off x="4464898" y="2292504"/>
              <a:ext cx="2951418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ru-RU"/>
              </a:defPPr>
              <a:lvl1pPr lvl="0">
                <a:defRPr sz="1400">
                  <a:solidFill>
                    <a:srgbClr val="000000">
                      <a:lumMod val="65000"/>
                      <a:lumOff val="35000"/>
                    </a:srgbClr>
                  </a:solidFill>
                </a:defRPr>
              </a:lvl1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Запорно-регулирующая </a:t>
              </a:r>
              <a:r>
                <a:rPr kumimoji="0" lang="ru-RU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арматура</a:t>
              </a:r>
            </a:p>
          </p:txBody>
        </p:sp>
        <p:sp>
          <p:nvSpPr>
            <p:cNvPr id="1292" name="TextBox 1291"/>
            <p:cNvSpPr txBox="1"/>
            <p:nvPr/>
          </p:nvSpPr>
          <p:spPr>
            <a:xfrm>
              <a:off x="7188798" y="2340134"/>
              <a:ext cx="1307638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ru-RU"/>
              </a:defPPr>
              <a:lvl1pPr lvl="0">
                <a:defRPr sz="1400">
                  <a:solidFill>
                    <a:srgbClr val="000000">
                      <a:lumMod val="65000"/>
                      <a:lumOff val="35000"/>
                    </a:srgbClr>
                  </a:solidFill>
                </a:defRPr>
              </a:lvl1pPr>
            </a:lstStyle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FB4E9">
                      <a:lumMod val="75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API Spec 6D</a:t>
              </a:r>
              <a:b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FB4E9">
                      <a:lumMod val="75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</a:rPr>
              </a:b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FB4E9">
                      <a:lumMod val="75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2008</a:t>
              </a:r>
              <a:endPara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2FB4E9">
                    <a:lumMod val="75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</p:grpSp>
      <p:grpSp>
        <p:nvGrpSpPr>
          <p:cNvPr id="1293" name="Группа 1292"/>
          <p:cNvGrpSpPr/>
          <p:nvPr/>
        </p:nvGrpSpPr>
        <p:grpSpPr>
          <a:xfrm>
            <a:off x="4644008" y="4761296"/>
            <a:ext cx="4212468" cy="1332000"/>
            <a:chOff x="4319972" y="4677266"/>
            <a:chExt cx="4212468" cy="1332000"/>
          </a:xfrm>
        </p:grpSpPr>
        <p:sp>
          <p:nvSpPr>
            <p:cNvPr id="1294" name="Прямоугольник 1293"/>
            <p:cNvSpPr/>
            <p:nvPr/>
          </p:nvSpPr>
          <p:spPr>
            <a:xfrm>
              <a:off x="4319972" y="4677266"/>
              <a:ext cx="4212468" cy="1332000"/>
            </a:xfrm>
            <a:prstGeom prst="rect">
              <a:avLst/>
            </a:prstGeom>
            <a:solidFill>
              <a:srgbClr val="D5F0FB">
                <a:alpha val="63922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1295" name="Прямоугольник 1294"/>
            <p:cNvSpPr/>
            <p:nvPr/>
          </p:nvSpPr>
          <p:spPr>
            <a:xfrm>
              <a:off x="4464899" y="4708011"/>
              <a:ext cx="3887521" cy="126957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Компрессорное оборудование</a:t>
              </a:r>
              <a:endPara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  <a:p>
              <a:pPr marL="357188" marR="0" lvl="0" indent="-174625" defTabSz="91440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2FB4E9">
                    <a:lumMod val="75000"/>
                  </a:srgbClr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3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центробежные</a:t>
              </a:r>
            </a:p>
            <a:p>
              <a:pPr marL="357188" marR="0" lvl="0" indent="-174625" defTabSz="91440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2FB4E9">
                    <a:lumMod val="75000"/>
                  </a:srgbClr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3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поршневые</a:t>
              </a:r>
            </a:p>
            <a:p>
              <a:pPr marL="357188" marR="0" lvl="0" indent="-174625" defTabSz="91440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2FB4E9">
                    <a:lumMod val="75000"/>
                  </a:srgbClr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3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винтовые</a:t>
              </a:r>
            </a:p>
          </p:txBody>
        </p:sp>
        <p:sp>
          <p:nvSpPr>
            <p:cNvPr id="1296" name="TextBox 1295"/>
            <p:cNvSpPr txBox="1"/>
            <p:nvPr/>
          </p:nvSpPr>
          <p:spPr>
            <a:xfrm>
              <a:off x="5892654" y="4997674"/>
              <a:ext cx="130763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ru-RU"/>
              </a:defPPr>
              <a:lvl1pPr lvl="0">
                <a:defRPr sz="1400">
                  <a:solidFill>
                    <a:srgbClr val="000000">
                      <a:lumMod val="65000"/>
                      <a:lumOff val="35000"/>
                    </a:srgbClr>
                  </a:solidFill>
                </a:defRPr>
              </a:lvl1pPr>
            </a:lstStyle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FB4E9">
                      <a:lumMod val="75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API-61</a:t>
              </a:r>
              <a:r>
                <a:rPr kumimoji="0" lang="ru-RU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FB4E9">
                      <a:lumMod val="75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7</a:t>
              </a:r>
              <a:endPara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2FB4E9">
                    <a:lumMod val="75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1297" name="TextBox 1296"/>
            <p:cNvSpPr txBox="1"/>
            <p:nvPr/>
          </p:nvSpPr>
          <p:spPr>
            <a:xfrm>
              <a:off x="5892654" y="5295953"/>
              <a:ext cx="130763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ru-RU"/>
              </a:defPPr>
              <a:lvl1pPr lvl="0">
                <a:defRPr sz="1400">
                  <a:solidFill>
                    <a:srgbClr val="000000">
                      <a:lumMod val="65000"/>
                      <a:lumOff val="35000"/>
                    </a:srgbClr>
                  </a:solidFill>
                </a:defRPr>
              </a:lvl1pPr>
            </a:lstStyle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FB4E9">
                      <a:lumMod val="75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API-61</a:t>
              </a:r>
              <a:r>
                <a:rPr kumimoji="0" lang="ru-RU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FB4E9">
                      <a:lumMod val="75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8</a:t>
              </a:r>
              <a:endPara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2FB4E9">
                    <a:lumMod val="75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1298" name="TextBox 1297"/>
            <p:cNvSpPr txBox="1"/>
            <p:nvPr/>
          </p:nvSpPr>
          <p:spPr>
            <a:xfrm>
              <a:off x="5892654" y="5594231"/>
              <a:ext cx="130763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ru-RU"/>
              </a:defPPr>
              <a:lvl1pPr lvl="0">
                <a:defRPr sz="1400">
                  <a:solidFill>
                    <a:srgbClr val="000000">
                      <a:lumMod val="65000"/>
                      <a:lumOff val="35000"/>
                    </a:srgbClr>
                  </a:solidFill>
                </a:defRPr>
              </a:lvl1pPr>
            </a:lstStyle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FB4E9">
                      <a:lumMod val="75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API-61</a:t>
              </a:r>
              <a:r>
                <a:rPr kumimoji="0" lang="ru-RU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FB4E9">
                      <a:lumMod val="75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9</a:t>
              </a:r>
              <a:endPara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2FB4E9">
                    <a:lumMod val="75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</p:grpSp>
      <p:sp>
        <p:nvSpPr>
          <p:cNvPr id="1299" name="Прямоугольник 1298"/>
          <p:cNvSpPr/>
          <p:nvPr/>
        </p:nvSpPr>
        <p:spPr>
          <a:xfrm>
            <a:off x="6840253" y="1311256"/>
            <a:ext cx="1548172" cy="656238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pic>
        <p:nvPicPr>
          <p:cNvPr id="1300" name="Picture 4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851433" y="1334548"/>
            <a:ext cx="1460924" cy="6096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01" name="Овал 1300"/>
          <p:cNvSpPr/>
          <p:nvPr/>
        </p:nvSpPr>
        <p:spPr>
          <a:xfrm>
            <a:off x="611560" y="3740883"/>
            <a:ext cx="408197" cy="408197"/>
          </a:xfrm>
          <a:prstGeom prst="ellipse">
            <a:avLst/>
          </a:prstGeom>
          <a:solidFill>
            <a:srgbClr val="2FB4E9">
              <a:lumMod val="20000"/>
              <a:lumOff val="80000"/>
              <a:alpha val="35000"/>
            </a:srgbClr>
          </a:solidFill>
          <a:ln w="28575" cap="flat" cmpd="sng" algn="ctr">
            <a:solidFill>
              <a:srgbClr val="FFFFFF"/>
            </a:solidFill>
            <a:prstDash val="solid"/>
          </a:ln>
          <a:effectLst>
            <a:glow rad="38100">
              <a:srgbClr val="DADADA">
                <a:satMod val="175000"/>
                <a:alpha val="40000"/>
              </a:srgbClr>
            </a:glo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grpSp>
        <p:nvGrpSpPr>
          <p:cNvPr id="1302" name="Группа 1301"/>
          <p:cNvGrpSpPr/>
          <p:nvPr/>
        </p:nvGrpSpPr>
        <p:grpSpPr>
          <a:xfrm>
            <a:off x="4644008" y="3098454"/>
            <a:ext cx="4212468" cy="720000"/>
            <a:chOff x="4319972" y="3002285"/>
            <a:chExt cx="4212468" cy="720000"/>
          </a:xfrm>
        </p:grpSpPr>
        <p:sp>
          <p:nvSpPr>
            <p:cNvPr id="1303" name="Прямоугольник 1302"/>
            <p:cNvSpPr/>
            <p:nvPr/>
          </p:nvSpPr>
          <p:spPr>
            <a:xfrm>
              <a:off x="4319972" y="3002285"/>
              <a:ext cx="4212468" cy="720000"/>
            </a:xfrm>
            <a:prstGeom prst="rect">
              <a:avLst/>
            </a:prstGeom>
            <a:solidFill>
              <a:srgbClr val="D5F0FB">
                <a:alpha val="63922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1304" name="TextBox 1303"/>
            <p:cNvSpPr txBox="1"/>
            <p:nvPr/>
          </p:nvSpPr>
          <p:spPr>
            <a:xfrm>
              <a:off x="4464899" y="3039173"/>
              <a:ext cx="2407110" cy="646331"/>
            </a:xfrm>
            <a:prstGeom prst="rect">
              <a:avLst/>
            </a:prstGeom>
          </p:spPr>
          <p:txBody>
            <a:bodyPr>
              <a:spAutoFit/>
            </a:bodyPr>
            <a:lstStyle>
              <a:defPPr>
                <a:defRPr lang="ru-RU"/>
              </a:defPPr>
              <a:lvl1pPr lvl="0">
                <a:defRPr sz="1400">
                  <a:solidFill>
                    <a:srgbClr val="000000">
                      <a:lumMod val="65000"/>
                      <a:lumOff val="35000"/>
                    </a:srgbClr>
                  </a:solidFill>
                </a:defRPr>
              </a:lvl1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Емкостное оборудование</a:t>
              </a:r>
              <a:endPara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1305" name="TextBox 1304"/>
            <p:cNvSpPr txBox="1"/>
            <p:nvPr/>
          </p:nvSpPr>
          <p:spPr>
            <a:xfrm>
              <a:off x="7140032" y="3113424"/>
              <a:ext cx="1307638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ru-RU"/>
              </a:defPPr>
              <a:lvl1pPr lvl="0">
                <a:defRPr sz="1400">
                  <a:solidFill>
                    <a:srgbClr val="000000">
                      <a:lumMod val="65000"/>
                      <a:lumOff val="35000"/>
                    </a:srgbClr>
                  </a:solidFill>
                </a:defRPr>
              </a:lvl1pPr>
            </a:lstStyle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FB4E9">
                      <a:lumMod val="75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ASME BPVC</a:t>
              </a:r>
            </a:p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FB4E9">
                      <a:lumMod val="75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API 661</a:t>
              </a:r>
              <a:endPara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2FB4E9">
                    <a:lumMod val="75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</p:grpSp>
      <p:cxnSp>
        <p:nvCxnSpPr>
          <p:cNvPr id="1306" name="Соединительная линия уступом 1305"/>
          <p:cNvCxnSpPr>
            <a:stCxn id="1301" idx="6"/>
            <a:endCxn id="1303" idx="1"/>
          </p:cNvCxnSpPr>
          <p:nvPr/>
        </p:nvCxnSpPr>
        <p:spPr>
          <a:xfrm flipV="1">
            <a:off x="1019757" y="3458454"/>
            <a:ext cx="3624251" cy="486528"/>
          </a:xfrm>
          <a:prstGeom prst="bentConnector3">
            <a:avLst>
              <a:gd name="adj1" fmla="val 50000"/>
            </a:avLst>
          </a:prstGeom>
          <a:noFill/>
          <a:ln w="19050" cap="flat" cmpd="sng" algn="ctr">
            <a:solidFill>
              <a:srgbClr val="000000">
                <a:lumMod val="75000"/>
                <a:lumOff val="25000"/>
              </a:srgbClr>
            </a:solidFill>
            <a:prstDash val="solid"/>
            <a:headEnd type="oval"/>
            <a:tailEnd type="oval"/>
          </a:ln>
          <a:effectLst/>
        </p:spPr>
      </p:cxnSp>
      <p:cxnSp>
        <p:nvCxnSpPr>
          <p:cNvPr id="1307" name="Соединительная линия уступом 1306"/>
          <p:cNvCxnSpPr>
            <a:stCxn id="1288" idx="6"/>
            <a:endCxn id="1290" idx="1"/>
          </p:cNvCxnSpPr>
          <p:nvPr/>
        </p:nvCxnSpPr>
        <p:spPr>
          <a:xfrm flipV="1">
            <a:off x="3369740" y="2580010"/>
            <a:ext cx="1274268" cy="596868"/>
          </a:xfrm>
          <a:prstGeom prst="bentConnector3">
            <a:avLst/>
          </a:prstGeom>
          <a:noFill/>
          <a:ln w="19050" cap="flat" cmpd="sng" algn="ctr">
            <a:solidFill>
              <a:srgbClr val="000000">
                <a:lumMod val="75000"/>
                <a:lumOff val="25000"/>
              </a:srgbClr>
            </a:solidFill>
            <a:prstDash val="solid"/>
            <a:headEnd type="oval"/>
            <a:tailEnd type="oval"/>
          </a:ln>
          <a:effectLst/>
        </p:spPr>
      </p:cxnSp>
      <p:cxnSp>
        <p:nvCxnSpPr>
          <p:cNvPr id="1308" name="Соединительная линия уступом 1307"/>
          <p:cNvCxnSpPr>
            <a:stCxn id="1281" idx="6"/>
            <a:endCxn id="1294" idx="1"/>
          </p:cNvCxnSpPr>
          <p:nvPr/>
        </p:nvCxnSpPr>
        <p:spPr>
          <a:xfrm>
            <a:off x="1634259" y="4597013"/>
            <a:ext cx="3009749" cy="830283"/>
          </a:xfrm>
          <a:prstGeom prst="bentConnector3">
            <a:avLst>
              <a:gd name="adj1" fmla="val 50000"/>
            </a:avLst>
          </a:prstGeom>
          <a:noFill/>
          <a:ln w="19050" cap="flat" cmpd="sng" algn="ctr">
            <a:solidFill>
              <a:srgbClr val="000000">
                <a:lumMod val="75000"/>
                <a:lumOff val="25000"/>
              </a:srgbClr>
            </a:solidFill>
            <a:prstDash val="solid"/>
            <a:headEnd type="oval"/>
            <a:tailEnd type="oval"/>
          </a:ln>
          <a:effectLst/>
        </p:spPr>
      </p:cxnSp>
      <p:sp>
        <p:nvSpPr>
          <p:cNvPr id="1309" name="Номер слайда 9"/>
          <p:cNvSpPr txBox="1">
            <a:spLocks/>
          </p:cNvSpPr>
          <p:nvPr/>
        </p:nvSpPr>
        <p:spPr>
          <a:xfrm>
            <a:off x="6797040" y="6432550"/>
            <a:ext cx="21336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6B9C54F-4F0D-48D2-9357-C196F1D6B2A2}" type="slidenum">
              <a:rPr lang="ru-RU" b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pPr/>
              <a:t>3</a:t>
            </a:fld>
            <a:endParaRPr lang="ru-RU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2230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6121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latin typeface="Arial Narrow" panose="020B0606020202030204" pitchFamily="34" charset="0"/>
              </a:rPr>
              <a:t>Материалы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1309" name="Номер слайда 9"/>
          <p:cNvSpPr txBox="1">
            <a:spLocks/>
          </p:cNvSpPr>
          <p:nvPr/>
        </p:nvSpPr>
        <p:spPr>
          <a:xfrm>
            <a:off x="6797040" y="6432550"/>
            <a:ext cx="21336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6B9C54F-4F0D-48D2-9357-C196F1D6B2A2}" type="slidenum">
              <a:rPr lang="ru-RU" b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pPr/>
              <a:t>4</a:t>
            </a:fld>
            <a:endParaRPr lang="ru-RU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6" name="Picture 3"/>
          <p:cNvPicPr>
            <a:picLocks noChangeAspect="1" noChangeArrowheads="1"/>
          </p:cNvPicPr>
          <p:nvPr/>
        </p:nvPicPr>
        <p:blipFill rotWithShape="1">
          <a:blip r:embed="rId6" cstate="print">
            <a:duotone>
              <a:srgbClr val="DADADA">
                <a:shade val="45000"/>
                <a:satMod val="135000"/>
              </a:srgb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82" b="100000" l="0" r="99339"/>
                    </a14:imgEffect>
                    <a14:imgEffect>
                      <a14:artisticMarker size="0"/>
                    </a14:imgEffect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14315" y="3346213"/>
            <a:ext cx="3513805" cy="30012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7" name="Прямоугольник 76"/>
          <p:cNvSpPr/>
          <p:nvPr/>
        </p:nvSpPr>
        <p:spPr>
          <a:xfrm>
            <a:off x="251521" y="1310872"/>
            <a:ext cx="8640960" cy="648130"/>
          </a:xfrm>
          <a:prstGeom prst="rect">
            <a:avLst/>
          </a:prstGeom>
          <a:solidFill>
            <a:srgbClr val="F7A600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395536" y="1475492"/>
            <a:ext cx="4320480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ru-RU"/>
            </a:defPPr>
            <a:lvl1pPr>
              <a:spcBef>
                <a:spcPts val="600"/>
              </a:spcBef>
              <a:defRPr sz="1000" b="1">
                <a:solidFill>
                  <a:schemeClr val="tx2">
                    <a:lumMod val="75000"/>
                    <a:lumOff val="25000"/>
                  </a:schemeClr>
                </a:solidFill>
              </a:defRPr>
            </a:lvl1pPr>
          </a:lstStyle>
          <a:p>
            <a:pPr marL="85725" marR="0" lvl="0" indent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</a:rPr>
              <a:t>Требования </a:t>
            </a:r>
            <a:r>
              <a:rPr kumimoji="0" lang="ru-RU" sz="16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</a:rPr>
              <a:t>к материалам и комплектующим</a:t>
            </a:r>
          </a:p>
        </p:txBody>
      </p:sp>
      <p:grpSp>
        <p:nvGrpSpPr>
          <p:cNvPr id="79" name="Группа 78"/>
          <p:cNvGrpSpPr/>
          <p:nvPr/>
        </p:nvGrpSpPr>
        <p:grpSpPr>
          <a:xfrm>
            <a:off x="4538095" y="1304764"/>
            <a:ext cx="1222037" cy="656238"/>
            <a:chOff x="5508104" y="1299786"/>
            <a:chExt cx="1222037" cy="656238"/>
          </a:xfrm>
        </p:grpSpPr>
        <p:sp>
          <p:nvSpPr>
            <p:cNvPr id="80" name="Прямоугольник 79"/>
            <p:cNvSpPr/>
            <p:nvPr/>
          </p:nvSpPr>
          <p:spPr>
            <a:xfrm>
              <a:off x="5508104" y="1299786"/>
              <a:ext cx="1222037" cy="656238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pic>
          <p:nvPicPr>
            <p:cNvPr id="81" name="Рисунок 80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68410" y="1322176"/>
              <a:ext cx="1114025" cy="629085"/>
            </a:xfrm>
            <a:prstGeom prst="rect">
              <a:avLst/>
            </a:prstGeom>
          </p:spPr>
        </p:pic>
      </p:grpSp>
      <p:grpSp>
        <p:nvGrpSpPr>
          <p:cNvPr id="82" name="Группа 81"/>
          <p:cNvGrpSpPr/>
          <p:nvPr/>
        </p:nvGrpSpPr>
        <p:grpSpPr>
          <a:xfrm>
            <a:off x="379573" y="4365104"/>
            <a:ext cx="3453927" cy="471593"/>
            <a:chOff x="2443470" y="4361563"/>
            <a:chExt cx="3324566" cy="471593"/>
          </a:xfrm>
        </p:grpSpPr>
        <p:sp>
          <p:nvSpPr>
            <p:cNvPr id="83" name="Прямоугольник 82"/>
            <p:cNvSpPr/>
            <p:nvPr/>
          </p:nvSpPr>
          <p:spPr>
            <a:xfrm>
              <a:off x="2443470" y="4361563"/>
              <a:ext cx="3324566" cy="471593"/>
            </a:xfrm>
            <a:prstGeom prst="rect">
              <a:avLst/>
            </a:prstGeom>
            <a:solidFill>
              <a:srgbClr val="F7A600">
                <a:lumMod val="20000"/>
                <a:lumOff val="80000"/>
                <a:alpha val="84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84" name="Прямоугольник 83"/>
            <p:cNvSpPr/>
            <p:nvPr/>
          </p:nvSpPr>
          <p:spPr>
            <a:xfrm>
              <a:off x="2619636" y="4443471"/>
              <a:ext cx="2628292" cy="369332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Коксовые камеры</a:t>
              </a:r>
            </a:p>
          </p:txBody>
        </p:sp>
      </p:grpSp>
      <p:grpSp>
        <p:nvGrpSpPr>
          <p:cNvPr id="85" name="Группа 84"/>
          <p:cNvGrpSpPr/>
          <p:nvPr/>
        </p:nvGrpSpPr>
        <p:grpSpPr>
          <a:xfrm>
            <a:off x="379573" y="2614305"/>
            <a:ext cx="3655782" cy="471593"/>
            <a:chOff x="2399651" y="2266627"/>
            <a:chExt cx="3574317" cy="471593"/>
          </a:xfrm>
        </p:grpSpPr>
        <p:sp>
          <p:nvSpPr>
            <p:cNvPr id="86" name="Прямоугольник 85"/>
            <p:cNvSpPr/>
            <p:nvPr/>
          </p:nvSpPr>
          <p:spPr>
            <a:xfrm>
              <a:off x="2399651" y="2266627"/>
              <a:ext cx="3324566" cy="471593"/>
            </a:xfrm>
            <a:prstGeom prst="rect">
              <a:avLst/>
            </a:prstGeom>
            <a:solidFill>
              <a:srgbClr val="F7A600">
                <a:lumMod val="20000"/>
                <a:lumOff val="80000"/>
                <a:alpha val="84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87" name="Прямоугольник 86"/>
            <p:cNvSpPr/>
            <p:nvPr/>
          </p:nvSpPr>
          <p:spPr>
            <a:xfrm>
              <a:off x="2575816" y="2348535"/>
              <a:ext cx="3398152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Реакторное оборудование</a:t>
              </a:r>
            </a:p>
          </p:txBody>
        </p:sp>
      </p:grpSp>
      <p:grpSp>
        <p:nvGrpSpPr>
          <p:cNvPr id="88" name="Группа 87"/>
          <p:cNvGrpSpPr/>
          <p:nvPr/>
        </p:nvGrpSpPr>
        <p:grpSpPr>
          <a:xfrm>
            <a:off x="379573" y="3212976"/>
            <a:ext cx="3387721" cy="471593"/>
            <a:chOff x="2387033" y="3276346"/>
            <a:chExt cx="3324566" cy="471593"/>
          </a:xfrm>
        </p:grpSpPr>
        <p:sp>
          <p:nvSpPr>
            <p:cNvPr id="89" name="Прямоугольник 88"/>
            <p:cNvSpPr/>
            <p:nvPr/>
          </p:nvSpPr>
          <p:spPr>
            <a:xfrm>
              <a:off x="2387033" y="3276346"/>
              <a:ext cx="3324566" cy="471593"/>
            </a:xfrm>
            <a:prstGeom prst="rect">
              <a:avLst/>
            </a:prstGeom>
            <a:solidFill>
              <a:srgbClr val="F7A600">
                <a:lumMod val="20000"/>
                <a:lumOff val="80000"/>
                <a:alpha val="84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90" name="Прямоугольник 89"/>
            <p:cNvSpPr/>
            <p:nvPr/>
          </p:nvSpPr>
          <p:spPr>
            <a:xfrm>
              <a:off x="2561939" y="3339062"/>
              <a:ext cx="2470113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Колонное </a:t>
              </a:r>
              <a:r>
                <a:rPr kumimoji="0" lang="ru-RU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оборудование</a:t>
              </a:r>
              <a:endPara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</p:grpSp>
      <p:grpSp>
        <p:nvGrpSpPr>
          <p:cNvPr id="91" name="Группа 90"/>
          <p:cNvGrpSpPr/>
          <p:nvPr/>
        </p:nvGrpSpPr>
        <p:grpSpPr>
          <a:xfrm>
            <a:off x="379573" y="3789040"/>
            <a:ext cx="3400339" cy="396044"/>
            <a:chOff x="2425557" y="3504631"/>
            <a:chExt cx="3324566" cy="1163279"/>
          </a:xfrm>
        </p:grpSpPr>
        <p:sp>
          <p:nvSpPr>
            <p:cNvPr id="92" name="Прямоугольник 91"/>
            <p:cNvSpPr/>
            <p:nvPr/>
          </p:nvSpPr>
          <p:spPr>
            <a:xfrm>
              <a:off x="2425557" y="3539264"/>
              <a:ext cx="3324566" cy="1128646"/>
            </a:xfrm>
            <a:prstGeom prst="rect">
              <a:avLst/>
            </a:prstGeom>
            <a:solidFill>
              <a:srgbClr val="F7A600">
                <a:lumMod val="20000"/>
                <a:lumOff val="80000"/>
                <a:alpha val="84000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93" name="Прямоугольник 92"/>
            <p:cNvSpPr/>
            <p:nvPr/>
          </p:nvSpPr>
          <p:spPr>
            <a:xfrm>
              <a:off x="2617561" y="3504631"/>
              <a:ext cx="2286000" cy="1084819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Сепараторы</a:t>
              </a:r>
            </a:p>
          </p:txBody>
        </p:sp>
      </p:grpSp>
      <p:grpSp>
        <p:nvGrpSpPr>
          <p:cNvPr id="94" name="Группа 93"/>
          <p:cNvGrpSpPr/>
          <p:nvPr/>
        </p:nvGrpSpPr>
        <p:grpSpPr>
          <a:xfrm>
            <a:off x="5863597" y="1304764"/>
            <a:ext cx="1696735" cy="656238"/>
            <a:chOff x="7195745" y="1311256"/>
            <a:chExt cx="1696735" cy="656238"/>
          </a:xfrm>
        </p:grpSpPr>
        <p:sp>
          <p:nvSpPr>
            <p:cNvPr id="95" name="Прямоугольник 94"/>
            <p:cNvSpPr/>
            <p:nvPr/>
          </p:nvSpPr>
          <p:spPr>
            <a:xfrm>
              <a:off x="7195745" y="1311256"/>
              <a:ext cx="1696735" cy="656238"/>
            </a:xfrm>
            <a:prstGeom prst="rect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pic>
          <p:nvPicPr>
            <p:cNvPr id="96" name="Picture 4" descr="I:\My Pictures\aisi-logo-940x528.jpg"/>
            <p:cNvPicPr>
              <a:picLocks noChangeAspect="1" noChangeArrowheads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7195745" y="1335607"/>
              <a:ext cx="1696735" cy="6075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97" name="Прямоугольник 96"/>
          <p:cNvSpPr/>
          <p:nvPr/>
        </p:nvSpPr>
        <p:spPr>
          <a:xfrm>
            <a:off x="7614009" y="1291708"/>
            <a:ext cx="1262743" cy="769140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pic>
        <p:nvPicPr>
          <p:cNvPr id="98" name="Picture 5" descr="I:\My Pictures\nace-logo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9783" b="96739" l="673" r="96970">
                        <a14:foregroundMark x1="34007" y1="36957" x2="34007" y2="36957"/>
                        <a14:foregroundMark x1="39394" y1="50000" x2="39394" y2="50000"/>
                        <a14:foregroundMark x1="50505" y1="51087" x2="50505" y2="51087"/>
                        <a14:foregroundMark x1="65657" y1="44565" x2="65657" y2="44565"/>
                        <a14:foregroundMark x1="83165" y1="34783" x2="83165" y2="34783"/>
                        <a14:foregroundMark x1="84175" y1="57609" x2="84175" y2="57609"/>
                        <a14:foregroundMark x1="76768" y1="65217" x2="76768" y2="65217"/>
                        <a14:foregroundMark x1="72727" y1="26087" x2="72727" y2="26087"/>
                        <a14:foregroundMark x1="56902" y1="26087" x2="56902" y2="26087"/>
                        <a14:foregroundMark x1="44444" y1="41304" x2="44444" y2="41304"/>
                        <a14:foregroundMark x1="59259" y1="47826" x2="59259" y2="47826"/>
                        <a14:foregroundMark x1="85859" y1="23913" x2="85859" y2="23913"/>
                        <a14:foregroundMark x1="85185" y1="45652" x2="85185" y2="45652"/>
                        <a14:foregroundMark x1="44108" y1="66304" x2="44108" y2="66304"/>
                        <a14:foregroundMark x1="49495" y1="61957" x2="49495" y2="61957"/>
                        <a14:foregroundMark x1="66667" y1="56522" x2="66667" y2="56522"/>
                        <a14:foregroundMark x1="90909" y1="66304" x2="90909" y2="66304"/>
                        <a14:foregroundMark x1="89226" y1="23913" x2="89226" y2="23913"/>
                        <a14:foregroundMark x1="31987" y1="66304" x2="31987" y2="66304"/>
                        <a14:foregroundMark x1="31650" y1="26087" x2="31650" y2="26087"/>
                        <a14:foregroundMark x1="45118" y1="27174" x2="45118" y2="27174"/>
                        <a14:foregroundMark x1="53872" y1="36957" x2="53872" y2="36957"/>
                        <a14:foregroundMark x1="69697" y1="28261" x2="69697" y2="28261"/>
                        <a14:foregroundMark x1="71380" y1="61957" x2="71380" y2="61957"/>
                        <a14:foregroundMark x1="88215" y1="67391" x2="88215" y2="67391"/>
                        <a14:foregroundMark x1="88889" y1="45652" x2="88889" y2="45652"/>
                        <a14:foregroundMark x1="67340" y1="30435" x2="67340" y2="30435"/>
                        <a14:foregroundMark x1="76768" y1="25000" x2="76768" y2="25000"/>
                        <a14:foregroundMark x1="58586" y1="36957" x2="58586" y2="36957"/>
                        <a14:foregroundMark x1="61953" y1="60870" x2="61953" y2="60870"/>
                        <a14:foregroundMark x1="56566" y1="55435" x2="56566" y2="55435"/>
                        <a14:foregroundMark x1="44108" y1="54348" x2="44108" y2="54348"/>
                        <a14:foregroundMark x1="35690" y1="32609" x2="35690" y2="32609"/>
                        <a14:foregroundMark x1="33333" y1="29348" x2="33333" y2="29348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3733" y="1424356"/>
            <a:ext cx="1262743" cy="3909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9" name="Группа 98"/>
          <p:cNvGrpSpPr/>
          <p:nvPr/>
        </p:nvGrpSpPr>
        <p:grpSpPr>
          <a:xfrm>
            <a:off x="4535996" y="3717032"/>
            <a:ext cx="4320480" cy="1188032"/>
            <a:chOff x="4535996" y="2168960"/>
            <a:chExt cx="4320480" cy="900000"/>
          </a:xfrm>
        </p:grpSpPr>
        <p:sp>
          <p:nvSpPr>
            <p:cNvPr id="100" name="Прямоугольник 99"/>
            <p:cNvSpPr/>
            <p:nvPr/>
          </p:nvSpPr>
          <p:spPr>
            <a:xfrm>
              <a:off x="5328084" y="2168960"/>
              <a:ext cx="3528392" cy="900000"/>
            </a:xfrm>
            <a:prstGeom prst="rect">
              <a:avLst/>
            </a:prstGeom>
            <a:solidFill>
              <a:srgbClr val="D5F0FB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269875" marR="0" lvl="0" indent="0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269875" algn="l"/>
                </a:tabLst>
                <a:defRPr/>
              </a:pPr>
              <a:r>
                <a:rPr kumimoji="0" lang="ru-RU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Фитинги, фланцы</a:t>
              </a: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 </a:t>
              </a:r>
              <a:r>
                <a:rPr kumimoji="0" lang="ru-RU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и пр.</a:t>
              </a:r>
            </a:p>
            <a:p>
              <a:pPr marL="727075" marR="0" lvl="1" indent="0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269875" algn="l"/>
                </a:tabLst>
                <a:defRPr/>
              </a:pPr>
              <a:r>
                <a:rPr kumimoji="0" lang="ru-RU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Стандарт на материалы</a:t>
              </a:r>
              <a:r>
                <a:rPr kumimoji="0" lang="ru-RU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 </a:t>
              </a: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/>
              </a:r>
              <a:b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</a:b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ASTM SA335 GR. P22, SA234 GR. WP22</a:t>
              </a:r>
              <a:endPara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pic>
          <p:nvPicPr>
            <p:cNvPr id="101" name="Picture 3"/>
            <p:cNvPicPr>
              <a:picLocks noChangeArrowheads="1"/>
            </p:cNvPicPr>
            <p:nvPr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4535996" y="2168960"/>
              <a:ext cx="1080000" cy="900000"/>
            </a:xfrm>
            <a:prstGeom prst="ellipse">
              <a:avLst/>
            </a:prstGeom>
            <a:noFill/>
            <a:ln w="38100">
              <a:solidFill>
                <a:srgbClr val="FFFFFF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pic>
          <p:nvPicPr>
            <p:cNvPr id="102" name="Рисунок 101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7975" y="2636850"/>
              <a:ext cx="366720" cy="207086"/>
            </a:xfrm>
            <a:prstGeom prst="rect">
              <a:avLst/>
            </a:prstGeom>
          </p:spPr>
        </p:pic>
      </p:grpSp>
      <p:grpSp>
        <p:nvGrpSpPr>
          <p:cNvPr id="103" name="Группа 102"/>
          <p:cNvGrpSpPr/>
          <p:nvPr/>
        </p:nvGrpSpPr>
        <p:grpSpPr>
          <a:xfrm>
            <a:off x="4648547" y="5301308"/>
            <a:ext cx="4207929" cy="900000"/>
            <a:chOff x="4648547" y="4258236"/>
            <a:chExt cx="4207929" cy="900000"/>
          </a:xfrm>
        </p:grpSpPr>
        <p:sp>
          <p:nvSpPr>
            <p:cNvPr id="104" name="Прямоугольник 103"/>
            <p:cNvSpPr/>
            <p:nvPr/>
          </p:nvSpPr>
          <p:spPr>
            <a:xfrm>
              <a:off x="5328084" y="4258236"/>
              <a:ext cx="3528392" cy="900000"/>
            </a:xfrm>
            <a:prstGeom prst="rect">
              <a:avLst/>
            </a:prstGeom>
            <a:solidFill>
              <a:srgbClr val="D5F0FB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269875" marR="0" lvl="0" indent="0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269875" algn="l"/>
                </a:tabLst>
                <a:defRPr/>
              </a:pPr>
              <a:r>
                <a:rPr kumimoji="0" lang="ru-RU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Внутренние устройства</a:t>
              </a:r>
            </a:p>
            <a:p>
              <a:pPr marL="727075" marR="0" lvl="2" indent="0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269875" algn="l"/>
                </a:tabLst>
                <a:defRPr/>
              </a:pPr>
              <a:r>
                <a:rPr kumimoji="0" lang="ru-RU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Стандарт на материалы</a:t>
              </a:r>
              <a:r>
                <a:rPr kumimoji="0" lang="ru-RU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 </a:t>
              </a: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/>
              </a:r>
              <a:b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</a:b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ASTM SA</a:t>
              </a:r>
              <a:r>
                <a:rPr kumimoji="0" lang="ru-RU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240</a:t>
              </a: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 GR. </a:t>
              </a:r>
              <a:r>
                <a:rPr kumimoji="0" lang="ru-RU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321 или 347</a:t>
              </a:r>
              <a:endPara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pic>
          <p:nvPicPr>
            <p:cNvPr id="105" name="Picture 2"/>
            <p:cNvPicPr>
              <a:picLocks noChangeAspect="1" noChangeArrowheads="1"/>
            </p:cNvPicPr>
            <p:nvPr/>
          </p:nvPicPr>
          <p:blipFill rotWithShape="1"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4648547" y="4258236"/>
              <a:ext cx="900000" cy="900000"/>
            </a:xfrm>
            <a:prstGeom prst="ellipse">
              <a:avLst/>
            </a:prstGeom>
            <a:noFill/>
            <a:ln w="38100">
              <a:solidFill>
                <a:srgbClr val="FFFFFF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pic>
          <p:nvPicPr>
            <p:cNvPr id="106" name="Рисунок 105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17868" y="4699184"/>
              <a:ext cx="314563" cy="387044"/>
            </a:xfrm>
            <a:prstGeom prst="rect">
              <a:avLst/>
            </a:prstGeom>
          </p:spPr>
        </p:pic>
      </p:grpSp>
      <p:grpSp>
        <p:nvGrpSpPr>
          <p:cNvPr id="107" name="Группа 106"/>
          <p:cNvGrpSpPr/>
          <p:nvPr/>
        </p:nvGrpSpPr>
        <p:grpSpPr>
          <a:xfrm>
            <a:off x="4644008" y="2269021"/>
            <a:ext cx="4212468" cy="907951"/>
            <a:chOff x="4644008" y="5294924"/>
            <a:chExt cx="4212468" cy="907951"/>
          </a:xfrm>
        </p:grpSpPr>
        <p:sp>
          <p:nvSpPr>
            <p:cNvPr id="108" name="Прямоугольник 107"/>
            <p:cNvSpPr/>
            <p:nvPr/>
          </p:nvSpPr>
          <p:spPr>
            <a:xfrm>
              <a:off x="5328084" y="5294924"/>
              <a:ext cx="3528392" cy="900000"/>
            </a:xfrm>
            <a:prstGeom prst="rect">
              <a:avLst/>
            </a:prstGeom>
            <a:solidFill>
              <a:srgbClr val="D5F0FB"/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269875" marR="0" lvl="0" indent="0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269875" algn="l"/>
                </a:tabLst>
                <a:defRPr/>
              </a:pPr>
              <a:r>
                <a:rPr kumimoji="0" lang="ru-RU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Поковки</a:t>
              </a:r>
            </a:p>
            <a:p>
              <a:pPr marL="727075" marR="0" lvl="3" indent="0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269875" algn="l"/>
                </a:tabLst>
                <a:defRPr/>
              </a:pPr>
              <a:r>
                <a:rPr kumimoji="0" lang="ru-RU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Стандарт на материалы</a:t>
              </a:r>
              <a:r>
                <a:rPr kumimoji="0" lang="ru-RU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 </a:t>
              </a: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/>
              </a:r>
              <a:b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</a:b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ASTM SA</a:t>
              </a:r>
              <a:r>
                <a:rPr kumimoji="0" lang="ru-RU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182</a:t>
              </a: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3C3C3C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 GR. F22, SA 336 GR. F22, SA 541 GR. 22V</a:t>
              </a:r>
              <a:endPara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pic>
          <p:nvPicPr>
            <p:cNvPr id="109" name="300DF021-4132-4E1C-8E35-EC77A762D7FD" descr="CB73B5FF-7FD1-4EFA-9C11-9661227F8780@gazprom-neft"/>
            <p:cNvPicPr>
              <a:picLocks noChangeAspect="1" noChangeArrowheads="1"/>
            </p:cNvPicPr>
            <p:nvPr/>
          </p:nvPicPr>
          <p:blipFill rotWithShape="1"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283"/>
            <a:stretch/>
          </p:blipFill>
          <p:spPr bwMode="auto">
            <a:xfrm>
              <a:off x="4644008" y="5302875"/>
              <a:ext cx="900000" cy="900000"/>
            </a:xfrm>
            <a:prstGeom prst="ellipse">
              <a:avLst/>
            </a:prstGeom>
            <a:noFill/>
            <a:ln w="38100">
              <a:solidFill>
                <a:srgbClr val="FFFFFF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0" name="Рисунок 109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91790" y="5730015"/>
              <a:ext cx="366720" cy="381786"/>
            </a:xfrm>
            <a:prstGeom prst="rect">
              <a:avLst/>
            </a:prstGeom>
          </p:spPr>
        </p:pic>
      </p:grpSp>
      <p:grpSp>
        <p:nvGrpSpPr>
          <p:cNvPr id="111" name="Группа 110"/>
          <p:cNvGrpSpPr/>
          <p:nvPr/>
        </p:nvGrpSpPr>
        <p:grpSpPr>
          <a:xfrm flipH="1">
            <a:off x="3999396" y="2258809"/>
            <a:ext cx="649152" cy="4022907"/>
            <a:chOff x="8171320" y="2258809"/>
            <a:chExt cx="649152" cy="4022907"/>
          </a:xfrm>
        </p:grpSpPr>
        <p:sp>
          <p:nvSpPr>
            <p:cNvPr id="112" name="Прямоугольник 111"/>
            <p:cNvSpPr/>
            <p:nvPr/>
          </p:nvSpPr>
          <p:spPr>
            <a:xfrm>
              <a:off x="8748554" y="2258809"/>
              <a:ext cx="71918" cy="4022907"/>
            </a:xfrm>
            <a:prstGeom prst="rect">
              <a:avLst/>
            </a:prstGeom>
            <a:solidFill>
              <a:srgbClr val="706F6F">
                <a:lumMod val="40000"/>
                <a:lumOff val="60000"/>
                <a:alpha val="63922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cxnSp>
          <p:nvCxnSpPr>
            <p:cNvPr id="113" name="Соединительная линия уступом 112"/>
            <p:cNvCxnSpPr>
              <a:stCxn id="109" idx="2"/>
              <a:endCxn id="112" idx="1"/>
            </p:cNvCxnSpPr>
            <p:nvPr/>
          </p:nvCxnSpPr>
          <p:spPr>
            <a:xfrm rot="10800000" flipH="1" flipV="1">
              <a:off x="8175860" y="2726971"/>
              <a:ext cx="572694" cy="1543291"/>
            </a:xfrm>
            <a:prstGeom prst="bentConnector3">
              <a:avLst/>
            </a:prstGeom>
            <a:noFill/>
            <a:ln w="19050" cap="flat" cmpd="sng" algn="ctr">
              <a:solidFill>
                <a:srgbClr val="F7A600">
                  <a:lumMod val="40000"/>
                  <a:lumOff val="60000"/>
                </a:srgbClr>
              </a:solidFill>
              <a:prstDash val="solid"/>
              <a:headEnd type="oval"/>
              <a:tailEnd type="oval"/>
            </a:ln>
            <a:effectLst/>
          </p:spPr>
        </p:cxnSp>
        <p:cxnSp>
          <p:nvCxnSpPr>
            <p:cNvPr id="114" name="Соединительная линия уступом 113"/>
            <p:cNvCxnSpPr>
              <a:stCxn id="105" idx="2"/>
              <a:endCxn id="112" idx="1"/>
            </p:cNvCxnSpPr>
            <p:nvPr/>
          </p:nvCxnSpPr>
          <p:spPr>
            <a:xfrm rot="10800000" flipH="1">
              <a:off x="8171320" y="4270264"/>
              <a:ext cx="577233" cy="1481045"/>
            </a:xfrm>
            <a:prstGeom prst="bentConnector3">
              <a:avLst>
                <a:gd name="adj1" fmla="val 50000"/>
              </a:avLst>
            </a:prstGeom>
            <a:noFill/>
            <a:ln w="19050" cap="flat" cmpd="sng" algn="ctr">
              <a:solidFill>
                <a:srgbClr val="F7A600">
                  <a:lumMod val="40000"/>
                  <a:lumOff val="60000"/>
                </a:srgbClr>
              </a:solidFill>
              <a:prstDash val="solid"/>
              <a:headEnd type="oval"/>
              <a:tailEnd type="oval"/>
            </a:ln>
            <a:effectLst/>
          </p:spPr>
        </p:cxnSp>
      </p:grpSp>
      <p:cxnSp>
        <p:nvCxnSpPr>
          <p:cNvPr id="115" name="Прямая соединительная линия 114"/>
          <p:cNvCxnSpPr>
            <a:stCxn id="112" idx="1"/>
          </p:cNvCxnSpPr>
          <p:nvPr/>
        </p:nvCxnSpPr>
        <p:spPr>
          <a:xfrm>
            <a:off x="4071314" y="4270263"/>
            <a:ext cx="461254" cy="0"/>
          </a:xfrm>
          <a:prstGeom prst="line">
            <a:avLst/>
          </a:prstGeom>
          <a:noFill/>
          <a:ln w="19050" cap="flat" cmpd="sng" algn="ctr">
            <a:solidFill>
              <a:srgbClr val="F7A600">
                <a:lumMod val="40000"/>
                <a:lumOff val="60000"/>
              </a:srgbClr>
            </a:solidFill>
            <a:prstDash val="solid"/>
            <a:headEnd type="oval"/>
            <a:tailEnd type="oval"/>
          </a:ln>
          <a:effectLst/>
        </p:spPr>
      </p:cxnSp>
    </p:spTree>
    <p:extLst>
      <p:ext uri="{BB962C8B-B14F-4D97-AF65-F5344CB8AC3E}">
        <p14:creationId xmlns:p14="http://schemas.microsoft.com/office/powerpoint/2010/main" val="15548237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23207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dirty="0" smtClean="0">
              <a:solidFill>
                <a:schemeClr val="tx1"/>
              </a:solidFill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34" name="Пятиугольник 33"/>
          <p:cNvSpPr/>
          <p:nvPr/>
        </p:nvSpPr>
        <p:spPr>
          <a:xfrm>
            <a:off x="4351296" y="2643056"/>
            <a:ext cx="2058426" cy="1656893"/>
          </a:xfrm>
          <a:prstGeom prst="homePlate">
            <a:avLst>
              <a:gd name="adj" fmla="val 26600"/>
            </a:avLst>
          </a:prstGeom>
          <a:solidFill>
            <a:schemeClr val="accent3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35" name="Пятиугольник 34"/>
          <p:cNvSpPr/>
          <p:nvPr/>
        </p:nvSpPr>
        <p:spPr>
          <a:xfrm>
            <a:off x="4323725" y="2643056"/>
            <a:ext cx="2058426" cy="1656893"/>
          </a:xfrm>
          <a:prstGeom prst="homePlate">
            <a:avLst>
              <a:gd name="adj" fmla="val 26600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33" name="Пятиугольник 32"/>
          <p:cNvSpPr/>
          <p:nvPr/>
        </p:nvSpPr>
        <p:spPr>
          <a:xfrm>
            <a:off x="884962" y="2564904"/>
            <a:ext cx="2058426" cy="1656893"/>
          </a:xfrm>
          <a:prstGeom prst="homePlate">
            <a:avLst>
              <a:gd name="adj" fmla="val 26600"/>
            </a:avLst>
          </a:prstGeom>
          <a:solidFill>
            <a:schemeClr val="accent3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16" name="Пятиугольник 15"/>
          <p:cNvSpPr/>
          <p:nvPr/>
        </p:nvSpPr>
        <p:spPr>
          <a:xfrm>
            <a:off x="857391" y="2564904"/>
            <a:ext cx="2058426" cy="1656893"/>
          </a:xfrm>
          <a:prstGeom prst="homePlate">
            <a:avLst>
              <a:gd name="adj" fmla="val 26600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15" name="Овал 14"/>
          <p:cNvSpPr/>
          <p:nvPr/>
        </p:nvSpPr>
        <p:spPr>
          <a:xfrm>
            <a:off x="241947" y="2564904"/>
            <a:ext cx="1656893" cy="1656893"/>
          </a:xfrm>
          <a:prstGeom prst="ellipse">
            <a:avLst/>
          </a:prstGeom>
          <a:solidFill>
            <a:srgbClr val="FFFFFF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28" name="Пирог 27"/>
          <p:cNvSpPr/>
          <p:nvPr/>
        </p:nvSpPr>
        <p:spPr>
          <a:xfrm>
            <a:off x="2527752" y="5183029"/>
            <a:ext cx="1351365" cy="1351365"/>
          </a:xfrm>
          <a:prstGeom prst="pie">
            <a:avLst>
              <a:gd name="adj1" fmla="val 645753"/>
              <a:gd name="adj2" fmla="val 16475631"/>
            </a:avLst>
          </a:prstGeom>
          <a:solidFill>
            <a:schemeClr val="bg2">
              <a:lumMod val="50000"/>
            </a:schemeClr>
          </a:solidFill>
          <a:ln w="12700"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29" name="Пирог 28"/>
          <p:cNvSpPr/>
          <p:nvPr/>
        </p:nvSpPr>
        <p:spPr>
          <a:xfrm>
            <a:off x="2576522" y="5230070"/>
            <a:ext cx="1254653" cy="1254653"/>
          </a:xfrm>
          <a:prstGeom prst="pie">
            <a:avLst>
              <a:gd name="adj1" fmla="val 1002826"/>
              <a:gd name="adj2" fmla="val 16235717"/>
            </a:avLst>
          </a:prstGeom>
          <a:solidFill>
            <a:schemeClr val="bg1">
              <a:lumMod val="8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27" name="Пирог 26"/>
          <p:cNvSpPr/>
          <p:nvPr/>
        </p:nvSpPr>
        <p:spPr>
          <a:xfrm>
            <a:off x="2518938" y="5172486"/>
            <a:ext cx="1369821" cy="1369821"/>
          </a:xfrm>
          <a:prstGeom prst="pie">
            <a:avLst>
              <a:gd name="adj1" fmla="val 15952412"/>
              <a:gd name="adj2" fmla="val 1259875"/>
            </a:avLst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latin typeface="Arial Narrow" panose="020B0606020202030204" pitchFamily="34" charset="0"/>
              </a:rPr>
              <a:t>Российские производители испытывают </a:t>
            </a:r>
            <a:r>
              <a:rPr lang="ru-RU" dirty="0" smtClean="0">
                <a:latin typeface="Arial Narrow" panose="020B0606020202030204" pitchFamily="34" charset="0"/>
              </a:rPr>
              <a:t>затруднения с подтверждением </a:t>
            </a:r>
            <a:r>
              <a:rPr lang="ru-RU" dirty="0" smtClean="0">
                <a:latin typeface="Arial Narrow" panose="020B0606020202030204" pitchFamily="34" charset="0"/>
              </a:rPr>
              <a:t>соответствия продукции требованиям </a:t>
            </a:r>
            <a:r>
              <a:rPr lang="en-US" dirty="0" smtClean="0">
                <a:latin typeface="Arial Narrow" panose="020B0606020202030204" pitchFamily="34" charset="0"/>
              </a:rPr>
              <a:t>API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21" name="Прямоугольник с двумя скругленными соседними углами 20"/>
          <p:cNvSpPr/>
          <p:nvPr/>
        </p:nvSpPr>
        <p:spPr>
          <a:xfrm>
            <a:off x="6696236" y="2832506"/>
            <a:ext cx="2052228" cy="1494536"/>
          </a:xfrm>
          <a:prstGeom prst="round2SameRect">
            <a:avLst>
              <a:gd name="adj1" fmla="val 28464"/>
              <a:gd name="adj2" fmla="val 33358"/>
            </a:avLst>
          </a:prstGeom>
          <a:solidFill>
            <a:schemeClr val="accent3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6845578" y="3525133"/>
            <a:ext cx="1722443" cy="52322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1400" b="1" dirty="0" smtClean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РОЕКТ НЕФТЕПЕРЕРАБОТКИ</a:t>
            </a:r>
            <a:endParaRPr lang="en-US" sz="1400" b="1" dirty="0">
              <a:solidFill>
                <a:schemeClr val="bg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3" name="Picture120"/>
          <p:cNvSpPr>
            <a:spLocks noChangeAspect="1" noEditPoints="1"/>
          </p:cNvSpPr>
          <p:nvPr/>
        </p:nvSpPr>
        <p:spPr bwMode="auto">
          <a:xfrm>
            <a:off x="7524328" y="3034305"/>
            <a:ext cx="415299" cy="386994"/>
          </a:xfrm>
          <a:custGeom>
            <a:avLst/>
            <a:gdLst>
              <a:gd name="T0" fmla="*/ 1590 w 1702"/>
              <a:gd name="T1" fmla="*/ 1180 h 1586"/>
              <a:gd name="T2" fmla="*/ 1582 w 1702"/>
              <a:gd name="T3" fmla="*/ 1132 h 1586"/>
              <a:gd name="T4" fmla="*/ 1562 w 1702"/>
              <a:gd name="T5" fmla="*/ 1088 h 1586"/>
              <a:gd name="T6" fmla="*/ 1530 w 1702"/>
              <a:gd name="T7" fmla="*/ 1054 h 1586"/>
              <a:gd name="T8" fmla="*/ 1490 w 1702"/>
              <a:gd name="T9" fmla="*/ 1030 h 1586"/>
              <a:gd name="T10" fmla="*/ 1442 w 1702"/>
              <a:gd name="T11" fmla="*/ 1018 h 1586"/>
              <a:gd name="T12" fmla="*/ 1418 w 1702"/>
              <a:gd name="T13" fmla="*/ 1092 h 1586"/>
              <a:gd name="T14" fmla="*/ 1444 w 1702"/>
              <a:gd name="T15" fmla="*/ 1092 h 1586"/>
              <a:gd name="T16" fmla="*/ 1488 w 1702"/>
              <a:gd name="T17" fmla="*/ 1118 h 1586"/>
              <a:gd name="T18" fmla="*/ 1514 w 1702"/>
              <a:gd name="T19" fmla="*/ 1162 h 1586"/>
              <a:gd name="T20" fmla="*/ 1416 w 1702"/>
              <a:gd name="T21" fmla="*/ 1474 h 1586"/>
              <a:gd name="T22" fmla="*/ 1416 w 1702"/>
              <a:gd name="T23" fmla="*/ 932 h 1586"/>
              <a:gd name="T24" fmla="*/ 1406 w 1702"/>
              <a:gd name="T25" fmla="*/ 888 h 1586"/>
              <a:gd name="T26" fmla="*/ 1384 w 1702"/>
              <a:gd name="T27" fmla="*/ 850 h 1586"/>
              <a:gd name="T28" fmla="*/ 1354 w 1702"/>
              <a:gd name="T29" fmla="*/ 820 h 1586"/>
              <a:gd name="T30" fmla="*/ 1318 w 1702"/>
              <a:gd name="T31" fmla="*/ 800 h 1586"/>
              <a:gd name="T32" fmla="*/ 1276 w 1702"/>
              <a:gd name="T33" fmla="*/ 792 h 1586"/>
              <a:gd name="T34" fmla="*/ 1248 w 1702"/>
              <a:gd name="T35" fmla="*/ 796 h 1586"/>
              <a:gd name="T36" fmla="*/ 1208 w 1702"/>
              <a:gd name="T37" fmla="*/ 812 h 1586"/>
              <a:gd name="T38" fmla="*/ 1176 w 1702"/>
              <a:gd name="T39" fmla="*/ 838 h 1586"/>
              <a:gd name="T40" fmla="*/ 1152 w 1702"/>
              <a:gd name="T41" fmla="*/ 874 h 1586"/>
              <a:gd name="T42" fmla="*/ 1138 w 1702"/>
              <a:gd name="T43" fmla="*/ 916 h 1586"/>
              <a:gd name="T44" fmla="*/ 1134 w 1702"/>
              <a:gd name="T45" fmla="*/ 1134 h 1586"/>
              <a:gd name="T46" fmla="*/ 1022 w 1702"/>
              <a:gd name="T47" fmla="*/ 452 h 1586"/>
              <a:gd name="T48" fmla="*/ 964 w 1702"/>
              <a:gd name="T49" fmla="*/ 396 h 1586"/>
              <a:gd name="T50" fmla="*/ 738 w 1702"/>
              <a:gd name="T51" fmla="*/ 340 h 1586"/>
              <a:gd name="T52" fmla="*/ 794 w 1702"/>
              <a:gd name="T53" fmla="*/ 1134 h 1586"/>
              <a:gd name="T54" fmla="*/ 568 w 1702"/>
              <a:gd name="T55" fmla="*/ 622 h 1586"/>
              <a:gd name="T56" fmla="*/ 398 w 1702"/>
              <a:gd name="T57" fmla="*/ 56 h 1586"/>
              <a:gd name="T58" fmla="*/ 114 w 1702"/>
              <a:gd name="T59" fmla="*/ 0 h 1586"/>
              <a:gd name="T60" fmla="*/ 114 w 1702"/>
              <a:gd name="T61" fmla="*/ 1474 h 1586"/>
              <a:gd name="T62" fmla="*/ 1702 w 1702"/>
              <a:gd name="T63" fmla="*/ 1586 h 1586"/>
              <a:gd name="T64" fmla="*/ 1022 w 1702"/>
              <a:gd name="T65" fmla="*/ 792 h 1586"/>
              <a:gd name="T66" fmla="*/ 964 w 1702"/>
              <a:gd name="T67" fmla="*/ 792 h 1586"/>
              <a:gd name="T68" fmla="*/ 964 w 1702"/>
              <a:gd name="T69" fmla="*/ 680 h 1586"/>
              <a:gd name="T70" fmla="*/ 964 w 1702"/>
              <a:gd name="T71" fmla="*/ 736 h 1586"/>
              <a:gd name="T72" fmla="*/ 964 w 1702"/>
              <a:gd name="T73" fmla="*/ 964 h 1586"/>
              <a:gd name="T74" fmla="*/ 1022 w 1702"/>
              <a:gd name="T75" fmla="*/ 1020 h 1586"/>
              <a:gd name="T76" fmla="*/ 964 w 1702"/>
              <a:gd name="T77" fmla="*/ 1020 h 1586"/>
              <a:gd name="T78" fmla="*/ 1022 w 1702"/>
              <a:gd name="T79" fmla="*/ 622 h 1586"/>
              <a:gd name="T80" fmla="*/ 1022 w 1702"/>
              <a:gd name="T81" fmla="*/ 566 h 1586"/>
              <a:gd name="T82" fmla="*/ 1022 w 1702"/>
              <a:gd name="T83" fmla="*/ 1134 h 1586"/>
              <a:gd name="T84" fmla="*/ 794 w 1702"/>
              <a:gd name="T85" fmla="*/ 1246 h 1586"/>
              <a:gd name="T86" fmla="*/ 1078 w 1702"/>
              <a:gd name="T87" fmla="*/ 1246 h 1586"/>
              <a:gd name="T88" fmla="*/ 448 w 1702"/>
              <a:gd name="T89" fmla="*/ 1306 h 15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702" h="1586">
                <a:moveTo>
                  <a:pt x="1590" y="1474"/>
                </a:moveTo>
                <a:lnTo>
                  <a:pt x="1590" y="1180"/>
                </a:lnTo>
                <a:lnTo>
                  <a:pt x="1590" y="1180"/>
                </a:lnTo>
                <a:lnTo>
                  <a:pt x="1590" y="1164"/>
                </a:lnTo>
                <a:lnTo>
                  <a:pt x="1586" y="1148"/>
                </a:lnTo>
                <a:lnTo>
                  <a:pt x="1582" y="1132"/>
                </a:lnTo>
                <a:lnTo>
                  <a:pt x="1576" y="1116"/>
                </a:lnTo>
                <a:lnTo>
                  <a:pt x="1570" y="1102"/>
                </a:lnTo>
                <a:lnTo>
                  <a:pt x="1562" y="1088"/>
                </a:lnTo>
                <a:lnTo>
                  <a:pt x="1552" y="1076"/>
                </a:lnTo>
                <a:lnTo>
                  <a:pt x="1542" y="1064"/>
                </a:lnTo>
                <a:lnTo>
                  <a:pt x="1530" y="1054"/>
                </a:lnTo>
                <a:lnTo>
                  <a:pt x="1518" y="1044"/>
                </a:lnTo>
                <a:lnTo>
                  <a:pt x="1504" y="1036"/>
                </a:lnTo>
                <a:lnTo>
                  <a:pt x="1490" y="1030"/>
                </a:lnTo>
                <a:lnTo>
                  <a:pt x="1474" y="1024"/>
                </a:lnTo>
                <a:lnTo>
                  <a:pt x="1458" y="1020"/>
                </a:lnTo>
                <a:lnTo>
                  <a:pt x="1442" y="1018"/>
                </a:lnTo>
                <a:lnTo>
                  <a:pt x="1426" y="1016"/>
                </a:lnTo>
                <a:lnTo>
                  <a:pt x="1418" y="1016"/>
                </a:lnTo>
                <a:lnTo>
                  <a:pt x="1418" y="1092"/>
                </a:lnTo>
                <a:lnTo>
                  <a:pt x="1426" y="1092"/>
                </a:lnTo>
                <a:lnTo>
                  <a:pt x="1426" y="1092"/>
                </a:lnTo>
                <a:lnTo>
                  <a:pt x="1444" y="1092"/>
                </a:lnTo>
                <a:lnTo>
                  <a:pt x="1460" y="1098"/>
                </a:lnTo>
                <a:lnTo>
                  <a:pt x="1476" y="1106"/>
                </a:lnTo>
                <a:lnTo>
                  <a:pt x="1488" y="1118"/>
                </a:lnTo>
                <a:lnTo>
                  <a:pt x="1500" y="1130"/>
                </a:lnTo>
                <a:lnTo>
                  <a:pt x="1508" y="1146"/>
                </a:lnTo>
                <a:lnTo>
                  <a:pt x="1514" y="1162"/>
                </a:lnTo>
                <a:lnTo>
                  <a:pt x="1516" y="1180"/>
                </a:lnTo>
                <a:lnTo>
                  <a:pt x="1516" y="1474"/>
                </a:lnTo>
                <a:lnTo>
                  <a:pt x="1416" y="1474"/>
                </a:lnTo>
                <a:lnTo>
                  <a:pt x="1416" y="948"/>
                </a:lnTo>
                <a:lnTo>
                  <a:pt x="1416" y="948"/>
                </a:lnTo>
                <a:lnTo>
                  <a:pt x="1416" y="932"/>
                </a:lnTo>
                <a:lnTo>
                  <a:pt x="1414" y="916"/>
                </a:lnTo>
                <a:lnTo>
                  <a:pt x="1410" y="902"/>
                </a:lnTo>
                <a:lnTo>
                  <a:pt x="1406" y="888"/>
                </a:lnTo>
                <a:lnTo>
                  <a:pt x="1400" y="874"/>
                </a:lnTo>
                <a:lnTo>
                  <a:pt x="1392" y="860"/>
                </a:lnTo>
                <a:lnTo>
                  <a:pt x="1384" y="850"/>
                </a:lnTo>
                <a:lnTo>
                  <a:pt x="1376" y="838"/>
                </a:lnTo>
                <a:lnTo>
                  <a:pt x="1366" y="828"/>
                </a:lnTo>
                <a:lnTo>
                  <a:pt x="1354" y="820"/>
                </a:lnTo>
                <a:lnTo>
                  <a:pt x="1342" y="812"/>
                </a:lnTo>
                <a:lnTo>
                  <a:pt x="1330" y="806"/>
                </a:lnTo>
                <a:lnTo>
                  <a:pt x="1318" y="800"/>
                </a:lnTo>
                <a:lnTo>
                  <a:pt x="1304" y="796"/>
                </a:lnTo>
                <a:lnTo>
                  <a:pt x="1290" y="794"/>
                </a:lnTo>
                <a:lnTo>
                  <a:pt x="1276" y="792"/>
                </a:lnTo>
                <a:lnTo>
                  <a:pt x="1276" y="792"/>
                </a:lnTo>
                <a:lnTo>
                  <a:pt x="1262" y="794"/>
                </a:lnTo>
                <a:lnTo>
                  <a:pt x="1248" y="796"/>
                </a:lnTo>
                <a:lnTo>
                  <a:pt x="1234" y="800"/>
                </a:lnTo>
                <a:lnTo>
                  <a:pt x="1220" y="806"/>
                </a:lnTo>
                <a:lnTo>
                  <a:pt x="1208" y="812"/>
                </a:lnTo>
                <a:lnTo>
                  <a:pt x="1196" y="820"/>
                </a:lnTo>
                <a:lnTo>
                  <a:pt x="1186" y="828"/>
                </a:lnTo>
                <a:lnTo>
                  <a:pt x="1176" y="838"/>
                </a:lnTo>
                <a:lnTo>
                  <a:pt x="1166" y="850"/>
                </a:lnTo>
                <a:lnTo>
                  <a:pt x="1158" y="860"/>
                </a:lnTo>
                <a:lnTo>
                  <a:pt x="1152" y="874"/>
                </a:lnTo>
                <a:lnTo>
                  <a:pt x="1146" y="888"/>
                </a:lnTo>
                <a:lnTo>
                  <a:pt x="1140" y="902"/>
                </a:lnTo>
                <a:lnTo>
                  <a:pt x="1138" y="916"/>
                </a:lnTo>
                <a:lnTo>
                  <a:pt x="1136" y="932"/>
                </a:lnTo>
                <a:lnTo>
                  <a:pt x="1134" y="948"/>
                </a:lnTo>
                <a:lnTo>
                  <a:pt x="1134" y="1134"/>
                </a:lnTo>
                <a:lnTo>
                  <a:pt x="1078" y="1134"/>
                </a:lnTo>
                <a:lnTo>
                  <a:pt x="1078" y="452"/>
                </a:lnTo>
                <a:lnTo>
                  <a:pt x="1022" y="452"/>
                </a:lnTo>
                <a:lnTo>
                  <a:pt x="1022" y="510"/>
                </a:lnTo>
                <a:lnTo>
                  <a:pt x="964" y="510"/>
                </a:lnTo>
                <a:lnTo>
                  <a:pt x="964" y="396"/>
                </a:lnTo>
                <a:lnTo>
                  <a:pt x="1022" y="396"/>
                </a:lnTo>
                <a:lnTo>
                  <a:pt x="1022" y="340"/>
                </a:lnTo>
                <a:lnTo>
                  <a:pt x="738" y="340"/>
                </a:lnTo>
                <a:lnTo>
                  <a:pt x="738" y="396"/>
                </a:lnTo>
                <a:lnTo>
                  <a:pt x="794" y="396"/>
                </a:lnTo>
                <a:lnTo>
                  <a:pt x="794" y="1134"/>
                </a:lnTo>
                <a:lnTo>
                  <a:pt x="680" y="1134"/>
                </a:lnTo>
                <a:lnTo>
                  <a:pt x="680" y="622"/>
                </a:lnTo>
                <a:lnTo>
                  <a:pt x="568" y="622"/>
                </a:lnTo>
                <a:lnTo>
                  <a:pt x="568" y="1134"/>
                </a:lnTo>
                <a:lnTo>
                  <a:pt x="440" y="1134"/>
                </a:lnTo>
                <a:lnTo>
                  <a:pt x="398" y="56"/>
                </a:lnTo>
                <a:lnTo>
                  <a:pt x="454" y="56"/>
                </a:lnTo>
                <a:lnTo>
                  <a:pt x="454" y="0"/>
                </a:lnTo>
                <a:lnTo>
                  <a:pt x="114" y="0"/>
                </a:lnTo>
                <a:lnTo>
                  <a:pt x="114" y="56"/>
                </a:lnTo>
                <a:lnTo>
                  <a:pt x="170" y="56"/>
                </a:lnTo>
                <a:lnTo>
                  <a:pt x="114" y="1474"/>
                </a:lnTo>
                <a:lnTo>
                  <a:pt x="0" y="1474"/>
                </a:lnTo>
                <a:lnTo>
                  <a:pt x="0" y="1586"/>
                </a:lnTo>
                <a:lnTo>
                  <a:pt x="1702" y="1586"/>
                </a:lnTo>
                <a:lnTo>
                  <a:pt x="1702" y="1474"/>
                </a:lnTo>
                <a:lnTo>
                  <a:pt x="1590" y="1474"/>
                </a:lnTo>
                <a:close/>
                <a:moveTo>
                  <a:pt x="1022" y="792"/>
                </a:moveTo>
                <a:lnTo>
                  <a:pt x="1022" y="850"/>
                </a:lnTo>
                <a:lnTo>
                  <a:pt x="964" y="850"/>
                </a:lnTo>
                <a:lnTo>
                  <a:pt x="964" y="792"/>
                </a:lnTo>
                <a:lnTo>
                  <a:pt x="1022" y="792"/>
                </a:lnTo>
                <a:close/>
                <a:moveTo>
                  <a:pt x="964" y="736"/>
                </a:moveTo>
                <a:lnTo>
                  <a:pt x="964" y="680"/>
                </a:lnTo>
                <a:lnTo>
                  <a:pt x="1022" y="680"/>
                </a:lnTo>
                <a:lnTo>
                  <a:pt x="1022" y="736"/>
                </a:lnTo>
                <a:lnTo>
                  <a:pt x="964" y="736"/>
                </a:lnTo>
                <a:close/>
                <a:moveTo>
                  <a:pt x="1022" y="906"/>
                </a:moveTo>
                <a:lnTo>
                  <a:pt x="1022" y="964"/>
                </a:lnTo>
                <a:lnTo>
                  <a:pt x="964" y="964"/>
                </a:lnTo>
                <a:lnTo>
                  <a:pt x="964" y="906"/>
                </a:lnTo>
                <a:lnTo>
                  <a:pt x="1022" y="906"/>
                </a:lnTo>
                <a:close/>
                <a:moveTo>
                  <a:pt x="1022" y="1020"/>
                </a:moveTo>
                <a:lnTo>
                  <a:pt x="1022" y="1076"/>
                </a:lnTo>
                <a:lnTo>
                  <a:pt x="964" y="1076"/>
                </a:lnTo>
                <a:lnTo>
                  <a:pt x="964" y="1020"/>
                </a:lnTo>
                <a:lnTo>
                  <a:pt x="1022" y="1020"/>
                </a:lnTo>
                <a:close/>
                <a:moveTo>
                  <a:pt x="1022" y="566"/>
                </a:moveTo>
                <a:lnTo>
                  <a:pt x="1022" y="622"/>
                </a:lnTo>
                <a:lnTo>
                  <a:pt x="964" y="622"/>
                </a:lnTo>
                <a:lnTo>
                  <a:pt x="964" y="566"/>
                </a:lnTo>
                <a:lnTo>
                  <a:pt x="1022" y="566"/>
                </a:lnTo>
                <a:close/>
                <a:moveTo>
                  <a:pt x="964" y="1134"/>
                </a:moveTo>
                <a:lnTo>
                  <a:pt x="1022" y="1134"/>
                </a:lnTo>
                <a:lnTo>
                  <a:pt x="1022" y="1134"/>
                </a:lnTo>
                <a:lnTo>
                  <a:pt x="964" y="1134"/>
                </a:lnTo>
                <a:lnTo>
                  <a:pt x="964" y="1134"/>
                </a:lnTo>
                <a:close/>
                <a:moveTo>
                  <a:pt x="794" y="1246"/>
                </a:moveTo>
                <a:lnTo>
                  <a:pt x="964" y="1246"/>
                </a:lnTo>
                <a:lnTo>
                  <a:pt x="1022" y="1246"/>
                </a:lnTo>
                <a:lnTo>
                  <a:pt x="1078" y="1246"/>
                </a:lnTo>
                <a:lnTo>
                  <a:pt x="1134" y="1246"/>
                </a:lnTo>
                <a:lnTo>
                  <a:pt x="1134" y="1306"/>
                </a:lnTo>
                <a:lnTo>
                  <a:pt x="448" y="1306"/>
                </a:lnTo>
                <a:lnTo>
                  <a:pt x="446" y="1246"/>
                </a:lnTo>
                <a:lnTo>
                  <a:pt x="794" y="124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75613" tIns="37806" rIns="75613" bIns="37806" numCol="1" anchor="t" anchorCtr="0" compatLnSpc="1">
            <a:prstTxWarp prst="textNoShape">
              <a:avLst/>
            </a:prstTxWarp>
          </a:bodyPr>
          <a:lstStyle/>
          <a:p>
            <a:endParaRPr lang="ru-RU" sz="1488" dirty="0">
              <a:latin typeface="Arial Narrow" panose="020B0606020202030204" pitchFamily="34" charset="0"/>
            </a:endParaRPr>
          </a:p>
        </p:txBody>
      </p:sp>
      <p:pic>
        <p:nvPicPr>
          <p:cNvPr id="24" name="Russia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237094" y="5653623"/>
            <a:ext cx="428912" cy="285949"/>
          </a:xfrm>
          <a:prstGeom prst="rect">
            <a:avLst/>
          </a:prstGeom>
          <a:solidFill>
            <a:schemeClr val="bg1"/>
          </a:solidFill>
          <a:ln w="88900" cap="sq">
            <a:noFill/>
            <a:miter lim="800000"/>
          </a:ln>
          <a:effectLst/>
        </p:spPr>
      </p:pic>
      <p:sp>
        <p:nvSpPr>
          <p:cNvPr id="25" name="Прямоугольник 24"/>
          <p:cNvSpPr/>
          <p:nvPr/>
        </p:nvSpPr>
        <p:spPr>
          <a:xfrm>
            <a:off x="4716016" y="5616406"/>
            <a:ext cx="138138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Доля </a:t>
            </a:r>
          </a:p>
          <a:p>
            <a:r>
              <a:rPr lang="ru-RU" sz="1200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российских производителей</a:t>
            </a:r>
            <a:endParaRPr lang="ru-RU" sz="1200" dirty="0">
              <a:solidFill>
                <a:schemeClr val="bg2">
                  <a:lumMod val="75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3702578" y="5760422"/>
            <a:ext cx="428912" cy="0"/>
          </a:xfrm>
          <a:prstGeom prst="line">
            <a:avLst/>
          </a:prstGeom>
          <a:ln>
            <a:solidFill>
              <a:schemeClr val="accent3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/>
          <p:cNvCxnSpPr>
            <a:stCxn id="12" idx="0"/>
          </p:cNvCxnSpPr>
          <p:nvPr/>
        </p:nvCxnSpPr>
        <p:spPr>
          <a:xfrm flipV="1">
            <a:off x="3161559" y="1755639"/>
            <a:ext cx="23853" cy="3321805"/>
          </a:xfrm>
          <a:prstGeom prst="line">
            <a:avLst/>
          </a:prstGeom>
          <a:ln w="38100">
            <a:gradFill>
              <a:gsLst>
                <a:gs pos="0">
                  <a:srgbClr val="C00000"/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5400000" scaled="0"/>
            </a:gra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/>
          <p:cNvSpPr txBox="1"/>
          <p:nvPr/>
        </p:nvSpPr>
        <p:spPr>
          <a:xfrm>
            <a:off x="191732" y="3338537"/>
            <a:ext cx="1722443" cy="52322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1400" b="1" dirty="0" smtClean="0">
                <a:solidFill>
                  <a:schemeClr val="accent3">
                    <a:lumMod val="7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РОССИЙСКИЕ ПРОИЗВОДИТЕЛИ </a:t>
            </a:r>
            <a:endParaRPr lang="en-US" sz="1400" b="1" dirty="0">
              <a:solidFill>
                <a:schemeClr val="accent3">
                  <a:lumMod val="75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Дуга 11"/>
          <p:cNvSpPr/>
          <p:nvPr/>
        </p:nvSpPr>
        <p:spPr>
          <a:xfrm>
            <a:off x="2365601" y="5077444"/>
            <a:ext cx="1591916" cy="1591916"/>
          </a:xfrm>
          <a:prstGeom prst="arc">
            <a:avLst>
              <a:gd name="adj1" fmla="val 16200000"/>
              <a:gd name="adj2" fmla="val 911422"/>
            </a:avLst>
          </a:prstGeom>
          <a:ln w="38100">
            <a:solidFill>
              <a:srgbClr val="C0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4" name="TextBox 13"/>
          <p:cNvSpPr txBox="1"/>
          <p:nvPr/>
        </p:nvSpPr>
        <p:spPr>
          <a:xfrm>
            <a:off x="2748115" y="1424287"/>
            <a:ext cx="884842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1600" dirty="0" smtClean="0">
                <a:solidFill>
                  <a:schemeClr val="accent6"/>
                </a:solidFill>
                <a:latin typeface="Arial Narrow" panose="020B0606020202030204" pitchFamily="34" charset="0"/>
              </a:rPr>
              <a:t>БАРЬЕРЫ</a:t>
            </a:r>
          </a:p>
        </p:txBody>
      </p:sp>
      <p:sp>
        <p:nvSpPr>
          <p:cNvPr id="52" name="Shape 2625"/>
          <p:cNvSpPr/>
          <p:nvPr/>
        </p:nvSpPr>
        <p:spPr>
          <a:xfrm>
            <a:off x="2966433" y="1052736"/>
            <a:ext cx="432540" cy="35389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20400"/>
                </a:moveTo>
                <a:lnTo>
                  <a:pt x="1964" y="20400"/>
                </a:lnTo>
                <a:cubicBezTo>
                  <a:pt x="1422" y="20400"/>
                  <a:pt x="982" y="19862"/>
                  <a:pt x="982" y="19200"/>
                </a:cubicBezTo>
                <a:cubicBezTo>
                  <a:pt x="982" y="18949"/>
                  <a:pt x="1025" y="18796"/>
                  <a:pt x="1048" y="18734"/>
                </a:cubicBezTo>
                <a:cubicBezTo>
                  <a:pt x="1065" y="18712"/>
                  <a:pt x="1048" y="18729"/>
                  <a:pt x="1078" y="18673"/>
                </a:cubicBezTo>
                <a:lnTo>
                  <a:pt x="9914" y="1873"/>
                </a:lnTo>
                <a:cubicBezTo>
                  <a:pt x="9930" y="1843"/>
                  <a:pt x="9944" y="1813"/>
                  <a:pt x="9957" y="1783"/>
                </a:cubicBezTo>
                <a:cubicBezTo>
                  <a:pt x="9960" y="1778"/>
                  <a:pt x="10234" y="1200"/>
                  <a:pt x="10800" y="1200"/>
                </a:cubicBezTo>
                <a:cubicBezTo>
                  <a:pt x="11366" y="1200"/>
                  <a:pt x="11588" y="1654"/>
                  <a:pt x="11617" y="1719"/>
                </a:cubicBezTo>
                <a:cubicBezTo>
                  <a:pt x="11641" y="1792"/>
                  <a:pt x="11650" y="1806"/>
                  <a:pt x="11686" y="1873"/>
                </a:cubicBezTo>
                <a:lnTo>
                  <a:pt x="20522" y="18673"/>
                </a:lnTo>
                <a:cubicBezTo>
                  <a:pt x="20535" y="18697"/>
                  <a:pt x="20548" y="18720"/>
                  <a:pt x="20562" y="18744"/>
                </a:cubicBezTo>
                <a:cubicBezTo>
                  <a:pt x="20576" y="18785"/>
                  <a:pt x="20618" y="18928"/>
                  <a:pt x="20618" y="19200"/>
                </a:cubicBezTo>
                <a:cubicBezTo>
                  <a:pt x="20618" y="19862"/>
                  <a:pt x="20177" y="20400"/>
                  <a:pt x="19636" y="20400"/>
                </a:cubicBezTo>
                <a:moveTo>
                  <a:pt x="21348" y="18023"/>
                </a:moveTo>
                <a:lnTo>
                  <a:pt x="12511" y="1223"/>
                </a:lnTo>
                <a:cubicBezTo>
                  <a:pt x="12511" y="1223"/>
                  <a:pt x="12058" y="0"/>
                  <a:pt x="10800" y="0"/>
                </a:cubicBezTo>
                <a:cubicBezTo>
                  <a:pt x="9616" y="0"/>
                  <a:pt x="9089" y="1223"/>
                  <a:pt x="9089" y="1223"/>
                </a:cubicBezTo>
                <a:lnTo>
                  <a:pt x="252" y="18023"/>
                </a:lnTo>
                <a:cubicBezTo>
                  <a:pt x="252" y="18023"/>
                  <a:pt x="0" y="18421"/>
                  <a:pt x="0" y="19200"/>
                </a:cubicBezTo>
                <a:cubicBezTo>
                  <a:pt x="0" y="20526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cubicBezTo>
                  <a:pt x="21600" y="18362"/>
                  <a:pt x="21348" y="18023"/>
                  <a:pt x="21348" y="18023"/>
                </a:cubicBezTo>
                <a:moveTo>
                  <a:pt x="10800" y="15600"/>
                </a:moveTo>
                <a:cubicBezTo>
                  <a:pt x="10258" y="15600"/>
                  <a:pt x="9818" y="16138"/>
                  <a:pt x="9818" y="16800"/>
                </a:cubicBezTo>
                <a:cubicBezTo>
                  <a:pt x="9818" y="17462"/>
                  <a:pt x="10258" y="18000"/>
                  <a:pt x="10800" y="18000"/>
                </a:cubicBezTo>
                <a:cubicBezTo>
                  <a:pt x="11342" y="18000"/>
                  <a:pt x="11782" y="17462"/>
                  <a:pt x="11782" y="16800"/>
                </a:cubicBezTo>
                <a:cubicBezTo>
                  <a:pt x="11782" y="16138"/>
                  <a:pt x="11342" y="15600"/>
                  <a:pt x="10800" y="15600"/>
                </a:cubicBezTo>
                <a:moveTo>
                  <a:pt x="10800" y="6000"/>
                </a:moveTo>
                <a:cubicBezTo>
                  <a:pt x="10258" y="6000"/>
                  <a:pt x="9818" y="6538"/>
                  <a:pt x="9818" y="7200"/>
                </a:cubicBezTo>
                <a:lnTo>
                  <a:pt x="10309" y="13800"/>
                </a:lnTo>
                <a:cubicBezTo>
                  <a:pt x="10309" y="14132"/>
                  <a:pt x="10529" y="14400"/>
                  <a:pt x="10800" y="14400"/>
                </a:cubicBezTo>
                <a:cubicBezTo>
                  <a:pt x="11071" y="14400"/>
                  <a:pt x="11291" y="14132"/>
                  <a:pt x="11291" y="13800"/>
                </a:cubicBezTo>
                <a:lnTo>
                  <a:pt x="11782" y="7200"/>
                </a:lnTo>
                <a:cubicBezTo>
                  <a:pt x="11782" y="6538"/>
                  <a:pt x="11342" y="6000"/>
                  <a:pt x="10800" y="6000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 dirty="0">
              <a:latin typeface="Source Sans Pro Light" charset="0"/>
              <a:ea typeface="Source Sans Pro Light" charset="0"/>
              <a:cs typeface="Source Sans Pro Light" charset="0"/>
            </a:endParaRPr>
          </a:p>
        </p:txBody>
      </p:sp>
      <p:sp>
        <p:nvSpPr>
          <p:cNvPr id="54" name="Shape 2617"/>
          <p:cNvSpPr/>
          <p:nvPr/>
        </p:nvSpPr>
        <p:spPr>
          <a:xfrm>
            <a:off x="857390" y="2879497"/>
            <a:ext cx="426006" cy="34830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457" y="20400"/>
                </a:moveTo>
                <a:cubicBezTo>
                  <a:pt x="4686" y="18711"/>
                  <a:pt x="5897" y="18036"/>
                  <a:pt x="7134" y="17493"/>
                </a:cubicBezTo>
                <a:lnTo>
                  <a:pt x="7173" y="17477"/>
                </a:lnTo>
                <a:cubicBezTo>
                  <a:pt x="8055" y="17190"/>
                  <a:pt x="9626" y="16039"/>
                  <a:pt x="9626" y="13569"/>
                </a:cubicBezTo>
                <a:cubicBezTo>
                  <a:pt x="9626" y="11474"/>
                  <a:pt x="8932" y="10452"/>
                  <a:pt x="8558" y="9902"/>
                </a:cubicBezTo>
                <a:cubicBezTo>
                  <a:pt x="8484" y="9791"/>
                  <a:pt x="8394" y="9649"/>
                  <a:pt x="8414" y="9680"/>
                </a:cubicBezTo>
                <a:cubicBezTo>
                  <a:pt x="8384" y="9599"/>
                  <a:pt x="8237" y="9129"/>
                  <a:pt x="8449" y="8035"/>
                </a:cubicBezTo>
                <a:cubicBezTo>
                  <a:pt x="8549" y="7522"/>
                  <a:pt x="8380" y="7241"/>
                  <a:pt x="8380" y="7241"/>
                </a:cubicBezTo>
                <a:cubicBezTo>
                  <a:pt x="8112" y="6505"/>
                  <a:pt x="7614" y="5133"/>
                  <a:pt x="7988" y="4025"/>
                </a:cubicBezTo>
                <a:cubicBezTo>
                  <a:pt x="8490" y="2492"/>
                  <a:pt x="8935" y="2190"/>
                  <a:pt x="9741" y="1747"/>
                </a:cubicBezTo>
                <a:cubicBezTo>
                  <a:pt x="9788" y="1721"/>
                  <a:pt x="9834" y="1691"/>
                  <a:pt x="9877" y="1657"/>
                </a:cubicBezTo>
                <a:cubicBezTo>
                  <a:pt x="10029" y="1535"/>
                  <a:pt x="10674" y="1200"/>
                  <a:pt x="11403" y="1200"/>
                </a:cubicBezTo>
                <a:cubicBezTo>
                  <a:pt x="11768" y="1200"/>
                  <a:pt x="12075" y="1285"/>
                  <a:pt x="12318" y="1454"/>
                </a:cubicBezTo>
                <a:cubicBezTo>
                  <a:pt x="12610" y="1655"/>
                  <a:pt x="12890" y="2039"/>
                  <a:pt x="13313" y="3271"/>
                </a:cubicBezTo>
                <a:cubicBezTo>
                  <a:pt x="14101" y="5469"/>
                  <a:pt x="13602" y="6698"/>
                  <a:pt x="13350" y="7124"/>
                </a:cubicBezTo>
                <a:cubicBezTo>
                  <a:pt x="13183" y="7407"/>
                  <a:pt x="13126" y="7764"/>
                  <a:pt x="13191" y="8102"/>
                </a:cubicBezTo>
                <a:cubicBezTo>
                  <a:pt x="13386" y="9109"/>
                  <a:pt x="13260" y="9534"/>
                  <a:pt x="13227" y="9619"/>
                </a:cubicBezTo>
                <a:cubicBezTo>
                  <a:pt x="13219" y="9631"/>
                  <a:pt x="13101" y="9814"/>
                  <a:pt x="13041" y="9902"/>
                </a:cubicBezTo>
                <a:cubicBezTo>
                  <a:pt x="12668" y="10452"/>
                  <a:pt x="11973" y="11474"/>
                  <a:pt x="11973" y="13569"/>
                </a:cubicBezTo>
                <a:cubicBezTo>
                  <a:pt x="11973" y="16039"/>
                  <a:pt x="13545" y="17190"/>
                  <a:pt x="14427" y="17477"/>
                </a:cubicBezTo>
                <a:lnTo>
                  <a:pt x="14466" y="17493"/>
                </a:lnTo>
                <a:cubicBezTo>
                  <a:pt x="15703" y="18036"/>
                  <a:pt x="16914" y="18711"/>
                  <a:pt x="17143" y="20400"/>
                </a:cubicBezTo>
                <a:cubicBezTo>
                  <a:pt x="17143" y="20400"/>
                  <a:pt x="4457" y="20400"/>
                  <a:pt x="4457" y="20400"/>
                </a:cubicBezTo>
                <a:close/>
                <a:moveTo>
                  <a:pt x="14715" y="16328"/>
                </a:moveTo>
                <a:cubicBezTo>
                  <a:pt x="14715" y="16328"/>
                  <a:pt x="12955" y="15815"/>
                  <a:pt x="12955" y="13569"/>
                </a:cubicBezTo>
                <a:cubicBezTo>
                  <a:pt x="12955" y="11596"/>
                  <a:pt x="13678" y="10901"/>
                  <a:pt x="13957" y="10421"/>
                </a:cubicBezTo>
                <a:cubicBezTo>
                  <a:pt x="13957" y="10421"/>
                  <a:pt x="14531" y="9807"/>
                  <a:pt x="14146" y="7826"/>
                </a:cubicBezTo>
                <a:cubicBezTo>
                  <a:pt x="14787" y="6740"/>
                  <a:pt x="14995" y="4972"/>
                  <a:pt x="14211" y="2789"/>
                </a:cubicBezTo>
                <a:cubicBezTo>
                  <a:pt x="13774" y="1514"/>
                  <a:pt x="13389" y="815"/>
                  <a:pt x="12801" y="409"/>
                </a:cubicBezTo>
                <a:cubicBezTo>
                  <a:pt x="12370" y="110"/>
                  <a:pt x="11880" y="0"/>
                  <a:pt x="11403" y="0"/>
                </a:cubicBezTo>
                <a:cubicBezTo>
                  <a:pt x="10516" y="0"/>
                  <a:pt x="9675" y="384"/>
                  <a:pt x="9339" y="653"/>
                </a:cubicBezTo>
                <a:cubicBezTo>
                  <a:pt x="8357" y="1192"/>
                  <a:pt x="7697" y="1688"/>
                  <a:pt x="7077" y="3579"/>
                </a:cubicBezTo>
                <a:cubicBezTo>
                  <a:pt x="6540" y="5168"/>
                  <a:pt x="7179" y="6892"/>
                  <a:pt x="7494" y="7758"/>
                </a:cubicBezTo>
                <a:cubicBezTo>
                  <a:pt x="7110" y="9740"/>
                  <a:pt x="7642" y="10421"/>
                  <a:pt x="7642" y="10421"/>
                </a:cubicBezTo>
                <a:cubicBezTo>
                  <a:pt x="7922" y="10901"/>
                  <a:pt x="8644" y="11596"/>
                  <a:pt x="8644" y="13569"/>
                </a:cubicBezTo>
                <a:cubicBezTo>
                  <a:pt x="8644" y="15815"/>
                  <a:pt x="6885" y="16328"/>
                  <a:pt x="6885" y="16328"/>
                </a:cubicBezTo>
                <a:cubicBezTo>
                  <a:pt x="5768" y="16819"/>
                  <a:pt x="3436" y="17760"/>
                  <a:pt x="3436" y="21000"/>
                </a:cubicBezTo>
                <a:cubicBezTo>
                  <a:pt x="3436" y="21000"/>
                  <a:pt x="3436" y="21600"/>
                  <a:pt x="3927" y="21600"/>
                </a:cubicBezTo>
                <a:lnTo>
                  <a:pt x="17673" y="21600"/>
                </a:lnTo>
                <a:cubicBezTo>
                  <a:pt x="18164" y="21600"/>
                  <a:pt x="18164" y="21000"/>
                  <a:pt x="18164" y="21000"/>
                </a:cubicBezTo>
                <a:cubicBezTo>
                  <a:pt x="18164" y="17760"/>
                  <a:pt x="15832" y="16819"/>
                  <a:pt x="14715" y="16328"/>
                </a:cubicBezTo>
                <a:moveTo>
                  <a:pt x="19516" y="15006"/>
                </a:moveTo>
                <a:cubicBezTo>
                  <a:pt x="19516" y="15006"/>
                  <a:pt x="18416" y="14701"/>
                  <a:pt x="18416" y="12954"/>
                </a:cubicBezTo>
                <a:cubicBezTo>
                  <a:pt x="18416" y="11419"/>
                  <a:pt x="18794" y="10879"/>
                  <a:pt x="19017" y="10506"/>
                </a:cubicBezTo>
                <a:cubicBezTo>
                  <a:pt x="19017" y="10506"/>
                  <a:pt x="19443" y="9975"/>
                  <a:pt x="19136" y="8435"/>
                </a:cubicBezTo>
                <a:cubicBezTo>
                  <a:pt x="19388" y="7760"/>
                  <a:pt x="19900" y="6419"/>
                  <a:pt x="19470" y="5184"/>
                </a:cubicBezTo>
                <a:cubicBezTo>
                  <a:pt x="18974" y="3714"/>
                  <a:pt x="18645" y="3327"/>
                  <a:pt x="17860" y="2908"/>
                </a:cubicBezTo>
                <a:cubicBezTo>
                  <a:pt x="17591" y="2699"/>
                  <a:pt x="16918" y="2400"/>
                  <a:pt x="16208" y="2400"/>
                </a:cubicBezTo>
                <a:cubicBezTo>
                  <a:pt x="15873" y="2400"/>
                  <a:pt x="15531" y="2473"/>
                  <a:pt x="15218" y="2647"/>
                </a:cubicBezTo>
                <a:cubicBezTo>
                  <a:pt x="15343" y="3035"/>
                  <a:pt x="15449" y="3420"/>
                  <a:pt x="15525" y="3799"/>
                </a:cubicBezTo>
                <a:cubicBezTo>
                  <a:pt x="15537" y="3790"/>
                  <a:pt x="15550" y="3779"/>
                  <a:pt x="15563" y="3770"/>
                </a:cubicBezTo>
                <a:cubicBezTo>
                  <a:pt x="15730" y="3657"/>
                  <a:pt x="15948" y="3600"/>
                  <a:pt x="16208" y="3600"/>
                </a:cubicBezTo>
                <a:cubicBezTo>
                  <a:pt x="16716" y="3600"/>
                  <a:pt x="17211" y="3825"/>
                  <a:pt x="17332" y="3919"/>
                </a:cubicBezTo>
                <a:cubicBezTo>
                  <a:pt x="17375" y="3953"/>
                  <a:pt x="17421" y="3983"/>
                  <a:pt x="17467" y="4008"/>
                </a:cubicBezTo>
                <a:cubicBezTo>
                  <a:pt x="17950" y="4265"/>
                  <a:pt x="18131" y="4362"/>
                  <a:pt x="18562" y="5641"/>
                </a:cubicBezTo>
                <a:cubicBezTo>
                  <a:pt x="18822" y="6387"/>
                  <a:pt x="18452" y="7378"/>
                  <a:pt x="18253" y="7911"/>
                </a:cubicBezTo>
                <a:cubicBezTo>
                  <a:pt x="18161" y="8156"/>
                  <a:pt x="18130" y="8457"/>
                  <a:pt x="18182" y="8718"/>
                </a:cubicBezTo>
                <a:cubicBezTo>
                  <a:pt x="18316" y="9392"/>
                  <a:pt x="18254" y="9706"/>
                  <a:pt x="18232" y="9784"/>
                </a:cubicBezTo>
                <a:cubicBezTo>
                  <a:pt x="18230" y="9788"/>
                  <a:pt x="18227" y="9793"/>
                  <a:pt x="18224" y="9798"/>
                </a:cubicBezTo>
                <a:lnTo>
                  <a:pt x="18191" y="9853"/>
                </a:lnTo>
                <a:cubicBezTo>
                  <a:pt x="17926" y="10290"/>
                  <a:pt x="17434" y="11106"/>
                  <a:pt x="17434" y="12954"/>
                </a:cubicBezTo>
                <a:cubicBezTo>
                  <a:pt x="17434" y="15019"/>
                  <a:pt x="18570" y="15933"/>
                  <a:pt x="19229" y="16155"/>
                </a:cubicBezTo>
                <a:cubicBezTo>
                  <a:pt x="19856" y="16429"/>
                  <a:pt x="20435" y="16859"/>
                  <a:pt x="20582" y="17999"/>
                </a:cubicBezTo>
                <a:lnTo>
                  <a:pt x="18459" y="18000"/>
                </a:lnTo>
                <a:cubicBezTo>
                  <a:pt x="18647" y="18353"/>
                  <a:pt x="18802" y="18755"/>
                  <a:pt x="18920" y="19200"/>
                </a:cubicBezTo>
                <a:lnTo>
                  <a:pt x="21109" y="19199"/>
                </a:lnTo>
                <a:cubicBezTo>
                  <a:pt x="21600" y="19199"/>
                  <a:pt x="21600" y="18599"/>
                  <a:pt x="21600" y="18599"/>
                </a:cubicBezTo>
                <a:cubicBezTo>
                  <a:pt x="21600" y="16199"/>
                  <a:pt x="20410" y="15388"/>
                  <a:pt x="19516" y="15006"/>
                </a:cubicBezTo>
                <a:moveTo>
                  <a:pt x="2371" y="16155"/>
                </a:moveTo>
                <a:cubicBezTo>
                  <a:pt x="3030" y="15933"/>
                  <a:pt x="4166" y="15019"/>
                  <a:pt x="4166" y="12954"/>
                </a:cubicBezTo>
                <a:cubicBezTo>
                  <a:pt x="4166" y="11106"/>
                  <a:pt x="3673" y="10290"/>
                  <a:pt x="3409" y="9853"/>
                </a:cubicBezTo>
                <a:lnTo>
                  <a:pt x="3376" y="9798"/>
                </a:lnTo>
                <a:cubicBezTo>
                  <a:pt x="3373" y="9793"/>
                  <a:pt x="3370" y="9788"/>
                  <a:pt x="3367" y="9784"/>
                </a:cubicBezTo>
                <a:cubicBezTo>
                  <a:pt x="3346" y="9706"/>
                  <a:pt x="3283" y="9392"/>
                  <a:pt x="3418" y="8718"/>
                </a:cubicBezTo>
                <a:cubicBezTo>
                  <a:pt x="3470" y="8457"/>
                  <a:pt x="3439" y="8156"/>
                  <a:pt x="3347" y="7911"/>
                </a:cubicBezTo>
                <a:cubicBezTo>
                  <a:pt x="3148" y="7378"/>
                  <a:pt x="2778" y="6387"/>
                  <a:pt x="3038" y="5641"/>
                </a:cubicBezTo>
                <a:cubicBezTo>
                  <a:pt x="3469" y="4362"/>
                  <a:pt x="3649" y="4265"/>
                  <a:pt x="4133" y="4008"/>
                </a:cubicBezTo>
                <a:cubicBezTo>
                  <a:pt x="4180" y="3983"/>
                  <a:pt x="4225" y="3953"/>
                  <a:pt x="4268" y="3919"/>
                </a:cubicBezTo>
                <a:cubicBezTo>
                  <a:pt x="4389" y="3825"/>
                  <a:pt x="4884" y="3600"/>
                  <a:pt x="5392" y="3600"/>
                </a:cubicBezTo>
                <a:cubicBezTo>
                  <a:pt x="5636" y="3600"/>
                  <a:pt x="5839" y="3655"/>
                  <a:pt x="6002" y="3755"/>
                </a:cubicBezTo>
                <a:cubicBezTo>
                  <a:pt x="6045" y="3548"/>
                  <a:pt x="6096" y="3341"/>
                  <a:pt x="6165" y="3134"/>
                </a:cubicBezTo>
                <a:cubicBezTo>
                  <a:pt x="6225" y="2950"/>
                  <a:pt x="6289" y="2793"/>
                  <a:pt x="6351" y="2630"/>
                </a:cubicBezTo>
                <a:cubicBezTo>
                  <a:pt x="6046" y="2468"/>
                  <a:pt x="5716" y="2400"/>
                  <a:pt x="5392" y="2400"/>
                </a:cubicBezTo>
                <a:cubicBezTo>
                  <a:pt x="4682" y="2400"/>
                  <a:pt x="4009" y="2699"/>
                  <a:pt x="3740" y="2908"/>
                </a:cubicBezTo>
                <a:cubicBezTo>
                  <a:pt x="2955" y="3327"/>
                  <a:pt x="2625" y="3714"/>
                  <a:pt x="2130" y="5184"/>
                </a:cubicBezTo>
                <a:cubicBezTo>
                  <a:pt x="1700" y="6419"/>
                  <a:pt x="2212" y="7760"/>
                  <a:pt x="2464" y="8435"/>
                </a:cubicBezTo>
                <a:cubicBezTo>
                  <a:pt x="2156" y="9975"/>
                  <a:pt x="2583" y="10506"/>
                  <a:pt x="2583" y="10506"/>
                </a:cubicBezTo>
                <a:cubicBezTo>
                  <a:pt x="2806" y="10879"/>
                  <a:pt x="3185" y="11419"/>
                  <a:pt x="3185" y="12954"/>
                </a:cubicBezTo>
                <a:cubicBezTo>
                  <a:pt x="3185" y="14701"/>
                  <a:pt x="2084" y="15006"/>
                  <a:pt x="2084" y="15006"/>
                </a:cubicBezTo>
                <a:cubicBezTo>
                  <a:pt x="1191" y="15388"/>
                  <a:pt x="0" y="16199"/>
                  <a:pt x="0" y="18599"/>
                </a:cubicBezTo>
                <a:cubicBezTo>
                  <a:pt x="0" y="18599"/>
                  <a:pt x="0" y="19199"/>
                  <a:pt x="491" y="19199"/>
                </a:cubicBezTo>
                <a:lnTo>
                  <a:pt x="2680" y="19200"/>
                </a:lnTo>
                <a:cubicBezTo>
                  <a:pt x="2798" y="18755"/>
                  <a:pt x="2952" y="18353"/>
                  <a:pt x="3141" y="18000"/>
                </a:cubicBezTo>
                <a:lnTo>
                  <a:pt x="1018" y="17999"/>
                </a:lnTo>
                <a:cubicBezTo>
                  <a:pt x="1165" y="16859"/>
                  <a:pt x="1744" y="16429"/>
                  <a:pt x="2371" y="16155"/>
                </a:cubicBezTo>
              </a:path>
            </a:pathLst>
          </a:custGeom>
          <a:solidFill>
            <a:srgbClr val="5D6A7D"/>
          </a:solidFill>
          <a:ln w="12700">
            <a:miter lim="400000"/>
          </a:ln>
        </p:spPr>
        <p:txBody>
          <a:bodyPr lIns="19045" tIns="19045" rIns="19045" bIns="19045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 dirty="0">
              <a:latin typeface="Source Sans Pro Light" charset="0"/>
              <a:ea typeface="Source Sans Pro Light" charset="0"/>
              <a:cs typeface="Source Sans Pro Light" charset="0"/>
            </a:endParaRPr>
          </a:p>
        </p:txBody>
      </p:sp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xmlns="" id="{6CACCEC0-2508-B840-AB61-B142B95C65D8}"/>
              </a:ext>
            </a:extLst>
          </p:cNvPr>
          <p:cNvSpPr/>
          <p:nvPr/>
        </p:nvSpPr>
        <p:spPr>
          <a:xfrm>
            <a:off x="3702578" y="3011443"/>
            <a:ext cx="191237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  <a:t>Монограмма</a:t>
            </a:r>
            <a:r>
              <a:rPr lang="ru-RU" sz="1400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en-US" sz="1400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  <a:t/>
            </a:r>
            <a:br>
              <a:rPr lang="en-US" sz="1400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</a:br>
            <a:r>
              <a:rPr lang="ru-RU" sz="1400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  <a:t>на соответствия требованиям </a:t>
            </a:r>
            <a:r>
              <a:rPr lang="en-US" sz="1400" b="1" dirty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  <a:t>API</a:t>
            </a:r>
            <a:r>
              <a:rPr lang="ru-RU" sz="1400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  <a:t>  </a:t>
            </a:r>
          </a:p>
        </p:txBody>
      </p:sp>
      <p:sp>
        <p:nvSpPr>
          <p:cNvPr id="8" name="Овал 7"/>
          <p:cNvSpPr/>
          <p:nvPr/>
        </p:nvSpPr>
        <p:spPr>
          <a:xfrm>
            <a:off x="2792040" y="1755639"/>
            <a:ext cx="791948" cy="791948"/>
          </a:xfrm>
          <a:prstGeom prst="ellipse">
            <a:avLst/>
          </a:prstGeom>
          <a:solidFill>
            <a:srgbClr val="FFFFFF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pic>
        <p:nvPicPr>
          <p:cNvPr id="47" name="Picture 3" descr="I:\Downloads\API-Logo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39170" y="2054477"/>
            <a:ext cx="595277" cy="2864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Shape 2539"/>
          <p:cNvSpPr/>
          <p:nvPr/>
        </p:nvSpPr>
        <p:spPr>
          <a:xfrm>
            <a:off x="3353628" y="3140969"/>
            <a:ext cx="348949" cy="38802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720"/>
                </a:moveTo>
                <a:cubicBezTo>
                  <a:pt x="21600" y="323"/>
                  <a:pt x="21380" y="0"/>
                  <a:pt x="21109" y="0"/>
                </a:cubicBezTo>
                <a:cubicBezTo>
                  <a:pt x="20969" y="0"/>
                  <a:pt x="20845" y="88"/>
                  <a:pt x="20756" y="226"/>
                </a:cubicBezTo>
                <a:lnTo>
                  <a:pt x="20754" y="223"/>
                </a:lnTo>
                <a:lnTo>
                  <a:pt x="7848" y="19853"/>
                </a:lnTo>
                <a:lnTo>
                  <a:pt x="838" y="9571"/>
                </a:lnTo>
                <a:cubicBezTo>
                  <a:pt x="749" y="9441"/>
                  <a:pt x="626" y="9360"/>
                  <a:pt x="491" y="9360"/>
                </a:cubicBezTo>
                <a:cubicBezTo>
                  <a:pt x="220" y="9360"/>
                  <a:pt x="0" y="9683"/>
                  <a:pt x="0" y="10080"/>
                </a:cubicBezTo>
                <a:cubicBezTo>
                  <a:pt x="0" y="10279"/>
                  <a:pt x="55" y="10459"/>
                  <a:pt x="144" y="10589"/>
                </a:cubicBezTo>
                <a:lnTo>
                  <a:pt x="7507" y="21390"/>
                </a:lnTo>
                <a:cubicBezTo>
                  <a:pt x="7596" y="21520"/>
                  <a:pt x="7719" y="21600"/>
                  <a:pt x="7855" y="21600"/>
                </a:cubicBezTo>
                <a:cubicBezTo>
                  <a:pt x="7995" y="21600"/>
                  <a:pt x="8119" y="21513"/>
                  <a:pt x="8208" y="21376"/>
                </a:cubicBezTo>
                <a:lnTo>
                  <a:pt x="8210" y="21377"/>
                </a:lnTo>
                <a:lnTo>
                  <a:pt x="21465" y="1217"/>
                </a:lnTo>
                <a:lnTo>
                  <a:pt x="21462" y="1215"/>
                </a:lnTo>
                <a:cubicBezTo>
                  <a:pt x="21547" y="1087"/>
                  <a:pt x="21600" y="913"/>
                  <a:pt x="21600" y="720"/>
                </a:cubicBezTo>
              </a:path>
            </a:pathLst>
          </a:custGeom>
          <a:solidFill>
            <a:srgbClr val="5D6A7D"/>
          </a:solidFill>
          <a:ln w="28575">
            <a:solidFill>
              <a:srgbClr val="00B050"/>
            </a:solidFill>
            <a:miter lim="400000"/>
          </a:ln>
        </p:spPr>
        <p:txBody>
          <a:bodyPr lIns="19045" tIns="19045" rIns="19045" bIns="19045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>
              <a:latin typeface="Source Sans Pro Light" charset="0"/>
              <a:ea typeface="Source Sans Pro Light" charset="0"/>
              <a:cs typeface="Source Sans Pro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07286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8565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dirty="0" smtClean="0">
              <a:solidFill>
                <a:schemeClr val="tx1"/>
              </a:solidFill>
              <a:latin typeface="Arial Narrow"/>
              <a:ea typeface="+mj-ea"/>
              <a:cs typeface="+mj-cs"/>
              <a:sym typeface="Arial Narrow"/>
            </a:endParaRPr>
          </a:p>
        </p:txBody>
      </p:sp>
      <p:sp>
        <p:nvSpPr>
          <p:cNvPr id="38" name="proiz_pvb"/>
          <p:cNvSpPr>
            <a:spLocks noEditPoints="1"/>
          </p:cNvSpPr>
          <p:nvPr/>
        </p:nvSpPr>
        <p:spPr bwMode="auto">
          <a:xfrm>
            <a:off x="5665646" y="3374821"/>
            <a:ext cx="620125" cy="512569"/>
          </a:xfrm>
          <a:custGeom>
            <a:avLst/>
            <a:gdLst>
              <a:gd name="T0" fmla="*/ 7387 w 16212"/>
              <a:gd name="T1" fmla="*/ 11610 h 12012"/>
              <a:gd name="T2" fmla="*/ 7660 w 16212"/>
              <a:gd name="T3" fmla="*/ 11137 h 12012"/>
              <a:gd name="T4" fmla="*/ 7836 w 16212"/>
              <a:gd name="T5" fmla="*/ 10533 h 12012"/>
              <a:gd name="T6" fmla="*/ 7836 w 16212"/>
              <a:gd name="T7" fmla="*/ 9522 h 12012"/>
              <a:gd name="T8" fmla="*/ 7676 w 16212"/>
              <a:gd name="T9" fmla="*/ 8959 h 12012"/>
              <a:gd name="T10" fmla="*/ 7480 w 16212"/>
              <a:gd name="T11" fmla="*/ 8560 h 12012"/>
              <a:gd name="T12" fmla="*/ 7144 w 16212"/>
              <a:gd name="T13" fmla="*/ 8238 h 12012"/>
              <a:gd name="T14" fmla="*/ 6878 w 16212"/>
              <a:gd name="T15" fmla="*/ 8148 h 12012"/>
              <a:gd name="T16" fmla="*/ 6633 w 16212"/>
              <a:gd name="T17" fmla="*/ 7980 h 12012"/>
              <a:gd name="T18" fmla="*/ 6492 w 16212"/>
              <a:gd name="T19" fmla="*/ 7732 h 12012"/>
              <a:gd name="T20" fmla="*/ 4741 w 16212"/>
              <a:gd name="T21" fmla="*/ 7641 h 12012"/>
              <a:gd name="T22" fmla="*/ 4471 w 16212"/>
              <a:gd name="T23" fmla="*/ 7745 h 12012"/>
              <a:gd name="T24" fmla="*/ 4343 w 16212"/>
              <a:gd name="T25" fmla="*/ 8000 h 12012"/>
              <a:gd name="T26" fmla="*/ 3599 w 16212"/>
              <a:gd name="T27" fmla="*/ 7852 h 12012"/>
              <a:gd name="T28" fmla="*/ 3388 w 16212"/>
              <a:gd name="T29" fmla="*/ 7668 h 12012"/>
              <a:gd name="T30" fmla="*/ 5479 w 16212"/>
              <a:gd name="T31" fmla="*/ 2932 h 12012"/>
              <a:gd name="T32" fmla="*/ 12925 w 16212"/>
              <a:gd name="T33" fmla="*/ 7643 h 12012"/>
              <a:gd name="T34" fmla="*/ 12670 w 16212"/>
              <a:gd name="T35" fmla="*/ 7772 h 12012"/>
              <a:gd name="T36" fmla="*/ 12565 w 16212"/>
              <a:gd name="T37" fmla="*/ 8040 h 12012"/>
              <a:gd name="T38" fmla="*/ 11803 w 16212"/>
              <a:gd name="T39" fmla="*/ 7817 h 12012"/>
              <a:gd name="T40" fmla="*/ 11571 w 16212"/>
              <a:gd name="T41" fmla="*/ 7654 h 12012"/>
              <a:gd name="T42" fmla="*/ 9802 w 16212"/>
              <a:gd name="T43" fmla="*/ 7681 h 12012"/>
              <a:gd name="T44" fmla="*/ 9607 w 16212"/>
              <a:gd name="T45" fmla="*/ 7885 h 12012"/>
              <a:gd name="T46" fmla="*/ 9383 w 16212"/>
              <a:gd name="T47" fmla="*/ 8139 h 12012"/>
              <a:gd name="T48" fmla="*/ 9176 w 16212"/>
              <a:gd name="T49" fmla="*/ 8189 h 12012"/>
              <a:gd name="T50" fmla="*/ 8836 w 16212"/>
              <a:gd name="T51" fmla="*/ 8428 h 12012"/>
              <a:gd name="T52" fmla="*/ 8596 w 16212"/>
              <a:gd name="T53" fmla="*/ 8801 h 12012"/>
              <a:gd name="T54" fmla="*/ 8409 w 16212"/>
              <a:gd name="T55" fmla="*/ 9362 h 12012"/>
              <a:gd name="T56" fmla="*/ 8327 w 16212"/>
              <a:gd name="T57" fmla="*/ 10049 h 12012"/>
              <a:gd name="T58" fmla="*/ 8490 w 16212"/>
              <a:gd name="T59" fmla="*/ 10971 h 12012"/>
              <a:gd name="T60" fmla="*/ 8672 w 16212"/>
              <a:gd name="T61" fmla="*/ 11398 h 12012"/>
              <a:gd name="T62" fmla="*/ 8984 w 16212"/>
              <a:gd name="T63" fmla="*/ 11761 h 12012"/>
              <a:gd name="T64" fmla="*/ 5586 w 16212"/>
              <a:gd name="T65" fmla="*/ 11021 h 12012"/>
              <a:gd name="T66" fmla="*/ 3245 w 16212"/>
              <a:gd name="T67" fmla="*/ 8040 h 12012"/>
              <a:gd name="T68" fmla="*/ 502 w 16212"/>
              <a:gd name="T69" fmla="*/ 8531 h 12012"/>
              <a:gd name="T70" fmla="*/ 6800 w 16212"/>
              <a:gd name="T71" fmla="*/ 8540 h 12012"/>
              <a:gd name="T72" fmla="*/ 7486 w 16212"/>
              <a:gd name="T73" fmla="*/ 10022 h 12012"/>
              <a:gd name="T74" fmla="*/ 6843 w 16212"/>
              <a:gd name="T75" fmla="*/ 11503 h 12012"/>
              <a:gd name="T76" fmla="*/ 1064 w 16212"/>
              <a:gd name="T77" fmla="*/ 11478 h 12012"/>
              <a:gd name="T78" fmla="*/ 79 w 16212"/>
              <a:gd name="T79" fmla="*/ 10828 h 12012"/>
              <a:gd name="T80" fmla="*/ 6237 w 16212"/>
              <a:gd name="T81" fmla="*/ 9276 h 12012"/>
              <a:gd name="T82" fmla="*/ 7231 w 16212"/>
              <a:gd name="T83" fmla="*/ 9776 h 12012"/>
              <a:gd name="T84" fmla="*/ 1099 w 16212"/>
              <a:gd name="T85" fmla="*/ 9023 h 12012"/>
              <a:gd name="T86" fmla="*/ 703 w 16212"/>
              <a:gd name="T87" fmla="*/ 11021 h 12012"/>
              <a:gd name="T88" fmla="*/ 502 w 16212"/>
              <a:gd name="T89" fmla="*/ 10022 h 12012"/>
              <a:gd name="T90" fmla="*/ 10979 w 16212"/>
              <a:gd name="T91" fmla="*/ 12012 h 12012"/>
              <a:gd name="T92" fmla="*/ 14215 w 16212"/>
              <a:gd name="T93" fmla="*/ 8286 h 12012"/>
              <a:gd name="T94" fmla="*/ 14110 w 16212"/>
              <a:gd name="T95" fmla="*/ 11021 h 12012"/>
              <a:gd name="T96" fmla="*/ 14989 w 16212"/>
              <a:gd name="T97" fmla="*/ 8531 h 12012"/>
              <a:gd name="T98" fmla="*/ 8796 w 16212"/>
              <a:gd name="T99" fmla="*/ 9461 h 12012"/>
              <a:gd name="T100" fmla="*/ 9201 w 16212"/>
              <a:gd name="T101" fmla="*/ 11424 h 12012"/>
              <a:gd name="T102" fmla="*/ 14989 w 16212"/>
              <a:gd name="T103" fmla="*/ 11521 h 12012"/>
              <a:gd name="T104" fmla="*/ 16001 w 16212"/>
              <a:gd name="T105" fmla="*/ 11390 h 12012"/>
              <a:gd name="T106" fmla="*/ 16001 w 16212"/>
              <a:gd name="T107" fmla="*/ 8663 h 12012"/>
              <a:gd name="T108" fmla="*/ 9070 w 16212"/>
              <a:gd name="T109" fmla="*/ 9628 h 12012"/>
              <a:gd name="T110" fmla="*/ 9483 w 16212"/>
              <a:gd name="T111" fmla="*/ 9031 h 12012"/>
              <a:gd name="T112" fmla="*/ 15508 w 16212"/>
              <a:gd name="T113" fmla="*/ 9031 h 12012"/>
              <a:gd name="T114" fmla="*/ 15693 w 16212"/>
              <a:gd name="T115" fmla="*/ 10276 h 12012"/>
              <a:gd name="T116" fmla="*/ 4986 w 16212"/>
              <a:gd name="T117" fmla="*/ 4862 h 12012"/>
              <a:gd name="T118" fmla="*/ 4986 w 16212"/>
              <a:gd name="T119" fmla="*/ 6891 h 120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6212" h="12012">
                <a:moveTo>
                  <a:pt x="9148" y="11852"/>
                </a:moveTo>
                <a:lnTo>
                  <a:pt x="7065" y="11852"/>
                </a:lnTo>
                <a:lnTo>
                  <a:pt x="7089" y="11843"/>
                </a:lnTo>
                <a:lnTo>
                  <a:pt x="7111" y="11833"/>
                </a:lnTo>
                <a:lnTo>
                  <a:pt x="7132" y="11821"/>
                </a:lnTo>
                <a:lnTo>
                  <a:pt x="7154" y="11808"/>
                </a:lnTo>
                <a:lnTo>
                  <a:pt x="7204" y="11775"/>
                </a:lnTo>
                <a:lnTo>
                  <a:pt x="7229" y="11761"/>
                </a:lnTo>
                <a:lnTo>
                  <a:pt x="7251" y="11744"/>
                </a:lnTo>
                <a:lnTo>
                  <a:pt x="7273" y="11726"/>
                </a:lnTo>
                <a:lnTo>
                  <a:pt x="7294" y="11707"/>
                </a:lnTo>
                <a:lnTo>
                  <a:pt x="7364" y="11637"/>
                </a:lnTo>
                <a:lnTo>
                  <a:pt x="7363" y="11635"/>
                </a:lnTo>
                <a:lnTo>
                  <a:pt x="7375" y="11623"/>
                </a:lnTo>
                <a:lnTo>
                  <a:pt x="7387" y="11610"/>
                </a:lnTo>
                <a:lnTo>
                  <a:pt x="7398" y="11597"/>
                </a:lnTo>
                <a:lnTo>
                  <a:pt x="7408" y="11582"/>
                </a:lnTo>
                <a:lnTo>
                  <a:pt x="7470" y="11495"/>
                </a:lnTo>
                <a:lnTo>
                  <a:pt x="7512" y="11434"/>
                </a:lnTo>
                <a:lnTo>
                  <a:pt x="7526" y="11416"/>
                </a:lnTo>
                <a:lnTo>
                  <a:pt x="7540" y="11398"/>
                </a:lnTo>
                <a:lnTo>
                  <a:pt x="7552" y="11378"/>
                </a:lnTo>
                <a:lnTo>
                  <a:pt x="7563" y="11357"/>
                </a:lnTo>
                <a:lnTo>
                  <a:pt x="7616" y="11252"/>
                </a:lnTo>
                <a:lnTo>
                  <a:pt x="7614" y="11251"/>
                </a:lnTo>
                <a:lnTo>
                  <a:pt x="7619" y="11243"/>
                </a:lnTo>
                <a:lnTo>
                  <a:pt x="7623" y="11233"/>
                </a:lnTo>
                <a:lnTo>
                  <a:pt x="7626" y="11225"/>
                </a:lnTo>
                <a:lnTo>
                  <a:pt x="7630" y="11216"/>
                </a:lnTo>
                <a:lnTo>
                  <a:pt x="7660" y="11137"/>
                </a:lnTo>
                <a:lnTo>
                  <a:pt x="7665" y="11127"/>
                </a:lnTo>
                <a:lnTo>
                  <a:pt x="7669" y="11116"/>
                </a:lnTo>
                <a:lnTo>
                  <a:pt x="7674" y="11105"/>
                </a:lnTo>
                <a:lnTo>
                  <a:pt x="7678" y="11094"/>
                </a:lnTo>
                <a:lnTo>
                  <a:pt x="7722" y="10972"/>
                </a:lnTo>
                <a:lnTo>
                  <a:pt x="7722" y="10971"/>
                </a:lnTo>
                <a:lnTo>
                  <a:pt x="7730" y="10947"/>
                </a:lnTo>
                <a:lnTo>
                  <a:pt x="7766" y="10823"/>
                </a:lnTo>
                <a:lnTo>
                  <a:pt x="7800" y="10701"/>
                </a:lnTo>
                <a:lnTo>
                  <a:pt x="7800" y="10701"/>
                </a:lnTo>
                <a:lnTo>
                  <a:pt x="7807" y="10675"/>
                </a:lnTo>
                <a:lnTo>
                  <a:pt x="7833" y="10552"/>
                </a:lnTo>
                <a:lnTo>
                  <a:pt x="7832" y="10552"/>
                </a:lnTo>
                <a:lnTo>
                  <a:pt x="7834" y="10543"/>
                </a:lnTo>
                <a:lnTo>
                  <a:pt x="7836" y="10533"/>
                </a:lnTo>
                <a:lnTo>
                  <a:pt x="7839" y="10522"/>
                </a:lnTo>
                <a:lnTo>
                  <a:pt x="7840" y="10512"/>
                </a:lnTo>
                <a:lnTo>
                  <a:pt x="7863" y="10297"/>
                </a:lnTo>
                <a:lnTo>
                  <a:pt x="7867" y="10265"/>
                </a:lnTo>
                <a:lnTo>
                  <a:pt x="7884" y="10069"/>
                </a:lnTo>
                <a:lnTo>
                  <a:pt x="7885" y="10049"/>
                </a:lnTo>
                <a:lnTo>
                  <a:pt x="7886" y="10029"/>
                </a:lnTo>
                <a:lnTo>
                  <a:pt x="7886" y="10008"/>
                </a:lnTo>
                <a:lnTo>
                  <a:pt x="7885" y="9987"/>
                </a:lnTo>
                <a:lnTo>
                  <a:pt x="7867" y="9786"/>
                </a:lnTo>
                <a:lnTo>
                  <a:pt x="7867" y="9786"/>
                </a:lnTo>
                <a:lnTo>
                  <a:pt x="7866" y="9776"/>
                </a:lnTo>
                <a:lnTo>
                  <a:pt x="7840" y="9543"/>
                </a:lnTo>
                <a:lnTo>
                  <a:pt x="7839" y="9533"/>
                </a:lnTo>
                <a:lnTo>
                  <a:pt x="7836" y="9522"/>
                </a:lnTo>
                <a:lnTo>
                  <a:pt x="7835" y="9512"/>
                </a:lnTo>
                <a:lnTo>
                  <a:pt x="7833" y="9501"/>
                </a:lnTo>
                <a:lnTo>
                  <a:pt x="7810" y="9392"/>
                </a:lnTo>
                <a:lnTo>
                  <a:pt x="7808" y="9382"/>
                </a:lnTo>
                <a:lnTo>
                  <a:pt x="7806" y="9372"/>
                </a:lnTo>
                <a:lnTo>
                  <a:pt x="7803" y="9362"/>
                </a:lnTo>
                <a:lnTo>
                  <a:pt x="7800" y="9351"/>
                </a:lnTo>
                <a:lnTo>
                  <a:pt x="7766" y="9229"/>
                </a:lnTo>
                <a:lnTo>
                  <a:pt x="7735" y="9122"/>
                </a:lnTo>
                <a:lnTo>
                  <a:pt x="7732" y="9112"/>
                </a:lnTo>
                <a:lnTo>
                  <a:pt x="7729" y="9102"/>
                </a:lnTo>
                <a:lnTo>
                  <a:pt x="7726" y="9092"/>
                </a:lnTo>
                <a:lnTo>
                  <a:pt x="7722" y="9081"/>
                </a:lnTo>
                <a:lnTo>
                  <a:pt x="7678" y="8958"/>
                </a:lnTo>
                <a:lnTo>
                  <a:pt x="7676" y="8959"/>
                </a:lnTo>
                <a:lnTo>
                  <a:pt x="7673" y="8950"/>
                </a:lnTo>
                <a:lnTo>
                  <a:pt x="7642" y="8869"/>
                </a:lnTo>
                <a:lnTo>
                  <a:pt x="7637" y="8852"/>
                </a:lnTo>
                <a:lnTo>
                  <a:pt x="7631" y="8835"/>
                </a:lnTo>
                <a:lnTo>
                  <a:pt x="7624" y="8818"/>
                </a:lnTo>
                <a:lnTo>
                  <a:pt x="7616" y="8801"/>
                </a:lnTo>
                <a:lnTo>
                  <a:pt x="7563" y="8696"/>
                </a:lnTo>
                <a:lnTo>
                  <a:pt x="7562" y="8696"/>
                </a:lnTo>
                <a:lnTo>
                  <a:pt x="7557" y="8687"/>
                </a:lnTo>
                <a:lnTo>
                  <a:pt x="7552" y="8678"/>
                </a:lnTo>
                <a:lnTo>
                  <a:pt x="7547" y="8668"/>
                </a:lnTo>
                <a:lnTo>
                  <a:pt x="7541" y="8659"/>
                </a:lnTo>
                <a:lnTo>
                  <a:pt x="7497" y="8591"/>
                </a:lnTo>
                <a:lnTo>
                  <a:pt x="7489" y="8576"/>
                </a:lnTo>
                <a:lnTo>
                  <a:pt x="7480" y="8560"/>
                </a:lnTo>
                <a:lnTo>
                  <a:pt x="7470" y="8546"/>
                </a:lnTo>
                <a:lnTo>
                  <a:pt x="7459" y="8532"/>
                </a:lnTo>
                <a:lnTo>
                  <a:pt x="7407" y="8465"/>
                </a:lnTo>
                <a:lnTo>
                  <a:pt x="7397" y="8452"/>
                </a:lnTo>
                <a:lnTo>
                  <a:pt x="7387" y="8440"/>
                </a:lnTo>
                <a:lnTo>
                  <a:pt x="7375" y="8428"/>
                </a:lnTo>
                <a:lnTo>
                  <a:pt x="7364" y="8416"/>
                </a:lnTo>
                <a:lnTo>
                  <a:pt x="7294" y="8345"/>
                </a:lnTo>
                <a:lnTo>
                  <a:pt x="7293" y="8346"/>
                </a:lnTo>
                <a:lnTo>
                  <a:pt x="7279" y="8333"/>
                </a:lnTo>
                <a:lnTo>
                  <a:pt x="7265" y="8321"/>
                </a:lnTo>
                <a:lnTo>
                  <a:pt x="7249" y="8309"/>
                </a:lnTo>
                <a:lnTo>
                  <a:pt x="7233" y="8298"/>
                </a:lnTo>
                <a:lnTo>
                  <a:pt x="7165" y="8251"/>
                </a:lnTo>
                <a:lnTo>
                  <a:pt x="7144" y="8238"/>
                </a:lnTo>
                <a:lnTo>
                  <a:pt x="7124" y="8226"/>
                </a:lnTo>
                <a:lnTo>
                  <a:pt x="7103" y="8215"/>
                </a:lnTo>
                <a:lnTo>
                  <a:pt x="7081" y="8206"/>
                </a:lnTo>
                <a:lnTo>
                  <a:pt x="7036" y="8188"/>
                </a:lnTo>
                <a:lnTo>
                  <a:pt x="7036" y="8189"/>
                </a:lnTo>
                <a:lnTo>
                  <a:pt x="7019" y="8183"/>
                </a:lnTo>
                <a:lnTo>
                  <a:pt x="7002" y="8177"/>
                </a:lnTo>
                <a:lnTo>
                  <a:pt x="6984" y="8172"/>
                </a:lnTo>
                <a:lnTo>
                  <a:pt x="6966" y="8168"/>
                </a:lnTo>
                <a:lnTo>
                  <a:pt x="6957" y="8167"/>
                </a:lnTo>
                <a:lnTo>
                  <a:pt x="6949" y="8164"/>
                </a:lnTo>
                <a:lnTo>
                  <a:pt x="6940" y="8161"/>
                </a:lnTo>
                <a:lnTo>
                  <a:pt x="6931" y="8159"/>
                </a:lnTo>
                <a:lnTo>
                  <a:pt x="6922" y="8157"/>
                </a:lnTo>
                <a:lnTo>
                  <a:pt x="6878" y="8148"/>
                </a:lnTo>
                <a:lnTo>
                  <a:pt x="6878" y="8150"/>
                </a:lnTo>
                <a:lnTo>
                  <a:pt x="6872" y="8149"/>
                </a:lnTo>
                <a:lnTo>
                  <a:pt x="6858" y="8145"/>
                </a:lnTo>
                <a:lnTo>
                  <a:pt x="6843" y="8141"/>
                </a:lnTo>
                <a:lnTo>
                  <a:pt x="6829" y="8139"/>
                </a:lnTo>
                <a:lnTo>
                  <a:pt x="6815" y="8136"/>
                </a:lnTo>
                <a:lnTo>
                  <a:pt x="6800" y="8134"/>
                </a:lnTo>
                <a:lnTo>
                  <a:pt x="6786" y="8133"/>
                </a:lnTo>
                <a:lnTo>
                  <a:pt x="6771" y="8132"/>
                </a:lnTo>
                <a:lnTo>
                  <a:pt x="6755" y="8132"/>
                </a:lnTo>
                <a:lnTo>
                  <a:pt x="6638" y="8132"/>
                </a:lnTo>
                <a:lnTo>
                  <a:pt x="6638" y="8040"/>
                </a:lnTo>
                <a:lnTo>
                  <a:pt x="6637" y="8020"/>
                </a:lnTo>
                <a:lnTo>
                  <a:pt x="6636" y="8000"/>
                </a:lnTo>
                <a:lnTo>
                  <a:pt x="6633" y="7980"/>
                </a:lnTo>
                <a:lnTo>
                  <a:pt x="6630" y="7961"/>
                </a:lnTo>
                <a:lnTo>
                  <a:pt x="6625" y="7940"/>
                </a:lnTo>
                <a:lnTo>
                  <a:pt x="6620" y="7922"/>
                </a:lnTo>
                <a:lnTo>
                  <a:pt x="6613" y="7903"/>
                </a:lnTo>
                <a:lnTo>
                  <a:pt x="6605" y="7885"/>
                </a:lnTo>
                <a:lnTo>
                  <a:pt x="6598" y="7868"/>
                </a:lnTo>
                <a:lnTo>
                  <a:pt x="6589" y="7850"/>
                </a:lnTo>
                <a:lnTo>
                  <a:pt x="6579" y="7833"/>
                </a:lnTo>
                <a:lnTo>
                  <a:pt x="6569" y="7817"/>
                </a:lnTo>
                <a:lnTo>
                  <a:pt x="6558" y="7802"/>
                </a:lnTo>
                <a:lnTo>
                  <a:pt x="6546" y="7787"/>
                </a:lnTo>
                <a:lnTo>
                  <a:pt x="6533" y="7772"/>
                </a:lnTo>
                <a:lnTo>
                  <a:pt x="6520" y="7759"/>
                </a:lnTo>
                <a:lnTo>
                  <a:pt x="6506" y="7745"/>
                </a:lnTo>
                <a:lnTo>
                  <a:pt x="6492" y="7732"/>
                </a:lnTo>
                <a:lnTo>
                  <a:pt x="6477" y="7720"/>
                </a:lnTo>
                <a:lnTo>
                  <a:pt x="6460" y="7709"/>
                </a:lnTo>
                <a:lnTo>
                  <a:pt x="6444" y="7699"/>
                </a:lnTo>
                <a:lnTo>
                  <a:pt x="6428" y="7690"/>
                </a:lnTo>
                <a:lnTo>
                  <a:pt x="6410" y="7681"/>
                </a:lnTo>
                <a:lnTo>
                  <a:pt x="6393" y="7673"/>
                </a:lnTo>
                <a:lnTo>
                  <a:pt x="6374" y="7666"/>
                </a:lnTo>
                <a:lnTo>
                  <a:pt x="6356" y="7660"/>
                </a:lnTo>
                <a:lnTo>
                  <a:pt x="6337" y="7654"/>
                </a:lnTo>
                <a:lnTo>
                  <a:pt x="6318" y="7650"/>
                </a:lnTo>
                <a:lnTo>
                  <a:pt x="6297" y="7645"/>
                </a:lnTo>
                <a:lnTo>
                  <a:pt x="6278" y="7643"/>
                </a:lnTo>
                <a:lnTo>
                  <a:pt x="6257" y="7641"/>
                </a:lnTo>
                <a:lnTo>
                  <a:pt x="6237" y="7641"/>
                </a:lnTo>
                <a:lnTo>
                  <a:pt x="4741" y="7641"/>
                </a:lnTo>
                <a:lnTo>
                  <a:pt x="4721" y="7641"/>
                </a:lnTo>
                <a:lnTo>
                  <a:pt x="4700" y="7643"/>
                </a:lnTo>
                <a:lnTo>
                  <a:pt x="4680" y="7645"/>
                </a:lnTo>
                <a:lnTo>
                  <a:pt x="4661" y="7650"/>
                </a:lnTo>
                <a:lnTo>
                  <a:pt x="4641" y="7654"/>
                </a:lnTo>
                <a:lnTo>
                  <a:pt x="4622" y="7660"/>
                </a:lnTo>
                <a:lnTo>
                  <a:pt x="4603" y="7666"/>
                </a:lnTo>
                <a:lnTo>
                  <a:pt x="4585" y="7673"/>
                </a:lnTo>
                <a:lnTo>
                  <a:pt x="4568" y="7681"/>
                </a:lnTo>
                <a:lnTo>
                  <a:pt x="4551" y="7690"/>
                </a:lnTo>
                <a:lnTo>
                  <a:pt x="4533" y="7699"/>
                </a:lnTo>
                <a:lnTo>
                  <a:pt x="4517" y="7709"/>
                </a:lnTo>
                <a:lnTo>
                  <a:pt x="4502" y="7720"/>
                </a:lnTo>
                <a:lnTo>
                  <a:pt x="4487" y="7732"/>
                </a:lnTo>
                <a:lnTo>
                  <a:pt x="4471" y="7745"/>
                </a:lnTo>
                <a:lnTo>
                  <a:pt x="4458" y="7759"/>
                </a:lnTo>
                <a:lnTo>
                  <a:pt x="4445" y="7772"/>
                </a:lnTo>
                <a:lnTo>
                  <a:pt x="4432" y="7787"/>
                </a:lnTo>
                <a:lnTo>
                  <a:pt x="4420" y="7802"/>
                </a:lnTo>
                <a:lnTo>
                  <a:pt x="4409" y="7817"/>
                </a:lnTo>
                <a:lnTo>
                  <a:pt x="4399" y="7833"/>
                </a:lnTo>
                <a:lnTo>
                  <a:pt x="4388" y="7850"/>
                </a:lnTo>
                <a:lnTo>
                  <a:pt x="4380" y="7868"/>
                </a:lnTo>
                <a:lnTo>
                  <a:pt x="4372" y="7885"/>
                </a:lnTo>
                <a:lnTo>
                  <a:pt x="4365" y="7903"/>
                </a:lnTo>
                <a:lnTo>
                  <a:pt x="4359" y="7922"/>
                </a:lnTo>
                <a:lnTo>
                  <a:pt x="4353" y="7940"/>
                </a:lnTo>
                <a:lnTo>
                  <a:pt x="4349" y="7961"/>
                </a:lnTo>
                <a:lnTo>
                  <a:pt x="4345" y="7980"/>
                </a:lnTo>
                <a:lnTo>
                  <a:pt x="4343" y="8000"/>
                </a:lnTo>
                <a:lnTo>
                  <a:pt x="4341" y="8020"/>
                </a:lnTo>
                <a:lnTo>
                  <a:pt x="4341" y="8040"/>
                </a:lnTo>
                <a:lnTo>
                  <a:pt x="4341" y="8132"/>
                </a:lnTo>
                <a:lnTo>
                  <a:pt x="3647" y="8132"/>
                </a:lnTo>
                <a:lnTo>
                  <a:pt x="3647" y="8040"/>
                </a:lnTo>
                <a:lnTo>
                  <a:pt x="3646" y="8020"/>
                </a:lnTo>
                <a:lnTo>
                  <a:pt x="3645" y="8000"/>
                </a:lnTo>
                <a:lnTo>
                  <a:pt x="3642" y="7981"/>
                </a:lnTo>
                <a:lnTo>
                  <a:pt x="3639" y="7961"/>
                </a:lnTo>
                <a:lnTo>
                  <a:pt x="3635" y="7941"/>
                </a:lnTo>
                <a:lnTo>
                  <a:pt x="3628" y="7923"/>
                </a:lnTo>
                <a:lnTo>
                  <a:pt x="3622" y="7905"/>
                </a:lnTo>
                <a:lnTo>
                  <a:pt x="3615" y="7887"/>
                </a:lnTo>
                <a:lnTo>
                  <a:pt x="3608" y="7869"/>
                </a:lnTo>
                <a:lnTo>
                  <a:pt x="3599" y="7852"/>
                </a:lnTo>
                <a:lnTo>
                  <a:pt x="3590" y="7835"/>
                </a:lnTo>
                <a:lnTo>
                  <a:pt x="3580" y="7819"/>
                </a:lnTo>
                <a:lnTo>
                  <a:pt x="3569" y="7804"/>
                </a:lnTo>
                <a:lnTo>
                  <a:pt x="3557" y="7789"/>
                </a:lnTo>
                <a:lnTo>
                  <a:pt x="3544" y="7775"/>
                </a:lnTo>
                <a:lnTo>
                  <a:pt x="3531" y="7761"/>
                </a:lnTo>
                <a:lnTo>
                  <a:pt x="3518" y="7747"/>
                </a:lnTo>
                <a:lnTo>
                  <a:pt x="3504" y="7734"/>
                </a:lnTo>
                <a:lnTo>
                  <a:pt x="3489" y="7723"/>
                </a:lnTo>
                <a:lnTo>
                  <a:pt x="3473" y="7712"/>
                </a:lnTo>
                <a:lnTo>
                  <a:pt x="3457" y="7701"/>
                </a:lnTo>
                <a:lnTo>
                  <a:pt x="3440" y="7692"/>
                </a:lnTo>
                <a:lnTo>
                  <a:pt x="3424" y="7683"/>
                </a:lnTo>
                <a:lnTo>
                  <a:pt x="3407" y="7675"/>
                </a:lnTo>
                <a:lnTo>
                  <a:pt x="3388" y="7668"/>
                </a:lnTo>
                <a:lnTo>
                  <a:pt x="3370" y="7661"/>
                </a:lnTo>
                <a:lnTo>
                  <a:pt x="3351" y="7656"/>
                </a:lnTo>
                <a:lnTo>
                  <a:pt x="3332" y="7651"/>
                </a:lnTo>
                <a:lnTo>
                  <a:pt x="3312" y="7646"/>
                </a:lnTo>
                <a:lnTo>
                  <a:pt x="3293" y="7644"/>
                </a:lnTo>
                <a:lnTo>
                  <a:pt x="3273" y="7642"/>
                </a:lnTo>
                <a:lnTo>
                  <a:pt x="3253" y="7641"/>
                </a:lnTo>
                <a:lnTo>
                  <a:pt x="3254" y="2933"/>
                </a:lnTo>
                <a:lnTo>
                  <a:pt x="3522" y="2933"/>
                </a:lnTo>
                <a:lnTo>
                  <a:pt x="3813" y="2933"/>
                </a:lnTo>
                <a:lnTo>
                  <a:pt x="4122" y="2933"/>
                </a:lnTo>
                <a:lnTo>
                  <a:pt x="4446" y="2933"/>
                </a:lnTo>
                <a:lnTo>
                  <a:pt x="4783" y="2933"/>
                </a:lnTo>
                <a:lnTo>
                  <a:pt x="5127" y="2933"/>
                </a:lnTo>
                <a:lnTo>
                  <a:pt x="5479" y="2932"/>
                </a:lnTo>
                <a:lnTo>
                  <a:pt x="5833" y="2932"/>
                </a:lnTo>
                <a:lnTo>
                  <a:pt x="6188" y="2932"/>
                </a:lnTo>
                <a:lnTo>
                  <a:pt x="6540" y="2932"/>
                </a:lnTo>
                <a:lnTo>
                  <a:pt x="6885" y="2931"/>
                </a:lnTo>
                <a:lnTo>
                  <a:pt x="7221" y="2931"/>
                </a:lnTo>
                <a:lnTo>
                  <a:pt x="7546" y="2931"/>
                </a:lnTo>
                <a:lnTo>
                  <a:pt x="7855" y="2930"/>
                </a:lnTo>
                <a:lnTo>
                  <a:pt x="8145" y="2930"/>
                </a:lnTo>
                <a:lnTo>
                  <a:pt x="8414" y="2930"/>
                </a:lnTo>
                <a:lnTo>
                  <a:pt x="8414" y="0"/>
                </a:lnTo>
                <a:lnTo>
                  <a:pt x="13004" y="6"/>
                </a:lnTo>
                <a:lnTo>
                  <a:pt x="12973" y="7641"/>
                </a:lnTo>
                <a:lnTo>
                  <a:pt x="12967" y="7641"/>
                </a:lnTo>
                <a:lnTo>
                  <a:pt x="12945" y="7641"/>
                </a:lnTo>
                <a:lnTo>
                  <a:pt x="12925" y="7643"/>
                </a:lnTo>
                <a:lnTo>
                  <a:pt x="12905" y="7645"/>
                </a:lnTo>
                <a:lnTo>
                  <a:pt x="12886" y="7650"/>
                </a:lnTo>
                <a:lnTo>
                  <a:pt x="12866" y="7654"/>
                </a:lnTo>
                <a:lnTo>
                  <a:pt x="12847" y="7660"/>
                </a:lnTo>
                <a:lnTo>
                  <a:pt x="12829" y="7666"/>
                </a:lnTo>
                <a:lnTo>
                  <a:pt x="12811" y="7673"/>
                </a:lnTo>
                <a:lnTo>
                  <a:pt x="12792" y="7681"/>
                </a:lnTo>
                <a:lnTo>
                  <a:pt x="12775" y="7690"/>
                </a:lnTo>
                <a:lnTo>
                  <a:pt x="12759" y="7699"/>
                </a:lnTo>
                <a:lnTo>
                  <a:pt x="12743" y="7709"/>
                </a:lnTo>
                <a:lnTo>
                  <a:pt x="12726" y="7720"/>
                </a:lnTo>
                <a:lnTo>
                  <a:pt x="12711" y="7732"/>
                </a:lnTo>
                <a:lnTo>
                  <a:pt x="12697" y="7745"/>
                </a:lnTo>
                <a:lnTo>
                  <a:pt x="12683" y="7759"/>
                </a:lnTo>
                <a:lnTo>
                  <a:pt x="12670" y="7772"/>
                </a:lnTo>
                <a:lnTo>
                  <a:pt x="12657" y="7787"/>
                </a:lnTo>
                <a:lnTo>
                  <a:pt x="12645" y="7802"/>
                </a:lnTo>
                <a:lnTo>
                  <a:pt x="12634" y="7817"/>
                </a:lnTo>
                <a:lnTo>
                  <a:pt x="12623" y="7833"/>
                </a:lnTo>
                <a:lnTo>
                  <a:pt x="12614" y="7850"/>
                </a:lnTo>
                <a:lnTo>
                  <a:pt x="12605" y="7868"/>
                </a:lnTo>
                <a:lnTo>
                  <a:pt x="12597" y="7885"/>
                </a:lnTo>
                <a:lnTo>
                  <a:pt x="12590" y="7903"/>
                </a:lnTo>
                <a:lnTo>
                  <a:pt x="12584" y="7922"/>
                </a:lnTo>
                <a:lnTo>
                  <a:pt x="12578" y="7940"/>
                </a:lnTo>
                <a:lnTo>
                  <a:pt x="12573" y="7961"/>
                </a:lnTo>
                <a:lnTo>
                  <a:pt x="12570" y="7980"/>
                </a:lnTo>
                <a:lnTo>
                  <a:pt x="12567" y="8000"/>
                </a:lnTo>
                <a:lnTo>
                  <a:pt x="12566" y="8020"/>
                </a:lnTo>
                <a:lnTo>
                  <a:pt x="12565" y="8040"/>
                </a:lnTo>
                <a:lnTo>
                  <a:pt x="12565" y="8132"/>
                </a:lnTo>
                <a:lnTo>
                  <a:pt x="11871" y="8132"/>
                </a:lnTo>
                <a:lnTo>
                  <a:pt x="11871" y="8040"/>
                </a:lnTo>
                <a:lnTo>
                  <a:pt x="11871" y="8020"/>
                </a:lnTo>
                <a:lnTo>
                  <a:pt x="11869" y="8000"/>
                </a:lnTo>
                <a:lnTo>
                  <a:pt x="11867" y="7980"/>
                </a:lnTo>
                <a:lnTo>
                  <a:pt x="11863" y="7961"/>
                </a:lnTo>
                <a:lnTo>
                  <a:pt x="11859" y="7940"/>
                </a:lnTo>
                <a:lnTo>
                  <a:pt x="11853" y="7922"/>
                </a:lnTo>
                <a:lnTo>
                  <a:pt x="11847" y="7903"/>
                </a:lnTo>
                <a:lnTo>
                  <a:pt x="11840" y="7885"/>
                </a:lnTo>
                <a:lnTo>
                  <a:pt x="11832" y="7868"/>
                </a:lnTo>
                <a:lnTo>
                  <a:pt x="11823" y="7850"/>
                </a:lnTo>
                <a:lnTo>
                  <a:pt x="11813" y="7833"/>
                </a:lnTo>
                <a:lnTo>
                  <a:pt x="11803" y="7817"/>
                </a:lnTo>
                <a:lnTo>
                  <a:pt x="11792" y="7802"/>
                </a:lnTo>
                <a:lnTo>
                  <a:pt x="11780" y="7787"/>
                </a:lnTo>
                <a:lnTo>
                  <a:pt x="11767" y="7772"/>
                </a:lnTo>
                <a:lnTo>
                  <a:pt x="11754" y="7759"/>
                </a:lnTo>
                <a:lnTo>
                  <a:pt x="11741" y="7745"/>
                </a:lnTo>
                <a:lnTo>
                  <a:pt x="11725" y="7732"/>
                </a:lnTo>
                <a:lnTo>
                  <a:pt x="11710" y="7720"/>
                </a:lnTo>
                <a:lnTo>
                  <a:pt x="11695" y="7709"/>
                </a:lnTo>
                <a:lnTo>
                  <a:pt x="11679" y="7699"/>
                </a:lnTo>
                <a:lnTo>
                  <a:pt x="11661" y="7690"/>
                </a:lnTo>
                <a:lnTo>
                  <a:pt x="11644" y="7681"/>
                </a:lnTo>
                <a:lnTo>
                  <a:pt x="11627" y="7673"/>
                </a:lnTo>
                <a:lnTo>
                  <a:pt x="11609" y="7666"/>
                </a:lnTo>
                <a:lnTo>
                  <a:pt x="11590" y="7660"/>
                </a:lnTo>
                <a:lnTo>
                  <a:pt x="11571" y="7654"/>
                </a:lnTo>
                <a:lnTo>
                  <a:pt x="11551" y="7650"/>
                </a:lnTo>
                <a:lnTo>
                  <a:pt x="11532" y="7645"/>
                </a:lnTo>
                <a:lnTo>
                  <a:pt x="11512" y="7643"/>
                </a:lnTo>
                <a:lnTo>
                  <a:pt x="11491" y="7641"/>
                </a:lnTo>
                <a:lnTo>
                  <a:pt x="11471" y="7641"/>
                </a:lnTo>
                <a:lnTo>
                  <a:pt x="9975" y="7641"/>
                </a:lnTo>
                <a:lnTo>
                  <a:pt x="9955" y="7641"/>
                </a:lnTo>
                <a:lnTo>
                  <a:pt x="9934" y="7643"/>
                </a:lnTo>
                <a:lnTo>
                  <a:pt x="9915" y="7645"/>
                </a:lnTo>
                <a:lnTo>
                  <a:pt x="9894" y="7650"/>
                </a:lnTo>
                <a:lnTo>
                  <a:pt x="9875" y="7654"/>
                </a:lnTo>
                <a:lnTo>
                  <a:pt x="9856" y="7660"/>
                </a:lnTo>
                <a:lnTo>
                  <a:pt x="9838" y="7666"/>
                </a:lnTo>
                <a:lnTo>
                  <a:pt x="9819" y="7673"/>
                </a:lnTo>
                <a:lnTo>
                  <a:pt x="9802" y="7681"/>
                </a:lnTo>
                <a:lnTo>
                  <a:pt x="9784" y="7690"/>
                </a:lnTo>
                <a:lnTo>
                  <a:pt x="9768" y="7699"/>
                </a:lnTo>
                <a:lnTo>
                  <a:pt x="9752" y="7709"/>
                </a:lnTo>
                <a:lnTo>
                  <a:pt x="9735" y="7720"/>
                </a:lnTo>
                <a:lnTo>
                  <a:pt x="9720" y="7732"/>
                </a:lnTo>
                <a:lnTo>
                  <a:pt x="9706" y="7745"/>
                </a:lnTo>
                <a:lnTo>
                  <a:pt x="9692" y="7759"/>
                </a:lnTo>
                <a:lnTo>
                  <a:pt x="9679" y="7772"/>
                </a:lnTo>
                <a:lnTo>
                  <a:pt x="9666" y="7787"/>
                </a:lnTo>
                <a:lnTo>
                  <a:pt x="9654" y="7802"/>
                </a:lnTo>
                <a:lnTo>
                  <a:pt x="9643" y="7817"/>
                </a:lnTo>
                <a:lnTo>
                  <a:pt x="9633" y="7833"/>
                </a:lnTo>
                <a:lnTo>
                  <a:pt x="9623" y="7850"/>
                </a:lnTo>
                <a:lnTo>
                  <a:pt x="9614" y="7868"/>
                </a:lnTo>
                <a:lnTo>
                  <a:pt x="9607" y="7885"/>
                </a:lnTo>
                <a:lnTo>
                  <a:pt x="9599" y="7903"/>
                </a:lnTo>
                <a:lnTo>
                  <a:pt x="9592" y="7922"/>
                </a:lnTo>
                <a:lnTo>
                  <a:pt x="9587" y="7940"/>
                </a:lnTo>
                <a:lnTo>
                  <a:pt x="9582" y="7961"/>
                </a:lnTo>
                <a:lnTo>
                  <a:pt x="9579" y="7980"/>
                </a:lnTo>
                <a:lnTo>
                  <a:pt x="9576" y="8000"/>
                </a:lnTo>
                <a:lnTo>
                  <a:pt x="9575" y="8020"/>
                </a:lnTo>
                <a:lnTo>
                  <a:pt x="9574" y="8040"/>
                </a:lnTo>
                <a:lnTo>
                  <a:pt x="9574" y="8132"/>
                </a:lnTo>
                <a:lnTo>
                  <a:pt x="9457" y="8132"/>
                </a:lnTo>
                <a:lnTo>
                  <a:pt x="9441" y="8132"/>
                </a:lnTo>
                <a:lnTo>
                  <a:pt x="9426" y="8133"/>
                </a:lnTo>
                <a:lnTo>
                  <a:pt x="9412" y="8134"/>
                </a:lnTo>
                <a:lnTo>
                  <a:pt x="9397" y="8136"/>
                </a:lnTo>
                <a:lnTo>
                  <a:pt x="9383" y="8139"/>
                </a:lnTo>
                <a:lnTo>
                  <a:pt x="9369" y="8141"/>
                </a:lnTo>
                <a:lnTo>
                  <a:pt x="9354" y="8145"/>
                </a:lnTo>
                <a:lnTo>
                  <a:pt x="9340" y="8149"/>
                </a:lnTo>
                <a:lnTo>
                  <a:pt x="9334" y="8150"/>
                </a:lnTo>
                <a:lnTo>
                  <a:pt x="9334" y="8148"/>
                </a:lnTo>
                <a:lnTo>
                  <a:pt x="9290" y="8157"/>
                </a:lnTo>
                <a:lnTo>
                  <a:pt x="9281" y="8159"/>
                </a:lnTo>
                <a:lnTo>
                  <a:pt x="9272" y="8161"/>
                </a:lnTo>
                <a:lnTo>
                  <a:pt x="9263" y="8164"/>
                </a:lnTo>
                <a:lnTo>
                  <a:pt x="9255" y="8167"/>
                </a:lnTo>
                <a:lnTo>
                  <a:pt x="9246" y="8168"/>
                </a:lnTo>
                <a:lnTo>
                  <a:pt x="9228" y="8172"/>
                </a:lnTo>
                <a:lnTo>
                  <a:pt x="9210" y="8177"/>
                </a:lnTo>
                <a:lnTo>
                  <a:pt x="9193" y="8183"/>
                </a:lnTo>
                <a:lnTo>
                  <a:pt x="9176" y="8189"/>
                </a:lnTo>
                <a:lnTo>
                  <a:pt x="9176" y="8188"/>
                </a:lnTo>
                <a:lnTo>
                  <a:pt x="9131" y="8206"/>
                </a:lnTo>
                <a:lnTo>
                  <a:pt x="9113" y="8214"/>
                </a:lnTo>
                <a:lnTo>
                  <a:pt x="9095" y="8223"/>
                </a:lnTo>
                <a:lnTo>
                  <a:pt x="9077" y="8233"/>
                </a:lnTo>
                <a:lnTo>
                  <a:pt x="9059" y="8243"/>
                </a:lnTo>
                <a:lnTo>
                  <a:pt x="9059" y="8243"/>
                </a:lnTo>
                <a:lnTo>
                  <a:pt x="8980" y="8296"/>
                </a:lnTo>
                <a:lnTo>
                  <a:pt x="8964" y="8307"/>
                </a:lnTo>
                <a:lnTo>
                  <a:pt x="8948" y="8320"/>
                </a:lnTo>
                <a:lnTo>
                  <a:pt x="8933" y="8332"/>
                </a:lnTo>
                <a:lnTo>
                  <a:pt x="8919" y="8346"/>
                </a:lnTo>
                <a:lnTo>
                  <a:pt x="8918" y="8345"/>
                </a:lnTo>
                <a:lnTo>
                  <a:pt x="8848" y="8416"/>
                </a:lnTo>
                <a:lnTo>
                  <a:pt x="8836" y="8428"/>
                </a:lnTo>
                <a:lnTo>
                  <a:pt x="8825" y="8440"/>
                </a:lnTo>
                <a:lnTo>
                  <a:pt x="8815" y="8452"/>
                </a:lnTo>
                <a:lnTo>
                  <a:pt x="8805" y="8465"/>
                </a:lnTo>
                <a:lnTo>
                  <a:pt x="8753" y="8532"/>
                </a:lnTo>
                <a:lnTo>
                  <a:pt x="8742" y="8546"/>
                </a:lnTo>
                <a:lnTo>
                  <a:pt x="8732" y="8560"/>
                </a:lnTo>
                <a:lnTo>
                  <a:pt x="8723" y="8576"/>
                </a:lnTo>
                <a:lnTo>
                  <a:pt x="8715" y="8591"/>
                </a:lnTo>
                <a:lnTo>
                  <a:pt x="8671" y="8659"/>
                </a:lnTo>
                <a:lnTo>
                  <a:pt x="8665" y="8668"/>
                </a:lnTo>
                <a:lnTo>
                  <a:pt x="8660" y="8678"/>
                </a:lnTo>
                <a:lnTo>
                  <a:pt x="8655" y="8687"/>
                </a:lnTo>
                <a:lnTo>
                  <a:pt x="8650" y="8696"/>
                </a:lnTo>
                <a:lnTo>
                  <a:pt x="8649" y="8696"/>
                </a:lnTo>
                <a:lnTo>
                  <a:pt x="8596" y="8801"/>
                </a:lnTo>
                <a:lnTo>
                  <a:pt x="8588" y="8818"/>
                </a:lnTo>
                <a:lnTo>
                  <a:pt x="8581" y="8835"/>
                </a:lnTo>
                <a:lnTo>
                  <a:pt x="8575" y="8852"/>
                </a:lnTo>
                <a:lnTo>
                  <a:pt x="8570" y="8869"/>
                </a:lnTo>
                <a:lnTo>
                  <a:pt x="8539" y="8950"/>
                </a:lnTo>
                <a:lnTo>
                  <a:pt x="8536" y="8959"/>
                </a:lnTo>
                <a:lnTo>
                  <a:pt x="8534" y="8958"/>
                </a:lnTo>
                <a:lnTo>
                  <a:pt x="8490" y="9081"/>
                </a:lnTo>
                <a:lnTo>
                  <a:pt x="8486" y="9092"/>
                </a:lnTo>
                <a:lnTo>
                  <a:pt x="8483" y="9102"/>
                </a:lnTo>
                <a:lnTo>
                  <a:pt x="8480" y="9112"/>
                </a:lnTo>
                <a:lnTo>
                  <a:pt x="8477" y="9122"/>
                </a:lnTo>
                <a:lnTo>
                  <a:pt x="8446" y="9229"/>
                </a:lnTo>
                <a:lnTo>
                  <a:pt x="8412" y="9351"/>
                </a:lnTo>
                <a:lnTo>
                  <a:pt x="8409" y="9362"/>
                </a:lnTo>
                <a:lnTo>
                  <a:pt x="8406" y="9372"/>
                </a:lnTo>
                <a:lnTo>
                  <a:pt x="8404" y="9382"/>
                </a:lnTo>
                <a:lnTo>
                  <a:pt x="8402" y="9392"/>
                </a:lnTo>
                <a:lnTo>
                  <a:pt x="8379" y="9501"/>
                </a:lnTo>
                <a:lnTo>
                  <a:pt x="8377" y="9512"/>
                </a:lnTo>
                <a:lnTo>
                  <a:pt x="8376" y="9522"/>
                </a:lnTo>
                <a:lnTo>
                  <a:pt x="8373" y="9533"/>
                </a:lnTo>
                <a:lnTo>
                  <a:pt x="8372" y="9543"/>
                </a:lnTo>
                <a:lnTo>
                  <a:pt x="8346" y="9776"/>
                </a:lnTo>
                <a:lnTo>
                  <a:pt x="8345" y="9786"/>
                </a:lnTo>
                <a:lnTo>
                  <a:pt x="8345" y="9786"/>
                </a:lnTo>
                <a:lnTo>
                  <a:pt x="8327" y="9987"/>
                </a:lnTo>
                <a:lnTo>
                  <a:pt x="8326" y="10008"/>
                </a:lnTo>
                <a:lnTo>
                  <a:pt x="8326" y="10029"/>
                </a:lnTo>
                <a:lnTo>
                  <a:pt x="8327" y="10049"/>
                </a:lnTo>
                <a:lnTo>
                  <a:pt x="8328" y="10069"/>
                </a:lnTo>
                <a:lnTo>
                  <a:pt x="8345" y="10265"/>
                </a:lnTo>
                <a:lnTo>
                  <a:pt x="8349" y="10297"/>
                </a:lnTo>
                <a:lnTo>
                  <a:pt x="8372" y="10512"/>
                </a:lnTo>
                <a:lnTo>
                  <a:pt x="8373" y="10522"/>
                </a:lnTo>
                <a:lnTo>
                  <a:pt x="8376" y="10533"/>
                </a:lnTo>
                <a:lnTo>
                  <a:pt x="8378" y="10543"/>
                </a:lnTo>
                <a:lnTo>
                  <a:pt x="8380" y="10552"/>
                </a:lnTo>
                <a:lnTo>
                  <a:pt x="8379" y="10552"/>
                </a:lnTo>
                <a:lnTo>
                  <a:pt x="8405" y="10675"/>
                </a:lnTo>
                <a:lnTo>
                  <a:pt x="8412" y="10701"/>
                </a:lnTo>
                <a:lnTo>
                  <a:pt x="8412" y="10701"/>
                </a:lnTo>
                <a:lnTo>
                  <a:pt x="8446" y="10823"/>
                </a:lnTo>
                <a:lnTo>
                  <a:pt x="8482" y="10947"/>
                </a:lnTo>
                <a:lnTo>
                  <a:pt x="8490" y="10971"/>
                </a:lnTo>
                <a:lnTo>
                  <a:pt x="8490" y="10972"/>
                </a:lnTo>
                <a:lnTo>
                  <a:pt x="8534" y="11094"/>
                </a:lnTo>
                <a:lnTo>
                  <a:pt x="8538" y="11105"/>
                </a:lnTo>
                <a:lnTo>
                  <a:pt x="8543" y="11116"/>
                </a:lnTo>
                <a:lnTo>
                  <a:pt x="8547" y="11127"/>
                </a:lnTo>
                <a:lnTo>
                  <a:pt x="8552" y="11137"/>
                </a:lnTo>
                <a:lnTo>
                  <a:pt x="8582" y="11216"/>
                </a:lnTo>
                <a:lnTo>
                  <a:pt x="8586" y="11225"/>
                </a:lnTo>
                <a:lnTo>
                  <a:pt x="8589" y="11233"/>
                </a:lnTo>
                <a:lnTo>
                  <a:pt x="8593" y="11243"/>
                </a:lnTo>
                <a:lnTo>
                  <a:pt x="8597" y="11251"/>
                </a:lnTo>
                <a:lnTo>
                  <a:pt x="8596" y="11252"/>
                </a:lnTo>
                <a:lnTo>
                  <a:pt x="8649" y="11357"/>
                </a:lnTo>
                <a:lnTo>
                  <a:pt x="8660" y="11378"/>
                </a:lnTo>
                <a:lnTo>
                  <a:pt x="8672" y="11398"/>
                </a:lnTo>
                <a:lnTo>
                  <a:pt x="8686" y="11416"/>
                </a:lnTo>
                <a:lnTo>
                  <a:pt x="8700" y="11434"/>
                </a:lnTo>
                <a:lnTo>
                  <a:pt x="8742" y="11495"/>
                </a:lnTo>
                <a:lnTo>
                  <a:pt x="8804" y="11582"/>
                </a:lnTo>
                <a:lnTo>
                  <a:pt x="8814" y="11597"/>
                </a:lnTo>
                <a:lnTo>
                  <a:pt x="8825" y="11610"/>
                </a:lnTo>
                <a:lnTo>
                  <a:pt x="8837" y="11623"/>
                </a:lnTo>
                <a:lnTo>
                  <a:pt x="8849" y="11635"/>
                </a:lnTo>
                <a:lnTo>
                  <a:pt x="8848" y="11637"/>
                </a:lnTo>
                <a:lnTo>
                  <a:pt x="8918" y="11707"/>
                </a:lnTo>
                <a:lnTo>
                  <a:pt x="8929" y="11717"/>
                </a:lnTo>
                <a:lnTo>
                  <a:pt x="8939" y="11726"/>
                </a:lnTo>
                <a:lnTo>
                  <a:pt x="8950" y="11735"/>
                </a:lnTo>
                <a:lnTo>
                  <a:pt x="8961" y="11744"/>
                </a:lnTo>
                <a:lnTo>
                  <a:pt x="8984" y="11761"/>
                </a:lnTo>
                <a:lnTo>
                  <a:pt x="9008" y="11775"/>
                </a:lnTo>
                <a:lnTo>
                  <a:pt x="9058" y="11808"/>
                </a:lnTo>
                <a:lnTo>
                  <a:pt x="9080" y="11821"/>
                </a:lnTo>
                <a:lnTo>
                  <a:pt x="9102" y="11833"/>
                </a:lnTo>
                <a:lnTo>
                  <a:pt x="9124" y="11843"/>
                </a:lnTo>
                <a:lnTo>
                  <a:pt x="9148" y="11852"/>
                </a:lnTo>
                <a:close/>
                <a:moveTo>
                  <a:pt x="5586" y="11021"/>
                </a:moveTo>
                <a:lnTo>
                  <a:pt x="5885" y="11021"/>
                </a:lnTo>
                <a:lnTo>
                  <a:pt x="5964" y="11767"/>
                </a:lnTo>
                <a:lnTo>
                  <a:pt x="6237" y="11767"/>
                </a:lnTo>
                <a:lnTo>
                  <a:pt x="6237" y="12012"/>
                </a:lnTo>
                <a:lnTo>
                  <a:pt x="5233" y="12012"/>
                </a:lnTo>
                <a:lnTo>
                  <a:pt x="5233" y="11767"/>
                </a:lnTo>
                <a:lnTo>
                  <a:pt x="5515" y="11767"/>
                </a:lnTo>
                <a:lnTo>
                  <a:pt x="5586" y="11021"/>
                </a:lnTo>
                <a:close/>
                <a:moveTo>
                  <a:pt x="5981" y="8531"/>
                </a:moveTo>
                <a:lnTo>
                  <a:pt x="4987" y="8531"/>
                </a:lnTo>
                <a:lnTo>
                  <a:pt x="4987" y="8286"/>
                </a:lnTo>
                <a:lnTo>
                  <a:pt x="4741" y="8286"/>
                </a:lnTo>
                <a:lnTo>
                  <a:pt x="4741" y="8040"/>
                </a:lnTo>
                <a:lnTo>
                  <a:pt x="6237" y="8040"/>
                </a:lnTo>
                <a:lnTo>
                  <a:pt x="6237" y="8286"/>
                </a:lnTo>
                <a:lnTo>
                  <a:pt x="5981" y="8286"/>
                </a:lnTo>
                <a:lnTo>
                  <a:pt x="5981" y="8531"/>
                </a:lnTo>
                <a:close/>
                <a:moveTo>
                  <a:pt x="2991" y="8531"/>
                </a:moveTo>
                <a:lnTo>
                  <a:pt x="1997" y="8531"/>
                </a:lnTo>
                <a:lnTo>
                  <a:pt x="1997" y="8286"/>
                </a:lnTo>
                <a:lnTo>
                  <a:pt x="1751" y="8286"/>
                </a:lnTo>
                <a:lnTo>
                  <a:pt x="1751" y="8040"/>
                </a:lnTo>
                <a:lnTo>
                  <a:pt x="3245" y="8040"/>
                </a:lnTo>
                <a:lnTo>
                  <a:pt x="3245" y="8286"/>
                </a:lnTo>
                <a:lnTo>
                  <a:pt x="2991" y="8286"/>
                </a:lnTo>
                <a:lnTo>
                  <a:pt x="2991" y="8531"/>
                </a:lnTo>
                <a:close/>
                <a:moveTo>
                  <a:pt x="2102" y="11021"/>
                </a:moveTo>
                <a:lnTo>
                  <a:pt x="2392" y="11021"/>
                </a:lnTo>
                <a:lnTo>
                  <a:pt x="2471" y="11767"/>
                </a:lnTo>
                <a:lnTo>
                  <a:pt x="2745" y="11767"/>
                </a:lnTo>
                <a:lnTo>
                  <a:pt x="2745" y="12012"/>
                </a:lnTo>
                <a:lnTo>
                  <a:pt x="1751" y="12012"/>
                </a:lnTo>
                <a:lnTo>
                  <a:pt x="1751" y="11767"/>
                </a:lnTo>
                <a:lnTo>
                  <a:pt x="2023" y="11767"/>
                </a:lnTo>
                <a:lnTo>
                  <a:pt x="2102" y="11021"/>
                </a:lnTo>
                <a:close/>
                <a:moveTo>
                  <a:pt x="246" y="8531"/>
                </a:moveTo>
                <a:lnTo>
                  <a:pt x="502" y="8531"/>
                </a:lnTo>
                <a:lnTo>
                  <a:pt x="502" y="8531"/>
                </a:lnTo>
                <a:lnTo>
                  <a:pt x="475" y="8602"/>
                </a:lnTo>
                <a:lnTo>
                  <a:pt x="431" y="8786"/>
                </a:lnTo>
                <a:lnTo>
                  <a:pt x="836" y="8786"/>
                </a:lnTo>
                <a:lnTo>
                  <a:pt x="836" y="8786"/>
                </a:lnTo>
                <a:lnTo>
                  <a:pt x="880" y="8733"/>
                </a:lnTo>
                <a:lnTo>
                  <a:pt x="915" y="8681"/>
                </a:lnTo>
                <a:lnTo>
                  <a:pt x="968" y="8637"/>
                </a:lnTo>
                <a:lnTo>
                  <a:pt x="1011" y="8602"/>
                </a:lnTo>
                <a:lnTo>
                  <a:pt x="1064" y="8576"/>
                </a:lnTo>
                <a:lnTo>
                  <a:pt x="1108" y="8549"/>
                </a:lnTo>
                <a:lnTo>
                  <a:pt x="1170" y="8540"/>
                </a:lnTo>
                <a:lnTo>
                  <a:pt x="1223" y="8531"/>
                </a:lnTo>
                <a:lnTo>
                  <a:pt x="6755" y="8531"/>
                </a:lnTo>
                <a:lnTo>
                  <a:pt x="6755" y="8531"/>
                </a:lnTo>
                <a:lnTo>
                  <a:pt x="6800" y="8540"/>
                </a:lnTo>
                <a:lnTo>
                  <a:pt x="6843" y="8549"/>
                </a:lnTo>
                <a:lnTo>
                  <a:pt x="6888" y="8558"/>
                </a:lnTo>
                <a:lnTo>
                  <a:pt x="6932" y="8576"/>
                </a:lnTo>
                <a:lnTo>
                  <a:pt x="7011" y="8628"/>
                </a:lnTo>
                <a:lnTo>
                  <a:pt x="7081" y="8698"/>
                </a:lnTo>
                <a:lnTo>
                  <a:pt x="7142" y="8777"/>
                </a:lnTo>
                <a:lnTo>
                  <a:pt x="7204" y="8873"/>
                </a:lnTo>
                <a:lnTo>
                  <a:pt x="7257" y="8978"/>
                </a:lnTo>
                <a:lnTo>
                  <a:pt x="7301" y="9093"/>
                </a:lnTo>
                <a:lnTo>
                  <a:pt x="7345" y="9216"/>
                </a:lnTo>
                <a:lnTo>
                  <a:pt x="7381" y="9338"/>
                </a:lnTo>
                <a:lnTo>
                  <a:pt x="7415" y="9461"/>
                </a:lnTo>
                <a:lnTo>
                  <a:pt x="7441" y="9583"/>
                </a:lnTo>
                <a:lnTo>
                  <a:pt x="7469" y="9821"/>
                </a:lnTo>
                <a:lnTo>
                  <a:pt x="7486" y="10022"/>
                </a:lnTo>
                <a:lnTo>
                  <a:pt x="7486" y="10022"/>
                </a:lnTo>
                <a:lnTo>
                  <a:pt x="7469" y="10233"/>
                </a:lnTo>
                <a:lnTo>
                  <a:pt x="7441" y="10469"/>
                </a:lnTo>
                <a:lnTo>
                  <a:pt x="7415" y="10592"/>
                </a:lnTo>
                <a:lnTo>
                  <a:pt x="7381" y="10714"/>
                </a:lnTo>
                <a:lnTo>
                  <a:pt x="7345" y="10838"/>
                </a:lnTo>
                <a:lnTo>
                  <a:pt x="7301" y="10960"/>
                </a:lnTo>
                <a:lnTo>
                  <a:pt x="7257" y="11074"/>
                </a:lnTo>
                <a:lnTo>
                  <a:pt x="7204" y="11179"/>
                </a:lnTo>
                <a:lnTo>
                  <a:pt x="7142" y="11267"/>
                </a:lnTo>
                <a:lnTo>
                  <a:pt x="7081" y="11355"/>
                </a:lnTo>
                <a:lnTo>
                  <a:pt x="7011" y="11424"/>
                </a:lnTo>
                <a:lnTo>
                  <a:pt x="6932" y="11478"/>
                </a:lnTo>
                <a:lnTo>
                  <a:pt x="6888" y="11495"/>
                </a:lnTo>
                <a:lnTo>
                  <a:pt x="6843" y="11503"/>
                </a:lnTo>
                <a:lnTo>
                  <a:pt x="6800" y="11512"/>
                </a:lnTo>
                <a:lnTo>
                  <a:pt x="6755" y="11521"/>
                </a:lnTo>
                <a:lnTo>
                  <a:pt x="6184" y="11521"/>
                </a:lnTo>
                <a:lnTo>
                  <a:pt x="6026" y="10776"/>
                </a:lnTo>
                <a:lnTo>
                  <a:pt x="5445" y="10776"/>
                </a:lnTo>
                <a:lnTo>
                  <a:pt x="5287" y="11521"/>
                </a:lnTo>
                <a:lnTo>
                  <a:pt x="2692" y="11521"/>
                </a:lnTo>
                <a:lnTo>
                  <a:pt x="2542" y="10776"/>
                </a:lnTo>
                <a:lnTo>
                  <a:pt x="1953" y="10776"/>
                </a:lnTo>
                <a:lnTo>
                  <a:pt x="1794" y="11521"/>
                </a:lnTo>
                <a:lnTo>
                  <a:pt x="1223" y="11521"/>
                </a:lnTo>
                <a:lnTo>
                  <a:pt x="1223" y="11521"/>
                </a:lnTo>
                <a:lnTo>
                  <a:pt x="1170" y="11512"/>
                </a:lnTo>
                <a:lnTo>
                  <a:pt x="1108" y="11495"/>
                </a:lnTo>
                <a:lnTo>
                  <a:pt x="1064" y="11478"/>
                </a:lnTo>
                <a:lnTo>
                  <a:pt x="1011" y="11451"/>
                </a:lnTo>
                <a:lnTo>
                  <a:pt x="968" y="11416"/>
                </a:lnTo>
                <a:lnTo>
                  <a:pt x="915" y="11372"/>
                </a:lnTo>
                <a:lnTo>
                  <a:pt x="880" y="11319"/>
                </a:lnTo>
                <a:lnTo>
                  <a:pt x="836" y="11267"/>
                </a:lnTo>
                <a:lnTo>
                  <a:pt x="431" y="11267"/>
                </a:lnTo>
                <a:lnTo>
                  <a:pt x="431" y="11267"/>
                </a:lnTo>
                <a:lnTo>
                  <a:pt x="475" y="11451"/>
                </a:lnTo>
                <a:lnTo>
                  <a:pt x="502" y="11521"/>
                </a:lnTo>
                <a:lnTo>
                  <a:pt x="246" y="11521"/>
                </a:lnTo>
                <a:lnTo>
                  <a:pt x="246" y="11521"/>
                </a:lnTo>
                <a:lnTo>
                  <a:pt x="211" y="11390"/>
                </a:lnTo>
                <a:lnTo>
                  <a:pt x="176" y="11240"/>
                </a:lnTo>
                <a:lnTo>
                  <a:pt x="123" y="11048"/>
                </a:lnTo>
                <a:lnTo>
                  <a:pt x="79" y="10828"/>
                </a:lnTo>
                <a:lnTo>
                  <a:pt x="44" y="10574"/>
                </a:lnTo>
                <a:lnTo>
                  <a:pt x="9" y="10302"/>
                </a:lnTo>
                <a:lnTo>
                  <a:pt x="0" y="10162"/>
                </a:lnTo>
                <a:lnTo>
                  <a:pt x="0" y="10022"/>
                </a:lnTo>
                <a:lnTo>
                  <a:pt x="0" y="10022"/>
                </a:lnTo>
                <a:lnTo>
                  <a:pt x="0" y="9881"/>
                </a:lnTo>
                <a:lnTo>
                  <a:pt x="9" y="9750"/>
                </a:lnTo>
                <a:lnTo>
                  <a:pt x="44" y="9478"/>
                </a:lnTo>
                <a:lnTo>
                  <a:pt x="79" y="9224"/>
                </a:lnTo>
                <a:lnTo>
                  <a:pt x="123" y="8997"/>
                </a:lnTo>
                <a:lnTo>
                  <a:pt x="176" y="8812"/>
                </a:lnTo>
                <a:lnTo>
                  <a:pt x="211" y="8663"/>
                </a:lnTo>
                <a:lnTo>
                  <a:pt x="246" y="8531"/>
                </a:lnTo>
                <a:lnTo>
                  <a:pt x="246" y="8531"/>
                </a:lnTo>
                <a:close/>
                <a:moveTo>
                  <a:pt x="6237" y="9276"/>
                </a:moveTo>
                <a:lnTo>
                  <a:pt x="6237" y="9276"/>
                </a:lnTo>
                <a:lnTo>
                  <a:pt x="6483" y="9276"/>
                </a:lnTo>
                <a:lnTo>
                  <a:pt x="6483" y="9276"/>
                </a:lnTo>
                <a:lnTo>
                  <a:pt x="6562" y="9285"/>
                </a:lnTo>
                <a:lnTo>
                  <a:pt x="6642" y="9295"/>
                </a:lnTo>
                <a:lnTo>
                  <a:pt x="6712" y="9312"/>
                </a:lnTo>
                <a:lnTo>
                  <a:pt x="6774" y="9338"/>
                </a:lnTo>
                <a:lnTo>
                  <a:pt x="6834" y="9364"/>
                </a:lnTo>
                <a:lnTo>
                  <a:pt x="6888" y="9390"/>
                </a:lnTo>
                <a:lnTo>
                  <a:pt x="6984" y="9461"/>
                </a:lnTo>
                <a:lnTo>
                  <a:pt x="7072" y="9549"/>
                </a:lnTo>
                <a:lnTo>
                  <a:pt x="7142" y="9628"/>
                </a:lnTo>
                <a:lnTo>
                  <a:pt x="7195" y="9707"/>
                </a:lnTo>
                <a:lnTo>
                  <a:pt x="7231" y="9776"/>
                </a:lnTo>
                <a:lnTo>
                  <a:pt x="7231" y="9776"/>
                </a:lnTo>
                <a:lnTo>
                  <a:pt x="7213" y="9662"/>
                </a:lnTo>
                <a:lnTo>
                  <a:pt x="7187" y="9549"/>
                </a:lnTo>
                <a:lnTo>
                  <a:pt x="7152" y="9417"/>
                </a:lnTo>
                <a:lnTo>
                  <a:pt x="7099" y="9303"/>
                </a:lnTo>
                <a:lnTo>
                  <a:pt x="7072" y="9242"/>
                </a:lnTo>
                <a:lnTo>
                  <a:pt x="7037" y="9198"/>
                </a:lnTo>
                <a:lnTo>
                  <a:pt x="6993" y="9145"/>
                </a:lnTo>
                <a:lnTo>
                  <a:pt x="6949" y="9110"/>
                </a:lnTo>
                <a:lnTo>
                  <a:pt x="6905" y="9075"/>
                </a:lnTo>
                <a:lnTo>
                  <a:pt x="6853" y="9049"/>
                </a:lnTo>
                <a:lnTo>
                  <a:pt x="6800" y="9040"/>
                </a:lnTo>
                <a:lnTo>
                  <a:pt x="6729" y="9031"/>
                </a:lnTo>
                <a:lnTo>
                  <a:pt x="6729" y="9031"/>
                </a:lnTo>
                <a:lnTo>
                  <a:pt x="6237" y="9031"/>
                </a:lnTo>
                <a:lnTo>
                  <a:pt x="1099" y="9023"/>
                </a:lnTo>
                <a:lnTo>
                  <a:pt x="1003" y="9276"/>
                </a:lnTo>
                <a:lnTo>
                  <a:pt x="6237" y="9276"/>
                </a:lnTo>
                <a:close/>
                <a:moveTo>
                  <a:pt x="370" y="9031"/>
                </a:moveTo>
                <a:lnTo>
                  <a:pt x="370" y="9031"/>
                </a:lnTo>
                <a:lnTo>
                  <a:pt x="325" y="9268"/>
                </a:lnTo>
                <a:lnTo>
                  <a:pt x="282" y="9531"/>
                </a:lnTo>
                <a:lnTo>
                  <a:pt x="554" y="9531"/>
                </a:lnTo>
                <a:lnTo>
                  <a:pt x="554" y="9531"/>
                </a:lnTo>
                <a:lnTo>
                  <a:pt x="581" y="9400"/>
                </a:lnTo>
                <a:lnTo>
                  <a:pt x="616" y="9276"/>
                </a:lnTo>
                <a:lnTo>
                  <a:pt x="660" y="9154"/>
                </a:lnTo>
                <a:lnTo>
                  <a:pt x="703" y="9031"/>
                </a:lnTo>
                <a:lnTo>
                  <a:pt x="370" y="9031"/>
                </a:lnTo>
                <a:close/>
                <a:moveTo>
                  <a:pt x="370" y="11021"/>
                </a:moveTo>
                <a:lnTo>
                  <a:pt x="703" y="11021"/>
                </a:lnTo>
                <a:lnTo>
                  <a:pt x="703" y="11021"/>
                </a:lnTo>
                <a:lnTo>
                  <a:pt x="660" y="10899"/>
                </a:lnTo>
                <a:lnTo>
                  <a:pt x="616" y="10776"/>
                </a:lnTo>
                <a:lnTo>
                  <a:pt x="581" y="10653"/>
                </a:lnTo>
                <a:lnTo>
                  <a:pt x="554" y="10521"/>
                </a:lnTo>
                <a:lnTo>
                  <a:pt x="282" y="10521"/>
                </a:lnTo>
                <a:lnTo>
                  <a:pt x="282" y="10521"/>
                </a:lnTo>
                <a:lnTo>
                  <a:pt x="325" y="10785"/>
                </a:lnTo>
                <a:lnTo>
                  <a:pt x="370" y="11021"/>
                </a:lnTo>
                <a:lnTo>
                  <a:pt x="370" y="11021"/>
                </a:lnTo>
                <a:close/>
                <a:moveTo>
                  <a:pt x="255" y="10276"/>
                </a:moveTo>
                <a:lnTo>
                  <a:pt x="519" y="10276"/>
                </a:lnTo>
                <a:lnTo>
                  <a:pt x="519" y="10276"/>
                </a:lnTo>
                <a:lnTo>
                  <a:pt x="502" y="10145"/>
                </a:lnTo>
                <a:lnTo>
                  <a:pt x="502" y="10022"/>
                </a:lnTo>
                <a:lnTo>
                  <a:pt x="502" y="10022"/>
                </a:lnTo>
                <a:lnTo>
                  <a:pt x="502" y="9908"/>
                </a:lnTo>
                <a:lnTo>
                  <a:pt x="519" y="9776"/>
                </a:lnTo>
                <a:lnTo>
                  <a:pt x="255" y="9776"/>
                </a:lnTo>
                <a:lnTo>
                  <a:pt x="255" y="9776"/>
                </a:lnTo>
                <a:lnTo>
                  <a:pt x="246" y="10022"/>
                </a:lnTo>
                <a:lnTo>
                  <a:pt x="246" y="10022"/>
                </a:lnTo>
                <a:lnTo>
                  <a:pt x="255" y="10276"/>
                </a:lnTo>
                <a:lnTo>
                  <a:pt x="255" y="10276"/>
                </a:lnTo>
                <a:close/>
                <a:moveTo>
                  <a:pt x="10626" y="11021"/>
                </a:moveTo>
                <a:lnTo>
                  <a:pt x="10327" y="11021"/>
                </a:lnTo>
                <a:lnTo>
                  <a:pt x="10248" y="11767"/>
                </a:lnTo>
                <a:lnTo>
                  <a:pt x="9975" y="11767"/>
                </a:lnTo>
                <a:lnTo>
                  <a:pt x="9975" y="12012"/>
                </a:lnTo>
                <a:lnTo>
                  <a:pt x="10979" y="12012"/>
                </a:lnTo>
                <a:lnTo>
                  <a:pt x="10979" y="11767"/>
                </a:lnTo>
                <a:lnTo>
                  <a:pt x="10697" y="11767"/>
                </a:lnTo>
                <a:lnTo>
                  <a:pt x="10626" y="11021"/>
                </a:lnTo>
                <a:close/>
                <a:moveTo>
                  <a:pt x="10231" y="8531"/>
                </a:moveTo>
                <a:lnTo>
                  <a:pt x="11225" y="8531"/>
                </a:lnTo>
                <a:lnTo>
                  <a:pt x="11225" y="8286"/>
                </a:lnTo>
                <a:lnTo>
                  <a:pt x="11471" y="8286"/>
                </a:lnTo>
                <a:lnTo>
                  <a:pt x="11471" y="8040"/>
                </a:lnTo>
                <a:lnTo>
                  <a:pt x="9975" y="8040"/>
                </a:lnTo>
                <a:lnTo>
                  <a:pt x="9975" y="8286"/>
                </a:lnTo>
                <a:lnTo>
                  <a:pt x="10231" y="8286"/>
                </a:lnTo>
                <a:lnTo>
                  <a:pt x="10231" y="8531"/>
                </a:lnTo>
                <a:close/>
                <a:moveTo>
                  <a:pt x="13221" y="8531"/>
                </a:moveTo>
                <a:lnTo>
                  <a:pt x="14215" y="8531"/>
                </a:lnTo>
                <a:lnTo>
                  <a:pt x="14215" y="8286"/>
                </a:lnTo>
                <a:lnTo>
                  <a:pt x="14461" y="8286"/>
                </a:lnTo>
                <a:lnTo>
                  <a:pt x="14461" y="8040"/>
                </a:lnTo>
                <a:lnTo>
                  <a:pt x="12967" y="8040"/>
                </a:lnTo>
                <a:lnTo>
                  <a:pt x="12967" y="8286"/>
                </a:lnTo>
                <a:lnTo>
                  <a:pt x="13221" y="8286"/>
                </a:lnTo>
                <a:lnTo>
                  <a:pt x="13221" y="8531"/>
                </a:lnTo>
                <a:close/>
                <a:moveTo>
                  <a:pt x="14110" y="11021"/>
                </a:moveTo>
                <a:lnTo>
                  <a:pt x="13820" y="11021"/>
                </a:lnTo>
                <a:lnTo>
                  <a:pt x="13741" y="11767"/>
                </a:lnTo>
                <a:lnTo>
                  <a:pt x="13467" y="11767"/>
                </a:lnTo>
                <a:lnTo>
                  <a:pt x="13467" y="12012"/>
                </a:lnTo>
                <a:lnTo>
                  <a:pt x="14461" y="12012"/>
                </a:lnTo>
                <a:lnTo>
                  <a:pt x="14461" y="11767"/>
                </a:lnTo>
                <a:lnTo>
                  <a:pt x="14189" y="11767"/>
                </a:lnTo>
                <a:lnTo>
                  <a:pt x="14110" y="11021"/>
                </a:lnTo>
                <a:close/>
                <a:moveTo>
                  <a:pt x="15966" y="8531"/>
                </a:moveTo>
                <a:lnTo>
                  <a:pt x="15710" y="8531"/>
                </a:lnTo>
                <a:lnTo>
                  <a:pt x="15710" y="8531"/>
                </a:lnTo>
                <a:lnTo>
                  <a:pt x="15737" y="8602"/>
                </a:lnTo>
                <a:lnTo>
                  <a:pt x="15781" y="8786"/>
                </a:lnTo>
                <a:lnTo>
                  <a:pt x="15376" y="8786"/>
                </a:lnTo>
                <a:lnTo>
                  <a:pt x="15376" y="8786"/>
                </a:lnTo>
                <a:lnTo>
                  <a:pt x="15332" y="8733"/>
                </a:lnTo>
                <a:lnTo>
                  <a:pt x="15297" y="8681"/>
                </a:lnTo>
                <a:lnTo>
                  <a:pt x="15244" y="8637"/>
                </a:lnTo>
                <a:lnTo>
                  <a:pt x="15201" y="8602"/>
                </a:lnTo>
                <a:lnTo>
                  <a:pt x="15148" y="8576"/>
                </a:lnTo>
                <a:lnTo>
                  <a:pt x="15104" y="8549"/>
                </a:lnTo>
                <a:lnTo>
                  <a:pt x="15042" y="8540"/>
                </a:lnTo>
                <a:lnTo>
                  <a:pt x="14989" y="8531"/>
                </a:lnTo>
                <a:lnTo>
                  <a:pt x="9457" y="8531"/>
                </a:lnTo>
                <a:lnTo>
                  <a:pt x="9457" y="8531"/>
                </a:lnTo>
                <a:lnTo>
                  <a:pt x="9412" y="8540"/>
                </a:lnTo>
                <a:lnTo>
                  <a:pt x="9369" y="8549"/>
                </a:lnTo>
                <a:lnTo>
                  <a:pt x="9324" y="8558"/>
                </a:lnTo>
                <a:lnTo>
                  <a:pt x="9280" y="8576"/>
                </a:lnTo>
                <a:lnTo>
                  <a:pt x="9201" y="8628"/>
                </a:lnTo>
                <a:lnTo>
                  <a:pt x="9131" y="8698"/>
                </a:lnTo>
                <a:lnTo>
                  <a:pt x="9070" y="8777"/>
                </a:lnTo>
                <a:lnTo>
                  <a:pt x="9008" y="8873"/>
                </a:lnTo>
                <a:lnTo>
                  <a:pt x="8955" y="8978"/>
                </a:lnTo>
                <a:lnTo>
                  <a:pt x="8911" y="9093"/>
                </a:lnTo>
                <a:lnTo>
                  <a:pt x="8867" y="9216"/>
                </a:lnTo>
                <a:lnTo>
                  <a:pt x="8831" y="9338"/>
                </a:lnTo>
                <a:lnTo>
                  <a:pt x="8796" y="9461"/>
                </a:lnTo>
                <a:lnTo>
                  <a:pt x="8771" y="9583"/>
                </a:lnTo>
                <a:lnTo>
                  <a:pt x="8743" y="9821"/>
                </a:lnTo>
                <a:lnTo>
                  <a:pt x="8726" y="10022"/>
                </a:lnTo>
                <a:lnTo>
                  <a:pt x="8726" y="10022"/>
                </a:lnTo>
                <a:lnTo>
                  <a:pt x="8743" y="10233"/>
                </a:lnTo>
                <a:lnTo>
                  <a:pt x="8771" y="10469"/>
                </a:lnTo>
                <a:lnTo>
                  <a:pt x="8796" y="10592"/>
                </a:lnTo>
                <a:lnTo>
                  <a:pt x="8831" y="10714"/>
                </a:lnTo>
                <a:lnTo>
                  <a:pt x="8867" y="10838"/>
                </a:lnTo>
                <a:lnTo>
                  <a:pt x="8911" y="10960"/>
                </a:lnTo>
                <a:lnTo>
                  <a:pt x="8955" y="11074"/>
                </a:lnTo>
                <a:lnTo>
                  <a:pt x="9008" y="11179"/>
                </a:lnTo>
                <a:lnTo>
                  <a:pt x="9070" y="11267"/>
                </a:lnTo>
                <a:lnTo>
                  <a:pt x="9131" y="11355"/>
                </a:lnTo>
                <a:lnTo>
                  <a:pt x="9201" y="11424"/>
                </a:lnTo>
                <a:lnTo>
                  <a:pt x="9280" y="11478"/>
                </a:lnTo>
                <a:lnTo>
                  <a:pt x="9324" y="11495"/>
                </a:lnTo>
                <a:lnTo>
                  <a:pt x="9369" y="11503"/>
                </a:lnTo>
                <a:lnTo>
                  <a:pt x="9412" y="11512"/>
                </a:lnTo>
                <a:lnTo>
                  <a:pt x="9457" y="11521"/>
                </a:lnTo>
                <a:lnTo>
                  <a:pt x="10028" y="11521"/>
                </a:lnTo>
                <a:lnTo>
                  <a:pt x="10186" y="10776"/>
                </a:lnTo>
                <a:lnTo>
                  <a:pt x="10767" y="10776"/>
                </a:lnTo>
                <a:lnTo>
                  <a:pt x="10925" y="11521"/>
                </a:lnTo>
                <a:lnTo>
                  <a:pt x="13520" y="11521"/>
                </a:lnTo>
                <a:lnTo>
                  <a:pt x="13670" y="10776"/>
                </a:lnTo>
                <a:lnTo>
                  <a:pt x="14259" y="10776"/>
                </a:lnTo>
                <a:lnTo>
                  <a:pt x="14418" y="11521"/>
                </a:lnTo>
                <a:lnTo>
                  <a:pt x="14989" y="11521"/>
                </a:lnTo>
                <a:lnTo>
                  <a:pt x="14989" y="11521"/>
                </a:lnTo>
                <a:lnTo>
                  <a:pt x="15042" y="11512"/>
                </a:lnTo>
                <a:lnTo>
                  <a:pt x="15104" y="11495"/>
                </a:lnTo>
                <a:lnTo>
                  <a:pt x="15148" y="11478"/>
                </a:lnTo>
                <a:lnTo>
                  <a:pt x="15201" y="11451"/>
                </a:lnTo>
                <a:lnTo>
                  <a:pt x="15244" y="11416"/>
                </a:lnTo>
                <a:lnTo>
                  <a:pt x="15297" y="11372"/>
                </a:lnTo>
                <a:lnTo>
                  <a:pt x="15332" y="11319"/>
                </a:lnTo>
                <a:lnTo>
                  <a:pt x="15376" y="11267"/>
                </a:lnTo>
                <a:lnTo>
                  <a:pt x="15781" y="11267"/>
                </a:lnTo>
                <a:lnTo>
                  <a:pt x="15781" y="11267"/>
                </a:lnTo>
                <a:lnTo>
                  <a:pt x="15737" y="11451"/>
                </a:lnTo>
                <a:lnTo>
                  <a:pt x="15710" y="11521"/>
                </a:lnTo>
                <a:lnTo>
                  <a:pt x="15966" y="11521"/>
                </a:lnTo>
                <a:lnTo>
                  <a:pt x="15966" y="11521"/>
                </a:lnTo>
                <a:lnTo>
                  <a:pt x="16001" y="11390"/>
                </a:lnTo>
                <a:lnTo>
                  <a:pt x="16036" y="11240"/>
                </a:lnTo>
                <a:lnTo>
                  <a:pt x="16088" y="11048"/>
                </a:lnTo>
                <a:lnTo>
                  <a:pt x="16133" y="10828"/>
                </a:lnTo>
                <a:lnTo>
                  <a:pt x="16168" y="10574"/>
                </a:lnTo>
                <a:lnTo>
                  <a:pt x="16203" y="10302"/>
                </a:lnTo>
                <a:lnTo>
                  <a:pt x="16212" y="10162"/>
                </a:lnTo>
                <a:lnTo>
                  <a:pt x="16212" y="10022"/>
                </a:lnTo>
                <a:lnTo>
                  <a:pt x="16212" y="10022"/>
                </a:lnTo>
                <a:lnTo>
                  <a:pt x="16212" y="9881"/>
                </a:lnTo>
                <a:lnTo>
                  <a:pt x="16203" y="9750"/>
                </a:lnTo>
                <a:lnTo>
                  <a:pt x="16168" y="9478"/>
                </a:lnTo>
                <a:lnTo>
                  <a:pt x="16133" y="9224"/>
                </a:lnTo>
                <a:lnTo>
                  <a:pt x="16088" y="8997"/>
                </a:lnTo>
                <a:lnTo>
                  <a:pt x="16036" y="8812"/>
                </a:lnTo>
                <a:lnTo>
                  <a:pt x="16001" y="8663"/>
                </a:lnTo>
                <a:lnTo>
                  <a:pt x="15966" y="8531"/>
                </a:lnTo>
                <a:lnTo>
                  <a:pt x="15966" y="8531"/>
                </a:lnTo>
                <a:close/>
                <a:moveTo>
                  <a:pt x="9975" y="9276"/>
                </a:moveTo>
                <a:lnTo>
                  <a:pt x="9975" y="9276"/>
                </a:lnTo>
                <a:lnTo>
                  <a:pt x="9729" y="9276"/>
                </a:lnTo>
                <a:lnTo>
                  <a:pt x="9729" y="9276"/>
                </a:lnTo>
                <a:lnTo>
                  <a:pt x="9650" y="9285"/>
                </a:lnTo>
                <a:lnTo>
                  <a:pt x="9571" y="9295"/>
                </a:lnTo>
                <a:lnTo>
                  <a:pt x="9500" y="9312"/>
                </a:lnTo>
                <a:lnTo>
                  <a:pt x="9438" y="9338"/>
                </a:lnTo>
                <a:lnTo>
                  <a:pt x="9377" y="9364"/>
                </a:lnTo>
                <a:lnTo>
                  <a:pt x="9324" y="9390"/>
                </a:lnTo>
                <a:lnTo>
                  <a:pt x="9228" y="9461"/>
                </a:lnTo>
                <a:lnTo>
                  <a:pt x="9140" y="9549"/>
                </a:lnTo>
                <a:lnTo>
                  <a:pt x="9070" y="9628"/>
                </a:lnTo>
                <a:lnTo>
                  <a:pt x="9017" y="9707"/>
                </a:lnTo>
                <a:lnTo>
                  <a:pt x="8981" y="9776"/>
                </a:lnTo>
                <a:lnTo>
                  <a:pt x="8981" y="9776"/>
                </a:lnTo>
                <a:lnTo>
                  <a:pt x="8999" y="9662"/>
                </a:lnTo>
                <a:lnTo>
                  <a:pt x="9025" y="9549"/>
                </a:lnTo>
                <a:lnTo>
                  <a:pt x="9060" y="9417"/>
                </a:lnTo>
                <a:lnTo>
                  <a:pt x="9113" y="9303"/>
                </a:lnTo>
                <a:lnTo>
                  <a:pt x="9140" y="9242"/>
                </a:lnTo>
                <a:lnTo>
                  <a:pt x="9175" y="9198"/>
                </a:lnTo>
                <a:lnTo>
                  <a:pt x="9219" y="9145"/>
                </a:lnTo>
                <a:lnTo>
                  <a:pt x="9263" y="9110"/>
                </a:lnTo>
                <a:lnTo>
                  <a:pt x="9307" y="9075"/>
                </a:lnTo>
                <a:lnTo>
                  <a:pt x="9359" y="9049"/>
                </a:lnTo>
                <a:lnTo>
                  <a:pt x="9412" y="9040"/>
                </a:lnTo>
                <a:lnTo>
                  <a:pt x="9483" y="9031"/>
                </a:lnTo>
                <a:lnTo>
                  <a:pt x="9483" y="9031"/>
                </a:lnTo>
                <a:lnTo>
                  <a:pt x="9975" y="9031"/>
                </a:lnTo>
                <a:lnTo>
                  <a:pt x="15113" y="9023"/>
                </a:lnTo>
                <a:lnTo>
                  <a:pt x="15209" y="9276"/>
                </a:lnTo>
                <a:lnTo>
                  <a:pt x="9975" y="9276"/>
                </a:lnTo>
                <a:close/>
                <a:moveTo>
                  <a:pt x="15842" y="9031"/>
                </a:moveTo>
                <a:lnTo>
                  <a:pt x="15842" y="9031"/>
                </a:lnTo>
                <a:lnTo>
                  <a:pt x="15887" y="9268"/>
                </a:lnTo>
                <a:lnTo>
                  <a:pt x="15930" y="9531"/>
                </a:lnTo>
                <a:lnTo>
                  <a:pt x="15658" y="9531"/>
                </a:lnTo>
                <a:lnTo>
                  <a:pt x="15658" y="9531"/>
                </a:lnTo>
                <a:lnTo>
                  <a:pt x="15631" y="9400"/>
                </a:lnTo>
                <a:lnTo>
                  <a:pt x="15596" y="9276"/>
                </a:lnTo>
                <a:lnTo>
                  <a:pt x="15552" y="9154"/>
                </a:lnTo>
                <a:lnTo>
                  <a:pt x="15508" y="9031"/>
                </a:lnTo>
                <a:lnTo>
                  <a:pt x="15842" y="9031"/>
                </a:lnTo>
                <a:close/>
                <a:moveTo>
                  <a:pt x="15842" y="11021"/>
                </a:moveTo>
                <a:lnTo>
                  <a:pt x="15508" y="11021"/>
                </a:lnTo>
                <a:lnTo>
                  <a:pt x="15508" y="11021"/>
                </a:lnTo>
                <a:lnTo>
                  <a:pt x="15552" y="10899"/>
                </a:lnTo>
                <a:lnTo>
                  <a:pt x="15596" y="10776"/>
                </a:lnTo>
                <a:lnTo>
                  <a:pt x="15631" y="10653"/>
                </a:lnTo>
                <a:lnTo>
                  <a:pt x="15658" y="10521"/>
                </a:lnTo>
                <a:lnTo>
                  <a:pt x="15930" y="10521"/>
                </a:lnTo>
                <a:lnTo>
                  <a:pt x="15930" y="10521"/>
                </a:lnTo>
                <a:lnTo>
                  <a:pt x="15887" y="10785"/>
                </a:lnTo>
                <a:lnTo>
                  <a:pt x="15842" y="11021"/>
                </a:lnTo>
                <a:lnTo>
                  <a:pt x="15842" y="11021"/>
                </a:lnTo>
                <a:close/>
                <a:moveTo>
                  <a:pt x="15957" y="10276"/>
                </a:moveTo>
                <a:lnTo>
                  <a:pt x="15693" y="10276"/>
                </a:lnTo>
                <a:lnTo>
                  <a:pt x="15693" y="10276"/>
                </a:lnTo>
                <a:lnTo>
                  <a:pt x="15710" y="10145"/>
                </a:lnTo>
                <a:lnTo>
                  <a:pt x="15710" y="10022"/>
                </a:lnTo>
                <a:lnTo>
                  <a:pt x="15710" y="10022"/>
                </a:lnTo>
                <a:lnTo>
                  <a:pt x="15710" y="9908"/>
                </a:lnTo>
                <a:lnTo>
                  <a:pt x="15693" y="9776"/>
                </a:lnTo>
                <a:lnTo>
                  <a:pt x="15957" y="9776"/>
                </a:lnTo>
                <a:lnTo>
                  <a:pt x="15957" y="9776"/>
                </a:lnTo>
                <a:lnTo>
                  <a:pt x="15966" y="10022"/>
                </a:lnTo>
                <a:lnTo>
                  <a:pt x="15966" y="10022"/>
                </a:lnTo>
                <a:lnTo>
                  <a:pt x="15957" y="10276"/>
                </a:lnTo>
                <a:lnTo>
                  <a:pt x="15957" y="10276"/>
                </a:lnTo>
                <a:close/>
                <a:moveTo>
                  <a:pt x="3714" y="3447"/>
                </a:moveTo>
                <a:lnTo>
                  <a:pt x="4986" y="3447"/>
                </a:lnTo>
                <a:lnTo>
                  <a:pt x="4986" y="4862"/>
                </a:lnTo>
                <a:lnTo>
                  <a:pt x="3714" y="4862"/>
                </a:lnTo>
                <a:lnTo>
                  <a:pt x="3714" y="3447"/>
                </a:lnTo>
                <a:close/>
                <a:moveTo>
                  <a:pt x="7171" y="5475"/>
                </a:moveTo>
                <a:lnTo>
                  <a:pt x="8443" y="5475"/>
                </a:lnTo>
                <a:lnTo>
                  <a:pt x="8443" y="6891"/>
                </a:lnTo>
                <a:lnTo>
                  <a:pt x="7171" y="6891"/>
                </a:lnTo>
                <a:lnTo>
                  <a:pt x="7171" y="5475"/>
                </a:lnTo>
                <a:close/>
                <a:moveTo>
                  <a:pt x="5442" y="5475"/>
                </a:moveTo>
                <a:lnTo>
                  <a:pt x="6715" y="5475"/>
                </a:lnTo>
                <a:lnTo>
                  <a:pt x="6715" y="6891"/>
                </a:lnTo>
                <a:lnTo>
                  <a:pt x="5442" y="6891"/>
                </a:lnTo>
                <a:lnTo>
                  <a:pt x="5442" y="5475"/>
                </a:lnTo>
                <a:close/>
                <a:moveTo>
                  <a:pt x="3714" y="5475"/>
                </a:moveTo>
                <a:lnTo>
                  <a:pt x="4986" y="5475"/>
                </a:lnTo>
                <a:lnTo>
                  <a:pt x="4986" y="6891"/>
                </a:lnTo>
                <a:lnTo>
                  <a:pt x="3714" y="6891"/>
                </a:lnTo>
                <a:lnTo>
                  <a:pt x="3714" y="5475"/>
                </a:lnTo>
                <a:close/>
                <a:moveTo>
                  <a:pt x="7171" y="3447"/>
                </a:moveTo>
                <a:lnTo>
                  <a:pt x="8443" y="3447"/>
                </a:lnTo>
                <a:lnTo>
                  <a:pt x="8443" y="4862"/>
                </a:lnTo>
                <a:lnTo>
                  <a:pt x="7171" y="4862"/>
                </a:lnTo>
                <a:lnTo>
                  <a:pt x="7171" y="3447"/>
                </a:lnTo>
                <a:close/>
                <a:moveTo>
                  <a:pt x="5442" y="3447"/>
                </a:moveTo>
                <a:lnTo>
                  <a:pt x="6715" y="3447"/>
                </a:lnTo>
                <a:lnTo>
                  <a:pt x="6715" y="4862"/>
                </a:lnTo>
                <a:lnTo>
                  <a:pt x="5442" y="4862"/>
                </a:lnTo>
                <a:lnTo>
                  <a:pt x="5442" y="3447"/>
                </a:lnTo>
                <a:close/>
              </a:path>
            </a:pathLst>
          </a:custGeom>
          <a:solidFill>
            <a:srgbClr val="B2B2B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33" name="Пятиугольник 32"/>
          <p:cNvSpPr/>
          <p:nvPr/>
        </p:nvSpPr>
        <p:spPr>
          <a:xfrm>
            <a:off x="351100" y="2852936"/>
            <a:ext cx="2058426" cy="1656893"/>
          </a:xfrm>
          <a:prstGeom prst="homePlate">
            <a:avLst>
              <a:gd name="adj" fmla="val 26600"/>
            </a:avLst>
          </a:prstGeom>
          <a:solidFill>
            <a:schemeClr val="accent3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51" name="Пятиугольник 50"/>
          <p:cNvSpPr/>
          <p:nvPr/>
        </p:nvSpPr>
        <p:spPr>
          <a:xfrm>
            <a:off x="2999994" y="2907099"/>
            <a:ext cx="2220078" cy="1674738"/>
          </a:xfrm>
          <a:prstGeom prst="homePlate">
            <a:avLst>
              <a:gd name="adj" fmla="val 26600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16" name="Пятиугольник 15"/>
          <p:cNvSpPr/>
          <p:nvPr/>
        </p:nvSpPr>
        <p:spPr>
          <a:xfrm>
            <a:off x="323529" y="2852936"/>
            <a:ext cx="2058426" cy="1656893"/>
          </a:xfrm>
          <a:prstGeom prst="homePlate">
            <a:avLst>
              <a:gd name="adj" fmla="val 26600"/>
            </a:avLst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15" name="Овал 14"/>
          <p:cNvSpPr/>
          <p:nvPr/>
        </p:nvSpPr>
        <p:spPr>
          <a:xfrm>
            <a:off x="241947" y="2852936"/>
            <a:ext cx="1656893" cy="1656893"/>
          </a:xfrm>
          <a:prstGeom prst="ellipse">
            <a:avLst/>
          </a:prstGeom>
          <a:solidFill>
            <a:srgbClr val="FFFFFF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latin typeface="Arial Narrow" panose="020B0606020202030204" pitchFamily="34" charset="0"/>
              </a:rPr>
              <a:t>Ограничения </a:t>
            </a:r>
            <a:r>
              <a:rPr lang="ru-RU" dirty="0" err="1" smtClean="0">
                <a:latin typeface="Arial Narrow" panose="020B0606020202030204" pitchFamily="34" charset="0"/>
              </a:rPr>
              <a:t>санкционной</a:t>
            </a:r>
            <a:r>
              <a:rPr lang="ru-RU" dirty="0" smtClean="0">
                <a:latin typeface="Arial Narrow" panose="020B0606020202030204" pitchFamily="34" charset="0"/>
              </a:rPr>
              <a:t> политикой</a:t>
            </a:r>
            <a:endParaRPr lang="ru-RU" dirty="0">
              <a:latin typeface="Arial Narrow" panose="020B0606020202030204" pitchFamily="34" charset="0"/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 flipV="1">
            <a:off x="2543394" y="2195428"/>
            <a:ext cx="40105" cy="2817748"/>
          </a:xfrm>
          <a:prstGeom prst="line">
            <a:avLst/>
          </a:prstGeom>
          <a:ln w="38100">
            <a:gradFill>
              <a:gsLst>
                <a:gs pos="0">
                  <a:srgbClr val="C00000"/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5400000" scaled="0"/>
            </a:gra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/>
          <p:cNvSpPr txBox="1"/>
          <p:nvPr/>
        </p:nvSpPr>
        <p:spPr>
          <a:xfrm>
            <a:off x="190457" y="3690968"/>
            <a:ext cx="1722443" cy="52322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accent3">
                    <a:lumMod val="7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СЕ</a:t>
            </a:r>
          </a:p>
          <a:p>
            <a:pPr algn="ctr"/>
            <a:r>
              <a:rPr lang="ru-RU" sz="1400" b="1" dirty="0" smtClean="0">
                <a:solidFill>
                  <a:schemeClr val="accent3">
                    <a:lumMod val="7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РОИЗВОДИТЕЛИ </a:t>
            </a:r>
            <a:endParaRPr lang="en-US" sz="1400" b="1" dirty="0">
              <a:solidFill>
                <a:schemeClr val="accent3">
                  <a:lumMod val="75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146202" y="1496295"/>
            <a:ext cx="884842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1600" dirty="0" smtClean="0">
                <a:solidFill>
                  <a:schemeClr val="accent6"/>
                </a:solidFill>
                <a:latin typeface="Arial Narrow" panose="020B0606020202030204" pitchFamily="34" charset="0"/>
              </a:rPr>
              <a:t>Санкции</a:t>
            </a:r>
          </a:p>
        </p:txBody>
      </p:sp>
      <p:sp>
        <p:nvSpPr>
          <p:cNvPr id="52" name="Shape 2625"/>
          <p:cNvSpPr/>
          <p:nvPr/>
        </p:nvSpPr>
        <p:spPr>
          <a:xfrm>
            <a:off x="2364520" y="1124744"/>
            <a:ext cx="432540" cy="35389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20400"/>
                </a:moveTo>
                <a:lnTo>
                  <a:pt x="1964" y="20400"/>
                </a:lnTo>
                <a:cubicBezTo>
                  <a:pt x="1422" y="20400"/>
                  <a:pt x="982" y="19862"/>
                  <a:pt x="982" y="19200"/>
                </a:cubicBezTo>
                <a:cubicBezTo>
                  <a:pt x="982" y="18949"/>
                  <a:pt x="1025" y="18796"/>
                  <a:pt x="1048" y="18734"/>
                </a:cubicBezTo>
                <a:cubicBezTo>
                  <a:pt x="1065" y="18712"/>
                  <a:pt x="1048" y="18729"/>
                  <a:pt x="1078" y="18673"/>
                </a:cubicBezTo>
                <a:lnTo>
                  <a:pt x="9914" y="1873"/>
                </a:lnTo>
                <a:cubicBezTo>
                  <a:pt x="9930" y="1843"/>
                  <a:pt x="9944" y="1813"/>
                  <a:pt x="9957" y="1783"/>
                </a:cubicBezTo>
                <a:cubicBezTo>
                  <a:pt x="9960" y="1778"/>
                  <a:pt x="10234" y="1200"/>
                  <a:pt x="10800" y="1200"/>
                </a:cubicBezTo>
                <a:cubicBezTo>
                  <a:pt x="11366" y="1200"/>
                  <a:pt x="11588" y="1654"/>
                  <a:pt x="11617" y="1719"/>
                </a:cubicBezTo>
                <a:cubicBezTo>
                  <a:pt x="11641" y="1792"/>
                  <a:pt x="11650" y="1806"/>
                  <a:pt x="11686" y="1873"/>
                </a:cubicBezTo>
                <a:lnTo>
                  <a:pt x="20522" y="18673"/>
                </a:lnTo>
                <a:cubicBezTo>
                  <a:pt x="20535" y="18697"/>
                  <a:pt x="20548" y="18720"/>
                  <a:pt x="20562" y="18744"/>
                </a:cubicBezTo>
                <a:cubicBezTo>
                  <a:pt x="20576" y="18785"/>
                  <a:pt x="20618" y="18928"/>
                  <a:pt x="20618" y="19200"/>
                </a:cubicBezTo>
                <a:cubicBezTo>
                  <a:pt x="20618" y="19862"/>
                  <a:pt x="20177" y="20400"/>
                  <a:pt x="19636" y="20400"/>
                </a:cubicBezTo>
                <a:moveTo>
                  <a:pt x="21348" y="18023"/>
                </a:moveTo>
                <a:lnTo>
                  <a:pt x="12511" y="1223"/>
                </a:lnTo>
                <a:cubicBezTo>
                  <a:pt x="12511" y="1223"/>
                  <a:pt x="12058" y="0"/>
                  <a:pt x="10800" y="0"/>
                </a:cubicBezTo>
                <a:cubicBezTo>
                  <a:pt x="9616" y="0"/>
                  <a:pt x="9089" y="1223"/>
                  <a:pt x="9089" y="1223"/>
                </a:cubicBezTo>
                <a:lnTo>
                  <a:pt x="252" y="18023"/>
                </a:lnTo>
                <a:cubicBezTo>
                  <a:pt x="252" y="18023"/>
                  <a:pt x="0" y="18421"/>
                  <a:pt x="0" y="19200"/>
                </a:cubicBezTo>
                <a:cubicBezTo>
                  <a:pt x="0" y="20526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526"/>
                  <a:pt x="21600" y="19200"/>
                </a:cubicBezTo>
                <a:cubicBezTo>
                  <a:pt x="21600" y="18362"/>
                  <a:pt x="21348" y="18023"/>
                  <a:pt x="21348" y="18023"/>
                </a:cubicBezTo>
                <a:moveTo>
                  <a:pt x="10800" y="15600"/>
                </a:moveTo>
                <a:cubicBezTo>
                  <a:pt x="10258" y="15600"/>
                  <a:pt x="9818" y="16138"/>
                  <a:pt x="9818" y="16800"/>
                </a:cubicBezTo>
                <a:cubicBezTo>
                  <a:pt x="9818" y="17462"/>
                  <a:pt x="10258" y="18000"/>
                  <a:pt x="10800" y="18000"/>
                </a:cubicBezTo>
                <a:cubicBezTo>
                  <a:pt x="11342" y="18000"/>
                  <a:pt x="11782" y="17462"/>
                  <a:pt x="11782" y="16800"/>
                </a:cubicBezTo>
                <a:cubicBezTo>
                  <a:pt x="11782" y="16138"/>
                  <a:pt x="11342" y="15600"/>
                  <a:pt x="10800" y="15600"/>
                </a:cubicBezTo>
                <a:moveTo>
                  <a:pt x="10800" y="6000"/>
                </a:moveTo>
                <a:cubicBezTo>
                  <a:pt x="10258" y="6000"/>
                  <a:pt x="9818" y="6538"/>
                  <a:pt x="9818" y="7200"/>
                </a:cubicBezTo>
                <a:lnTo>
                  <a:pt x="10309" y="13800"/>
                </a:lnTo>
                <a:cubicBezTo>
                  <a:pt x="10309" y="14132"/>
                  <a:pt x="10529" y="14400"/>
                  <a:pt x="10800" y="14400"/>
                </a:cubicBezTo>
                <a:cubicBezTo>
                  <a:pt x="11071" y="14400"/>
                  <a:pt x="11291" y="14132"/>
                  <a:pt x="11291" y="13800"/>
                </a:cubicBezTo>
                <a:lnTo>
                  <a:pt x="11782" y="7200"/>
                </a:lnTo>
                <a:cubicBezTo>
                  <a:pt x="11782" y="6538"/>
                  <a:pt x="11342" y="6000"/>
                  <a:pt x="10800" y="6000"/>
                </a:cubicBezTo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19045" tIns="19045" rIns="19045" bIns="19045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 dirty="0">
              <a:latin typeface="Source Sans Pro Light" charset="0"/>
              <a:ea typeface="Source Sans Pro Light" charset="0"/>
              <a:cs typeface="Source Sans Pro Light" charset="0"/>
            </a:endParaRPr>
          </a:p>
        </p:txBody>
      </p:sp>
      <p:sp>
        <p:nvSpPr>
          <p:cNvPr id="55" name="Прямоугольник 54">
            <a:extLst>
              <a:ext uri="{FF2B5EF4-FFF2-40B4-BE49-F238E27FC236}">
                <a16:creationId xmlns="" xmlns:a16="http://schemas.microsoft.com/office/drawing/2014/main" id="{6CACCEC0-2508-B840-AB61-B142B95C65D8}"/>
              </a:ext>
            </a:extLst>
          </p:cNvPr>
          <p:cNvSpPr/>
          <p:nvPr/>
        </p:nvSpPr>
        <p:spPr>
          <a:xfrm>
            <a:off x="3190079" y="3338408"/>
            <a:ext cx="191237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  <a:t>Отзыв монограммы</a:t>
            </a:r>
            <a:r>
              <a:rPr lang="ru-RU" sz="1400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en-US" sz="1400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  <a:t/>
            </a:r>
            <a:br>
              <a:rPr lang="en-US" sz="1400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</a:br>
            <a:r>
              <a:rPr lang="ru-RU" sz="1400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  <a:t>на соответствия требованиям </a:t>
            </a:r>
            <a:r>
              <a:rPr lang="en-US" sz="1400" b="1" dirty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  <a:t>API</a:t>
            </a:r>
            <a:r>
              <a:rPr lang="ru-RU" sz="1400" dirty="0" smtClean="0">
                <a:solidFill>
                  <a:schemeClr val="bg2">
                    <a:lumMod val="75000"/>
                  </a:schemeClr>
                </a:solidFill>
                <a:latin typeface="Arial Narrow" panose="020B0606020202030204" pitchFamily="34" charset="0"/>
              </a:rPr>
              <a:t>  </a:t>
            </a:r>
          </a:p>
        </p:txBody>
      </p:sp>
      <p:sp>
        <p:nvSpPr>
          <p:cNvPr id="8" name="Овал 7"/>
          <p:cNvSpPr/>
          <p:nvPr/>
        </p:nvSpPr>
        <p:spPr>
          <a:xfrm>
            <a:off x="2303808" y="2384944"/>
            <a:ext cx="540000" cy="540000"/>
          </a:xfrm>
          <a:prstGeom prst="ellipse">
            <a:avLst/>
          </a:prstGeom>
          <a:solidFill>
            <a:srgbClr val="FFFFFF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pic>
        <p:nvPicPr>
          <p:cNvPr id="47" name="Picture 3" descr="I:\Downloads\API-Logo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0464" y="2582770"/>
            <a:ext cx="425861" cy="2049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xmlns="" id="{6CACCEC0-2508-B840-AB61-B142B95C65D8}"/>
              </a:ext>
            </a:extLst>
          </p:cNvPr>
          <p:cNvSpPr/>
          <p:nvPr/>
        </p:nvSpPr>
        <p:spPr>
          <a:xfrm>
            <a:off x="6321171" y="3205859"/>
            <a:ext cx="2274105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solidFill>
                  <a:srgbClr val="706F6F"/>
                </a:solidFill>
                <a:latin typeface="Arial Narrow" panose="020B0606020202030204" pitchFamily="34" charset="0"/>
              </a:rPr>
              <a:t>Поставка оборудования компаниям и проектам, находящимся под </a:t>
            </a:r>
            <a:r>
              <a:rPr lang="ru-RU" sz="1600" b="1" dirty="0" smtClean="0">
                <a:solidFill>
                  <a:srgbClr val="C00000"/>
                </a:solidFill>
                <a:latin typeface="Arial Narrow" panose="020B0606020202030204" pitchFamily="34" charset="0"/>
              </a:rPr>
              <a:t>САНКЦИЯМИ США и ЕС</a:t>
            </a:r>
          </a:p>
        </p:txBody>
      </p:sp>
      <p:pic>
        <p:nvPicPr>
          <p:cNvPr id="42" name="United_States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3348" y="1926374"/>
            <a:ext cx="403569" cy="269054"/>
          </a:xfrm>
          <a:prstGeom prst="rect">
            <a:avLst/>
          </a:prstGeom>
          <a:solidFill>
            <a:schemeClr val="bg1"/>
          </a:solidFill>
          <a:ln w="88900" cap="sq">
            <a:noFill/>
            <a:miter lim="800000"/>
          </a:ln>
          <a:effectLst/>
        </p:spPr>
      </p:pic>
      <p:sp>
        <p:nvSpPr>
          <p:cNvPr id="40" name="Picture173"/>
          <p:cNvSpPr>
            <a:spLocks/>
          </p:cNvSpPr>
          <p:nvPr/>
        </p:nvSpPr>
        <p:spPr bwMode="auto">
          <a:xfrm rot="18906180">
            <a:off x="2771295" y="3520942"/>
            <a:ext cx="345246" cy="345246"/>
          </a:xfrm>
          <a:custGeom>
            <a:avLst/>
            <a:gdLst>
              <a:gd name="T0" fmla="*/ 789 w 789"/>
              <a:gd name="T1" fmla="*/ 318 h 789"/>
              <a:gd name="T2" fmla="*/ 470 w 789"/>
              <a:gd name="T3" fmla="*/ 318 h 789"/>
              <a:gd name="T4" fmla="*/ 470 w 789"/>
              <a:gd name="T5" fmla="*/ 0 h 789"/>
              <a:gd name="T6" fmla="*/ 319 w 789"/>
              <a:gd name="T7" fmla="*/ 0 h 789"/>
              <a:gd name="T8" fmla="*/ 319 w 789"/>
              <a:gd name="T9" fmla="*/ 318 h 789"/>
              <a:gd name="T10" fmla="*/ 0 w 789"/>
              <a:gd name="T11" fmla="*/ 318 h 789"/>
              <a:gd name="T12" fmla="*/ 0 w 789"/>
              <a:gd name="T13" fmla="*/ 470 h 789"/>
              <a:gd name="T14" fmla="*/ 319 w 789"/>
              <a:gd name="T15" fmla="*/ 470 h 789"/>
              <a:gd name="T16" fmla="*/ 319 w 789"/>
              <a:gd name="T17" fmla="*/ 789 h 789"/>
              <a:gd name="T18" fmla="*/ 470 w 789"/>
              <a:gd name="T19" fmla="*/ 789 h 789"/>
              <a:gd name="T20" fmla="*/ 470 w 789"/>
              <a:gd name="T21" fmla="*/ 470 h 789"/>
              <a:gd name="T22" fmla="*/ 789 w 789"/>
              <a:gd name="T23" fmla="*/ 470 h 789"/>
              <a:gd name="T24" fmla="*/ 789 w 789"/>
              <a:gd name="T25" fmla="*/ 318 h 7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89" h="789">
                <a:moveTo>
                  <a:pt x="789" y="318"/>
                </a:moveTo>
                <a:lnTo>
                  <a:pt x="470" y="318"/>
                </a:lnTo>
                <a:lnTo>
                  <a:pt x="470" y="0"/>
                </a:lnTo>
                <a:lnTo>
                  <a:pt x="319" y="0"/>
                </a:lnTo>
                <a:lnTo>
                  <a:pt x="319" y="318"/>
                </a:lnTo>
                <a:lnTo>
                  <a:pt x="0" y="318"/>
                </a:lnTo>
                <a:lnTo>
                  <a:pt x="0" y="470"/>
                </a:lnTo>
                <a:lnTo>
                  <a:pt x="319" y="470"/>
                </a:lnTo>
                <a:lnTo>
                  <a:pt x="319" y="789"/>
                </a:lnTo>
                <a:lnTo>
                  <a:pt x="470" y="789"/>
                </a:lnTo>
                <a:lnTo>
                  <a:pt x="470" y="470"/>
                </a:lnTo>
                <a:lnTo>
                  <a:pt x="789" y="470"/>
                </a:lnTo>
                <a:lnTo>
                  <a:pt x="789" y="318"/>
                </a:lnTo>
                <a:close/>
              </a:path>
            </a:pathLst>
          </a:custGeom>
          <a:solidFill>
            <a:srgbClr val="E70303"/>
          </a:solidFill>
          <a:ln>
            <a:noFill/>
          </a:ln>
          <a:extLst/>
        </p:spPr>
        <p:txBody>
          <a:bodyPr vert="horz" wrap="square" lIns="75613" tIns="37806" rIns="75613" bIns="37806" numCol="1" anchor="t" anchorCtr="0" compatLnSpc="1">
            <a:prstTxWarp prst="textNoShape">
              <a:avLst/>
            </a:prstTxWarp>
          </a:bodyPr>
          <a:lstStyle/>
          <a:p>
            <a:endParaRPr lang="ru-RU" sz="1488"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1223451" y="5445224"/>
            <a:ext cx="7482747" cy="58477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  <a:tabLst>
                <a:tab pos="182563" algn="l"/>
              </a:tabLst>
            </a:pPr>
            <a:r>
              <a:rPr lang="ru-RU" sz="1600" b="1" dirty="0" smtClean="0">
                <a:solidFill>
                  <a:schemeClr val="accent2">
                    <a:lumMod val="75000"/>
                  </a:schemeClr>
                </a:solidFill>
                <a:latin typeface="Arial Narrow" panose="020B0606020202030204" pitchFamily="34" charset="0"/>
              </a:rPr>
              <a:t>Санкционная политика несет </a:t>
            </a:r>
            <a:r>
              <a:rPr lang="ru-RU" sz="1600" b="1" dirty="0" smtClean="0">
                <a:solidFill>
                  <a:schemeClr val="accent2">
                    <a:lumMod val="75000"/>
                  </a:schemeClr>
                </a:solidFill>
                <a:latin typeface="Arial Narrow" panose="020B0606020202030204" pitchFamily="34" charset="0"/>
              </a:rPr>
              <a:t>в себе </a:t>
            </a:r>
            <a:r>
              <a:rPr lang="ru-RU" sz="1600" b="1" dirty="0" smtClean="0">
                <a:solidFill>
                  <a:schemeClr val="accent2">
                    <a:lumMod val="75000"/>
                  </a:schemeClr>
                </a:solidFill>
                <a:latin typeface="Arial Narrow" panose="020B0606020202030204" pitchFamily="34" charset="0"/>
              </a:rPr>
              <a:t>возникновение не только проблем с поставками, но и возникновением «институциональной пустоты» для всех представителей </a:t>
            </a:r>
            <a:r>
              <a:rPr lang="ru-RU" sz="1600" b="1" dirty="0" smtClean="0">
                <a:solidFill>
                  <a:schemeClr val="accent2">
                    <a:lumMod val="75000"/>
                  </a:schemeClr>
                </a:solidFill>
                <a:latin typeface="Arial Narrow" panose="020B0606020202030204" pitchFamily="34" charset="0"/>
              </a:rPr>
              <a:t>рынка.</a:t>
            </a:r>
            <a:endParaRPr lang="ru-RU" sz="1600" b="1" dirty="0">
              <a:solidFill>
                <a:schemeClr val="accent2">
                  <a:lumMod val="75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49" name="Shape 2558"/>
          <p:cNvSpPr/>
          <p:nvPr/>
        </p:nvSpPr>
        <p:spPr>
          <a:xfrm>
            <a:off x="467544" y="5481328"/>
            <a:ext cx="539960" cy="53996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1782" y="5891"/>
                </a:moveTo>
                <a:lnTo>
                  <a:pt x="9818" y="5891"/>
                </a:lnTo>
                <a:cubicBezTo>
                  <a:pt x="9547" y="5891"/>
                  <a:pt x="9327" y="6111"/>
                  <a:pt x="9327" y="6382"/>
                </a:cubicBezTo>
                <a:cubicBezTo>
                  <a:pt x="9327" y="6394"/>
                  <a:pt x="9334" y="6405"/>
                  <a:pt x="9334" y="6417"/>
                </a:cubicBezTo>
                <a:lnTo>
                  <a:pt x="9328" y="6417"/>
                </a:lnTo>
                <a:lnTo>
                  <a:pt x="9819" y="12308"/>
                </a:lnTo>
                <a:lnTo>
                  <a:pt x="9825" y="12307"/>
                </a:lnTo>
                <a:cubicBezTo>
                  <a:pt x="9844" y="12562"/>
                  <a:pt x="10050" y="12764"/>
                  <a:pt x="10309" y="12764"/>
                </a:cubicBezTo>
                <a:lnTo>
                  <a:pt x="11291" y="12764"/>
                </a:lnTo>
                <a:cubicBezTo>
                  <a:pt x="11550" y="12764"/>
                  <a:pt x="11756" y="12562"/>
                  <a:pt x="11775" y="12307"/>
                </a:cubicBezTo>
                <a:lnTo>
                  <a:pt x="11781" y="12308"/>
                </a:lnTo>
                <a:lnTo>
                  <a:pt x="12272" y="6417"/>
                </a:lnTo>
                <a:lnTo>
                  <a:pt x="12266" y="6417"/>
                </a:lnTo>
                <a:cubicBezTo>
                  <a:pt x="12267" y="6405"/>
                  <a:pt x="12273" y="6394"/>
                  <a:pt x="12273" y="6382"/>
                </a:cubicBezTo>
                <a:cubicBezTo>
                  <a:pt x="12273" y="6111"/>
                  <a:pt x="12053" y="5891"/>
                  <a:pt x="11782" y="5891"/>
                </a:cubicBezTo>
                <a:moveTo>
                  <a:pt x="10800" y="13745"/>
                </a:moveTo>
                <a:cubicBezTo>
                  <a:pt x="10258" y="13745"/>
                  <a:pt x="9818" y="14186"/>
                  <a:pt x="9818" y="14727"/>
                </a:cubicBezTo>
                <a:cubicBezTo>
                  <a:pt x="9818" y="15269"/>
                  <a:pt x="10258" y="15709"/>
                  <a:pt x="10800" y="15709"/>
                </a:cubicBezTo>
                <a:cubicBezTo>
                  <a:pt x="11342" y="15709"/>
                  <a:pt x="11782" y="15269"/>
                  <a:pt x="11782" y="14727"/>
                </a:cubicBezTo>
                <a:cubicBezTo>
                  <a:pt x="11782" y="14186"/>
                  <a:pt x="11342" y="13745"/>
                  <a:pt x="10800" y="13745"/>
                </a:cubicBezTo>
              </a:path>
            </a:pathLst>
          </a:custGeom>
          <a:solidFill>
            <a:schemeClr val="accent2">
              <a:lumMod val="75000"/>
            </a:schemeClr>
          </a:solidFill>
          <a:ln w="12700">
            <a:miter lim="400000"/>
          </a:ln>
        </p:spPr>
        <p:txBody>
          <a:bodyPr lIns="19045" tIns="19045" rIns="19045" bIns="19045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 dirty="0">
              <a:latin typeface="Source Sans Pro Light" charset="0"/>
              <a:ea typeface="Source Sans Pro Light" charset="0"/>
              <a:cs typeface="Source Sans Pro Light" charset="0"/>
            </a:endParaRPr>
          </a:p>
        </p:txBody>
      </p:sp>
      <p:sp>
        <p:nvSpPr>
          <p:cNvPr id="56" name="Shape 2617"/>
          <p:cNvSpPr/>
          <p:nvPr/>
        </p:nvSpPr>
        <p:spPr>
          <a:xfrm>
            <a:off x="902234" y="2987365"/>
            <a:ext cx="336317" cy="26631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457" y="20400"/>
                </a:moveTo>
                <a:cubicBezTo>
                  <a:pt x="4686" y="18711"/>
                  <a:pt x="5897" y="18036"/>
                  <a:pt x="7134" y="17493"/>
                </a:cubicBezTo>
                <a:lnTo>
                  <a:pt x="7173" y="17477"/>
                </a:lnTo>
                <a:cubicBezTo>
                  <a:pt x="8055" y="17190"/>
                  <a:pt x="9626" y="16039"/>
                  <a:pt x="9626" y="13569"/>
                </a:cubicBezTo>
                <a:cubicBezTo>
                  <a:pt x="9626" y="11474"/>
                  <a:pt x="8932" y="10452"/>
                  <a:pt x="8558" y="9902"/>
                </a:cubicBezTo>
                <a:cubicBezTo>
                  <a:pt x="8484" y="9791"/>
                  <a:pt x="8394" y="9649"/>
                  <a:pt x="8414" y="9680"/>
                </a:cubicBezTo>
                <a:cubicBezTo>
                  <a:pt x="8384" y="9599"/>
                  <a:pt x="8237" y="9129"/>
                  <a:pt x="8449" y="8035"/>
                </a:cubicBezTo>
                <a:cubicBezTo>
                  <a:pt x="8549" y="7522"/>
                  <a:pt x="8380" y="7241"/>
                  <a:pt x="8380" y="7241"/>
                </a:cubicBezTo>
                <a:cubicBezTo>
                  <a:pt x="8112" y="6505"/>
                  <a:pt x="7614" y="5133"/>
                  <a:pt x="7988" y="4025"/>
                </a:cubicBezTo>
                <a:cubicBezTo>
                  <a:pt x="8490" y="2492"/>
                  <a:pt x="8935" y="2190"/>
                  <a:pt x="9741" y="1747"/>
                </a:cubicBezTo>
                <a:cubicBezTo>
                  <a:pt x="9788" y="1721"/>
                  <a:pt x="9834" y="1691"/>
                  <a:pt x="9877" y="1657"/>
                </a:cubicBezTo>
                <a:cubicBezTo>
                  <a:pt x="10029" y="1535"/>
                  <a:pt x="10674" y="1200"/>
                  <a:pt x="11403" y="1200"/>
                </a:cubicBezTo>
                <a:cubicBezTo>
                  <a:pt x="11768" y="1200"/>
                  <a:pt x="12075" y="1285"/>
                  <a:pt x="12318" y="1454"/>
                </a:cubicBezTo>
                <a:cubicBezTo>
                  <a:pt x="12610" y="1655"/>
                  <a:pt x="12890" y="2039"/>
                  <a:pt x="13313" y="3271"/>
                </a:cubicBezTo>
                <a:cubicBezTo>
                  <a:pt x="14101" y="5469"/>
                  <a:pt x="13602" y="6698"/>
                  <a:pt x="13350" y="7124"/>
                </a:cubicBezTo>
                <a:cubicBezTo>
                  <a:pt x="13183" y="7407"/>
                  <a:pt x="13126" y="7764"/>
                  <a:pt x="13191" y="8102"/>
                </a:cubicBezTo>
                <a:cubicBezTo>
                  <a:pt x="13386" y="9109"/>
                  <a:pt x="13260" y="9534"/>
                  <a:pt x="13227" y="9619"/>
                </a:cubicBezTo>
                <a:cubicBezTo>
                  <a:pt x="13219" y="9631"/>
                  <a:pt x="13101" y="9814"/>
                  <a:pt x="13041" y="9902"/>
                </a:cubicBezTo>
                <a:cubicBezTo>
                  <a:pt x="12668" y="10452"/>
                  <a:pt x="11973" y="11474"/>
                  <a:pt x="11973" y="13569"/>
                </a:cubicBezTo>
                <a:cubicBezTo>
                  <a:pt x="11973" y="16039"/>
                  <a:pt x="13545" y="17190"/>
                  <a:pt x="14427" y="17477"/>
                </a:cubicBezTo>
                <a:lnTo>
                  <a:pt x="14466" y="17493"/>
                </a:lnTo>
                <a:cubicBezTo>
                  <a:pt x="15703" y="18036"/>
                  <a:pt x="16914" y="18711"/>
                  <a:pt x="17143" y="20400"/>
                </a:cubicBezTo>
                <a:cubicBezTo>
                  <a:pt x="17143" y="20400"/>
                  <a:pt x="4457" y="20400"/>
                  <a:pt x="4457" y="20400"/>
                </a:cubicBezTo>
                <a:close/>
                <a:moveTo>
                  <a:pt x="14715" y="16328"/>
                </a:moveTo>
                <a:cubicBezTo>
                  <a:pt x="14715" y="16328"/>
                  <a:pt x="12955" y="15815"/>
                  <a:pt x="12955" y="13569"/>
                </a:cubicBezTo>
                <a:cubicBezTo>
                  <a:pt x="12955" y="11596"/>
                  <a:pt x="13678" y="10901"/>
                  <a:pt x="13957" y="10421"/>
                </a:cubicBezTo>
                <a:cubicBezTo>
                  <a:pt x="13957" y="10421"/>
                  <a:pt x="14531" y="9807"/>
                  <a:pt x="14146" y="7826"/>
                </a:cubicBezTo>
                <a:cubicBezTo>
                  <a:pt x="14787" y="6740"/>
                  <a:pt x="14995" y="4972"/>
                  <a:pt x="14211" y="2789"/>
                </a:cubicBezTo>
                <a:cubicBezTo>
                  <a:pt x="13774" y="1514"/>
                  <a:pt x="13389" y="815"/>
                  <a:pt x="12801" y="409"/>
                </a:cubicBezTo>
                <a:cubicBezTo>
                  <a:pt x="12370" y="110"/>
                  <a:pt x="11880" y="0"/>
                  <a:pt x="11403" y="0"/>
                </a:cubicBezTo>
                <a:cubicBezTo>
                  <a:pt x="10516" y="0"/>
                  <a:pt x="9675" y="384"/>
                  <a:pt x="9339" y="653"/>
                </a:cubicBezTo>
                <a:cubicBezTo>
                  <a:pt x="8357" y="1192"/>
                  <a:pt x="7697" y="1688"/>
                  <a:pt x="7077" y="3579"/>
                </a:cubicBezTo>
                <a:cubicBezTo>
                  <a:pt x="6540" y="5168"/>
                  <a:pt x="7179" y="6892"/>
                  <a:pt x="7494" y="7758"/>
                </a:cubicBezTo>
                <a:cubicBezTo>
                  <a:pt x="7110" y="9740"/>
                  <a:pt x="7642" y="10421"/>
                  <a:pt x="7642" y="10421"/>
                </a:cubicBezTo>
                <a:cubicBezTo>
                  <a:pt x="7922" y="10901"/>
                  <a:pt x="8644" y="11596"/>
                  <a:pt x="8644" y="13569"/>
                </a:cubicBezTo>
                <a:cubicBezTo>
                  <a:pt x="8644" y="15815"/>
                  <a:pt x="6885" y="16328"/>
                  <a:pt x="6885" y="16328"/>
                </a:cubicBezTo>
                <a:cubicBezTo>
                  <a:pt x="5768" y="16819"/>
                  <a:pt x="3436" y="17760"/>
                  <a:pt x="3436" y="21000"/>
                </a:cubicBezTo>
                <a:cubicBezTo>
                  <a:pt x="3436" y="21000"/>
                  <a:pt x="3436" y="21600"/>
                  <a:pt x="3927" y="21600"/>
                </a:cubicBezTo>
                <a:lnTo>
                  <a:pt x="17673" y="21600"/>
                </a:lnTo>
                <a:cubicBezTo>
                  <a:pt x="18164" y="21600"/>
                  <a:pt x="18164" y="21000"/>
                  <a:pt x="18164" y="21000"/>
                </a:cubicBezTo>
                <a:cubicBezTo>
                  <a:pt x="18164" y="17760"/>
                  <a:pt x="15832" y="16819"/>
                  <a:pt x="14715" y="16328"/>
                </a:cubicBezTo>
                <a:moveTo>
                  <a:pt x="19516" y="15006"/>
                </a:moveTo>
                <a:cubicBezTo>
                  <a:pt x="19516" y="15006"/>
                  <a:pt x="18416" y="14701"/>
                  <a:pt x="18416" y="12954"/>
                </a:cubicBezTo>
                <a:cubicBezTo>
                  <a:pt x="18416" y="11419"/>
                  <a:pt x="18794" y="10879"/>
                  <a:pt x="19017" y="10506"/>
                </a:cubicBezTo>
                <a:cubicBezTo>
                  <a:pt x="19017" y="10506"/>
                  <a:pt x="19443" y="9975"/>
                  <a:pt x="19136" y="8435"/>
                </a:cubicBezTo>
                <a:cubicBezTo>
                  <a:pt x="19388" y="7760"/>
                  <a:pt x="19900" y="6419"/>
                  <a:pt x="19470" y="5184"/>
                </a:cubicBezTo>
                <a:cubicBezTo>
                  <a:pt x="18974" y="3714"/>
                  <a:pt x="18645" y="3327"/>
                  <a:pt x="17860" y="2908"/>
                </a:cubicBezTo>
                <a:cubicBezTo>
                  <a:pt x="17591" y="2699"/>
                  <a:pt x="16918" y="2400"/>
                  <a:pt x="16208" y="2400"/>
                </a:cubicBezTo>
                <a:cubicBezTo>
                  <a:pt x="15873" y="2400"/>
                  <a:pt x="15531" y="2473"/>
                  <a:pt x="15218" y="2647"/>
                </a:cubicBezTo>
                <a:cubicBezTo>
                  <a:pt x="15343" y="3035"/>
                  <a:pt x="15449" y="3420"/>
                  <a:pt x="15525" y="3799"/>
                </a:cubicBezTo>
                <a:cubicBezTo>
                  <a:pt x="15537" y="3790"/>
                  <a:pt x="15550" y="3779"/>
                  <a:pt x="15563" y="3770"/>
                </a:cubicBezTo>
                <a:cubicBezTo>
                  <a:pt x="15730" y="3657"/>
                  <a:pt x="15948" y="3600"/>
                  <a:pt x="16208" y="3600"/>
                </a:cubicBezTo>
                <a:cubicBezTo>
                  <a:pt x="16716" y="3600"/>
                  <a:pt x="17211" y="3825"/>
                  <a:pt x="17332" y="3919"/>
                </a:cubicBezTo>
                <a:cubicBezTo>
                  <a:pt x="17375" y="3953"/>
                  <a:pt x="17421" y="3983"/>
                  <a:pt x="17467" y="4008"/>
                </a:cubicBezTo>
                <a:cubicBezTo>
                  <a:pt x="17950" y="4265"/>
                  <a:pt x="18131" y="4362"/>
                  <a:pt x="18562" y="5641"/>
                </a:cubicBezTo>
                <a:cubicBezTo>
                  <a:pt x="18822" y="6387"/>
                  <a:pt x="18452" y="7378"/>
                  <a:pt x="18253" y="7911"/>
                </a:cubicBezTo>
                <a:cubicBezTo>
                  <a:pt x="18161" y="8156"/>
                  <a:pt x="18130" y="8457"/>
                  <a:pt x="18182" y="8718"/>
                </a:cubicBezTo>
                <a:cubicBezTo>
                  <a:pt x="18316" y="9392"/>
                  <a:pt x="18254" y="9706"/>
                  <a:pt x="18232" y="9784"/>
                </a:cubicBezTo>
                <a:cubicBezTo>
                  <a:pt x="18230" y="9788"/>
                  <a:pt x="18227" y="9793"/>
                  <a:pt x="18224" y="9798"/>
                </a:cubicBezTo>
                <a:lnTo>
                  <a:pt x="18191" y="9853"/>
                </a:lnTo>
                <a:cubicBezTo>
                  <a:pt x="17926" y="10290"/>
                  <a:pt x="17434" y="11106"/>
                  <a:pt x="17434" y="12954"/>
                </a:cubicBezTo>
                <a:cubicBezTo>
                  <a:pt x="17434" y="15019"/>
                  <a:pt x="18570" y="15933"/>
                  <a:pt x="19229" y="16155"/>
                </a:cubicBezTo>
                <a:cubicBezTo>
                  <a:pt x="19856" y="16429"/>
                  <a:pt x="20435" y="16859"/>
                  <a:pt x="20582" y="17999"/>
                </a:cubicBezTo>
                <a:lnTo>
                  <a:pt x="18459" y="18000"/>
                </a:lnTo>
                <a:cubicBezTo>
                  <a:pt x="18647" y="18353"/>
                  <a:pt x="18802" y="18755"/>
                  <a:pt x="18920" y="19200"/>
                </a:cubicBezTo>
                <a:lnTo>
                  <a:pt x="21109" y="19199"/>
                </a:lnTo>
                <a:cubicBezTo>
                  <a:pt x="21600" y="19199"/>
                  <a:pt x="21600" y="18599"/>
                  <a:pt x="21600" y="18599"/>
                </a:cubicBezTo>
                <a:cubicBezTo>
                  <a:pt x="21600" y="16199"/>
                  <a:pt x="20410" y="15388"/>
                  <a:pt x="19516" y="15006"/>
                </a:cubicBezTo>
                <a:moveTo>
                  <a:pt x="2371" y="16155"/>
                </a:moveTo>
                <a:cubicBezTo>
                  <a:pt x="3030" y="15933"/>
                  <a:pt x="4166" y="15019"/>
                  <a:pt x="4166" y="12954"/>
                </a:cubicBezTo>
                <a:cubicBezTo>
                  <a:pt x="4166" y="11106"/>
                  <a:pt x="3673" y="10290"/>
                  <a:pt x="3409" y="9853"/>
                </a:cubicBezTo>
                <a:lnTo>
                  <a:pt x="3376" y="9798"/>
                </a:lnTo>
                <a:cubicBezTo>
                  <a:pt x="3373" y="9793"/>
                  <a:pt x="3370" y="9788"/>
                  <a:pt x="3367" y="9784"/>
                </a:cubicBezTo>
                <a:cubicBezTo>
                  <a:pt x="3346" y="9706"/>
                  <a:pt x="3283" y="9392"/>
                  <a:pt x="3418" y="8718"/>
                </a:cubicBezTo>
                <a:cubicBezTo>
                  <a:pt x="3470" y="8457"/>
                  <a:pt x="3439" y="8156"/>
                  <a:pt x="3347" y="7911"/>
                </a:cubicBezTo>
                <a:cubicBezTo>
                  <a:pt x="3148" y="7378"/>
                  <a:pt x="2778" y="6387"/>
                  <a:pt x="3038" y="5641"/>
                </a:cubicBezTo>
                <a:cubicBezTo>
                  <a:pt x="3469" y="4362"/>
                  <a:pt x="3649" y="4265"/>
                  <a:pt x="4133" y="4008"/>
                </a:cubicBezTo>
                <a:cubicBezTo>
                  <a:pt x="4180" y="3983"/>
                  <a:pt x="4225" y="3953"/>
                  <a:pt x="4268" y="3919"/>
                </a:cubicBezTo>
                <a:cubicBezTo>
                  <a:pt x="4389" y="3825"/>
                  <a:pt x="4884" y="3600"/>
                  <a:pt x="5392" y="3600"/>
                </a:cubicBezTo>
                <a:cubicBezTo>
                  <a:pt x="5636" y="3600"/>
                  <a:pt x="5839" y="3655"/>
                  <a:pt x="6002" y="3755"/>
                </a:cubicBezTo>
                <a:cubicBezTo>
                  <a:pt x="6045" y="3548"/>
                  <a:pt x="6096" y="3341"/>
                  <a:pt x="6165" y="3134"/>
                </a:cubicBezTo>
                <a:cubicBezTo>
                  <a:pt x="6225" y="2950"/>
                  <a:pt x="6289" y="2793"/>
                  <a:pt x="6351" y="2630"/>
                </a:cubicBezTo>
                <a:cubicBezTo>
                  <a:pt x="6046" y="2468"/>
                  <a:pt x="5716" y="2400"/>
                  <a:pt x="5392" y="2400"/>
                </a:cubicBezTo>
                <a:cubicBezTo>
                  <a:pt x="4682" y="2400"/>
                  <a:pt x="4009" y="2699"/>
                  <a:pt x="3740" y="2908"/>
                </a:cubicBezTo>
                <a:cubicBezTo>
                  <a:pt x="2955" y="3327"/>
                  <a:pt x="2625" y="3714"/>
                  <a:pt x="2130" y="5184"/>
                </a:cubicBezTo>
                <a:cubicBezTo>
                  <a:pt x="1700" y="6419"/>
                  <a:pt x="2212" y="7760"/>
                  <a:pt x="2464" y="8435"/>
                </a:cubicBezTo>
                <a:cubicBezTo>
                  <a:pt x="2156" y="9975"/>
                  <a:pt x="2583" y="10506"/>
                  <a:pt x="2583" y="10506"/>
                </a:cubicBezTo>
                <a:cubicBezTo>
                  <a:pt x="2806" y="10879"/>
                  <a:pt x="3185" y="11419"/>
                  <a:pt x="3185" y="12954"/>
                </a:cubicBezTo>
                <a:cubicBezTo>
                  <a:pt x="3185" y="14701"/>
                  <a:pt x="2084" y="15006"/>
                  <a:pt x="2084" y="15006"/>
                </a:cubicBezTo>
                <a:cubicBezTo>
                  <a:pt x="1191" y="15388"/>
                  <a:pt x="0" y="16199"/>
                  <a:pt x="0" y="18599"/>
                </a:cubicBezTo>
                <a:cubicBezTo>
                  <a:pt x="0" y="18599"/>
                  <a:pt x="0" y="19199"/>
                  <a:pt x="491" y="19199"/>
                </a:cubicBezTo>
                <a:lnTo>
                  <a:pt x="2680" y="19200"/>
                </a:lnTo>
                <a:cubicBezTo>
                  <a:pt x="2798" y="18755"/>
                  <a:pt x="2952" y="18353"/>
                  <a:pt x="3141" y="18000"/>
                </a:cubicBezTo>
                <a:lnTo>
                  <a:pt x="1018" y="17999"/>
                </a:lnTo>
                <a:cubicBezTo>
                  <a:pt x="1165" y="16859"/>
                  <a:pt x="1744" y="16429"/>
                  <a:pt x="2371" y="16155"/>
                </a:cubicBezTo>
              </a:path>
            </a:pathLst>
          </a:custGeom>
          <a:solidFill>
            <a:srgbClr val="5D6A7D"/>
          </a:solidFill>
          <a:ln w="12700">
            <a:miter lim="400000"/>
          </a:ln>
        </p:spPr>
        <p:txBody>
          <a:bodyPr lIns="19045" tIns="19045" rIns="19045" bIns="19045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 dirty="0">
              <a:latin typeface="Source Sans Pro Light" charset="0"/>
              <a:ea typeface="Source Sans Pro Light" charset="0"/>
              <a:cs typeface="Source Sans Pro Light" charset="0"/>
            </a:endParaRPr>
          </a:p>
        </p:txBody>
      </p:sp>
      <p:sp>
        <p:nvSpPr>
          <p:cNvPr id="57" name="Shape 2617"/>
          <p:cNvSpPr/>
          <p:nvPr/>
        </p:nvSpPr>
        <p:spPr>
          <a:xfrm>
            <a:off x="569365" y="3316531"/>
            <a:ext cx="336317" cy="26631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457" y="20400"/>
                </a:moveTo>
                <a:cubicBezTo>
                  <a:pt x="4686" y="18711"/>
                  <a:pt x="5897" y="18036"/>
                  <a:pt x="7134" y="17493"/>
                </a:cubicBezTo>
                <a:lnTo>
                  <a:pt x="7173" y="17477"/>
                </a:lnTo>
                <a:cubicBezTo>
                  <a:pt x="8055" y="17190"/>
                  <a:pt x="9626" y="16039"/>
                  <a:pt x="9626" y="13569"/>
                </a:cubicBezTo>
                <a:cubicBezTo>
                  <a:pt x="9626" y="11474"/>
                  <a:pt x="8932" y="10452"/>
                  <a:pt x="8558" y="9902"/>
                </a:cubicBezTo>
                <a:cubicBezTo>
                  <a:pt x="8484" y="9791"/>
                  <a:pt x="8394" y="9649"/>
                  <a:pt x="8414" y="9680"/>
                </a:cubicBezTo>
                <a:cubicBezTo>
                  <a:pt x="8384" y="9599"/>
                  <a:pt x="8237" y="9129"/>
                  <a:pt x="8449" y="8035"/>
                </a:cubicBezTo>
                <a:cubicBezTo>
                  <a:pt x="8549" y="7522"/>
                  <a:pt x="8380" y="7241"/>
                  <a:pt x="8380" y="7241"/>
                </a:cubicBezTo>
                <a:cubicBezTo>
                  <a:pt x="8112" y="6505"/>
                  <a:pt x="7614" y="5133"/>
                  <a:pt x="7988" y="4025"/>
                </a:cubicBezTo>
                <a:cubicBezTo>
                  <a:pt x="8490" y="2492"/>
                  <a:pt x="8935" y="2190"/>
                  <a:pt x="9741" y="1747"/>
                </a:cubicBezTo>
                <a:cubicBezTo>
                  <a:pt x="9788" y="1721"/>
                  <a:pt x="9834" y="1691"/>
                  <a:pt x="9877" y="1657"/>
                </a:cubicBezTo>
                <a:cubicBezTo>
                  <a:pt x="10029" y="1535"/>
                  <a:pt x="10674" y="1200"/>
                  <a:pt x="11403" y="1200"/>
                </a:cubicBezTo>
                <a:cubicBezTo>
                  <a:pt x="11768" y="1200"/>
                  <a:pt x="12075" y="1285"/>
                  <a:pt x="12318" y="1454"/>
                </a:cubicBezTo>
                <a:cubicBezTo>
                  <a:pt x="12610" y="1655"/>
                  <a:pt x="12890" y="2039"/>
                  <a:pt x="13313" y="3271"/>
                </a:cubicBezTo>
                <a:cubicBezTo>
                  <a:pt x="14101" y="5469"/>
                  <a:pt x="13602" y="6698"/>
                  <a:pt x="13350" y="7124"/>
                </a:cubicBezTo>
                <a:cubicBezTo>
                  <a:pt x="13183" y="7407"/>
                  <a:pt x="13126" y="7764"/>
                  <a:pt x="13191" y="8102"/>
                </a:cubicBezTo>
                <a:cubicBezTo>
                  <a:pt x="13386" y="9109"/>
                  <a:pt x="13260" y="9534"/>
                  <a:pt x="13227" y="9619"/>
                </a:cubicBezTo>
                <a:cubicBezTo>
                  <a:pt x="13219" y="9631"/>
                  <a:pt x="13101" y="9814"/>
                  <a:pt x="13041" y="9902"/>
                </a:cubicBezTo>
                <a:cubicBezTo>
                  <a:pt x="12668" y="10452"/>
                  <a:pt x="11973" y="11474"/>
                  <a:pt x="11973" y="13569"/>
                </a:cubicBezTo>
                <a:cubicBezTo>
                  <a:pt x="11973" y="16039"/>
                  <a:pt x="13545" y="17190"/>
                  <a:pt x="14427" y="17477"/>
                </a:cubicBezTo>
                <a:lnTo>
                  <a:pt x="14466" y="17493"/>
                </a:lnTo>
                <a:cubicBezTo>
                  <a:pt x="15703" y="18036"/>
                  <a:pt x="16914" y="18711"/>
                  <a:pt x="17143" y="20400"/>
                </a:cubicBezTo>
                <a:cubicBezTo>
                  <a:pt x="17143" y="20400"/>
                  <a:pt x="4457" y="20400"/>
                  <a:pt x="4457" y="20400"/>
                </a:cubicBezTo>
                <a:close/>
                <a:moveTo>
                  <a:pt x="14715" y="16328"/>
                </a:moveTo>
                <a:cubicBezTo>
                  <a:pt x="14715" y="16328"/>
                  <a:pt x="12955" y="15815"/>
                  <a:pt x="12955" y="13569"/>
                </a:cubicBezTo>
                <a:cubicBezTo>
                  <a:pt x="12955" y="11596"/>
                  <a:pt x="13678" y="10901"/>
                  <a:pt x="13957" y="10421"/>
                </a:cubicBezTo>
                <a:cubicBezTo>
                  <a:pt x="13957" y="10421"/>
                  <a:pt x="14531" y="9807"/>
                  <a:pt x="14146" y="7826"/>
                </a:cubicBezTo>
                <a:cubicBezTo>
                  <a:pt x="14787" y="6740"/>
                  <a:pt x="14995" y="4972"/>
                  <a:pt x="14211" y="2789"/>
                </a:cubicBezTo>
                <a:cubicBezTo>
                  <a:pt x="13774" y="1514"/>
                  <a:pt x="13389" y="815"/>
                  <a:pt x="12801" y="409"/>
                </a:cubicBezTo>
                <a:cubicBezTo>
                  <a:pt x="12370" y="110"/>
                  <a:pt x="11880" y="0"/>
                  <a:pt x="11403" y="0"/>
                </a:cubicBezTo>
                <a:cubicBezTo>
                  <a:pt x="10516" y="0"/>
                  <a:pt x="9675" y="384"/>
                  <a:pt x="9339" y="653"/>
                </a:cubicBezTo>
                <a:cubicBezTo>
                  <a:pt x="8357" y="1192"/>
                  <a:pt x="7697" y="1688"/>
                  <a:pt x="7077" y="3579"/>
                </a:cubicBezTo>
                <a:cubicBezTo>
                  <a:pt x="6540" y="5168"/>
                  <a:pt x="7179" y="6892"/>
                  <a:pt x="7494" y="7758"/>
                </a:cubicBezTo>
                <a:cubicBezTo>
                  <a:pt x="7110" y="9740"/>
                  <a:pt x="7642" y="10421"/>
                  <a:pt x="7642" y="10421"/>
                </a:cubicBezTo>
                <a:cubicBezTo>
                  <a:pt x="7922" y="10901"/>
                  <a:pt x="8644" y="11596"/>
                  <a:pt x="8644" y="13569"/>
                </a:cubicBezTo>
                <a:cubicBezTo>
                  <a:pt x="8644" y="15815"/>
                  <a:pt x="6885" y="16328"/>
                  <a:pt x="6885" y="16328"/>
                </a:cubicBezTo>
                <a:cubicBezTo>
                  <a:pt x="5768" y="16819"/>
                  <a:pt x="3436" y="17760"/>
                  <a:pt x="3436" y="21000"/>
                </a:cubicBezTo>
                <a:cubicBezTo>
                  <a:pt x="3436" y="21000"/>
                  <a:pt x="3436" y="21600"/>
                  <a:pt x="3927" y="21600"/>
                </a:cubicBezTo>
                <a:lnTo>
                  <a:pt x="17673" y="21600"/>
                </a:lnTo>
                <a:cubicBezTo>
                  <a:pt x="18164" y="21600"/>
                  <a:pt x="18164" y="21000"/>
                  <a:pt x="18164" y="21000"/>
                </a:cubicBezTo>
                <a:cubicBezTo>
                  <a:pt x="18164" y="17760"/>
                  <a:pt x="15832" y="16819"/>
                  <a:pt x="14715" y="16328"/>
                </a:cubicBezTo>
                <a:moveTo>
                  <a:pt x="19516" y="15006"/>
                </a:moveTo>
                <a:cubicBezTo>
                  <a:pt x="19516" y="15006"/>
                  <a:pt x="18416" y="14701"/>
                  <a:pt x="18416" y="12954"/>
                </a:cubicBezTo>
                <a:cubicBezTo>
                  <a:pt x="18416" y="11419"/>
                  <a:pt x="18794" y="10879"/>
                  <a:pt x="19017" y="10506"/>
                </a:cubicBezTo>
                <a:cubicBezTo>
                  <a:pt x="19017" y="10506"/>
                  <a:pt x="19443" y="9975"/>
                  <a:pt x="19136" y="8435"/>
                </a:cubicBezTo>
                <a:cubicBezTo>
                  <a:pt x="19388" y="7760"/>
                  <a:pt x="19900" y="6419"/>
                  <a:pt x="19470" y="5184"/>
                </a:cubicBezTo>
                <a:cubicBezTo>
                  <a:pt x="18974" y="3714"/>
                  <a:pt x="18645" y="3327"/>
                  <a:pt x="17860" y="2908"/>
                </a:cubicBezTo>
                <a:cubicBezTo>
                  <a:pt x="17591" y="2699"/>
                  <a:pt x="16918" y="2400"/>
                  <a:pt x="16208" y="2400"/>
                </a:cubicBezTo>
                <a:cubicBezTo>
                  <a:pt x="15873" y="2400"/>
                  <a:pt x="15531" y="2473"/>
                  <a:pt x="15218" y="2647"/>
                </a:cubicBezTo>
                <a:cubicBezTo>
                  <a:pt x="15343" y="3035"/>
                  <a:pt x="15449" y="3420"/>
                  <a:pt x="15525" y="3799"/>
                </a:cubicBezTo>
                <a:cubicBezTo>
                  <a:pt x="15537" y="3790"/>
                  <a:pt x="15550" y="3779"/>
                  <a:pt x="15563" y="3770"/>
                </a:cubicBezTo>
                <a:cubicBezTo>
                  <a:pt x="15730" y="3657"/>
                  <a:pt x="15948" y="3600"/>
                  <a:pt x="16208" y="3600"/>
                </a:cubicBezTo>
                <a:cubicBezTo>
                  <a:pt x="16716" y="3600"/>
                  <a:pt x="17211" y="3825"/>
                  <a:pt x="17332" y="3919"/>
                </a:cubicBezTo>
                <a:cubicBezTo>
                  <a:pt x="17375" y="3953"/>
                  <a:pt x="17421" y="3983"/>
                  <a:pt x="17467" y="4008"/>
                </a:cubicBezTo>
                <a:cubicBezTo>
                  <a:pt x="17950" y="4265"/>
                  <a:pt x="18131" y="4362"/>
                  <a:pt x="18562" y="5641"/>
                </a:cubicBezTo>
                <a:cubicBezTo>
                  <a:pt x="18822" y="6387"/>
                  <a:pt x="18452" y="7378"/>
                  <a:pt x="18253" y="7911"/>
                </a:cubicBezTo>
                <a:cubicBezTo>
                  <a:pt x="18161" y="8156"/>
                  <a:pt x="18130" y="8457"/>
                  <a:pt x="18182" y="8718"/>
                </a:cubicBezTo>
                <a:cubicBezTo>
                  <a:pt x="18316" y="9392"/>
                  <a:pt x="18254" y="9706"/>
                  <a:pt x="18232" y="9784"/>
                </a:cubicBezTo>
                <a:cubicBezTo>
                  <a:pt x="18230" y="9788"/>
                  <a:pt x="18227" y="9793"/>
                  <a:pt x="18224" y="9798"/>
                </a:cubicBezTo>
                <a:lnTo>
                  <a:pt x="18191" y="9853"/>
                </a:lnTo>
                <a:cubicBezTo>
                  <a:pt x="17926" y="10290"/>
                  <a:pt x="17434" y="11106"/>
                  <a:pt x="17434" y="12954"/>
                </a:cubicBezTo>
                <a:cubicBezTo>
                  <a:pt x="17434" y="15019"/>
                  <a:pt x="18570" y="15933"/>
                  <a:pt x="19229" y="16155"/>
                </a:cubicBezTo>
                <a:cubicBezTo>
                  <a:pt x="19856" y="16429"/>
                  <a:pt x="20435" y="16859"/>
                  <a:pt x="20582" y="17999"/>
                </a:cubicBezTo>
                <a:lnTo>
                  <a:pt x="18459" y="18000"/>
                </a:lnTo>
                <a:cubicBezTo>
                  <a:pt x="18647" y="18353"/>
                  <a:pt x="18802" y="18755"/>
                  <a:pt x="18920" y="19200"/>
                </a:cubicBezTo>
                <a:lnTo>
                  <a:pt x="21109" y="19199"/>
                </a:lnTo>
                <a:cubicBezTo>
                  <a:pt x="21600" y="19199"/>
                  <a:pt x="21600" y="18599"/>
                  <a:pt x="21600" y="18599"/>
                </a:cubicBezTo>
                <a:cubicBezTo>
                  <a:pt x="21600" y="16199"/>
                  <a:pt x="20410" y="15388"/>
                  <a:pt x="19516" y="15006"/>
                </a:cubicBezTo>
                <a:moveTo>
                  <a:pt x="2371" y="16155"/>
                </a:moveTo>
                <a:cubicBezTo>
                  <a:pt x="3030" y="15933"/>
                  <a:pt x="4166" y="15019"/>
                  <a:pt x="4166" y="12954"/>
                </a:cubicBezTo>
                <a:cubicBezTo>
                  <a:pt x="4166" y="11106"/>
                  <a:pt x="3673" y="10290"/>
                  <a:pt x="3409" y="9853"/>
                </a:cubicBezTo>
                <a:lnTo>
                  <a:pt x="3376" y="9798"/>
                </a:lnTo>
                <a:cubicBezTo>
                  <a:pt x="3373" y="9793"/>
                  <a:pt x="3370" y="9788"/>
                  <a:pt x="3367" y="9784"/>
                </a:cubicBezTo>
                <a:cubicBezTo>
                  <a:pt x="3346" y="9706"/>
                  <a:pt x="3283" y="9392"/>
                  <a:pt x="3418" y="8718"/>
                </a:cubicBezTo>
                <a:cubicBezTo>
                  <a:pt x="3470" y="8457"/>
                  <a:pt x="3439" y="8156"/>
                  <a:pt x="3347" y="7911"/>
                </a:cubicBezTo>
                <a:cubicBezTo>
                  <a:pt x="3148" y="7378"/>
                  <a:pt x="2778" y="6387"/>
                  <a:pt x="3038" y="5641"/>
                </a:cubicBezTo>
                <a:cubicBezTo>
                  <a:pt x="3469" y="4362"/>
                  <a:pt x="3649" y="4265"/>
                  <a:pt x="4133" y="4008"/>
                </a:cubicBezTo>
                <a:cubicBezTo>
                  <a:pt x="4180" y="3983"/>
                  <a:pt x="4225" y="3953"/>
                  <a:pt x="4268" y="3919"/>
                </a:cubicBezTo>
                <a:cubicBezTo>
                  <a:pt x="4389" y="3825"/>
                  <a:pt x="4884" y="3600"/>
                  <a:pt x="5392" y="3600"/>
                </a:cubicBezTo>
                <a:cubicBezTo>
                  <a:pt x="5636" y="3600"/>
                  <a:pt x="5839" y="3655"/>
                  <a:pt x="6002" y="3755"/>
                </a:cubicBezTo>
                <a:cubicBezTo>
                  <a:pt x="6045" y="3548"/>
                  <a:pt x="6096" y="3341"/>
                  <a:pt x="6165" y="3134"/>
                </a:cubicBezTo>
                <a:cubicBezTo>
                  <a:pt x="6225" y="2950"/>
                  <a:pt x="6289" y="2793"/>
                  <a:pt x="6351" y="2630"/>
                </a:cubicBezTo>
                <a:cubicBezTo>
                  <a:pt x="6046" y="2468"/>
                  <a:pt x="5716" y="2400"/>
                  <a:pt x="5392" y="2400"/>
                </a:cubicBezTo>
                <a:cubicBezTo>
                  <a:pt x="4682" y="2400"/>
                  <a:pt x="4009" y="2699"/>
                  <a:pt x="3740" y="2908"/>
                </a:cubicBezTo>
                <a:cubicBezTo>
                  <a:pt x="2955" y="3327"/>
                  <a:pt x="2625" y="3714"/>
                  <a:pt x="2130" y="5184"/>
                </a:cubicBezTo>
                <a:cubicBezTo>
                  <a:pt x="1700" y="6419"/>
                  <a:pt x="2212" y="7760"/>
                  <a:pt x="2464" y="8435"/>
                </a:cubicBezTo>
                <a:cubicBezTo>
                  <a:pt x="2156" y="9975"/>
                  <a:pt x="2583" y="10506"/>
                  <a:pt x="2583" y="10506"/>
                </a:cubicBezTo>
                <a:cubicBezTo>
                  <a:pt x="2806" y="10879"/>
                  <a:pt x="3185" y="11419"/>
                  <a:pt x="3185" y="12954"/>
                </a:cubicBezTo>
                <a:cubicBezTo>
                  <a:pt x="3185" y="14701"/>
                  <a:pt x="2084" y="15006"/>
                  <a:pt x="2084" y="15006"/>
                </a:cubicBezTo>
                <a:cubicBezTo>
                  <a:pt x="1191" y="15388"/>
                  <a:pt x="0" y="16199"/>
                  <a:pt x="0" y="18599"/>
                </a:cubicBezTo>
                <a:cubicBezTo>
                  <a:pt x="0" y="18599"/>
                  <a:pt x="0" y="19199"/>
                  <a:pt x="491" y="19199"/>
                </a:cubicBezTo>
                <a:lnTo>
                  <a:pt x="2680" y="19200"/>
                </a:lnTo>
                <a:cubicBezTo>
                  <a:pt x="2798" y="18755"/>
                  <a:pt x="2952" y="18353"/>
                  <a:pt x="3141" y="18000"/>
                </a:cubicBezTo>
                <a:lnTo>
                  <a:pt x="1018" y="17999"/>
                </a:lnTo>
                <a:cubicBezTo>
                  <a:pt x="1165" y="16859"/>
                  <a:pt x="1744" y="16429"/>
                  <a:pt x="2371" y="16155"/>
                </a:cubicBezTo>
              </a:path>
            </a:pathLst>
          </a:custGeom>
          <a:solidFill>
            <a:srgbClr val="5D6A7D"/>
          </a:solidFill>
          <a:ln w="12700">
            <a:miter lim="400000"/>
          </a:ln>
        </p:spPr>
        <p:txBody>
          <a:bodyPr lIns="19045" tIns="19045" rIns="19045" bIns="19045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 dirty="0">
              <a:latin typeface="Source Sans Pro Light" charset="0"/>
              <a:ea typeface="Source Sans Pro Light" charset="0"/>
              <a:cs typeface="Source Sans Pro Light" charset="0"/>
            </a:endParaRPr>
          </a:p>
        </p:txBody>
      </p:sp>
      <p:sp>
        <p:nvSpPr>
          <p:cNvPr id="58" name="Shape 2617"/>
          <p:cNvSpPr/>
          <p:nvPr/>
        </p:nvSpPr>
        <p:spPr>
          <a:xfrm>
            <a:off x="1162186" y="3316531"/>
            <a:ext cx="336317" cy="26631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457" y="20400"/>
                </a:moveTo>
                <a:cubicBezTo>
                  <a:pt x="4686" y="18711"/>
                  <a:pt x="5897" y="18036"/>
                  <a:pt x="7134" y="17493"/>
                </a:cubicBezTo>
                <a:lnTo>
                  <a:pt x="7173" y="17477"/>
                </a:lnTo>
                <a:cubicBezTo>
                  <a:pt x="8055" y="17190"/>
                  <a:pt x="9626" y="16039"/>
                  <a:pt x="9626" y="13569"/>
                </a:cubicBezTo>
                <a:cubicBezTo>
                  <a:pt x="9626" y="11474"/>
                  <a:pt x="8932" y="10452"/>
                  <a:pt x="8558" y="9902"/>
                </a:cubicBezTo>
                <a:cubicBezTo>
                  <a:pt x="8484" y="9791"/>
                  <a:pt x="8394" y="9649"/>
                  <a:pt x="8414" y="9680"/>
                </a:cubicBezTo>
                <a:cubicBezTo>
                  <a:pt x="8384" y="9599"/>
                  <a:pt x="8237" y="9129"/>
                  <a:pt x="8449" y="8035"/>
                </a:cubicBezTo>
                <a:cubicBezTo>
                  <a:pt x="8549" y="7522"/>
                  <a:pt x="8380" y="7241"/>
                  <a:pt x="8380" y="7241"/>
                </a:cubicBezTo>
                <a:cubicBezTo>
                  <a:pt x="8112" y="6505"/>
                  <a:pt x="7614" y="5133"/>
                  <a:pt x="7988" y="4025"/>
                </a:cubicBezTo>
                <a:cubicBezTo>
                  <a:pt x="8490" y="2492"/>
                  <a:pt x="8935" y="2190"/>
                  <a:pt x="9741" y="1747"/>
                </a:cubicBezTo>
                <a:cubicBezTo>
                  <a:pt x="9788" y="1721"/>
                  <a:pt x="9834" y="1691"/>
                  <a:pt x="9877" y="1657"/>
                </a:cubicBezTo>
                <a:cubicBezTo>
                  <a:pt x="10029" y="1535"/>
                  <a:pt x="10674" y="1200"/>
                  <a:pt x="11403" y="1200"/>
                </a:cubicBezTo>
                <a:cubicBezTo>
                  <a:pt x="11768" y="1200"/>
                  <a:pt x="12075" y="1285"/>
                  <a:pt x="12318" y="1454"/>
                </a:cubicBezTo>
                <a:cubicBezTo>
                  <a:pt x="12610" y="1655"/>
                  <a:pt x="12890" y="2039"/>
                  <a:pt x="13313" y="3271"/>
                </a:cubicBezTo>
                <a:cubicBezTo>
                  <a:pt x="14101" y="5469"/>
                  <a:pt x="13602" y="6698"/>
                  <a:pt x="13350" y="7124"/>
                </a:cubicBezTo>
                <a:cubicBezTo>
                  <a:pt x="13183" y="7407"/>
                  <a:pt x="13126" y="7764"/>
                  <a:pt x="13191" y="8102"/>
                </a:cubicBezTo>
                <a:cubicBezTo>
                  <a:pt x="13386" y="9109"/>
                  <a:pt x="13260" y="9534"/>
                  <a:pt x="13227" y="9619"/>
                </a:cubicBezTo>
                <a:cubicBezTo>
                  <a:pt x="13219" y="9631"/>
                  <a:pt x="13101" y="9814"/>
                  <a:pt x="13041" y="9902"/>
                </a:cubicBezTo>
                <a:cubicBezTo>
                  <a:pt x="12668" y="10452"/>
                  <a:pt x="11973" y="11474"/>
                  <a:pt x="11973" y="13569"/>
                </a:cubicBezTo>
                <a:cubicBezTo>
                  <a:pt x="11973" y="16039"/>
                  <a:pt x="13545" y="17190"/>
                  <a:pt x="14427" y="17477"/>
                </a:cubicBezTo>
                <a:lnTo>
                  <a:pt x="14466" y="17493"/>
                </a:lnTo>
                <a:cubicBezTo>
                  <a:pt x="15703" y="18036"/>
                  <a:pt x="16914" y="18711"/>
                  <a:pt x="17143" y="20400"/>
                </a:cubicBezTo>
                <a:cubicBezTo>
                  <a:pt x="17143" y="20400"/>
                  <a:pt x="4457" y="20400"/>
                  <a:pt x="4457" y="20400"/>
                </a:cubicBezTo>
                <a:close/>
                <a:moveTo>
                  <a:pt x="14715" y="16328"/>
                </a:moveTo>
                <a:cubicBezTo>
                  <a:pt x="14715" y="16328"/>
                  <a:pt x="12955" y="15815"/>
                  <a:pt x="12955" y="13569"/>
                </a:cubicBezTo>
                <a:cubicBezTo>
                  <a:pt x="12955" y="11596"/>
                  <a:pt x="13678" y="10901"/>
                  <a:pt x="13957" y="10421"/>
                </a:cubicBezTo>
                <a:cubicBezTo>
                  <a:pt x="13957" y="10421"/>
                  <a:pt x="14531" y="9807"/>
                  <a:pt x="14146" y="7826"/>
                </a:cubicBezTo>
                <a:cubicBezTo>
                  <a:pt x="14787" y="6740"/>
                  <a:pt x="14995" y="4972"/>
                  <a:pt x="14211" y="2789"/>
                </a:cubicBezTo>
                <a:cubicBezTo>
                  <a:pt x="13774" y="1514"/>
                  <a:pt x="13389" y="815"/>
                  <a:pt x="12801" y="409"/>
                </a:cubicBezTo>
                <a:cubicBezTo>
                  <a:pt x="12370" y="110"/>
                  <a:pt x="11880" y="0"/>
                  <a:pt x="11403" y="0"/>
                </a:cubicBezTo>
                <a:cubicBezTo>
                  <a:pt x="10516" y="0"/>
                  <a:pt x="9675" y="384"/>
                  <a:pt x="9339" y="653"/>
                </a:cubicBezTo>
                <a:cubicBezTo>
                  <a:pt x="8357" y="1192"/>
                  <a:pt x="7697" y="1688"/>
                  <a:pt x="7077" y="3579"/>
                </a:cubicBezTo>
                <a:cubicBezTo>
                  <a:pt x="6540" y="5168"/>
                  <a:pt x="7179" y="6892"/>
                  <a:pt x="7494" y="7758"/>
                </a:cubicBezTo>
                <a:cubicBezTo>
                  <a:pt x="7110" y="9740"/>
                  <a:pt x="7642" y="10421"/>
                  <a:pt x="7642" y="10421"/>
                </a:cubicBezTo>
                <a:cubicBezTo>
                  <a:pt x="7922" y="10901"/>
                  <a:pt x="8644" y="11596"/>
                  <a:pt x="8644" y="13569"/>
                </a:cubicBezTo>
                <a:cubicBezTo>
                  <a:pt x="8644" y="15815"/>
                  <a:pt x="6885" y="16328"/>
                  <a:pt x="6885" y="16328"/>
                </a:cubicBezTo>
                <a:cubicBezTo>
                  <a:pt x="5768" y="16819"/>
                  <a:pt x="3436" y="17760"/>
                  <a:pt x="3436" y="21000"/>
                </a:cubicBezTo>
                <a:cubicBezTo>
                  <a:pt x="3436" y="21000"/>
                  <a:pt x="3436" y="21600"/>
                  <a:pt x="3927" y="21600"/>
                </a:cubicBezTo>
                <a:lnTo>
                  <a:pt x="17673" y="21600"/>
                </a:lnTo>
                <a:cubicBezTo>
                  <a:pt x="18164" y="21600"/>
                  <a:pt x="18164" y="21000"/>
                  <a:pt x="18164" y="21000"/>
                </a:cubicBezTo>
                <a:cubicBezTo>
                  <a:pt x="18164" y="17760"/>
                  <a:pt x="15832" y="16819"/>
                  <a:pt x="14715" y="16328"/>
                </a:cubicBezTo>
                <a:moveTo>
                  <a:pt x="19516" y="15006"/>
                </a:moveTo>
                <a:cubicBezTo>
                  <a:pt x="19516" y="15006"/>
                  <a:pt x="18416" y="14701"/>
                  <a:pt x="18416" y="12954"/>
                </a:cubicBezTo>
                <a:cubicBezTo>
                  <a:pt x="18416" y="11419"/>
                  <a:pt x="18794" y="10879"/>
                  <a:pt x="19017" y="10506"/>
                </a:cubicBezTo>
                <a:cubicBezTo>
                  <a:pt x="19017" y="10506"/>
                  <a:pt x="19443" y="9975"/>
                  <a:pt x="19136" y="8435"/>
                </a:cubicBezTo>
                <a:cubicBezTo>
                  <a:pt x="19388" y="7760"/>
                  <a:pt x="19900" y="6419"/>
                  <a:pt x="19470" y="5184"/>
                </a:cubicBezTo>
                <a:cubicBezTo>
                  <a:pt x="18974" y="3714"/>
                  <a:pt x="18645" y="3327"/>
                  <a:pt x="17860" y="2908"/>
                </a:cubicBezTo>
                <a:cubicBezTo>
                  <a:pt x="17591" y="2699"/>
                  <a:pt x="16918" y="2400"/>
                  <a:pt x="16208" y="2400"/>
                </a:cubicBezTo>
                <a:cubicBezTo>
                  <a:pt x="15873" y="2400"/>
                  <a:pt x="15531" y="2473"/>
                  <a:pt x="15218" y="2647"/>
                </a:cubicBezTo>
                <a:cubicBezTo>
                  <a:pt x="15343" y="3035"/>
                  <a:pt x="15449" y="3420"/>
                  <a:pt x="15525" y="3799"/>
                </a:cubicBezTo>
                <a:cubicBezTo>
                  <a:pt x="15537" y="3790"/>
                  <a:pt x="15550" y="3779"/>
                  <a:pt x="15563" y="3770"/>
                </a:cubicBezTo>
                <a:cubicBezTo>
                  <a:pt x="15730" y="3657"/>
                  <a:pt x="15948" y="3600"/>
                  <a:pt x="16208" y="3600"/>
                </a:cubicBezTo>
                <a:cubicBezTo>
                  <a:pt x="16716" y="3600"/>
                  <a:pt x="17211" y="3825"/>
                  <a:pt x="17332" y="3919"/>
                </a:cubicBezTo>
                <a:cubicBezTo>
                  <a:pt x="17375" y="3953"/>
                  <a:pt x="17421" y="3983"/>
                  <a:pt x="17467" y="4008"/>
                </a:cubicBezTo>
                <a:cubicBezTo>
                  <a:pt x="17950" y="4265"/>
                  <a:pt x="18131" y="4362"/>
                  <a:pt x="18562" y="5641"/>
                </a:cubicBezTo>
                <a:cubicBezTo>
                  <a:pt x="18822" y="6387"/>
                  <a:pt x="18452" y="7378"/>
                  <a:pt x="18253" y="7911"/>
                </a:cubicBezTo>
                <a:cubicBezTo>
                  <a:pt x="18161" y="8156"/>
                  <a:pt x="18130" y="8457"/>
                  <a:pt x="18182" y="8718"/>
                </a:cubicBezTo>
                <a:cubicBezTo>
                  <a:pt x="18316" y="9392"/>
                  <a:pt x="18254" y="9706"/>
                  <a:pt x="18232" y="9784"/>
                </a:cubicBezTo>
                <a:cubicBezTo>
                  <a:pt x="18230" y="9788"/>
                  <a:pt x="18227" y="9793"/>
                  <a:pt x="18224" y="9798"/>
                </a:cubicBezTo>
                <a:lnTo>
                  <a:pt x="18191" y="9853"/>
                </a:lnTo>
                <a:cubicBezTo>
                  <a:pt x="17926" y="10290"/>
                  <a:pt x="17434" y="11106"/>
                  <a:pt x="17434" y="12954"/>
                </a:cubicBezTo>
                <a:cubicBezTo>
                  <a:pt x="17434" y="15019"/>
                  <a:pt x="18570" y="15933"/>
                  <a:pt x="19229" y="16155"/>
                </a:cubicBezTo>
                <a:cubicBezTo>
                  <a:pt x="19856" y="16429"/>
                  <a:pt x="20435" y="16859"/>
                  <a:pt x="20582" y="17999"/>
                </a:cubicBezTo>
                <a:lnTo>
                  <a:pt x="18459" y="18000"/>
                </a:lnTo>
                <a:cubicBezTo>
                  <a:pt x="18647" y="18353"/>
                  <a:pt x="18802" y="18755"/>
                  <a:pt x="18920" y="19200"/>
                </a:cubicBezTo>
                <a:lnTo>
                  <a:pt x="21109" y="19199"/>
                </a:lnTo>
                <a:cubicBezTo>
                  <a:pt x="21600" y="19199"/>
                  <a:pt x="21600" y="18599"/>
                  <a:pt x="21600" y="18599"/>
                </a:cubicBezTo>
                <a:cubicBezTo>
                  <a:pt x="21600" y="16199"/>
                  <a:pt x="20410" y="15388"/>
                  <a:pt x="19516" y="15006"/>
                </a:cubicBezTo>
                <a:moveTo>
                  <a:pt x="2371" y="16155"/>
                </a:moveTo>
                <a:cubicBezTo>
                  <a:pt x="3030" y="15933"/>
                  <a:pt x="4166" y="15019"/>
                  <a:pt x="4166" y="12954"/>
                </a:cubicBezTo>
                <a:cubicBezTo>
                  <a:pt x="4166" y="11106"/>
                  <a:pt x="3673" y="10290"/>
                  <a:pt x="3409" y="9853"/>
                </a:cubicBezTo>
                <a:lnTo>
                  <a:pt x="3376" y="9798"/>
                </a:lnTo>
                <a:cubicBezTo>
                  <a:pt x="3373" y="9793"/>
                  <a:pt x="3370" y="9788"/>
                  <a:pt x="3367" y="9784"/>
                </a:cubicBezTo>
                <a:cubicBezTo>
                  <a:pt x="3346" y="9706"/>
                  <a:pt x="3283" y="9392"/>
                  <a:pt x="3418" y="8718"/>
                </a:cubicBezTo>
                <a:cubicBezTo>
                  <a:pt x="3470" y="8457"/>
                  <a:pt x="3439" y="8156"/>
                  <a:pt x="3347" y="7911"/>
                </a:cubicBezTo>
                <a:cubicBezTo>
                  <a:pt x="3148" y="7378"/>
                  <a:pt x="2778" y="6387"/>
                  <a:pt x="3038" y="5641"/>
                </a:cubicBezTo>
                <a:cubicBezTo>
                  <a:pt x="3469" y="4362"/>
                  <a:pt x="3649" y="4265"/>
                  <a:pt x="4133" y="4008"/>
                </a:cubicBezTo>
                <a:cubicBezTo>
                  <a:pt x="4180" y="3983"/>
                  <a:pt x="4225" y="3953"/>
                  <a:pt x="4268" y="3919"/>
                </a:cubicBezTo>
                <a:cubicBezTo>
                  <a:pt x="4389" y="3825"/>
                  <a:pt x="4884" y="3600"/>
                  <a:pt x="5392" y="3600"/>
                </a:cubicBezTo>
                <a:cubicBezTo>
                  <a:pt x="5636" y="3600"/>
                  <a:pt x="5839" y="3655"/>
                  <a:pt x="6002" y="3755"/>
                </a:cubicBezTo>
                <a:cubicBezTo>
                  <a:pt x="6045" y="3548"/>
                  <a:pt x="6096" y="3341"/>
                  <a:pt x="6165" y="3134"/>
                </a:cubicBezTo>
                <a:cubicBezTo>
                  <a:pt x="6225" y="2950"/>
                  <a:pt x="6289" y="2793"/>
                  <a:pt x="6351" y="2630"/>
                </a:cubicBezTo>
                <a:cubicBezTo>
                  <a:pt x="6046" y="2468"/>
                  <a:pt x="5716" y="2400"/>
                  <a:pt x="5392" y="2400"/>
                </a:cubicBezTo>
                <a:cubicBezTo>
                  <a:pt x="4682" y="2400"/>
                  <a:pt x="4009" y="2699"/>
                  <a:pt x="3740" y="2908"/>
                </a:cubicBezTo>
                <a:cubicBezTo>
                  <a:pt x="2955" y="3327"/>
                  <a:pt x="2625" y="3714"/>
                  <a:pt x="2130" y="5184"/>
                </a:cubicBezTo>
                <a:cubicBezTo>
                  <a:pt x="1700" y="6419"/>
                  <a:pt x="2212" y="7760"/>
                  <a:pt x="2464" y="8435"/>
                </a:cubicBezTo>
                <a:cubicBezTo>
                  <a:pt x="2156" y="9975"/>
                  <a:pt x="2583" y="10506"/>
                  <a:pt x="2583" y="10506"/>
                </a:cubicBezTo>
                <a:cubicBezTo>
                  <a:pt x="2806" y="10879"/>
                  <a:pt x="3185" y="11419"/>
                  <a:pt x="3185" y="12954"/>
                </a:cubicBezTo>
                <a:cubicBezTo>
                  <a:pt x="3185" y="14701"/>
                  <a:pt x="2084" y="15006"/>
                  <a:pt x="2084" y="15006"/>
                </a:cubicBezTo>
                <a:cubicBezTo>
                  <a:pt x="1191" y="15388"/>
                  <a:pt x="0" y="16199"/>
                  <a:pt x="0" y="18599"/>
                </a:cubicBezTo>
                <a:cubicBezTo>
                  <a:pt x="0" y="18599"/>
                  <a:pt x="0" y="19199"/>
                  <a:pt x="491" y="19199"/>
                </a:cubicBezTo>
                <a:lnTo>
                  <a:pt x="2680" y="19200"/>
                </a:lnTo>
                <a:cubicBezTo>
                  <a:pt x="2798" y="18755"/>
                  <a:pt x="2952" y="18353"/>
                  <a:pt x="3141" y="18000"/>
                </a:cubicBezTo>
                <a:lnTo>
                  <a:pt x="1018" y="17999"/>
                </a:lnTo>
                <a:cubicBezTo>
                  <a:pt x="1165" y="16859"/>
                  <a:pt x="1744" y="16429"/>
                  <a:pt x="2371" y="16155"/>
                </a:cubicBezTo>
              </a:path>
            </a:pathLst>
          </a:custGeom>
          <a:solidFill>
            <a:srgbClr val="5D6A7D"/>
          </a:solidFill>
          <a:ln w="12700">
            <a:miter lim="400000"/>
          </a:ln>
        </p:spPr>
        <p:txBody>
          <a:bodyPr lIns="19045" tIns="19045" rIns="19045" bIns="19045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 dirty="0">
              <a:latin typeface="Source Sans Pro Light" charset="0"/>
              <a:ea typeface="Source Sans Pro Light" charset="0"/>
              <a:cs typeface="Source Sans Pro Light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689708" y="1301692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dirty="0" smtClean="0">
                <a:latin typeface="Arial Narrow" panose="020B0606020202030204" pitchFamily="34" charset="0"/>
              </a:rPr>
              <a:t>API</a:t>
            </a:r>
            <a:r>
              <a:rPr lang="ru-RU" dirty="0" smtClean="0">
                <a:latin typeface="Arial Narrow" panose="020B0606020202030204" pitchFamily="34" charset="0"/>
              </a:rPr>
              <a:t>, являясь американской </a:t>
            </a:r>
            <a:r>
              <a:rPr lang="ru-RU" dirty="0">
                <a:latin typeface="Arial Narrow" panose="020B0606020202030204" pitchFamily="34" charset="0"/>
              </a:rPr>
              <a:t>ассоциацией, </a:t>
            </a:r>
            <a:r>
              <a:rPr lang="ru-RU" dirty="0" smtClean="0">
                <a:latin typeface="Arial Narrow" panose="020B0606020202030204" pitchFamily="34" charset="0"/>
              </a:rPr>
              <a:t>вынужден </a:t>
            </a:r>
            <a:r>
              <a:rPr lang="ru-RU" dirty="0">
                <a:latin typeface="Arial Narrow" panose="020B0606020202030204" pitchFamily="34" charset="0"/>
              </a:rPr>
              <a:t>поддерживать </a:t>
            </a:r>
            <a:r>
              <a:rPr lang="ru-RU" dirty="0" smtClean="0">
                <a:latin typeface="Arial Narrow" panose="020B0606020202030204" pitchFamily="34" charset="0"/>
              </a:rPr>
              <a:t>санкции.</a:t>
            </a:r>
            <a:endParaRPr lang="ru-RU" dirty="0"/>
          </a:p>
        </p:txBody>
      </p:sp>
      <p:sp>
        <p:nvSpPr>
          <p:cNvPr id="27" name="Picture173"/>
          <p:cNvSpPr>
            <a:spLocks/>
          </p:cNvSpPr>
          <p:nvPr/>
        </p:nvSpPr>
        <p:spPr bwMode="auto">
          <a:xfrm rot="18906180">
            <a:off x="5256186" y="3508758"/>
            <a:ext cx="345246" cy="345246"/>
          </a:xfrm>
          <a:custGeom>
            <a:avLst/>
            <a:gdLst>
              <a:gd name="T0" fmla="*/ 789 w 789"/>
              <a:gd name="T1" fmla="*/ 318 h 789"/>
              <a:gd name="T2" fmla="*/ 470 w 789"/>
              <a:gd name="T3" fmla="*/ 318 h 789"/>
              <a:gd name="T4" fmla="*/ 470 w 789"/>
              <a:gd name="T5" fmla="*/ 0 h 789"/>
              <a:gd name="T6" fmla="*/ 319 w 789"/>
              <a:gd name="T7" fmla="*/ 0 h 789"/>
              <a:gd name="T8" fmla="*/ 319 w 789"/>
              <a:gd name="T9" fmla="*/ 318 h 789"/>
              <a:gd name="T10" fmla="*/ 0 w 789"/>
              <a:gd name="T11" fmla="*/ 318 h 789"/>
              <a:gd name="T12" fmla="*/ 0 w 789"/>
              <a:gd name="T13" fmla="*/ 470 h 789"/>
              <a:gd name="T14" fmla="*/ 319 w 789"/>
              <a:gd name="T15" fmla="*/ 470 h 789"/>
              <a:gd name="T16" fmla="*/ 319 w 789"/>
              <a:gd name="T17" fmla="*/ 789 h 789"/>
              <a:gd name="T18" fmla="*/ 470 w 789"/>
              <a:gd name="T19" fmla="*/ 789 h 789"/>
              <a:gd name="T20" fmla="*/ 470 w 789"/>
              <a:gd name="T21" fmla="*/ 470 h 789"/>
              <a:gd name="T22" fmla="*/ 789 w 789"/>
              <a:gd name="T23" fmla="*/ 470 h 789"/>
              <a:gd name="T24" fmla="*/ 789 w 789"/>
              <a:gd name="T25" fmla="*/ 318 h 7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89" h="789">
                <a:moveTo>
                  <a:pt x="789" y="318"/>
                </a:moveTo>
                <a:lnTo>
                  <a:pt x="470" y="318"/>
                </a:lnTo>
                <a:lnTo>
                  <a:pt x="470" y="0"/>
                </a:lnTo>
                <a:lnTo>
                  <a:pt x="319" y="0"/>
                </a:lnTo>
                <a:lnTo>
                  <a:pt x="319" y="318"/>
                </a:lnTo>
                <a:lnTo>
                  <a:pt x="0" y="318"/>
                </a:lnTo>
                <a:lnTo>
                  <a:pt x="0" y="470"/>
                </a:lnTo>
                <a:lnTo>
                  <a:pt x="319" y="470"/>
                </a:lnTo>
                <a:lnTo>
                  <a:pt x="319" y="789"/>
                </a:lnTo>
                <a:lnTo>
                  <a:pt x="470" y="789"/>
                </a:lnTo>
                <a:lnTo>
                  <a:pt x="470" y="470"/>
                </a:lnTo>
                <a:lnTo>
                  <a:pt x="789" y="470"/>
                </a:lnTo>
                <a:lnTo>
                  <a:pt x="789" y="318"/>
                </a:lnTo>
                <a:close/>
              </a:path>
            </a:pathLst>
          </a:custGeom>
          <a:solidFill>
            <a:srgbClr val="E70303"/>
          </a:solidFill>
          <a:ln>
            <a:noFill/>
          </a:ln>
          <a:extLst/>
        </p:spPr>
        <p:txBody>
          <a:bodyPr vert="horz" wrap="square" lIns="75613" tIns="37806" rIns="75613" bIns="37806" numCol="1" anchor="t" anchorCtr="0" compatLnSpc="1">
            <a:prstTxWarp prst="textNoShape">
              <a:avLst/>
            </a:prstTxWarp>
          </a:bodyPr>
          <a:lstStyle/>
          <a:p>
            <a:endParaRPr lang="ru-RU" sz="1488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0189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305526" y="683404"/>
            <a:ext cx="8568952" cy="492442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373063" lvl="1" indent="-285750">
              <a:spcBef>
                <a:spcPts val="600"/>
              </a:spcBef>
              <a:spcAft>
                <a:spcPts val="600"/>
              </a:spcAft>
              <a:buFontTx/>
              <a:buChar char="-"/>
            </a:pPr>
            <a:endParaRPr lang="ru-RU" b="1" dirty="0" smtClean="0">
              <a:solidFill>
                <a:schemeClr val="accent3"/>
              </a:solidFill>
              <a:latin typeface="Arial Narrow" panose="020B0606020202030204" pitchFamily="34" charset="0"/>
            </a:endParaRPr>
          </a:p>
          <a:p>
            <a:pPr marL="373063" lvl="1" indent="-285750">
              <a:spcBef>
                <a:spcPts val="600"/>
              </a:spcBef>
              <a:spcAft>
                <a:spcPts val="600"/>
              </a:spcAft>
              <a:buFontTx/>
              <a:buChar char="-"/>
            </a:pPr>
            <a:endParaRPr lang="ru-RU" b="1" dirty="0">
              <a:solidFill>
                <a:schemeClr val="accent3"/>
              </a:solidFill>
              <a:latin typeface="Arial Narrow" panose="020B0606020202030204" pitchFamily="34" charset="0"/>
            </a:endParaRPr>
          </a:p>
          <a:p>
            <a:pPr marL="373063" lvl="1" indent="-285750">
              <a:spcBef>
                <a:spcPts val="600"/>
              </a:spcBef>
              <a:spcAft>
                <a:spcPts val="600"/>
              </a:spcAft>
              <a:buFontTx/>
              <a:buChar char="-"/>
            </a:pPr>
            <a:r>
              <a:rPr lang="ru-RU" b="1" dirty="0" smtClean="0">
                <a:solidFill>
                  <a:schemeClr val="accent3"/>
                </a:solidFill>
                <a:latin typeface="Arial Narrow" panose="020B0606020202030204" pitchFamily="34" charset="0"/>
              </a:rPr>
              <a:t>Низкое вовлечение российских производителей в реализацию нефтеперерабатывающих проектов компаний ТЭК</a:t>
            </a:r>
          </a:p>
          <a:p>
            <a:pPr marL="373063" lvl="1" indent="-285750">
              <a:spcBef>
                <a:spcPts val="600"/>
              </a:spcBef>
              <a:spcAft>
                <a:spcPts val="600"/>
              </a:spcAft>
              <a:buFontTx/>
              <a:buChar char="-"/>
            </a:pPr>
            <a:r>
              <a:rPr lang="ru-RU" b="1" dirty="0" smtClean="0">
                <a:solidFill>
                  <a:schemeClr val="accent3"/>
                </a:solidFill>
                <a:latin typeface="Arial Narrow" panose="020B0606020202030204" pitchFamily="34" charset="0"/>
              </a:rPr>
              <a:t>Ограничения доступа к технологиям </a:t>
            </a:r>
            <a:r>
              <a:rPr lang="ru-RU" b="1" dirty="0" smtClean="0">
                <a:solidFill>
                  <a:schemeClr val="accent3"/>
                </a:solidFill>
                <a:latin typeface="Arial Narrow" panose="020B0606020202030204" pitchFamily="34" charset="0"/>
              </a:rPr>
              <a:t>и в</a:t>
            </a:r>
            <a:r>
              <a:rPr lang="ru-RU" b="1" dirty="0" smtClean="0">
                <a:solidFill>
                  <a:schemeClr val="accent3"/>
                </a:solidFill>
                <a:latin typeface="Arial Narrow" panose="020B0606020202030204" pitchFamily="34" charset="0"/>
              </a:rPr>
              <a:t>озможности повышения уровня качества продукции поставщиками РФ</a:t>
            </a:r>
          </a:p>
          <a:p>
            <a:pPr marL="373063" lvl="1" indent="-285750">
              <a:spcBef>
                <a:spcPts val="600"/>
              </a:spcBef>
              <a:spcAft>
                <a:spcPts val="600"/>
              </a:spcAft>
              <a:buFontTx/>
              <a:buChar char="-"/>
            </a:pPr>
            <a:r>
              <a:rPr lang="ru-RU" b="1" dirty="0" smtClean="0">
                <a:solidFill>
                  <a:schemeClr val="accent3"/>
                </a:solidFill>
                <a:latin typeface="Arial Narrow" panose="020B0606020202030204" pitchFamily="34" charset="0"/>
              </a:rPr>
              <a:t>Ограничение рынков реализации продукции для российских производителей, в т.ч. на международных проектах</a:t>
            </a:r>
          </a:p>
          <a:p>
            <a:pPr marL="373063" lvl="1" indent="-285750">
              <a:spcBef>
                <a:spcPts val="600"/>
              </a:spcBef>
              <a:spcAft>
                <a:spcPts val="600"/>
              </a:spcAft>
              <a:buFontTx/>
              <a:buChar char="-"/>
            </a:pPr>
            <a:r>
              <a:rPr lang="ru-RU" b="1" dirty="0" smtClean="0">
                <a:solidFill>
                  <a:srgbClr val="FF0000"/>
                </a:solidFill>
                <a:latin typeface="Arial Narrow" panose="020B0606020202030204" pitchFamily="34" charset="0"/>
              </a:rPr>
              <a:t>Значительные риски </a:t>
            </a:r>
            <a:r>
              <a:rPr lang="ru-RU" b="1" dirty="0" err="1" smtClean="0">
                <a:solidFill>
                  <a:srgbClr val="FF0000"/>
                </a:solidFill>
                <a:latin typeface="Arial Narrow" panose="020B0606020202030204" pitchFamily="34" charset="0"/>
              </a:rPr>
              <a:t>санкционной</a:t>
            </a:r>
            <a:r>
              <a:rPr lang="ru-RU" b="1" dirty="0" smtClean="0">
                <a:solidFill>
                  <a:srgbClr val="FF0000"/>
                </a:solidFill>
                <a:latin typeface="Arial Narrow" panose="020B0606020202030204" pitchFamily="34" charset="0"/>
              </a:rPr>
              <a:t> политики как </a:t>
            </a:r>
            <a:r>
              <a:rPr lang="ru-RU" b="1" smtClean="0">
                <a:solidFill>
                  <a:srgbClr val="FF0000"/>
                </a:solidFill>
                <a:latin typeface="Arial Narrow" panose="020B0606020202030204" pitchFamily="34" charset="0"/>
              </a:rPr>
              <a:t>для лицензиаров</a:t>
            </a:r>
            <a:r>
              <a:rPr lang="ru-RU" b="1" dirty="0" smtClean="0">
                <a:solidFill>
                  <a:srgbClr val="FF0000"/>
                </a:solidFill>
                <a:latin typeface="Arial Narrow" panose="020B0606020202030204" pitchFamily="34" charset="0"/>
              </a:rPr>
              <a:t>, производителей, так и для заказчиков</a:t>
            </a:r>
          </a:p>
          <a:p>
            <a:pPr marL="373063" lvl="1" indent="-285750">
              <a:spcBef>
                <a:spcPts val="600"/>
              </a:spcBef>
              <a:spcAft>
                <a:spcPts val="600"/>
              </a:spcAft>
              <a:buFontTx/>
              <a:buChar char="-"/>
            </a:pPr>
            <a:endParaRPr lang="ru-RU" b="1" dirty="0" smtClean="0">
              <a:solidFill>
                <a:schemeClr val="accent3"/>
              </a:solidFill>
              <a:latin typeface="Arial Narrow" panose="020B0606020202030204" pitchFamily="34" charset="0"/>
            </a:endParaRPr>
          </a:p>
          <a:p>
            <a:pPr marL="357188" lvl="1" indent="-269875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endParaRPr lang="ru-RU" b="1" dirty="0">
              <a:solidFill>
                <a:schemeClr val="accent3"/>
              </a:solidFill>
              <a:latin typeface="Arial Narrow" panose="020B0606020202030204" pitchFamily="34" charset="0"/>
            </a:endParaRPr>
          </a:p>
          <a:p>
            <a:pPr marL="87313" lvl="1">
              <a:spcBef>
                <a:spcPts val="600"/>
              </a:spcBef>
              <a:spcAft>
                <a:spcPts val="600"/>
              </a:spcAft>
            </a:pPr>
            <a:endParaRPr lang="ru-RU" b="1" dirty="0">
              <a:solidFill>
                <a:schemeClr val="accent3"/>
              </a:solidFill>
              <a:latin typeface="Arial Narrow" panose="020B060602020203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51520" y="944724"/>
            <a:ext cx="8676964" cy="216024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71587" y="544614"/>
            <a:ext cx="8568952" cy="80021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357188" lvl="1" indent="-269875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ru-RU" b="1" dirty="0">
                <a:solidFill>
                  <a:schemeClr val="accent3"/>
                </a:solidFill>
                <a:latin typeface="Arial Narrow" panose="020B0606020202030204" pitchFamily="34" charset="0"/>
              </a:rPr>
              <a:t>Проблематика</a:t>
            </a:r>
          </a:p>
          <a:p>
            <a:pPr marL="87313" lvl="1">
              <a:spcBef>
                <a:spcPts val="600"/>
              </a:spcBef>
              <a:spcAft>
                <a:spcPts val="600"/>
              </a:spcAft>
            </a:pPr>
            <a:endParaRPr lang="ru-RU" b="1" dirty="0">
              <a:solidFill>
                <a:schemeClr val="accent3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9709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50504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latin typeface="Arial Narrow" panose="020B0606020202030204" pitchFamily="34" charset="0"/>
              </a:rPr>
              <a:t>Предложения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907704" y="2372687"/>
            <a:ext cx="6480720" cy="120032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171450">
              <a:spcBef>
                <a:spcPts val="600"/>
              </a:spcBef>
            </a:pPr>
            <a:r>
              <a:rPr lang="ru-RU" dirty="0">
                <a:solidFill>
                  <a:srgbClr val="3C3C3C"/>
                </a:solidFill>
                <a:latin typeface="Arial Narrow" panose="020B0606020202030204" pitchFamily="34" charset="0"/>
              </a:rPr>
              <a:t>Консолидировать усилия и компетенции отрасли по разработке </a:t>
            </a:r>
            <a:r>
              <a:rPr lang="ru-RU" dirty="0" smtClean="0">
                <a:solidFill>
                  <a:srgbClr val="3C3C3C"/>
                </a:solidFill>
                <a:latin typeface="Arial Narrow" panose="020B0606020202030204" pitchFamily="34" charset="0"/>
              </a:rPr>
              <a:t/>
            </a:r>
            <a:br>
              <a:rPr lang="ru-RU" dirty="0" smtClean="0">
                <a:solidFill>
                  <a:srgbClr val="3C3C3C"/>
                </a:solidFill>
                <a:latin typeface="Arial Narrow" panose="020B0606020202030204" pitchFamily="34" charset="0"/>
              </a:rPr>
            </a:br>
            <a:r>
              <a:rPr lang="ru-RU" dirty="0" smtClean="0">
                <a:solidFill>
                  <a:srgbClr val="3C3C3C"/>
                </a:solidFill>
                <a:latin typeface="Arial Narrow" panose="020B0606020202030204" pitchFamily="34" charset="0"/>
              </a:rPr>
              <a:t>и внедрению новых </a:t>
            </a:r>
            <a:r>
              <a:rPr lang="ru-RU" dirty="0">
                <a:solidFill>
                  <a:srgbClr val="3C3C3C"/>
                </a:solidFill>
                <a:latin typeface="Arial Narrow" panose="020B0606020202030204" pitchFamily="34" charset="0"/>
              </a:rPr>
              <a:t>российских технологий и </a:t>
            </a:r>
            <a:r>
              <a:rPr lang="ru-RU" dirty="0" smtClean="0">
                <a:solidFill>
                  <a:srgbClr val="3C3C3C"/>
                </a:solidFill>
                <a:latin typeface="Arial Narrow" panose="020B0606020202030204" pitchFamily="34" charset="0"/>
              </a:rPr>
              <a:t>оборудования — совместно осуществлять технологическое развитие и быть технологически независимыми</a:t>
            </a:r>
            <a:endParaRPr lang="ru-RU" dirty="0">
              <a:solidFill>
                <a:srgbClr val="3C3C3C"/>
              </a:solidFill>
              <a:latin typeface="Arial Narrow" panose="020B060602020203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793315" y="1340768"/>
            <a:ext cx="601904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>
              <a:spcBef>
                <a:spcPts val="600"/>
              </a:spcBef>
            </a:pPr>
            <a:r>
              <a:rPr lang="ru-RU" dirty="0">
                <a:solidFill>
                  <a:srgbClr val="3C3C3C"/>
                </a:solidFill>
                <a:latin typeface="Arial Narrow" panose="020B0606020202030204" pitchFamily="34" charset="0"/>
              </a:rPr>
              <a:t>Создать </a:t>
            </a:r>
            <a:r>
              <a:rPr lang="ru-RU" dirty="0" smtClean="0">
                <a:solidFill>
                  <a:srgbClr val="3C3C3C"/>
                </a:solidFill>
                <a:latin typeface="Arial Narrow" panose="020B0606020202030204" pitchFamily="34" charset="0"/>
              </a:rPr>
              <a:t>среду для роста применения</a:t>
            </a:r>
            <a:r>
              <a:rPr lang="en-US" dirty="0" smtClean="0">
                <a:solidFill>
                  <a:srgbClr val="3C3C3C"/>
                </a:solidFill>
                <a:latin typeface="Arial Narrow" panose="020B0606020202030204" pitchFamily="34" charset="0"/>
              </a:rPr>
              <a:t> </a:t>
            </a:r>
            <a:r>
              <a:rPr lang="ru-RU" dirty="0" smtClean="0">
                <a:solidFill>
                  <a:srgbClr val="3C3C3C"/>
                </a:solidFill>
                <a:latin typeface="Arial Narrow" panose="020B0606020202030204" pitchFamily="34" charset="0"/>
              </a:rPr>
              <a:t>и продвижения </a:t>
            </a:r>
          </a:p>
          <a:p>
            <a:pPr marL="171450"/>
            <a:r>
              <a:rPr lang="ru-RU" dirty="0" smtClean="0">
                <a:solidFill>
                  <a:srgbClr val="3C3C3C"/>
                </a:solidFill>
                <a:latin typeface="Arial Narrow" panose="020B0606020202030204" pitchFamily="34" charset="0"/>
              </a:rPr>
              <a:t>российских </a:t>
            </a:r>
            <a:r>
              <a:rPr lang="ru-RU" dirty="0">
                <a:solidFill>
                  <a:srgbClr val="3C3C3C"/>
                </a:solidFill>
                <a:latin typeface="Arial Narrow" panose="020B0606020202030204" pitchFamily="34" charset="0"/>
              </a:rPr>
              <a:t>технологий и </a:t>
            </a:r>
            <a:r>
              <a:rPr lang="ru-RU" dirty="0" smtClean="0">
                <a:solidFill>
                  <a:srgbClr val="3C3C3C"/>
                </a:solidFill>
                <a:latin typeface="Arial Narrow" panose="020B0606020202030204" pitchFamily="34" charset="0"/>
              </a:rPr>
              <a:t>оборудования </a:t>
            </a:r>
            <a:r>
              <a:rPr lang="ru-RU" dirty="0" smtClean="0">
                <a:solidFill>
                  <a:srgbClr val="706F6F">
                    <a:lumMod val="50000"/>
                  </a:srgb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а рынке</a:t>
            </a:r>
            <a:endParaRPr lang="ru-RU" dirty="0">
              <a:solidFill>
                <a:srgbClr val="706F6F">
                  <a:lumMod val="50000"/>
                </a:srgb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11268" name="Picture 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134" y="1340768"/>
            <a:ext cx="726522" cy="7463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71" name="Picture 7" descr="I:\My Pictures\imagesDZ6XWG6F.png"/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9914" b="89655" l="4147" r="89862">
                        <a14:foregroundMark x1="26728" y1="44828" x2="26728" y2="44828"/>
                        <a14:foregroundMark x1="32719" y1="30603" x2="32719" y2="30603"/>
                        <a14:foregroundMark x1="46544" y1="25431" x2="46544" y2="25431"/>
                        <a14:foregroundMark x1="66820" y1="31466" x2="66820" y2="31466"/>
                        <a14:foregroundMark x1="54378" y1="47845" x2="54378" y2="47845"/>
                        <a14:foregroundMark x1="69124" y1="47845" x2="69124" y2="47845"/>
                        <a14:foregroundMark x1="66820" y1="62500" x2="66820" y2="62500"/>
                        <a14:foregroundMark x1="50691" y1="68103" x2="50691" y2="68103"/>
                        <a14:foregroundMark x1="28111" y1="67241" x2="28111" y2="67241"/>
                        <a14:foregroundMark x1="4147" y1="70259" x2="4147" y2="7025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448" y="2420888"/>
            <a:ext cx="1241704" cy="13275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907704" y="3991997"/>
            <a:ext cx="6264696" cy="877163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171450">
              <a:spcBef>
                <a:spcPts val="600"/>
              </a:spcBef>
            </a:pPr>
            <a:r>
              <a:rPr lang="ru-RU" dirty="0" smtClean="0">
                <a:solidFill>
                  <a:srgbClr val="3C3C3C"/>
                </a:solidFill>
                <a:latin typeface="Arial Narrow" panose="020B0606020202030204" pitchFamily="34" charset="0"/>
              </a:rPr>
              <a:t>Создать платформу для </a:t>
            </a:r>
            <a:r>
              <a:rPr lang="ru-RU" dirty="0" err="1" smtClean="0">
                <a:solidFill>
                  <a:srgbClr val="3C3C3C"/>
                </a:solidFill>
                <a:latin typeface="Arial Narrow" panose="020B0606020202030204" pitchFamily="34" charset="0"/>
              </a:rPr>
              <a:t>митигации</a:t>
            </a:r>
            <a:r>
              <a:rPr lang="ru-RU" dirty="0" smtClean="0">
                <a:solidFill>
                  <a:srgbClr val="3C3C3C"/>
                </a:solidFill>
                <a:latin typeface="Arial Narrow" panose="020B0606020202030204" pitchFamily="34" charset="0"/>
              </a:rPr>
              <a:t> рисков </a:t>
            </a:r>
            <a:r>
              <a:rPr lang="ru-RU" dirty="0" err="1" smtClean="0">
                <a:solidFill>
                  <a:srgbClr val="3C3C3C"/>
                </a:solidFill>
                <a:latin typeface="Arial Narrow" panose="020B0606020202030204" pitchFamily="34" charset="0"/>
              </a:rPr>
              <a:t>санкционной</a:t>
            </a:r>
            <a:r>
              <a:rPr lang="ru-RU" dirty="0" smtClean="0">
                <a:solidFill>
                  <a:srgbClr val="3C3C3C"/>
                </a:solidFill>
                <a:latin typeface="Arial Narrow" panose="020B0606020202030204" pitchFamily="34" charset="0"/>
              </a:rPr>
              <a:t> политики </a:t>
            </a:r>
          </a:p>
          <a:p>
            <a:pPr marL="171450">
              <a:spcBef>
                <a:spcPts val="600"/>
              </a:spcBef>
            </a:pPr>
            <a:r>
              <a:rPr lang="ru-RU" sz="1400" i="1" dirty="0">
                <a:solidFill>
                  <a:srgbClr val="3C3C3C"/>
                </a:solidFill>
                <a:latin typeface="Arial Narrow" panose="020B0606020202030204" pitchFamily="34" charset="0"/>
              </a:rPr>
              <a:t>и протекционизма западных производителей, в случаях где отечественный производитель способен конкурировать</a:t>
            </a:r>
          </a:p>
        </p:txBody>
      </p:sp>
      <p:pic>
        <p:nvPicPr>
          <p:cNvPr id="25603" name="Picture 3" descr="I:\My Pictures\34543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200" y="4115632"/>
            <a:ext cx="691448" cy="6914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hape 2558"/>
          <p:cNvSpPr/>
          <p:nvPr/>
        </p:nvSpPr>
        <p:spPr>
          <a:xfrm>
            <a:off x="323528" y="5732486"/>
            <a:ext cx="539960" cy="53996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moveTo>
                  <a:pt x="10800" y="0"/>
                </a:moveTo>
                <a:cubicBezTo>
                  <a:pt x="4836" y="0"/>
                  <a:pt x="0" y="4836"/>
                  <a:pt x="0" y="10800"/>
                </a:cubicBezTo>
                <a:cubicBezTo>
                  <a:pt x="0" y="16765"/>
                  <a:pt x="4836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11782" y="5891"/>
                </a:moveTo>
                <a:lnTo>
                  <a:pt x="9818" y="5891"/>
                </a:lnTo>
                <a:cubicBezTo>
                  <a:pt x="9547" y="5891"/>
                  <a:pt x="9327" y="6111"/>
                  <a:pt x="9327" y="6382"/>
                </a:cubicBezTo>
                <a:cubicBezTo>
                  <a:pt x="9327" y="6394"/>
                  <a:pt x="9334" y="6405"/>
                  <a:pt x="9334" y="6417"/>
                </a:cubicBezTo>
                <a:lnTo>
                  <a:pt x="9328" y="6417"/>
                </a:lnTo>
                <a:lnTo>
                  <a:pt x="9819" y="12308"/>
                </a:lnTo>
                <a:lnTo>
                  <a:pt x="9825" y="12307"/>
                </a:lnTo>
                <a:cubicBezTo>
                  <a:pt x="9844" y="12562"/>
                  <a:pt x="10050" y="12764"/>
                  <a:pt x="10309" y="12764"/>
                </a:cubicBezTo>
                <a:lnTo>
                  <a:pt x="11291" y="12764"/>
                </a:lnTo>
                <a:cubicBezTo>
                  <a:pt x="11550" y="12764"/>
                  <a:pt x="11756" y="12562"/>
                  <a:pt x="11775" y="12307"/>
                </a:cubicBezTo>
                <a:lnTo>
                  <a:pt x="11781" y="12308"/>
                </a:lnTo>
                <a:lnTo>
                  <a:pt x="12272" y="6417"/>
                </a:lnTo>
                <a:lnTo>
                  <a:pt x="12266" y="6417"/>
                </a:lnTo>
                <a:cubicBezTo>
                  <a:pt x="12267" y="6405"/>
                  <a:pt x="12273" y="6394"/>
                  <a:pt x="12273" y="6382"/>
                </a:cubicBezTo>
                <a:cubicBezTo>
                  <a:pt x="12273" y="6111"/>
                  <a:pt x="12053" y="5891"/>
                  <a:pt x="11782" y="5891"/>
                </a:cubicBezTo>
                <a:moveTo>
                  <a:pt x="10800" y="13745"/>
                </a:moveTo>
                <a:cubicBezTo>
                  <a:pt x="10258" y="13745"/>
                  <a:pt x="9818" y="14186"/>
                  <a:pt x="9818" y="14727"/>
                </a:cubicBezTo>
                <a:cubicBezTo>
                  <a:pt x="9818" y="15269"/>
                  <a:pt x="10258" y="15709"/>
                  <a:pt x="10800" y="15709"/>
                </a:cubicBezTo>
                <a:cubicBezTo>
                  <a:pt x="11342" y="15709"/>
                  <a:pt x="11782" y="15269"/>
                  <a:pt x="11782" y="14727"/>
                </a:cubicBezTo>
                <a:cubicBezTo>
                  <a:pt x="11782" y="14186"/>
                  <a:pt x="11342" y="13745"/>
                  <a:pt x="10800" y="13745"/>
                </a:cubicBezTo>
              </a:path>
            </a:pathLst>
          </a:custGeom>
          <a:solidFill>
            <a:schemeClr val="accent2">
              <a:lumMod val="75000"/>
            </a:schemeClr>
          </a:solidFill>
          <a:ln w="12700">
            <a:miter lim="400000"/>
          </a:ln>
        </p:spPr>
        <p:txBody>
          <a:bodyPr lIns="19045" tIns="19045" rIns="19045" bIns="19045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>
              <a:latin typeface="Source Sans Pro Light" charset="0"/>
              <a:ea typeface="Source Sans Pro Light" charset="0"/>
              <a:cs typeface="Source Sans Pro Light" charset="0"/>
            </a:endParaRPr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>
            <a:off x="388960" y="5373216"/>
            <a:ext cx="8287495" cy="0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1043608" y="5805264"/>
            <a:ext cx="8712968" cy="64633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b="1" dirty="0">
                <a:solidFill>
                  <a:schemeClr val="accent2">
                    <a:lumMod val="75000"/>
                  </a:schemeClr>
                </a:solidFill>
                <a:latin typeface="Arial Narrow" panose="020B0606020202030204" pitchFamily="34" charset="0"/>
              </a:rPr>
              <a:t>Необходимо сформировать альтернативный </a:t>
            </a:r>
            <a:r>
              <a:rPr lang="en-US" b="1" dirty="0">
                <a:solidFill>
                  <a:schemeClr val="accent2">
                    <a:lumMod val="75000"/>
                  </a:schemeClr>
                </a:solidFill>
                <a:latin typeface="Arial Narrow" panose="020B0606020202030204" pitchFamily="34" charset="0"/>
              </a:rPr>
              <a:t>API </a:t>
            </a:r>
            <a:r>
              <a:rPr lang="ru-RU" b="1" dirty="0">
                <a:solidFill>
                  <a:schemeClr val="accent2">
                    <a:lumMod val="75000"/>
                  </a:schemeClr>
                </a:solidFill>
                <a:latin typeface="Arial Narrow" panose="020B0606020202030204" pitchFamily="34" charset="0"/>
              </a:rPr>
              <a:t>отраслевой центр </a:t>
            </a:r>
            <a:r>
              <a:rPr lang="ru-RU" b="1" dirty="0" smtClean="0">
                <a:solidFill>
                  <a:schemeClr val="accent2">
                    <a:lumMod val="75000"/>
                  </a:schemeClr>
                </a:solidFill>
                <a:latin typeface="Arial Narrow" panose="020B0606020202030204" pitchFamily="34" charset="0"/>
              </a:rPr>
              <a:t>компетенций – Российский институт нефти (РИН)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4125436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latin typeface="Arial Narrow" panose="020B0606020202030204" pitchFamily="34" charset="0"/>
              </a:rPr>
              <a:t>Предложение — создать Российский институт нефти (РИН)</a:t>
            </a:r>
            <a:endParaRPr lang="ru-RU" dirty="0">
              <a:latin typeface="Arial Narrow" panose="020B0606020202030204" pitchFamily="34" charset="0"/>
            </a:endParaRPr>
          </a:p>
        </p:txBody>
      </p:sp>
      <p:grpSp>
        <p:nvGrpSpPr>
          <p:cNvPr id="23" name="Группа 22"/>
          <p:cNvGrpSpPr/>
          <p:nvPr/>
        </p:nvGrpSpPr>
        <p:grpSpPr>
          <a:xfrm>
            <a:off x="332224" y="2151079"/>
            <a:ext cx="3671715" cy="2077278"/>
            <a:chOff x="2666268" y="2516864"/>
            <a:chExt cx="2913844" cy="1744255"/>
          </a:xfrm>
        </p:grpSpPr>
        <p:sp>
          <p:nvSpPr>
            <p:cNvPr id="24" name="Прямоугольник 23"/>
            <p:cNvSpPr/>
            <p:nvPr/>
          </p:nvSpPr>
          <p:spPr>
            <a:xfrm>
              <a:off x="3242468" y="2962831"/>
              <a:ext cx="1693643" cy="387652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>
                <a:spcBef>
                  <a:spcPts val="600"/>
                </a:spcBef>
              </a:pPr>
              <a:endParaRPr lang="ru-RU" sz="2400" b="1" dirty="0">
                <a:solidFill>
                  <a:schemeClr val="accent3"/>
                </a:solidFill>
                <a:latin typeface="Arial Narrow" panose="020B0606020202030204" pitchFamily="34" charset="0"/>
              </a:endParaRPr>
            </a:p>
          </p:txBody>
        </p:sp>
        <p:grpSp>
          <p:nvGrpSpPr>
            <p:cNvPr id="25" name="Группа 24"/>
            <p:cNvGrpSpPr/>
            <p:nvPr/>
          </p:nvGrpSpPr>
          <p:grpSpPr>
            <a:xfrm>
              <a:off x="2666268" y="2516864"/>
              <a:ext cx="2913844" cy="1744255"/>
              <a:chOff x="3309506" y="1506730"/>
              <a:chExt cx="2525685" cy="1427771"/>
            </a:xfrm>
          </p:grpSpPr>
          <p:sp>
            <p:nvSpPr>
              <p:cNvPr id="26" name="Овал 25"/>
              <p:cNvSpPr/>
              <p:nvPr/>
            </p:nvSpPr>
            <p:spPr>
              <a:xfrm rot="2815712">
                <a:off x="3858463" y="957773"/>
                <a:ext cx="1427771" cy="2525685"/>
              </a:xfrm>
              <a:prstGeom prst="ellipse">
                <a:avLst/>
              </a:prstGeom>
              <a:noFill/>
              <a:ln w="3175">
                <a:solidFill>
                  <a:schemeClr val="accent1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600"/>
                  </a:spcBef>
                </a:pPr>
                <a:endParaRPr lang="en-US" sz="1200" dirty="0" smtClean="0">
                  <a:solidFill>
                    <a:schemeClr val="tx1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28" name="Овал 27"/>
              <p:cNvSpPr/>
              <p:nvPr/>
            </p:nvSpPr>
            <p:spPr>
              <a:xfrm rot="18784288" flipH="1">
                <a:off x="3858463" y="957773"/>
                <a:ext cx="1427771" cy="2525685"/>
              </a:xfrm>
              <a:prstGeom prst="ellipse">
                <a:avLst/>
              </a:prstGeom>
              <a:noFill/>
              <a:ln w="3175">
                <a:solidFill>
                  <a:schemeClr val="accent1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600"/>
                  </a:spcBef>
                </a:pPr>
                <a:endParaRPr lang="en-US" sz="1200" dirty="0" smtClean="0">
                  <a:solidFill>
                    <a:schemeClr val="tx1"/>
                  </a:solidFill>
                  <a:latin typeface="Arial Narrow" panose="020B0606020202030204" pitchFamily="34" charset="0"/>
                </a:endParaRPr>
              </a:p>
            </p:txBody>
          </p:sp>
        </p:grpSp>
      </p:grpSp>
      <p:sp>
        <p:nvSpPr>
          <p:cNvPr id="29" name="TextBox 28"/>
          <p:cNvSpPr txBox="1"/>
          <p:nvPr/>
        </p:nvSpPr>
        <p:spPr>
          <a:xfrm>
            <a:off x="2966488" y="1501757"/>
            <a:ext cx="522043" cy="520641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txBody>
          <a:bodyPr wrap="none" lIns="0" rIns="0" rtlCol="0" anchor="ctr">
            <a:noAutofit/>
          </a:bodyPr>
          <a:lstStyle>
            <a:defPPr>
              <a:defRPr lang="ru-RU"/>
            </a:defPPr>
            <a:lvl1pPr>
              <a:spcBef>
                <a:spcPts val="600"/>
              </a:spcBef>
              <a:defRPr sz="1600" b="1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algn="ctr"/>
            <a:endParaRPr lang="ru-RU" sz="2400" dirty="0">
              <a:solidFill>
                <a:schemeClr val="tx1"/>
              </a:solidFill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2666456" y="2082699"/>
            <a:ext cx="1182115" cy="2720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ru-RU" sz="14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ВИНК</a:t>
            </a:r>
            <a:endParaRPr lang="ru-RU" sz="14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31" name="Picture166"/>
          <p:cNvSpPr>
            <a:spLocks noChangeAspect="1" noEditPoints="1"/>
          </p:cNvSpPr>
          <p:nvPr/>
        </p:nvSpPr>
        <p:spPr bwMode="auto">
          <a:xfrm>
            <a:off x="3089686" y="1591028"/>
            <a:ext cx="275647" cy="275647"/>
          </a:xfrm>
          <a:custGeom>
            <a:avLst/>
            <a:gdLst>
              <a:gd name="T0" fmla="*/ 837 w 912"/>
              <a:gd name="T1" fmla="*/ 580 h 912"/>
              <a:gd name="T2" fmla="*/ 837 w 912"/>
              <a:gd name="T3" fmla="*/ 423 h 912"/>
              <a:gd name="T4" fmla="*/ 830 w 912"/>
              <a:gd name="T5" fmla="*/ 409 h 912"/>
              <a:gd name="T6" fmla="*/ 499 w 912"/>
              <a:gd name="T7" fmla="*/ 290 h 912"/>
              <a:gd name="T8" fmla="*/ 497 w 912"/>
              <a:gd name="T9" fmla="*/ 283 h 912"/>
              <a:gd name="T10" fmla="*/ 485 w 912"/>
              <a:gd name="T11" fmla="*/ 274 h 912"/>
              <a:gd name="T12" fmla="*/ 267 w 912"/>
              <a:gd name="T13" fmla="*/ 219 h 912"/>
              <a:gd name="T14" fmla="*/ 271 w 912"/>
              <a:gd name="T15" fmla="*/ 165 h 912"/>
              <a:gd name="T16" fmla="*/ 268 w 912"/>
              <a:gd name="T17" fmla="*/ 83 h 912"/>
              <a:gd name="T18" fmla="*/ 220 w 912"/>
              <a:gd name="T19" fmla="*/ 0 h 912"/>
              <a:gd name="T20" fmla="*/ 182 w 912"/>
              <a:gd name="T21" fmla="*/ 40 h 912"/>
              <a:gd name="T22" fmla="*/ 121 w 912"/>
              <a:gd name="T23" fmla="*/ 118 h 912"/>
              <a:gd name="T24" fmla="*/ 88 w 912"/>
              <a:gd name="T25" fmla="*/ 175 h 912"/>
              <a:gd name="T26" fmla="*/ 77 w 912"/>
              <a:gd name="T27" fmla="*/ 203 h 912"/>
              <a:gd name="T28" fmla="*/ 67 w 912"/>
              <a:gd name="T29" fmla="*/ 248 h 912"/>
              <a:gd name="T30" fmla="*/ 63 w 912"/>
              <a:gd name="T31" fmla="*/ 332 h 912"/>
              <a:gd name="T32" fmla="*/ 71 w 912"/>
              <a:gd name="T33" fmla="*/ 426 h 912"/>
              <a:gd name="T34" fmla="*/ 91 w 912"/>
              <a:gd name="T35" fmla="*/ 852 h 912"/>
              <a:gd name="T36" fmla="*/ 912 w 912"/>
              <a:gd name="T37" fmla="*/ 912 h 912"/>
              <a:gd name="T38" fmla="*/ 496 w 912"/>
              <a:gd name="T39" fmla="*/ 515 h 912"/>
              <a:gd name="T40" fmla="*/ 496 w 912"/>
              <a:gd name="T41" fmla="*/ 515 h 912"/>
              <a:gd name="T42" fmla="*/ 459 w 912"/>
              <a:gd name="T43" fmla="*/ 310 h 912"/>
              <a:gd name="T44" fmla="*/ 469 w 912"/>
              <a:gd name="T45" fmla="*/ 324 h 912"/>
              <a:gd name="T46" fmla="*/ 465 w 912"/>
              <a:gd name="T47" fmla="*/ 335 h 912"/>
              <a:gd name="T48" fmla="*/ 454 w 912"/>
              <a:gd name="T49" fmla="*/ 339 h 912"/>
              <a:gd name="T50" fmla="*/ 440 w 912"/>
              <a:gd name="T51" fmla="*/ 329 h 912"/>
              <a:gd name="T52" fmla="*/ 440 w 912"/>
              <a:gd name="T53" fmla="*/ 318 h 912"/>
              <a:gd name="T54" fmla="*/ 454 w 912"/>
              <a:gd name="T55" fmla="*/ 308 h 912"/>
              <a:gd name="T56" fmla="*/ 460 w 912"/>
              <a:gd name="T57" fmla="*/ 373 h 912"/>
              <a:gd name="T58" fmla="*/ 432 w 912"/>
              <a:gd name="T59" fmla="*/ 440 h 912"/>
              <a:gd name="T60" fmla="*/ 396 w 912"/>
              <a:gd name="T61" fmla="*/ 606 h 912"/>
              <a:gd name="T62" fmla="*/ 509 w 912"/>
              <a:gd name="T63" fmla="*/ 570 h 912"/>
              <a:gd name="T64" fmla="*/ 509 w 912"/>
              <a:gd name="T65" fmla="*/ 570 h 912"/>
              <a:gd name="T66" fmla="*/ 234 w 912"/>
              <a:gd name="T67" fmla="*/ 88 h 912"/>
              <a:gd name="T68" fmla="*/ 223 w 912"/>
              <a:gd name="T69" fmla="*/ 144 h 912"/>
              <a:gd name="T70" fmla="*/ 189 w 912"/>
              <a:gd name="T71" fmla="*/ 196 h 912"/>
              <a:gd name="T72" fmla="*/ 124 w 912"/>
              <a:gd name="T73" fmla="*/ 177 h 912"/>
              <a:gd name="T74" fmla="*/ 158 w 912"/>
              <a:gd name="T75" fmla="*/ 126 h 912"/>
              <a:gd name="T76" fmla="*/ 197 w 912"/>
              <a:gd name="T77" fmla="*/ 75 h 912"/>
              <a:gd name="T78" fmla="*/ 164 w 912"/>
              <a:gd name="T79" fmla="*/ 273 h 912"/>
              <a:gd name="T80" fmla="*/ 161 w 912"/>
              <a:gd name="T81" fmla="*/ 337 h 912"/>
              <a:gd name="T82" fmla="*/ 136 w 912"/>
              <a:gd name="T83" fmla="*/ 388 h 912"/>
              <a:gd name="T84" fmla="*/ 98 w 912"/>
              <a:gd name="T85" fmla="*/ 344 h 912"/>
              <a:gd name="T86" fmla="*/ 101 w 912"/>
              <a:gd name="T87" fmla="*/ 252 h 912"/>
              <a:gd name="T88" fmla="*/ 274 w 912"/>
              <a:gd name="T89" fmla="*/ 852 h 912"/>
              <a:gd name="T90" fmla="*/ 117 w 912"/>
              <a:gd name="T91" fmla="*/ 461 h 912"/>
              <a:gd name="T92" fmla="*/ 180 w 912"/>
              <a:gd name="T93" fmla="*/ 389 h 912"/>
              <a:gd name="T94" fmla="*/ 227 w 912"/>
              <a:gd name="T95" fmla="*/ 323 h 912"/>
              <a:gd name="T96" fmla="*/ 409 w 912"/>
              <a:gd name="T97" fmla="*/ 357 h 912"/>
              <a:gd name="T98" fmla="*/ 411 w 912"/>
              <a:gd name="T99" fmla="*/ 366 h 912"/>
              <a:gd name="T100" fmla="*/ 323 w 912"/>
              <a:gd name="T101" fmla="*/ 791 h 912"/>
              <a:gd name="T102" fmla="*/ 387 w 912"/>
              <a:gd name="T103" fmla="*/ 642 h 912"/>
              <a:gd name="T104" fmla="*/ 354 w 912"/>
              <a:gd name="T105" fmla="*/ 791 h 912"/>
              <a:gd name="T106" fmla="*/ 558 w 912"/>
              <a:gd name="T107" fmla="*/ 791 h 912"/>
              <a:gd name="T108" fmla="*/ 638 w 912"/>
              <a:gd name="T109" fmla="*/ 852 h 912"/>
              <a:gd name="T110" fmla="*/ 498 w 912"/>
              <a:gd name="T111" fmla="*/ 386 h 912"/>
              <a:gd name="T112" fmla="*/ 793 w 912"/>
              <a:gd name="T113" fmla="*/ 580 h 9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912" h="912">
                <a:moveTo>
                  <a:pt x="819" y="852"/>
                </a:moveTo>
                <a:lnTo>
                  <a:pt x="819" y="580"/>
                </a:lnTo>
                <a:lnTo>
                  <a:pt x="837" y="580"/>
                </a:lnTo>
                <a:lnTo>
                  <a:pt x="837" y="430"/>
                </a:lnTo>
                <a:lnTo>
                  <a:pt x="837" y="430"/>
                </a:lnTo>
                <a:lnTo>
                  <a:pt x="837" y="423"/>
                </a:lnTo>
                <a:lnTo>
                  <a:pt x="836" y="415"/>
                </a:lnTo>
                <a:lnTo>
                  <a:pt x="833" y="410"/>
                </a:lnTo>
                <a:lnTo>
                  <a:pt x="830" y="409"/>
                </a:lnTo>
                <a:lnTo>
                  <a:pt x="828" y="407"/>
                </a:lnTo>
                <a:lnTo>
                  <a:pt x="499" y="297"/>
                </a:lnTo>
                <a:lnTo>
                  <a:pt x="499" y="290"/>
                </a:lnTo>
                <a:lnTo>
                  <a:pt x="499" y="290"/>
                </a:lnTo>
                <a:lnTo>
                  <a:pt x="498" y="286"/>
                </a:lnTo>
                <a:lnTo>
                  <a:pt x="497" y="283"/>
                </a:lnTo>
                <a:lnTo>
                  <a:pt x="494" y="278"/>
                </a:lnTo>
                <a:lnTo>
                  <a:pt x="488" y="275"/>
                </a:lnTo>
                <a:lnTo>
                  <a:pt x="485" y="274"/>
                </a:lnTo>
                <a:lnTo>
                  <a:pt x="482" y="273"/>
                </a:lnTo>
                <a:lnTo>
                  <a:pt x="427" y="273"/>
                </a:lnTo>
                <a:lnTo>
                  <a:pt x="267" y="219"/>
                </a:lnTo>
                <a:lnTo>
                  <a:pt x="267" y="219"/>
                </a:lnTo>
                <a:lnTo>
                  <a:pt x="269" y="192"/>
                </a:lnTo>
                <a:lnTo>
                  <a:pt x="271" y="165"/>
                </a:lnTo>
                <a:lnTo>
                  <a:pt x="271" y="136"/>
                </a:lnTo>
                <a:lnTo>
                  <a:pt x="270" y="109"/>
                </a:lnTo>
                <a:lnTo>
                  <a:pt x="268" y="83"/>
                </a:lnTo>
                <a:lnTo>
                  <a:pt x="266" y="57"/>
                </a:lnTo>
                <a:lnTo>
                  <a:pt x="260" y="13"/>
                </a:lnTo>
                <a:lnTo>
                  <a:pt x="220" y="0"/>
                </a:lnTo>
                <a:lnTo>
                  <a:pt x="220" y="0"/>
                </a:lnTo>
                <a:lnTo>
                  <a:pt x="203" y="18"/>
                </a:lnTo>
                <a:lnTo>
                  <a:pt x="182" y="40"/>
                </a:lnTo>
                <a:lnTo>
                  <a:pt x="162" y="64"/>
                </a:lnTo>
                <a:lnTo>
                  <a:pt x="142" y="90"/>
                </a:lnTo>
                <a:lnTo>
                  <a:pt x="121" y="118"/>
                </a:lnTo>
                <a:lnTo>
                  <a:pt x="103" y="146"/>
                </a:lnTo>
                <a:lnTo>
                  <a:pt x="95" y="161"/>
                </a:lnTo>
                <a:lnTo>
                  <a:pt x="88" y="175"/>
                </a:lnTo>
                <a:lnTo>
                  <a:pt x="82" y="189"/>
                </a:lnTo>
                <a:lnTo>
                  <a:pt x="77" y="203"/>
                </a:lnTo>
                <a:lnTo>
                  <a:pt x="77" y="203"/>
                </a:lnTo>
                <a:lnTo>
                  <a:pt x="73" y="217"/>
                </a:lnTo>
                <a:lnTo>
                  <a:pt x="70" y="232"/>
                </a:lnTo>
                <a:lnTo>
                  <a:pt x="67" y="248"/>
                </a:lnTo>
                <a:lnTo>
                  <a:pt x="65" y="264"/>
                </a:lnTo>
                <a:lnTo>
                  <a:pt x="63" y="297"/>
                </a:lnTo>
                <a:lnTo>
                  <a:pt x="63" y="332"/>
                </a:lnTo>
                <a:lnTo>
                  <a:pt x="64" y="365"/>
                </a:lnTo>
                <a:lnTo>
                  <a:pt x="68" y="397"/>
                </a:lnTo>
                <a:lnTo>
                  <a:pt x="71" y="426"/>
                </a:lnTo>
                <a:lnTo>
                  <a:pt x="74" y="451"/>
                </a:lnTo>
                <a:lnTo>
                  <a:pt x="91" y="456"/>
                </a:lnTo>
                <a:lnTo>
                  <a:pt x="91" y="852"/>
                </a:lnTo>
                <a:lnTo>
                  <a:pt x="0" y="852"/>
                </a:lnTo>
                <a:lnTo>
                  <a:pt x="0" y="912"/>
                </a:lnTo>
                <a:lnTo>
                  <a:pt x="912" y="912"/>
                </a:lnTo>
                <a:lnTo>
                  <a:pt x="912" y="852"/>
                </a:lnTo>
                <a:lnTo>
                  <a:pt x="819" y="852"/>
                </a:lnTo>
                <a:close/>
                <a:moveTo>
                  <a:pt x="496" y="515"/>
                </a:moveTo>
                <a:lnTo>
                  <a:pt x="453" y="457"/>
                </a:lnTo>
                <a:lnTo>
                  <a:pt x="475" y="424"/>
                </a:lnTo>
                <a:lnTo>
                  <a:pt x="496" y="515"/>
                </a:lnTo>
                <a:close/>
                <a:moveTo>
                  <a:pt x="454" y="308"/>
                </a:moveTo>
                <a:lnTo>
                  <a:pt x="454" y="308"/>
                </a:lnTo>
                <a:lnTo>
                  <a:pt x="459" y="310"/>
                </a:lnTo>
                <a:lnTo>
                  <a:pt x="465" y="313"/>
                </a:lnTo>
                <a:lnTo>
                  <a:pt x="468" y="318"/>
                </a:lnTo>
                <a:lnTo>
                  <a:pt x="469" y="324"/>
                </a:lnTo>
                <a:lnTo>
                  <a:pt x="469" y="324"/>
                </a:lnTo>
                <a:lnTo>
                  <a:pt x="468" y="329"/>
                </a:lnTo>
                <a:lnTo>
                  <a:pt x="465" y="335"/>
                </a:lnTo>
                <a:lnTo>
                  <a:pt x="459" y="338"/>
                </a:lnTo>
                <a:lnTo>
                  <a:pt x="454" y="339"/>
                </a:lnTo>
                <a:lnTo>
                  <a:pt x="454" y="339"/>
                </a:lnTo>
                <a:lnTo>
                  <a:pt x="447" y="338"/>
                </a:lnTo>
                <a:lnTo>
                  <a:pt x="443" y="335"/>
                </a:lnTo>
                <a:lnTo>
                  <a:pt x="440" y="329"/>
                </a:lnTo>
                <a:lnTo>
                  <a:pt x="439" y="324"/>
                </a:lnTo>
                <a:lnTo>
                  <a:pt x="439" y="324"/>
                </a:lnTo>
                <a:lnTo>
                  <a:pt x="440" y="318"/>
                </a:lnTo>
                <a:lnTo>
                  <a:pt x="443" y="313"/>
                </a:lnTo>
                <a:lnTo>
                  <a:pt x="447" y="310"/>
                </a:lnTo>
                <a:lnTo>
                  <a:pt x="454" y="308"/>
                </a:lnTo>
                <a:lnTo>
                  <a:pt x="454" y="308"/>
                </a:lnTo>
                <a:close/>
                <a:moveTo>
                  <a:pt x="447" y="373"/>
                </a:moveTo>
                <a:lnTo>
                  <a:pt x="460" y="373"/>
                </a:lnTo>
                <a:lnTo>
                  <a:pt x="465" y="374"/>
                </a:lnTo>
                <a:lnTo>
                  <a:pt x="468" y="387"/>
                </a:lnTo>
                <a:lnTo>
                  <a:pt x="432" y="440"/>
                </a:lnTo>
                <a:lnTo>
                  <a:pt x="447" y="373"/>
                </a:lnTo>
                <a:close/>
                <a:moveTo>
                  <a:pt x="488" y="550"/>
                </a:moveTo>
                <a:lnTo>
                  <a:pt x="396" y="606"/>
                </a:lnTo>
                <a:lnTo>
                  <a:pt x="427" y="467"/>
                </a:lnTo>
                <a:lnTo>
                  <a:pt x="488" y="550"/>
                </a:lnTo>
                <a:close/>
                <a:moveTo>
                  <a:pt x="509" y="570"/>
                </a:moveTo>
                <a:lnTo>
                  <a:pt x="544" y="730"/>
                </a:lnTo>
                <a:lnTo>
                  <a:pt x="412" y="628"/>
                </a:lnTo>
                <a:lnTo>
                  <a:pt x="509" y="570"/>
                </a:lnTo>
                <a:close/>
                <a:moveTo>
                  <a:pt x="197" y="75"/>
                </a:moveTo>
                <a:lnTo>
                  <a:pt x="234" y="88"/>
                </a:lnTo>
                <a:lnTo>
                  <a:pt x="234" y="88"/>
                </a:lnTo>
                <a:lnTo>
                  <a:pt x="237" y="131"/>
                </a:lnTo>
                <a:lnTo>
                  <a:pt x="237" y="131"/>
                </a:lnTo>
                <a:lnTo>
                  <a:pt x="223" y="144"/>
                </a:lnTo>
                <a:lnTo>
                  <a:pt x="211" y="159"/>
                </a:lnTo>
                <a:lnTo>
                  <a:pt x="200" y="177"/>
                </a:lnTo>
                <a:lnTo>
                  <a:pt x="189" y="196"/>
                </a:lnTo>
                <a:lnTo>
                  <a:pt x="189" y="196"/>
                </a:lnTo>
                <a:lnTo>
                  <a:pt x="188" y="197"/>
                </a:lnTo>
                <a:lnTo>
                  <a:pt x="124" y="177"/>
                </a:lnTo>
                <a:lnTo>
                  <a:pt x="124" y="177"/>
                </a:lnTo>
                <a:lnTo>
                  <a:pt x="141" y="151"/>
                </a:lnTo>
                <a:lnTo>
                  <a:pt x="158" y="126"/>
                </a:lnTo>
                <a:lnTo>
                  <a:pt x="177" y="100"/>
                </a:lnTo>
                <a:lnTo>
                  <a:pt x="197" y="75"/>
                </a:lnTo>
                <a:lnTo>
                  <a:pt x="197" y="75"/>
                </a:lnTo>
                <a:close/>
                <a:moveTo>
                  <a:pt x="101" y="252"/>
                </a:moveTo>
                <a:lnTo>
                  <a:pt x="164" y="273"/>
                </a:lnTo>
                <a:lnTo>
                  <a:pt x="164" y="273"/>
                </a:lnTo>
                <a:lnTo>
                  <a:pt x="161" y="295"/>
                </a:lnTo>
                <a:lnTo>
                  <a:pt x="160" y="317"/>
                </a:lnTo>
                <a:lnTo>
                  <a:pt x="161" y="337"/>
                </a:lnTo>
                <a:lnTo>
                  <a:pt x="164" y="355"/>
                </a:lnTo>
                <a:lnTo>
                  <a:pt x="164" y="355"/>
                </a:lnTo>
                <a:lnTo>
                  <a:pt x="136" y="388"/>
                </a:lnTo>
                <a:lnTo>
                  <a:pt x="100" y="377"/>
                </a:lnTo>
                <a:lnTo>
                  <a:pt x="100" y="377"/>
                </a:lnTo>
                <a:lnTo>
                  <a:pt x="98" y="344"/>
                </a:lnTo>
                <a:lnTo>
                  <a:pt x="97" y="313"/>
                </a:lnTo>
                <a:lnTo>
                  <a:pt x="98" y="281"/>
                </a:lnTo>
                <a:lnTo>
                  <a:pt x="101" y="252"/>
                </a:lnTo>
                <a:lnTo>
                  <a:pt x="101" y="252"/>
                </a:lnTo>
                <a:close/>
                <a:moveTo>
                  <a:pt x="274" y="791"/>
                </a:moveTo>
                <a:lnTo>
                  <a:pt x="274" y="852"/>
                </a:lnTo>
                <a:lnTo>
                  <a:pt x="117" y="852"/>
                </a:lnTo>
                <a:lnTo>
                  <a:pt x="117" y="461"/>
                </a:lnTo>
                <a:lnTo>
                  <a:pt x="117" y="461"/>
                </a:lnTo>
                <a:lnTo>
                  <a:pt x="147" y="429"/>
                </a:lnTo>
                <a:lnTo>
                  <a:pt x="163" y="410"/>
                </a:lnTo>
                <a:lnTo>
                  <a:pt x="180" y="389"/>
                </a:lnTo>
                <a:lnTo>
                  <a:pt x="197" y="368"/>
                </a:lnTo>
                <a:lnTo>
                  <a:pt x="214" y="345"/>
                </a:lnTo>
                <a:lnTo>
                  <a:pt x="227" y="323"/>
                </a:lnTo>
                <a:lnTo>
                  <a:pt x="240" y="300"/>
                </a:lnTo>
                <a:lnTo>
                  <a:pt x="409" y="356"/>
                </a:lnTo>
                <a:lnTo>
                  <a:pt x="409" y="357"/>
                </a:lnTo>
                <a:lnTo>
                  <a:pt x="409" y="357"/>
                </a:lnTo>
                <a:lnTo>
                  <a:pt x="409" y="362"/>
                </a:lnTo>
                <a:lnTo>
                  <a:pt x="411" y="366"/>
                </a:lnTo>
                <a:lnTo>
                  <a:pt x="413" y="369"/>
                </a:lnTo>
                <a:lnTo>
                  <a:pt x="417" y="371"/>
                </a:lnTo>
                <a:lnTo>
                  <a:pt x="323" y="791"/>
                </a:lnTo>
                <a:lnTo>
                  <a:pt x="274" y="791"/>
                </a:lnTo>
                <a:close/>
                <a:moveTo>
                  <a:pt x="354" y="791"/>
                </a:moveTo>
                <a:lnTo>
                  <a:pt x="387" y="642"/>
                </a:lnTo>
                <a:lnTo>
                  <a:pt x="515" y="744"/>
                </a:lnTo>
                <a:lnTo>
                  <a:pt x="435" y="791"/>
                </a:lnTo>
                <a:lnTo>
                  <a:pt x="354" y="791"/>
                </a:lnTo>
                <a:close/>
                <a:moveTo>
                  <a:pt x="486" y="791"/>
                </a:moveTo>
                <a:lnTo>
                  <a:pt x="548" y="754"/>
                </a:lnTo>
                <a:lnTo>
                  <a:pt x="558" y="791"/>
                </a:lnTo>
                <a:lnTo>
                  <a:pt x="486" y="791"/>
                </a:lnTo>
                <a:close/>
                <a:moveTo>
                  <a:pt x="793" y="852"/>
                </a:moveTo>
                <a:lnTo>
                  <a:pt x="638" y="852"/>
                </a:lnTo>
                <a:lnTo>
                  <a:pt x="638" y="791"/>
                </a:lnTo>
                <a:lnTo>
                  <a:pt x="588" y="791"/>
                </a:lnTo>
                <a:lnTo>
                  <a:pt x="498" y="386"/>
                </a:lnTo>
                <a:lnTo>
                  <a:pt x="777" y="479"/>
                </a:lnTo>
                <a:lnTo>
                  <a:pt x="777" y="580"/>
                </a:lnTo>
                <a:lnTo>
                  <a:pt x="793" y="580"/>
                </a:lnTo>
                <a:lnTo>
                  <a:pt x="793" y="852"/>
                </a:lnTo>
                <a:close/>
              </a:path>
            </a:pathLst>
          </a:cu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5613" tIns="37806" rIns="75613" bIns="37806" numCol="1" anchor="t" anchorCtr="0" compatLnSpc="1">
            <a:prstTxWarp prst="textNoShape">
              <a:avLst/>
            </a:prstTxWarp>
          </a:bodyPr>
          <a:lstStyle/>
          <a:p>
            <a:endParaRPr lang="ru-RU" sz="1488" dirty="0">
              <a:latin typeface="Arial Narrow" panose="020B0606020202030204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752227" y="1501757"/>
            <a:ext cx="522043" cy="520641"/>
          </a:xfrm>
          <a:prstGeom prst="ellipse">
            <a:avLst/>
          </a:prstGeom>
          <a:solidFill>
            <a:schemeClr val="bg1"/>
          </a:solidFill>
          <a:ln>
            <a:solidFill>
              <a:srgbClr val="0070C0"/>
            </a:solidFill>
          </a:ln>
        </p:spPr>
        <p:txBody>
          <a:bodyPr wrap="none" lIns="0" rIns="0" rtlCol="0" anchor="ctr">
            <a:noAutofit/>
          </a:bodyPr>
          <a:lstStyle>
            <a:defPPr>
              <a:defRPr lang="ru-RU"/>
            </a:defPPr>
            <a:lvl1pPr>
              <a:spcBef>
                <a:spcPts val="600"/>
              </a:spcBef>
              <a:defRPr sz="1600" b="1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algn="ctr"/>
            <a:endParaRPr lang="ru-RU" sz="2400" dirty="0">
              <a:solidFill>
                <a:schemeClr val="tx1"/>
              </a:solidFill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391462" y="2077821"/>
            <a:ext cx="1316387" cy="2720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ru-RU" sz="1400" dirty="0">
                <a:solidFill>
                  <a:schemeClr val="tx1"/>
                </a:solidFill>
                <a:latin typeface="Arial Narrow" panose="020B0606020202030204" pitchFamily="34" charset="0"/>
              </a:rPr>
              <a:t>Производители</a:t>
            </a:r>
          </a:p>
        </p:txBody>
      </p:sp>
      <p:pic>
        <p:nvPicPr>
          <p:cNvPr id="34" name="Picture 10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87" t="19701" r="18462" b="26082"/>
          <a:stretch/>
        </p:blipFill>
        <p:spPr bwMode="auto">
          <a:xfrm>
            <a:off x="859846" y="1621144"/>
            <a:ext cx="306804" cy="2818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" name="TextBox 34"/>
          <p:cNvSpPr txBox="1"/>
          <p:nvPr/>
        </p:nvSpPr>
        <p:spPr>
          <a:xfrm>
            <a:off x="3310811" y="4116389"/>
            <a:ext cx="522043" cy="520641"/>
          </a:xfrm>
          <a:prstGeom prst="ellipse">
            <a:avLst/>
          </a:prstGeom>
          <a:solidFill>
            <a:schemeClr val="bg1"/>
          </a:solidFill>
          <a:ln>
            <a:solidFill>
              <a:srgbClr val="0070C0"/>
            </a:solidFill>
          </a:ln>
        </p:spPr>
        <p:txBody>
          <a:bodyPr wrap="none" lIns="0" rIns="0" rtlCol="0" anchor="ctr">
            <a:noAutofit/>
          </a:bodyPr>
          <a:lstStyle>
            <a:defPPr>
              <a:defRPr lang="ru-RU"/>
            </a:defPPr>
            <a:lvl1pPr>
              <a:spcBef>
                <a:spcPts val="600"/>
              </a:spcBef>
              <a:defRPr sz="1600" b="1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algn="ctr"/>
            <a:endParaRPr lang="ru-RU" sz="2400" dirty="0">
              <a:solidFill>
                <a:schemeClr val="tx1"/>
              </a:solidFill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2976226" y="4701114"/>
            <a:ext cx="1160377" cy="2720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ru-RU" sz="14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Лицензиары</a:t>
            </a:r>
          </a:p>
        </p:txBody>
      </p:sp>
      <p:pic>
        <p:nvPicPr>
          <p:cNvPr id="37" name="Picture 64" descr="I:\My Pictures\965230-200766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92268" y="4196797"/>
            <a:ext cx="359130" cy="3591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TextBox 37"/>
          <p:cNvSpPr txBox="1"/>
          <p:nvPr/>
        </p:nvSpPr>
        <p:spPr>
          <a:xfrm>
            <a:off x="654765" y="4109070"/>
            <a:ext cx="522043" cy="520641"/>
          </a:xfrm>
          <a:prstGeom prst="ellipse">
            <a:avLst/>
          </a:prstGeom>
          <a:solidFill>
            <a:schemeClr val="bg1"/>
          </a:solidFill>
          <a:ln>
            <a:solidFill>
              <a:srgbClr val="0070C0"/>
            </a:solidFill>
          </a:ln>
        </p:spPr>
        <p:txBody>
          <a:bodyPr wrap="none" lIns="0" rIns="0" rtlCol="0" anchor="ctr">
            <a:noAutofit/>
          </a:bodyPr>
          <a:lstStyle>
            <a:defPPr>
              <a:defRPr lang="ru-RU"/>
            </a:defPPr>
            <a:lvl1pPr>
              <a:spcBef>
                <a:spcPts val="600"/>
              </a:spcBef>
              <a:defRPr sz="1600" b="1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algn="ctr"/>
            <a:endParaRPr lang="ru-RU" sz="2400" dirty="0">
              <a:solidFill>
                <a:schemeClr val="tx1"/>
              </a:solidFill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320179" y="4741124"/>
            <a:ext cx="1083469" cy="416068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EPC</a:t>
            </a:r>
          </a:p>
          <a:p>
            <a:pPr algn="ctr"/>
            <a:r>
              <a:rPr lang="ru-RU" sz="14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подрядчики</a:t>
            </a:r>
            <a:endParaRPr lang="ru-RU" sz="14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40" name="Picture42"/>
          <p:cNvSpPr>
            <a:spLocks noChangeAspect="1" noEditPoints="1"/>
          </p:cNvSpPr>
          <p:nvPr/>
        </p:nvSpPr>
        <p:spPr bwMode="auto">
          <a:xfrm>
            <a:off x="825678" y="4209348"/>
            <a:ext cx="180215" cy="309773"/>
          </a:xfrm>
          <a:custGeom>
            <a:avLst/>
            <a:gdLst>
              <a:gd name="T0" fmla="*/ 580 w 740"/>
              <a:gd name="T1" fmla="*/ 1238 h 1272"/>
              <a:gd name="T2" fmla="*/ 514 w 740"/>
              <a:gd name="T3" fmla="*/ 1188 h 1272"/>
              <a:gd name="T4" fmla="*/ 437 w 740"/>
              <a:gd name="T5" fmla="*/ 1205 h 1272"/>
              <a:gd name="T6" fmla="*/ 158 w 740"/>
              <a:gd name="T7" fmla="*/ 1251 h 1272"/>
              <a:gd name="T8" fmla="*/ 321 w 740"/>
              <a:gd name="T9" fmla="*/ 1226 h 1272"/>
              <a:gd name="T10" fmla="*/ 242 w 740"/>
              <a:gd name="T11" fmla="*/ 1187 h 1272"/>
              <a:gd name="T12" fmla="*/ 172 w 740"/>
              <a:gd name="T13" fmla="*/ 1215 h 1272"/>
              <a:gd name="T14" fmla="*/ 309 w 740"/>
              <a:gd name="T15" fmla="*/ 339 h 1272"/>
              <a:gd name="T16" fmla="*/ 176 w 740"/>
              <a:gd name="T17" fmla="*/ 363 h 1272"/>
              <a:gd name="T18" fmla="*/ 1 w 740"/>
              <a:gd name="T19" fmla="*/ 717 h 1272"/>
              <a:gd name="T20" fmla="*/ 19 w 740"/>
              <a:gd name="T21" fmla="*/ 770 h 1272"/>
              <a:gd name="T22" fmla="*/ 72 w 740"/>
              <a:gd name="T23" fmla="*/ 776 h 1272"/>
              <a:gd name="T24" fmla="*/ 190 w 740"/>
              <a:gd name="T25" fmla="*/ 357 h 1272"/>
              <a:gd name="T26" fmla="*/ 562 w 740"/>
              <a:gd name="T27" fmla="*/ 363 h 1272"/>
              <a:gd name="T28" fmla="*/ 647 w 740"/>
              <a:gd name="T29" fmla="*/ 759 h 1272"/>
              <a:gd name="T30" fmla="*/ 710 w 740"/>
              <a:gd name="T31" fmla="*/ 776 h 1272"/>
              <a:gd name="T32" fmla="*/ 740 w 740"/>
              <a:gd name="T33" fmla="*/ 737 h 1272"/>
              <a:gd name="T34" fmla="*/ 523 w 740"/>
              <a:gd name="T35" fmla="*/ 184 h 1272"/>
              <a:gd name="T36" fmla="*/ 308 w 740"/>
              <a:gd name="T37" fmla="*/ 188 h 1272"/>
              <a:gd name="T38" fmla="*/ 232 w 740"/>
              <a:gd name="T39" fmla="*/ 170 h 1272"/>
              <a:gd name="T40" fmla="*/ 266 w 740"/>
              <a:gd name="T41" fmla="*/ 247 h 1272"/>
              <a:gd name="T42" fmla="*/ 335 w 740"/>
              <a:gd name="T43" fmla="*/ 291 h 1272"/>
              <a:gd name="T44" fmla="*/ 404 w 740"/>
              <a:gd name="T45" fmla="*/ 294 h 1272"/>
              <a:gd name="T46" fmla="*/ 471 w 740"/>
              <a:gd name="T47" fmla="*/ 265 h 1272"/>
              <a:gd name="T48" fmla="*/ 514 w 740"/>
              <a:gd name="T49" fmla="*/ 208 h 1272"/>
              <a:gd name="T50" fmla="*/ 286 w 740"/>
              <a:gd name="T51" fmla="*/ 138 h 1272"/>
              <a:gd name="T52" fmla="*/ 454 w 740"/>
              <a:gd name="T53" fmla="*/ 155 h 1272"/>
              <a:gd name="T54" fmla="*/ 526 w 740"/>
              <a:gd name="T55" fmla="*/ 141 h 1272"/>
              <a:gd name="T56" fmla="*/ 517 w 740"/>
              <a:gd name="T57" fmla="*/ 97 h 1272"/>
              <a:gd name="T58" fmla="*/ 469 w 740"/>
              <a:gd name="T59" fmla="*/ 31 h 1272"/>
              <a:gd name="T60" fmla="*/ 393 w 740"/>
              <a:gd name="T61" fmla="*/ 1 h 1272"/>
              <a:gd name="T62" fmla="*/ 297 w 740"/>
              <a:gd name="T63" fmla="*/ 25 h 1272"/>
              <a:gd name="T64" fmla="*/ 362 w 740"/>
              <a:gd name="T65" fmla="*/ 82 h 1272"/>
              <a:gd name="T66" fmla="*/ 434 w 740"/>
              <a:gd name="T67" fmla="*/ 133 h 1272"/>
              <a:gd name="T68" fmla="*/ 339 w 740"/>
              <a:gd name="T69" fmla="*/ 108 h 1272"/>
              <a:gd name="T70" fmla="*/ 236 w 740"/>
              <a:gd name="T71" fmla="*/ 46 h 1272"/>
              <a:gd name="T72" fmla="*/ 151 w 740"/>
              <a:gd name="T73" fmla="*/ 52 h 1272"/>
              <a:gd name="T74" fmla="*/ 132 w 740"/>
              <a:gd name="T75" fmla="*/ 96 h 1272"/>
              <a:gd name="T76" fmla="*/ 163 w 740"/>
              <a:gd name="T77" fmla="*/ 112 h 1272"/>
              <a:gd name="T78" fmla="*/ 250 w 740"/>
              <a:gd name="T79" fmla="*/ 123 h 1272"/>
              <a:gd name="T80" fmla="*/ 431 w 740"/>
              <a:gd name="T81" fmla="*/ 623 h 1272"/>
              <a:gd name="T82" fmla="*/ 158 w 740"/>
              <a:gd name="T83" fmla="*/ 1157 h 1272"/>
              <a:gd name="T84" fmla="*/ 169 w 740"/>
              <a:gd name="T85" fmla="*/ 972 h 1272"/>
              <a:gd name="T86" fmla="*/ 217 w 740"/>
              <a:gd name="T87" fmla="*/ 921 h 1272"/>
              <a:gd name="T88" fmla="*/ 238 w 740"/>
              <a:gd name="T89" fmla="*/ 831 h 1272"/>
              <a:gd name="T90" fmla="*/ 507 w 740"/>
              <a:gd name="T91" fmla="*/ 865 h 1272"/>
              <a:gd name="T92" fmla="*/ 543 w 740"/>
              <a:gd name="T93" fmla="*/ 951 h 1272"/>
              <a:gd name="T94" fmla="*/ 387 w 740"/>
              <a:gd name="T95" fmla="*/ 1187 h 1272"/>
              <a:gd name="T96" fmla="*/ 522 w 740"/>
              <a:gd name="T97" fmla="*/ 341 h 1272"/>
              <a:gd name="T98" fmla="*/ 280 w 740"/>
              <a:gd name="T99" fmla="*/ 341 h 1272"/>
              <a:gd name="T100" fmla="*/ 218 w 740"/>
              <a:gd name="T101" fmla="*/ 604 h 1272"/>
              <a:gd name="T102" fmla="*/ 158 w 740"/>
              <a:gd name="T103" fmla="*/ 741 h 1272"/>
              <a:gd name="T104" fmla="*/ 263 w 740"/>
              <a:gd name="T105" fmla="*/ 868 h 1272"/>
              <a:gd name="T106" fmla="*/ 221 w 740"/>
              <a:gd name="T107" fmla="*/ 967 h 1272"/>
              <a:gd name="T108" fmla="*/ 158 w 740"/>
              <a:gd name="T109" fmla="*/ 1127 h 1272"/>
              <a:gd name="T110" fmla="*/ 582 w 740"/>
              <a:gd name="T111" fmla="*/ 1006 h 1272"/>
              <a:gd name="T112" fmla="*/ 517 w 740"/>
              <a:gd name="T113" fmla="*/ 967 h 1272"/>
              <a:gd name="T114" fmla="*/ 477 w 740"/>
              <a:gd name="T115" fmla="*/ 868 h 1272"/>
              <a:gd name="T116" fmla="*/ 582 w 740"/>
              <a:gd name="T117" fmla="*/ 741 h 1272"/>
              <a:gd name="T118" fmla="*/ 522 w 740"/>
              <a:gd name="T119" fmla="*/ 604 h 12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40" h="1272">
                <a:moveTo>
                  <a:pt x="413" y="1251"/>
                </a:moveTo>
                <a:lnTo>
                  <a:pt x="413" y="1272"/>
                </a:lnTo>
                <a:lnTo>
                  <a:pt x="582" y="1272"/>
                </a:lnTo>
                <a:lnTo>
                  <a:pt x="582" y="1251"/>
                </a:lnTo>
                <a:lnTo>
                  <a:pt x="582" y="1251"/>
                </a:lnTo>
                <a:lnTo>
                  <a:pt x="580" y="1238"/>
                </a:lnTo>
                <a:lnTo>
                  <a:pt x="576" y="1226"/>
                </a:lnTo>
                <a:lnTo>
                  <a:pt x="567" y="1215"/>
                </a:lnTo>
                <a:lnTo>
                  <a:pt x="556" y="1205"/>
                </a:lnTo>
                <a:lnTo>
                  <a:pt x="544" y="1197"/>
                </a:lnTo>
                <a:lnTo>
                  <a:pt x="529" y="1191"/>
                </a:lnTo>
                <a:lnTo>
                  <a:pt x="514" y="1188"/>
                </a:lnTo>
                <a:lnTo>
                  <a:pt x="496" y="1187"/>
                </a:lnTo>
                <a:lnTo>
                  <a:pt x="496" y="1187"/>
                </a:lnTo>
                <a:lnTo>
                  <a:pt x="480" y="1188"/>
                </a:lnTo>
                <a:lnTo>
                  <a:pt x="463" y="1191"/>
                </a:lnTo>
                <a:lnTo>
                  <a:pt x="450" y="1197"/>
                </a:lnTo>
                <a:lnTo>
                  <a:pt x="437" y="1205"/>
                </a:lnTo>
                <a:lnTo>
                  <a:pt x="426" y="1215"/>
                </a:lnTo>
                <a:lnTo>
                  <a:pt x="419" y="1226"/>
                </a:lnTo>
                <a:lnTo>
                  <a:pt x="414" y="1238"/>
                </a:lnTo>
                <a:lnTo>
                  <a:pt x="413" y="1251"/>
                </a:lnTo>
                <a:lnTo>
                  <a:pt x="413" y="1251"/>
                </a:lnTo>
                <a:close/>
                <a:moveTo>
                  <a:pt x="158" y="1251"/>
                </a:moveTo>
                <a:lnTo>
                  <a:pt x="158" y="1272"/>
                </a:lnTo>
                <a:lnTo>
                  <a:pt x="327" y="1272"/>
                </a:lnTo>
                <a:lnTo>
                  <a:pt x="327" y="1251"/>
                </a:lnTo>
                <a:lnTo>
                  <a:pt x="327" y="1251"/>
                </a:lnTo>
                <a:lnTo>
                  <a:pt x="326" y="1238"/>
                </a:lnTo>
                <a:lnTo>
                  <a:pt x="321" y="1226"/>
                </a:lnTo>
                <a:lnTo>
                  <a:pt x="312" y="1215"/>
                </a:lnTo>
                <a:lnTo>
                  <a:pt x="302" y="1205"/>
                </a:lnTo>
                <a:lnTo>
                  <a:pt x="290" y="1197"/>
                </a:lnTo>
                <a:lnTo>
                  <a:pt x="275" y="1191"/>
                </a:lnTo>
                <a:lnTo>
                  <a:pt x="260" y="1188"/>
                </a:lnTo>
                <a:lnTo>
                  <a:pt x="242" y="1187"/>
                </a:lnTo>
                <a:lnTo>
                  <a:pt x="242" y="1187"/>
                </a:lnTo>
                <a:lnTo>
                  <a:pt x="226" y="1188"/>
                </a:lnTo>
                <a:lnTo>
                  <a:pt x="209" y="1191"/>
                </a:lnTo>
                <a:lnTo>
                  <a:pt x="196" y="1197"/>
                </a:lnTo>
                <a:lnTo>
                  <a:pt x="182" y="1205"/>
                </a:lnTo>
                <a:lnTo>
                  <a:pt x="172" y="1215"/>
                </a:lnTo>
                <a:lnTo>
                  <a:pt x="164" y="1226"/>
                </a:lnTo>
                <a:lnTo>
                  <a:pt x="160" y="1238"/>
                </a:lnTo>
                <a:lnTo>
                  <a:pt x="158" y="1251"/>
                </a:lnTo>
                <a:lnTo>
                  <a:pt x="158" y="1251"/>
                </a:lnTo>
                <a:close/>
                <a:moveTo>
                  <a:pt x="431" y="339"/>
                </a:moveTo>
                <a:lnTo>
                  <a:pt x="309" y="339"/>
                </a:lnTo>
                <a:lnTo>
                  <a:pt x="309" y="432"/>
                </a:lnTo>
                <a:lnTo>
                  <a:pt x="431" y="432"/>
                </a:lnTo>
                <a:lnTo>
                  <a:pt x="431" y="339"/>
                </a:lnTo>
                <a:close/>
                <a:moveTo>
                  <a:pt x="190" y="357"/>
                </a:moveTo>
                <a:lnTo>
                  <a:pt x="190" y="357"/>
                </a:lnTo>
                <a:lnTo>
                  <a:pt x="176" y="363"/>
                </a:lnTo>
                <a:lnTo>
                  <a:pt x="166" y="371"/>
                </a:lnTo>
                <a:lnTo>
                  <a:pt x="155" y="381"/>
                </a:lnTo>
                <a:lnTo>
                  <a:pt x="149" y="393"/>
                </a:lnTo>
                <a:lnTo>
                  <a:pt x="4" y="707"/>
                </a:lnTo>
                <a:lnTo>
                  <a:pt x="4" y="707"/>
                </a:lnTo>
                <a:lnTo>
                  <a:pt x="1" y="717"/>
                </a:lnTo>
                <a:lnTo>
                  <a:pt x="0" y="726"/>
                </a:lnTo>
                <a:lnTo>
                  <a:pt x="0" y="737"/>
                </a:lnTo>
                <a:lnTo>
                  <a:pt x="1" y="746"/>
                </a:lnTo>
                <a:lnTo>
                  <a:pt x="6" y="755"/>
                </a:lnTo>
                <a:lnTo>
                  <a:pt x="12" y="762"/>
                </a:lnTo>
                <a:lnTo>
                  <a:pt x="19" y="770"/>
                </a:lnTo>
                <a:lnTo>
                  <a:pt x="30" y="776"/>
                </a:lnTo>
                <a:lnTo>
                  <a:pt x="30" y="776"/>
                </a:lnTo>
                <a:lnTo>
                  <a:pt x="39" y="780"/>
                </a:lnTo>
                <a:lnTo>
                  <a:pt x="51" y="782"/>
                </a:lnTo>
                <a:lnTo>
                  <a:pt x="61" y="780"/>
                </a:lnTo>
                <a:lnTo>
                  <a:pt x="72" y="776"/>
                </a:lnTo>
                <a:lnTo>
                  <a:pt x="82" y="768"/>
                </a:lnTo>
                <a:lnTo>
                  <a:pt x="93" y="759"/>
                </a:lnTo>
                <a:lnTo>
                  <a:pt x="102" y="750"/>
                </a:lnTo>
                <a:lnTo>
                  <a:pt x="109" y="738"/>
                </a:lnTo>
                <a:lnTo>
                  <a:pt x="190" y="568"/>
                </a:lnTo>
                <a:lnTo>
                  <a:pt x="190" y="357"/>
                </a:lnTo>
                <a:close/>
                <a:moveTo>
                  <a:pt x="736" y="707"/>
                </a:moveTo>
                <a:lnTo>
                  <a:pt x="591" y="393"/>
                </a:lnTo>
                <a:lnTo>
                  <a:pt x="591" y="393"/>
                </a:lnTo>
                <a:lnTo>
                  <a:pt x="583" y="381"/>
                </a:lnTo>
                <a:lnTo>
                  <a:pt x="574" y="371"/>
                </a:lnTo>
                <a:lnTo>
                  <a:pt x="562" y="363"/>
                </a:lnTo>
                <a:lnTo>
                  <a:pt x="550" y="357"/>
                </a:lnTo>
                <a:lnTo>
                  <a:pt x="550" y="568"/>
                </a:lnTo>
                <a:lnTo>
                  <a:pt x="631" y="738"/>
                </a:lnTo>
                <a:lnTo>
                  <a:pt x="631" y="738"/>
                </a:lnTo>
                <a:lnTo>
                  <a:pt x="638" y="750"/>
                </a:lnTo>
                <a:lnTo>
                  <a:pt x="647" y="759"/>
                </a:lnTo>
                <a:lnTo>
                  <a:pt x="656" y="768"/>
                </a:lnTo>
                <a:lnTo>
                  <a:pt x="667" y="776"/>
                </a:lnTo>
                <a:lnTo>
                  <a:pt x="679" y="780"/>
                </a:lnTo>
                <a:lnTo>
                  <a:pt x="689" y="782"/>
                </a:lnTo>
                <a:lnTo>
                  <a:pt x="700" y="780"/>
                </a:lnTo>
                <a:lnTo>
                  <a:pt x="710" y="776"/>
                </a:lnTo>
                <a:lnTo>
                  <a:pt x="710" y="776"/>
                </a:lnTo>
                <a:lnTo>
                  <a:pt x="719" y="770"/>
                </a:lnTo>
                <a:lnTo>
                  <a:pt x="727" y="762"/>
                </a:lnTo>
                <a:lnTo>
                  <a:pt x="733" y="755"/>
                </a:lnTo>
                <a:lnTo>
                  <a:pt x="737" y="746"/>
                </a:lnTo>
                <a:lnTo>
                  <a:pt x="740" y="737"/>
                </a:lnTo>
                <a:lnTo>
                  <a:pt x="740" y="726"/>
                </a:lnTo>
                <a:lnTo>
                  <a:pt x="739" y="717"/>
                </a:lnTo>
                <a:lnTo>
                  <a:pt x="736" y="707"/>
                </a:lnTo>
                <a:lnTo>
                  <a:pt x="736" y="707"/>
                </a:lnTo>
                <a:close/>
                <a:moveTo>
                  <a:pt x="523" y="184"/>
                </a:moveTo>
                <a:lnTo>
                  <a:pt x="523" y="184"/>
                </a:lnTo>
                <a:lnTo>
                  <a:pt x="480" y="193"/>
                </a:lnTo>
                <a:lnTo>
                  <a:pt x="441" y="199"/>
                </a:lnTo>
                <a:lnTo>
                  <a:pt x="404" y="200"/>
                </a:lnTo>
                <a:lnTo>
                  <a:pt x="371" y="199"/>
                </a:lnTo>
                <a:lnTo>
                  <a:pt x="338" y="194"/>
                </a:lnTo>
                <a:lnTo>
                  <a:pt x="308" y="188"/>
                </a:lnTo>
                <a:lnTo>
                  <a:pt x="280" y="179"/>
                </a:lnTo>
                <a:lnTo>
                  <a:pt x="251" y="167"/>
                </a:lnTo>
                <a:lnTo>
                  <a:pt x="251" y="167"/>
                </a:lnTo>
                <a:lnTo>
                  <a:pt x="230" y="155"/>
                </a:lnTo>
                <a:lnTo>
                  <a:pt x="230" y="155"/>
                </a:lnTo>
                <a:lnTo>
                  <a:pt x="232" y="170"/>
                </a:lnTo>
                <a:lnTo>
                  <a:pt x="235" y="184"/>
                </a:lnTo>
                <a:lnTo>
                  <a:pt x="239" y="199"/>
                </a:lnTo>
                <a:lnTo>
                  <a:pt x="244" y="211"/>
                </a:lnTo>
                <a:lnTo>
                  <a:pt x="250" y="223"/>
                </a:lnTo>
                <a:lnTo>
                  <a:pt x="257" y="235"/>
                </a:lnTo>
                <a:lnTo>
                  <a:pt x="266" y="247"/>
                </a:lnTo>
                <a:lnTo>
                  <a:pt x="277" y="256"/>
                </a:lnTo>
                <a:lnTo>
                  <a:pt x="287" y="265"/>
                </a:lnTo>
                <a:lnTo>
                  <a:pt x="297" y="274"/>
                </a:lnTo>
                <a:lnTo>
                  <a:pt x="309" y="280"/>
                </a:lnTo>
                <a:lnTo>
                  <a:pt x="323" y="285"/>
                </a:lnTo>
                <a:lnTo>
                  <a:pt x="335" y="291"/>
                </a:lnTo>
                <a:lnTo>
                  <a:pt x="350" y="294"/>
                </a:lnTo>
                <a:lnTo>
                  <a:pt x="363" y="296"/>
                </a:lnTo>
                <a:lnTo>
                  <a:pt x="378" y="297"/>
                </a:lnTo>
                <a:lnTo>
                  <a:pt x="378" y="297"/>
                </a:lnTo>
                <a:lnTo>
                  <a:pt x="392" y="296"/>
                </a:lnTo>
                <a:lnTo>
                  <a:pt x="404" y="294"/>
                </a:lnTo>
                <a:lnTo>
                  <a:pt x="416" y="291"/>
                </a:lnTo>
                <a:lnTo>
                  <a:pt x="428" y="288"/>
                </a:lnTo>
                <a:lnTo>
                  <a:pt x="440" y="284"/>
                </a:lnTo>
                <a:lnTo>
                  <a:pt x="450" y="278"/>
                </a:lnTo>
                <a:lnTo>
                  <a:pt x="460" y="272"/>
                </a:lnTo>
                <a:lnTo>
                  <a:pt x="471" y="265"/>
                </a:lnTo>
                <a:lnTo>
                  <a:pt x="480" y="257"/>
                </a:lnTo>
                <a:lnTo>
                  <a:pt x="489" y="248"/>
                </a:lnTo>
                <a:lnTo>
                  <a:pt x="496" y="239"/>
                </a:lnTo>
                <a:lnTo>
                  <a:pt x="504" y="229"/>
                </a:lnTo>
                <a:lnTo>
                  <a:pt x="510" y="218"/>
                </a:lnTo>
                <a:lnTo>
                  <a:pt x="514" y="208"/>
                </a:lnTo>
                <a:lnTo>
                  <a:pt x="519" y="196"/>
                </a:lnTo>
                <a:lnTo>
                  <a:pt x="523" y="184"/>
                </a:lnTo>
                <a:lnTo>
                  <a:pt x="523" y="184"/>
                </a:lnTo>
                <a:close/>
                <a:moveTo>
                  <a:pt x="268" y="130"/>
                </a:moveTo>
                <a:lnTo>
                  <a:pt x="268" y="130"/>
                </a:lnTo>
                <a:lnTo>
                  <a:pt x="286" y="138"/>
                </a:lnTo>
                <a:lnTo>
                  <a:pt x="305" y="145"/>
                </a:lnTo>
                <a:lnTo>
                  <a:pt x="327" y="151"/>
                </a:lnTo>
                <a:lnTo>
                  <a:pt x="353" y="155"/>
                </a:lnTo>
                <a:lnTo>
                  <a:pt x="383" y="158"/>
                </a:lnTo>
                <a:lnTo>
                  <a:pt x="416" y="158"/>
                </a:lnTo>
                <a:lnTo>
                  <a:pt x="454" y="155"/>
                </a:lnTo>
                <a:lnTo>
                  <a:pt x="477" y="151"/>
                </a:lnTo>
                <a:lnTo>
                  <a:pt x="499" y="146"/>
                </a:lnTo>
                <a:lnTo>
                  <a:pt x="499" y="146"/>
                </a:lnTo>
                <a:lnTo>
                  <a:pt x="526" y="145"/>
                </a:lnTo>
                <a:lnTo>
                  <a:pt x="526" y="145"/>
                </a:lnTo>
                <a:lnTo>
                  <a:pt x="526" y="141"/>
                </a:lnTo>
                <a:lnTo>
                  <a:pt x="526" y="141"/>
                </a:lnTo>
                <a:lnTo>
                  <a:pt x="526" y="139"/>
                </a:lnTo>
                <a:lnTo>
                  <a:pt x="526" y="139"/>
                </a:lnTo>
                <a:lnTo>
                  <a:pt x="525" y="126"/>
                </a:lnTo>
                <a:lnTo>
                  <a:pt x="522" y="111"/>
                </a:lnTo>
                <a:lnTo>
                  <a:pt x="517" y="97"/>
                </a:lnTo>
                <a:lnTo>
                  <a:pt x="513" y="85"/>
                </a:lnTo>
                <a:lnTo>
                  <a:pt x="505" y="73"/>
                </a:lnTo>
                <a:lnTo>
                  <a:pt x="498" y="61"/>
                </a:lnTo>
                <a:lnTo>
                  <a:pt x="489" y="51"/>
                </a:lnTo>
                <a:lnTo>
                  <a:pt x="480" y="40"/>
                </a:lnTo>
                <a:lnTo>
                  <a:pt x="469" y="31"/>
                </a:lnTo>
                <a:lnTo>
                  <a:pt x="459" y="24"/>
                </a:lnTo>
                <a:lnTo>
                  <a:pt x="447" y="16"/>
                </a:lnTo>
                <a:lnTo>
                  <a:pt x="434" y="12"/>
                </a:lnTo>
                <a:lnTo>
                  <a:pt x="422" y="6"/>
                </a:lnTo>
                <a:lnTo>
                  <a:pt x="407" y="3"/>
                </a:lnTo>
                <a:lnTo>
                  <a:pt x="393" y="1"/>
                </a:lnTo>
                <a:lnTo>
                  <a:pt x="378" y="0"/>
                </a:lnTo>
                <a:lnTo>
                  <a:pt x="378" y="0"/>
                </a:lnTo>
                <a:lnTo>
                  <a:pt x="356" y="1"/>
                </a:lnTo>
                <a:lnTo>
                  <a:pt x="335" y="7"/>
                </a:lnTo>
                <a:lnTo>
                  <a:pt x="315" y="15"/>
                </a:lnTo>
                <a:lnTo>
                  <a:pt x="297" y="25"/>
                </a:lnTo>
                <a:lnTo>
                  <a:pt x="297" y="25"/>
                </a:lnTo>
                <a:lnTo>
                  <a:pt x="309" y="34"/>
                </a:lnTo>
                <a:lnTo>
                  <a:pt x="323" y="43"/>
                </a:lnTo>
                <a:lnTo>
                  <a:pt x="350" y="69"/>
                </a:lnTo>
                <a:lnTo>
                  <a:pt x="350" y="69"/>
                </a:lnTo>
                <a:lnTo>
                  <a:pt x="362" y="82"/>
                </a:lnTo>
                <a:lnTo>
                  <a:pt x="375" y="93"/>
                </a:lnTo>
                <a:lnTo>
                  <a:pt x="398" y="111"/>
                </a:lnTo>
                <a:lnTo>
                  <a:pt x="420" y="123"/>
                </a:lnTo>
                <a:lnTo>
                  <a:pt x="440" y="132"/>
                </a:lnTo>
                <a:lnTo>
                  <a:pt x="440" y="132"/>
                </a:lnTo>
                <a:lnTo>
                  <a:pt x="434" y="133"/>
                </a:lnTo>
                <a:lnTo>
                  <a:pt x="426" y="136"/>
                </a:lnTo>
                <a:lnTo>
                  <a:pt x="416" y="138"/>
                </a:lnTo>
                <a:lnTo>
                  <a:pt x="402" y="136"/>
                </a:lnTo>
                <a:lnTo>
                  <a:pt x="386" y="132"/>
                </a:lnTo>
                <a:lnTo>
                  <a:pt x="365" y="123"/>
                </a:lnTo>
                <a:lnTo>
                  <a:pt x="339" y="108"/>
                </a:lnTo>
                <a:lnTo>
                  <a:pt x="309" y="85"/>
                </a:lnTo>
                <a:lnTo>
                  <a:pt x="309" y="85"/>
                </a:lnTo>
                <a:lnTo>
                  <a:pt x="290" y="72"/>
                </a:lnTo>
                <a:lnTo>
                  <a:pt x="272" y="60"/>
                </a:lnTo>
                <a:lnTo>
                  <a:pt x="254" y="52"/>
                </a:lnTo>
                <a:lnTo>
                  <a:pt x="236" y="46"/>
                </a:lnTo>
                <a:lnTo>
                  <a:pt x="218" y="42"/>
                </a:lnTo>
                <a:lnTo>
                  <a:pt x="202" y="40"/>
                </a:lnTo>
                <a:lnTo>
                  <a:pt x="187" y="42"/>
                </a:lnTo>
                <a:lnTo>
                  <a:pt x="173" y="43"/>
                </a:lnTo>
                <a:lnTo>
                  <a:pt x="161" y="46"/>
                </a:lnTo>
                <a:lnTo>
                  <a:pt x="151" y="52"/>
                </a:lnTo>
                <a:lnTo>
                  <a:pt x="142" y="58"/>
                </a:lnTo>
                <a:lnTo>
                  <a:pt x="135" y="64"/>
                </a:lnTo>
                <a:lnTo>
                  <a:pt x="130" y="72"/>
                </a:lnTo>
                <a:lnTo>
                  <a:pt x="129" y="79"/>
                </a:lnTo>
                <a:lnTo>
                  <a:pt x="129" y="88"/>
                </a:lnTo>
                <a:lnTo>
                  <a:pt x="132" y="96"/>
                </a:lnTo>
                <a:lnTo>
                  <a:pt x="132" y="96"/>
                </a:lnTo>
                <a:lnTo>
                  <a:pt x="138" y="103"/>
                </a:lnTo>
                <a:lnTo>
                  <a:pt x="142" y="106"/>
                </a:lnTo>
                <a:lnTo>
                  <a:pt x="148" y="109"/>
                </a:lnTo>
                <a:lnTo>
                  <a:pt x="152" y="112"/>
                </a:lnTo>
                <a:lnTo>
                  <a:pt x="163" y="112"/>
                </a:lnTo>
                <a:lnTo>
                  <a:pt x="175" y="111"/>
                </a:lnTo>
                <a:lnTo>
                  <a:pt x="190" y="111"/>
                </a:lnTo>
                <a:lnTo>
                  <a:pt x="209" y="112"/>
                </a:lnTo>
                <a:lnTo>
                  <a:pt x="221" y="114"/>
                </a:lnTo>
                <a:lnTo>
                  <a:pt x="235" y="118"/>
                </a:lnTo>
                <a:lnTo>
                  <a:pt x="250" y="123"/>
                </a:lnTo>
                <a:lnTo>
                  <a:pt x="268" y="130"/>
                </a:lnTo>
                <a:lnTo>
                  <a:pt x="268" y="130"/>
                </a:lnTo>
                <a:close/>
                <a:moveTo>
                  <a:pt x="431" y="471"/>
                </a:moveTo>
                <a:lnTo>
                  <a:pt x="309" y="471"/>
                </a:lnTo>
                <a:lnTo>
                  <a:pt x="309" y="623"/>
                </a:lnTo>
                <a:lnTo>
                  <a:pt x="431" y="623"/>
                </a:lnTo>
                <a:lnTo>
                  <a:pt x="431" y="471"/>
                </a:lnTo>
                <a:close/>
                <a:moveTo>
                  <a:pt x="158" y="1187"/>
                </a:moveTo>
                <a:lnTo>
                  <a:pt x="242" y="1187"/>
                </a:lnTo>
                <a:lnTo>
                  <a:pt x="353" y="1187"/>
                </a:lnTo>
                <a:lnTo>
                  <a:pt x="353" y="1157"/>
                </a:lnTo>
                <a:lnTo>
                  <a:pt x="158" y="1157"/>
                </a:lnTo>
                <a:lnTo>
                  <a:pt x="158" y="1187"/>
                </a:lnTo>
                <a:close/>
                <a:moveTo>
                  <a:pt x="238" y="831"/>
                </a:moveTo>
                <a:lnTo>
                  <a:pt x="158" y="831"/>
                </a:lnTo>
                <a:lnTo>
                  <a:pt x="158" y="976"/>
                </a:lnTo>
                <a:lnTo>
                  <a:pt x="158" y="976"/>
                </a:lnTo>
                <a:lnTo>
                  <a:pt x="169" y="972"/>
                </a:lnTo>
                <a:lnTo>
                  <a:pt x="179" y="966"/>
                </a:lnTo>
                <a:lnTo>
                  <a:pt x="188" y="958"/>
                </a:lnTo>
                <a:lnTo>
                  <a:pt x="197" y="951"/>
                </a:lnTo>
                <a:lnTo>
                  <a:pt x="205" y="942"/>
                </a:lnTo>
                <a:lnTo>
                  <a:pt x="211" y="931"/>
                </a:lnTo>
                <a:lnTo>
                  <a:pt x="217" y="921"/>
                </a:lnTo>
                <a:lnTo>
                  <a:pt x="221" y="910"/>
                </a:lnTo>
                <a:lnTo>
                  <a:pt x="229" y="888"/>
                </a:lnTo>
                <a:lnTo>
                  <a:pt x="233" y="865"/>
                </a:lnTo>
                <a:lnTo>
                  <a:pt x="236" y="846"/>
                </a:lnTo>
                <a:lnTo>
                  <a:pt x="238" y="831"/>
                </a:lnTo>
                <a:lnTo>
                  <a:pt x="238" y="831"/>
                </a:lnTo>
                <a:close/>
                <a:moveTo>
                  <a:pt x="582" y="976"/>
                </a:moveTo>
                <a:lnTo>
                  <a:pt x="582" y="831"/>
                </a:lnTo>
                <a:lnTo>
                  <a:pt x="502" y="831"/>
                </a:lnTo>
                <a:lnTo>
                  <a:pt x="502" y="831"/>
                </a:lnTo>
                <a:lnTo>
                  <a:pt x="504" y="846"/>
                </a:lnTo>
                <a:lnTo>
                  <a:pt x="507" y="865"/>
                </a:lnTo>
                <a:lnTo>
                  <a:pt x="511" y="888"/>
                </a:lnTo>
                <a:lnTo>
                  <a:pt x="519" y="910"/>
                </a:lnTo>
                <a:lnTo>
                  <a:pt x="523" y="921"/>
                </a:lnTo>
                <a:lnTo>
                  <a:pt x="529" y="931"/>
                </a:lnTo>
                <a:lnTo>
                  <a:pt x="535" y="942"/>
                </a:lnTo>
                <a:lnTo>
                  <a:pt x="543" y="951"/>
                </a:lnTo>
                <a:lnTo>
                  <a:pt x="550" y="958"/>
                </a:lnTo>
                <a:lnTo>
                  <a:pt x="561" y="966"/>
                </a:lnTo>
                <a:lnTo>
                  <a:pt x="570" y="972"/>
                </a:lnTo>
                <a:lnTo>
                  <a:pt x="582" y="976"/>
                </a:lnTo>
                <a:lnTo>
                  <a:pt x="582" y="976"/>
                </a:lnTo>
                <a:close/>
                <a:moveTo>
                  <a:pt x="387" y="1187"/>
                </a:moveTo>
                <a:lnTo>
                  <a:pt x="496" y="1187"/>
                </a:lnTo>
                <a:lnTo>
                  <a:pt x="582" y="1187"/>
                </a:lnTo>
                <a:lnTo>
                  <a:pt x="582" y="1157"/>
                </a:lnTo>
                <a:lnTo>
                  <a:pt x="387" y="1157"/>
                </a:lnTo>
                <a:lnTo>
                  <a:pt x="387" y="1187"/>
                </a:lnTo>
                <a:close/>
                <a:moveTo>
                  <a:pt x="522" y="341"/>
                </a:moveTo>
                <a:lnTo>
                  <a:pt x="520" y="341"/>
                </a:lnTo>
                <a:lnTo>
                  <a:pt x="520" y="341"/>
                </a:lnTo>
                <a:lnTo>
                  <a:pt x="459" y="341"/>
                </a:lnTo>
                <a:lnTo>
                  <a:pt x="459" y="653"/>
                </a:lnTo>
                <a:lnTo>
                  <a:pt x="280" y="653"/>
                </a:lnTo>
                <a:lnTo>
                  <a:pt x="280" y="341"/>
                </a:lnTo>
                <a:lnTo>
                  <a:pt x="218" y="341"/>
                </a:lnTo>
                <a:lnTo>
                  <a:pt x="218" y="341"/>
                </a:lnTo>
                <a:lnTo>
                  <a:pt x="218" y="549"/>
                </a:lnTo>
                <a:lnTo>
                  <a:pt x="218" y="549"/>
                </a:lnTo>
                <a:lnTo>
                  <a:pt x="218" y="578"/>
                </a:lnTo>
                <a:lnTo>
                  <a:pt x="218" y="604"/>
                </a:lnTo>
                <a:lnTo>
                  <a:pt x="215" y="625"/>
                </a:lnTo>
                <a:lnTo>
                  <a:pt x="211" y="644"/>
                </a:lnTo>
                <a:lnTo>
                  <a:pt x="203" y="665"/>
                </a:lnTo>
                <a:lnTo>
                  <a:pt x="193" y="686"/>
                </a:lnTo>
                <a:lnTo>
                  <a:pt x="178" y="711"/>
                </a:lnTo>
                <a:lnTo>
                  <a:pt x="158" y="741"/>
                </a:lnTo>
                <a:lnTo>
                  <a:pt x="158" y="801"/>
                </a:lnTo>
                <a:lnTo>
                  <a:pt x="269" y="801"/>
                </a:lnTo>
                <a:lnTo>
                  <a:pt x="269" y="816"/>
                </a:lnTo>
                <a:lnTo>
                  <a:pt x="269" y="816"/>
                </a:lnTo>
                <a:lnTo>
                  <a:pt x="268" y="842"/>
                </a:lnTo>
                <a:lnTo>
                  <a:pt x="263" y="868"/>
                </a:lnTo>
                <a:lnTo>
                  <a:pt x="256" y="898"/>
                </a:lnTo>
                <a:lnTo>
                  <a:pt x="251" y="913"/>
                </a:lnTo>
                <a:lnTo>
                  <a:pt x="245" y="927"/>
                </a:lnTo>
                <a:lnTo>
                  <a:pt x="239" y="942"/>
                </a:lnTo>
                <a:lnTo>
                  <a:pt x="232" y="954"/>
                </a:lnTo>
                <a:lnTo>
                  <a:pt x="221" y="967"/>
                </a:lnTo>
                <a:lnTo>
                  <a:pt x="212" y="978"/>
                </a:lnTo>
                <a:lnTo>
                  <a:pt x="200" y="987"/>
                </a:lnTo>
                <a:lnTo>
                  <a:pt x="187" y="995"/>
                </a:lnTo>
                <a:lnTo>
                  <a:pt x="173" y="1001"/>
                </a:lnTo>
                <a:lnTo>
                  <a:pt x="158" y="1006"/>
                </a:lnTo>
                <a:lnTo>
                  <a:pt x="158" y="1127"/>
                </a:lnTo>
                <a:lnTo>
                  <a:pt x="353" y="1127"/>
                </a:lnTo>
                <a:lnTo>
                  <a:pt x="353" y="831"/>
                </a:lnTo>
                <a:lnTo>
                  <a:pt x="387" y="831"/>
                </a:lnTo>
                <a:lnTo>
                  <a:pt x="387" y="1127"/>
                </a:lnTo>
                <a:lnTo>
                  <a:pt x="582" y="1127"/>
                </a:lnTo>
                <a:lnTo>
                  <a:pt x="582" y="1006"/>
                </a:lnTo>
                <a:lnTo>
                  <a:pt x="582" y="1006"/>
                </a:lnTo>
                <a:lnTo>
                  <a:pt x="567" y="1001"/>
                </a:lnTo>
                <a:lnTo>
                  <a:pt x="552" y="995"/>
                </a:lnTo>
                <a:lnTo>
                  <a:pt x="540" y="987"/>
                </a:lnTo>
                <a:lnTo>
                  <a:pt x="528" y="978"/>
                </a:lnTo>
                <a:lnTo>
                  <a:pt x="517" y="967"/>
                </a:lnTo>
                <a:lnTo>
                  <a:pt x="508" y="954"/>
                </a:lnTo>
                <a:lnTo>
                  <a:pt x="501" y="942"/>
                </a:lnTo>
                <a:lnTo>
                  <a:pt x="493" y="927"/>
                </a:lnTo>
                <a:lnTo>
                  <a:pt x="487" y="913"/>
                </a:lnTo>
                <a:lnTo>
                  <a:pt x="483" y="898"/>
                </a:lnTo>
                <a:lnTo>
                  <a:pt x="477" y="868"/>
                </a:lnTo>
                <a:lnTo>
                  <a:pt x="472" y="842"/>
                </a:lnTo>
                <a:lnTo>
                  <a:pt x="471" y="816"/>
                </a:lnTo>
                <a:lnTo>
                  <a:pt x="471" y="801"/>
                </a:lnTo>
                <a:lnTo>
                  <a:pt x="582" y="801"/>
                </a:lnTo>
                <a:lnTo>
                  <a:pt x="582" y="741"/>
                </a:lnTo>
                <a:lnTo>
                  <a:pt x="582" y="741"/>
                </a:lnTo>
                <a:lnTo>
                  <a:pt x="562" y="711"/>
                </a:lnTo>
                <a:lnTo>
                  <a:pt x="547" y="686"/>
                </a:lnTo>
                <a:lnTo>
                  <a:pt x="535" y="665"/>
                </a:lnTo>
                <a:lnTo>
                  <a:pt x="529" y="644"/>
                </a:lnTo>
                <a:lnTo>
                  <a:pt x="525" y="625"/>
                </a:lnTo>
                <a:lnTo>
                  <a:pt x="522" y="604"/>
                </a:lnTo>
                <a:lnTo>
                  <a:pt x="522" y="578"/>
                </a:lnTo>
                <a:lnTo>
                  <a:pt x="522" y="549"/>
                </a:lnTo>
                <a:lnTo>
                  <a:pt x="522" y="549"/>
                </a:lnTo>
                <a:lnTo>
                  <a:pt x="522" y="341"/>
                </a:lnTo>
                <a:lnTo>
                  <a:pt x="522" y="341"/>
                </a:lnTo>
                <a:close/>
              </a:path>
            </a:pathLst>
          </a:custGeom>
          <a:solidFill>
            <a:srgbClr val="0070C0"/>
          </a:solidFill>
          <a:ln>
            <a:noFill/>
          </a:ln>
          <a:extLst/>
        </p:spPr>
        <p:txBody>
          <a:bodyPr vert="horz" wrap="square" lIns="75613" tIns="37806" rIns="75613" bIns="37806" numCol="1" anchor="t" anchorCtr="0" compatLnSpc="1">
            <a:prstTxWarp prst="textNoShape">
              <a:avLst/>
            </a:prstTxWarp>
          </a:bodyPr>
          <a:lstStyle/>
          <a:p>
            <a:endParaRPr lang="ru-RU" sz="1488" dirty="0">
              <a:latin typeface="Arial Narrow" panose="020B0606020202030204" pitchFamily="34" charset="0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4227414" y="1903011"/>
            <a:ext cx="4592736" cy="30623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ru-RU" sz="1400" b="1" dirty="0">
                <a:solidFill>
                  <a:srgbClr val="0070C0"/>
                </a:solidFill>
                <a:latin typeface="Arial Narrow" panose="020B0606020202030204" pitchFamily="34" charset="0"/>
              </a:rPr>
              <a:t>продвижение российского </a:t>
            </a:r>
            <a:r>
              <a:rPr lang="ru-RU" sz="1400" dirty="0">
                <a:solidFill>
                  <a:schemeClr val="tx1">
                    <a:lumMod val="50000"/>
                  </a:schemeClr>
                </a:solidFill>
                <a:latin typeface="Arial Narrow" panose="020B0606020202030204" pitchFamily="34" charset="0"/>
              </a:rPr>
              <a:t>оборудования и технологий на </a:t>
            </a:r>
            <a:r>
              <a:rPr lang="ru-RU" sz="1400" dirty="0" smtClean="0">
                <a:solidFill>
                  <a:schemeClr val="tx1">
                    <a:lumMod val="50000"/>
                  </a:schemeClr>
                </a:solidFill>
                <a:latin typeface="Arial Narrow" panose="020B0606020202030204" pitchFamily="34" charset="0"/>
              </a:rPr>
              <a:t>рынке</a:t>
            </a:r>
          </a:p>
          <a:p>
            <a:pPr marL="285750" indent="-285750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chemeClr val="tx1">
                    <a:lumMod val="50000"/>
                  </a:schemeClr>
                </a:solidFill>
                <a:latin typeface="Arial Narrow" panose="020B0606020202030204" pitchFamily="34" charset="0"/>
              </a:rPr>
              <a:t>создать </a:t>
            </a:r>
            <a:r>
              <a:rPr lang="ru-RU" sz="1400" dirty="0">
                <a:solidFill>
                  <a:schemeClr val="tx1">
                    <a:lumMod val="50000"/>
                  </a:schemeClr>
                </a:solidFill>
                <a:latin typeface="Arial Narrow" panose="020B0606020202030204" pitchFamily="34" charset="0"/>
              </a:rPr>
              <a:t>среду для роста </a:t>
            </a:r>
            <a:r>
              <a:rPr lang="ru-RU" sz="1400" dirty="0" smtClean="0">
                <a:solidFill>
                  <a:schemeClr val="tx1">
                    <a:lumMod val="50000"/>
                  </a:schemeClr>
                </a:solidFill>
                <a:latin typeface="Arial Narrow" panose="020B0606020202030204" pitchFamily="34" charset="0"/>
              </a:rPr>
              <a:t>применения российских </a:t>
            </a:r>
            <a:r>
              <a:rPr lang="ru-RU" sz="1400" dirty="0">
                <a:solidFill>
                  <a:schemeClr val="tx1">
                    <a:lumMod val="50000"/>
                  </a:schemeClr>
                </a:solidFill>
                <a:latin typeface="Arial Narrow" panose="020B0606020202030204" pitchFamily="34" charset="0"/>
              </a:rPr>
              <a:t>технологий и оборудования </a:t>
            </a:r>
            <a:r>
              <a:rPr lang="ru-RU" sz="1400" b="1" dirty="0">
                <a:solidFill>
                  <a:srgbClr val="0070C0"/>
                </a:solidFill>
                <a:latin typeface="Arial Narrow" panose="020B0606020202030204" pitchFamily="34" charset="0"/>
              </a:rPr>
              <a:t>посредством разработки </a:t>
            </a:r>
            <a:r>
              <a:rPr lang="ru-RU" sz="1400" b="1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единых отраслевых требований </a:t>
            </a:r>
            <a:endParaRPr lang="en-US" sz="1400" b="1" dirty="0" smtClean="0">
              <a:solidFill>
                <a:srgbClr val="0070C0"/>
              </a:solidFill>
              <a:latin typeface="Arial Narrow" panose="020B0606020202030204" pitchFamily="34" charset="0"/>
            </a:endParaRPr>
          </a:p>
          <a:p>
            <a:pPr marL="285750" indent="-285750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chemeClr val="tx1">
                    <a:lumMod val="50000"/>
                  </a:schemeClr>
                </a:solidFill>
                <a:latin typeface="Arial Narrow" panose="020B0606020202030204" pitchFamily="34" charset="0"/>
              </a:rPr>
              <a:t>консолидация </a:t>
            </a:r>
            <a:r>
              <a:rPr lang="ru-RU" sz="1400" b="1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информации об имеющихся компетенциях </a:t>
            </a:r>
            <a:endParaRPr lang="ru-RU" sz="1400" dirty="0">
              <a:solidFill>
                <a:schemeClr val="tx1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marL="285750" indent="-285750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chemeClr val="tx1">
                    <a:lumMod val="50000"/>
                  </a:schemeClr>
                </a:solidFill>
                <a:latin typeface="Arial Narrow" panose="020B0606020202030204" pitchFamily="34" charset="0"/>
              </a:rPr>
              <a:t>создание платформы для взаимодействия с </a:t>
            </a:r>
            <a:r>
              <a:rPr lang="ru-RU" sz="1400" b="1" dirty="0">
                <a:solidFill>
                  <a:srgbClr val="0070C0"/>
                </a:solidFill>
                <a:latin typeface="Arial Narrow" panose="020B0606020202030204" pitchFamily="34" charset="0"/>
              </a:rPr>
              <a:t>целью разработки новых российских технологий и продуктов</a:t>
            </a:r>
          </a:p>
          <a:p>
            <a:pPr marL="285750" indent="-285750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tx1">
                    <a:lumMod val="50000"/>
                  </a:schemeClr>
                </a:solidFill>
                <a:latin typeface="Arial Narrow" panose="020B0606020202030204" pitchFamily="34" charset="0"/>
              </a:rPr>
              <a:t>с</a:t>
            </a:r>
            <a:r>
              <a:rPr lang="ru-RU" sz="1400" dirty="0" smtClean="0">
                <a:solidFill>
                  <a:schemeClr val="tx1">
                    <a:lumMod val="50000"/>
                  </a:schemeClr>
                </a:solidFill>
                <a:latin typeface="Arial Narrow" panose="020B0606020202030204" pitchFamily="34" charset="0"/>
              </a:rPr>
              <a:t>овместное </a:t>
            </a:r>
            <a:r>
              <a:rPr lang="ru-RU" sz="1400" b="1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решение </a:t>
            </a:r>
            <a:r>
              <a:rPr lang="ru-RU" sz="1400" b="1" dirty="0">
                <a:solidFill>
                  <a:srgbClr val="0070C0"/>
                </a:solidFill>
                <a:latin typeface="Arial Narrow" panose="020B0606020202030204" pitchFamily="34" charset="0"/>
              </a:rPr>
              <a:t>проблем отрасли</a:t>
            </a:r>
          </a:p>
          <a:p>
            <a:pPr marL="285750" indent="-285750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ru-RU" sz="1400" b="1" dirty="0">
                <a:solidFill>
                  <a:srgbClr val="0070C0"/>
                </a:solidFill>
                <a:latin typeface="Arial Narrow" panose="020B0606020202030204" pitchFamily="34" charset="0"/>
              </a:rPr>
              <a:t>аккумулирование</a:t>
            </a:r>
            <a:r>
              <a:rPr lang="ru-RU" sz="1400" dirty="0" smtClean="0">
                <a:solidFill>
                  <a:schemeClr val="tx1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ru-RU" sz="1400" dirty="0">
                <a:solidFill>
                  <a:schemeClr val="tx1">
                    <a:lumMod val="50000"/>
                  </a:schemeClr>
                </a:solidFill>
                <a:latin typeface="Arial Narrow" panose="020B0606020202030204" pitchFamily="34" charset="0"/>
              </a:rPr>
              <a:t>в едином цифровом пространстве  необходимые </a:t>
            </a:r>
            <a:r>
              <a:rPr lang="ru-RU" sz="1400" b="1" dirty="0">
                <a:solidFill>
                  <a:srgbClr val="0070C0"/>
                </a:solidFill>
                <a:latin typeface="Arial Narrow" panose="020B0606020202030204" pitchFamily="34" charset="0"/>
              </a:rPr>
              <a:t>отрасли информационно-аналитические данные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4211960" y="1268760"/>
            <a:ext cx="3975895" cy="382138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00"/>
              </a:spcBef>
              <a:buClr>
                <a:schemeClr val="accent1"/>
              </a:buClr>
              <a:buSzPct val="100000"/>
            </a:pPr>
            <a:r>
              <a:rPr lang="ru-RU" b="1" dirty="0">
                <a:solidFill>
                  <a:srgbClr val="0070C0"/>
                </a:solidFill>
                <a:latin typeface="Arial Narrow" panose="020B0606020202030204" pitchFamily="34" charset="0"/>
              </a:rPr>
              <a:t>Функционал</a:t>
            </a:r>
            <a:r>
              <a:rPr lang="en-US" b="1" dirty="0">
                <a:solidFill>
                  <a:srgbClr val="0070C0"/>
                </a:solidFill>
                <a:latin typeface="Arial Narrow" panose="020B0606020202030204" pitchFamily="34" charset="0"/>
              </a:rPr>
              <a:t>:</a:t>
            </a:r>
            <a:endParaRPr lang="ru-RU" b="1" dirty="0">
              <a:solidFill>
                <a:srgbClr val="0070C0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58" name="Прямая соединительная линия 57"/>
          <p:cNvCxnSpPr/>
          <p:nvPr/>
        </p:nvCxnSpPr>
        <p:spPr>
          <a:xfrm>
            <a:off x="4227415" y="1722942"/>
            <a:ext cx="4536504" cy="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3" name="Группа 62">
            <a:extLst>
              <a:ext uri="{FF2B5EF4-FFF2-40B4-BE49-F238E27FC236}">
                <a16:creationId xmlns:a16="http://schemas.microsoft.com/office/drawing/2014/main" xmlns="" id="{0DA981A1-85EC-6D44-95CF-F9F904792439}"/>
              </a:ext>
            </a:extLst>
          </p:cNvPr>
          <p:cNvGrpSpPr/>
          <p:nvPr/>
        </p:nvGrpSpPr>
        <p:grpSpPr>
          <a:xfrm>
            <a:off x="1593436" y="2308870"/>
            <a:ext cx="1260000" cy="1260000"/>
            <a:chOff x="5364192" y="843558"/>
            <a:chExt cx="674855" cy="691593"/>
          </a:xfrm>
        </p:grpSpPr>
        <p:sp>
          <p:nvSpPr>
            <p:cNvPr id="64" name="Овал 63">
              <a:extLst>
                <a:ext uri="{FF2B5EF4-FFF2-40B4-BE49-F238E27FC236}">
                  <a16:creationId xmlns:a16="http://schemas.microsoft.com/office/drawing/2014/main" xmlns="" id="{2F4026F1-7009-7045-90C8-4C98A4FE5523}"/>
                </a:ext>
              </a:extLst>
            </p:cNvPr>
            <p:cNvSpPr/>
            <p:nvPr/>
          </p:nvSpPr>
          <p:spPr>
            <a:xfrm>
              <a:off x="5364192" y="843558"/>
              <a:ext cx="674855" cy="691593"/>
            </a:xfrm>
            <a:prstGeom prst="ellipse">
              <a:avLst/>
            </a:prstGeom>
            <a:solidFill>
              <a:srgbClr val="0070BA">
                <a:lumMod val="20000"/>
                <a:lumOff val="80000"/>
              </a:srgbClr>
            </a:solidFill>
            <a:ln w="12700" cap="flat" cmpd="sng" algn="ctr">
              <a:solidFill>
                <a:srgbClr val="2FB4E9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Овал 64">
              <a:extLst>
                <a:ext uri="{FF2B5EF4-FFF2-40B4-BE49-F238E27FC236}">
                  <a16:creationId xmlns:a16="http://schemas.microsoft.com/office/drawing/2014/main" xmlns="" id="{51D8EE60-4302-B24D-A860-7A87249BB8E8}"/>
                </a:ext>
              </a:extLst>
            </p:cNvPr>
            <p:cNvSpPr/>
            <p:nvPr/>
          </p:nvSpPr>
          <p:spPr>
            <a:xfrm>
              <a:off x="5455020" y="947696"/>
              <a:ext cx="482039" cy="493995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solidFill>
                <a:srgbClr val="2FB4E9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7" name="Прямоугольник 66">
            <a:extLst>
              <a:ext uri="{FF2B5EF4-FFF2-40B4-BE49-F238E27FC236}">
                <a16:creationId xmlns:a16="http://schemas.microsoft.com/office/drawing/2014/main" xmlns="" id="{843C9930-54C4-1845-A39B-BBF15747EE25}"/>
              </a:ext>
            </a:extLst>
          </p:cNvPr>
          <p:cNvSpPr/>
          <p:nvPr/>
        </p:nvSpPr>
        <p:spPr>
          <a:xfrm>
            <a:off x="1741644" y="3573463"/>
            <a:ext cx="894797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200" b="1" dirty="0">
                <a:solidFill>
                  <a:srgbClr val="3477B2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РИН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1928022" y="4276432"/>
            <a:ext cx="522043" cy="520641"/>
          </a:xfrm>
          <a:prstGeom prst="ellipse">
            <a:avLst/>
          </a:prstGeom>
          <a:solidFill>
            <a:schemeClr val="bg1"/>
          </a:solidFill>
          <a:ln>
            <a:solidFill>
              <a:srgbClr val="0070C0"/>
            </a:solidFill>
          </a:ln>
        </p:spPr>
        <p:txBody>
          <a:bodyPr wrap="none" lIns="0" rIns="0" rtlCol="0" anchor="ctr">
            <a:noAutofit/>
          </a:bodyPr>
          <a:lstStyle>
            <a:defPPr>
              <a:defRPr lang="ru-RU"/>
            </a:defPPr>
            <a:lvl1pPr>
              <a:spcBef>
                <a:spcPts val="600"/>
              </a:spcBef>
              <a:defRPr sz="1600" b="1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algn="ctr"/>
            <a:endParaRPr lang="ru-RU" sz="2400" dirty="0">
              <a:solidFill>
                <a:schemeClr val="tx1"/>
              </a:solidFill>
            </a:endParaRPr>
          </a:p>
        </p:txBody>
      </p:sp>
      <p:sp>
        <p:nvSpPr>
          <p:cNvPr id="69" name="Прямоугольник 68"/>
          <p:cNvSpPr/>
          <p:nvPr/>
        </p:nvSpPr>
        <p:spPr>
          <a:xfrm>
            <a:off x="1593436" y="4861503"/>
            <a:ext cx="1160377" cy="543711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r>
              <a:rPr lang="ru-RU" sz="14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Проектные организации</a:t>
            </a:r>
            <a:endParaRPr lang="ru-RU" sz="14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71" name="man_nauka_1"/>
          <p:cNvSpPr>
            <a:spLocks noChangeAspect="1" noEditPoints="1"/>
          </p:cNvSpPr>
          <p:nvPr/>
        </p:nvSpPr>
        <p:spPr bwMode="auto">
          <a:xfrm>
            <a:off x="2080969" y="4370374"/>
            <a:ext cx="284933" cy="297493"/>
          </a:xfrm>
          <a:custGeom>
            <a:avLst/>
            <a:gdLst>
              <a:gd name="T0" fmla="*/ 7881 w 15609"/>
              <a:gd name="T1" fmla="*/ 6704 h 16297"/>
              <a:gd name="T2" fmla="*/ 9114 w 15609"/>
              <a:gd name="T3" fmla="*/ 3810 h 16297"/>
              <a:gd name="T4" fmla="*/ 8411 w 15609"/>
              <a:gd name="T5" fmla="*/ 4662 h 16297"/>
              <a:gd name="T6" fmla="*/ 6741 w 15609"/>
              <a:gd name="T7" fmla="*/ 3820 h 16297"/>
              <a:gd name="T8" fmla="*/ 5177 w 15609"/>
              <a:gd name="T9" fmla="*/ 4892 h 16297"/>
              <a:gd name="T10" fmla="*/ 3924 w 15609"/>
              <a:gd name="T11" fmla="*/ 3642 h 16297"/>
              <a:gd name="T12" fmla="*/ 5264 w 15609"/>
              <a:gd name="T13" fmla="*/ 4531 h 16297"/>
              <a:gd name="T14" fmla="*/ 5676 w 15609"/>
              <a:gd name="T15" fmla="*/ 3372 h 16297"/>
              <a:gd name="T16" fmla="*/ 4565 w 15609"/>
              <a:gd name="T17" fmla="*/ 3899 h 16297"/>
              <a:gd name="T18" fmla="*/ 7291 w 15609"/>
              <a:gd name="T19" fmla="*/ 4336 h 16297"/>
              <a:gd name="T20" fmla="*/ 8426 w 15609"/>
              <a:gd name="T21" fmla="*/ 3865 h 16297"/>
              <a:gd name="T22" fmla="*/ 7291 w 15609"/>
              <a:gd name="T23" fmla="*/ 3394 h 16297"/>
              <a:gd name="T24" fmla="*/ 13038 w 15609"/>
              <a:gd name="T25" fmla="*/ 9425 h 16297"/>
              <a:gd name="T26" fmla="*/ 13714 w 15609"/>
              <a:gd name="T27" fmla="*/ 10208 h 16297"/>
              <a:gd name="T28" fmla="*/ 15239 w 15609"/>
              <a:gd name="T29" fmla="*/ 10654 h 16297"/>
              <a:gd name="T30" fmla="*/ 14934 w 15609"/>
              <a:gd name="T31" fmla="*/ 12652 h 16297"/>
              <a:gd name="T32" fmla="*/ 15404 w 15609"/>
              <a:gd name="T33" fmla="*/ 14640 h 16297"/>
              <a:gd name="T34" fmla="*/ 13425 w 15609"/>
              <a:gd name="T35" fmla="*/ 15422 h 16297"/>
              <a:gd name="T36" fmla="*/ 11644 w 15609"/>
              <a:gd name="T37" fmla="*/ 15835 h 16297"/>
              <a:gd name="T38" fmla="*/ 10789 w 15609"/>
              <a:gd name="T39" fmla="*/ 15223 h 16297"/>
              <a:gd name="T40" fmla="*/ 9768 w 15609"/>
              <a:gd name="T41" fmla="*/ 14870 h 16297"/>
              <a:gd name="T42" fmla="*/ 9350 w 15609"/>
              <a:gd name="T43" fmla="*/ 13561 h 16297"/>
              <a:gd name="T44" fmla="*/ 9210 w 15609"/>
              <a:gd name="T45" fmla="*/ 11379 h 16297"/>
              <a:gd name="T46" fmla="*/ 11005 w 15609"/>
              <a:gd name="T47" fmla="*/ 10538 h 16297"/>
              <a:gd name="T48" fmla="*/ 13031 w 15609"/>
              <a:gd name="T49" fmla="*/ 10031 h 16297"/>
              <a:gd name="T50" fmla="*/ 13135 w 15609"/>
              <a:gd name="T51" fmla="*/ 9831 h 16297"/>
              <a:gd name="T52" fmla="*/ 10378 w 15609"/>
              <a:gd name="T53" fmla="*/ 14877 h 16297"/>
              <a:gd name="T54" fmla="*/ 10890 w 15609"/>
              <a:gd name="T55" fmla="*/ 14352 h 16297"/>
              <a:gd name="T56" fmla="*/ 9895 w 15609"/>
              <a:gd name="T57" fmla="*/ 13441 h 16297"/>
              <a:gd name="T58" fmla="*/ 9997 w 15609"/>
              <a:gd name="T59" fmla="*/ 14411 h 16297"/>
              <a:gd name="T60" fmla="*/ 12632 w 15609"/>
              <a:gd name="T61" fmla="*/ 10155 h 16297"/>
              <a:gd name="T62" fmla="*/ 12165 w 15609"/>
              <a:gd name="T63" fmla="*/ 9637 h 16297"/>
              <a:gd name="T64" fmla="*/ 12521 w 15609"/>
              <a:gd name="T65" fmla="*/ 10961 h 16297"/>
              <a:gd name="T66" fmla="*/ 13931 w 15609"/>
              <a:gd name="T67" fmla="*/ 14484 h 16297"/>
              <a:gd name="T68" fmla="*/ 15178 w 15609"/>
              <a:gd name="T69" fmla="*/ 13974 h 16297"/>
              <a:gd name="T70" fmla="*/ 11021 w 15609"/>
              <a:gd name="T71" fmla="*/ 11243 h 16297"/>
              <a:gd name="T72" fmla="*/ 9646 w 15609"/>
              <a:gd name="T73" fmla="*/ 11174 h 16297"/>
              <a:gd name="T74" fmla="*/ 13165 w 15609"/>
              <a:gd name="T75" fmla="*/ 11396 h 16297"/>
              <a:gd name="T76" fmla="*/ 14808 w 15609"/>
              <a:gd name="T77" fmla="*/ 12156 h 16297"/>
              <a:gd name="T78" fmla="*/ 14756 w 15609"/>
              <a:gd name="T79" fmla="*/ 10912 h 16297"/>
              <a:gd name="T80" fmla="*/ 12887 w 15609"/>
              <a:gd name="T81" fmla="*/ 14618 h 16297"/>
              <a:gd name="T82" fmla="*/ 11999 w 15609"/>
              <a:gd name="T83" fmla="*/ 15622 h 16297"/>
              <a:gd name="T84" fmla="*/ 13124 w 15609"/>
              <a:gd name="T85" fmla="*/ 15073 h 16297"/>
              <a:gd name="T86" fmla="*/ 11924 w 15609"/>
              <a:gd name="T87" fmla="*/ 14180 h 16297"/>
              <a:gd name="T88" fmla="*/ 12073 w 15609"/>
              <a:gd name="T89" fmla="*/ 13789 h 16297"/>
              <a:gd name="T90" fmla="*/ 13027 w 15609"/>
              <a:gd name="T91" fmla="*/ 11796 h 16297"/>
              <a:gd name="T92" fmla="*/ 12964 w 15609"/>
              <a:gd name="T93" fmla="*/ 14202 h 16297"/>
              <a:gd name="T94" fmla="*/ 13928 w 15609"/>
              <a:gd name="T95" fmla="*/ 12561 h 16297"/>
              <a:gd name="T96" fmla="*/ 11720 w 15609"/>
              <a:gd name="T97" fmla="*/ 11362 h 16297"/>
              <a:gd name="T98" fmla="*/ 31 w 15609"/>
              <a:gd name="T99" fmla="*/ 14219 h 16297"/>
              <a:gd name="T100" fmla="*/ 8092 w 15609"/>
              <a:gd name="T101" fmla="*/ 15802 h 16297"/>
              <a:gd name="T102" fmla="*/ 9078 w 15609"/>
              <a:gd name="T103" fmla="*/ 13161 h 16297"/>
              <a:gd name="T104" fmla="*/ 9355 w 15609"/>
              <a:gd name="T105" fmla="*/ 10281 h 16297"/>
              <a:gd name="T106" fmla="*/ 9599 w 15609"/>
              <a:gd name="T107" fmla="*/ 7973 h 16297"/>
              <a:gd name="T108" fmla="*/ 3531 w 15609"/>
              <a:gd name="T109" fmla="*/ 7903 h 16297"/>
              <a:gd name="T110" fmla="*/ 5714 w 15609"/>
              <a:gd name="T111" fmla="*/ 2950 h 16297"/>
              <a:gd name="T112" fmla="*/ 7728 w 15609"/>
              <a:gd name="T113" fmla="*/ 2816 h 16297"/>
              <a:gd name="T114" fmla="*/ 9073 w 15609"/>
              <a:gd name="T115" fmla="*/ 3363 h 16297"/>
              <a:gd name="T116" fmla="*/ 8864 w 15609"/>
              <a:gd name="T117" fmla="*/ 1096 h 16297"/>
              <a:gd name="T118" fmla="*/ 7022 w 15609"/>
              <a:gd name="T119" fmla="*/ 49 h 16297"/>
              <a:gd name="T120" fmla="*/ 4763 w 15609"/>
              <a:gd name="T121" fmla="*/ 469 h 16297"/>
              <a:gd name="T122" fmla="*/ 3853 w 15609"/>
              <a:gd name="T123" fmla="*/ 2869 h 16297"/>
              <a:gd name="T124" fmla="*/ 5101 w 15609"/>
              <a:gd name="T125" fmla="*/ 2825 h 162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5609" h="16297">
                <a:moveTo>
                  <a:pt x="4082" y="4890"/>
                </a:moveTo>
                <a:lnTo>
                  <a:pt x="4103" y="5013"/>
                </a:lnTo>
                <a:lnTo>
                  <a:pt x="4129" y="5136"/>
                </a:lnTo>
                <a:lnTo>
                  <a:pt x="4160" y="5257"/>
                </a:lnTo>
                <a:lnTo>
                  <a:pt x="4196" y="5377"/>
                </a:lnTo>
                <a:lnTo>
                  <a:pt x="4236" y="5496"/>
                </a:lnTo>
                <a:lnTo>
                  <a:pt x="4281" y="5613"/>
                </a:lnTo>
                <a:lnTo>
                  <a:pt x="4330" y="5729"/>
                </a:lnTo>
                <a:lnTo>
                  <a:pt x="4383" y="5842"/>
                </a:lnTo>
                <a:lnTo>
                  <a:pt x="4440" y="5953"/>
                </a:lnTo>
                <a:lnTo>
                  <a:pt x="4501" y="6062"/>
                </a:lnTo>
                <a:lnTo>
                  <a:pt x="4565" y="6168"/>
                </a:lnTo>
                <a:lnTo>
                  <a:pt x="4632" y="6272"/>
                </a:lnTo>
                <a:lnTo>
                  <a:pt x="4702" y="6372"/>
                </a:lnTo>
                <a:lnTo>
                  <a:pt x="4775" y="6470"/>
                </a:lnTo>
                <a:lnTo>
                  <a:pt x="4851" y="6564"/>
                </a:lnTo>
                <a:lnTo>
                  <a:pt x="4930" y="6653"/>
                </a:lnTo>
                <a:lnTo>
                  <a:pt x="5010" y="6740"/>
                </a:lnTo>
                <a:lnTo>
                  <a:pt x="5094" y="6821"/>
                </a:lnTo>
                <a:lnTo>
                  <a:pt x="5178" y="6900"/>
                </a:lnTo>
                <a:lnTo>
                  <a:pt x="5265" y="6973"/>
                </a:lnTo>
                <a:lnTo>
                  <a:pt x="5354" y="7041"/>
                </a:lnTo>
                <a:lnTo>
                  <a:pt x="5443" y="7105"/>
                </a:lnTo>
                <a:lnTo>
                  <a:pt x="5535" y="7164"/>
                </a:lnTo>
                <a:lnTo>
                  <a:pt x="5627" y="7218"/>
                </a:lnTo>
                <a:lnTo>
                  <a:pt x="5720" y="7265"/>
                </a:lnTo>
                <a:lnTo>
                  <a:pt x="5814" y="7307"/>
                </a:lnTo>
                <a:lnTo>
                  <a:pt x="5908" y="7344"/>
                </a:lnTo>
                <a:lnTo>
                  <a:pt x="6003" y="7373"/>
                </a:lnTo>
                <a:lnTo>
                  <a:pt x="6098" y="7397"/>
                </a:lnTo>
                <a:lnTo>
                  <a:pt x="6193" y="7414"/>
                </a:lnTo>
                <a:lnTo>
                  <a:pt x="6288" y="7425"/>
                </a:lnTo>
                <a:lnTo>
                  <a:pt x="6382" y="7428"/>
                </a:lnTo>
                <a:lnTo>
                  <a:pt x="6491" y="7424"/>
                </a:lnTo>
                <a:lnTo>
                  <a:pt x="6600" y="7413"/>
                </a:lnTo>
                <a:lnTo>
                  <a:pt x="6708" y="7395"/>
                </a:lnTo>
                <a:lnTo>
                  <a:pt x="6815" y="7369"/>
                </a:lnTo>
                <a:lnTo>
                  <a:pt x="6921" y="7337"/>
                </a:lnTo>
                <a:lnTo>
                  <a:pt x="7024" y="7298"/>
                </a:lnTo>
                <a:lnTo>
                  <a:pt x="7127" y="7253"/>
                </a:lnTo>
                <a:lnTo>
                  <a:pt x="7229" y="7203"/>
                </a:lnTo>
                <a:lnTo>
                  <a:pt x="7328" y="7146"/>
                </a:lnTo>
                <a:lnTo>
                  <a:pt x="7426" y="7085"/>
                </a:lnTo>
                <a:lnTo>
                  <a:pt x="7521" y="7018"/>
                </a:lnTo>
                <a:lnTo>
                  <a:pt x="7615" y="6947"/>
                </a:lnTo>
                <a:lnTo>
                  <a:pt x="7706" y="6870"/>
                </a:lnTo>
                <a:lnTo>
                  <a:pt x="7795" y="6789"/>
                </a:lnTo>
                <a:lnTo>
                  <a:pt x="7881" y="6704"/>
                </a:lnTo>
                <a:lnTo>
                  <a:pt x="7965" y="6616"/>
                </a:lnTo>
                <a:lnTo>
                  <a:pt x="8046" y="6524"/>
                </a:lnTo>
                <a:lnTo>
                  <a:pt x="8124" y="6428"/>
                </a:lnTo>
                <a:lnTo>
                  <a:pt x="8198" y="6329"/>
                </a:lnTo>
                <a:lnTo>
                  <a:pt x="8271" y="6229"/>
                </a:lnTo>
                <a:lnTo>
                  <a:pt x="8339" y="6125"/>
                </a:lnTo>
                <a:lnTo>
                  <a:pt x="8403" y="6019"/>
                </a:lnTo>
                <a:lnTo>
                  <a:pt x="8464" y="5911"/>
                </a:lnTo>
                <a:lnTo>
                  <a:pt x="8521" y="5802"/>
                </a:lnTo>
                <a:lnTo>
                  <a:pt x="8575" y="5690"/>
                </a:lnTo>
                <a:lnTo>
                  <a:pt x="8623" y="5578"/>
                </a:lnTo>
                <a:lnTo>
                  <a:pt x="8668" y="5465"/>
                </a:lnTo>
                <a:lnTo>
                  <a:pt x="8709" y="5351"/>
                </a:lnTo>
                <a:lnTo>
                  <a:pt x="8745" y="5236"/>
                </a:lnTo>
                <a:lnTo>
                  <a:pt x="8777" y="5122"/>
                </a:lnTo>
                <a:lnTo>
                  <a:pt x="8803" y="5008"/>
                </a:lnTo>
                <a:lnTo>
                  <a:pt x="8825" y="4894"/>
                </a:lnTo>
                <a:lnTo>
                  <a:pt x="8841" y="4877"/>
                </a:lnTo>
                <a:lnTo>
                  <a:pt x="8857" y="4859"/>
                </a:lnTo>
                <a:lnTo>
                  <a:pt x="8874" y="4839"/>
                </a:lnTo>
                <a:lnTo>
                  <a:pt x="8889" y="4819"/>
                </a:lnTo>
                <a:lnTo>
                  <a:pt x="8904" y="4796"/>
                </a:lnTo>
                <a:lnTo>
                  <a:pt x="8919" y="4772"/>
                </a:lnTo>
                <a:lnTo>
                  <a:pt x="8934" y="4748"/>
                </a:lnTo>
                <a:lnTo>
                  <a:pt x="8948" y="4720"/>
                </a:lnTo>
                <a:lnTo>
                  <a:pt x="8961" y="4693"/>
                </a:lnTo>
                <a:lnTo>
                  <a:pt x="8974" y="4662"/>
                </a:lnTo>
                <a:lnTo>
                  <a:pt x="8985" y="4630"/>
                </a:lnTo>
                <a:lnTo>
                  <a:pt x="8998" y="4597"/>
                </a:lnTo>
                <a:lnTo>
                  <a:pt x="9008" y="4562"/>
                </a:lnTo>
                <a:lnTo>
                  <a:pt x="9018" y="4525"/>
                </a:lnTo>
                <a:lnTo>
                  <a:pt x="9027" y="4487"/>
                </a:lnTo>
                <a:lnTo>
                  <a:pt x="9034" y="4446"/>
                </a:lnTo>
                <a:lnTo>
                  <a:pt x="9046" y="4400"/>
                </a:lnTo>
                <a:lnTo>
                  <a:pt x="9060" y="4350"/>
                </a:lnTo>
                <a:lnTo>
                  <a:pt x="9071" y="4298"/>
                </a:lnTo>
                <a:lnTo>
                  <a:pt x="9083" y="4243"/>
                </a:lnTo>
                <a:lnTo>
                  <a:pt x="9093" y="4186"/>
                </a:lnTo>
                <a:lnTo>
                  <a:pt x="9102" y="4128"/>
                </a:lnTo>
                <a:lnTo>
                  <a:pt x="9109" y="4070"/>
                </a:lnTo>
                <a:lnTo>
                  <a:pt x="9116" y="4011"/>
                </a:lnTo>
                <a:lnTo>
                  <a:pt x="9118" y="3982"/>
                </a:lnTo>
                <a:lnTo>
                  <a:pt x="9119" y="3952"/>
                </a:lnTo>
                <a:lnTo>
                  <a:pt x="9120" y="3924"/>
                </a:lnTo>
                <a:lnTo>
                  <a:pt x="9120" y="3895"/>
                </a:lnTo>
                <a:lnTo>
                  <a:pt x="9119" y="3866"/>
                </a:lnTo>
                <a:lnTo>
                  <a:pt x="9117" y="3838"/>
                </a:lnTo>
                <a:lnTo>
                  <a:pt x="9114" y="3810"/>
                </a:lnTo>
                <a:lnTo>
                  <a:pt x="9111" y="3784"/>
                </a:lnTo>
                <a:lnTo>
                  <a:pt x="9107" y="3757"/>
                </a:lnTo>
                <a:lnTo>
                  <a:pt x="9102" y="3732"/>
                </a:lnTo>
                <a:lnTo>
                  <a:pt x="9096" y="3707"/>
                </a:lnTo>
                <a:lnTo>
                  <a:pt x="9090" y="3682"/>
                </a:lnTo>
                <a:lnTo>
                  <a:pt x="9082" y="3660"/>
                </a:lnTo>
                <a:lnTo>
                  <a:pt x="9073" y="3637"/>
                </a:lnTo>
                <a:lnTo>
                  <a:pt x="9063" y="3616"/>
                </a:lnTo>
                <a:lnTo>
                  <a:pt x="9051" y="3596"/>
                </a:lnTo>
                <a:lnTo>
                  <a:pt x="9038" y="3610"/>
                </a:lnTo>
                <a:lnTo>
                  <a:pt x="9024" y="3623"/>
                </a:lnTo>
                <a:lnTo>
                  <a:pt x="9009" y="3634"/>
                </a:lnTo>
                <a:lnTo>
                  <a:pt x="8994" y="3643"/>
                </a:lnTo>
                <a:lnTo>
                  <a:pt x="8984" y="3648"/>
                </a:lnTo>
                <a:lnTo>
                  <a:pt x="8976" y="3652"/>
                </a:lnTo>
                <a:lnTo>
                  <a:pt x="8967" y="3655"/>
                </a:lnTo>
                <a:lnTo>
                  <a:pt x="8958" y="3658"/>
                </a:lnTo>
                <a:lnTo>
                  <a:pt x="8949" y="3660"/>
                </a:lnTo>
                <a:lnTo>
                  <a:pt x="8940" y="3661"/>
                </a:lnTo>
                <a:lnTo>
                  <a:pt x="8930" y="3662"/>
                </a:lnTo>
                <a:lnTo>
                  <a:pt x="8921" y="3663"/>
                </a:lnTo>
                <a:lnTo>
                  <a:pt x="8760" y="3663"/>
                </a:lnTo>
                <a:lnTo>
                  <a:pt x="8765" y="3691"/>
                </a:lnTo>
                <a:lnTo>
                  <a:pt x="8770" y="3719"/>
                </a:lnTo>
                <a:lnTo>
                  <a:pt x="8774" y="3745"/>
                </a:lnTo>
                <a:lnTo>
                  <a:pt x="8778" y="3771"/>
                </a:lnTo>
                <a:lnTo>
                  <a:pt x="8780" y="3796"/>
                </a:lnTo>
                <a:lnTo>
                  <a:pt x="8782" y="3822"/>
                </a:lnTo>
                <a:lnTo>
                  <a:pt x="8783" y="3848"/>
                </a:lnTo>
                <a:lnTo>
                  <a:pt x="8784" y="3875"/>
                </a:lnTo>
                <a:lnTo>
                  <a:pt x="8782" y="3928"/>
                </a:lnTo>
                <a:lnTo>
                  <a:pt x="8779" y="3980"/>
                </a:lnTo>
                <a:lnTo>
                  <a:pt x="8772" y="4030"/>
                </a:lnTo>
                <a:lnTo>
                  <a:pt x="8763" y="4081"/>
                </a:lnTo>
                <a:lnTo>
                  <a:pt x="8752" y="4130"/>
                </a:lnTo>
                <a:lnTo>
                  <a:pt x="8737" y="4179"/>
                </a:lnTo>
                <a:lnTo>
                  <a:pt x="8722" y="4226"/>
                </a:lnTo>
                <a:lnTo>
                  <a:pt x="8703" y="4273"/>
                </a:lnTo>
                <a:lnTo>
                  <a:pt x="8682" y="4318"/>
                </a:lnTo>
                <a:lnTo>
                  <a:pt x="8660" y="4361"/>
                </a:lnTo>
                <a:lnTo>
                  <a:pt x="8636" y="4404"/>
                </a:lnTo>
                <a:lnTo>
                  <a:pt x="8609" y="4445"/>
                </a:lnTo>
                <a:lnTo>
                  <a:pt x="8581" y="4486"/>
                </a:lnTo>
                <a:lnTo>
                  <a:pt x="8550" y="4523"/>
                </a:lnTo>
                <a:lnTo>
                  <a:pt x="8518" y="4561"/>
                </a:lnTo>
                <a:lnTo>
                  <a:pt x="8484" y="4596"/>
                </a:lnTo>
                <a:lnTo>
                  <a:pt x="8449" y="4629"/>
                </a:lnTo>
                <a:lnTo>
                  <a:pt x="8411" y="4662"/>
                </a:lnTo>
                <a:lnTo>
                  <a:pt x="8372" y="4691"/>
                </a:lnTo>
                <a:lnTo>
                  <a:pt x="8333" y="4720"/>
                </a:lnTo>
                <a:lnTo>
                  <a:pt x="8291" y="4747"/>
                </a:lnTo>
                <a:lnTo>
                  <a:pt x="8248" y="4771"/>
                </a:lnTo>
                <a:lnTo>
                  <a:pt x="8204" y="4793"/>
                </a:lnTo>
                <a:lnTo>
                  <a:pt x="8159" y="4814"/>
                </a:lnTo>
                <a:lnTo>
                  <a:pt x="8112" y="4832"/>
                </a:lnTo>
                <a:lnTo>
                  <a:pt x="8064" y="4848"/>
                </a:lnTo>
                <a:lnTo>
                  <a:pt x="8016" y="4862"/>
                </a:lnTo>
                <a:lnTo>
                  <a:pt x="7967" y="4873"/>
                </a:lnTo>
                <a:lnTo>
                  <a:pt x="7917" y="4882"/>
                </a:lnTo>
                <a:lnTo>
                  <a:pt x="7865" y="4888"/>
                </a:lnTo>
                <a:lnTo>
                  <a:pt x="7813" y="4892"/>
                </a:lnTo>
                <a:lnTo>
                  <a:pt x="7761" y="4893"/>
                </a:lnTo>
                <a:lnTo>
                  <a:pt x="7708" y="4892"/>
                </a:lnTo>
                <a:lnTo>
                  <a:pt x="7657" y="4888"/>
                </a:lnTo>
                <a:lnTo>
                  <a:pt x="7606" y="4882"/>
                </a:lnTo>
                <a:lnTo>
                  <a:pt x="7555" y="4873"/>
                </a:lnTo>
                <a:lnTo>
                  <a:pt x="7506" y="4862"/>
                </a:lnTo>
                <a:lnTo>
                  <a:pt x="7457" y="4847"/>
                </a:lnTo>
                <a:lnTo>
                  <a:pt x="7410" y="4832"/>
                </a:lnTo>
                <a:lnTo>
                  <a:pt x="7364" y="4814"/>
                </a:lnTo>
                <a:lnTo>
                  <a:pt x="7318" y="4793"/>
                </a:lnTo>
                <a:lnTo>
                  <a:pt x="7274" y="4771"/>
                </a:lnTo>
                <a:lnTo>
                  <a:pt x="7232" y="4747"/>
                </a:lnTo>
                <a:lnTo>
                  <a:pt x="7190" y="4720"/>
                </a:lnTo>
                <a:lnTo>
                  <a:pt x="7149" y="4691"/>
                </a:lnTo>
                <a:lnTo>
                  <a:pt x="7111" y="4661"/>
                </a:lnTo>
                <a:lnTo>
                  <a:pt x="7074" y="4629"/>
                </a:lnTo>
                <a:lnTo>
                  <a:pt x="7038" y="4595"/>
                </a:lnTo>
                <a:lnTo>
                  <a:pt x="7005" y="4560"/>
                </a:lnTo>
                <a:lnTo>
                  <a:pt x="6972" y="4522"/>
                </a:lnTo>
                <a:lnTo>
                  <a:pt x="6942" y="4484"/>
                </a:lnTo>
                <a:lnTo>
                  <a:pt x="6913" y="4444"/>
                </a:lnTo>
                <a:lnTo>
                  <a:pt x="6887" y="4402"/>
                </a:lnTo>
                <a:lnTo>
                  <a:pt x="6863" y="4360"/>
                </a:lnTo>
                <a:lnTo>
                  <a:pt x="6839" y="4316"/>
                </a:lnTo>
                <a:lnTo>
                  <a:pt x="6819" y="4271"/>
                </a:lnTo>
                <a:lnTo>
                  <a:pt x="6801" y="4224"/>
                </a:lnTo>
                <a:lnTo>
                  <a:pt x="6784" y="4177"/>
                </a:lnTo>
                <a:lnTo>
                  <a:pt x="6771" y="4128"/>
                </a:lnTo>
                <a:lnTo>
                  <a:pt x="6759" y="4079"/>
                </a:lnTo>
                <a:lnTo>
                  <a:pt x="6751" y="4028"/>
                </a:lnTo>
                <a:lnTo>
                  <a:pt x="6744" y="3977"/>
                </a:lnTo>
                <a:lnTo>
                  <a:pt x="6740" y="3926"/>
                </a:lnTo>
                <a:lnTo>
                  <a:pt x="6739" y="3873"/>
                </a:lnTo>
                <a:lnTo>
                  <a:pt x="6739" y="3846"/>
                </a:lnTo>
                <a:lnTo>
                  <a:pt x="6741" y="3820"/>
                </a:lnTo>
                <a:lnTo>
                  <a:pt x="6743" y="3794"/>
                </a:lnTo>
                <a:lnTo>
                  <a:pt x="6745" y="3770"/>
                </a:lnTo>
                <a:lnTo>
                  <a:pt x="6749" y="3744"/>
                </a:lnTo>
                <a:lnTo>
                  <a:pt x="6753" y="3719"/>
                </a:lnTo>
                <a:lnTo>
                  <a:pt x="6757" y="3691"/>
                </a:lnTo>
                <a:lnTo>
                  <a:pt x="6763" y="3663"/>
                </a:lnTo>
                <a:lnTo>
                  <a:pt x="6228" y="3663"/>
                </a:lnTo>
                <a:lnTo>
                  <a:pt x="6233" y="3691"/>
                </a:lnTo>
                <a:lnTo>
                  <a:pt x="6238" y="3719"/>
                </a:lnTo>
                <a:lnTo>
                  <a:pt x="6242" y="3745"/>
                </a:lnTo>
                <a:lnTo>
                  <a:pt x="6245" y="3771"/>
                </a:lnTo>
                <a:lnTo>
                  <a:pt x="6248" y="3796"/>
                </a:lnTo>
                <a:lnTo>
                  <a:pt x="6251" y="3822"/>
                </a:lnTo>
                <a:lnTo>
                  <a:pt x="6252" y="3848"/>
                </a:lnTo>
                <a:lnTo>
                  <a:pt x="6252" y="3875"/>
                </a:lnTo>
                <a:lnTo>
                  <a:pt x="6251" y="3928"/>
                </a:lnTo>
                <a:lnTo>
                  <a:pt x="6246" y="3980"/>
                </a:lnTo>
                <a:lnTo>
                  <a:pt x="6240" y="4030"/>
                </a:lnTo>
                <a:lnTo>
                  <a:pt x="6231" y="4081"/>
                </a:lnTo>
                <a:lnTo>
                  <a:pt x="6220" y="4130"/>
                </a:lnTo>
                <a:lnTo>
                  <a:pt x="6206" y="4179"/>
                </a:lnTo>
                <a:lnTo>
                  <a:pt x="6190" y="4226"/>
                </a:lnTo>
                <a:lnTo>
                  <a:pt x="6171" y="4273"/>
                </a:lnTo>
                <a:lnTo>
                  <a:pt x="6151" y="4318"/>
                </a:lnTo>
                <a:lnTo>
                  <a:pt x="6129" y="4361"/>
                </a:lnTo>
                <a:lnTo>
                  <a:pt x="6104" y="4404"/>
                </a:lnTo>
                <a:lnTo>
                  <a:pt x="6077" y="4445"/>
                </a:lnTo>
                <a:lnTo>
                  <a:pt x="6048" y="4486"/>
                </a:lnTo>
                <a:lnTo>
                  <a:pt x="6018" y="4523"/>
                </a:lnTo>
                <a:lnTo>
                  <a:pt x="5986" y="4561"/>
                </a:lnTo>
                <a:lnTo>
                  <a:pt x="5953" y="4596"/>
                </a:lnTo>
                <a:lnTo>
                  <a:pt x="5917" y="4629"/>
                </a:lnTo>
                <a:lnTo>
                  <a:pt x="5879" y="4662"/>
                </a:lnTo>
                <a:lnTo>
                  <a:pt x="5841" y="4691"/>
                </a:lnTo>
                <a:lnTo>
                  <a:pt x="5801" y="4720"/>
                </a:lnTo>
                <a:lnTo>
                  <a:pt x="5759" y="4747"/>
                </a:lnTo>
                <a:lnTo>
                  <a:pt x="5717" y="4771"/>
                </a:lnTo>
                <a:lnTo>
                  <a:pt x="5672" y="4793"/>
                </a:lnTo>
                <a:lnTo>
                  <a:pt x="5627" y="4814"/>
                </a:lnTo>
                <a:lnTo>
                  <a:pt x="5581" y="4832"/>
                </a:lnTo>
                <a:lnTo>
                  <a:pt x="5534" y="4848"/>
                </a:lnTo>
                <a:lnTo>
                  <a:pt x="5485" y="4862"/>
                </a:lnTo>
                <a:lnTo>
                  <a:pt x="5435" y="4873"/>
                </a:lnTo>
                <a:lnTo>
                  <a:pt x="5385" y="4882"/>
                </a:lnTo>
                <a:lnTo>
                  <a:pt x="5334" y="4888"/>
                </a:lnTo>
                <a:lnTo>
                  <a:pt x="5283" y="4892"/>
                </a:lnTo>
                <a:lnTo>
                  <a:pt x="5230" y="4893"/>
                </a:lnTo>
                <a:lnTo>
                  <a:pt x="5177" y="4892"/>
                </a:lnTo>
                <a:lnTo>
                  <a:pt x="5125" y="4888"/>
                </a:lnTo>
                <a:lnTo>
                  <a:pt x="5074" y="4882"/>
                </a:lnTo>
                <a:lnTo>
                  <a:pt x="5024" y="4873"/>
                </a:lnTo>
                <a:lnTo>
                  <a:pt x="4975" y="4862"/>
                </a:lnTo>
                <a:lnTo>
                  <a:pt x="4926" y="4847"/>
                </a:lnTo>
                <a:lnTo>
                  <a:pt x="4879" y="4832"/>
                </a:lnTo>
                <a:lnTo>
                  <a:pt x="4832" y="4814"/>
                </a:lnTo>
                <a:lnTo>
                  <a:pt x="4787" y="4793"/>
                </a:lnTo>
                <a:lnTo>
                  <a:pt x="4743" y="4771"/>
                </a:lnTo>
                <a:lnTo>
                  <a:pt x="4700" y="4747"/>
                </a:lnTo>
                <a:lnTo>
                  <a:pt x="4658" y="4720"/>
                </a:lnTo>
                <a:lnTo>
                  <a:pt x="4619" y="4691"/>
                </a:lnTo>
                <a:lnTo>
                  <a:pt x="4580" y="4661"/>
                </a:lnTo>
                <a:lnTo>
                  <a:pt x="4543" y="4629"/>
                </a:lnTo>
                <a:lnTo>
                  <a:pt x="4507" y="4595"/>
                </a:lnTo>
                <a:lnTo>
                  <a:pt x="4473" y="4560"/>
                </a:lnTo>
                <a:lnTo>
                  <a:pt x="4441" y="4522"/>
                </a:lnTo>
                <a:lnTo>
                  <a:pt x="4410" y="4484"/>
                </a:lnTo>
                <a:lnTo>
                  <a:pt x="4382" y="4444"/>
                </a:lnTo>
                <a:lnTo>
                  <a:pt x="4355" y="4402"/>
                </a:lnTo>
                <a:lnTo>
                  <a:pt x="4331" y="4360"/>
                </a:lnTo>
                <a:lnTo>
                  <a:pt x="4308" y="4316"/>
                </a:lnTo>
                <a:lnTo>
                  <a:pt x="4287" y="4271"/>
                </a:lnTo>
                <a:lnTo>
                  <a:pt x="4269" y="4224"/>
                </a:lnTo>
                <a:lnTo>
                  <a:pt x="4253" y="4177"/>
                </a:lnTo>
                <a:lnTo>
                  <a:pt x="4240" y="4128"/>
                </a:lnTo>
                <a:lnTo>
                  <a:pt x="4228" y="4079"/>
                </a:lnTo>
                <a:lnTo>
                  <a:pt x="4219" y="4028"/>
                </a:lnTo>
                <a:lnTo>
                  <a:pt x="4212" y="3977"/>
                </a:lnTo>
                <a:lnTo>
                  <a:pt x="4208" y="3926"/>
                </a:lnTo>
                <a:lnTo>
                  <a:pt x="4207" y="3873"/>
                </a:lnTo>
                <a:lnTo>
                  <a:pt x="4207" y="3846"/>
                </a:lnTo>
                <a:lnTo>
                  <a:pt x="4209" y="3820"/>
                </a:lnTo>
                <a:lnTo>
                  <a:pt x="4211" y="3794"/>
                </a:lnTo>
                <a:lnTo>
                  <a:pt x="4213" y="3770"/>
                </a:lnTo>
                <a:lnTo>
                  <a:pt x="4217" y="3744"/>
                </a:lnTo>
                <a:lnTo>
                  <a:pt x="4221" y="3719"/>
                </a:lnTo>
                <a:lnTo>
                  <a:pt x="4225" y="3691"/>
                </a:lnTo>
                <a:lnTo>
                  <a:pt x="4231" y="3663"/>
                </a:lnTo>
                <a:lnTo>
                  <a:pt x="3999" y="3663"/>
                </a:lnTo>
                <a:lnTo>
                  <a:pt x="3988" y="3662"/>
                </a:lnTo>
                <a:lnTo>
                  <a:pt x="3979" y="3661"/>
                </a:lnTo>
                <a:lnTo>
                  <a:pt x="3969" y="3660"/>
                </a:lnTo>
                <a:lnTo>
                  <a:pt x="3960" y="3658"/>
                </a:lnTo>
                <a:lnTo>
                  <a:pt x="3951" y="3655"/>
                </a:lnTo>
                <a:lnTo>
                  <a:pt x="3942" y="3651"/>
                </a:lnTo>
                <a:lnTo>
                  <a:pt x="3932" y="3647"/>
                </a:lnTo>
                <a:lnTo>
                  <a:pt x="3924" y="3642"/>
                </a:lnTo>
                <a:lnTo>
                  <a:pt x="3916" y="3637"/>
                </a:lnTo>
                <a:lnTo>
                  <a:pt x="3908" y="3632"/>
                </a:lnTo>
                <a:lnTo>
                  <a:pt x="3900" y="3626"/>
                </a:lnTo>
                <a:lnTo>
                  <a:pt x="3892" y="3620"/>
                </a:lnTo>
                <a:lnTo>
                  <a:pt x="3878" y="3606"/>
                </a:lnTo>
                <a:lnTo>
                  <a:pt x="3865" y="3591"/>
                </a:lnTo>
                <a:lnTo>
                  <a:pt x="3853" y="3611"/>
                </a:lnTo>
                <a:lnTo>
                  <a:pt x="3842" y="3631"/>
                </a:lnTo>
                <a:lnTo>
                  <a:pt x="3833" y="3654"/>
                </a:lnTo>
                <a:lnTo>
                  <a:pt x="3824" y="3676"/>
                </a:lnTo>
                <a:lnTo>
                  <a:pt x="3817" y="3700"/>
                </a:lnTo>
                <a:lnTo>
                  <a:pt x="3810" y="3725"/>
                </a:lnTo>
                <a:lnTo>
                  <a:pt x="3805" y="3750"/>
                </a:lnTo>
                <a:lnTo>
                  <a:pt x="3801" y="3777"/>
                </a:lnTo>
                <a:lnTo>
                  <a:pt x="3798" y="3804"/>
                </a:lnTo>
                <a:lnTo>
                  <a:pt x="3795" y="3832"/>
                </a:lnTo>
                <a:lnTo>
                  <a:pt x="3794" y="3859"/>
                </a:lnTo>
                <a:lnTo>
                  <a:pt x="3793" y="3888"/>
                </a:lnTo>
                <a:lnTo>
                  <a:pt x="3793" y="3917"/>
                </a:lnTo>
                <a:lnTo>
                  <a:pt x="3794" y="3946"/>
                </a:lnTo>
                <a:lnTo>
                  <a:pt x="3795" y="3975"/>
                </a:lnTo>
                <a:lnTo>
                  <a:pt x="3797" y="4005"/>
                </a:lnTo>
                <a:lnTo>
                  <a:pt x="3803" y="4065"/>
                </a:lnTo>
                <a:lnTo>
                  <a:pt x="3810" y="4124"/>
                </a:lnTo>
                <a:lnTo>
                  <a:pt x="3821" y="4182"/>
                </a:lnTo>
                <a:lnTo>
                  <a:pt x="3831" y="4240"/>
                </a:lnTo>
                <a:lnTo>
                  <a:pt x="3843" y="4295"/>
                </a:lnTo>
                <a:lnTo>
                  <a:pt x="3855" y="4349"/>
                </a:lnTo>
                <a:lnTo>
                  <a:pt x="3867" y="4399"/>
                </a:lnTo>
                <a:lnTo>
                  <a:pt x="3881" y="4446"/>
                </a:lnTo>
                <a:lnTo>
                  <a:pt x="3888" y="4487"/>
                </a:lnTo>
                <a:lnTo>
                  <a:pt x="3896" y="4525"/>
                </a:lnTo>
                <a:lnTo>
                  <a:pt x="3905" y="4562"/>
                </a:lnTo>
                <a:lnTo>
                  <a:pt x="3915" y="4597"/>
                </a:lnTo>
                <a:lnTo>
                  <a:pt x="3926" y="4629"/>
                </a:lnTo>
                <a:lnTo>
                  <a:pt x="3938" y="4661"/>
                </a:lnTo>
                <a:lnTo>
                  <a:pt x="3950" y="4690"/>
                </a:lnTo>
                <a:lnTo>
                  <a:pt x="3963" y="4718"/>
                </a:lnTo>
                <a:lnTo>
                  <a:pt x="3977" y="4744"/>
                </a:lnTo>
                <a:lnTo>
                  <a:pt x="3990" y="4770"/>
                </a:lnTo>
                <a:lnTo>
                  <a:pt x="4006" y="4793"/>
                </a:lnTo>
                <a:lnTo>
                  <a:pt x="4020" y="4815"/>
                </a:lnTo>
                <a:lnTo>
                  <a:pt x="4035" y="4835"/>
                </a:lnTo>
                <a:lnTo>
                  <a:pt x="4050" y="4854"/>
                </a:lnTo>
                <a:lnTo>
                  <a:pt x="4067" y="4873"/>
                </a:lnTo>
                <a:lnTo>
                  <a:pt x="4082" y="4890"/>
                </a:lnTo>
                <a:close/>
                <a:moveTo>
                  <a:pt x="5230" y="4532"/>
                </a:moveTo>
                <a:lnTo>
                  <a:pt x="5264" y="4531"/>
                </a:lnTo>
                <a:lnTo>
                  <a:pt x="5298" y="4529"/>
                </a:lnTo>
                <a:lnTo>
                  <a:pt x="5331" y="4523"/>
                </a:lnTo>
                <a:lnTo>
                  <a:pt x="5364" y="4518"/>
                </a:lnTo>
                <a:lnTo>
                  <a:pt x="5395" y="4510"/>
                </a:lnTo>
                <a:lnTo>
                  <a:pt x="5427" y="4501"/>
                </a:lnTo>
                <a:lnTo>
                  <a:pt x="5459" y="4491"/>
                </a:lnTo>
                <a:lnTo>
                  <a:pt x="5488" y="4479"/>
                </a:lnTo>
                <a:lnTo>
                  <a:pt x="5517" y="4465"/>
                </a:lnTo>
                <a:lnTo>
                  <a:pt x="5546" y="4451"/>
                </a:lnTo>
                <a:lnTo>
                  <a:pt x="5574" y="4435"/>
                </a:lnTo>
                <a:lnTo>
                  <a:pt x="5601" y="4418"/>
                </a:lnTo>
                <a:lnTo>
                  <a:pt x="5627" y="4399"/>
                </a:lnTo>
                <a:lnTo>
                  <a:pt x="5653" y="4379"/>
                </a:lnTo>
                <a:lnTo>
                  <a:pt x="5676" y="4358"/>
                </a:lnTo>
                <a:lnTo>
                  <a:pt x="5699" y="4336"/>
                </a:lnTo>
                <a:lnTo>
                  <a:pt x="5722" y="4313"/>
                </a:lnTo>
                <a:lnTo>
                  <a:pt x="5742" y="4289"/>
                </a:lnTo>
                <a:lnTo>
                  <a:pt x="5763" y="4264"/>
                </a:lnTo>
                <a:lnTo>
                  <a:pt x="5781" y="4237"/>
                </a:lnTo>
                <a:lnTo>
                  <a:pt x="5798" y="4211"/>
                </a:lnTo>
                <a:lnTo>
                  <a:pt x="5814" y="4182"/>
                </a:lnTo>
                <a:lnTo>
                  <a:pt x="5829" y="4154"/>
                </a:lnTo>
                <a:lnTo>
                  <a:pt x="5842" y="4124"/>
                </a:lnTo>
                <a:lnTo>
                  <a:pt x="5854" y="4094"/>
                </a:lnTo>
                <a:lnTo>
                  <a:pt x="5864" y="4063"/>
                </a:lnTo>
                <a:lnTo>
                  <a:pt x="5873" y="4031"/>
                </a:lnTo>
                <a:lnTo>
                  <a:pt x="5881" y="3999"/>
                </a:lnTo>
                <a:lnTo>
                  <a:pt x="5887" y="3966"/>
                </a:lnTo>
                <a:lnTo>
                  <a:pt x="5892" y="3933"/>
                </a:lnTo>
                <a:lnTo>
                  <a:pt x="5894" y="3899"/>
                </a:lnTo>
                <a:lnTo>
                  <a:pt x="5895" y="3865"/>
                </a:lnTo>
                <a:lnTo>
                  <a:pt x="5894" y="3831"/>
                </a:lnTo>
                <a:lnTo>
                  <a:pt x="5892" y="3797"/>
                </a:lnTo>
                <a:lnTo>
                  <a:pt x="5887" y="3764"/>
                </a:lnTo>
                <a:lnTo>
                  <a:pt x="5881" y="3731"/>
                </a:lnTo>
                <a:lnTo>
                  <a:pt x="5873" y="3698"/>
                </a:lnTo>
                <a:lnTo>
                  <a:pt x="5864" y="3667"/>
                </a:lnTo>
                <a:lnTo>
                  <a:pt x="5854" y="3636"/>
                </a:lnTo>
                <a:lnTo>
                  <a:pt x="5842" y="3606"/>
                </a:lnTo>
                <a:lnTo>
                  <a:pt x="5829" y="3576"/>
                </a:lnTo>
                <a:lnTo>
                  <a:pt x="5814" y="3548"/>
                </a:lnTo>
                <a:lnTo>
                  <a:pt x="5798" y="3520"/>
                </a:lnTo>
                <a:lnTo>
                  <a:pt x="5781" y="3493"/>
                </a:lnTo>
                <a:lnTo>
                  <a:pt x="5763" y="3466"/>
                </a:lnTo>
                <a:lnTo>
                  <a:pt x="5742" y="3442"/>
                </a:lnTo>
                <a:lnTo>
                  <a:pt x="5722" y="3417"/>
                </a:lnTo>
                <a:lnTo>
                  <a:pt x="5699" y="3394"/>
                </a:lnTo>
                <a:lnTo>
                  <a:pt x="5676" y="3372"/>
                </a:lnTo>
                <a:lnTo>
                  <a:pt x="5653" y="3351"/>
                </a:lnTo>
                <a:lnTo>
                  <a:pt x="5627" y="3331"/>
                </a:lnTo>
                <a:lnTo>
                  <a:pt x="5601" y="3312"/>
                </a:lnTo>
                <a:lnTo>
                  <a:pt x="5574" y="3295"/>
                </a:lnTo>
                <a:lnTo>
                  <a:pt x="5546" y="3279"/>
                </a:lnTo>
                <a:lnTo>
                  <a:pt x="5517" y="3264"/>
                </a:lnTo>
                <a:lnTo>
                  <a:pt x="5488" y="3251"/>
                </a:lnTo>
                <a:lnTo>
                  <a:pt x="5459" y="3239"/>
                </a:lnTo>
                <a:lnTo>
                  <a:pt x="5427" y="3229"/>
                </a:lnTo>
                <a:lnTo>
                  <a:pt x="5395" y="3220"/>
                </a:lnTo>
                <a:lnTo>
                  <a:pt x="5364" y="3213"/>
                </a:lnTo>
                <a:lnTo>
                  <a:pt x="5331" y="3206"/>
                </a:lnTo>
                <a:lnTo>
                  <a:pt x="5298" y="3202"/>
                </a:lnTo>
                <a:lnTo>
                  <a:pt x="5264" y="3199"/>
                </a:lnTo>
                <a:lnTo>
                  <a:pt x="5230" y="3198"/>
                </a:lnTo>
                <a:lnTo>
                  <a:pt x="5195" y="3199"/>
                </a:lnTo>
                <a:lnTo>
                  <a:pt x="5162" y="3202"/>
                </a:lnTo>
                <a:lnTo>
                  <a:pt x="5128" y="3206"/>
                </a:lnTo>
                <a:lnTo>
                  <a:pt x="5096" y="3213"/>
                </a:lnTo>
                <a:lnTo>
                  <a:pt x="5064" y="3220"/>
                </a:lnTo>
                <a:lnTo>
                  <a:pt x="5033" y="3229"/>
                </a:lnTo>
                <a:lnTo>
                  <a:pt x="5001" y="3239"/>
                </a:lnTo>
                <a:lnTo>
                  <a:pt x="4971" y="3251"/>
                </a:lnTo>
                <a:lnTo>
                  <a:pt x="4941" y="3264"/>
                </a:lnTo>
                <a:lnTo>
                  <a:pt x="4913" y="3279"/>
                </a:lnTo>
                <a:lnTo>
                  <a:pt x="4885" y="3295"/>
                </a:lnTo>
                <a:lnTo>
                  <a:pt x="4858" y="3312"/>
                </a:lnTo>
                <a:lnTo>
                  <a:pt x="4832" y="3331"/>
                </a:lnTo>
                <a:lnTo>
                  <a:pt x="4807" y="3351"/>
                </a:lnTo>
                <a:lnTo>
                  <a:pt x="4782" y="3372"/>
                </a:lnTo>
                <a:lnTo>
                  <a:pt x="4759" y="3394"/>
                </a:lnTo>
                <a:lnTo>
                  <a:pt x="4738" y="3417"/>
                </a:lnTo>
                <a:lnTo>
                  <a:pt x="4716" y="3442"/>
                </a:lnTo>
                <a:lnTo>
                  <a:pt x="4697" y="3466"/>
                </a:lnTo>
                <a:lnTo>
                  <a:pt x="4678" y="3493"/>
                </a:lnTo>
                <a:lnTo>
                  <a:pt x="4660" y="3520"/>
                </a:lnTo>
                <a:lnTo>
                  <a:pt x="4645" y="3548"/>
                </a:lnTo>
                <a:lnTo>
                  <a:pt x="4630" y="3576"/>
                </a:lnTo>
                <a:lnTo>
                  <a:pt x="4617" y="3606"/>
                </a:lnTo>
                <a:lnTo>
                  <a:pt x="4605" y="3636"/>
                </a:lnTo>
                <a:lnTo>
                  <a:pt x="4594" y="3667"/>
                </a:lnTo>
                <a:lnTo>
                  <a:pt x="4585" y="3698"/>
                </a:lnTo>
                <a:lnTo>
                  <a:pt x="4578" y="3731"/>
                </a:lnTo>
                <a:lnTo>
                  <a:pt x="4572" y="3764"/>
                </a:lnTo>
                <a:lnTo>
                  <a:pt x="4568" y="3797"/>
                </a:lnTo>
                <a:lnTo>
                  <a:pt x="4565" y="3831"/>
                </a:lnTo>
                <a:lnTo>
                  <a:pt x="4565" y="3865"/>
                </a:lnTo>
                <a:lnTo>
                  <a:pt x="4565" y="3899"/>
                </a:lnTo>
                <a:lnTo>
                  <a:pt x="4568" y="3933"/>
                </a:lnTo>
                <a:lnTo>
                  <a:pt x="4572" y="3966"/>
                </a:lnTo>
                <a:lnTo>
                  <a:pt x="4578" y="3999"/>
                </a:lnTo>
                <a:lnTo>
                  <a:pt x="4585" y="4031"/>
                </a:lnTo>
                <a:lnTo>
                  <a:pt x="4594" y="4063"/>
                </a:lnTo>
                <a:lnTo>
                  <a:pt x="4605" y="4094"/>
                </a:lnTo>
                <a:lnTo>
                  <a:pt x="4617" y="4124"/>
                </a:lnTo>
                <a:lnTo>
                  <a:pt x="4630" y="4154"/>
                </a:lnTo>
                <a:lnTo>
                  <a:pt x="4645" y="4182"/>
                </a:lnTo>
                <a:lnTo>
                  <a:pt x="4660" y="4211"/>
                </a:lnTo>
                <a:lnTo>
                  <a:pt x="4678" y="4237"/>
                </a:lnTo>
                <a:lnTo>
                  <a:pt x="4697" y="4264"/>
                </a:lnTo>
                <a:lnTo>
                  <a:pt x="4716" y="4289"/>
                </a:lnTo>
                <a:lnTo>
                  <a:pt x="4738" y="4313"/>
                </a:lnTo>
                <a:lnTo>
                  <a:pt x="4759" y="4336"/>
                </a:lnTo>
                <a:lnTo>
                  <a:pt x="4782" y="4358"/>
                </a:lnTo>
                <a:lnTo>
                  <a:pt x="4807" y="4379"/>
                </a:lnTo>
                <a:lnTo>
                  <a:pt x="4832" y="4399"/>
                </a:lnTo>
                <a:lnTo>
                  <a:pt x="4858" y="4418"/>
                </a:lnTo>
                <a:lnTo>
                  <a:pt x="4885" y="4435"/>
                </a:lnTo>
                <a:lnTo>
                  <a:pt x="4913" y="4451"/>
                </a:lnTo>
                <a:lnTo>
                  <a:pt x="4941" y="4465"/>
                </a:lnTo>
                <a:lnTo>
                  <a:pt x="4971" y="4479"/>
                </a:lnTo>
                <a:lnTo>
                  <a:pt x="5001" y="4491"/>
                </a:lnTo>
                <a:lnTo>
                  <a:pt x="5033" y="4501"/>
                </a:lnTo>
                <a:lnTo>
                  <a:pt x="5064" y="4510"/>
                </a:lnTo>
                <a:lnTo>
                  <a:pt x="5096" y="4518"/>
                </a:lnTo>
                <a:lnTo>
                  <a:pt x="5128" y="4523"/>
                </a:lnTo>
                <a:lnTo>
                  <a:pt x="5162" y="4529"/>
                </a:lnTo>
                <a:lnTo>
                  <a:pt x="5195" y="4531"/>
                </a:lnTo>
                <a:lnTo>
                  <a:pt x="5230" y="4532"/>
                </a:lnTo>
                <a:close/>
                <a:moveTo>
                  <a:pt x="7096" y="3865"/>
                </a:moveTo>
                <a:lnTo>
                  <a:pt x="7097" y="3899"/>
                </a:lnTo>
                <a:lnTo>
                  <a:pt x="7099" y="3933"/>
                </a:lnTo>
                <a:lnTo>
                  <a:pt x="7104" y="3966"/>
                </a:lnTo>
                <a:lnTo>
                  <a:pt x="7110" y="3999"/>
                </a:lnTo>
                <a:lnTo>
                  <a:pt x="7117" y="4031"/>
                </a:lnTo>
                <a:lnTo>
                  <a:pt x="7126" y="4063"/>
                </a:lnTo>
                <a:lnTo>
                  <a:pt x="7136" y="4094"/>
                </a:lnTo>
                <a:lnTo>
                  <a:pt x="7148" y="4124"/>
                </a:lnTo>
                <a:lnTo>
                  <a:pt x="7161" y="4154"/>
                </a:lnTo>
                <a:lnTo>
                  <a:pt x="7177" y="4182"/>
                </a:lnTo>
                <a:lnTo>
                  <a:pt x="7192" y="4211"/>
                </a:lnTo>
                <a:lnTo>
                  <a:pt x="7209" y="4237"/>
                </a:lnTo>
                <a:lnTo>
                  <a:pt x="7229" y="4264"/>
                </a:lnTo>
                <a:lnTo>
                  <a:pt x="7248" y="4289"/>
                </a:lnTo>
                <a:lnTo>
                  <a:pt x="7269" y="4313"/>
                </a:lnTo>
                <a:lnTo>
                  <a:pt x="7291" y="4336"/>
                </a:lnTo>
                <a:lnTo>
                  <a:pt x="7314" y="4358"/>
                </a:lnTo>
                <a:lnTo>
                  <a:pt x="7338" y="4379"/>
                </a:lnTo>
                <a:lnTo>
                  <a:pt x="7364" y="4399"/>
                </a:lnTo>
                <a:lnTo>
                  <a:pt x="7389" y="4418"/>
                </a:lnTo>
                <a:lnTo>
                  <a:pt x="7417" y="4435"/>
                </a:lnTo>
                <a:lnTo>
                  <a:pt x="7444" y="4451"/>
                </a:lnTo>
                <a:lnTo>
                  <a:pt x="7473" y="4465"/>
                </a:lnTo>
                <a:lnTo>
                  <a:pt x="7502" y="4479"/>
                </a:lnTo>
                <a:lnTo>
                  <a:pt x="7533" y="4491"/>
                </a:lnTo>
                <a:lnTo>
                  <a:pt x="7563" y="4501"/>
                </a:lnTo>
                <a:lnTo>
                  <a:pt x="7595" y="4510"/>
                </a:lnTo>
                <a:lnTo>
                  <a:pt x="7627" y="4518"/>
                </a:lnTo>
                <a:lnTo>
                  <a:pt x="7660" y="4523"/>
                </a:lnTo>
                <a:lnTo>
                  <a:pt x="7693" y="4529"/>
                </a:lnTo>
                <a:lnTo>
                  <a:pt x="7727" y="4531"/>
                </a:lnTo>
                <a:lnTo>
                  <a:pt x="7761" y="4532"/>
                </a:lnTo>
                <a:lnTo>
                  <a:pt x="7795" y="4531"/>
                </a:lnTo>
                <a:lnTo>
                  <a:pt x="7828" y="4529"/>
                </a:lnTo>
                <a:lnTo>
                  <a:pt x="7862" y="4523"/>
                </a:lnTo>
                <a:lnTo>
                  <a:pt x="7894" y="4518"/>
                </a:lnTo>
                <a:lnTo>
                  <a:pt x="7927" y="4510"/>
                </a:lnTo>
                <a:lnTo>
                  <a:pt x="7959" y="4501"/>
                </a:lnTo>
                <a:lnTo>
                  <a:pt x="7989" y="4491"/>
                </a:lnTo>
                <a:lnTo>
                  <a:pt x="8020" y="4479"/>
                </a:lnTo>
                <a:lnTo>
                  <a:pt x="8049" y="4465"/>
                </a:lnTo>
                <a:lnTo>
                  <a:pt x="8077" y="4451"/>
                </a:lnTo>
                <a:lnTo>
                  <a:pt x="8106" y="4435"/>
                </a:lnTo>
                <a:lnTo>
                  <a:pt x="8132" y="4418"/>
                </a:lnTo>
                <a:lnTo>
                  <a:pt x="8159" y="4399"/>
                </a:lnTo>
                <a:lnTo>
                  <a:pt x="8184" y="4379"/>
                </a:lnTo>
                <a:lnTo>
                  <a:pt x="8208" y="4358"/>
                </a:lnTo>
                <a:lnTo>
                  <a:pt x="8231" y="4336"/>
                </a:lnTo>
                <a:lnTo>
                  <a:pt x="8253" y="4313"/>
                </a:lnTo>
                <a:lnTo>
                  <a:pt x="8274" y="4289"/>
                </a:lnTo>
                <a:lnTo>
                  <a:pt x="8294" y="4264"/>
                </a:lnTo>
                <a:lnTo>
                  <a:pt x="8312" y="4237"/>
                </a:lnTo>
                <a:lnTo>
                  <a:pt x="8330" y="4211"/>
                </a:lnTo>
                <a:lnTo>
                  <a:pt x="8346" y="4182"/>
                </a:lnTo>
                <a:lnTo>
                  <a:pt x="8360" y="4154"/>
                </a:lnTo>
                <a:lnTo>
                  <a:pt x="8374" y="4124"/>
                </a:lnTo>
                <a:lnTo>
                  <a:pt x="8386" y="4094"/>
                </a:lnTo>
                <a:lnTo>
                  <a:pt x="8397" y="4063"/>
                </a:lnTo>
                <a:lnTo>
                  <a:pt x="8405" y="4031"/>
                </a:lnTo>
                <a:lnTo>
                  <a:pt x="8413" y="3999"/>
                </a:lnTo>
                <a:lnTo>
                  <a:pt x="8418" y="3966"/>
                </a:lnTo>
                <a:lnTo>
                  <a:pt x="8423" y="3933"/>
                </a:lnTo>
                <a:lnTo>
                  <a:pt x="8425" y="3899"/>
                </a:lnTo>
                <a:lnTo>
                  <a:pt x="8426" y="3865"/>
                </a:lnTo>
                <a:lnTo>
                  <a:pt x="8425" y="3831"/>
                </a:lnTo>
                <a:lnTo>
                  <a:pt x="8423" y="3797"/>
                </a:lnTo>
                <a:lnTo>
                  <a:pt x="8418" y="3764"/>
                </a:lnTo>
                <a:lnTo>
                  <a:pt x="8413" y="3731"/>
                </a:lnTo>
                <a:lnTo>
                  <a:pt x="8405" y="3698"/>
                </a:lnTo>
                <a:lnTo>
                  <a:pt x="8397" y="3667"/>
                </a:lnTo>
                <a:lnTo>
                  <a:pt x="8386" y="3636"/>
                </a:lnTo>
                <a:lnTo>
                  <a:pt x="8374" y="3606"/>
                </a:lnTo>
                <a:lnTo>
                  <a:pt x="8360" y="3576"/>
                </a:lnTo>
                <a:lnTo>
                  <a:pt x="8346" y="3548"/>
                </a:lnTo>
                <a:lnTo>
                  <a:pt x="8330" y="3520"/>
                </a:lnTo>
                <a:lnTo>
                  <a:pt x="8312" y="3493"/>
                </a:lnTo>
                <a:lnTo>
                  <a:pt x="8294" y="3466"/>
                </a:lnTo>
                <a:lnTo>
                  <a:pt x="8274" y="3442"/>
                </a:lnTo>
                <a:lnTo>
                  <a:pt x="8253" y="3417"/>
                </a:lnTo>
                <a:lnTo>
                  <a:pt x="8231" y="3394"/>
                </a:lnTo>
                <a:lnTo>
                  <a:pt x="8208" y="3372"/>
                </a:lnTo>
                <a:lnTo>
                  <a:pt x="8184" y="3351"/>
                </a:lnTo>
                <a:lnTo>
                  <a:pt x="8159" y="3331"/>
                </a:lnTo>
                <a:lnTo>
                  <a:pt x="8132" y="3312"/>
                </a:lnTo>
                <a:lnTo>
                  <a:pt x="8106" y="3295"/>
                </a:lnTo>
                <a:lnTo>
                  <a:pt x="8077" y="3279"/>
                </a:lnTo>
                <a:lnTo>
                  <a:pt x="8049" y="3264"/>
                </a:lnTo>
                <a:lnTo>
                  <a:pt x="8020" y="3251"/>
                </a:lnTo>
                <a:lnTo>
                  <a:pt x="7989" y="3239"/>
                </a:lnTo>
                <a:lnTo>
                  <a:pt x="7959" y="3229"/>
                </a:lnTo>
                <a:lnTo>
                  <a:pt x="7927" y="3220"/>
                </a:lnTo>
                <a:lnTo>
                  <a:pt x="7894" y="3213"/>
                </a:lnTo>
                <a:lnTo>
                  <a:pt x="7862" y="3206"/>
                </a:lnTo>
                <a:lnTo>
                  <a:pt x="7828" y="3202"/>
                </a:lnTo>
                <a:lnTo>
                  <a:pt x="7795" y="3199"/>
                </a:lnTo>
                <a:lnTo>
                  <a:pt x="7761" y="3198"/>
                </a:lnTo>
                <a:lnTo>
                  <a:pt x="7727" y="3199"/>
                </a:lnTo>
                <a:lnTo>
                  <a:pt x="7693" y="3202"/>
                </a:lnTo>
                <a:lnTo>
                  <a:pt x="7660" y="3206"/>
                </a:lnTo>
                <a:lnTo>
                  <a:pt x="7627" y="3213"/>
                </a:lnTo>
                <a:lnTo>
                  <a:pt x="7595" y="3220"/>
                </a:lnTo>
                <a:lnTo>
                  <a:pt x="7563" y="3229"/>
                </a:lnTo>
                <a:lnTo>
                  <a:pt x="7533" y="3239"/>
                </a:lnTo>
                <a:lnTo>
                  <a:pt x="7502" y="3251"/>
                </a:lnTo>
                <a:lnTo>
                  <a:pt x="7473" y="3264"/>
                </a:lnTo>
                <a:lnTo>
                  <a:pt x="7444" y="3279"/>
                </a:lnTo>
                <a:lnTo>
                  <a:pt x="7417" y="3295"/>
                </a:lnTo>
                <a:lnTo>
                  <a:pt x="7389" y="3312"/>
                </a:lnTo>
                <a:lnTo>
                  <a:pt x="7364" y="3331"/>
                </a:lnTo>
                <a:lnTo>
                  <a:pt x="7338" y="3351"/>
                </a:lnTo>
                <a:lnTo>
                  <a:pt x="7314" y="3372"/>
                </a:lnTo>
                <a:lnTo>
                  <a:pt x="7291" y="3394"/>
                </a:lnTo>
                <a:lnTo>
                  <a:pt x="7269" y="3417"/>
                </a:lnTo>
                <a:lnTo>
                  <a:pt x="7248" y="3442"/>
                </a:lnTo>
                <a:lnTo>
                  <a:pt x="7229" y="3466"/>
                </a:lnTo>
                <a:lnTo>
                  <a:pt x="7209" y="3493"/>
                </a:lnTo>
                <a:lnTo>
                  <a:pt x="7192" y="3520"/>
                </a:lnTo>
                <a:lnTo>
                  <a:pt x="7177" y="3548"/>
                </a:lnTo>
                <a:lnTo>
                  <a:pt x="7161" y="3576"/>
                </a:lnTo>
                <a:lnTo>
                  <a:pt x="7148" y="3606"/>
                </a:lnTo>
                <a:lnTo>
                  <a:pt x="7136" y="3636"/>
                </a:lnTo>
                <a:lnTo>
                  <a:pt x="7126" y="3667"/>
                </a:lnTo>
                <a:lnTo>
                  <a:pt x="7117" y="3698"/>
                </a:lnTo>
                <a:lnTo>
                  <a:pt x="7110" y="3731"/>
                </a:lnTo>
                <a:lnTo>
                  <a:pt x="7104" y="3764"/>
                </a:lnTo>
                <a:lnTo>
                  <a:pt x="7099" y="3797"/>
                </a:lnTo>
                <a:lnTo>
                  <a:pt x="7097" y="3831"/>
                </a:lnTo>
                <a:lnTo>
                  <a:pt x="7096" y="3865"/>
                </a:lnTo>
                <a:close/>
                <a:moveTo>
                  <a:pt x="8940" y="10705"/>
                </a:moveTo>
                <a:lnTo>
                  <a:pt x="8940" y="10705"/>
                </a:lnTo>
                <a:lnTo>
                  <a:pt x="8940" y="10705"/>
                </a:lnTo>
                <a:close/>
                <a:moveTo>
                  <a:pt x="12412" y="9127"/>
                </a:moveTo>
                <a:lnTo>
                  <a:pt x="12433" y="9127"/>
                </a:lnTo>
                <a:lnTo>
                  <a:pt x="12454" y="9128"/>
                </a:lnTo>
                <a:lnTo>
                  <a:pt x="12475" y="9130"/>
                </a:lnTo>
                <a:lnTo>
                  <a:pt x="12496" y="9132"/>
                </a:lnTo>
                <a:lnTo>
                  <a:pt x="12516" y="9134"/>
                </a:lnTo>
                <a:lnTo>
                  <a:pt x="12538" y="9139"/>
                </a:lnTo>
                <a:lnTo>
                  <a:pt x="12558" y="9143"/>
                </a:lnTo>
                <a:lnTo>
                  <a:pt x="12578" y="9147"/>
                </a:lnTo>
                <a:lnTo>
                  <a:pt x="12599" y="9152"/>
                </a:lnTo>
                <a:lnTo>
                  <a:pt x="12619" y="9158"/>
                </a:lnTo>
                <a:lnTo>
                  <a:pt x="12639" y="9164"/>
                </a:lnTo>
                <a:lnTo>
                  <a:pt x="12660" y="9171"/>
                </a:lnTo>
                <a:lnTo>
                  <a:pt x="12680" y="9178"/>
                </a:lnTo>
                <a:lnTo>
                  <a:pt x="12699" y="9186"/>
                </a:lnTo>
                <a:lnTo>
                  <a:pt x="12720" y="9195"/>
                </a:lnTo>
                <a:lnTo>
                  <a:pt x="12739" y="9204"/>
                </a:lnTo>
                <a:lnTo>
                  <a:pt x="12759" y="9214"/>
                </a:lnTo>
                <a:lnTo>
                  <a:pt x="12779" y="9224"/>
                </a:lnTo>
                <a:lnTo>
                  <a:pt x="12798" y="9235"/>
                </a:lnTo>
                <a:lnTo>
                  <a:pt x="12817" y="9247"/>
                </a:lnTo>
                <a:lnTo>
                  <a:pt x="12837" y="9259"/>
                </a:lnTo>
                <a:lnTo>
                  <a:pt x="12855" y="9271"/>
                </a:lnTo>
                <a:lnTo>
                  <a:pt x="12874" y="9284"/>
                </a:lnTo>
                <a:lnTo>
                  <a:pt x="12892" y="9297"/>
                </a:lnTo>
                <a:lnTo>
                  <a:pt x="12930" y="9326"/>
                </a:lnTo>
                <a:lnTo>
                  <a:pt x="12967" y="9357"/>
                </a:lnTo>
                <a:lnTo>
                  <a:pt x="13002" y="9390"/>
                </a:lnTo>
                <a:lnTo>
                  <a:pt x="13038" y="9425"/>
                </a:lnTo>
                <a:lnTo>
                  <a:pt x="13056" y="9421"/>
                </a:lnTo>
                <a:lnTo>
                  <a:pt x="13073" y="9417"/>
                </a:lnTo>
                <a:lnTo>
                  <a:pt x="13091" y="9414"/>
                </a:lnTo>
                <a:lnTo>
                  <a:pt x="13109" y="9412"/>
                </a:lnTo>
                <a:lnTo>
                  <a:pt x="13127" y="9409"/>
                </a:lnTo>
                <a:lnTo>
                  <a:pt x="13146" y="9407"/>
                </a:lnTo>
                <a:lnTo>
                  <a:pt x="13165" y="9406"/>
                </a:lnTo>
                <a:lnTo>
                  <a:pt x="13183" y="9406"/>
                </a:lnTo>
                <a:lnTo>
                  <a:pt x="13213" y="9407"/>
                </a:lnTo>
                <a:lnTo>
                  <a:pt x="13242" y="9409"/>
                </a:lnTo>
                <a:lnTo>
                  <a:pt x="13271" y="9413"/>
                </a:lnTo>
                <a:lnTo>
                  <a:pt x="13299" y="9418"/>
                </a:lnTo>
                <a:lnTo>
                  <a:pt x="13328" y="9425"/>
                </a:lnTo>
                <a:lnTo>
                  <a:pt x="13355" y="9432"/>
                </a:lnTo>
                <a:lnTo>
                  <a:pt x="13381" y="9441"/>
                </a:lnTo>
                <a:lnTo>
                  <a:pt x="13408" y="9451"/>
                </a:lnTo>
                <a:lnTo>
                  <a:pt x="13433" y="9463"/>
                </a:lnTo>
                <a:lnTo>
                  <a:pt x="13458" y="9476"/>
                </a:lnTo>
                <a:lnTo>
                  <a:pt x="13482" y="9490"/>
                </a:lnTo>
                <a:lnTo>
                  <a:pt x="13506" y="9505"/>
                </a:lnTo>
                <a:lnTo>
                  <a:pt x="13528" y="9521"/>
                </a:lnTo>
                <a:lnTo>
                  <a:pt x="13550" y="9538"/>
                </a:lnTo>
                <a:lnTo>
                  <a:pt x="13571" y="9556"/>
                </a:lnTo>
                <a:lnTo>
                  <a:pt x="13591" y="9576"/>
                </a:lnTo>
                <a:lnTo>
                  <a:pt x="13610" y="9596"/>
                </a:lnTo>
                <a:lnTo>
                  <a:pt x="13628" y="9616"/>
                </a:lnTo>
                <a:lnTo>
                  <a:pt x="13645" y="9639"/>
                </a:lnTo>
                <a:lnTo>
                  <a:pt x="13661" y="9661"/>
                </a:lnTo>
                <a:lnTo>
                  <a:pt x="13676" y="9684"/>
                </a:lnTo>
                <a:lnTo>
                  <a:pt x="13691" y="9709"/>
                </a:lnTo>
                <a:lnTo>
                  <a:pt x="13703" y="9733"/>
                </a:lnTo>
                <a:lnTo>
                  <a:pt x="13714" y="9759"/>
                </a:lnTo>
                <a:lnTo>
                  <a:pt x="13725" y="9785"/>
                </a:lnTo>
                <a:lnTo>
                  <a:pt x="13733" y="9812"/>
                </a:lnTo>
                <a:lnTo>
                  <a:pt x="13741" y="9839"/>
                </a:lnTo>
                <a:lnTo>
                  <a:pt x="13747" y="9868"/>
                </a:lnTo>
                <a:lnTo>
                  <a:pt x="13753" y="9896"/>
                </a:lnTo>
                <a:lnTo>
                  <a:pt x="13757" y="9925"/>
                </a:lnTo>
                <a:lnTo>
                  <a:pt x="13759" y="9954"/>
                </a:lnTo>
                <a:lnTo>
                  <a:pt x="13760" y="9984"/>
                </a:lnTo>
                <a:lnTo>
                  <a:pt x="13759" y="10013"/>
                </a:lnTo>
                <a:lnTo>
                  <a:pt x="13757" y="10043"/>
                </a:lnTo>
                <a:lnTo>
                  <a:pt x="13753" y="10072"/>
                </a:lnTo>
                <a:lnTo>
                  <a:pt x="13747" y="10100"/>
                </a:lnTo>
                <a:lnTo>
                  <a:pt x="13741" y="10129"/>
                </a:lnTo>
                <a:lnTo>
                  <a:pt x="13733" y="10155"/>
                </a:lnTo>
                <a:lnTo>
                  <a:pt x="13725" y="10183"/>
                </a:lnTo>
                <a:lnTo>
                  <a:pt x="13714" y="10208"/>
                </a:lnTo>
                <a:lnTo>
                  <a:pt x="13703" y="10235"/>
                </a:lnTo>
                <a:lnTo>
                  <a:pt x="13691" y="10259"/>
                </a:lnTo>
                <a:lnTo>
                  <a:pt x="13676" y="10283"/>
                </a:lnTo>
                <a:lnTo>
                  <a:pt x="13661" y="10307"/>
                </a:lnTo>
                <a:lnTo>
                  <a:pt x="13645" y="10329"/>
                </a:lnTo>
                <a:lnTo>
                  <a:pt x="13628" y="10351"/>
                </a:lnTo>
                <a:lnTo>
                  <a:pt x="13610" y="10372"/>
                </a:lnTo>
                <a:lnTo>
                  <a:pt x="13591" y="10392"/>
                </a:lnTo>
                <a:lnTo>
                  <a:pt x="13586" y="10397"/>
                </a:lnTo>
                <a:lnTo>
                  <a:pt x="13593" y="10420"/>
                </a:lnTo>
                <a:lnTo>
                  <a:pt x="13601" y="10442"/>
                </a:lnTo>
                <a:lnTo>
                  <a:pt x="13608" y="10465"/>
                </a:lnTo>
                <a:lnTo>
                  <a:pt x="13615" y="10487"/>
                </a:lnTo>
                <a:lnTo>
                  <a:pt x="13623" y="10511"/>
                </a:lnTo>
                <a:lnTo>
                  <a:pt x="13631" y="10533"/>
                </a:lnTo>
                <a:lnTo>
                  <a:pt x="13638" y="10556"/>
                </a:lnTo>
                <a:lnTo>
                  <a:pt x="13645" y="10580"/>
                </a:lnTo>
                <a:lnTo>
                  <a:pt x="13687" y="10570"/>
                </a:lnTo>
                <a:lnTo>
                  <a:pt x="13731" y="10560"/>
                </a:lnTo>
                <a:lnTo>
                  <a:pt x="13773" y="10551"/>
                </a:lnTo>
                <a:lnTo>
                  <a:pt x="13816" y="10543"/>
                </a:lnTo>
                <a:lnTo>
                  <a:pt x="13857" y="10535"/>
                </a:lnTo>
                <a:lnTo>
                  <a:pt x="13899" y="10528"/>
                </a:lnTo>
                <a:lnTo>
                  <a:pt x="13940" y="10521"/>
                </a:lnTo>
                <a:lnTo>
                  <a:pt x="13980" y="10515"/>
                </a:lnTo>
                <a:lnTo>
                  <a:pt x="14048" y="10504"/>
                </a:lnTo>
                <a:lnTo>
                  <a:pt x="14116" y="10496"/>
                </a:lnTo>
                <a:lnTo>
                  <a:pt x="14182" y="10489"/>
                </a:lnTo>
                <a:lnTo>
                  <a:pt x="14247" y="10483"/>
                </a:lnTo>
                <a:lnTo>
                  <a:pt x="14311" y="10479"/>
                </a:lnTo>
                <a:lnTo>
                  <a:pt x="14374" y="10476"/>
                </a:lnTo>
                <a:lnTo>
                  <a:pt x="14436" y="10475"/>
                </a:lnTo>
                <a:lnTo>
                  <a:pt x="14496" y="10475"/>
                </a:lnTo>
                <a:lnTo>
                  <a:pt x="14555" y="10477"/>
                </a:lnTo>
                <a:lnTo>
                  <a:pt x="14613" y="10480"/>
                </a:lnTo>
                <a:lnTo>
                  <a:pt x="14670" y="10484"/>
                </a:lnTo>
                <a:lnTo>
                  <a:pt x="14726" y="10490"/>
                </a:lnTo>
                <a:lnTo>
                  <a:pt x="14779" y="10498"/>
                </a:lnTo>
                <a:lnTo>
                  <a:pt x="14832" y="10506"/>
                </a:lnTo>
                <a:lnTo>
                  <a:pt x="14883" y="10518"/>
                </a:lnTo>
                <a:lnTo>
                  <a:pt x="14933" y="10529"/>
                </a:lnTo>
                <a:lnTo>
                  <a:pt x="14982" y="10542"/>
                </a:lnTo>
                <a:lnTo>
                  <a:pt x="15028" y="10557"/>
                </a:lnTo>
                <a:lnTo>
                  <a:pt x="15074" y="10574"/>
                </a:lnTo>
                <a:lnTo>
                  <a:pt x="15118" y="10592"/>
                </a:lnTo>
                <a:lnTo>
                  <a:pt x="15160" y="10611"/>
                </a:lnTo>
                <a:lnTo>
                  <a:pt x="15200" y="10632"/>
                </a:lnTo>
                <a:lnTo>
                  <a:pt x="15239" y="10654"/>
                </a:lnTo>
                <a:lnTo>
                  <a:pt x="15277" y="10679"/>
                </a:lnTo>
                <a:lnTo>
                  <a:pt x="15312" y="10704"/>
                </a:lnTo>
                <a:lnTo>
                  <a:pt x="15346" y="10731"/>
                </a:lnTo>
                <a:lnTo>
                  <a:pt x="15377" y="10759"/>
                </a:lnTo>
                <a:lnTo>
                  <a:pt x="15408" y="10790"/>
                </a:lnTo>
                <a:lnTo>
                  <a:pt x="15435" y="10821"/>
                </a:lnTo>
                <a:lnTo>
                  <a:pt x="15462" y="10855"/>
                </a:lnTo>
                <a:lnTo>
                  <a:pt x="15486" y="10889"/>
                </a:lnTo>
                <a:lnTo>
                  <a:pt x="15508" y="10926"/>
                </a:lnTo>
                <a:lnTo>
                  <a:pt x="15509" y="10925"/>
                </a:lnTo>
                <a:lnTo>
                  <a:pt x="15530" y="10963"/>
                </a:lnTo>
                <a:lnTo>
                  <a:pt x="15547" y="11001"/>
                </a:lnTo>
                <a:lnTo>
                  <a:pt x="15562" y="11041"/>
                </a:lnTo>
                <a:lnTo>
                  <a:pt x="15575" y="11081"/>
                </a:lnTo>
                <a:lnTo>
                  <a:pt x="15587" y="11123"/>
                </a:lnTo>
                <a:lnTo>
                  <a:pt x="15596" y="11164"/>
                </a:lnTo>
                <a:lnTo>
                  <a:pt x="15602" y="11207"/>
                </a:lnTo>
                <a:lnTo>
                  <a:pt x="15607" y="11251"/>
                </a:lnTo>
                <a:lnTo>
                  <a:pt x="15609" y="11295"/>
                </a:lnTo>
                <a:lnTo>
                  <a:pt x="15609" y="11340"/>
                </a:lnTo>
                <a:lnTo>
                  <a:pt x="15607" y="11385"/>
                </a:lnTo>
                <a:lnTo>
                  <a:pt x="15602" y="11431"/>
                </a:lnTo>
                <a:lnTo>
                  <a:pt x="15596" y="11478"/>
                </a:lnTo>
                <a:lnTo>
                  <a:pt x="15588" y="11526"/>
                </a:lnTo>
                <a:lnTo>
                  <a:pt x="15576" y="11574"/>
                </a:lnTo>
                <a:lnTo>
                  <a:pt x="15564" y="11623"/>
                </a:lnTo>
                <a:lnTo>
                  <a:pt x="15549" y="11673"/>
                </a:lnTo>
                <a:lnTo>
                  <a:pt x="15533" y="11722"/>
                </a:lnTo>
                <a:lnTo>
                  <a:pt x="15514" y="11773"/>
                </a:lnTo>
                <a:lnTo>
                  <a:pt x="15493" y="11823"/>
                </a:lnTo>
                <a:lnTo>
                  <a:pt x="15471" y="11874"/>
                </a:lnTo>
                <a:lnTo>
                  <a:pt x="15446" y="11925"/>
                </a:lnTo>
                <a:lnTo>
                  <a:pt x="15420" y="11977"/>
                </a:lnTo>
                <a:lnTo>
                  <a:pt x="15391" y="12030"/>
                </a:lnTo>
                <a:lnTo>
                  <a:pt x="15361" y="12082"/>
                </a:lnTo>
                <a:lnTo>
                  <a:pt x="15329" y="12135"/>
                </a:lnTo>
                <a:lnTo>
                  <a:pt x="15296" y="12189"/>
                </a:lnTo>
                <a:lnTo>
                  <a:pt x="15259" y="12242"/>
                </a:lnTo>
                <a:lnTo>
                  <a:pt x="15223" y="12296"/>
                </a:lnTo>
                <a:lnTo>
                  <a:pt x="15183" y="12350"/>
                </a:lnTo>
                <a:lnTo>
                  <a:pt x="15142" y="12404"/>
                </a:lnTo>
                <a:lnTo>
                  <a:pt x="15100" y="12458"/>
                </a:lnTo>
                <a:lnTo>
                  <a:pt x="15073" y="12491"/>
                </a:lnTo>
                <a:lnTo>
                  <a:pt x="15047" y="12522"/>
                </a:lnTo>
                <a:lnTo>
                  <a:pt x="15019" y="12555"/>
                </a:lnTo>
                <a:lnTo>
                  <a:pt x="14992" y="12587"/>
                </a:lnTo>
                <a:lnTo>
                  <a:pt x="14963" y="12620"/>
                </a:lnTo>
                <a:lnTo>
                  <a:pt x="14934" y="12652"/>
                </a:lnTo>
                <a:lnTo>
                  <a:pt x="14904" y="12684"/>
                </a:lnTo>
                <a:lnTo>
                  <a:pt x="14875" y="12717"/>
                </a:lnTo>
                <a:lnTo>
                  <a:pt x="14904" y="12749"/>
                </a:lnTo>
                <a:lnTo>
                  <a:pt x="14933" y="12781"/>
                </a:lnTo>
                <a:lnTo>
                  <a:pt x="14961" y="12812"/>
                </a:lnTo>
                <a:lnTo>
                  <a:pt x="14989" y="12844"/>
                </a:lnTo>
                <a:lnTo>
                  <a:pt x="15016" y="12877"/>
                </a:lnTo>
                <a:lnTo>
                  <a:pt x="15043" y="12908"/>
                </a:lnTo>
                <a:lnTo>
                  <a:pt x="15069" y="12940"/>
                </a:lnTo>
                <a:lnTo>
                  <a:pt x="15095" y="12970"/>
                </a:lnTo>
                <a:lnTo>
                  <a:pt x="15135" y="13022"/>
                </a:lnTo>
                <a:lnTo>
                  <a:pt x="15175" y="13074"/>
                </a:lnTo>
                <a:lnTo>
                  <a:pt x="15212" y="13126"/>
                </a:lnTo>
                <a:lnTo>
                  <a:pt x="15248" y="13177"/>
                </a:lnTo>
                <a:lnTo>
                  <a:pt x="15283" y="13228"/>
                </a:lnTo>
                <a:lnTo>
                  <a:pt x="15315" y="13279"/>
                </a:lnTo>
                <a:lnTo>
                  <a:pt x="15347" y="13330"/>
                </a:lnTo>
                <a:lnTo>
                  <a:pt x="15376" y="13380"/>
                </a:lnTo>
                <a:lnTo>
                  <a:pt x="15404" y="13431"/>
                </a:lnTo>
                <a:lnTo>
                  <a:pt x="15430" y="13480"/>
                </a:lnTo>
                <a:lnTo>
                  <a:pt x="15454" y="13530"/>
                </a:lnTo>
                <a:lnTo>
                  <a:pt x="15477" y="13578"/>
                </a:lnTo>
                <a:lnTo>
                  <a:pt x="15497" y="13627"/>
                </a:lnTo>
                <a:lnTo>
                  <a:pt x="15516" y="13675"/>
                </a:lnTo>
                <a:lnTo>
                  <a:pt x="15534" y="13723"/>
                </a:lnTo>
                <a:lnTo>
                  <a:pt x="15549" y="13771"/>
                </a:lnTo>
                <a:lnTo>
                  <a:pt x="15562" y="13818"/>
                </a:lnTo>
                <a:lnTo>
                  <a:pt x="15574" y="13864"/>
                </a:lnTo>
                <a:lnTo>
                  <a:pt x="15584" y="13909"/>
                </a:lnTo>
                <a:lnTo>
                  <a:pt x="15592" y="13955"/>
                </a:lnTo>
                <a:lnTo>
                  <a:pt x="15598" y="14000"/>
                </a:lnTo>
                <a:lnTo>
                  <a:pt x="15602" y="14044"/>
                </a:lnTo>
                <a:lnTo>
                  <a:pt x="15604" y="14088"/>
                </a:lnTo>
                <a:lnTo>
                  <a:pt x="15604" y="14131"/>
                </a:lnTo>
                <a:lnTo>
                  <a:pt x="15602" y="14172"/>
                </a:lnTo>
                <a:lnTo>
                  <a:pt x="15599" y="14214"/>
                </a:lnTo>
                <a:lnTo>
                  <a:pt x="15593" y="14255"/>
                </a:lnTo>
                <a:lnTo>
                  <a:pt x="15585" y="14296"/>
                </a:lnTo>
                <a:lnTo>
                  <a:pt x="15574" y="14335"/>
                </a:lnTo>
                <a:lnTo>
                  <a:pt x="15563" y="14374"/>
                </a:lnTo>
                <a:lnTo>
                  <a:pt x="15549" y="14412"/>
                </a:lnTo>
                <a:lnTo>
                  <a:pt x="15533" y="14448"/>
                </a:lnTo>
                <a:lnTo>
                  <a:pt x="15533" y="14454"/>
                </a:lnTo>
                <a:lnTo>
                  <a:pt x="15504" y="14504"/>
                </a:lnTo>
                <a:lnTo>
                  <a:pt x="15482" y="14540"/>
                </a:lnTo>
                <a:lnTo>
                  <a:pt x="15458" y="14575"/>
                </a:lnTo>
                <a:lnTo>
                  <a:pt x="15431" y="14608"/>
                </a:lnTo>
                <a:lnTo>
                  <a:pt x="15404" y="14640"/>
                </a:lnTo>
                <a:lnTo>
                  <a:pt x="15373" y="14670"/>
                </a:lnTo>
                <a:lnTo>
                  <a:pt x="15342" y="14699"/>
                </a:lnTo>
                <a:lnTo>
                  <a:pt x="15308" y="14725"/>
                </a:lnTo>
                <a:lnTo>
                  <a:pt x="15272" y="14751"/>
                </a:lnTo>
                <a:lnTo>
                  <a:pt x="15235" y="14775"/>
                </a:lnTo>
                <a:lnTo>
                  <a:pt x="15196" y="14798"/>
                </a:lnTo>
                <a:lnTo>
                  <a:pt x="15156" y="14818"/>
                </a:lnTo>
                <a:lnTo>
                  <a:pt x="15114" y="14837"/>
                </a:lnTo>
                <a:lnTo>
                  <a:pt x="15070" y="14856"/>
                </a:lnTo>
                <a:lnTo>
                  <a:pt x="15024" y="14872"/>
                </a:lnTo>
                <a:lnTo>
                  <a:pt x="14978" y="14887"/>
                </a:lnTo>
                <a:lnTo>
                  <a:pt x="14929" y="14901"/>
                </a:lnTo>
                <a:lnTo>
                  <a:pt x="14879" y="14912"/>
                </a:lnTo>
                <a:lnTo>
                  <a:pt x="14828" y="14923"/>
                </a:lnTo>
                <a:lnTo>
                  <a:pt x="14775" y="14931"/>
                </a:lnTo>
                <a:lnTo>
                  <a:pt x="14721" y="14939"/>
                </a:lnTo>
                <a:lnTo>
                  <a:pt x="14666" y="14945"/>
                </a:lnTo>
                <a:lnTo>
                  <a:pt x="14609" y="14949"/>
                </a:lnTo>
                <a:lnTo>
                  <a:pt x="14551" y="14952"/>
                </a:lnTo>
                <a:lnTo>
                  <a:pt x="14492" y="14954"/>
                </a:lnTo>
                <a:lnTo>
                  <a:pt x="14432" y="14955"/>
                </a:lnTo>
                <a:lnTo>
                  <a:pt x="14370" y="14952"/>
                </a:lnTo>
                <a:lnTo>
                  <a:pt x="14307" y="14950"/>
                </a:lnTo>
                <a:lnTo>
                  <a:pt x="14243" y="14946"/>
                </a:lnTo>
                <a:lnTo>
                  <a:pt x="14178" y="14940"/>
                </a:lnTo>
                <a:lnTo>
                  <a:pt x="14111" y="14933"/>
                </a:lnTo>
                <a:lnTo>
                  <a:pt x="14044" y="14925"/>
                </a:lnTo>
                <a:lnTo>
                  <a:pt x="13976" y="14915"/>
                </a:lnTo>
                <a:lnTo>
                  <a:pt x="13936" y="14909"/>
                </a:lnTo>
                <a:lnTo>
                  <a:pt x="13895" y="14902"/>
                </a:lnTo>
                <a:lnTo>
                  <a:pt x="13854" y="14894"/>
                </a:lnTo>
                <a:lnTo>
                  <a:pt x="13813" y="14886"/>
                </a:lnTo>
                <a:lnTo>
                  <a:pt x="13771" y="14878"/>
                </a:lnTo>
                <a:lnTo>
                  <a:pt x="13728" y="14869"/>
                </a:lnTo>
                <a:lnTo>
                  <a:pt x="13685" y="14860"/>
                </a:lnTo>
                <a:lnTo>
                  <a:pt x="13643" y="14850"/>
                </a:lnTo>
                <a:lnTo>
                  <a:pt x="13630" y="14892"/>
                </a:lnTo>
                <a:lnTo>
                  <a:pt x="13616" y="14934"/>
                </a:lnTo>
                <a:lnTo>
                  <a:pt x="13603" y="14976"/>
                </a:lnTo>
                <a:lnTo>
                  <a:pt x="13589" y="15017"/>
                </a:lnTo>
                <a:lnTo>
                  <a:pt x="13576" y="15056"/>
                </a:lnTo>
                <a:lnTo>
                  <a:pt x="13561" y="15096"/>
                </a:lnTo>
                <a:lnTo>
                  <a:pt x="13546" y="15136"/>
                </a:lnTo>
                <a:lnTo>
                  <a:pt x="13532" y="15175"/>
                </a:lnTo>
                <a:lnTo>
                  <a:pt x="13507" y="15239"/>
                </a:lnTo>
                <a:lnTo>
                  <a:pt x="13480" y="15301"/>
                </a:lnTo>
                <a:lnTo>
                  <a:pt x="13453" y="15362"/>
                </a:lnTo>
                <a:lnTo>
                  <a:pt x="13425" y="15422"/>
                </a:lnTo>
                <a:lnTo>
                  <a:pt x="13397" y="15479"/>
                </a:lnTo>
                <a:lnTo>
                  <a:pt x="13367" y="15535"/>
                </a:lnTo>
                <a:lnTo>
                  <a:pt x="13338" y="15590"/>
                </a:lnTo>
                <a:lnTo>
                  <a:pt x="13307" y="15642"/>
                </a:lnTo>
                <a:lnTo>
                  <a:pt x="13277" y="15693"/>
                </a:lnTo>
                <a:lnTo>
                  <a:pt x="13244" y="15742"/>
                </a:lnTo>
                <a:lnTo>
                  <a:pt x="13213" y="15789"/>
                </a:lnTo>
                <a:lnTo>
                  <a:pt x="13179" y="15835"/>
                </a:lnTo>
                <a:lnTo>
                  <a:pt x="13146" y="15877"/>
                </a:lnTo>
                <a:lnTo>
                  <a:pt x="13112" y="15919"/>
                </a:lnTo>
                <a:lnTo>
                  <a:pt x="13077" y="15959"/>
                </a:lnTo>
                <a:lnTo>
                  <a:pt x="13042" y="15996"/>
                </a:lnTo>
                <a:lnTo>
                  <a:pt x="13006" y="16031"/>
                </a:lnTo>
                <a:lnTo>
                  <a:pt x="12970" y="16065"/>
                </a:lnTo>
                <a:lnTo>
                  <a:pt x="12933" y="16095"/>
                </a:lnTo>
                <a:lnTo>
                  <a:pt x="12895" y="16125"/>
                </a:lnTo>
                <a:lnTo>
                  <a:pt x="12858" y="16151"/>
                </a:lnTo>
                <a:lnTo>
                  <a:pt x="12819" y="16176"/>
                </a:lnTo>
                <a:lnTo>
                  <a:pt x="12781" y="16199"/>
                </a:lnTo>
                <a:lnTo>
                  <a:pt x="12741" y="16220"/>
                </a:lnTo>
                <a:lnTo>
                  <a:pt x="12701" y="16237"/>
                </a:lnTo>
                <a:lnTo>
                  <a:pt x="12662" y="16253"/>
                </a:lnTo>
                <a:lnTo>
                  <a:pt x="12621" y="16266"/>
                </a:lnTo>
                <a:lnTo>
                  <a:pt x="12579" y="16278"/>
                </a:lnTo>
                <a:lnTo>
                  <a:pt x="12539" y="16286"/>
                </a:lnTo>
                <a:lnTo>
                  <a:pt x="12497" y="16292"/>
                </a:lnTo>
                <a:lnTo>
                  <a:pt x="12454" y="16296"/>
                </a:lnTo>
                <a:lnTo>
                  <a:pt x="12412" y="16297"/>
                </a:lnTo>
                <a:lnTo>
                  <a:pt x="12369" y="16296"/>
                </a:lnTo>
                <a:lnTo>
                  <a:pt x="12327" y="16292"/>
                </a:lnTo>
                <a:lnTo>
                  <a:pt x="12285" y="16286"/>
                </a:lnTo>
                <a:lnTo>
                  <a:pt x="12244" y="16278"/>
                </a:lnTo>
                <a:lnTo>
                  <a:pt x="12202" y="16266"/>
                </a:lnTo>
                <a:lnTo>
                  <a:pt x="12161" y="16253"/>
                </a:lnTo>
                <a:lnTo>
                  <a:pt x="12122" y="16237"/>
                </a:lnTo>
                <a:lnTo>
                  <a:pt x="12082" y="16220"/>
                </a:lnTo>
                <a:lnTo>
                  <a:pt x="12043" y="16199"/>
                </a:lnTo>
                <a:lnTo>
                  <a:pt x="12004" y="16176"/>
                </a:lnTo>
                <a:lnTo>
                  <a:pt x="11965" y="16151"/>
                </a:lnTo>
                <a:lnTo>
                  <a:pt x="11928" y="16125"/>
                </a:lnTo>
                <a:lnTo>
                  <a:pt x="11890" y="16095"/>
                </a:lnTo>
                <a:lnTo>
                  <a:pt x="11853" y="16065"/>
                </a:lnTo>
                <a:lnTo>
                  <a:pt x="11817" y="16031"/>
                </a:lnTo>
                <a:lnTo>
                  <a:pt x="11781" y="15996"/>
                </a:lnTo>
                <a:lnTo>
                  <a:pt x="11747" y="15959"/>
                </a:lnTo>
                <a:lnTo>
                  <a:pt x="11711" y="15919"/>
                </a:lnTo>
                <a:lnTo>
                  <a:pt x="11678" y="15877"/>
                </a:lnTo>
                <a:lnTo>
                  <a:pt x="11644" y="15835"/>
                </a:lnTo>
                <a:lnTo>
                  <a:pt x="11611" y="15789"/>
                </a:lnTo>
                <a:lnTo>
                  <a:pt x="11579" y="15742"/>
                </a:lnTo>
                <a:lnTo>
                  <a:pt x="11547" y="15693"/>
                </a:lnTo>
                <a:lnTo>
                  <a:pt x="11516" y="15642"/>
                </a:lnTo>
                <a:lnTo>
                  <a:pt x="11485" y="15590"/>
                </a:lnTo>
                <a:lnTo>
                  <a:pt x="11456" y="15535"/>
                </a:lnTo>
                <a:lnTo>
                  <a:pt x="11426" y="15479"/>
                </a:lnTo>
                <a:lnTo>
                  <a:pt x="11398" y="15422"/>
                </a:lnTo>
                <a:lnTo>
                  <a:pt x="11370" y="15362"/>
                </a:lnTo>
                <a:lnTo>
                  <a:pt x="11344" y="15301"/>
                </a:lnTo>
                <a:lnTo>
                  <a:pt x="11318" y="15239"/>
                </a:lnTo>
                <a:lnTo>
                  <a:pt x="11291" y="15175"/>
                </a:lnTo>
                <a:lnTo>
                  <a:pt x="11277" y="15136"/>
                </a:lnTo>
                <a:lnTo>
                  <a:pt x="11263" y="15098"/>
                </a:lnTo>
                <a:lnTo>
                  <a:pt x="11248" y="15058"/>
                </a:lnTo>
                <a:lnTo>
                  <a:pt x="11235" y="15019"/>
                </a:lnTo>
                <a:lnTo>
                  <a:pt x="11221" y="14978"/>
                </a:lnTo>
                <a:lnTo>
                  <a:pt x="11208" y="14937"/>
                </a:lnTo>
                <a:lnTo>
                  <a:pt x="11195" y="14896"/>
                </a:lnTo>
                <a:lnTo>
                  <a:pt x="11181" y="14855"/>
                </a:lnTo>
                <a:lnTo>
                  <a:pt x="11162" y="14859"/>
                </a:lnTo>
                <a:lnTo>
                  <a:pt x="11143" y="14864"/>
                </a:lnTo>
                <a:lnTo>
                  <a:pt x="11122" y="14868"/>
                </a:lnTo>
                <a:lnTo>
                  <a:pt x="11103" y="14872"/>
                </a:lnTo>
                <a:lnTo>
                  <a:pt x="11084" y="14876"/>
                </a:lnTo>
                <a:lnTo>
                  <a:pt x="11064" y="14880"/>
                </a:lnTo>
                <a:lnTo>
                  <a:pt x="11045" y="14884"/>
                </a:lnTo>
                <a:lnTo>
                  <a:pt x="11026" y="14888"/>
                </a:lnTo>
                <a:lnTo>
                  <a:pt x="11021" y="14908"/>
                </a:lnTo>
                <a:lnTo>
                  <a:pt x="11015" y="14926"/>
                </a:lnTo>
                <a:lnTo>
                  <a:pt x="11009" y="14944"/>
                </a:lnTo>
                <a:lnTo>
                  <a:pt x="11001" y="14963"/>
                </a:lnTo>
                <a:lnTo>
                  <a:pt x="10993" y="14980"/>
                </a:lnTo>
                <a:lnTo>
                  <a:pt x="10985" y="14998"/>
                </a:lnTo>
                <a:lnTo>
                  <a:pt x="10977" y="15015"/>
                </a:lnTo>
                <a:lnTo>
                  <a:pt x="10967" y="15032"/>
                </a:lnTo>
                <a:lnTo>
                  <a:pt x="10958" y="15048"/>
                </a:lnTo>
                <a:lnTo>
                  <a:pt x="10948" y="15065"/>
                </a:lnTo>
                <a:lnTo>
                  <a:pt x="10936" y="15080"/>
                </a:lnTo>
                <a:lnTo>
                  <a:pt x="10925" y="15095"/>
                </a:lnTo>
                <a:lnTo>
                  <a:pt x="10913" y="15110"/>
                </a:lnTo>
                <a:lnTo>
                  <a:pt x="10901" y="15125"/>
                </a:lnTo>
                <a:lnTo>
                  <a:pt x="10888" y="15139"/>
                </a:lnTo>
                <a:lnTo>
                  <a:pt x="10874" y="15153"/>
                </a:lnTo>
                <a:lnTo>
                  <a:pt x="10855" y="15171"/>
                </a:lnTo>
                <a:lnTo>
                  <a:pt x="10834" y="15190"/>
                </a:lnTo>
                <a:lnTo>
                  <a:pt x="10812" y="15207"/>
                </a:lnTo>
                <a:lnTo>
                  <a:pt x="10789" y="15223"/>
                </a:lnTo>
                <a:lnTo>
                  <a:pt x="10766" y="15239"/>
                </a:lnTo>
                <a:lnTo>
                  <a:pt x="10742" y="15252"/>
                </a:lnTo>
                <a:lnTo>
                  <a:pt x="10717" y="15265"/>
                </a:lnTo>
                <a:lnTo>
                  <a:pt x="10691" y="15276"/>
                </a:lnTo>
                <a:lnTo>
                  <a:pt x="10665" y="15287"/>
                </a:lnTo>
                <a:lnTo>
                  <a:pt x="10638" y="15296"/>
                </a:lnTo>
                <a:lnTo>
                  <a:pt x="10611" y="15304"/>
                </a:lnTo>
                <a:lnTo>
                  <a:pt x="10584" y="15310"/>
                </a:lnTo>
                <a:lnTo>
                  <a:pt x="10555" y="15315"/>
                </a:lnTo>
                <a:lnTo>
                  <a:pt x="10526" y="15319"/>
                </a:lnTo>
                <a:lnTo>
                  <a:pt x="10497" y="15321"/>
                </a:lnTo>
                <a:lnTo>
                  <a:pt x="10467" y="15322"/>
                </a:lnTo>
                <a:lnTo>
                  <a:pt x="10437" y="15321"/>
                </a:lnTo>
                <a:lnTo>
                  <a:pt x="10409" y="15319"/>
                </a:lnTo>
                <a:lnTo>
                  <a:pt x="10379" y="15315"/>
                </a:lnTo>
                <a:lnTo>
                  <a:pt x="10351" y="15310"/>
                </a:lnTo>
                <a:lnTo>
                  <a:pt x="10323" y="15304"/>
                </a:lnTo>
                <a:lnTo>
                  <a:pt x="10296" y="15296"/>
                </a:lnTo>
                <a:lnTo>
                  <a:pt x="10269" y="15287"/>
                </a:lnTo>
                <a:lnTo>
                  <a:pt x="10243" y="15276"/>
                </a:lnTo>
                <a:lnTo>
                  <a:pt x="10218" y="15265"/>
                </a:lnTo>
                <a:lnTo>
                  <a:pt x="10192" y="15252"/>
                </a:lnTo>
                <a:lnTo>
                  <a:pt x="10168" y="15239"/>
                </a:lnTo>
                <a:lnTo>
                  <a:pt x="10144" y="15223"/>
                </a:lnTo>
                <a:lnTo>
                  <a:pt x="10122" y="15207"/>
                </a:lnTo>
                <a:lnTo>
                  <a:pt x="10101" y="15190"/>
                </a:lnTo>
                <a:lnTo>
                  <a:pt x="10079" y="15171"/>
                </a:lnTo>
                <a:lnTo>
                  <a:pt x="10060" y="15153"/>
                </a:lnTo>
                <a:lnTo>
                  <a:pt x="10048" y="15140"/>
                </a:lnTo>
                <a:lnTo>
                  <a:pt x="10036" y="15128"/>
                </a:lnTo>
                <a:lnTo>
                  <a:pt x="10024" y="15114"/>
                </a:lnTo>
                <a:lnTo>
                  <a:pt x="10013" y="15100"/>
                </a:lnTo>
                <a:lnTo>
                  <a:pt x="10003" y="15087"/>
                </a:lnTo>
                <a:lnTo>
                  <a:pt x="9993" y="15073"/>
                </a:lnTo>
                <a:lnTo>
                  <a:pt x="9983" y="15057"/>
                </a:lnTo>
                <a:lnTo>
                  <a:pt x="9974" y="15043"/>
                </a:lnTo>
                <a:lnTo>
                  <a:pt x="9964" y="15028"/>
                </a:lnTo>
                <a:lnTo>
                  <a:pt x="9956" y="15012"/>
                </a:lnTo>
                <a:lnTo>
                  <a:pt x="9948" y="14996"/>
                </a:lnTo>
                <a:lnTo>
                  <a:pt x="9941" y="14980"/>
                </a:lnTo>
                <a:lnTo>
                  <a:pt x="9934" y="14964"/>
                </a:lnTo>
                <a:lnTo>
                  <a:pt x="9928" y="14947"/>
                </a:lnTo>
                <a:lnTo>
                  <a:pt x="9922" y="14930"/>
                </a:lnTo>
                <a:lnTo>
                  <a:pt x="9916" y="14914"/>
                </a:lnTo>
                <a:lnTo>
                  <a:pt x="9865" y="14901"/>
                </a:lnTo>
                <a:lnTo>
                  <a:pt x="9816" y="14886"/>
                </a:lnTo>
                <a:lnTo>
                  <a:pt x="9792" y="14878"/>
                </a:lnTo>
                <a:lnTo>
                  <a:pt x="9768" y="14870"/>
                </a:lnTo>
                <a:lnTo>
                  <a:pt x="9745" y="14861"/>
                </a:lnTo>
                <a:lnTo>
                  <a:pt x="9721" y="14852"/>
                </a:lnTo>
                <a:lnTo>
                  <a:pt x="9699" y="14842"/>
                </a:lnTo>
                <a:lnTo>
                  <a:pt x="9678" y="14832"/>
                </a:lnTo>
                <a:lnTo>
                  <a:pt x="9656" y="14822"/>
                </a:lnTo>
                <a:lnTo>
                  <a:pt x="9635" y="14811"/>
                </a:lnTo>
                <a:lnTo>
                  <a:pt x="9614" y="14800"/>
                </a:lnTo>
                <a:lnTo>
                  <a:pt x="9594" y="14789"/>
                </a:lnTo>
                <a:lnTo>
                  <a:pt x="9574" y="14776"/>
                </a:lnTo>
                <a:lnTo>
                  <a:pt x="9555" y="14764"/>
                </a:lnTo>
                <a:lnTo>
                  <a:pt x="9536" y="14752"/>
                </a:lnTo>
                <a:lnTo>
                  <a:pt x="9518" y="14739"/>
                </a:lnTo>
                <a:lnTo>
                  <a:pt x="9500" y="14724"/>
                </a:lnTo>
                <a:lnTo>
                  <a:pt x="9483" y="14711"/>
                </a:lnTo>
                <a:lnTo>
                  <a:pt x="9465" y="14696"/>
                </a:lnTo>
                <a:lnTo>
                  <a:pt x="9449" y="14682"/>
                </a:lnTo>
                <a:lnTo>
                  <a:pt x="9433" y="14666"/>
                </a:lnTo>
                <a:lnTo>
                  <a:pt x="9417" y="14650"/>
                </a:lnTo>
                <a:lnTo>
                  <a:pt x="9403" y="14635"/>
                </a:lnTo>
                <a:lnTo>
                  <a:pt x="9388" y="14617"/>
                </a:lnTo>
                <a:lnTo>
                  <a:pt x="9375" y="14601"/>
                </a:lnTo>
                <a:lnTo>
                  <a:pt x="9361" y="14584"/>
                </a:lnTo>
                <a:lnTo>
                  <a:pt x="9348" y="14565"/>
                </a:lnTo>
                <a:lnTo>
                  <a:pt x="9335" y="14547"/>
                </a:lnTo>
                <a:lnTo>
                  <a:pt x="9324" y="14529"/>
                </a:lnTo>
                <a:lnTo>
                  <a:pt x="9313" y="14510"/>
                </a:lnTo>
                <a:lnTo>
                  <a:pt x="9313" y="14509"/>
                </a:lnTo>
                <a:lnTo>
                  <a:pt x="9292" y="14472"/>
                </a:lnTo>
                <a:lnTo>
                  <a:pt x="9274" y="14433"/>
                </a:lnTo>
                <a:lnTo>
                  <a:pt x="9259" y="14394"/>
                </a:lnTo>
                <a:lnTo>
                  <a:pt x="9246" y="14354"/>
                </a:lnTo>
                <a:lnTo>
                  <a:pt x="9234" y="14313"/>
                </a:lnTo>
                <a:lnTo>
                  <a:pt x="9225" y="14271"/>
                </a:lnTo>
                <a:lnTo>
                  <a:pt x="9219" y="14228"/>
                </a:lnTo>
                <a:lnTo>
                  <a:pt x="9215" y="14185"/>
                </a:lnTo>
                <a:lnTo>
                  <a:pt x="9213" y="14140"/>
                </a:lnTo>
                <a:lnTo>
                  <a:pt x="9213" y="14095"/>
                </a:lnTo>
                <a:lnTo>
                  <a:pt x="9215" y="14050"/>
                </a:lnTo>
                <a:lnTo>
                  <a:pt x="9219" y="14003"/>
                </a:lnTo>
                <a:lnTo>
                  <a:pt x="9225" y="13956"/>
                </a:lnTo>
                <a:lnTo>
                  <a:pt x="9234" y="13908"/>
                </a:lnTo>
                <a:lnTo>
                  <a:pt x="9245" y="13861"/>
                </a:lnTo>
                <a:lnTo>
                  <a:pt x="9258" y="13812"/>
                </a:lnTo>
                <a:lnTo>
                  <a:pt x="9272" y="13763"/>
                </a:lnTo>
                <a:lnTo>
                  <a:pt x="9288" y="13713"/>
                </a:lnTo>
                <a:lnTo>
                  <a:pt x="9308" y="13663"/>
                </a:lnTo>
                <a:lnTo>
                  <a:pt x="9328" y="13612"/>
                </a:lnTo>
                <a:lnTo>
                  <a:pt x="9350" y="13561"/>
                </a:lnTo>
                <a:lnTo>
                  <a:pt x="9375" y="13509"/>
                </a:lnTo>
                <a:lnTo>
                  <a:pt x="9401" y="13457"/>
                </a:lnTo>
                <a:lnTo>
                  <a:pt x="9430" y="13405"/>
                </a:lnTo>
                <a:lnTo>
                  <a:pt x="9460" y="13352"/>
                </a:lnTo>
                <a:lnTo>
                  <a:pt x="9492" y="13299"/>
                </a:lnTo>
                <a:lnTo>
                  <a:pt x="9526" y="13246"/>
                </a:lnTo>
                <a:lnTo>
                  <a:pt x="9562" y="13193"/>
                </a:lnTo>
                <a:lnTo>
                  <a:pt x="9599" y="13139"/>
                </a:lnTo>
                <a:lnTo>
                  <a:pt x="9638" y="13085"/>
                </a:lnTo>
                <a:lnTo>
                  <a:pt x="9680" y="13031"/>
                </a:lnTo>
                <a:lnTo>
                  <a:pt x="9721" y="12978"/>
                </a:lnTo>
                <a:lnTo>
                  <a:pt x="9748" y="12945"/>
                </a:lnTo>
                <a:lnTo>
                  <a:pt x="9775" y="12912"/>
                </a:lnTo>
                <a:lnTo>
                  <a:pt x="9802" y="12880"/>
                </a:lnTo>
                <a:lnTo>
                  <a:pt x="9830" y="12848"/>
                </a:lnTo>
                <a:lnTo>
                  <a:pt x="9859" y="12816"/>
                </a:lnTo>
                <a:lnTo>
                  <a:pt x="9888" y="12783"/>
                </a:lnTo>
                <a:lnTo>
                  <a:pt x="9918" y="12749"/>
                </a:lnTo>
                <a:lnTo>
                  <a:pt x="9948" y="12717"/>
                </a:lnTo>
                <a:lnTo>
                  <a:pt x="9917" y="12684"/>
                </a:lnTo>
                <a:lnTo>
                  <a:pt x="9886" y="12651"/>
                </a:lnTo>
                <a:lnTo>
                  <a:pt x="9857" y="12617"/>
                </a:lnTo>
                <a:lnTo>
                  <a:pt x="9828" y="12584"/>
                </a:lnTo>
                <a:lnTo>
                  <a:pt x="9799" y="12551"/>
                </a:lnTo>
                <a:lnTo>
                  <a:pt x="9771" y="12518"/>
                </a:lnTo>
                <a:lnTo>
                  <a:pt x="9744" y="12485"/>
                </a:lnTo>
                <a:lnTo>
                  <a:pt x="9717" y="12452"/>
                </a:lnTo>
                <a:lnTo>
                  <a:pt x="9675" y="12398"/>
                </a:lnTo>
                <a:lnTo>
                  <a:pt x="9634" y="12344"/>
                </a:lnTo>
                <a:lnTo>
                  <a:pt x="9594" y="12290"/>
                </a:lnTo>
                <a:lnTo>
                  <a:pt x="9557" y="12236"/>
                </a:lnTo>
                <a:lnTo>
                  <a:pt x="9521" y="12182"/>
                </a:lnTo>
                <a:lnTo>
                  <a:pt x="9488" y="12129"/>
                </a:lnTo>
                <a:lnTo>
                  <a:pt x="9455" y="12076"/>
                </a:lnTo>
                <a:lnTo>
                  <a:pt x="9426" y="12023"/>
                </a:lnTo>
                <a:lnTo>
                  <a:pt x="9397" y="11971"/>
                </a:lnTo>
                <a:lnTo>
                  <a:pt x="9371" y="11919"/>
                </a:lnTo>
                <a:lnTo>
                  <a:pt x="9346" y="11868"/>
                </a:lnTo>
                <a:lnTo>
                  <a:pt x="9323" y="11816"/>
                </a:lnTo>
                <a:lnTo>
                  <a:pt x="9303" y="11766"/>
                </a:lnTo>
                <a:lnTo>
                  <a:pt x="9284" y="11716"/>
                </a:lnTo>
                <a:lnTo>
                  <a:pt x="9267" y="11666"/>
                </a:lnTo>
                <a:lnTo>
                  <a:pt x="9253" y="11617"/>
                </a:lnTo>
                <a:lnTo>
                  <a:pt x="9240" y="11568"/>
                </a:lnTo>
                <a:lnTo>
                  <a:pt x="9229" y="11520"/>
                </a:lnTo>
                <a:lnTo>
                  <a:pt x="9221" y="11472"/>
                </a:lnTo>
                <a:lnTo>
                  <a:pt x="9214" y="11425"/>
                </a:lnTo>
                <a:lnTo>
                  <a:pt x="9210" y="11379"/>
                </a:lnTo>
                <a:lnTo>
                  <a:pt x="9208" y="11334"/>
                </a:lnTo>
                <a:lnTo>
                  <a:pt x="9208" y="11289"/>
                </a:lnTo>
                <a:lnTo>
                  <a:pt x="9210" y="11244"/>
                </a:lnTo>
                <a:lnTo>
                  <a:pt x="9214" y="11201"/>
                </a:lnTo>
                <a:lnTo>
                  <a:pt x="9221" y="11158"/>
                </a:lnTo>
                <a:lnTo>
                  <a:pt x="9229" y="11116"/>
                </a:lnTo>
                <a:lnTo>
                  <a:pt x="9241" y="11075"/>
                </a:lnTo>
                <a:lnTo>
                  <a:pt x="9254" y="11035"/>
                </a:lnTo>
                <a:lnTo>
                  <a:pt x="9270" y="10995"/>
                </a:lnTo>
                <a:lnTo>
                  <a:pt x="9287" y="10957"/>
                </a:lnTo>
                <a:lnTo>
                  <a:pt x="9308" y="10919"/>
                </a:lnTo>
                <a:lnTo>
                  <a:pt x="9308" y="10919"/>
                </a:lnTo>
                <a:lnTo>
                  <a:pt x="9330" y="10883"/>
                </a:lnTo>
                <a:lnTo>
                  <a:pt x="9354" y="10849"/>
                </a:lnTo>
                <a:lnTo>
                  <a:pt x="9381" y="10815"/>
                </a:lnTo>
                <a:lnTo>
                  <a:pt x="9409" y="10784"/>
                </a:lnTo>
                <a:lnTo>
                  <a:pt x="9440" y="10753"/>
                </a:lnTo>
                <a:lnTo>
                  <a:pt x="9471" y="10724"/>
                </a:lnTo>
                <a:lnTo>
                  <a:pt x="9505" y="10698"/>
                </a:lnTo>
                <a:lnTo>
                  <a:pt x="9540" y="10672"/>
                </a:lnTo>
                <a:lnTo>
                  <a:pt x="9578" y="10648"/>
                </a:lnTo>
                <a:lnTo>
                  <a:pt x="9617" y="10626"/>
                </a:lnTo>
                <a:lnTo>
                  <a:pt x="9657" y="10605"/>
                </a:lnTo>
                <a:lnTo>
                  <a:pt x="9699" y="10585"/>
                </a:lnTo>
                <a:lnTo>
                  <a:pt x="9743" y="10568"/>
                </a:lnTo>
                <a:lnTo>
                  <a:pt x="9789" y="10551"/>
                </a:lnTo>
                <a:lnTo>
                  <a:pt x="9835" y="10536"/>
                </a:lnTo>
                <a:lnTo>
                  <a:pt x="9883" y="10523"/>
                </a:lnTo>
                <a:lnTo>
                  <a:pt x="9933" y="10511"/>
                </a:lnTo>
                <a:lnTo>
                  <a:pt x="9985" y="10500"/>
                </a:lnTo>
                <a:lnTo>
                  <a:pt x="10038" y="10491"/>
                </a:lnTo>
                <a:lnTo>
                  <a:pt x="10092" y="10484"/>
                </a:lnTo>
                <a:lnTo>
                  <a:pt x="10146" y="10478"/>
                </a:lnTo>
                <a:lnTo>
                  <a:pt x="10203" y="10474"/>
                </a:lnTo>
                <a:lnTo>
                  <a:pt x="10261" y="10471"/>
                </a:lnTo>
                <a:lnTo>
                  <a:pt x="10321" y="10469"/>
                </a:lnTo>
                <a:lnTo>
                  <a:pt x="10381" y="10469"/>
                </a:lnTo>
                <a:lnTo>
                  <a:pt x="10443" y="10470"/>
                </a:lnTo>
                <a:lnTo>
                  <a:pt x="10506" y="10473"/>
                </a:lnTo>
                <a:lnTo>
                  <a:pt x="10569" y="10477"/>
                </a:lnTo>
                <a:lnTo>
                  <a:pt x="10634" y="10483"/>
                </a:lnTo>
                <a:lnTo>
                  <a:pt x="10700" y="10489"/>
                </a:lnTo>
                <a:lnTo>
                  <a:pt x="10768" y="10498"/>
                </a:lnTo>
                <a:lnTo>
                  <a:pt x="10836" y="10507"/>
                </a:lnTo>
                <a:lnTo>
                  <a:pt x="10877" y="10515"/>
                </a:lnTo>
                <a:lnTo>
                  <a:pt x="10920" y="10522"/>
                </a:lnTo>
                <a:lnTo>
                  <a:pt x="10962" y="10530"/>
                </a:lnTo>
                <a:lnTo>
                  <a:pt x="11005" y="10538"/>
                </a:lnTo>
                <a:lnTo>
                  <a:pt x="11048" y="10546"/>
                </a:lnTo>
                <a:lnTo>
                  <a:pt x="11092" y="10555"/>
                </a:lnTo>
                <a:lnTo>
                  <a:pt x="11136" y="10566"/>
                </a:lnTo>
                <a:lnTo>
                  <a:pt x="11180" y="10576"/>
                </a:lnTo>
                <a:lnTo>
                  <a:pt x="11193" y="10533"/>
                </a:lnTo>
                <a:lnTo>
                  <a:pt x="11207" y="10491"/>
                </a:lnTo>
                <a:lnTo>
                  <a:pt x="11220" y="10449"/>
                </a:lnTo>
                <a:lnTo>
                  <a:pt x="11234" y="10409"/>
                </a:lnTo>
                <a:lnTo>
                  <a:pt x="11248" y="10368"/>
                </a:lnTo>
                <a:lnTo>
                  <a:pt x="11263" y="10328"/>
                </a:lnTo>
                <a:lnTo>
                  <a:pt x="11277" y="10288"/>
                </a:lnTo>
                <a:lnTo>
                  <a:pt x="11291" y="10250"/>
                </a:lnTo>
                <a:lnTo>
                  <a:pt x="11318" y="10186"/>
                </a:lnTo>
                <a:lnTo>
                  <a:pt x="11344" y="10122"/>
                </a:lnTo>
                <a:lnTo>
                  <a:pt x="11370" y="10062"/>
                </a:lnTo>
                <a:lnTo>
                  <a:pt x="11398" y="10002"/>
                </a:lnTo>
                <a:lnTo>
                  <a:pt x="11426" y="9945"/>
                </a:lnTo>
                <a:lnTo>
                  <a:pt x="11456" y="9889"/>
                </a:lnTo>
                <a:lnTo>
                  <a:pt x="11485" y="9834"/>
                </a:lnTo>
                <a:lnTo>
                  <a:pt x="11516" y="9782"/>
                </a:lnTo>
                <a:lnTo>
                  <a:pt x="11547" y="9731"/>
                </a:lnTo>
                <a:lnTo>
                  <a:pt x="11579" y="9682"/>
                </a:lnTo>
                <a:lnTo>
                  <a:pt x="11611" y="9635"/>
                </a:lnTo>
                <a:lnTo>
                  <a:pt x="11644" y="9590"/>
                </a:lnTo>
                <a:lnTo>
                  <a:pt x="11678" y="9547"/>
                </a:lnTo>
                <a:lnTo>
                  <a:pt x="11711" y="9505"/>
                </a:lnTo>
                <a:lnTo>
                  <a:pt x="11747" y="9466"/>
                </a:lnTo>
                <a:lnTo>
                  <a:pt x="11781" y="9429"/>
                </a:lnTo>
                <a:lnTo>
                  <a:pt x="11817" y="9393"/>
                </a:lnTo>
                <a:lnTo>
                  <a:pt x="11853" y="9360"/>
                </a:lnTo>
                <a:lnTo>
                  <a:pt x="11890" y="9329"/>
                </a:lnTo>
                <a:lnTo>
                  <a:pt x="11928" y="9299"/>
                </a:lnTo>
                <a:lnTo>
                  <a:pt x="11965" y="9273"/>
                </a:lnTo>
                <a:lnTo>
                  <a:pt x="12004" y="9248"/>
                </a:lnTo>
                <a:lnTo>
                  <a:pt x="12043" y="9225"/>
                </a:lnTo>
                <a:lnTo>
                  <a:pt x="12082" y="9205"/>
                </a:lnTo>
                <a:lnTo>
                  <a:pt x="12122" y="9187"/>
                </a:lnTo>
                <a:lnTo>
                  <a:pt x="12161" y="9171"/>
                </a:lnTo>
                <a:lnTo>
                  <a:pt x="12202" y="9158"/>
                </a:lnTo>
                <a:lnTo>
                  <a:pt x="12244" y="9147"/>
                </a:lnTo>
                <a:lnTo>
                  <a:pt x="12285" y="9139"/>
                </a:lnTo>
                <a:lnTo>
                  <a:pt x="12327" y="9132"/>
                </a:lnTo>
                <a:lnTo>
                  <a:pt x="12369" y="9128"/>
                </a:lnTo>
                <a:lnTo>
                  <a:pt x="12412" y="9127"/>
                </a:lnTo>
                <a:close/>
                <a:moveTo>
                  <a:pt x="13024" y="9984"/>
                </a:moveTo>
                <a:lnTo>
                  <a:pt x="13025" y="10000"/>
                </a:lnTo>
                <a:lnTo>
                  <a:pt x="13027" y="10016"/>
                </a:lnTo>
                <a:lnTo>
                  <a:pt x="13031" y="10031"/>
                </a:lnTo>
                <a:lnTo>
                  <a:pt x="13037" y="10046"/>
                </a:lnTo>
                <a:lnTo>
                  <a:pt x="13043" y="10060"/>
                </a:lnTo>
                <a:lnTo>
                  <a:pt x="13051" y="10073"/>
                </a:lnTo>
                <a:lnTo>
                  <a:pt x="13060" y="10086"/>
                </a:lnTo>
                <a:lnTo>
                  <a:pt x="13070" y="10097"/>
                </a:lnTo>
                <a:lnTo>
                  <a:pt x="13082" y="10107"/>
                </a:lnTo>
                <a:lnTo>
                  <a:pt x="13094" y="10116"/>
                </a:lnTo>
                <a:lnTo>
                  <a:pt x="13107" y="10123"/>
                </a:lnTo>
                <a:lnTo>
                  <a:pt x="13121" y="10131"/>
                </a:lnTo>
                <a:lnTo>
                  <a:pt x="13135" y="10136"/>
                </a:lnTo>
                <a:lnTo>
                  <a:pt x="13151" y="10140"/>
                </a:lnTo>
                <a:lnTo>
                  <a:pt x="13167" y="10143"/>
                </a:lnTo>
                <a:lnTo>
                  <a:pt x="13183" y="10143"/>
                </a:lnTo>
                <a:lnTo>
                  <a:pt x="13199" y="10143"/>
                </a:lnTo>
                <a:lnTo>
                  <a:pt x="13216" y="10140"/>
                </a:lnTo>
                <a:lnTo>
                  <a:pt x="13231" y="10136"/>
                </a:lnTo>
                <a:lnTo>
                  <a:pt x="13245" y="10131"/>
                </a:lnTo>
                <a:lnTo>
                  <a:pt x="13259" y="10123"/>
                </a:lnTo>
                <a:lnTo>
                  <a:pt x="13273" y="10116"/>
                </a:lnTo>
                <a:lnTo>
                  <a:pt x="13285" y="10107"/>
                </a:lnTo>
                <a:lnTo>
                  <a:pt x="13296" y="10097"/>
                </a:lnTo>
                <a:lnTo>
                  <a:pt x="13306" y="10086"/>
                </a:lnTo>
                <a:lnTo>
                  <a:pt x="13315" y="10073"/>
                </a:lnTo>
                <a:lnTo>
                  <a:pt x="13324" y="10060"/>
                </a:lnTo>
                <a:lnTo>
                  <a:pt x="13330" y="10046"/>
                </a:lnTo>
                <a:lnTo>
                  <a:pt x="13336" y="10031"/>
                </a:lnTo>
                <a:lnTo>
                  <a:pt x="13339" y="10016"/>
                </a:lnTo>
                <a:lnTo>
                  <a:pt x="13342" y="10000"/>
                </a:lnTo>
                <a:lnTo>
                  <a:pt x="13343" y="9984"/>
                </a:lnTo>
                <a:lnTo>
                  <a:pt x="13342" y="9968"/>
                </a:lnTo>
                <a:lnTo>
                  <a:pt x="13339" y="9951"/>
                </a:lnTo>
                <a:lnTo>
                  <a:pt x="13336" y="9936"/>
                </a:lnTo>
                <a:lnTo>
                  <a:pt x="13330" y="9922"/>
                </a:lnTo>
                <a:lnTo>
                  <a:pt x="13324" y="9908"/>
                </a:lnTo>
                <a:lnTo>
                  <a:pt x="13315" y="9894"/>
                </a:lnTo>
                <a:lnTo>
                  <a:pt x="13306" y="9882"/>
                </a:lnTo>
                <a:lnTo>
                  <a:pt x="13296" y="9871"/>
                </a:lnTo>
                <a:lnTo>
                  <a:pt x="13285" y="9861"/>
                </a:lnTo>
                <a:lnTo>
                  <a:pt x="13273" y="9852"/>
                </a:lnTo>
                <a:lnTo>
                  <a:pt x="13259" y="9843"/>
                </a:lnTo>
                <a:lnTo>
                  <a:pt x="13245" y="9836"/>
                </a:lnTo>
                <a:lnTo>
                  <a:pt x="13231" y="9831"/>
                </a:lnTo>
                <a:lnTo>
                  <a:pt x="13216" y="9827"/>
                </a:lnTo>
                <a:lnTo>
                  <a:pt x="13199" y="9825"/>
                </a:lnTo>
                <a:lnTo>
                  <a:pt x="13183" y="9824"/>
                </a:lnTo>
                <a:lnTo>
                  <a:pt x="13167" y="9825"/>
                </a:lnTo>
                <a:lnTo>
                  <a:pt x="13151" y="9827"/>
                </a:lnTo>
                <a:lnTo>
                  <a:pt x="13135" y="9831"/>
                </a:lnTo>
                <a:lnTo>
                  <a:pt x="13121" y="9836"/>
                </a:lnTo>
                <a:lnTo>
                  <a:pt x="13107" y="9843"/>
                </a:lnTo>
                <a:lnTo>
                  <a:pt x="13094" y="9852"/>
                </a:lnTo>
                <a:lnTo>
                  <a:pt x="13082" y="9861"/>
                </a:lnTo>
                <a:lnTo>
                  <a:pt x="13070" y="9871"/>
                </a:lnTo>
                <a:lnTo>
                  <a:pt x="13060" y="9882"/>
                </a:lnTo>
                <a:lnTo>
                  <a:pt x="13051" y="9894"/>
                </a:lnTo>
                <a:lnTo>
                  <a:pt x="13043" y="9908"/>
                </a:lnTo>
                <a:lnTo>
                  <a:pt x="13037" y="9922"/>
                </a:lnTo>
                <a:lnTo>
                  <a:pt x="13031" y="9936"/>
                </a:lnTo>
                <a:lnTo>
                  <a:pt x="13027" y="9951"/>
                </a:lnTo>
                <a:lnTo>
                  <a:pt x="13025" y="9968"/>
                </a:lnTo>
                <a:lnTo>
                  <a:pt x="13024" y="9984"/>
                </a:lnTo>
                <a:close/>
                <a:moveTo>
                  <a:pt x="10580" y="14632"/>
                </a:moveTo>
                <a:lnTo>
                  <a:pt x="10568" y="14621"/>
                </a:lnTo>
                <a:lnTo>
                  <a:pt x="10556" y="14612"/>
                </a:lnTo>
                <a:lnTo>
                  <a:pt x="10543" y="14604"/>
                </a:lnTo>
                <a:lnTo>
                  <a:pt x="10529" y="14597"/>
                </a:lnTo>
                <a:lnTo>
                  <a:pt x="10514" y="14592"/>
                </a:lnTo>
                <a:lnTo>
                  <a:pt x="10499" y="14588"/>
                </a:lnTo>
                <a:lnTo>
                  <a:pt x="10483" y="14586"/>
                </a:lnTo>
                <a:lnTo>
                  <a:pt x="10467" y="14585"/>
                </a:lnTo>
                <a:lnTo>
                  <a:pt x="10450" y="14586"/>
                </a:lnTo>
                <a:lnTo>
                  <a:pt x="10435" y="14588"/>
                </a:lnTo>
                <a:lnTo>
                  <a:pt x="10420" y="14592"/>
                </a:lnTo>
                <a:lnTo>
                  <a:pt x="10405" y="14597"/>
                </a:lnTo>
                <a:lnTo>
                  <a:pt x="10391" y="14604"/>
                </a:lnTo>
                <a:lnTo>
                  <a:pt x="10378" y="14612"/>
                </a:lnTo>
                <a:lnTo>
                  <a:pt x="10366" y="14621"/>
                </a:lnTo>
                <a:lnTo>
                  <a:pt x="10355" y="14632"/>
                </a:lnTo>
                <a:lnTo>
                  <a:pt x="10345" y="14643"/>
                </a:lnTo>
                <a:lnTo>
                  <a:pt x="10336" y="14655"/>
                </a:lnTo>
                <a:lnTo>
                  <a:pt x="10327" y="14668"/>
                </a:lnTo>
                <a:lnTo>
                  <a:pt x="10320" y="14683"/>
                </a:lnTo>
                <a:lnTo>
                  <a:pt x="10315" y="14697"/>
                </a:lnTo>
                <a:lnTo>
                  <a:pt x="10311" y="14712"/>
                </a:lnTo>
                <a:lnTo>
                  <a:pt x="10309" y="14728"/>
                </a:lnTo>
                <a:lnTo>
                  <a:pt x="10308" y="14745"/>
                </a:lnTo>
                <a:lnTo>
                  <a:pt x="10309" y="14761"/>
                </a:lnTo>
                <a:lnTo>
                  <a:pt x="10311" y="14776"/>
                </a:lnTo>
                <a:lnTo>
                  <a:pt x="10315" y="14792"/>
                </a:lnTo>
                <a:lnTo>
                  <a:pt x="10320" y="14807"/>
                </a:lnTo>
                <a:lnTo>
                  <a:pt x="10327" y="14820"/>
                </a:lnTo>
                <a:lnTo>
                  <a:pt x="10336" y="14833"/>
                </a:lnTo>
                <a:lnTo>
                  <a:pt x="10345" y="14846"/>
                </a:lnTo>
                <a:lnTo>
                  <a:pt x="10355" y="14858"/>
                </a:lnTo>
                <a:lnTo>
                  <a:pt x="10366" y="14868"/>
                </a:lnTo>
                <a:lnTo>
                  <a:pt x="10378" y="14877"/>
                </a:lnTo>
                <a:lnTo>
                  <a:pt x="10391" y="14885"/>
                </a:lnTo>
                <a:lnTo>
                  <a:pt x="10405" y="14891"/>
                </a:lnTo>
                <a:lnTo>
                  <a:pt x="10420" y="14896"/>
                </a:lnTo>
                <a:lnTo>
                  <a:pt x="10435" y="14901"/>
                </a:lnTo>
                <a:lnTo>
                  <a:pt x="10450" y="14904"/>
                </a:lnTo>
                <a:lnTo>
                  <a:pt x="10467" y="14904"/>
                </a:lnTo>
                <a:lnTo>
                  <a:pt x="10483" y="14904"/>
                </a:lnTo>
                <a:lnTo>
                  <a:pt x="10499" y="14901"/>
                </a:lnTo>
                <a:lnTo>
                  <a:pt x="10514" y="14896"/>
                </a:lnTo>
                <a:lnTo>
                  <a:pt x="10529" y="14891"/>
                </a:lnTo>
                <a:lnTo>
                  <a:pt x="10543" y="14885"/>
                </a:lnTo>
                <a:lnTo>
                  <a:pt x="10556" y="14877"/>
                </a:lnTo>
                <a:lnTo>
                  <a:pt x="10568" y="14868"/>
                </a:lnTo>
                <a:lnTo>
                  <a:pt x="10580" y="14858"/>
                </a:lnTo>
                <a:lnTo>
                  <a:pt x="10590" y="14846"/>
                </a:lnTo>
                <a:lnTo>
                  <a:pt x="10599" y="14833"/>
                </a:lnTo>
                <a:lnTo>
                  <a:pt x="10607" y="14820"/>
                </a:lnTo>
                <a:lnTo>
                  <a:pt x="10614" y="14807"/>
                </a:lnTo>
                <a:lnTo>
                  <a:pt x="10619" y="14792"/>
                </a:lnTo>
                <a:lnTo>
                  <a:pt x="10623" y="14776"/>
                </a:lnTo>
                <a:lnTo>
                  <a:pt x="10625" y="14761"/>
                </a:lnTo>
                <a:lnTo>
                  <a:pt x="10626" y="14745"/>
                </a:lnTo>
                <a:lnTo>
                  <a:pt x="10625" y="14728"/>
                </a:lnTo>
                <a:lnTo>
                  <a:pt x="10623" y="14712"/>
                </a:lnTo>
                <a:lnTo>
                  <a:pt x="10619" y="14697"/>
                </a:lnTo>
                <a:lnTo>
                  <a:pt x="10614" y="14683"/>
                </a:lnTo>
                <a:lnTo>
                  <a:pt x="10607" y="14668"/>
                </a:lnTo>
                <a:lnTo>
                  <a:pt x="10599" y="14655"/>
                </a:lnTo>
                <a:lnTo>
                  <a:pt x="10590" y="14643"/>
                </a:lnTo>
                <a:lnTo>
                  <a:pt x="10580" y="14632"/>
                </a:lnTo>
                <a:close/>
                <a:moveTo>
                  <a:pt x="10467" y="14167"/>
                </a:moveTo>
                <a:lnTo>
                  <a:pt x="10497" y="14168"/>
                </a:lnTo>
                <a:lnTo>
                  <a:pt x="10526" y="14170"/>
                </a:lnTo>
                <a:lnTo>
                  <a:pt x="10555" y="14173"/>
                </a:lnTo>
                <a:lnTo>
                  <a:pt x="10584" y="14178"/>
                </a:lnTo>
                <a:lnTo>
                  <a:pt x="10611" y="14186"/>
                </a:lnTo>
                <a:lnTo>
                  <a:pt x="10638" y="14193"/>
                </a:lnTo>
                <a:lnTo>
                  <a:pt x="10665" y="14202"/>
                </a:lnTo>
                <a:lnTo>
                  <a:pt x="10691" y="14212"/>
                </a:lnTo>
                <a:lnTo>
                  <a:pt x="10717" y="14224"/>
                </a:lnTo>
                <a:lnTo>
                  <a:pt x="10742" y="14236"/>
                </a:lnTo>
                <a:lnTo>
                  <a:pt x="10766" y="14251"/>
                </a:lnTo>
                <a:lnTo>
                  <a:pt x="10789" y="14266"/>
                </a:lnTo>
                <a:lnTo>
                  <a:pt x="10812" y="14281"/>
                </a:lnTo>
                <a:lnTo>
                  <a:pt x="10834" y="14299"/>
                </a:lnTo>
                <a:lnTo>
                  <a:pt x="10855" y="14317"/>
                </a:lnTo>
                <a:lnTo>
                  <a:pt x="10874" y="14336"/>
                </a:lnTo>
                <a:lnTo>
                  <a:pt x="10890" y="14352"/>
                </a:lnTo>
                <a:lnTo>
                  <a:pt x="10904" y="14367"/>
                </a:lnTo>
                <a:lnTo>
                  <a:pt x="10917" y="14383"/>
                </a:lnTo>
                <a:lnTo>
                  <a:pt x="10930" y="14400"/>
                </a:lnTo>
                <a:lnTo>
                  <a:pt x="10942" y="14418"/>
                </a:lnTo>
                <a:lnTo>
                  <a:pt x="10955" y="14436"/>
                </a:lnTo>
                <a:lnTo>
                  <a:pt x="10966" y="14454"/>
                </a:lnTo>
                <a:lnTo>
                  <a:pt x="10976" y="14473"/>
                </a:lnTo>
                <a:lnTo>
                  <a:pt x="11000" y="14468"/>
                </a:lnTo>
                <a:lnTo>
                  <a:pt x="11026" y="14463"/>
                </a:lnTo>
                <a:lnTo>
                  <a:pt x="11050" y="14456"/>
                </a:lnTo>
                <a:lnTo>
                  <a:pt x="11076" y="14451"/>
                </a:lnTo>
                <a:lnTo>
                  <a:pt x="11064" y="14399"/>
                </a:lnTo>
                <a:lnTo>
                  <a:pt x="11053" y="14347"/>
                </a:lnTo>
                <a:lnTo>
                  <a:pt x="11042" y="14295"/>
                </a:lnTo>
                <a:lnTo>
                  <a:pt x="11032" y="14242"/>
                </a:lnTo>
                <a:lnTo>
                  <a:pt x="11022" y="14189"/>
                </a:lnTo>
                <a:lnTo>
                  <a:pt x="11013" y="14135"/>
                </a:lnTo>
                <a:lnTo>
                  <a:pt x="11002" y="14080"/>
                </a:lnTo>
                <a:lnTo>
                  <a:pt x="10994" y="14025"/>
                </a:lnTo>
                <a:lnTo>
                  <a:pt x="10985" y="13970"/>
                </a:lnTo>
                <a:lnTo>
                  <a:pt x="10977" y="13914"/>
                </a:lnTo>
                <a:lnTo>
                  <a:pt x="10969" y="13858"/>
                </a:lnTo>
                <a:lnTo>
                  <a:pt x="10962" y="13801"/>
                </a:lnTo>
                <a:lnTo>
                  <a:pt x="10955" y="13743"/>
                </a:lnTo>
                <a:lnTo>
                  <a:pt x="10948" y="13685"/>
                </a:lnTo>
                <a:lnTo>
                  <a:pt x="10941" y="13627"/>
                </a:lnTo>
                <a:lnTo>
                  <a:pt x="10935" y="13569"/>
                </a:lnTo>
                <a:lnTo>
                  <a:pt x="10841" y="13501"/>
                </a:lnTo>
                <a:lnTo>
                  <a:pt x="10749" y="13432"/>
                </a:lnTo>
                <a:lnTo>
                  <a:pt x="10659" y="13363"/>
                </a:lnTo>
                <a:lnTo>
                  <a:pt x="10571" y="13292"/>
                </a:lnTo>
                <a:lnTo>
                  <a:pt x="10486" y="13222"/>
                </a:lnTo>
                <a:lnTo>
                  <a:pt x="10403" y="13152"/>
                </a:lnTo>
                <a:lnTo>
                  <a:pt x="10322" y="13080"/>
                </a:lnTo>
                <a:lnTo>
                  <a:pt x="10244" y="13010"/>
                </a:lnTo>
                <a:lnTo>
                  <a:pt x="10218" y="13039"/>
                </a:lnTo>
                <a:lnTo>
                  <a:pt x="10191" y="13067"/>
                </a:lnTo>
                <a:lnTo>
                  <a:pt x="10166" y="13096"/>
                </a:lnTo>
                <a:lnTo>
                  <a:pt x="10141" y="13125"/>
                </a:lnTo>
                <a:lnTo>
                  <a:pt x="10117" y="13154"/>
                </a:lnTo>
                <a:lnTo>
                  <a:pt x="10093" y="13182"/>
                </a:lnTo>
                <a:lnTo>
                  <a:pt x="10069" y="13210"/>
                </a:lnTo>
                <a:lnTo>
                  <a:pt x="10046" y="13238"/>
                </a:lnTo>
                <a:lnTo>
                  <a:pt x="10013" y="13280"/>
                </a:lnTo>
                <a:lnTo>
                  <a:pt x="9982" y="13321"/>
                </a:lnTo>
                <a:lnTo>
                  <a:pt x="9952" y="13362"/>
                </a:lnTo>
                <a:lnTo>
                  <a:pt x="9923" y="13401"/>
                </a:lnTo>
                <a:lnTo>
                  <a:pt x="9895" y="13441"/>
                </a:lnTo>
                <a:lnTo>
                  <a:pt x="9869" y="13481"/>
                </a:lnTo>
                <a:lnTo>
                  <a:pt x="9843" y="13519"/>
                </a:lnTo>
                <a:lnTo>
                  <a:pt x="9820" y="13558"/>
                </a:lnTo>
                <a:lnTo>
                  <a:pt x="9797" y="13597"/>
                </a:lnTo>
                <a:lnTo>
                  <a:pt x="9775" y="13634"/>
                </a:lnTo>
                <a:lnTo>
                  <a:pt x="9756" y="13671"/>
                </a:lnTo>
                <a:lnTo>
                  <a:pt x="9737" y="13708"/>
                </a:lnTo>
                <a:lnTo>
                  <a:pt x="9719" y="13743"/>
                </a:lnTo>
                <a:lnTo>
                  <a:pt x="9704" y="13779"/>
                </a:lnTo>
                <a:lnTo>
                  <a:pt x="9690" y="13815"/>
                </a:lnTo>
                <a:lnTo>
                  <a:pt x="9677" y="13848"/>
                </a:lnTo>
                <a:lnTo>
                  <a:pt x="9665" y="13882"/>
                </a:lnTo>
                <a:lnTo>
                  <a:pt x="9654" y="13916"/>
                </a:lnTo>
                <a:lnTo>
                  <a:pt x="9646" y="13948"/>
                </a:lnTo>
                <a:lnTo>
                  <a:pt x="9639" y="13980"/>
                </a:lnTo>
                <a:lnTo>
                  <a:pt x="9633" y="14010"/>
                </a:lnTo>
                <a:lnTo>
                  <a:pt x="9629" y="14041"/>
                </a:lnTo>
                <a:lnTo>
                  <a:pt x="9626" y="14070"/>
                </a:lnTo>
                <a:lnTo>
                  <a:pt x="9625" y="14100"/>
                </a:lnTo>
                <a:lnTo>
                  <a:pt x="9625" y="14127"/>
                </a:lnTo>
                <a:lnTo>
                  <a:pt x="9627" y="14155"/>
                </a:lnTo>
                <a:lnTo>
                  <a:pt x="9630" y="14181"/>
                </a:lnTo>
                <a:lnTo>
                  <a:pt x="9635" y="14207"/>
                </a:lnTo>
                <a:lnTo>
                  <a:pt x="9642" y="14232"/>
                </a:lnTo>
                <a:lnTo>
                  <a:pt x="9650" y="14256"/>
                </a:lnTo>
                <a:lnTo>
                  <a:pt x="9660" y="14279"/>
                </a:lnTo>
                <a:lnTo>
                  <a:pt x="9672" y="14302"/>
                </a:lnTo>
                <a:lnTo>
                  <a:pt x="9673" y="14301"/>
                </a:lnTo>
                <a:lnTo>
                  <a:pt x="9683" y="14318"/>
                </a:lnTo>
                <a:lnTo>
                  <a:pt x="9694" y="14333"/>
                </a:lnTo>
                <a:lnTo>
                  <a:pt x="9706" y="14348"/>
                </a:lnTo>
                <a:lnTo>
                  <a:pt x="9719" y="14364"/>
                </a:lnTo>
                <a:lnTo>
                  <a:pt x="9733" y="14378"/>
                </a:lnTo>
                <a:lnTo>
                  <a:pt x="9748" y="14391"/>
                </a:lnTo>
                <a:lnTo>
                  <a:pt x="9764" y="14405"/>
                </a:lnTo>
                <a:lnTo>
                  <a:pt x="9780" y="14417"/>
                </a:lnTo>
                <a:lnTo>
                  <a:pt x="9799" y="14429"/>
                </a:lnTo>
                <a:lnTo>
                  <a:pt x="9817" y="14440"/>
                </a:lnTo>
                <a:lnTo>
                  <a:pt x="9836" y="14450"/>
                </a:lnTo>
                <a:lnTo>
                  <a:pt x="9857" y="14461"/>
                </a:lnTo>
                <a:lnTo>
                  <a:pt x="9878" y="14471"/>
                </a:lnTo>
                <a:lnTo>
                  <a:pt x="9900" y="14479"/>
                </a:lnTo>
                <a:lnTo>
                  <a:pt x="9923" y="14488"/>
                </a:lnTo>
                <a:lnTo>
                  <a:pt x="9947" y="14495"/>
                </a:lnTo>
                <a:lnTo>
                  <a:pt x="9958" y="14474"/>
                </a:lnTo>
                <a:lnTo>
                  <a:pt x="9971" y="14452"/>
                </a:lnTo>
                <a:lnTo>
                  <a:pt x="9983" y="14431"/>
                </a:lnTo>
                <a:lnTo>
                  <a:pt x="9997" y="14411"/>
                </a:lnTo>
                <a:lnTo>
                  <a:pt x="10011" y="14391"/>
                </a:lnTo>
                <a:lnTo>
                  <a:pt x="10026" y="14372"/>
                </a:lnTo>
                <a:lnTo>
                  <a:pt x="10043" y="14354"/>
                </a:lnTo>
                <a:lnTo>
                  <a:pt x="10060" y="14336"/>
                </a:lnTo>
                <a:lnTo>
                  <a:pt x="10079" y="14317"/>
                </a:lnTo>
                <a:lnTo>
                  <a:pt x="10101" y="14299"/>
                </a:lnTo>
                <a:lnTo>
                  <a:pt x="10122" y="14281"/>
                </a:lnTo>
                <a:lnTo>
                  <a:pt x="10144" y="14266"/>
                </a:lnTo>
                <a:lnTo>
                  <a:pt x="10168" y="14251"/>
                </a:lnTo>
                <a:lnTo>
                  <a:pt x="10192" y="14236"/>
                </a:lnTo>
                <a:lnTo>
                  <a:pt x="10218" y="14224"/>
                </a:lnTo>
                <a:lnTo>
                  <a:pt x="10243" y="14212"/>
                </a:lnTo>
                <a:lnTo>
                  <a:pt x="10269" y="14202"/>
                </a:lnTo>
                <a:lnTo>
                  <a:pt x="10296" y="14193"/>
                </a:lnTo>
                <a:lnTo>
                  <a:pt x="10323" y="14186"/>
                </a:lnTo>
                <a:lnTo>
                  <a:pt x="10351" y="14178"/>
                </a:lnTo>
                <a:lnTo>
                  <a:pt x="10379" y="14173"/>
                </a:lnTo>
                <a:lnTo>
                  <a:pt x="10409" y="14170"/>
                </a:lnTo>
                <a:lnTo>
                  <a:pt x="10437" y="14168"/>
                </a:lnTo>
                <a:lnTo>
                  <a:pt x="10467" y="14167"/>
                </a:lnTo>
                <a:close/>
                <a:moveTo>
                  <a:pt x="13202" y="10560"/>
                </a:moveTo>
                <a:lnTo>
                  <a:pt x="13183" y="10561"/>
                </a:lnTo>
                <a:lnTo>
                  <a:pt x="13154" y="10560"/>
                </a:lnTo>
                <a:lnTo>
                  <a:pt x="13124" y="10558"/>
                </a:lnTo>
                <a:lnTo>
                  <a:pt x="13096" y="10554"/>
                </a:lnTo>
                <a:lnTo>
                  <a:pt x="13067" y="10549"/>
                </a:lnTo>
                <a:lnTo>
                  <a:pt x="13039" y="10543"/>
                </a:lnTo>
                <a:lnTo>
                  <a:pt x="13011" y="10535"/>
                </a:lnTo>
                <a:lnTo>
                  <a:pt x="12985" y="10526"/>
                </a:lnTo>
                <a:lnTo>
                  <a:pt x="12959" y="10516"/>
                </a:lnTo>
                <a:lnTo>
                  <a:pt x="12933" y="10504"/>
                </a:lnTo>
                <a:lnTo>
                  <a:pt x="12909" y="10491"/>
                </a:lnTo>
                <a:lnTo>
                  <a:pt x="12884" y="10478"/>
                </a:lnTo>
                <a:lnTo>
                  <a:pt x="12861" y="10463"/>
                </a:lnTo>
                <a:lnTo>
                  <a:pt x="12839" y="10446"/>
                </a:lnTo>
                <a:lnTo>
                  <a:pt x="12816" y="10429"/>
                </a:lnTo>
                <a:lnTo>
                  <a:pt x="12796" y="10412"/>
                </a:lnTo>
                <a:lnTo>
                  <a:pt x="12776" y="10392"/>
                </a:lnTo>
                <a:lnTo>
                  <a:pt x="12756" y="10372"/>
                </a:lnTo>
                <a:lnTo>
                  <a:pt x="12738" y="10351"/>
                </a:lnTo>
                <a:lnTo>
                  <a:pt x="12722" y="10329"/>
                </a:lnTo>
                <a:lnTo>
                  <a:pt x="12705" y="10307"/>
                </a:lnTo>
                <a:lnTo>
                  <a:pt x="12690" y="10283"/>
                </a:lnTo>
                <a:lnTo>
                  <a:pt x="12676" y="10259"/>
                </a:lnTo>
                <a:lnTo>
                  <a:pt x="12664" y="10235"/>
                </a:lnTo>
                <a:lnTo>
                  <a:pt x="12653" y="10208"/>
                </a:lnTo>
                <a:lnTo>
                  <a:pt x="12641" y="10183"/>
                </a:lnTo>
                <a:lnTo>
                  <a:pt x="12632" y="10155"/>
                </a:lnTo>
                <a:lnTo>
                  <a:pt x="12625" y="10129"/>
                </a:lnTo>
                <a:lnTo>
                  <a:pt x="12618" y="10100"/>
                </a:lnTo>
                <a:lnTo>
                  <a:pt x="12614" y="10072"/>
                </a:lnTo>
                <a:lnTo>
                  <a:pt x="12610" y="10043"/>
                </a:lnTo>
                <a:lnTo>
                  <a:pt x="12608" y="10013"/>
                </a:lnTo>
                <a:lnTo>
                  <a:pt x="12607" y="9984"/>
                </a:lnTo>
                <a:lnTo>
                  <a:pt x="12607" y="9963"/>
                </a:lnTo>
                <a:lnTo>
                  <a:pt x="12609" y="9941"/>
                </a:lnTo>
                <a:lnTo>
                  <a:pt x="12610" y="9920"/>
                </a:lnTo>
                <a:lnTo>
                  <a:pt x="12613" y="9898"/>
                </a:lnTo>
                <a:lnTo>
                  <a:pt x="12617" y="9878"/>
                </a:lnTo>
                <a:lnTo>
                  <a:pt x="12621" y="9858"/>
                </a:lnTo>
                <a:lnTo>
                  <a:pt x="12625" y="9837"/>
                </a:lnTo>
                <a:lnTo>
                  <a:pt x="12631" y="9817"/>
                </a:lnTo>
                <a:lnTo>
                  <a:pt x="12637" y="9798"/>
                </a:lnTo>
                <a:lnTo>
                  <a:pt x="12644" y="9778"/>
                </a:lnTo>
                <a:lnTo>
                  <a:pt x="12651" y="9760"/>
                </a:lnTo>
                <a:lnTo>
                  <a:pt x="12660" y="9741"/>
                </a:lnTo>
                <a:lnTo>
                  <a:pt x="12669" y="9722"/>
                </a:lnTo>
                <a:lnTo>
                  <a:pt x="12678" y="9705"/>
                </a:lnTo>
                <a:lnTo>
                  <a:pt x="12688" y="9688"/>
                </a:lnTo>
                <a:lnTo>
                  <a:pt x="12699" y="9670"/>
                </a:lnTo>
                <a:lnTo>
                  <a:pt x="12682" y="9655"/>
                </a:lnTo>
                <a:lnTo>
                  <a:pt x="12664" y="9642"/>
                </a:lnTo>
                <a:lnTo>
                  <a:pt x="12646" y="9628"/>
                </a:lnTo>
                <a:lnTo>
                  <a:pt x="12628" y="9616"/>
                </a:lnTo>
                <a:lnTo>
                  <a:pt x="12611" y="9605"/>
                </a:lnTo>
                <a:lnTo>
                  <a:pt x="12593" y="9595"/>
                </a:lnTo>
                <a:lnTo>
                  <a:pt x="12575" y="9586"/>
                </a:lnTo>
                <a:lnTo>
                  <a:pt x="12557" y="9578"/>
                </a:lnTo>
                <a:lnTo>
                  <a:pt x="12539" y="9569"/>
                </a:lnTo>
                <a:lnTo>
                  <a:pt x="12521" y="9563"/>
                </a:lnTo>
                <a:lnTo>
                  <a:pt x="12503" y="9558"/>
                </a:lnTo>
                <a:lnTo>
                  <a:pt x="12485" y="9553"/>
                </a:lnTo>
                <a:lnTo>
                  <a:pt x="12466" y="9550"/>
                </a:lnTo>
                <a:lnTo>
                  <a:pt x="12448" y="9547"/>
                </a:lnTo>
                <a:lnTo>
                  <a:pt x="12430" y="9546"/>
                </a:lnTo>
                <a:lnTo>
                  <a:pt x="12412" y="9545"/>
                </a:lnTo>
                <a:lnTo>
                  <a:pt x="12387" y="9546"/>
                </a:lnTo>
                <a:lnTo>
                  <a:pt x="12362" y="9549"/>
                </a:lnTo>
                <a:lnTo>
                  <a:pt x="12337" y="9554"/>
                </a:lnTo>
                <a:lnTo>
                  <a:pt x="12312" y="9560"/>
                </a:lnTo>
                <a:lnTo>
                  <a:pt x="12288" y="9568"/>
                </a:lnTo>
                <a:lnTo>
                  <a:pt x="12262" y="9579"/>
                </a:lnTo>
                <a:lnTo>
                  <a:pt x="12238" y="9591"/>
                </a:lnTo>
                <a:lnTo>
                  <a:pt x="12213" y="9604"/>
                </a:lnTo>
                <a:lnTo>
                  <a:pt x="12189" y="9620"/>
                </a:lnTo>
                <a:lnTo>
                  <a:pt x="12165" y="9637"/>
                </a:lnTo>
                <a:lnTo>
                  <a:pt x="12141" y="9656"/>
                </a:lnTo>
                <a:lnTo>
                  <a:pt x="12117" y="9676"/>
                </a:lnTo>
                <a:lnTo>
                  <a:pt x="12093" y="9699"/>
                </a:lnTo>
                <a:lnTo>
                  <a:pt x="12069" y="9722"/>
                </a:lnTo>
                <a:lnTo>
                  <a:pt x="12046" y="9748"/>
                </a:lnTo>
                <a:lnTo>
                  <a:pt x="12022" y="9774"/>
                </a:lnTo>
                <a:lnTo>
                  <a:pt x="11999" y="9803"/>
                </a:lnTo>
                <a:lnTo>
                  <a:pt x="11976" y="9833"/>
                </a:lnTo>
                <a:lnTo>
                  <a:pt x="11953" y="9865"/>
                </a:lnTo>
                <a:lnTo>
                  <a:pt x="11931" y="9897"/>
                </a:lnTo>
                <a:lnTo>
                  <a:pt x="11908" y="9932"/>
                </a:lnTo>
                <a:lnTo>
                  <a:pt x="11886" y="9968"/>
                </a:lnTo>
                <a:lnTo>
                  <a:pt x="11865" y="10005"/>
                </a:lnTo>
                <a:lnTo>
                  <a:pt x="11843" y="10044"/>
                </a:lnTo>
                <a:lnTo>
                  <a:pt x="11822" y="10084"/>
                </a:lnTo>
                <a:lnTo>
                  <a:pt x="11801" y="10126"/>
                </a:lnTo>
                <a:lnTo>
                  <a:pt x="11779" y="10167"/>
                </a:lnTo>
                <a:lnTo>
                  <a:pt x="11759" y="10212"/>
                </a:lnTo>
                <a:lnTo>
                  <a:pt x="11739" y="10257"/>
                </a:lnTo>
                <a:lnTo>
                  <a:pt x="11718" y="10304"/>
                </a:lnTo>
                <a:lnTo>
                  <a:pt x="11699" y="10351"/>
                </a:lnTo>
                <a:lnTo>
                  <a:pt x="11680" y="10400"/>
                </a:lnTo>
                <a:lnTo>
                  <a:pt x="11666" y="10434"/>
                </a:lnTo>
                <a:lnTo>
                  <a:pt x="11654" y="10469"/>
                </a:lnTo>
                <a:lnTo>
                  <a:pt x="11641" y="10503"/>
                </a:lnTo>
                <a:lnTo>
                  <a:pt x="11629" y="10539"/>
                </a:lnTo>
                <a:lnTo>
                  <a:pt x="11617" y="10575"/>
                </a:lnTo>
                <a:lnTo>
                  <a:pt x="11604" y="10611"/>
                </a:lnTo>
                <a:lnTo>
                  <a:pt x="11593" y="10648"/>
                </a:lnTo>
                <a:lnTo>
                  <a:pt x="11581" y="10686"/>
                </a:lnTo>
                <a:lnTo>
                  <a:pt x="11632" y="10702"/>
                </a:lnTo>
                <a:lnTo>
                  <a:pt x="11682" y="10718"/>
                </a:lnTo>
                <a:lnTo>
                  <a:pt x="11732" y="10736"/>
                </a:lnTo>
                <a:lnTo>
                  <a:pt x="11784" y="10753"/>
                </a:lnTo>
                <a:lnTo>
                  <a:pt x="11835" y="10771"/>
                </a:lnTo>
                <a:lnTo>
                  <a:pt x="11887" y="10791"/>
                </a:lnTo>
                <a:lnTo>
                  <a:pt x="11939" y="10810"/>
                </a:lnTo>
                <a:lnTo>
                  <a:pt x="11991" y="10829"/>
                </a:lnTo>
                <a:lnTo>
                  <a:pt x="12044" y="10850"/>
                </a:lnTo>
                <a:lnTo>
                  <a:pt x="12096" y="10871"/>
                </a:lnTo>
                <a:lnTo>
                  <a:pt x="12148" y="10893"/>
                </a:lnTo>
                <a:lnTo>
                  <a:pt x="12202" y="10915"/>
                </a:lnTo>
                <a:lnTo>
                  <a:pt x="12255" y="10937"/>
                </a:lnTo>
                <a:lnTo>
                  <a:pt x="12308" y="10961"/>
                </a:lnTo>
                <a:lnTo>
                  <a:pt x="12362" y="10984"/>
                </a:lnTo>
                <a:lnTo>
                  <a:pt x="12416" y="11009"/>
                </a:lnTo>
                <a:lnTo>
                  <a:pt x="12468" y="10984"/>
                </a:lnTo>
                <a:lnTo>
                  <a:pt x="12521" y="10961"/>
                </a:lnTo>
                <a:lnTo>
                  <a:pt x="12574" y="10938"/>
                </a:lnTo>
                <a:lnTo>
                  <a:pt x="12627" y="10916"/>
                </a:lnTo>
                <a:lnTo>
                  <a:pt x="12680" y="10894"/>
                </a:lnTo>
                <a:lnTo>
                  <a:pt x="12732" y="10873"/>
                </a:lnTo>
                <a:lnTo>
                  <a:pt x="12785" y="10852"/>
                </a:lnTo>
                <a:lnTo>
                  <a:pt x="12837" y="10831"/>
                </a:lnTo>
                <a:lnTo>
                  <a:pt x="12888" y="10812"/>
                </a:lnTo>
                <a:lnTo>
                  <a:pt x="12939" y="10793"/>
                </a:lnTo>
                <a:lnTo>
                  <a:pt x="12991" y="10774"/>
                </a:lnTo>
                <a:lnTo>
                  <a:pt x="13042" y="10756"/>
                </a:lnTo>
                <a:lnTo>
                  <a:pt x="13093" y="10739"/>
                </a:lnTo>
                <a:lnTo>
                  <a:pt x="13144" y="10722"/>
                </a:lnTo>
                <a:lnTo>
                  <a:pt x="13193" y="10706"/>
                </a:lnTo>
                <a:lnTo>
                  <a:pt x="13243" y="10690"/>
                </a:lnTo>
                <a:lnTo>
                  <a:pt x="13233" y="10657"/>
                </a:lnTo>
                <a:lnTo>
                  <a:pt x="13223" y="10625"/>
                </a:lnTo>
                <a:lnTo>
                  <a:pt x="13213" y="10593"/>
                </a:lnTo>
                <a:lnTo>
                  <a:pt x="13202" y="10560"/>
                </a:lnTo>
                <a:close/>
                <a:moveTo>
                  <a:pt x="14579" y="13010"/>
                </a:moveTo>
                <a:lnTo>
                  <a:pt x="14501" y="13081"/>
                </a:lnTo>
                <a:lnTo>
                  <a:pt x="14421" y="13152"/>
                </a:lnTo>
                <a:lnTo>
                  <a:pt x="14337" y="13223"/>
                </a:lnTo>
                <a:lnTo>
                  <a:pt x="14252" y="13293"/>
                </a:lnTo>
                <a:lnTo>
                  <a:pt x="14164" y="13363"/>
                </a:lnTo>
                <a:lnTo>
                  <a:pt x="14075" y="13433"/>
                </a:lnTo>
                <a:lnTo>
                  <a:pt x="13982" y="13502"/>
                </a:lnTo>
                <a:lnTo>
                  <a:pt x="13888" y="13570"/>
                </a:lnTo>
                <a:lnTo>
                  <a:pt x="13882" y="13628"/>
                </a:lnTo>
                <a:lnTo>
                  <a:pt x="13876" y="13685"/>
                </a:lnTo>
                <a:lnTo>
                  <a:pt x="13869" y="13743"/>
                </a:lnTo>
                <a:lnTo>
                  <a:pt x="13862" y="13799"/>
                </a:lnTo>
                <a:lnTo>
                  <a:pt x="13854" y="13857"/>
                </a:lnTo>
                <a:lnTo>
                  <a:pt x="13847" y="13913"/>
                </a:lnTo>
                <a:lnTo>
                  <a:pt x="13838" y="13968"/>
                </a:lnTo>
                <a:lnTo>
                  <a:pt x="13830" y="14023"/>
                </a:lnTo>
                <a:lnTo>
                  <a:pt x="13821" y="14078"/>
                </a:lnTo>
                <a:lnTo>
                  <a:pt x="13812" y="14132"/>
                </a:lnTo>
                <a:lnTo>
                  <a:pt x="13802" y="14186"/>
                </a:lnTo>
                <a:lnTo>
                  <a:pt x="13792" y="14238"/>
                </a:lnTo>
                <a:lnTo>
                  <a:pt x="13782" y="14291"/>
                </a:lnTo>
                <a:lnTo>
                  <a:pt x="13771" y="14343"/>
                </a:lnTo>
                <a:lnTo>
                  <a:pt x="13761" y="14395"/>
                </a:lnTo>
                <a:lnTo>
                  <a:pt x="13748" y="14446"/>
                </a:lnTo>
                <a:lnTo>
                  <a:pt x="13786" y="14454"/>
                </a:lnTo>
                <a:lnTo>
                  <a:pt x="13823" y="14463"/>
                </a:lnTo>
                <a:lnTo>
                  <a:pt x="13859" y="14470"/>
                </a:lnTo>
                <a:lnTo>
                  <a:pt x="13896" y="14477"/>
                </a:lnTo>
                <a:lnTo>
                  <a:pt x="13931" y="14484"/>
                </a:lnTo>
                <a:lnTo>
                  <a:pt x="13967" y="14490"/>
                </a:lnTo>
                <a:lnTo>
                  <a:pt x="14003" y="14496"/>
                </a:lnTo>
                <a:lnTo>
                  <a:pt x="14037" y="14502"/>
                </a:lnTo>
                <a:lnTo>
                  <a:pt x="14090" y="14509"/>
                </a:lnTo>
                <a:lnTo>
                  <a:pt x="14141" y="14517"/>
                </a:lnTo>
                <a:lnTo>
                  <a:pt x="14191" y="14523"/>
                </a:lnTo>
                <a:lnTo>
                  <a:pt x="14241" y="14528"/>
                </a:lnTo>
                <a:lnTo>
                  <a:pt x="14288" y="14532"/>
                </a:lnTo>
                <a:lnTo>
                  <a:pt x="14336" y="14535"/>
                </a:lnTo>
                <a:lnTo>
                  <a:pt x="14382" y="14537"/>
                </a:lnTo>
                <a:lnTo>
                  <a:pt x="14428" y="14539"/>
                </a:lnTo>
                <a:lnTo>
                  <a:pt x="14471" y="14539"/>
                </a:lnTo>
                <a:lnTo>
                  <a:pt x="14515" y="14539"/>
                </a:lnTo>
                <a:lnTo>
                  <a:pt x="14557" y="14538"/>
                </a:lnTo>
                <a:lnTo>
                  <a:pt x="14597" y="14536"/>
                </a:lnTo>
                <a:lnTo>
                  <a:pt x="14637" y="14533"/>
                </a:lnTo>
                <a:lnTo>
                  <a:pt x="14676" y="14529"/>
                </a:lnTo>
                <a:lnTo>
                  <a:pt x="14713" y="14524"/>
                </a:lnTo>
                <a:lnTo>
                  <a:pt x="14750" y="14518"/>
                </a:lnTo>
                <a:lnTo>
                  <a:pt x="14784" y="14511"/>
                </a:lnTo>
                <a:lnTo>
                  <a:pt x="14818" y="14503"/>
                </a:lnTo>
                <a:lnTo>
                  <a:pt x="14851" y="14495"/>
                </a:lnTo>
                <a:lnTo>
                  <a:pt x="14882" y="14485"/>
                </a:lnTo>
                <a:lnTo>
                  <a:pt x="14912" y="14475"/>
                </a:lnTo>
                <a:lnTo>
                  <a:pt x="14940" y="14464"/>
                </a:lnTo>
                <a:lnTo>
                  <a:pt x="14966" y="14451"/>
                </a:lnTo>
                <a:lnTo>
                  <a:pt x="14993" y="14437"/>
                </a:lnTo>
                <a:lnTo>
                  <a:pt x="15016" y="14424"/>
                </a:lnTo>
                <a:lnTo>
                  <a:pt x="15040" y="14409"/>
                </a:lnTo>
                <a:lnTo>
                  <a:pt x="15061" y="14392"/>
                </a:lnTo>
                <a:lnTo>
                  <a:pt x="15080" y="14375"/>
                </a:lnTo>
                <a:lnTo>
                  <a:pt x="15099" y="14357"/>
                </a:lnTo>
                <a:lnTo>
                  <a:pt x="15115" y="14337"/>
                </a:lnTo>
                <a:lnTo>
                  <a:pt x="15130" y="14318"/>
                </a:lnTo>
                <a:lnTo>
                  <a:pt x="15143" y="14297"/>
                </a:lnTo>
                <a:lnTo>
                  <a:pt x="15144" y="14295"/>
                </a:lnTo>
                <a:lnTo>
                  <a:pt x="15156" y="14273"/>
                </a:lnTo>
                <a:lnTo>
                  <a:pt x="15166" y="14250"/>
                </a:lnTo>
                <a:lnTo>
                  <a:pt x="15174" y="14225"/>
                </a:lnTo>
                <a:lnTo>
                  <a:pt x="15181" y="14201"/>
                </a:lnTo>
                <a:lnTo>
                  <a:pt x="15186" y="14175"/>
                </a:lnTo>
                <a:lnTo>
                  <a:pt x="15189" y="14149"/>
                </a:lnTo>
                <a:lnTo>
                  <a:pt x="15191" y="14121"/>
                </a:lnTo>
                <a:lnTo>
                  <a:pt x="15192" y="14094"/>
                </a:lnTo>
                <a:lnTo>
                  <a:pt x="15191" y="14064"/>
                </a:lnTo>
                <a:lnTo>
                  <a:pt x="15188" y="14035"/>
                </a:lnTo>
                <a:lnTo>
                  <a:pt x="15184" y="14004"/>
                </a:lnTo>
                <a:lnTo>
                  <a:pt x="15178" y="13974"/>
                </a:lnTo>
                <a:lnTo>
                  <a:pt x="15171" y="13942"/>
                </a:lnTo>
                <a:lnTo>
                  <a:pt x="15162" y="13909"/>
                </a:lnTo>
                <a:lnTo>
                  <a:pt x="15151" y="13876"/>
                </a:lnTo>
                <a:lnTo>
                  <a:pt x="15140" y="13842"/>
                </a:lnTo>
                <a:lnTo>
                  <a:pt x="15127" y="13809"/>
                </a:lnTo>
                <a:lnTo>
                  <a:pt x="15113" y="13773"/>
                </a:lnTo>
                <a:lnTo>
                  <a:pt x="15097" y="13737"/>
                </a:lnTo>
                <a:lnTo>
                  <a:pt x="15079" y="13702"/>
                </a:lnTo>
                <a:lnTo>
                  <a:pt x="15061" y="13665"/>
                </a:lnTo>
                <a:lnTo>
                  <a:pt x="15041" y="13628"/>
                </a:lnTo>
                <a:lnTo>
                  <a:pt x="15019" y="13591"/>
                </a:lnTo>
                <a:lnTo>
                  <a:pt x="14997" y="13552"/>
                </a:lnTo>
                <a:lnTo>
                  <a:pt x="14974" y="13513"/>
                </a:lnTo>
                <a:lnTo>
                  <a:pt x="14948" y="13475"/>
                </a:lnTo>
                <a:lnTo>
                  <a:pt x="14922" y="13435"/>
                </a:lnTo>
                <a:lnTo>
                  <a:pt x="14893" y="13395"/>
                </a:lnTo>
                <a:lnTo>
                  <a:pt x="14865" y="13355"/>
                </a:lnTo>
                <a:lnTo>
                  <a:pt x="14834" y="13315"/>
                </a:lnTo>
                <a:lnTo>
                  <a:pt x="14803" y="13273"/>
                </a:lnTo>
                <a:lnTo>
                  <a:pt x="14770" y="13232"/>
                </a:lnTo>
                <a:lnTo>
                  <a:pt x="14748" y="13205"/>
                </a:lnTo>
                <a:lnTo>
                  <a:pt x="14726" y="13177"/>
                </a:lnTo>
                <a:lnTo>
                  <a:pt x="14702" y="13150"/>
                </a:lnTo>
                <a:lnTo>
                  <a:pt x="14679" y="13122"/>
                </a:lnTo>
                <a:lnTo>
                  <a:pt x="14654" y="13094"/>
                </a:lnTo>
                <a:lnTo>
                  <a:pt x="14630" y="13066"/>
                </a:lnTo>
                <a:lnTo>
                  <a:pt x="14605" y="13039"/>
                </a:lnTo>
                <a:lnTo>
                  <a:pt x="14579" y="13010"/>
                </a:lnTo>
                <a:close/>
                <a:moveTo>
                  <a:pt x="10244" y="12423"/>
                </a:moveTo>
                <a:lnTo>
                  <a:pt x="10322" y="12353"/>
                </a:lnTo>
                <a:lnTo>
                  <a:pt x="10403" y="12282"/>
                </a:lnTo>
                <a:lnTo>
                  <a:pt x="10486" y="12212"/>
                </a:lnTo>
                <a:lnTo>
                  <a:pt x="10570" y="12141"/>
                </a:lnTo>
                <a:lnTo>
                  <a:pt x="10659" y="12071"/>
                </a:lnTo>
                <a:lnTo>
                  <a:pt x="10748" y="12002"/>
                </a:lnTo>
                <a:lnTo>
                  <a:pt x="10840" y="11932"/>
                </a:lnTo>
                <a:lnTo>
                  <a:pt x="10934" y="11863"/>
                </a:lnTo>
                <a:lnTo>
                  <a:pt x="10940" y="11805"/>
                </a:lnTo>
                <a:lnTo>
                  <a:pt x="10947" y="11747"/>
                </a:lnTo>
                <a:lnTo>
                  <a:pt x="10954" y="11689"/>
                </a:lnTo>
                <a:lnTo>
                  <a:pt x="10961" y="11632"/>
                </a:lnTo>
                <a:lnTo>
                  <a:pt x="10968" y="11575"/>
                </a:lnTo>
                <a:lnTo>
                  <a:pt x="10976" y="11519"/>
                </a:lnTo>
                <a:lnTo>
                  <a:pt x="10984" y="11462"/>
                </a:lnTo>
                <a:lnTo>
                  <a:pt x="10992" y="11407"/>
                </a:lnTo>
                <a:lnTo>
                  <a:pt x="11001" y="11352"/>
                </a:lnTo>
                <a:lnTo>
                  <a:pt x="11011" y="11297"/>
                </a:lnTo>
                <a:lnTo>
                  <a:pt x="11021" y="11243"/>
                </a:lnTo>
                <a:lnTo>
                  <a:pt x="11031" y="11189"/>
                </a:lnTo>
                <a:lnTo>
                  <a:pt x="11041" y="11136"/>
                </a:lnTo>
                <a:lnTo>
                  <a:pt x="11051" y="11083"/>
                </a:lnTo>
                <a:lnTo>
                  <a:pt x="11062" y="11031"/>
                </a:lnTo>
                <a:lnTo>
                  <a:pt x="11075" y="10979"/>
                </a:lnTo>
                <a:lnTo>
                  <a:pt x="11036" y="10971"/>
                </a:lnTo>
                <a:lnTo>
                  <a:pt x="10997" y="10962"/>
                </a:lnTo>
                <a:lnTo>
                  <a:pt x="10960" y="10955"/>
                </a:lnTo>
                <a:lnTo>
                  <a:pt x="10922" y="10946"/>
                </a:lnTo>
                <a:lnTo>
                  <a:pt x="10885" y="10939"/>
                </a:lnTo>
                <a:lnTo>
                  <a:pt x="10848" y="10933"/>
                </a:lnTo>
                <a:lnTo>
                  <a:pt x="10810" y="10927"/>
                </a:lnTo>
                <a:lnTo>
                  <a:pt x="10775" y="10921"/>
                </a:lnTo>
                <a:lnTo>
                  <a:pt x="10722" y="10913"/>
                </a:lnTo>
                <a:lnTo>
                  <a:pt x="10671" y="10907"/>
                </a:lnTo>
                <a:lnTo>
                  <a:pt x="10621" y="10901"/>
                </a:lnTo>
                <a:lnTo>
                  <a:pt x="10571" y="10896"/>
                </a:lnTo>
                <a:lnTo>
                  <a:pt x="10523" y="10891"/>
                </a:lnTo>
                <a:lnTo>
                  <a:pt x="10476" y="10888"/>
                </a:lnTo>
                <a:lnTo>
                  <a:pt x="10429" y="10885"/>
                </a:lnTo>
                <a:lnTo>
                  <a:pt x="10383" y="10884"/>
                </a:lnTo>
                <a:lnTo>
                  <a:pt x="10340" y="10883"/>
                </a:lnTo>
                <a:lnTo>
                  <a:pt x="10296" y="10884"/>
                </a:lnTo>
                <a:lnTo>
                  <a:pt x="10254" y="10885"/>
                </a:lnTo>
                <a:lnTo>
                  <a:pt x="10214" y="10887"/>
                </a:lnTo>
                <a:lnTo>
                  <a:pt x="10173" y="10890"/>
                </a:lnTo>
                <a:lnTo>
                  <a:pt x="10134" y="10895"/>
                </a:lnTo>
                <a:lnTo>
                  <a:pt x="10097" y="10900"/>
                </a:lnTo>
                <a:lnTo>
                  <a:pt x="10061" y="10905"/>
                </a:lnTo>
                <a:lnTo>
                  <a:pt x="10025" y="10912"/>
                </a:lnTo>
                <a:lnTo>
                  <a:pt x="9992" y="10920"/>
                </a:lnTo>
                <a:lnTo>
                  <a:pt x="9959" y="10928"/>
                </a:lnTo>
                <a:lnTo>
                  <a:pt x="9929" y="10937"/>
                </a:lnTo>
                <a:lnTo>
                  <a:pt x="9898" y="10949"/>
                </a:lnTo>
                <a:lnTo>
                  <a:pt x="9871" y="10960"/>
                </a:lnTo>
                <a:lnTo>
                  <a:pt x="9843" y="10972"/>
                </a:lnTo>
                <a:lnTo>
                  <a:pt x="9818" y="10985"/>
                </a:lnTo>
                <a:lnTo>
                  <a:pt x="9794" y="10999"/>
                </a:lnTo>
                <a:lnTo>
                  <a:pt x="9771" y="11015"/>
                </a:lnTo>
                <a:lnTo>
                  <a:pt x="9750" y="11031"/>
                </a:lnTo>
                <a:lnTo>
                  <a:pt x="9731" y="11048"/>
                </a:lnTo>
                <a:lnTo>
                  <a:pt x="9712" y="11067"/>
                </a:lnTo>
                <a:lnTo>
                  <a:pt x="9696" y="11086"/>
                </a:lnTo>
                <a:lnTo>
                  <a:pt x="9681" y="11106"/>
                </a:lnTo>
                <a:lnTo>
                  <a:pt x="9668" y="11128"/>
                </a:lnTo>
                <a:lnTo>
                  <a:pt x="9668" y="11128"/>
                </a:lnTo>
                <a:lnTo>
                  <a:pt x="9656" y="11150"/>
                </a:lnTo>
                <a:lnTo>
                  <a:pt x="9646" y="11174"/>
                </a:lnTo>
                <a:lnTo>
                  <a:pt x="9638" y="11197"/>
                </a:lnTo>
                <a:lnTo>
                  <a:pt x="9631" y="11223"/>
                </a:lnTo>
                <a:lnTo>
                  <a:pt x="9626" y="11248"/>
                </a:lnTo>
                <a:lnTo>
                  <a:pt x="9623" y="11274"/>
                </a:lnTo>
                <a:lnTo>
                  <a:pt x="9621" y="11301"/>
                </a:lnTo>
                <a:lnTo>
                  <a:pt x="9620" y="11329"/>
                </a:lnTo>
                <a:lnTo>
                  <a:pt x="9621" y="11358"/>
                </a:lnTo>
                <a:lnTo>
                  <a:pt x="9624" y="11388"/>
                </a:lnTo>
                <a:lnTo>
                  <a:pt x="9628" y="11418"/>
                </a:lnTo>
                <a:lnTo>
                  <a:pt x="9634" y="11450"/>
                </a:lnTo>
                <a:lnTo>
                  <a:pt x="9641" y="11481"/>
                </a:lnTo>
                <a:lnTo>
                  <a:pt x="9650" y="11514"/>
                </a:lnTo>
                <a:lnTo>
                  <a:pt x="9660" y="11546"/>
                </a:lnTo>
                <a:lnTo>
                  <a:pt x="9672" y="11580"/>
                </a:lnTo>
                <a:lnTo>
                  <a:pt x="9685" y="11615"/>
                </a:lnTo>
                <a:lnTo>
                  <a:pt x="9699" y="11649"/>
                </a:lnTo>
                <a:lnTo>
                  <a:pt x="9715" y="11685"/>
                </a:lnTo>
                <a:lnTo>
                  <a:pt x="9733" y="11721"/>
                </a:lnTo>
                <a:lnTo>
                  <a:pt x="9751" y="11757"/>
                </a:lnTo>
                <a:lnTo>
                  <a:pt x="9771" y="11795"/>
                </a:lnTo>
                <a:lnTo>
                  <a:pt x="9793" y="11833"/>
                </a:lnTo>
                <a:lnTo>
                  <a:pt x="9815" y="11870"/>
                </a:lnTo>
                <a:lnTo>
                  <a:pt x="9838" y="11909"/>
                </a:lnTo>
                <a:lnTo>
                  <a:pt x="9864" y="11949"/>
                </a:lnTo>
                <a:lnTo>
                  <a:pt x="9890" y="11987"/>
                </a:lnTo>
                <a:lnTo>
                  <a:pt x="9919" y="12027"/>
                </a:lnTo>
                <a:lnTo>
                  <a:pt x="9947" y="12068"/>
                </a:lnTo>
                <a:lnTo>
                  <a:pt x="9978" y="12109"/>
                </a:lnTo>
                <a:lnTo>
                  <a:pt x="10009" y="12149"/>
                </a:lnTo>
                <a:lnTo>
                  <a:pt x="10042" y="12191"/>
                </a:lnTo>
                <a:lnTo>
                  <a:pt x="10065" y="12220"/>
                </a:lnTo>
                <a:lnTo>
                  <a:pt x="10088" y="12248"/>
                </a:lnTo>
                <a:lnTo>
                  <a:pt x="10113" y="12278"/>
                </a:lnTo>
                <a:lnTo>
                  <a:pt x="10138" y="12306"/>
                </a:lnTo>
                <a:lnTo>
                  <a:pt x="10164" y="12336"/>
                </a:lnTo>
                <a:lnTo>
                  <a:pt x="10190" y="12365"/>
                </a:lnTo>
                <a:lnTo>
                  <a:pt x="10217" y="12395"/>
                </a:lnTo>
                <a:lnTo>
                  <a:pt x="10244" y="12423"/>
                </a:lnTo>
                <a:close/>
                <a:moveTo>
                  <a:pt x="12907" y="11251"/>
                </a:moveTo>
                <a:lnTo>
                  <a:pt x="12938" y="11268"/>
                </a:lnTo>
                <a:lnTo>
                  <a:pt x="12971" y="11286"/>
                </a:lnTo>
                <a:lnTo>
                  <a:pt x="13003" y="11304"/>
                </a:lnTo>
                <a:lnTo>
                  <a:pt x="13035" y="11321"/>
                </a:lnTo>
                <a:lnTo>
                  <a:pt x="13067" y="11340"/>
                </a:lnTo>
                <a:lnTo>
                  <a:pt x="13100" y="11358"/>
                </a:lnTo>
                <a:lnTo>
                  <a:pt x="13131" y="11376"/>
                </a:lnTo>
                <a:lnTo>
                  <a:pt x="13164" y="11395"/>
                </a:lnTo>
                <a:lnTo>
                  <a:pt x="13165" y="11396"/>
                </a:lnTo>
                <a:lnTo>
                  <a:pt x="13165" y="11395"/>
                </a:lnTo>
                <a:lnTo>
                  <a:pt x="13173" y="11400"/>
                </a:lnTo>
                <a:lnTo>
                  <a:pt x="13176" y="11401"/>
                </a:lnTo>
                <a:lnTo>
                  <a:pt x="13176" y="11402"/>
                </a:lnTo>
                <a:lnTo>
                  <a:pt x="13177" y="11402"/>
                </a:lnTo>
                <a:lnTo>
                  <a:pt x="13177" y="11402"/>
                </a:lnTo>
                <a:lnTo>
                  <a:pt x="13210" y="11420"/>
                </a:lnTo>
                <a:lnTo>
                  <a:pt x="13241" y="11439"/>
                </a:lnTo>
                <a:lnTo>
                  <a:pt x="13274" y="11459"/>
                </a:lnTo>
                <a:lnTo>
                  <a:pt x="13305" y="11478"/>
                </a:lnTo>
                <a:lnTo>
                  <a:pt x="13338" y="11498"/>
                </a:lnTo>
                <a:lnTo>
                  <a:pt x="13369" y="11517"/>
                </a:lnTo>
                <a:lnTo>
                  <a:pt x="13401" y="11536"/>
                </a:lnTo>
                <a:lnTo>
                  <a:pt x="13432" y="11556"/>
                </a:lnTo>
                <a:lnTo>
                  <a:pt x="13423" y="11495"/>
                </a:lnTo>
                <a:lnTo>
                  <a:pt x="13414" y="11436"/>
                </a:lnTo>
                <a:lnTo>
                  <a:pt x="13404" y="11377"/>
                </a:lnTo>
                <a:lnTo>
                  <a:pt x="13394" y="11319"/>
                </a:lnTo>
                <a:lnTo>
                  <a:pt x="13384" y="11262"/>
                </a:lnTo>
                <a:lnTo>
                  <a:pt x="13372" y="11205"/>
                </a:lnTo>
                <a:lnTo>
                  <a:pt x="13360" y="11149"/>
                </a:lnTo>
                <a:lnTo>
                  <a:pt x="13349" y="11093"/>
                </a:lnTo>
                <a:lnTo>
                  <a:pt x="13294" y="11110"/>
                </a:lnTo>
                <a:lnTo>
                  <a:pt x="13240" y="11129"/>
                </a:lnTo>
                <a:lnTo>
                  <a:pt x="13185" y="11147"/>
                </a:lnTo>
                <a:lnTo>
                  <a:pt x="13130" y="11167"/>
                </a:lnTo>
                <a:lnTo>
                  <a:pt x="13074" y="11187"/>
                </a:lnTo>
                <a:lnTo>
                  <a:pt x="13019" y="11207"/>
                </a:lnTo>
                <a:lnTo>
                  <a:pt x="12963" y="11230"/>
                </a:lnTo>
                <a:lnTo>
                  <a:pt x="12907" y="11251"/>
                </a:lnTo>
                <a:close/>
                <a:moveTo>
                  <a:pt x="13889" y="11862"/>
                </a:moveTo>
                <a:lnTo>
                  <a:pt x="13983" y="11931"/>
                </a:lnTo>
                <a:lnTo>
                  <a:pt x="14075" y="12001"/>
                </a:lnTo>
                <a:lnTo>
                  <a:pt x="14164" y="12070"/>
                </a:lnTo>
                <a:lnTo>
                  <a:pt x="14253" y="12140"/>
                </a:lnTo>
                <a:lnTo>
                  <a:pt x="14337" y="12211"/>
                </a:lnTo>
                <a:lnTo>
                  <a:pt x="14421" y="12282"/>
                </a:lnTo>
                <a:lnTo>
                  <a:pt x="14501" y="12352"/>
                </a:lnTo>
                <a:lnTo>
                  <a:pt x="14579" y="12423"/>
                </a:lnTo>
                <a:lnTo>
                  <a:pt x="14606" y="12395"/>
                </a:lnTo>
                <a:lnTo>
                  <a:pt x="14631" y="12366"/>
                </a:lnTo>
                <a:lnTo>
                  <a:pt x="14656" y="12338"/>
                </a:lnTo>
                <a:lnTo>
                  <a:pt x="14681" y="12309"/>
                </a:lnTo>
                <a:lnTo>
                  <a:pt x="14705" y="12282"/>
                </a:lnTo>
                <a:lnTo>
                  <a:pt x="14730" y="12253"/>
                </a:lnTo>
                <a:lnTo>
                  <a:pt x="14752" y="12225"/>
                </a:lnTo>
                <a:lnTo>
                  <a:pt x="14775" y="12197"/>
                </a:lnTo>
                <a:lnTo>
                  <a:pt x="14808" y="12156"/>
                </a:lnTo>
                <a:lnTo>
                  <a:pt x="14839" y="12115"/>
                </a:lnTo>
                <a:lnTo>
                  <a:pt x="14870" y="12074"/>
                </a:lnTo>
                <a:lnTo>
                  <a:pt x="14898" y="12034"/>
                </a:lnTo>
                <a:lnTo>
                  <a:pt x="14926" y="11994"/>
                </a:lnTo>
                <a:lnTo>
                  <a:pt x="14952" y="11955"/>
                </a:lnTo>
                <a:lnTo>
                  <a:pt x="14978" y="11915"/>
                </a:lnTo>
                <a:lnTo>
                  <a:pt x="15002" y="11877"/>
                </a:lnTo>
                <a:lnTo>
                  <a:pt x="15024" y="11839"/>
                </a:lnTo>
                <a:lnTo>
                  <a:pt x="15046" y="11801"/>
                </a:lnTo>
                <a:lnTo>
                  <a:pt x="15066" y="11764"/>
                </a:lnTo>
                <a:lnTo>
                  <a:pt x="15084" y="11728"/>
                </a:lnTo>
                <a:lnTo>
                  <a:pt x="15102" y="11691"/>
                </a:lnTo>
                <a:lnTo>
                  <a:pt x="15117" y="11655"/>
                </a:lnTo>
                <a:lnTo>
                  <a:pt x="15132" y="11621"/>
                </a:lnTo>
                <a:lnTo>
                  <a:pt x="15144" y="11586"/>
                </a:lnTo>
                <a:lnTo>
                  <a:pt x="15157" y="11553"/>
                </a:lnTo>
                <a:lnTo>
                  <a:pt x="15167" y="11520"/>
                </a:lnTo>
                <a:lnTo>
                  <a:pt x="15175" y="11487"/>
                </a:lnTo>
                <a:lnTo>
                  <a:pt x="15183" y="11456"/>
                </a:lnTo>
                <a:lnTo>
                  <a:pt x="15188" y="11424"/>
                </a:lnTo>
                <a:lnTo>
                  <a:pt x="15192" y="11395"/>
                </a:lnTo>
                <a:lnTo>
                  <a:pt x="15195" y="11365"/>
                </a:lnTo>
                <a:lnTo>
                  <a:pt x="15196" y="11336"/>
                </a:lnTo>
                <a:lnTo>
                  <a:pt x="15196" y="11308"/>
                </a:lnTo>
                <a:lnTo>
                  <a:pt x="15194" y="11281"/>
                </a:lnTo>
                <a:lnTo>
                  <a:pt x="15191" y="11254"/>
                </a:lnTo>
                <a:lnTo>
                  <a:pt x="15186" y="11229"/>
                </a:lnTo>
                <a:lnTo>
                  <a:pt x="15179" y="11203"/>
                </a:lnTo>
                <a:lnTo>
                  <a:pt x="15171" y="11180"/>
                </a:lnTo>
                <a:lnTo>
                  <a:pt x="15161" y="11156"/>
                </a:lnTo>
                <a:lnTo>
                  <a:pt x="15149" y="11134"/>
                </a:lnTo>
                <a:lnTo>
                  <a:pt x="15149" y="11134"/>
                </a:lnTo>
                <a:lnTo>
                  <a:pt x="15135" y="11113"/>
                </a:lnTo>
                <a:lnTo>
                  <a:pt x="15121" y="11092"/>
                </a:lnTo>
                <a:lnTo>
                  <a:pt x="15105" y="11073"/>
                </a:lnTo>
                <a:lnTo>
                  <a:pt x="15086" y="11054"/>
                </a:lnTo>
                <a:lnTo>
                  <a:pt x="15066" y="11038"/>
                </a:lnTo>
                <a:lnTo>
                  <a:pt x="15046" y="11022"/>
                </a:lnTo>
                <a:lnTo>
                  <a:pt x="15022" y="11007"/>
                </a:lnTo>
                <a:lnTo>
                  <a:pt x="14999" y="10992"/>
                </a:lnTo>
                <a:lnTo>
                  <a:pt x="14974" y="10978"/>
                </a:lnTo>
                <a:lnTo>
                  <a:pt x="14946" y="10966"/>
                </a:lnTo>
                <a:lnTo>
                  <a:pt x="14918" y="10955"/>
                </a:lnTo>
                <a:lnTo>
                  <a:pt x="14888" y="10944"/>
                </a:lnTo>
                <a:lnTo>
                  <a:pt x="14857" y="10934"/>
                </a:lnTo>
                <a:lnTo>
                  <a:pt x="14824" y="10926"/>
                </a:lnTo>
                <a:lnTo>
                  <a:pt x="14791" y="10918"/>
                </a:lnTo>
                <a:lnTo>
                  <a:pt x="14756" y="10912"/>
                </a:lnTo>
                <a:lnTo>
                  <a:pt x="14719" y="10906"/>
                </a:lnTo>
                <a:lnTo>
                  <a:pt x="14682" y="10901"/>
                </a:lnTo>
                <a:lnTo>
                  <a:pt x="14643" y="10897"/>
                </a:lnTo>
                <a:lnTo>
                  <a:pt x="14604" y="10894"/>
                </a:lnTo>
                <a:lnTo>
                  <a:pt x="14563" y="10891"/>
                </a:lnTo>
                <a:lnTo>
                  <a:pt x="14520" y="10890"/>
                </a:lnTo>
                <a:lnTo>
                  <a:pt x="14477" y="10890"/>
                </a:lnTo>
                <a:lnTo>
                  <a:pt x="14433" y="10890"/>
                </a:lnTo>
                <a:lnTo>
                  <a:pt x="14387" y="10893"/>
                </a:lnTo>
                <a:lnTo>
                  <a:pt x="14341" y="10895"/>
                </a:lnTo>
                <a:lnTo>
                  <a:pt x="14293" y="10898"/>
                </a:lnTo>
                <a:lnTo>
                  <a:pt x="14245" y="10902"/>
                </a:lnTo>
                <a:lnTo>
                  <a:pt x="14196" y="10907"/>
                </a:lnTo>
                <a:lnTo>
                  <a:pt x="14145" y="10913"/>
                </a:lnTo>
                <a:lnTo>
                  <a:pt x="14094" y="10920"/>
                </a:lnTo>
                <a:lnTo>
                  <a:pt x="14042" y="10927"/>
                </a:lnTo>
                <a:lnTo>
                  <a:pt x="14007" y="10933"/>
                </a:lnTo>
                <a:lnTo>
                  <a:pt x="13971" y="10939"/>
                </a:lnTo>
                <a:lnTo>
                  <a:pt x="13935" y="10945"/>
                </a:lnTo>
                <a:lnTo>
                  <a:pt x="13899" y="10953"/>
                </a:lnTo>
                <a:lnTo>
                  <a:pt x="13862" y="10960"/>
                </a:lnTo>
                <a:lnTo>
                  <a:pt x="13825" y="10967"/>
                </a:lnTo>
                <a:lnTo>
                  <a:pt x="13788" y="10975"/>
                </a:lnTo>
                <a:lnTo>
                  <a:pt x="13751" y="10984"/>
                </a:lnTo>
                <a:lnTo>
                  <a:pt x="13762" y="11035"/>
                </a:lnTo>
                <a:lnTo>
                  <a:pt x="13773" y="11087"/>
                </a:lnTo>
                <a:lnTo>
                  <a:pt x="13783" y="11139"/>
                </a:lnTo>
                <a:lnTo>
                  <a:pt x="13793" y="11192"/>
                </a:lnTo>
                <a:lnTo>
                  <a:pt x="13803" y="11246"/>
                </a:lnTo>
                <a:lnTo>
                  <a:pt x="13813" y="11299"/>
                </a:lnTo>
                <a:lnTo>
                  <a:pt x="13822" y="11354"/>
                </a:lnTo>
                <a:lnTo>
                  <a:pt x="13831" y="11409"/>
                </a:lnTo>
                <a:lnTo>
                  <a:pt x="13839" y="11464"/>
                </a:lnTo>
                <a:lnTo>
                  <a:pt x="13847" y="11519"/>
                </a:lnTo>
                <a:lnTo>
                  <a:pt x="13855" y="11575"/>
                </a:lnTo>
                <a:lnTo>
                  <a:pt x="13862" y="11632"/>
                </a:lnTo>
                <a:lnTo>
                  <a:pt x="13869" y="11689"/>
                </a:lnTo>
                <a:lnTo>
                  <a:pt x="13877" y="11746"/>
                </a:lnTo>
                <a:lnTo>
                  <a:pt x="13883" y="11804"/>
                </a:lnTo>
                <a:lnTo>
                  <a:pt x="13889" y="11862"/>
                </a:lnTo>
                <a:close/>
                <a:moveTo>
                  <a:pt x="13242" y="14741"/>
                </a:moveTo>
                <a:lnTo>
                  <a:pt x="13192" y="14724"/>
                </a:lnTo>
                <a:lnTo>
                  <a:pt x="13142" y="14708"/>
                </a:lnTo>
                <a:lnTo>
                  <a:pt x="13092" y="14691"/>
                </a:lnTo>
                <a:lnTo>
                  <a:pt x="13041" y="14673"/>
                </a:lnTo>
                <a:lnTo>
                  <a:pt x="12990" y="14656"/>
                </a:lnTo>
                <a:lnTo>
                  <a:pt x="12938" y="14638"/>
                </a:lnTo>
                <a:lnTo>
                  <a:pt x="12887" y="14618"/>
                </a:lnTo>
                <a:lnTo>
                  <a:pt x="12836" y="14599"/>
                </a:lnTo>
                <a:lnTo>
                  <a:pt x="12784" y="14579"/>
                </a:lnTo>
                <a:lnTo>
                  <a:pt x="12732" y="14558"/>
                </a:lnTo>
                <a:lnTo>
                  <a:pt x="12679" y="14537"/>
                </a:lnTo>
                <a:lnTo>
                  <a:pt x="12627" y="14516"/>
                </a:lnTo>
                <a:lnTo>
                  <a:pt x="12574" y="14493"/>
                </a:lnTo>
                <a:lnTo>
                  <a:pt x="12521" y="14470"/>
                </a:lnTo>
                <a:lnTo>
                  <a:pt x="12468" y="14447"/>
                </a:lnTo>
                <a:lnTo>
                  <a:pt x="12416" y="14423"/>
                </a:lnTo>
                <a:lnTo>
                  <a:pt x="12362" y="14447"/>
                </a:lnTo>
                <a:lnTo>
                  <a:pt x="12309" y="14471"/>
                </a:lnTo>
                <a:lnTo>
                  <a:pt x="12255" y="14494"/>
                </a:lnTo>
                <a:lnTo>
                  <a:pt x="12202" y="14517"/>
                </a:lnTo>
                <a:lnTo>
                  <a:pt x="12149" y="14538"/>
                </a:lnTo>
                <a:lnTo>
                  <a:pt x="12096" y="14559"/>
                </a:lnTo>
                <a:lnTo>
                  <a:pt x="12045" y="14581"/>
                </a:lnTo>
                <a:lnTo>
                  <a:pt x="11992" y="14601"/>
                </a:lnTo>
                <a:lnTo>
                  <a:pt x="11940" y="14620"/>
                </a:lnTo>
                <a:lnTo>
                  <a:pt x="11888" y="14640"/>
                </a:lnTo>
                <a:lnTo>
                  <a:pt x="11837" y="14659"/>
                </a:lnTo>
                <a:lnTo>
                  <a:pt x="11785" y="14676"/>
                </a:lnTo>
                <a:lnTo>
                  <a:pt x="11734" y="14695"/>
                </a:lnTo>
                <a:lnTo>
                  <a:pt x="11684" y="14711"/>
                </a:lnTo>
                <a:lnTo>
                  <a:pt x="11633" y="14728"/>
                </a:lnTo>
                <a:lnTo>
                  <a:pt x="11583" y="14744"/>
                </a:lnTo>
                <a:lnTo>
                  <a:pt x="11594" y="14780"/>
                </a:lnTo>
                <a:lnTo>
                  <a:pt x="11606" y="14817"/>
                </a:lnTo>
                <a:lnTo>
                  <a:pt x="11618" y="14853"/>
                </a:lnTo>
                <a:lnTo>
                  <a:pt x="11630" y="14888"/>
                </a:lnTo>
                <a:lnTo>
                  <a:pt x="11642" y="14923"/>
                </a:lnTo>
                <a:lnTo>
                  <a:pt x="11654" y="14957"/>
                </a:lnTo>
                <a:lnTo>
                  <a:pt x="11666" y="14991"/>
                </a:lnTo>
                <a:lnTo>
                  <a:pt x="11680" y="15024"/>
                </a:lnTo>
                <a:lnTo>
                  <a:pt x="11699" y="15073"/>
                </a:lnTo>
                <a:lnTo>
                  <a:pt x="11718" y="15121"/>
                </a:lnTo>
                <a:lnTo>
                  <a:pt x="11739" y="15167"/>
                </a:lnTo>
                <a:lnTo>
                  <a:pt x="11759" y="15212"/>
                </a:lnTo>
                <a:lnTo>
                  <a:pt x="11779" y="15257"/>
                </a:lnTo>
                <a:lnTo>
                  <a:pt x="11801" y="15299"/>
                </a:lnTo>
                <a:lnTo>
                  <a:pt x="11822" y="15341"/>
                </a:lnTo>
                <a:lnTo>
                  <a:pt x="11843" y="15380"/>
                </a:lnTo>
                <a:lnTo>
                  <a:pt x="11865" y="15419"/>
                </a:lnTo>
                <a:lnTo>
                  <a:pt x="11887" y="15457"/>
                </a:lnTo>
                <a:lnTo>
                  <a:pt x="11908" y="15492"/>
                </a:lnTo>
                <a:lnTo>
                  <a:pt x="11931" y="15527"/>
                </a:lnTo>
                <a:lnTo>
                  <a:pt x="11953" y="15560"/>
                </a:lnTo>
                <a:lnTo>
                  <a:pt x="11976" y="15591"/>
                </a:lnTo>
                <a:lnTo>
                  <a:pt x="11999" y="15622"/>
                </a:lnTo>
                <a:lnTo>
                  <a:pt x="12022" y="15650"/>
                </a:lnTo>
                <a:lnTo>
                  <a:pt x="12046" y="15677"/>
                </a:lnTo>
                <a:lnTo>
                  <a:pt x="12069" y="15702"/>
                </a:lnTo>
                <a:lnTo>
                  <a:pt x="12093" y="15726"/>
                </a:lnTo>
                <a:lnTo>
                  <a:pt x="12117" y="15748"/>
                </a:lnTo>
                <a:lnTo>
                  <a:pt x="12141" y="15768"/>
                </a:lnTo>
                <a:lnTo>
                  <a:pt x="12165" y="15787"/>
                </a:lnTo>
                <a:lnTo>
                  <a:pt x="12189" y="15804"/>
                </a:lnTo>
                <a:lnTo>
                  <a:pt x="12213" y="15819"/>
                </a:lnTo>
                <a:lnTo>
                  <a:pt x="12238" y="15834"/>
                </a:lnTo>
                <a:lnTo>
                  <a:pt x="12263" y="15846"/>
                </a:lnTo>
                <a:lnTo>
                  <a:pt x="12288" y="15856"/>
                </a:lnTo>
                <a:lnTo>
                  <a:pt x="12312" y="15864"/>
                </a:lnTo>
                <a:lnTo>
                  <a:pt x="12337" y="15870"/>
                </a:lnTo>
                <a:lnTo>
                  <a:pt x="12362" y="15875"/>
                </a:lnTo>
                <a:lnTo>
                  <a:pt x="12387" y="15878"/>
                </a:lnTo>
                <a:lnTo>
                  <a:pt x="12412" y="15879"/>
                </a:lnTo>
                <a:lnTo>
                  <a:pt x="12437" y="15878"/>
                </a:lnTo>
                <a:lnTo>
                  <a:pt x="12461" y="15875"/>
                </a:lnTo>
                <a:lnTo>
                  <a:pt x="12487" y="15870"/>
                </a:lnTo>
                <a:lnTo>
                  <a:pt x="12511" y="15864"/>
                </a:lnTo>
                <a:lnTo>
                  <a:pt x="12537" y="15856"/>
                </a:lnTo>
                <a:lnTo>
                  <a:pt x="12561" y="15846"/>
                </a:lnTo>
                <a:lnTo>
                  <a:pt x="12585" y="15834"/>
                </a:lnTo>
                <a:lnTo>
                  <a:pt x="12610" y="15819"/>
                </a:lnTo>
                <a:lnTo>
                  <a:pt x="12634" y="15804"/>
                </a:lnTo>
                <a:lnTo>
                  <a:pt x="12659" y="15787"/>
                </a:lnTo>
                <a:lnTo>
                  <a:pt x="12683" y="15768"/>
                </a:lnTo>
                <a:lnTo>
                  <a:pt x="12706" y="15748"/>
                </a:lnTo>
                <a:lnTo>
                  <a:pt x="12731" y="15726"/>
                </a:lnTo>
                <a:lnTo>
                  <a:pt x="12754" y="15702"/>
                </a:lnTo>
                <a:lnTo>
                  <a:pt x="12778" y="15677"/>
                </a:lnTo>
                <a:lnTo>
                  <a:pt x="12801" y="15649"/>
                </a:lnTo>
                <a:lnTo>
                  <a:pt x="12824" y="15621"/>
                </a:lnTo>
                <a:lnTo>
                  <a:pt x="12847" y="15591"/>
                </a:lnTo>
                <a:lnTo>
                  <a:pt x="12870" y="15560"/>
                </a:lnTo>
                <a:lnTo>
                  <a:pt x="12892" y="15527"/>
                </a:lnTo>
                <a:lnTo>
                  <a:pt x="12915" y="15492"/>
                </a:lnTo>
                <a:lnTo>
                  <a:pt x="12937" y="15457"/>
                </a:lnTo>
                <a:lnTo>
                  <a:pt x="12959" y="15419"/>
                </a:lnTo>
                <a:lnTo>
                  <a:pt x="12981" y="15380"/>
                </a:lnTo>
                <a:lnTo>
                  <a:pt x="13002" y="15341"/>
                </a:lnTo>
                <a:lnTo>
                  <a:pt x="13023" y="15299"/>
                </a:lnTo>
                <a:lnTo>
                  <a:pt x="13044" y="15256"/>
                </a:lnTo>
                <a:lnTo>
                  <a:pt x="13064" y="15212"/>
                </a:lnTo>
                <a:lnTo>
                  <a:pt x="13085" y="15167"/>
                </a:lnTo>
                <a:lnTo>
                  <a:pt x="13105" y="15121"/>
                </a:lnTo>
                <a:lnTo>
                  <a:pt x="13124" y="15073"/>
                </a:lnTo>
                <a:lnTo>
                  <a:pt x="13144" y="15024"/>
                </a:lnTo>
                <a:lnTo>
                  <a:pt x="13157" y="14990"/>
                </a:lnTo>
                <a:lnTo>
                  <a:pt x="13169" y="14956"/>
                </a:lnTo>
                <a:lnTo>
                  <a:pt x="13182" y="14921"/>
                </a:lnTo>
                <a:lnTo>
                  <a:pt x="13194" y="14886"/>
                </a:lnTo>
                <a:lnTo>
                  <a:pt x="13207" y="14851"/>
                </a:lnTo>
                <a:lnTo>
                  <a:pt x="13219" y="14814"/>
                </a:lnTo>
                <a:lnTo>
                  <a:pt x="13230" y="14777"/>
                </a:lnTo>
                <a:lnTo>
                  <a:pt x="13242" y="14741"/>
                </a:lnTo>
                <a:close/>
                <a:moveTo>
                  <a:pt x="11924" y="14180"/>
                </a:moveTo>
                <a:lnTo>
                  <a:pt x="11889" y="14162"/>
                </a:lnTo>
                <a:lnTo>
                  <a:pt x="11854" y="14144"/>
                </a:lnTo>
                <a:lnTo>
                  <a:pt x="11820" y="14125"/>
                </a:lnTo>
                <a:lnTo>
                  <a:pt x="11786" y="14106"/>
                </a:lnTo>
                <a:lnTo>
                  <a:pt x="11752" y="14087"/>
                </a:lnTo>
                <a:lnTo>
                  <a:pt x="11717" y="14067"/>
                </a:lnTo>
                <a:lnTo>
                  <a:pt x="11683" y="14048"/>
                </a:lnTo>
                <a:lnTo>
                  <a:pt x="11648" y="14029"/>
                </a:lnTo>
                <a:lnTo>
                  <a:pt x="11647" y="14028"/>
                </a:lnTo>
                <a:lnTo>
                  <a:pt x="11647" y="14028"/>
                </a:lnTo>
                <a:lnTo>
                  <a:pt x="11639" y="14024"/>
                </a:lnTo>
                <a:lnTo>
                  <a:pt x="11636" y="14022"/>
                </a:lnTo>
                <a:lnTo>
                  <a:pt x="11636" y="14022"/>
                </a:lnTo>
                <a:lnTo>
                  <a:pt x="11636" y="14022"/>
                </a:lnTo>
                <a:lnTo>
                  <a:pt x="11604" y="14003"/>
                </a:lnTo>
                <a:lnTo>
                  <a:pt x="11574" y="13985"/>
                </a:lnTo>
                <a:lnTo>
                  <a:pt x="11543" y="13967"/>
                </a:lnTo>
                <a:lnTo>
                  <a:pt x="11513" y="13948"/>
                </a:lnTo>
                <a:lnTo>
                  <a:pt x="11482" y="13930"/>
                </a:lnTo>
                <a:lnTo>
                  <a:pt x="11452" y="13912"/>
                </a:lnTo>
                <a:lnTo>
                  <a:pt x="11422" y="13893"/>
                </a:lnTo>
                <a:lnTo>
                  <a:pt x="11392" y="13875"/>
                </a:lnTo>
                <a:lnTo>
                  <a:pt x="11401" y="13935"/>
                </a:lnTo>
                <a:lnTo>
                  <a:pt x="11411" y="13995"/>
                </a:lnTo>
                <a:lnTo>
                  <a:pt x="11420" y="14054"/>
                </a:lnTo>
                <a:lnTo>
                  <a:pt x="11431" y="14113"/>
                </a:lnTo>
                <a:lnTo>
                  <a:pt x="11442" y="14171"/>
                </a:lnTo>
                <a:lnTo>
                  <a:pt x="11453" y="14228"/>
                </a:lnTo>
                <a:lnTo>
                  <a:pt x="11465" y="14284"/>
                </a:lnTo>
                <a:lnTo>
                  <a:pt x="11477" y="14340"/>
                </a:lnTo>
                <a:lnTo>
                  <a:pt x="11532" y="14323"/>
                </a:lnTo>
                <a:lnTo>
                  <a:pt x="11587" y="14305"/>
                </a:lnTo>
                <a:lnTo>
                  <a:pt x="11642" y="14286"/>
                </a:lnTo>
                <a:lnTo>
                  <a:pt x="11698" y="14266"/>
                </a:lnTo>
                <a:lnTo>
                  <a:pt x="11754" y="14246"/>
                </a:lnTo>
                <a:lnTo>
                  <a:pt x="11810" y="14225"/>
                </a:lnTo>
                <a:lnTo>
                  <a:pt x="11867" y="14203"/>
                </a:lnTo>
                <a:lnTo>
                  <a:pt x="11924" y="14180"/>
                </a:lnTo>
                <a:close/>
                <a:moveTo>
                  <a:pt x="10540" y="12717"/>
                </a:moveTo>
                <a:lnTo>
                  <a:pt x="10583" y="12754"/>
                </a:lnTo>
                <a:lnTo>
                  <a:pt x="10625" y="12793"/>
                </a:lnTo>
                <a:lnTo>
                  <a:pt x="10669" y="12831"/>
                </a:lnTo>
                <a:lnTo>
                  <a:pt x="10714" y="12870"/>
                </a:lnTo>
                <a:lnTo>
                  <a:pt x="10758" y="12907"/>
                </a:lnTo>
                <a:lnTo>
                  <a:pt x="10804" y="12945"/>
                </a:lnTo>
                <a:lnTo>
                  <a:pt x="10851" y="12984"/>
                </a:lnTo>
                <a:lnTo>
                  <a:pt x="10899" y="13021"/>
                </a:lnTo>
                <a:lnTo>
                  <a:pt x="10898" y="12983"/>
                </a:lnTo>
                <a:lnTo>
                  <a:pt x="10897" y="12944"/>
                </a:lnTo>
                <a:lnTo>
                  <a:pt x="10896" y="12906"/>
                </a:lnTo>
                <a:lnTo>
                  <a:pt x="10895" y="12868"/>
                </a:lnTo>
                <a:lnTo>
                  <a:pt x="10895" y="12829"/>
                </a:lnTo>
                <a:lnTo>
                  <a:pt x="10894" y="12790"/>
                </a:lnTo>
                <a:lnTo>
                  <a:pt x="10894" y="12751"/>
                </a:lnTo>
                <a:lnTo>
                  <a:pt x="10894" y="12713"/>
                </a:lnTo>
                <a:lnTo>
                  <a:pt x="10894" y="12674"/>
                </a:lnTo>
                <a:lnTo>
                  <a:pt x="10894" y="12636"/>
                </a:lnTo>
                <a:lnTo>
                  <a:pt x="10895" y="12599"/>
                </a:lnTo>
                <a:lnTo>
                  <a:pt x="10895" y="12561"/>
                </a:lnTo>
                <a:lnTo>
                  <a:pt x="10896" y="12524"/>
                </a:lnTo>
                <a:lnTo>
                  <a:pt x="10897" y="12487"/>
                </a:lnTo>
                <a:lnTo>
                  <a:pt x="10898" y="12449"/>
                </a:lnTo>
                <a:lnTo>
                  <a:pt x="10899" y="12412"/>
                </a:lnTo>
                <a:lnTo>
                  <a:pt x="10851" y="12450"/>
                </a:lnTo>
                <a:lnTo>
                  <a:pt x="10804" y="12488"/>
                </a:lnTo>
                <a:lnTo>
                  <a:pt x="10758" y="12526"/>
                </a:lnTo>
                <a:lnTo>
                  <a:pt x="10714" y="12564"/>
                </a:lnTo>
                <a:lnTo>
                  <a:pt x="10669" y="12602"/>
                </a:lnTo>
                <a:lnTo>
                  <a:pt x="10625" y="12640"/>
                </a:lnTo>
                <a:lnTo>
                  <a:pt x="10583" y="12678"/>
                </a:lnTo>
                <a:lnTo>
                  <a:pt x="10540" y="12717"/>
                </a:lnTo>
                <a:close/>
                <a:moveTo>
                  <a:pt x="11334" y="13340"/>
                </a:moveTo>
                <a:lnTo>
                  <a:pt x="11396" y="13382"/>
                </a:lnTo>
                <a:lnTo>
                  <a:pt x="11459" y="13424"/>
                </a:lnTo>
                <a:lnTo>
                  <a:pt x="11523" y="13465"/>
                </a:lnTo>
                <a:lnTo>
                  <a:pt x="11588" y="13506"/>
                </a:lnTo>
                <a:lnTo>
                  <a:pt x="11654" y="13547"/>
                </a:lnTo>
                <a:lnTo>
                  <a:pt x="11720" y="13588"/>
                </a:lnTo>
                <a:lnTo>
                  <a:pt x="11787" y="13627"/>
                </a:lnTo>
                <a:lnTo>
                  <a:pt x="11855" y="13667"/>
                </a:lnTo>
                <a:lnTo>
                  <a:pt x="11867" y="13673"/>
                </a:lnTo>
                <a:lnTo>
                  <a:pt x="11867" y="13674"/>
                </a:lnTo>
                <a:lnTo>
                  <a:pt x="11867" y="13674"/>
                </a:lnTo>
                <a:lnTo>
                  <a:pt x="11936" y="13714"/>
                </a:lnTo>
                <a:lnTo>
                  <a:pt x="12005" y="13752"/>
                </a:lnTo>
                <a:lnTo>
                  <a:pt x="12073" y="13789"/>
                </a:lnTo>
                <a:lnTo>
                  <a:pt x="12142" y="13826"/>
                </a:lnTo>
                <a:lnTo>
                  <a:pt x="12210" y="13862"/>
                </a:lnTo>
                <a:lnTo>
                  <a:pt x="12278" y="13896"/>
                </a:lnTo>
                <a:lnTo>
                  <a:pt x="12346" y="13931"/>
                </a:lnTo>
                <a:lnTo>
                  <a:pt x="12415" y="13963"/>
                </a:lnTo>
                <a:lnTo>
                  <a:pt x="12482" y="13931"/>
                </a:lnTo>
                <a:lnTo>
                  <a:pt x="12548" y="13898"/>
                </a:lnTo>
                <a:lnTo>
                  <a:pt x="12615" y="13864"/>
                </a:lnTo>
                <a:lnTo>
                  <a:pt x="12681" y="13829"/>
                </a:lnTo>
                <a:lnTo>
                  <a:pt x="12748" y="13793"/>
                </a:lnTo>
                <a:lnTo>
                  <a:pt x="12815" y="13757"/>
                </a:lnTo>
                <a:lnTo>
                  <a:pt x="12882" y="13719"/>
                </a:lnTo>
                <a:lnTo>
                  <a:pt x="12949" y="13680"/>
                </a:lnTo>
                <a:lnTo>
                  <a:pt x="12949" y="13680"/>
                </a:lnTo>
                <a:lnTo>
                  <a:pt x="12949" y="13680"/>
                </a:lnTo>
                <a:lnTo>
                  <a:pt x="12950" y="13680"/>
                </a:lnTo>
                <a:lnTo>
                  <a:pt x="12963" y="13673"/>
                </a:lnTo>
                <a:lnTo>
                  <a:pt x="13031" y="13633"/>
                </a:lnTo>
                <a:lnTo>
                  <a:pt x="13099" y="13593"/>
                </a:lnTo>
                <a:lnTo>
                  <a:pt x="13166" y="13552"/>
                </a:lnTo>
                <a:lnTo>
                  <a:pt x="13232" y="13510"/>
                </a:lnTo>
                <a:lnTo>
                  <a:pt x="13298" y="13468"/>
                </a:lnTo>
                <a:lnTo>
                  <a:pt x="13363" y="13427"/>
                </a:lnTo>
                <a:lnTo>
                  <a:pt x="13426" y="13385"/>
                </a:lnTo>
                <a:lnTo>
                  <a:pt x="13489" y="13342"/>
                </a:lnTo>
                <a:lnTo>
                  <a:pt x="13495" y="13266"/>
                </a:lnTo>
                <a:lnTo>
                  <a:pt x="13499" y="13188"/>
                </a:lnTo>
                <a:lnTo>
                  <a:pt x="13503" y="13110"/>
                </a:lnTo>
                <a:lnTo>
                  <a:pt x="13507" y="13031"/>
                </a:lnTo>
                <a:lnTo>
                  <a:pt x="13510" y="12952"/>
                </a:lnTo>
                <a:lnTo>
                  <a:pt x="13512" y="12873"/>
                </a:lnTo>
                <a:lnTo>
                  <a:pt x="13513" y="12793"/>
                </a:lnTo>
                <a:lnTo>
                  <a:pt x="13513" y="12713"/>
                </a:lnTo>
                <a:lnTo>
                  <a:pt x="13513" y="12633"/>
                </a:lnTo>
                <a:lnTo>
                  <a:pt x="13512" y="12554"/>
                </a:lnTo>
                <a:lnTo>
                  <a:pt x="13510" y="12475"/>
                </a:lnTo>
                <a:lnTo>
                  <a:pt x="13507" y="12397"/>
                </a:lnTo>
                <a:lnTo>
                  <a:pt x="13503" y="12320"/>
                </a:lnTo>
                <a:lnTo>
                  <a:pt x="13500" y="12243"/>
                </a:lnTo>
                <a:lnTo>
                  <a:pt x="13495" y="12167"/>
                </a:lnTo>
                <a:lnTo>
                  <a:pt x="13490" y="12091"/>
                </a:lnTo>
                <a:lnTo>
                  <a:pt x="13426" y="12049"/>
                </a:lnTo>
                <a:lnTo>
                  <a:pt x="13362" y="12006"/>
                </a:lnTo>
                <a:lnTo>
                  <a:pt x="13296" y="11963"/>
                </a:lnTo>
                <a:lnTo>
                  <a:pt x="13230" y="11920"/>
                </a:lnTo>
                <a:lnTo>
                  <a:pt x="13163" y="11878"/>
                </a:lnTo>
                <a:lnTo>
                  <a:pt x="13095" y="11838"/>
                </a:lnTo>
                <a:lnTo>
                  <a:pt x="13027" y="11796"/>
                </a:lnTo>
                <a:lnTo>
                  <a:pt x="12956" y="11755"/>
                </a:lnTo>
                <a:lnTo>
                  <a:pt x="12945" y="11749"/>
                </a:lnTo>
                <a:lnTo>
                  <a:pt x="12945" y="11749"/>
                </a:lnTo>
                <a:lnTo>
                  <a:pt x="12944" y="11749"/>
                </a:lnTo>
                <a:lnTo>
                  <a:pt x="12945" y="11748"/>
                </a:lnTo>
                <a:lnTo>
                  <a:pt x="12878" y="11710"/>
                </a:lnTo>
                <a:lnTo>
                  <a:pt x="12812" y="11673"/>
                </a:lnTo>
                <a:lnTo>
                  <a:pt x="12745" y="11637"/>
                </a:lnTo>
                <a:lnTo>
                  <a:pt x="12679" y="11601"/>
                </a:lnTo>
                <a:lnTo>
                  <a:pt x="12613" y="11567"/>
                </a:lnTo>
                <a:lnTo>
                  <a:pt x="12547" y="11533"/>
                </a:lnTo>
                <a:lnTo>
                  <a:pt x="12481" y="11500"/>
                </a:lnTo>
                <a:lnTo>
                  <a:pt x="12415" y="11468"/>
                </a:lnTo>
                <a:lnTo>
                  <a:pt x="12345" y="11502"/>
                </a:lnTo>
                <a:lnTo>
                  <a:pt x="12277" y="11535"/>
                </a:lnTo>
                <a:lnTo>
                  <a:pt x="12207" y="11571"/>
                </a:lnTo>
                <a:lnTo>
                  <a:pt x="12138" y="11608"/>
                </a:lnTo>
                <a:lnTo>
                  <a:pt x="12069" y="11644"/>
                </a:lnTo>
                <a:lnTo>
                  <a:pt x="11999" y="11683"/>
                </a:lnTo>
                <a:lnTo>
                  <a:pt x="11930" y="11722"/>
                </a:lnTo>
                <a:lnTo>
                  <a:pt x="11860" y="11761"/>
                </a:lnTo>
                <a:lnTo>
                  <a:pt x="11861" y="11762"/>
                </a:lnTo>
                <a:lnTo>
                  <a:pt x="11791" y="11802"/>
                </a:lnTo>
                <a:lnTo>
                  <a:pt x="11723" y="11843"/>
                </a:lnTo>
                <a:lnTo>
                  <a:pt x="11656" y="11884"/>
                </a:lnTo>
                <a:lnTo>
                  <a:pt x="11590" y="11924"/>
                </a:lnTo>
                <a:lnTo>
                  <a:pt x="11524" y="11966"/>
                </a:lnTo>
                <a:lnTo>
                  <a:pt x="11460" y="12008"/>
                </a:lnTo>
                <a:lnTo>
                  <a:pt x="11396" y="12051"/>
                </a:lnTo>
                <a:lnTo>
                  <a:pt x="11333" y="12093"/>
                </a:lnTo>
                <a:lnTo>
                  <a:pt x="11328" y="12169"/>
                </a:lnTo>
                <a:lnTo>
                  <a:pt x="11324" y="12244"/>
                </a:lnTo>
                <a:lnTo>
                  <a:pt x="11320" y="12322"/>
                </a:lnTo>
                <a:lnTo>
                  <a:pt x="11317" y="12398"/>
                </a:lnTo>
                <a:lnTo>
                  <a:pt x="11314" y="12476"/>
                </a:lnTo>
                <a:lnTo>
                  <a:pt x="11313" y="12554"/>
                </a:lnTo>
                <a:lnTo>
                  <a:pt x="11311" y="12633"/>
                </a:lnTo>
                <a:lnTo>
                  <a:pt x="11311" y="12713"/>
                </a:lnTo>
                <a:lnTo>
                  <a:pt x="11312" y="12792"/>
                </a:lnTo>
                <a:lnTo>
                  <a:pt x="11313" y="12873"/>
                </a:lnTo>
                <a:lnTo>
                  <a:pt x="11314" y="12952"/>
                </a:lnTo>
                <a:lnTo>
                  <a:pt x="11317" y="13030"/>
                </a:lnTo>
                <a:lnTo>
                  <a:pt x="11320" y="13109"/>
                </a:lnTo>
                <a:lnTo>
                  <a:pt x="11324" y="13186"/>
                </a:lnTo>
                <a:lnTo>
                  <a:pt x="11328" y="13264"/>
                </a:lnTo>
                <a:lnTo>
                  <a:pt x="11334" y="13340"/>
                </a:lnTo>
                <a:close/>
                <a:moveTo>
                  <a:pt x="12908" y="14180"/>
                </a:moveTo>
                <a:lnTo>
                  <a:pt x="12964" y="14202"/>
                </a:lnTo>
                <a:lnTo>
                  <a:pt x="13020" y="14223"/>
                </a:lnTo>
                <a:lnTo>
                  <a:pt x="13074" y="14244"/>
                </a:lnTo>
                <a:lnTo>
                  <a:pt x="13129" y="14264"/>
                </a:lnTo>
                <a:lnTo>
                  <a:pt x="13184" y="14283"/>
                </a:lnTo>
                <a:lnTo>
                  <a:pt x="13239" y="14302"/>
                </a:lnTo>
                <a:lnTo>
                  <a:pt x="13293" y="14319"/>
                </a:lnTo>
                <a:lnTo>
                  <a:pt x="13347" y="14336"/>
                </a:lnTo>
                <a:lnTo>
                  <a:pt x="13359" y="14281"/>
                </a:lnTo>
                <a:lnTo>
                  <a:pt x="13370" y="14225"/>
                </a:lnTo>
                <a:lnTo>
                  <a:pt x="13381" y="14169"/>
                </a:lnTo>
                <a:lnTo>
                  <a:pt x="13393" y="14111"/>
                </a:lnTo>
                <a:lnTo>
                  <a:pt x="13403" y="14054"/>
                </a:lnTo>
                <a:lnTo>
                  <a:pt x="13413" y="13995"/>
                </a:lnTo>
                <a:lnTo>
                  <a:pt x="13422" y="13936"/>
                </a:lnTo>
                <a:lnTo>
                  <a:pt x="13431" y="13877"/>
                </a:lnTo>
                <a:lnTo>
                  <a:pt x="13400" y="13895"/>
                </a:lnTo>
                <a:lnTo>
                  <a:pt x="13369" y="13915"/>
                </a:lnTo>
                <a:lnTo>
                  <a:pt x="13339" y="13934"/>
                </a:lnTo>
                <a:lnTo>
                  <a:pt x="13307" y="13952"/>
                </a:lnTo>
                <a:lnTo>
                  <a:pt x="13276" y="13972"/>
                </a:lnTo>
                <a:lnTo>
                  <a:pt x="13244" y="13990"/>
                </a:lnTo>
                <a:lnTo>
                  <a:pt x="13213" y="14008"/>
                </a:lnTo>
                <a:lnTo>
                  <a:pt x="13181" y="14028"/>
                </a:lnTo>
                <a:lnTo>
                  <a:pt x="13181" y="14028"/>
                </a:lnTo>
                <a:lnTo>
                  <a:pt x="13181" y="14028"/>
                </a:lnTo>
                <a:lnTo>
                  <a:pt x="13181" y="14028"/>
                </a:lnTo>
                <a:lnTo>
                  <a:pt x="13169" y="14035"/>
                </a:lnTo>
                <a:lnTo>
                  <a:pt x="13135" y="14053"/>
                </a:lnTo>
                <a:lnTo>
                  <a:pt x="13103" y="14071"/>
                </a:lnTo>
                <a:lnTo>
                  <a:pt x="13070" y="14091"/>
                </a:lnTo>
                <a:lnTo>
                  <a:pt x="13038" y="14109"/>
                </a:lnTo>
                <a:lnTo>
                  <a:pt x="13005" y="14126"/>
                </a:lnTo>
                <a:lnTo>
                  <a:pt x="12973" y="14145"/>
                </a:lnTo>
                <a:lnTo>
                  <a:pt x="12940" y="14162"/>
                </a:lnTo>
                <a:lnTo>
                  <a:pt x="12908" y="14180"/>
                </a:lnTo>
                <a:close/>
                <a:moveTo>
                  <a:pt x="14283" y="12717"/>
                </a:moveTo>
                <a:lnTo>
                  <a:pt x="14242" y="12678"/>
                </a:lnTo>
                <a:lnTo>
                  <a:pt x="14198" y="12640"/>
                </a:lnTo>
                <a:lnTo>
                  <a:pt x="14155" y="12602"/>
                </a:lnTo>
                <a:lnTo>
                  <a:pt x="14110" y="12564"/>
                </a:lnTo>
                <a:lnTo>
                  <a:pt x="14065" y="12525"/>
                </a:lnTo>
                <a:lnTo>
                  <a:pt x="14019" y="12488"/>
                </a:lnTo>
                <a:lnTo>
                  <a:pt x="13972" y="12449"/>
                </a:lnTo>
                <a:lnTo>
                  <a:pt x="13925" y="12411"/>
                </a:lnTo>
                <a:lnTo>
                  <a:pt x="13926" y="12449"/>
                </a:lnTo>
                <a:lnTo>
                  <a:pt x="13927" y="12486"/>
                </a:lnTo>
                <a:lnTo>
                  <a:pt x="13927" y="12523"/>
                </a:lnTo>
                <a:lnTo>
                  <a:pt x="13928" y="12561"/>
                </a:lnTo>
                <a:lnTo>
                  <a:pt x="13929" y="12599"/>
                </a:lnTo>
                <a:lnTo>
                  <a:pt x="13929" y="12636"/>
                </a:lnTo>
                <a:lnTo>
                  <a:pt x="13929" y="12674"/>
                </a:lnTo>
                <a:lnTo>
                  <a:pt x="13929" y="12713"/>
                </a:lnTo>
                <a:lnTo>
                  <a:pt x="13929" y="12751"/>
                </a:lnTo>
                <a:lnTo>
                  <a:pt x="13929" y="12790"/>
                </a:lnTo>
                <a:lnTo>
                  <a:pt x="13929" y="12829"/>
                </a:lnTo>
                <a:lnTo>
                  <a:pt x="13928" y="12869"/>
                </a:lnTo>
                <a:lnTo>
                  <a:pt x="13927" y="12907"/>
                </a:lnTo>
                <a:lnTo>
                  <a:pt x="13926" y="12946"/>
                </a:lnTo>
                <a:lnTo>
                  <a:pt x="13925" y="12984"/>
                </a:lnTo>
                <a:lnTo>
                  <a:pt x="13924" y="13022"/>
                </a:lnTo>
                <a:lnTo>
                  <a:pt x="13972" y="12985"/>
                </a:lnTo>
                <a:lnTo>
                  <a:pt x="14019" y="12946"/>
                </a:lnTo>
                <a:lnTo>
                  <a:pt x="14065" y="12908"/>
                </a:lnTo>
                <a:lnTo>
                  <a:pt x="14110" y="12870"/>
                </a:lnTo>
                <a:lnTo>
                  <a:pt x="14154" y="12832"/>
                </a:lnTo>
                <a:lnTo>
                  <a:pt x="14198" y="12793"/>
                </a:lnTo>
                <a:lnTo>
                  <a:pt x="14242" y="12755"/>
                </a:lnTo>
                <a:lnTo>
                  <a:pt x="14283" y="12717"/>
                </a:lnTo>
                <a:close/>
                <a:moveTo>
                  <a:pt x="11924" y="11250"/>
                </a:moveTo>
                <a:lnTo>
                  <a:pt x="11867" y="11228"/>
                </a:lnTo>
                <a:lnTo>
                  <a:pt x="11810" y="11206"/>
                </a:lnTo>
                <a:lnTo>
                  <a:pt x="11754" y="11185"/>
                </a:lnTo>
                <a:lnTo>
                  <a:pt x="11697" y="11164"/>
                </a:lnTo>
                <a:lnTo>
                  <a:pt x="11641" y="11145"/>
                </a:lnTo>
                <a:lnTo>
                  <a:pt x="11586" y="11126"/>
                </a:lnTo>
                <a:lnTo>
                  <a:pt x="11530" y="11107"/>
                </a:lnTo>
                <a:lnTo>
                  <a:pt x="11476" y="11090"/>
                </a:lnTo>
                <a:lnTo>
                  <a:pt x="11464" y="11146"/>
                </a:lnTo>
                <a:lnTo>
                  <a:pt x="11452" y="11203"/>
                </a:lnTo>
                <a:lnTo>
                  <a:pt x="11441" y="11260"/>
                </a:lnTo>
                <a:lnTo>
                  <a:pt x="11429" y="11318"/>
                </a:lnTo>
                <a:lnTo>
                  <a:pt x="11419" y="11377"/>
                </a:lnTo>
                <a:lnTo>
                  <a:pt x="11409" y="11437"/>
                </a:lnTo>
                <a:lnTo>
                  <a:pt x="11400" y="11498"/>
                </a:lnTo>
                <a:lnTo>
                  <a:pt x="11391" y="11558"/>
                </a:lnTo>
                <a:lnTo>
                  <a:pt x="11423" y="11538"/>
                </a:lnTo>
                <a:lnTo>
                  <a:pt x="11455" y="11518"/>
                </a:lnTo>
                <a:lnTo>
                  <a:pt x="11487" y="11499"/>
                </a:lnTo>
                <a:lnTo>
                  <a:pt x="11520" y="11479"/>
                </a:lnTo>
                <a:lnTo>
                  <a:pt x="11552" y="11459"/>
                </a:lnTo>
                <a:lnTo>
                  <a:pt x="11585" y="11439"/>
                </a:lnTo>
                <a:lnTo>
                  <a:pt x="11619" y="11420"/>
                </a:lnTo>
                <a:lnTo>
                  <a:pt x="11652" y="11401"/>
                </a:lnTo>
                <a:lnTo>
                  <a:pt x="11652" y="11401"/>
                </a:lnTo>
                <a:lnTo>
                  <a:pt x="11687" y="11381"/>
                </a:lnTo>
                <a:lnTo>
                  <a:pt x="11720" y="11362"/>
                </a:lnTo>
                <a:lnTo>
                  <a:pt x="11755" y="11343"/>
                </a:lnTo>
                <a:lnTo>
                  <a:pt x="11788" y="11324"/>
                </a:lnTo>
                <a:lnTo>
                  <a:pt x="11822" y="11305"/>
                </a:lnTo>
                <a:lnTo>
                  <a:pt x="11856" y="11287"/>
                </a:lnTo>
                <a:lnTo>
                  <a:pt x="11890" y="11268"/>
                </a:lnTo>
                <a:lnTo>
                  <a:pt x="11924" y="11250"/>
                </a:lnTo>
                <a:close/>
                <a:moveTo>
                  <a:pt x="11490" y="9115"/>
                </a:moveTo>
                <a:lnTo>
                  <a:pt x="11490" y="9115"/>
                </a:lnTo>
                <a:lnTo>
                  <a:pt x="11490" y="9115"/>
                </a:lnTo>
                <a:close/>
                <a:moveTo>
                  <a:pt x="1106" y="9112"/>
                </a:moveTo>
                <a:lnTo>
                  <a:pt x="1028" y="9234"/>
                </a:lnTo>
                <a:lnTo>
                  <a:pt x="954" y="9365"/>
                </a:lnTo>
                <a:lnTo>
                  <a:pt x="882" y="9501"/>
                </a:lnTo>
                <a:lnTo>
                  <a:pt x="815" y="9644"/>
                </a:lnTo>
                <a:lnTo>
                  <a:pt x="751" y="9791"/>
                </a:lnTo>
                <a:lnTo>
                  <a:pt x="691" y="9944"/>
                </a:lnTo>
                <a:lnTo>
                  <a:pt x="634" y="10101"/>
                </a:lnTo>
                <a:lnTo>
                  <a:pt x="580" y="10262"/>
                </a:lnTo>
                <a:lnTo>
                  <a:pt x="529" y="10425"/>
                </a:lnTo>
                <a:lnTo>
                  <a:pt x="481" y="10592"/>
                </a:lnTo>
                <a:lnTo>
                  <a:pt x="436" y="10760"/>
                </a:lnTo>
                <a:lnTo>
                  <a:pt x="394" y="10929"/>
                </a:lnTo>
                <a:lnTo>
                  <a:pt x="355" y="11100"/>
                </a:lnTo>
                <a:lnTo>
                  <a:pt x="318" y="11270"/>
                </a:lnTo>
                <a:lnTo>
                  <a:pt x="284" y="11440"/>
                </a:lnTo>
                <a:lnTo>
                  <a:pt x="252" y="11610"/>
                </a:lnTo>
                <a:lnTo>
                  <a:pt x="224" y="11777"/>
                </a:lnTo>
                <a:lnTo>
                  <a:pt x="196" y="11942"/>
                </a:lnTo>
                <a:lnTo>
                  <a:pt x="172" y="12104"/>
                </a:lnTo>
                <a:lnTo>
                  <a:pt x="148" y="12262"/>
                </a:lnTo>
                <a:lnTo>
                  <a:pt x="128" y="12417"/>
                </a:lnTo>
                <a:lnTo>
                  <a:pt x="110" y="12567"/>
                </a:lnTo>
                <a:lnTo>
                  <a:pt x="93" y="12713"/>
                </a:lnTo>
                <a:lnTo>
                  <a:pt x="77" y="12851"/>
                </a:lnTo>
                <a:lnTo>
                  <a:pt x="64" y="12985"/>
                </a:lnTo>
                <a:lnTo>
                  <a:pt x="52" y="13110"/>
                </a:lnTo>
                <a:lnTo>
                  <a:pt x="42" y="13229"/>
                </a:lnTo>
                <a:lnTo>
                  <a:pt x="33" y="13339"/>
                </a:lnTo>
                <a:lnTo>
                  <a:pt x="18" y="13533"/>
                </a:lnTo>
                <a:lnTo>
                  <a:pt x="9" y="13686"/>
                </a:lnTo>
                <a:lnTo>
                  <a:pt x="5" y="13756"/>
                </a:lnTo>
                <a:lnTo>
                  <a:pt x="0" y="13865"/>
                </a:lnTo>
                <a:lnTo>
                  <a:pt x="1" y="13933"/>
                </a:lnTo>
                <a:lnTo>
                  <a:pt x="4" y="13997"/>
                </a:lnTo>
                <a:lnTo>
                  <a:pt x="8" y="14058"/>
                </a:lnTo>
                <a:lnTo>
                  <a:pt x="14" y="14115"/>
                </a:lnTo>
                <a:lnTo>
                  <a:pt x="21" y="14168"/>
                </a:lnTo>
                <a:lnTo>
                  <a:pt x="31" y="14219"/>
                </a:lnTo>
                <a:lnTo>
                  <a:pt x="41" y="14266"/>
                </a:lnTo>
                <a:lnTo>
                  <a:pt x="52" y="14310"/>
                </a:lnTo>
                <a:lnTo>
                  <a:pt x="64" y="14351"/>
                </a:lnTo>
                <a:lnTo>
                  <a:pt x="77" y="14388"/>
                </a:lnTo>
                <a:lnTo>
                  <a:pt x="90" y="14423"/>
                </a:lnTo>
                <a:lnTo>
                  <a:pt x="105" y="14455"/>
                </a:lnTo>
                <a:lnTo>
                  <a:pt x="120" y="14485"/>
                </a:lnTo>
                <a:lnTo>
                  <a:pt x="135" y="14512"/>
                </a:lnTo>
                <a:lnTo>
                  <a:pt x="150" y="14537"/>
                </a:lnTo>
                <a:lnTo>
                  <a:pt x="166" y="14559"/>
                </a:lnTo>
                <a:lnTo>
                  <a:pt x="182" y="14580"/>
                </a:lnTo>
                <a:lnTo>
                  <a:pt x="197" y="14598"/>
                </a:lnTo>
                <a:lnTo>
                  <a:pt x="212" y="14613"/>
                </a:lnTo>
                <a:lnTo>
                  <a:pt x="227" y="14628"/>
                </a:lnTo>
                <a:lnTo>
                  <a:pt x="241" y="14641"/>
                </a:lnTo>
                <a:lnTo>
                  <a:pt x="255" y="14651"/>
                </a:lnTo>
                <a:lnTo>
                  <a:pt x="268" y="14660"/>
                </a:lnTo>
                <a:lnTo>
                  <a:pt x="281" y="14668"/>
                </a:lnTo>
                <a:lnTo>
                  <a:pt x="302" y="14681"/>
                </a:lnTo>
                <a:lnTo>
                  <a:pt x="318" y="14688"/>
                </a:lnTo>
                <a:lnTo>
                  <a:pt x="328" y="14692"/>
                </a:lnTo>
                <a:lnTo>
                  <a:pt x="332" y="14693"/>
                </a:lnTo>
                <a:lnTo>
                  <a:pt x="590" y="14803"/>
                </a:lnTo>
                <a:lnTo>
                  <a:pt x="853" y="14909"/>
                </a:lnTo>
                <a:lnTo>
                  <a:pt x="1120" y="15009"/>
                </a:lnTo>
                <a:lnTo>
                  <a:pt x="1394" y="15103"/>
                </a:lnTo>
                <a:lnTo>
                  <a:pt x="1671" y="15192"/>
                </a:lnTo>
                <a:lnTo>
                  <a:pt x="1954" y="15275"/>
                </a:lnTo>
                <a:lnTo>
                  <a:pt x="2240" y="15354"/>
                </a:lnTo>
                <a:lnTo>
                  <a:pt x="2531" y="15426"/>
                </a:lnTo>
                <a:lnTo>
                  <a:pt x="2823" y="15493"/>
                </a:lnTo>
                <a:lnTo>
                  <a:pt x="3121" y="15555"/>
                </a:lnTo>
                <a:lnTo>
                  <a:pt x="3421" y="15612"/>
                </a:lnTo>
                <a:lnTo>
                  <a:pt x="3723" y="15662"/>
                </a:lnTo>
                <a:lnTo>
                  <a:pt x="4028" y="15708"/>
                </a:lnTo>
                <a:lnTo>
                  <a:pt x="4336" y="15748"/>
                </a:lnTo>
                <a:lnTo>
                  <a:pt x="4645" y="15783"/>
                </a:lnTo>
                <a:lnTo>
                  <a:pt x="4956" y="15811"/>
                </a:lnTo>
                <a:lnTo>
                  <a:pt x="5268" y="15835"/>
                </a:lnTo>
                <a:lnTo>
                  <a:pt x="5582" y="15853"/>
                </a:lnTo>
                <a:lnTo>
                  <a:pt x="5895" y="15866"/>
                </a:lnTo>
                <a:lnTo>
                  <a:pt x="6210" y="15873"/>
                </a:lnTo>
                <a:lnTo>
                  <a:pt x="6524" y="15875"/>
                </a:lnTo>
                <a:lnTo>
                  <a:pt x="6839" y="15871"/>
                </a:lnTo>
                <a:lnTo>
                  <a:pt x="7153" y="15862"/>
                </a:lnTo>
                <a:lnTo>
                  <a:pt x="7467" y="15848"/>
                </a:lnTo>
                <a:lnTo>
                  <a:pt x="7780" y="15827"/>
                </a:lnTo>
                <a:lnTo>
                  <a:pt x="8092" y="15802"/>
                </a:lnTo>
                <a:lnTo>
                  <a:pt x="8402" y="15771"/>
                </a:lnTo>
                <a:lnTo>
                  <a:pt x="8711" y="15735"/>
                </a:lnTo>
                <a:lnTo>
                  <a:pt x="9017" y="15693"/>
                </a:lnTo>
                <a:lnTo>
                  <a:pt x="9322" y="15646"/>
                </a:lnTo>
                <a:lnTo>
                  <a:pt x="9623" y="15593"/>
                </a:lnTo>
                <a:lnTo>
                  <a:pt x="9922" y="15535"/>
                </a:lnTo>
                <a:lnTo>
                  <a:pt x="9611" y="15267"/>
                </a:lnTo>
                <a:lnTo>
                  <a:pt x="9591" y="15257"/>
                </a:lnTo>
                <a:lnTo>
                  <a:pt x="9553" y="15239"/>
                </a:lnTo>
                <a:lnTo>
                  <a:pt x="9526" y="15226"/>
                </a:lnTo>
                <a:lnTo>
                  <a:pt x="9497" y="15212"/>
                </a:lnTo>
                <a:lnTo>
                  <a:pt x="9464" y="15195"/>
                </a:lnTo>
                <a:lnTo>
                  <a:pt x="9428" y="15176"/>
                </a:lnTo>
                <a:lnTo>
                  <a:pt x="9390" y="15154"/>
                </a:lnTo>
                <a:lnTo>
                  <a:pt x="9349" y="15130"/>
                </a:lnTo>
                <a:lnTo>
                  <a:pt x="9308" y="15102"/>
                </a:lnTo>
                <a:lnTo>
                  <a:pt x="9265" y="15072"/>
                </a:lnTo>
                <a:lnTo>
                  <a:pt x="9221" y="15039"/>
                </a:lnTo>
                <a:lnTo>
                  <a:pt x="9178" y="15002"/>
                </a:lnTo>
                <a:lnTo>
                  <a:pt x="9134" y="14964"/>
                </a:lnTo>
                <a:lnTo>
                  <a:pt x="9091" y="14921"/>
                </a:lnTo>
                <a:lnTo>
                  <a:pt x="9049" y="14875"/>
                </a:lnTo>
                <a:lnTo>
                  <a:pt x="9009" y="14825"/>
                </a:lnTo>
                <a:lnTo>
                  <a:pt x="8970" y="14772"/>
                </a:lnTo>
                <a:lnTo>
                  <a:pt x="8935" y="14716"/>
                </a:lnTo>
                <a:lnTo>
                  <a:pt x="8901" y="14656"/>
                </a:lnTo>
                <a:lnTo>
                  <a:pt x="8870" y="14592"/>
                </a:lnTo>
                <a:lnTo>
                  <a:pt x="8844" y="14524"/>
                </a:lnTo>
                <a:lnTo>
                  <a:pt x="8822" y="14451"/>
                </a:lnTo>
                <a:lnTo>
                  <a:pt x="8803" y="14375"/>
                </a:lnTo>
                <a:lnTo>
                  <a:pt x="8791" y="14295"/>
                </a:lnTo>
                <a:lnTo>
                  <a:pt x="8783" y="14210"/>
                </a:lnTo>
                <a:lnTo>
                  <a:pt x="8781" y="14120"/>
                </a:lnTo>
                <a:lnTo>
                  <a:pt x="8786" y="14027"/>
                </a:lnTo>
                <a:lnTo>
                  <a:pt x="8797" y="13928"/>
                </a:lnTo>
                <a:lnTo>
                  <a:pt x="8815" y="13825"/>
                </a:lnTo>
                <a:lnTo>
                  <a:pt x="8841" y="13716"/>
                </a:lnTo>
                <a:lnTo>
                  <a:pt x="8849" y="13686"/>
                </a:lnTo>
                <a:lnTo>
                  <a:pt x="8858" y="13656"/>
                </a:lnTo>
                <a:lnTo>
                  <a:pt x="8867" y="13626"/>
                </a:lnTo>
                <a:lnTo>
                  <a:pt x="8878" y="13596"/>
                </a:lnTo>
                <a:lnTo>
                  <a:pt x="8899" y="13535"/>
                </a:lnTo>
                <a:lnTo>
                  <a:pt x="8923" y="13474"/>
                </a:lnTo>
                <a:lnTo>
                  <a:pt x="8950" y="13411"/>
                </a:lnTo>
                <a:lnTo>
                  <a:pt x="8978" y="13349"/>
                </a:lnTo>
                <a:lnTo>
                  <a:pt x="9010" y="13287"/>
                </a:lnTo>
                <a:lnTo>
                  <a:pt x="9042" y="13224"/>
                </a:lnTo>
                <a:lnTo>
                  <a:pt x="9078" y="13161"/>
                </a:lnTo>
                <a:lnTo>
                  <a:pt x="9116" y="13099"/>
                </a:lnTo>
                <a:lnTo>
                  <a:pt x="9154" y="13035"/>
                </a:lnTo>
                <a:lnTo>
                  <a:pt x="9196" y="12971"/>
                </a:lnTo>
                <a:lnTo>
                  <a:pt x="9240" y="12908"/>
                </a:lnTo>
                <a:lnTo>
                  <a:pt x="9285" y="12845"/>
                </a:lnTo>
                <a:lnTo>
                  <a:pt x="9333" y="12781"/>
                </a:lnTo>
                <a:lnTo>
                  <a:pt x="9383" y="12718"/>
                </a:lnTo>
                <a:lnTo>
                  <a:pt x="9339" y="12662"/>
                </a:lnTo>
                <a:lnTo>
                  <a:pt x="9296" y="12605"/>
                </a:lnTo>
                <a:lnTo>
                  <a:pt x="9254" y="12548"/>
                </a:lnTo>
                <a:lnTo>
                  <a:pt x="9213" y="12489"/>
                </a:lnTo>
                <a:lnTo>
                  <a:pt x="9173" y="12430"/>
                </a:lnTo>
                <a:lnTo>
                  <a:pt x="9135" y="12369"/>
                </a:lnTo>
                <a:lnTo>
                  <a:pt x="9097" y="12308"/>
                </a:lnTo>
                <a:lnTo>
                  <a:pt x="9062" y="12247"/>
                </a:lnTo>
                <a:lnTo>
                  <a:pt x="9027" y="12185"/>
                </a:lnTo>
                <a:lnTo>
                  <a:pt x="8996" y="12122"/>
                </a:lnTo>
                <a:lnTo>
                  <a:pt x="8965" y="12059"/>
                </a:lnTo>
                <a:lnTo>
                  <a:pt x="8936" y="11996"/>
                </a:lnTo>
                <a:lnTo>
                  <a:pt x="8909" y="11931"/>
                </a:lnTo>
                <a:lnTo>
                  <a:pt x="8885" y="11867"/>
                </a:lnTo>
                <a:lnTo>
                  <a:pt x="8862" y="11802"/>
                </a:lnTo>
                <a:lnTo>
                  <a:pt x="8843" y="11738"/>
                </a:lnTo>
                <a:lnTo>
                  <a:pt x="8826" y="11673"/>
                </a:lnTo>
                <a:lnTo>
                  <a:pt x="8810" y="11608"/>
                </a:lnTo>
                <a:lnTo>
                  <a:pt x="8799" y="11541"/>
                </a:lnTo>
                <a:lnTo>
                  <a:pt x="8790" y="11476"/>
                </a:lnTo>
                <a:lnTo>
                  <a:pt x="8783" y="11411"/>
                </a:lnTo>
                <a:lnTo>
                  <a:pt x="8780" y="11346"/>
                </a:lnTo>
                <a:lnTo>
                  <a:pt x="8780" y="11281"/>
                </a:lnTo>
                <a:lnTo>
                  <a:pt x="8783" y="11215"/>
                </a:lnTo>
                <a:lnTo>
                  <a:pt x="8790" y="11150"/>
                </a:lnTo>
                <a:lnTo>
                  <a:pt x="8799" y="11085"/>
                </a:lnTo>
                <a:lnTo>
                  <a:pt x="8814" y="11021"/>
                </a:lnTo>
                <a:lnTo>
                  <a:pt x="8831" y="10957"/>
                </a:lnTo>
                <a:lnTo>
                  <a:pt x="8851" y="10894"/>
                </a:lnTo>
                <a:lnTo>
                  <a:pt x="8877" y="10830"/>
                </a:lnTo>
                <a:lnTo>
                  <a:pt x="8906" y="10767"/>
                </a:lnTo>
                <a:lnTo>
                  <a:pt x="8939" y="10705"/>
                </a:lnTo>
                <a:lnTo>
                  <a:pt x="8975" y="10646"/>
                </a:lnTo>
                <a:lnTo>
                  <a:pt x="9015" y="10589"/>
                </a:lnTo>
                <a:lnTo>
                  <a:pt x="9057" y="10536"/>
                </a:lnTo>
                <a:lnTo>
                  <a:pt x="9101" y="10486"/>
                </a:lnTo>
                <a:lnTo>
                  <a:pt x="9148" y="10439"/>
                </a:lnTo>
                <a:lnTo>
                  <a:pt x="9197" y="10395"/>
                </a:lnTo>
                <a:lnTo>
                  <a:pt x="9248" y="10355"/>
                </a:lnTo>
                <a:lnTo>
                  <a:pt x="9301" y="10317"/>
                </a:lnTo>
                <a:lnTo>
                  <a:pt x="9355" y="10281"/>
                </a:lnTo>
                <a:lnTo>
                  <a:pt x="9411" y="10249"/>
                </a:lnTo>
                <a:lnTo>
                  <a:pt x="9470" y="10219"/>
                </a:lnTo>
                <a:lnTo>
                  <a:pt x="9529" y="10192"/>
                </a:lnTo>
                <a:lnTo>
                  <a:pt x="9591" y="10167"/>
                </a:lnTo>
                <a:lnTo>
                  <a:pt x="9653" y="10145"/>
                </a:lnTo>
                <a:lnTo>
                  <a:pt x="9717" y="10125"/>
                </a:lnTo>
                <a:lnTo>
                  <a:pt x="9783" y="10107"/>
                </a:lnTo>
                <a:lnTo>
                  <a:pt x="9850" y="10092"/>
                </a:lnTo>
                <a:lnTo>
                  <a:pt x="9917" y="10079"/>
                </a:lnTo>
                <a:lnTo>
                  <a:pt x="9985" y="10067"/>
                </a:lnTo>
                <a:lnTo>
                  <a:pt x="10053" y="10058"/>
                </a:lnTo>
                <a:lnTo>
                  <a:pt x="10123" y="10051"/>
                </a:lnTo>
                <a:lnTo>
                  <a:pt x="10192" y="10046"/>
                </a:lnTo>
                <a:lnTo>
                  <a:pt x="10263" y="10043"/>
                </a:lnTo>
                <a:lnTo>
                  <a:pt x="10333" y="10041"/>
                </a:lnTo>
                <a:lnTo>
                  <a:pt x="10405" y="10042"/>
                </a:lnTo>
                <a:lnTo>
                  <a:pt x="10476" y="10043"/>
                </a:lnTo>
                <a:lnTo>
                  <a:pt x="10547" y="10047"/>
                </a:lnTo>
                <a:lnTo>
                  <a:pt x="10618" y="10051"/>
                </a:lnTo>
                <a:lnTo>
                  <a:pt x="10688" y="10057"/>
                </a:lnTo>
                <a:lnTo>
                  <a:pt x="10759" y="10065"/>
                </a:lnTo>
                <a:lnTo>
                  <a:pt x="10829" y="10075"/>
                </a:lnTo>
                <a:lnTo>
                  <a:pt x="10899" y="10084"/>
                </a:lnTo>
                <a:lnTo>
                  <a:pt x="11489" y="9114"/>
                </a:lnTo>
                <a:lnTo>
                  <a:pt x="11513" y="9092"/>
                </a:lnTo>
                <a:lnTo>
                  <a:pt x="11537" y="9069"/>
                </a:lnTo>
                <a:lnTo>
                  <a:pt x="11561" y="9047"/>
                </a:lnTo>
                <a:lnTo>
                  <a:pt x="11585" y="9025"/>
                </a:lnTo>
                <a:lnTo>
                  <a:pt x="11609" y="9005"/>
                </a:lnTo>
                <a:lnTo>
                  <a:pt x="11634" y="8985"/>
                </a:lnTo>
                <a:lnTo>
                  <a:pt x="11658" y="8965"/>
                </a:lnTo>
                <a:lnTo>
                  <a:pt x="11684" y="8947"/>
                </a:lnTo>
                <a:lnTo>
                  <a:pt x="11604" y="8880"/>
                </a:lnTo>
                <a:lnTo>
                  <a:pt x="11518" y="8816"/>
                </a:lnTo>
                <a:lnTo>
                  <a:pt x="11424" y="8754"/>
                </a:lnTo>
                <a:lnTo>
                  <a:pt x="11325" y="8693"/>
                </a:lnTo>
                <a:lnTo>
                  <a:pt x="11219" y="8634"/>
                </a:lnTo>
                <a:lnTo>
                  <a:pt x="11108" y="8577"/>
                </a:lnTo>
                <a:lnTo>
                  <a:pt x="10992" y="8522"/>
                </a:lnTo>
                <a:lnTo>
                  <a:pt x="10873" y="8468"/>
                </a:lnTo>
                <a:lnTo>
                  <a:pt x="10750" y="8416"/>
                </a:lnTo>
                <a:lnTo>
                  <a:pt x="10625" y="8364"/>
                </a:lnTo>
                <a:lnTo>
                  <a:pt x="10497" y="8314"/>
                </a:lnTo>
                <a:lnTo>
                  <a:pt x="10369" y="8265"/>
                </a:lnTo>
                <a:lnTo>
                  <a:pt x="10109" y="8166"/>
                </a:lnTo>
                <a:lnTo>
                  <a:pt x="9852" y="8070"/>
                </a:lnTo>
                <a:lnTo>
                  <a:pt x="9724" y="8021"/>
                </a:lnTo>
                <a:lnTo>
                  <a:pt x="9599" y="7973"/>
                </a:lnTo>
                <a:lnTo>
                  <a:pt x="9477" y="7924"/>
                </a:lnTo>
                <a:lnTo>
                  <a:pt x="9360" y="7876"/>
                </a:lnTo>
                <a:lnTo>
                  <a:pt x="9246" y="7827"/>
                </a:lnTo>
                <a:lnTo>
                  <a:pt x="9136" y="7776"/>
                </a:lnTo>
                <a:lnTo>
                  <a:pt x="9032" y="7725"/>
                </a:lnTo>
                <a:lnTo>
                  <a:pt x="8934" y="7672"/>
                </a:lnTo>
                <a:lnTo>
                  <a:pt x="8842" y="7619"/>
                </a:lnTo>
                <a:lnTo>
                  <a:pt x="8758" y="7564"/>
                </a:lnTo>
                <a:lnTo>
                  <a:pt x="8681" y="7508"/>
                </a:lnTo>
                <a:lnTo>
                  <a:pt x="8613" y="7450"/>
                </a:lnTo>
                <a:lnTo>
                  <a:pt x="8554" y="7390"/>
                </a:lnTo>
                <a:lnTo>
                  <a:pt x="8504" y="7328"/>
                </a:lnTo>
                <a:lnTo>
                  <a:pt x="8466" y="7263"/>
                </a:lnTo>
                <a:lnTo>
                  <a:pt x="8437" y="7197"/>
                </a:lnTo>
                <a:lnTo>
                  <a:pt x="8436" y="7202"/>
                </a:lnTo>
                <a:lnTo>
                  <a:pt x="8432" y="7192"/>
                </a:lnTo>
                <a:lnTo>
                  <a:pt x="6470" y="11277"/>
                </a:lnTo>
                <a:lnTo>
                  <a:pt x="4507" y="7192"/>
                </a:lnTo>
                <a:lnTo>
                  <a:pt x="4503" y="7202"/>
                </a:lnTo>
                <a:lnTo>
                  <a:pt x="4502" y="7197"/>
                </a:lnTo>
                <a:lnTo>
                  <a:pt x="4492" y="7224"/>
                </a:lnTo>
                <a:lnTo>
                  <a:pt x="4478" y="7251"/>
                </a:lnTo>
                <a:lnTo>
                  <a:pt x="4462" y="7279"/>
                </a:lnTo>
                <a:lnTo>
                  <a:pt x="4444" y="7306"/>
                </a:lnTo>
                <a:lnTo>
                  <a:pt x="4422" y="7334"/>
                </a:lnTo>
                <a:lnTo>
                  <a:pt x="4398" y="7361"/>
                </a:lnTo>
                <a:lnTo>
                  <a:pt x="4372" y="7389"/>
                </a:lnTo>
                <a:lnTo>
                  <a:pt x="4344" y="7417"/>
                </a:lnTo>
                <a:lnTo>
                  <a:pt x="4314" y="7445"/>
                </a:lnTo>
                <a:lnTo>
                  <a:pt x="4281" y="7472"/>
                </a:lnTo>
                <a:lnTo>
                  <a:pt x="4248" y="7500"/>
                </a:lnTo>
                <a:lnTo>
                  <a:pt x="4212" y="7527"/>
                </a:lnTo>
                <a:lnTo>
                  <a:pt x="4175" y="7554"/>
                </a:lnTo>
                <a:lnTo>
                  <a:pt x="4137" y="7581"/>
                </a:lnTo>
                <a:lnTo>
                  <a:pt x="4097" y="7608"/>
                </a:lnTo>
                <a:lnTo>
                  <a:pt x="4057" y="7633"/>
                </a:lnTo>
                <a:lnTo>
                  <a:pt x="4015" y="7660"/>
                </a:lnTo>
                <a:lnTo>
                  <a:pt x="3972" y="7685"/>
                </a:lnTo>
                <a:lnTo>
                  <a:pt x="3929" y="7709"/>
                </a:lnTo>
                <a:lnTo>
                  <a:pt x="3886" y="7734"/>
                </a:lnTo>
                <a:lnTo>
                  <a:pt x="3841" y="7757"/>
                </a:lnTo>
                <a:lnTo>
                  <a:pt x="3797" y="7781"/>
                </a:lnTo>
                <a:lnTo>
                  <a:pt x="3753" y="7803"/>
                </a:lnTo>
                <a:lnTo>
                  <a:pt x="3708" y="7825"/>
                </a:lnTo>
                <a:lnTo>
                  <a:pt x="3663" y="7846"/>
                </a:lnTo>
                <a:lnTo>
                  <a:pt x="3618" y="7865"/>
                </a:lnTo>
                <a:lnTo>
                  <a:pt x="3575" y="7885"/>
                </a:lnTo>
                <a:lnTo>
                  <a:pt x="3531" y="7903"/>
                </a:lnTo>
                <a:lnTo>
                  <a:pt x="3488" y="7921"/>
                </a:lnTo>
                <a:lnTo>
                  <a:pt x="3446" y="7938"/>
                </a:lnTo>
                <a:lnTo>
                  <a:pt x="3405" y="7953"/>
                </a:lnTo>
                <a:lnTo>
                  <a:pt x="3364" y="7967"/>
                </a:lnTo>
                <a:lnTo>
                  <a:pt x="2063" y="8469"/>
                </a:lnTo>
                <a:lnTo>
                  <a:pt x="2020" y="8481"/>
                </a:lnTo>
                <a:lnTo>
                  <a:pt x="1977" y="8494"/>
                </a:lnTo>
                <a:lnTo>
                  <a:pt x="1936" y="8509"/>
                </a:lnTo>
                <a:lnTo>
                  <a:pt x="1893" y="8526"/>
                </a:lnTo>
                <a:lnTo>
                  <a:pt x="1850" y="8545"/>
                </a:lnTo>
                <a:lnTo>
                  <a:pt x="1809" y="8565"/>
                </a:lnTo>
                <a:lnTo>
                  <a:pt x="1767" y="8588"/>
                </a:lnTo>
                <a:lnTo>
                  <a:pt x="1726" y="8610"/>
                </a:lnTo>
                <a:lnTo>
                  <a:pt x="1686" y="8634"/>
                </a:lnTo>
                <a:lnTo>
                  <a:pt x="1645" y="8659"/>
                </a:lnTo>
                <a:lnTo>
                  <a:pt x="1606" y="8684"/>
                </a:lnTo>
                <a:lnTo>
                  <a:pt x="1568" y="8711"/>
                </a:lnTo>
                <a:lnTo>
                  <a:pt x="1530" y="8737"/>
                </a:lnTo>
                <a:lnTo>
                  <a:pt x="1493" y="8764"/>
                </a:lnTo>
                <a:lnTo>
                  <a:pt x="1458" y="8791"/>
                </a:lnTo>
                <a:lnTo>
                  <a:pt x="1423" y="8818"/>
                </a:lnTo>
                <a:lnTo>
                  <a:pt x="1391" y="8844"/>
                </a:lnTo>
                <a:lnTo>
                  <a:pt x="1359" y="8871"/>
                </a:lnTo>
                <a:lnTo>
                  <a:pt x="1329" y="8896"/>
                </a:lnTo>
                <a:lnTo>
                  <a:pt x="1300" y="8922"/>
                </a:lnTo>
                <a:lnTo>
                  <a:pt x="1247" y="8969"/>
                </a:lnTo>
                <a:lnTo>
                  <a:pt x="1202" y="9012"/>
                </a:lnTo>
                <a:lnTo>
                  <a:pt x="1164" y="9049"/>
                </a:lnTo>
                <a:lnTo>
                  <a:pt x="1136" y="9079"/>
                </a:lnTo>
                <a:lnTo>
                  <a:pt x="1115" y="9101"/>
                </a:lnTo>
                <a:lnTo>
                  <a:pt x="1106" y="9112"/>
                </a:lnTo>
                <a:close/>
                <a:moveTo>
                  <a:pt x="5230" y="2816"/>
                </a:moveTo>
                <a:lnTo>
                  <a:pt x="5262" y="2816"/>
                </a:lnTo>
                <a:lnTo>
                  <a:pt x="5295" y="2818"/>
                </a:lnTo>
                <a:lnTo>
                  <a:pt x="5327" y="2821"/>
                </a:lnTo>
                <a:lnTo>
                  <a:pt x="5359" y="2825"/>
                </a:lnTo>
                <a:lnTo>
                  <a:pt x="5390" y="2831"/>
                </a:lnTo>
                <a:lnTo>
                  <a:pt x="5422" y="2837"/>
                </a:lnTo>
                <a:lnTo>
                  <a:pt x="5452" y="2844"/>
                </a:lnTo>
                <a:lnTo>
                  <a:pt x="5484" y="2852"/>
                </a:lnTo>
                <a:lnTo>
                  <a:pt x="5513" y="2861"/>
                </a:lnTo>
                <a:lnTo>
                  <a:pt x="5544" y="2871"/>
                </a:lnTo>
                <a:lnTo>
                  <a:pt x="5573" y="2883"/>
                </a:lnTo>
                <a:lnTo>
                  <a:pt x="5602" y="2895"/>
                </a:lnTo>
                <a:lnTo>
                  <a:pt x="5630" y="2907"/>
                </a:lnTo>
                <a:lnTo>
                  <a:pt x="5659" y="2921"/>
                </a:lnTo>
                <a:lnTo>
                  <a:pt x="5687" y="2935"/>
                </a:lnTo>
                <a:lnTo>
                  <a:pt x="5714" y="2950"/>
                </a:lnTo>
                <a:lnTo>
                  <a:pt x="5741" y="2966"/>
                </a:lnTo>
                <a:lnTo>
                  <a:pt x="5768" y="2982"/>
                </a:lnTo>
                <a:lnTo>
                  <a:pt x="5793" y="3000"/>
                </a:lnTo>
                <a:lnTo>
                  <a:pt x="5818" y="3017"/>
                </a:lnTo>
                <a:lnTo>
                  <a:pt x="5843" y="3035"/>
                </a:lnTo>
                <a:lnTo>
                  <a:pt x="5867" y="3054"/>
                </a:lnTo>
                <a:lnTo>
                  <a:pt x="5891" y="3073"/>
                </a:lnTo>
                <a:lnTo>
                  <a:pt x="5914" y="3093"/>
                </a:lnTo>
                <a:lnTo>
                  <a:pt x="5936" y="3113"/>
                </a:lnTo>
                <a:lnTo>
                  <a:pt x="5958" y="3134"/>
                </a:lnTo>
                <a:lnTo>
                  <a:pt x="5979" y="3154"/>
                </a:lnTo>
                <a:lnTo>
                  <a:pt x="5999" y="3176"/>
                </a:lnTo>
                <a:lnTo>
                  <a:pt x="6019" y="3197"/>
                </a:lnTo>
                <a:lnTo>
                  <a:pt x="6038" y="3220"/>
                </a:lnTo>
                <a:lnTo>
                  <a:pt x="6056" y="3241"/>
                </a:lnTo>
                <a:lnTo>
                  <a:pt x="6074" y="3263"/>
                </a:lnTo>
                <a:lnTo>
                  <a:pt x="6916" y="3263"/>
                </a:lnTo>
                <a:lnTo>
                  <a:pt x="6934" y="3241"/>
                </a:lnTo>
                <a:lnTo>
                  <a:pt x="6952" y="3220"/>
                </a:lnTo>
                <a:lnTo>
                  <a:pt x="6971" y="3197"/>
                </a:lnTo>
                <a:lnTo>
                  <a:pt x="6992" y="3176"/>
                </a:lnTo>
                <a:lnTo>
                  <a:pt x="7012" y="3154"/>
                </a:lnTo>
                <a:lnTo>
                  <a:pt x="7033" y="3134"/>
                </a:lnTo>
                <a:lnTo>
                  <a:pt x="7055" y="3113"/>
                </a:lnTo>
                <a:lnTo>
                  <a:pt x="7077" y="3093"/>
                </a:lnTo>
                <a:lnTo>
                  <a:pt x="7100" y="3073"/>
                </a:lnTo>
                <a:lnTo>
                  <a:pt x="7124" y="3054"/>
                </a:lnTo>
                <a:lnTo>
                  <a:pt x="7147" y="3035"/>
                </a:lnTo>
                <a:lnTo>
                  <a:pt x="7173" y="3017"/>
                </a:lnTo>
                <a:lnTo>
                  <a:pt x="7198" y="3000"/>
                </a:lnTo>
                <a:lnTo>
                  <a:pt x="7223" y="2982"/>
                </a:lnTo>
                <a:lnTo>
                  <a:pt x="7250" y="2966"/>
                </a:lnTo>
                <a:lnTo>
                  <a:pt x="7276" y="2950"/>
                </a:lnTo>
                <a:lnTo>
                  <a:pt x="7304" y="2935"/>
                </a:lnTo>
                <a:lnTo>
                  <a:pt x="7331" y="2921"/>
                </a:lnTo>
                <a:lnTo>
                  <a:pt x="7360" y="2907"/>
                </a:lnTo>
                <a:lnTo>
                  <a:pt x="7388" y="2895"/>
                </a:lnTo>
                <a:lnTo>
                  <a:pt x="7418" y="2883"/>
                </a:lnTo>
                <a:lnTo>
                  <a:pt x="7447" y="2871"/>
                </a:lnTo>
                <a:lnTo>
                  <a:pt x="7477" y="2861"/>
                </a:lnTo>
                <a:lnTo>
                  <a:pt x="7507" y="2852"/>
                </a:lnTo>
                <a:lnTo>
                  <a:pt x="7538" y="2844"/>
                </a:lnTo>
                <a:lnTo>
                  <a:pt x="7569" y="2837"/>
                </a:lnTo>
                <a:lnTo>
                  <a:pt x="7600" y="2831"/>
                </a:lnTo>
                <a:lnTo>
                  <a:pt x="7631" y="2825"/>
                </a:lnTo>
                <a:lnTo>
                  <a:pt x="7664" y="2821"/>
                </a:lnTo>
                <a:lnTo>
                  <a:pt x="7695" y="2818"/>
                </a:lnTo>
                <a:lnTo>
                  <a:pt x="7728" y="2816"/>
                </a:lnTo>
                <a:lnTo>
                  <a:pt x="7761" y="2816"/>
                </a:lnTo>
                <a:lnTo>
                  <a:pt x="7794" y="2816"/>
                </a:lnTo>
                <a:lnTo>
                  <a:pt x="7826" y="2818"/>
                </a:lnTo>
                <a:lnTo>
                  <a:pt x="7858" y="2821"/>
                </a:lnTo>
                <a:lnTo>
                  <a:pt x="7890" y="2825"/>
                </a:lnTo>
                <a:lnTo>
                  <a:pt x="7922" y="2831"/>
                </a:lnTo>
                <a:lnTo>
                  <a:pt x="7953" y="2837"/>
                </a:lnTo>
                <a:lnTo>
                  <a:pt x="7984" y="2844"/>
                </a:lnTo>
                <a:lnTo>
                  <a:pt x="8014" y="2852"/>
                </a:lnTo>
                <a:lnTo>
                  <a:pt x="8045" y="2861"/>
                </a:lnTo>
                <a:lnTo>
                  <a:pt x="8075" y="2871"/>
                </a:lnTo>
                <a:lnTo>
                  <a:pt x="8105" y="2883"/>
                </a:lnTo>
                <a:lnTo>
                  <a:pt x="8133" y="2895"/>
                </a:lnTo>
                <a:lnTo>
                  <a:pt x="8162" y="2907"/>
                </a:lnTo>
                <a:lnTo>
                  <a:pt x="8190" y="2921"/>
                </a:lnTo>
                <a:lnTo>
                  <a:pt x="8218" y="2935"/>
                </a:lnTo>
                <a:lnTo>
                  <a:pt x="8245" y="2950"/>
                </a:lnTo>
                <a:lnTo>
                  <a:pt x="8273" y="2966"/>
                </a:lnTo>
                <a:lnTo>
                  <a:pt x="8299" y="2982"/>
                </a:lnTo>
                <a:lnTo>
                  <a:pt x="8325" y="3000"/>
                </a:lnTo>
                <a:lnTo>
                  <a:pt x="8350" y="3017"/>
                </a:lnTo>
                <a:lnTo>
                  <a:pt x="8374" y="3035"/>
                </a:lnTo>
                <a:lnTo>
                  <a:pt x="8399" y="3054"/>
                </a:lnTo>
                <a:lnTo>
                  <a:pt x="8422" y="3073"/>
                </a:lnTo>
                <a:lnTo>
                  <a:pt x="8446" y="3093"/>
                </a:lnTo>
                <a:lnTo>
                  <a:pt x="8468" y="3113"/>
                </a:lnTo>
                <a:lnTo>
                  <a:pt x="8489" y="3134"/>
                </a:lnTo>
                <a:lnTo>
                  <a:pt x="8511" y="3154"/>
                </a:lnTo>
                <a:lnTo>
                  <a:pt x="8531" y="3176"/>
                </a:lnTo>
                <a:lnTo>
                  <a:pt x="8550" y="3197"/>
                </a:lnTo>
                <a:lnTo>
                  <a:pt x="8570" y="3220"/>
                </a:lnTo>
                <a:lnTo>
                  <a:pt x="8588" y="3241"/>
                </a:lnTo>
                <a:lnTo>
                  <a:pt x="8605" y="3263"/>
                </a:lnTo>
                <a:lnTo>
                  <a:pt x="8921" y="3263"/>
                </a:lnTo>
                <a:lnTo>
                  <a:pt x="8935" y="3264"/>
                </a:lnTo>
                <a:lnTo>
                  <a:pt x="8948" y="3267"/>
                </a:lnTo>
                <a:lnTo>
                  <a:pt x="8961" y="3270"/>
                </a:lnTo>
                <a:lnTo>
                  <a:pt x="8974" y="3274"/>
                </a:lnTo>
                <a:lnTo>
                  <a:pt x="8986" y="3279"/>
                </a:lnTo>
                <a:lnTo>
                  <a:pt x="8998" y="3285"/>
                </a:lnTo>
                <a:lnTo>
                  <a:pt x="9010" y="3292"/>
                </a:lnTo>
                <a:lnTo>
                  <a:pt x="9020" y="3300"/>
                </a:lnTo>
                <a:lnTo>
                  <a:pt x="9031" y="3309"/>
                </a:lnTo>
                <a:lnTo>
                  <a:pt x="9040" y="3318"/>
                </a:lnTo>
                <a:lnTo>
                  <a:pt x="9049" y="3329"/>
                </a:lnTo>
                <a:lnTo>
                  <a:pt x="9059" y="3340"/>
                </a:lnTo>
                <a:lnTo>
                  <a:pt x="9066" y="3351"/>
                </a:lnTo>
                <a:lnTo>
                  <a:pt x="9073" y="3363"/>
                </a:lnTo>
                <a:lnTo>
                  <a:pt x="9079" y="3376"/>
                </a:lnTo>
                <a:lnTo>
                  <a:pt x="9085" y="3389"/>
                </a:lnTo>
                <a:lnTo>
                  <a:pt x="9096" y="3346"/>
                </a:lnTo>
                <a:lnTo>
                  <a:pt x="9107" y="3302"/>
                </a:lnTo>
                <a:lnTo>
                  <a:pt x="9118" y="3259"/>
                </a:lnTo>
                <a:lnTo>
                  <a:pt x="9127" y="3216"/>
                </a:lnTo>
                <a:lnTo>
                  <a:pt x="9136" y="3172"/>
                </a:lnTo>
                <a:lnTo>
                  <a:pt x="9143" y="3127"/>
                </a:lnTo>
                <a:lnTo>
                  <a:pt x="9151" y="3083"/>
                </a:lnTo>
                <a:lnTo>
                  <a:pt x="9157" y="3038"/>
                </a:lnTo>
                <a:lnTo>
                  <a:pt x="9163" y="2994"/>
                </a:lnTo>
                <a:lnTo>
                  <a:pt x="9168" y="2948"/>
                </a:lnTo>
                <a:lnTo>
                  <a:pt x="9172" y="2903"/>
                </a:lnTo>
                <a:lnTo>
                  <a:pt x="9175" y="2857"/>
                </a:lnTo>
                <a:lnTo>
                  <a:pt x="9179" y="2811"/>
                </a:lnTo>
                <a:lnTo>
                  <a:pt x="9181" y="2765"/>
                </a:lnTo>
                <a:lnTo>
                  <a:pt x="9182" y="2720"/>
                </a:lnTo>
                <a:lnTo>
                  <a:pt x="9182" y="2673"/>
                </a:lnTo>
                <a:lnTo>
                  <a:pt x="9182" y="2621"/>
                </a:lnTo>
                <a:lnTo>
                  <a:pt x="9180" y="2570"/>
                </a:lnTo>
                <a:lnTo>
                  <a:pt x="9178" y="2519"/>
                </a:lnTo>
                <a:lnTo>
                  <a:pt x="9174" y="2468"/>
                </a:lnTo>
                <a:lnTo>
                  <a:pt x="9170" y="2417"/>
                </a:lnTo>
                <a:lnTo>
                  <a:pt x="9164" y="2366"/>
                </a:lnTo>
                <a:lnTo>
                  <a:pt x="9158" y="2316"/>
                </a:lnTo>
                <a:lnTo>
                  <a:pt x="9151" y="2266"/>
                </a:lnTo>
                <a:lnTo>
                  <a:pt x="9143" y="2217"/>
                </a:lnTo>
                <a:lnTo>
                  <a:pt x="9135" y="2169"/>
                </a:lnTo>
                <a:lnTo>
                  <a:pt x="9125" y="2120"/>
                </a:lnTo>
                <a:lnTo>
                  <a:pt x="9114" y="2071"/>
                </a:lnTo>
                <a:lnTo>
                  <a:pt x="9102" y="2023"/>
                </a:lnTo>
                <a:lnTo>
                  <a:pt x="9090" y="1975"/>
                </a:lnTo>
                <a:lnTo>
                  <a:pt x="9077" y="1927"/>
                </a:lnTo>
                <a:lnTo>
                  <a:pt x="9063" y="1880"/>
                </a:lnTo>
                <a:lnTo>
                  <a:pt x="9053" y="1824"/>
                </a:lnTo>
                <a:lnTo>
                  <a:pt x="9044" y="1768"/>
                </a:lnTo>
                <a:lnTo>
                  <a:pt x="9034" y="1711"/>
                </a:lnTo>
                <a:lnTo>
                  <a:pt x="9023" y="1654"/>
                </a:lnTo>
                <a:lnTo>
                  <a:pt x="9011" y="1597"/>
                </a:lnTo>
                <a:lnTo>
                  <a:pt x="8999" y="1540"/>
                </a:lnTo>
                <a:lnTo>
                  <a:pt x="8984" y="1483"/>
                </a:lnTo>
                <a:lnTo>
                  <a:pt x="8970" y="1426"/>
                </a:lnTo>
                <a:lnTo>
                  <a:pt x="8955" y="1369"/>
                </a:lnTo>
                <a:lnTo>
                  <a:pt x="8939" y="1313"/>
                </a:lnTo>
                <a:lnTo>
                  <a:pt x="8922" y="1258"/>
                </a:lnTo>
                <a:lnTo>
                  <a:pt x="8904" y="1203"/>
                </a:lnTo>
                <a:lnTo>
                  <a:pt x="8885" y="1149"/>
                </a:lnTo>
                <a:lnTo>
                  <a:pt x="8864" y="1096"/>
                </a:lnTo>
                <a:lnTo>
                  <a:pt x="8844" y="1044"/>
                </a:lnTo>
                <a:lnTo>
                  <a:pt x="8822" y="994"/>
                </a:lnTo>
                <a:lnTo>
                  <a:pt x="8798" y="945"/>
                </a:lnTo>
                <a:lnTo>
                  <a:pt x="8774" y="897"/>
                </a:lnTo>
                <a:lnTo>
                  <a:pt x="8748" y="853"/>
                </a:lnTo>
                <a:lnTo>
                  <a:pt x="8721" y="809"/>
                </a:lnTo>
                <a:lnTo>
                  <a:pt x="8694" y="767"/>
                </a:lnTo>
                <a:lnTo>
                  <a:pt x="8664" y="727"/>
                </a:lnTo>
                <a:lnTo>
                  <a:pt x="8634" y="691"/>
                </a:lnTo>
                <a:lnTo>
                  <a:pt x="8602" y="656"/>
                </a:lnTo>
                <a:lnTo>
                  <a:pt x="8569" y="623"/>
                </a:lnTo>
                <a:lnTo>
                  <a:pt x="8534" y="594"/>
                </a:lnTo>
                <a:lnTo>
                  <a:pt x="8498" y="567"/>
                </a:lnTo>
                <a:lnTo>
                  <a:pt x="8462" y="544"/>
                </a:lnTo>
                <a:lnTo>
                  <a:pt x="8423" y="524"/>
                </a:lnTo>
                <a:lnTo>
                  <a:pt x="8382" y="506"/>
                </a:lnTo>
                <a:lnTo>
                  <a:pt x="8341" y="492"/>
                </a:lnTo>
                <a:lnTo>
                  <a:pt x="8298" y="482"/>
                </a:lnTo>
                <a:lnTo>
                  <a:pt x="8259" y="476"/>
                </a:lnTo>
                <a:lnTo>
                  <a:pt x="8221" y="470"/>
                </a:lnTo>
                <a:lnTo>
                  <a:pt x="8184" y="465"/>
                </a:lnTo>
                <a:lnTo>
                  <a:pt x="8148" y="462"/>
                </a:lnTo>
                <a:lnTo>
                  <a:pt x="8113" y="460"/>
                </a:lnTo>
                <a:lnTo>
                  <a:pt x="8080" y="460"/>
                </a:lnTo>
                <a:lnTo>
                  <a:pt x="8046" y="461"/>
                </a:lnTo>
                <a:lnTo>
                  <a:pt x="8014" y="462"/>
                </a:lnTo>
                <a:lnTo>
                  <a:pt x="7974" y="436"/>
                </a:lnTo>
                <a:lnTo>
                  <a:pt x="7933" y="409"/>
                </a:lnTo>
                <a:lnTo>
                  <a:pt x="7892" y="384"/>
                </a:lnTo>
                <a:lnTo>
                  <a:pt x="7850" y="359"/>
                </a:lnTo>
                <a:lnTo>
                  <a:pt x="7808" y="335"/>
                </a:lnTo>
                <a:lnTo>
                  <a:pt x="7765" y="312"/>
                </a:lnTo>
                <a:lnTo>
                  <a:pt x="7722" y="289"/>
                </a:lnTo>
                <a:lnTo>
                  <a:pt x="7678" y="267"/>
                </a:lnTo>
                <a:lnTo>
                  <a:pt x="7634" y="246"/>
                </a:lnTo>
                <a:lnTo>
                  <a:pt x="7589" y="226"/>
                </a:lnTo>
                <a:lnTo>
                  <a:pt x="7544" y="207"/>
                </a:lnTo>
                <a:lnTo>
                  <a:pt x="7499" y="188"/>
                </a:lnTo>
                <a:lnTo>
                  <a:pt x="7453" y="170"/>
                </a:lnTo>
                <a:lnTo>
                  <a:pt x="7406" y="153"/>
                </a:lnTo>
                <a:lnTo>
                  <a:pt x="7360" y="138"/>
                </a:lnTo>
                <a:lnTo>
                  <a:pt x="7313" y="122"/>
                </a:lnTo>
                <a:lnTo>
                  <a:pt x="7265" y="107"/>
                </a:lnTo>
                <a:lnTo>
                  <a:pt x="7217" y="94"/>
                </a:lnTo>
                <a:lnTo>
                  <a:pt x="7170" y="81"/>
                </a:lnTo>
                <a:lnTo>
                  <a:pt x="7121" y="69"/>
                </a:lnTo>
                <a:lnTo>
                  <a:pt x="7072" y="58"/>
                </a:lnTo>
                <a:lnTo>
                  <a:pt x="7022" y="49"/>
                </a:lnTo>
                <a:lnTo>
                  <a:pt x="6973" y="40"/>
                </a:lnTo>
                <a:lnTo>
                  <a:pt x="6924" y="32"/>
                </a:lnTo>
                <a:lnTo>
                  <a:pt x="6873" y="24"/>
                </a:lnTo>
                <a:lnTo>
                  <a:pt x="6823" y="17"/>
                </a:lnTo>
                <a:lnTo>
                  <a:pt x="6772" y="12"/>
                </a:lnTo>
                <a:lnTo>
                  <a:pt x="6721" y="8"/>
                </a:lnTo>
                <a:lnTo>
                  <a:pt x="6669" y="4"/>
                </a:lnTo>
                <a:lnTo>
                  <a:pt x="6618" y="2"/>
                </a:lnTo>
                <a:lnTo>
                  <a:pt x="6567" y="0"/>
                </a:lnTo>
                <a:lnTo>
                  <a:pt x="6514" y="0"/>
                </a:lnTo>
                <a:lnTo>
                  <a:pt x="6461" y="0"/>
                </a:lnTo>
                <a:lnTo>
                  <a:pt x="6408" y="2"/>
                </a:lnTo>
                <a:lnTo>
                  <a:pt x="6355" y="4"/>
                </a:lnTo>
                <a:lnTo>
                  <a:pt x="6302" y="8"/>
                </a:lnTo>
                <a:lnTo>
                  <a:pt x="6251" y="12"/>
                </a:lnTo>
                <a:lnTo>
                  <a:pt x="6199" y="17"/>
                </a:lnTo>
                <a:lnTo>
                  <a:pt x="6147" y="24"/>
                </a:lnTo>
                <a:lnTo>
                  <a:pt x="6096" y="32"/>
                </a:lnTo>
                <a:lnTo>
                  <a:pt x="6045" y="40"/>
                </a:lnTo>
                <a:lnTo>
                  <a:pt x="5994" y="49"/>
                </a:lnTo>
                <a:lnTo>
                  <a:pt x="5944" y="59"/>
                </a:lnTo>
                <a:lnTo>
                  <a:pt x="5895" y="69"/>
                </a:lnTo>
                <a:lnTo>
                  <a:pt x="5846" y="81"/>
                </a:lnTo>
                <a:lnTo>
                  <a:pt x="5797" y="95"/>
                </a:lnTo>
                <a:lnTo>
                  <a:pt x="5748" y="108"/>
                </a:lnTo>
                <a:lnTo>
                  <a:pt x="5699" y="122"/>
                </a:lnTo>
                <a:lnTo>
                  <a:pt x="5653" y="138"/>
                </a:lnTo>
                <a:lnTo>
                  <a:pt x="5605" y="154"/>
                </a:lnTo>
                <a:lnTo>
                  <a:pt x="5558" y="171"/>
                </a:lnTo>
                <a:lnTo>
                  <a:pt x="5511" y="188"/>
                </a:lnTo>
                <a:lnTo>
                  <a:pt x="5466" y="208"/>
                </a:lnTo>
                <a:lnTo>
                  <a:pt x="5420" y="227"/>
                </a:lnTo>
                <a:lnTo>
                  <a:pt x="5375" y="248"/>
                </a:lnTo>
                <a:lnTo>
                  <a:pt x="5330" y="269"/>
                </a:lnTo>
                <a:lnTo>
                  <a:pt x="5287" y="290"/>
                </a:lnTo>
                <a:lnTo>
                  <a:pt x="5243" y="313"/>
                </a:lnTo>
                <a:lnTo>
                  <a:pt x="5200" y="337"/>
                </a:lnTo>
                <a:lnTo>
                  <a:pt x="5158" y="361"/>
                </a:lnTo>
                <a:lnTo>
                  <a:pt x="5115" y="386"/>
                </a:lnTo>
                <a:lnTo>
                  <a:pt x="5073" y="411"/>
                </a:lnTo>
                <a:lnTo>
                  <a:pt x="5033" y="438"/>
                </a:lnTo>
                <a:lnTo>
                  <a:pt x="4992" y="465"/>
                </a:lnTo>
                <a:lnTo>
                  <a:pt x="4957" y="462"/>
                </a:lnTo>
                <a:lnTo>
                  <a:pt x="4922" y="460"/>
                </a:lnTo>
                <a:lnTo>
                  <a:pt x="4884" y="460"/>
                </a:lnTo>
                <a:lnTo>
                  <a:pt x="4845" y="461"/>
                </a:lnTo>
                <a:lnTo>
                  <a:pt x="4805" y="464"/>
                </a:lnTo>
                <a:lnTo>
                  <a:pt x="4763" y="469"/>
                </a:lnTo>
                <a:lnTo>
                  <a:pt x="4720" y="475"/>
                </a:lnTo>
                <a:lnTo>
                  <a:pt x="4677" y="482"/>
                </a:lnTo>
                <a:lnTo>
                  <a:pt x="4620" y="497"/>
                </a:lnTo>
                <a:lnTo>
                  <a:pt x="4565" y="517"/>
                </a:lnTo>
                <a:lnTo>
                  <a:pt x="4513" y="544"/>
                </a:lnTo>
                <a:lnTo>
                  <a:pt x="4463" y="577"/>
                </a:lnTo>
                <a:lnTo>
                  <a:pt x="4416" y="614"/>
                </a:lnTo>
                <a:lnTo>
                  <a:pt x="4372" y="657"/>
                </a:lnTo>
                <a:lnTo>
                  <a:pt x="4329" y="705"/>
                </a:lnTo>
                <a:lnTo>
                  <a:pt x="4289" y="756"/>
                </a:lnTo>
                <a:lnTo>
                  <a:pt x="4252" y="812"/>
                </a:lnTo>
                <a:lnTo>
                  <a:pt x="4216" y="871"/>
                </a:lnTo>
                <a:lnTo>
                  <a:pt x="4183" y="933"/>
                </a:lnTo>
                <a:lnTo>
                  <a:pt x="4151" y="998"/>
                </a:lnTo>
                <a:lnTo>
                  <a:pt x="4122" y="1066"/>
                </a:lnTo>
                <a:lnTo>
                  <a:pt x="4094" y="1137"/>
                </a:lnTo>
                <a:lnTo>
                  <a:pt x="4069" y="1209"/>
                </a:lnTo>
                <a:lnTo>
                  <a:pt x="4045" y="1282"/>
                </a:lnTo>
                <a:lnTo>
                  <a:pt x="4023" y="1358"/>
                </a:lnTo>
                <a:lnTo>
                  <a:pt x="4003" y="1434"/>
                </a:lnTo>
                <a:lnTo>
                  <a:pt x="3983" y="1511"/>
                </a:lnTo>
                <a:lnTo>
                  <a:pt x="3966" y="1587"/>
                </a:lnTo>
                <a:lnTo>
                  <a:pt x="3950" y="1664"/>
                </a:lnTo>
                <a:lnTo>
                  <a:pt x="3936" y="1741"/>
                </a:lnTo>
                <a:lnTo>
                  <a:pt x="3922" y="1816"/>
                </a:lnTo>
                <a:lnTo>
                  <a:pt x="3910" y="1890"/>
                </a:lnTo>
                <a:lnTo>
                  <a:pt x="3900" y="1963"/>
                </a:lnTo>
                <a:lnTo>
                  <a:pt x="3891" y="2034"/>
                </a:lnTo>
                <a:lnTo>
                  <a:pt x="3882" y="2103"/>
                </a:lnTo>
                <a:lnTo>
                  <a:pt x="3875" y="2170"/>
                </a:lnTo>
                <a:lnTo>
                  <a:pt x="3868" y="2234"/>
                </a:lnTo>
                <a:lnTo>
                  <a:pt x="3862" y="2295"/>
                </a:lnTo>
                <a:lnTo>
                  <a:pt x="3857" y="2352"/>
                </a:lnTo>
                <a:lnTo>
                  <a:pt x="3853" y="2405"/>
                </a:lnTo>
                <a:lnTo>
                  <a:pt x="3869" y="2311"/>
                </a:lnTo>
                <a:lnTo>
                  <a:pt x="3864" y="2355"/>
                </a:lnTo>
                <a:lnTo>
                  <a:pt x="3859" y="2400"/>
                </a:lnTo>
                <a:lnTo>
                  <a:pt x="3855" y="2445"/>
                </a:lnTo>
                <a:lnTo>
                  <a:pt x="3852" y="2490"/>
                </a:lnTo>
                <a:lnTo>
                  <a:pt x="3850" y="2535"/>
                </a:lnTo>
                <a:lnTo>
                  <a:pt x="3848" y="2581"/>
                </a:lnTo>
                <a:lnTo>
                  <a:pt x="3847" y="2627"/>
                </a:lnTo>
                <a:lnTo>
                  <a:pt x="3846" y="2673"/>
                </a:lnTo>
                <a:lnTo>
                  <a:pt x="3847" y="2712"/>
                </a:lnTo>
                <a:lnTo>
                  <a:pt x="3847" y="2752"/>
                </a:lnTo>
                <a:lnTo>
                  <a:pt x="3849" y="2791"/>
                </a:lnTo>
                <a:lnTo>
                  <a:pt x="3851" y="2831"/>
                </a:lnTo>
                <a:lnTo>
                  <a:pt x="3853" y="2869"/>
                </a:lnTo>
                <a:lnTo>
                  <a:pt x="3856" y="2908"/>
                </a:lnTo>
                <a:lnTo>
                  <a:pt x="3860" y="2947"/>
                </a:lnTo>
                <a:lnTo>
                  <a:pt x="3864" y="2985"/>
                </a:lnTo>
                <a:lnTo>
                  <a:pt x="3869" y="3024"/>
                </a:lnTo>
                <a:lnTo>
                  <a:pt x="3875" y="3062"/>
                </a:lnTo>
                <a:lnTo>
                  <a:pt x="3881" y="3101"/>
                </a:lnTo>
                <a:lnTo>
                  <a:pt x="3887" y="3138"/>
                </a:lnTo>
                <a:lnTo>
                  <a:pt x="3894" y="3176"/>
                </a:lnTo>
                <a:lnTo>
                  <a:pt x="3901" y="3214"/>
                </a:lnTo>
                <a:lnTo>
                  <a:pt x="3909" y="3250"/>
                </a:lnTo>
                <a:lnTo>
                  <a:pt x="3917" y="3288"/>
                </a:lnTo>
                <a:lnTo>
                  <a:pt x="3926" y="3282"/>
                </a:lnTo>
                <a:lnTo>
                  <a:pt x="3937" y="3278"/>
                </a:lnTo>
                <a:lnTo>
                  <a:pt x="3946" y="3274"/>
                </a:lnTo>
                <a:lnTo>
                  <a:pt x="3956" y="3270"/>
                </a:lnTo>
                <a:lnTo>
                  <a:pt x="3966" y="3268"/>
                </a:lnTo>
                <a:lnTo>
                  <a:pt x="3977" y="3266"/>
                </a:lnTo>
                <a:lnTo>
                  <a:pt x="3987" y="3264"/>
                </a:lnTo>
                <a:lnTo>
                  <a:pt x="3999" y="3263"/>
                </a:lnTo>
                <a:lnTo>
                  <a:pt x="4385" y="3263"/>
                </a:lnTo>
                <a:lnTo>
                  <a:pt x="4402" y="3241"/>
                </a:lnTo>
                <a:lnTo>
                  <a:pt x="4422" y="3220"/>
                </a:lnTo>
                <a:lnTo>
                  <a:pt x="4440" y="3197"/>
                </a:lnTo>
                <a:lnTo>
                  <a:pt x="4460" y="3176"/>
                </a:lnTo>
                <a:lnTo>
                  <a:pt x="4480" y="3154"/>
                </a:lnTo>
                <a:lnTo>
                  <a:pt x="4502" y="3134"/>
                </a:lnTo>
                <a:lnTo>
                  <a:pt x="4523" y="3113"/>
                </a:lnTo>
                <a:lnTo>
                  <a:pt x="4546" y="3093"/>
                </a:lnTo>
                <a:lnTo>
                  <a:pt x="4568" y="3073"/>
                </a:lnTo>
                <a:lnTo>
                  <a:pt x="4592" y="3054"/>
                </a:lnTo>
                <a:lnTo>
                  <a:pt x="4616" y="3035"/>
                </a:lnTo>
                <a:lnTo>
                  <a:pt x="4641" y="3017"/>
                </a:lnTo>
                <a:lnTo>
                  <a:pt x="4667" y="3000"/>
                </a:lnTo>
                <a:lnTo>
                  <a:pt x="4692" y="2982"/>
                </a:lnTo>
                <a:lnTo>
                  <a:pt x="4718" y="2966"/>
                </a:lnTo>
                <a:lnTo>
                  <a:pt x="4745" y="2950"/>
                </a:lnTo>
                <a:lnTo>
                  <a:pt x="4772" y="2935"/>
                </a:lnTo>
                <a:lnTo>
                  <a:pt x="4800" y="2921"/>
                </a:lnTo>
                <a:lnTo>
                  <a:pt x="4828" y="2907"/>
                </a:lnTo>
                <a:lnTo>
                  <a:pt x="4857" y="2895"/>
                </a:lnTo>
                <a:lnTo>
                  <a:pt x="4886" y="2883"/>
                </a:lnTo>
                <a:lnTo>
                  <a:pt x="4916" y="2871"/>
                </a:lnTo>
                <a:lnTo>
                  <a:pt x="4945" y="2861"/>
                </a:lnTo>
                <a:lnTo>
                  <a:pt x="4976" y="2852"/>
                </a:lnTo>
                <a:lnTo>
                  <a:pt x="5006" y="2844"/>
                </a:lnTo>
                <a:lnTo>
                  <a:pt x="5038" y="2837"/>
                </a:lnTo>
                <a:lnTo>
                  <a:pt x="5069" y="2831"/>
                </a:lnTo>
                <a:lnTo>
                  <a:pt x="5101" y="2825"/>
                </a:lnTo>
                <a:lnTo>
                  <a:pt x="5132" y="2821"/>
                </a:lnTo>
                <a:lnTo>
                  <a:pt x="5165" y="2818"/>
                </a:lnTo>
                <a:lnTo>
                  <a:pt x="5197" y="2816"/>
                </a:lnTo>
                <a:lnTo>
                  <a:pt x="5230" y="2816"/>
                </a:lnTo>
                <a:close/>
              </a:path>
            </a:pathLst>
          </a:custGeom>
          <a:solidFill>
            <a:srgbClr val="0070C0"/>
          </a:solidFill>
          <a:ln>
            <a:noFill/>
          </a:ln>
        </p:spPr>
        <p:txBody>
          <a:bodyPr vert="horz" wrap="square" lIns="75613" tIns="37806" rIns="75613" bIns="37806" numCol="1" anchor="t" anchorCtr="0" compatLnSpc="1">
            <a:prstTxWarp prst="textNoShape">
              <a:avLst/>
            </a:prstTxWarp>
          </a:bodyPr>
          <a:lstStyle/>
          <a:p>
            <a:endParaRPr lang="ru-RU" sz="1488">
              <a:latin typeface="Arial Narrow" panose="020B0606020202030204" pitchFamily="34" charset="0"/>
            </a:endParaRPr>
          </a:p>
        </p:txBody>
      </p:sp>
      <p:pic>
        <p:nvPicPr>
          <p:cNvPr id="41" name="Picture 5" descr="I:\My Pictures\21421342342.png"/>
          <p:cNvPicPr>
            <a:picLocks noChangeAspect="1" noChangeArrowheads="1"/>
          </p:cNvPicPr>
          <p:nvPr/>
        </p:nvPicPr>
        <p:blipFill rotWithShape="1">
          <a:blip r:embed="rId4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0" b="93907" l="9945" r="89503">
                        <a14:foregroundMark x1="43646" y1="6093" x2="43646" y2="6093"/>
                        <a14:foregroundMark x1="49724" y1="2509" x2="49724" y2="2509"/>
                        <a14:foregroundMark x1="56906" y1="6452" x2="56906" y2="645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-1" b="7038"/>
          <a:stretch/>
        </p:blipFill>
        <p:spPr bwMode="auto">
          <a:xfrm>
            <a:off x="2019193" y="2636912"/>
            <a:ext cx="430872" cy="617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985105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Zn.SB3TvewgiY6dGXt5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Zn.SB3TvewgiY6dGXt5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zc5XuOR7yF58EPnEzi8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zc5XuOR7yF58EPnEzi8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qNtjqkgRoSe2dpX1NsCv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qNtjqkgRoSe2dpX1NsCv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4Ztj3fRy2eT0ATMXrv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D1VNrQTtaMMJCLvlK82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nU4g3iQYKgSRCfmO4i4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lyEQa.RH2u7FVIlxDWkw"/>
</p:tagLst>
</file>

<file path=ppt/theme/theme1.xml><?xml version="1.0" encoding="utf-8"?>
<a:theme xmlns:a="http://schemas.openxmlformats.org/drawingml/2006/main" name="gpn_report">
  <a:themeElements>
    <a:clrScheme name="ГПН">
      <a:dk1>
        <a:srgbClr val="3C3C3C"/>
      </a:dk1>
      <a:lt1>
        <a:srgbClr val="FFFFFF"/>
      </a:lt1>
      <a:dk2>
        <a:srgbClr val="000000"/>
      </a:dk2>
      <a:lt2>
        <a:srgbClr val="706F6F"/>
      </a:lt2>
      <a:accent1>
        <a:srgbClr val="004077"/>
      </a:accent1>
      <a:accent2>
        <a:srgbClr val="2FB4E9"/>
      </a:accent2>
      <a:accent3>
        <a:srgbClr val="0070BA"/>
      </a:accent3>
      <a:accent4>
        <a:srgbClr val="DADADA"/>
      </a:accent4>
      <a:accent5>
        <a:srgbClr val="AEBD15"/>
      </a:accent5>
      <a:accent6>
        <a:srgbClr val="F7A600"/>
      </a:accent6>
      <a:hlink>
        <a:srgbClr val="0070BA"/>
      </a:hlink>
      <a:folHlink>
        <a:srgbClr val="706F6F"/>
      </a:folHlink>
    </a:clrScheme>
    <a:fontScheme name="Газпром нефт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>
          <a:solidFill>
            <a:schemeClr val="accent2"/>
          </a:solidFill>
        </a:ln>
      </a:spPr>
      <a:bodyPr rtlCol="0" anchor="ctr"/>
      <a:lstStyle>
        <a:defPPr>
          <a:spcBef>
            <a:spcPts val="600"/>
          </a:spcBef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rIns="0" rtlCol="0">
        <a:spAutoFit/>
      </a:bodyPr>
      <a:lstStyle>
        <a:defPPr>
          <a:spcBef>
            <a:spcPts val="600"/>
          </a:spcBef>
          <a:defRPr sz="1200" dirty="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gpn_report" id="{48DB8D05-9273-4163-8078-230CA7D20309}" vid="{9C1E6E7F-43C9-48EE-98BC-C10F78DF0152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ГПН">
    <a:dk1>
      <a:srgbClr val="3C3C3C"/>
    </a:dk1>
    <a:lt1>
      <a:srgbClr val="FFFFFF"/>
    </a:lt1>
    <a:dk2>
      <a:srgbClr val="000000"/>
    </a:dk2>
    <a:lt2>
      <a:srgbClr val="706F6F"/>
    </a:lt2>
    <a:accent1>
      <a:srgbClr val="004077"/>
    </a:accent1>
    <a:accent2>
      <a:srgbClr val="2FB4E9"/>
    </a:accent2>
    <a:accent3>
      <a:srgbClr val="0070BA"/>
    </a:accent3>
    <a:accent4>
      <a:srgbClr val="DADADA"/>
    </a:accent4>
    <a:accent5>
      <a:srgbClr val="AEBD15"/>
    </a:accent5>
    <a:accent6>
      <a:srgbClr val="F7A600"/>
    </a:accent6>
    <a:hlink>
      <a:srgbClr val="0070BA"/>
    </a:hlink>
    <a:folHlink>
      <a:srgbClr val="706F6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gpn_report</Template>
  <TotalTime>1836</TotalTime>
  <Words>617</Words>
  <Application>Microsoft Office PowerPoint</Application>
  <PresentationFormat>Экран (4:3)</PresentationFormat>
  <Paragraphs>159</Paragraphs>
  <Slides>14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22" baseType="lpstr">
      <vt:lpstr>Arial</vt:lpstr>
      <vt:lpstr>Wingdings</vt:lpstr>
      <vt:lpstr>Gill Sans</vt:lpstr>
      <vt:lpstr>Arial Narrow</vt:lpstr>
      <vt:lpstr>Calibri</vt:lpstr>
      <vt:lpstr>Source Sans Pro Light</vt:lpstr>
      <vt:lpstr>gpn_report</vt:lpstr>
      <vt:lpstr>think-cell Slide</vt:lpstr>
      <vt:lpstr>Концепция и задачи отраслевой площадки — Российский институт нефти</vt:lpstr>
      <vt:lpstr>Проблематика Большинство проектов основаны на иностранных продуктах</vt:lpstr>
      <vt:lpstr>Оборудование</vt:lpstr>
      <vt:lpstr>Материалы</vt:lpstr>
      <vt:lpstr>Российские производители испытывают затруднения с подтверждением соответствия продукции требованиям API</vt:lpstr>
      <vt:lpstr>Ограничения санкционной политикой</vt:lpstr>
      <vt:lpstr>Презентация PowerPoint</vt:lpstr>
      <vt:lpstr>Предложения</vt:lpstr>
      <vt:lpstr>Предложение — создать Российский институт нефти (РИН)</vt:lpstr>
      <vt:lpstr>Концепция формирования единых отраслевых требований</vt:lpstr>
      <vt:lpstr>Концепция работы РИН при применении иностранной технологий</vt:lpstr>
      <vt:lpstr>Развитие имеющихся наработок российских технологий в нефтепереработке позволит значительно повысить применение отечественной продукции</vt:lpstr>
      <vt:lpstr>Проект решения</vt:lpstr>
      <vt:lpstr>Контактная информация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Гилемханов Рустам Айдарович</dc:creator>
  <cp:lastModifiedBy>Гуреев</cp:lastModifiedBy>
  <cp:revision>85</cp:revision>
  <dcterms:created xsi:type="dcterms:W3CDTF">2018-12-06T05:37:04Z</dcterms:created>
  <dcterms:modified xsi:type="dcterms:W3CDTF">2019-03-11T14:54:17Z</dcterms:modified>
</cp:coreProperties>
</file>